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4.xml" ContentType="application/vnd.openxmlformats-officedocument.presentationml.tags+xml"/>
  <Override PartName="/ppt/notesSlides/notesSlide1.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2.xml" ContentType="application/vnd.openxmlformats-officedocument.presentationml.notesSlide+xml"/>
  <Override PartName="/ppt/tags/tag6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ags/tag1987.xml" ContentType="application/vnd.openxmlformats-officedocument.presentationml.tags+xml"/>
  <Override PartName="/ppt/tags/tag1988.xml" ContentType="application/vnd.openxmlformats-officedocument.presentationml.tags+xml"/>
  <Override PartName="/ppt/tags/tag1989.xml" ContentType="application/vnd.openxmlformats-officedocument.presentationml.tags+xml"/>
  <Override PartName="/ppt/tags/tag1990.xml" ContentType="application/vnd.openxmlformats-officedocument.presentationml.tags+xml"/>
  <Override PartName="/ppt/tags/tag1991.xml" ContentType="application/vnd.openxmlformats-officedocument.presentationml.tags+xml"/>
  <Override PartName="/ppt/tags/tag1992.xml" ContentType="application/vnd.openxmlformats-officedocument.presentationml.tags+xml"/>
  <Override PartName="/ppt/tags/tag1993.xml" ContentType="application/vnd.openxmlformats-officedocument.presentationml.tags+xml"/>
  <Override PartName="/ppt/tags/tag1994.xml" ContentType="application/vnd.openxmlformats-officedocument.presentationml.tags+xml"/>
  <Override PartName="/ppt/tags/tag1995.xml" ContentType="application/vnd.openxmlformats-officedocument.presentationml.tags+xml"/>
  <Override PartName="/ppt/tags/tag1996.xml" ContentType="application/vnd.openxmlformats-officedocument.presentationml.tags+xml"/>
  <Override PartName="/ppt/tags/tag1997.xml" ContentType="application/vnd.openxmlformats-officedocument.presentationml.tags+xml"/>
  <Override PartName="/ppt/tags/tag1998.xml" ContentType="application/vnd.openxmlformats-officedocument.presentationml.tags+xml"/>
  <Override PartName="/ppt/tags/tag1999.xml" ContentType="application/vnd.openxmlformats-officedocument.presentationml.tags+xml"/>
  <Override PartName="/ppt/tags/tag2000.xml" ContentType="application/vnd.openxmlformats-officedocument.presentationml.tags+xml"/>
  <Override PartName="/ppt/tags/tag2001.xml" ContentType="application/vnd.openxmlformats-officedocument.presentationml.tags+xml"/>
  <Override PartName="/ppt/tags/tag2002.xml" ContentType="application/vnd.openxmlformats-officedocument.presentationml.tags+xml"/>
  <Override PartName="/ppt/tags/tag2003.xml" ContentType="application/vnd.openxmlformats-officedocument.presentationml.tags+xml"/>
  <Override PartName="/ppt/tags/tag2004.xml" ContentType="application/vnd.openxmlformats-officedocument.presentationml.tags+xml"/>
  <Override PartName="/ppt/tags/tag2005.xml" ContentType="application/vnd.openxmlformats-officedocument.presentationml.tags+xml"/>
  <Override PartName="/ppt/tags/tag2006.xml" ContentType="application/vnd.openxmlformats-officedocument.presentationml.tags+xml"/>
  <Override PartName="/ppt/tags/tag2007.xml" ContentType="application/vnd.openxmlformats-officedocument.presentationml.tags+xml"/>
  <Override PartName="/ppt/tags/tag2008.xml" ContentType="application/vnd.openxmlformats-officedocument.presentationml.tags+xml"/>
  <Override PartName="/ppt/tags/tag2009.xml" ContentType="application/vnd.openxmlformats-officedocument.presentationml.tags+xml"/>
  <Override PartName="/ppt/tags/tag2010.xml" ContentType="application/vnd.openxmlformats-officedocument.presentationml.tags+xml"/>
  <Override PartName="/ppt/tags/tag2011.xml" ContentType="application/vnd.openxmlformats-officedocument.presentationml.tags+xml"/>
  <Override PartName="/ppt/tags/tag2012.xml" ContentType="application/vnd.openxmlformats-officedocument.presentationml.tags+xml"/>
  <Override PartName="/ppt/tags/tag2013.xml" ContentType="application/vnd.openxmlformats-officedocument.presentationml.tags+xml"/>
  <Override PartName="/ppt/tags/tag2014.xml" ContentType="application/vnd.openxmlformats-officedocument.presentationml.tags+xml"/>
  <Override PartName="/ppt/tags/tag2015.xml" ContentType="application/vnd.openxmlformats-officedocument.presentationml.tags+xml"/>
  <Override PartName="/ppt/tags/tag2016.xml" ContentType="application/vnd.openxmlformats-officedocument.presentationml.tags+xml"/>
  <Override PartName="/ppt/tags/tag2017.xml" ContentType="application/vnd.openxmlformats-officedocument.presentationml.tags+xml"/>
  <Override PartName="/ppt/tags/tag2018.xml" ContentType="application/vnd.openxmlformats-officedocument.presentationml.tags+xml"/>
  <Override PartName="/ppt/tags/tag2019.xml" ContentType="application/vnd.openxmlformats-officedocument.presentationml.tags+xml"/>
  <Override PartName="/ppt/tags/tag2020.xml" ContentType="application/vnd.openxmlformats-officedocument.presentationml.tags+xml"/>
  <Override PartName="/ppt/tags/tag2021.xml" ContentType="application/vnd.openxmlformats-officedocument.presentationml.tags+xml"/>
  <Override PartName="/ppt/tags/tag2022.xml" ContentType="application/vnd.openxmlformats-officedocument.presentationml.tags+xml"/>
  <Override PartName="/ppt/tags/tag2023.xml" ContentType="application/vnd.openxmlformats-officedocument.presentationml.tags+xml"/>
  <Override PartName="/ppt/tags/tag2024.xml" ContentType="application/vnd.openxmlformats-officedocument.presentationml.tags+xml"/>
  <Override PartName="/ppt/tags/tag2025.xml" ContentType="application/vnd.openxmlformats-officedocument.presentationml.tags+xml"/>
  <Override PartName="/ppt/tags/tag2026.xml" ContentType="application/vnd.openxmlformats-officedocument.presentationml.tags+xml"/>
  <Override PartName="/ppt/tags/tag2027.xml" ContentType="application/vnd.openxmlformats-officedocument.presentationml.tags+xml"/>
  <Override PartName="/ppt/tags/tag2028.xml" ContentType="application/vnd.openxmlformats-officedocument.presentationml.tags+xml"/>
  <Override PartName="/ppt/tags/tag2029.xml" ContentType="application/vnd.openxmlformats-officedocument.presentationml.tags+xml"/>
  <Override PartName="/ppt/tags/tag2030.xml" ContentType="application/vnd.openxmlformats-officedocument.presentationml.tags+xml"/>
  <Override PartName="/ppt/tags/tag2031.xml" ContentType="application/vnd.openxmlformats-officedocument.presentationml.tags+xml"/>
  <Override PartName="/ppt/tags/tag2032.xml" ContentType="application/vnd.openxmlformats-officedocument.presentationml.tags+xml"/>
  <Override PartName="/ppt/tags/tag2033.xml" ContentType="application/vnd.openxmlformats-officedocument.presentationml.tags+xml"/>
  <Override PartName="/ppt/tags/tag2034.xml" ContentType="application/vnd.openxmlformats-officedocument.presentationml.tags+xml"/>
  <Override PartName="/ppt/tags/tag2035.xml" ContentType="application/vnd.openxmlformats-officedocument.presentationml.tags+xml"/>
  <Override PartName="/ppt/tags/tag2036.xml" ContentType="application/vnd.openxmlformats-officedocument.presentationml.tags+xml"/>
  <Override PartName="/ppt/tags/tag2037.xml" ContentType="application/vnd.openxmlformats-officedocument.presentationml.tags+xml"/>
  <Override PartName="/ppt/tags/tag2038.xml" ContentType="application/vnd.openxmlformats-officedocument.presentationml.tags+xml"/>
  <Override PartName="/ppt/tags/tag2039.xml" ContentType="application/vnd.openxmlformats-officedocument.presentationml.tags+xml"/>
  <Override PartName="/ppt/tags/tag2040.xml" ContentType="application/vnd.openxmlformats-officedocument.presentationml.tags+xml"/>
  <Override PartName="/ppt/tags/tag2041.xml" ContentType="application/vnd.openxmlformats-officedocument.presentationml.tags+xml"/>
  <Override PartName="/ppt/tags/tag2042.xml" ContentType="application/vnd.openxmlformats-officedocument.presentationml.tags+xml"/>
  <Override PartName="/ppt/tags/tag2043.xml" ContentType="application/vnd.openxmlformats-officedocument.presentationml.tags+xml"/>
  <Override PartName="/ppt/tags/tag2044.xml" ContentType="application/vnd.openxmlformats-officedocument.presentationml.tags+xml"/>
  <Override PartName="/ppt/tags/tag2045.xml" ContentType="application/vnd.openxmlformats-officedocument.presentationml.tags+xml"/>
  <Override PartName="/ppt/tags/tag2046.xml" ContentType="application/vnd.openxmlformats-officedocument.presentationml.tags+xml"/>
  <Override PartName="/ppt/tags/tag2047.xml" ContentType="application/vnd.openxmlformats-officedocument.presentationml.tags+xml"/>
  <Override PartName="/ppt/tags/tag2048.xml" ContentType="application/vnd.openxmlformats-officedocument.presentationml.tags+xml"/>
  <Override PartName="/ppt/tags/tag2049.xml" ContentType="application/vnd.openxmlformats-officedocument.presentationml.tags+xml"/>
  <Override PartName="/ppt/tags/tag2050.xml" ContentType="application/vnd.openxmlformats-officedocument.presentationml.tags+xml"/>
  <Override PartName="/ppt/tags/tag2051.xml" ContentType="application/vnd.openxmlformats-officedocument.presentationml.tags+xml"/>
  <Override PartName="/ppt/tags/tag2052.xml" ContentType="application/vnd.openxmlformats-officedocument.presentationml.tags+xml"/>
  <Override PartName="/ppt/tags/tag2053.xml" ContentType="application/vnd.openxmlformats-officedocument.presentationml.tags+xml"/>
  <Override PartName="/ppt/tags/tag2054.xml" ContentType="application/vnd.openxmlformats-officedocument.presentationml.tags+xml"/>
  <Override PartName="/ppt/tags/tag2055.xml" ContentType="application/vnd.openxmlformats-officedocument.presentationml.tags+xml"/>
  <Override PartName="/ppt/tags/tag2056.xml" ContentType="application/vnd.openxmlformats-officedocument.presentationml.tags+xml"/>
  <Override PartName="/ppt/tags/tag2057.xml" ContentType="application/vnd.openxmlformats-officedocument.presentationml.tags+xml"/>
  <Override PartName="/ppt/tags/tag2058.xml" ContentType="application/vnd.openxmlformats-officedocument.presentationml.tags+xml"/>
  <Override PartName="/ppt/tags/tag2059.xml" ContentType="application/vnd.openxmlformats-officedocument.presentationml.tags+xml"/>
  <Override PartName="/ppt/tags/tag2060.xml" ContentType="application/vnd.openxmlformats-officedocument.presentationml.tags+xml"/>
  <Override PartName="/ppt/tags/tag2061.xml" ContentType="application/vnd.openxmlformats-officedocument.presentationml.tags+xml"/>
  <Override PartName="/ppt/tags/tag2062.xml" ContentType="application/vnd.openxmlformats-officedocument.presentationml.tags+xml"/>
  <Override PartName="/ppt/tags/tag2063.xml" ContentType="application/vnd.openxmlformats-officedocument.presentationml.tags+xml"/>
  <Override PartName="/ppt/tags/tag2064.xml" ContentType="application/vnd.openxmlformats-officedocument.presentationml.tags+xml"/>
  <Override PartName="/ppt/tags/tag2065.xml" ContentType="application/vnd.openxmlformats-officedocument.presentationml.tags+xml"/>
  <Override PartName="/ppt/tags/tag2066.xml" ContentType="application/vnd.openxmlformats-officedocument.presentationml.tags+xml"/>
  <Override PartName="/ppt/tags/tag2067.xml" ContentType="application/vnd.openxmlformats-officedocument.presentationml.tags+xml"/>
  <Override PartName="/ppt/tags/tag2068.xml" ContentType="application/vnd.openxmlformats-officedocument.presentationml.tags+xml"/>
  <Override PartName="/ppt/tags/tag2069.xml" ContentType="application/vnd.openxmlformats-officedocument.presentationml.tags+xml"/>
  <Override PartName="/ppt/tags/tag2070.xml" ContentType="application/vnd.openxmlformats-officedocument.presentationml.tags+xml"/>
  <Override PartName="/ppt/tags/tag2071.xml" ContentType="application/vnd.openxmlformats-officedocument.presentationml.tags+xml"/>
  <Override PartName="/ppt/tags/tag2072.xml" ContentType="application/vnd.openxmlformats-officedocument.presentationml.tags+xml"/>
  <Override PartName="/ppt/tags/tag2073.xml" ContentType="application/vnd.openxmlformats-officedocument.presentationml.tags+xml"/>
  <Override PartName="/ppt/tags/tag2074.xml" ContentType="application/vnd.openxmlformats-officedocument.presentationml.tags+xml"/>
  <Override PartName="/ppt/tags/tag2075.xml" ContentType="application/vnd.openxmlformats-officedocument.presentationml.tags+xml"/>
  <Override PartName="/ppt/tags/tag2076.xml" ContentType="application/vnd.openxmlformats-officedocument.presentationml.tags+xml"/>
  <Override PartName="/ppt/tags/tag2077.xml" ContentType="application/vnd.openxmlformats-officedocument.presentationml.tags+xml"/>
  <Override PartName="/ppt/tags/tag2078.xml" ContentType="application/vnd.openxmlformats-officedocument.presentationml.tags+xml"/>
  <Override PartName="/ppt/tags/tag2079.xml" ContentType="application/vnd.openxmlformats-officedocument.presentationml.tags+xml"/>
  <Override PartName="/ppt/tags/tag2080.xml" ContentType="application/vnd.openxmlformats-officedocument.presentationml.tags+xml"/>
  <Override PartName="/ppt/tags/tag2081.xml" ContentType="application/vnd.openxmlformats-officedocument.presentationml.tags+xml"/>
  <Override PartName="/ppt/tags/tag2082.xml" ContentType="application/vnd.openxmlformats-officedocument.presentationml.tags+xml"/>
  <Override PartName="/ppt/tags/tag2083.xml" ContentType="application/vnd.openxmlformats-officedocument.presentationml.tags+xml"/>
  <Override PartName="/ppt/tags/tag2084.xml" ContentType="application/vnd.openxmlformats-officedocument.presentationml.tags+xml"/>
  <Override PartName="/ppt/tags/tag2085.xml" ContentType="application/vnd.openxmlformats-officedocument.presentationml.tags+xml"/>
  <Override PartName="/ppt/tags/tag2086.xml" ContentType="application/vnd.openxmlformats-officedocument.presentationml.tags+xml"/>
  <Override PartName="/ppt/tags/tag2087.xml" ContentType="application/vnd.openxmlformats-officedocument.presentationml.tags+xml"/>
  <Override PartName="/ppt/tags/tag2088.xml" ContentType="application/vnd.openxmlformats-officedocument.presentationml.tags+xml"/>
  <Override PartName="/ppt/tags/tag2089.xml" ContentType="application/vnd.openxmlformats-officedocument.presentationml.tags+xml"/>
  <Override PartName="/ppt/tags/tag2090.xml" ContentType="application/vnd.openxmlformats-officedocument.presentationml.tags+xml"/>
  <Override PartName="/ppt/tags/tag2091.xml" ContentType="application/vnd.openxmlformats-officedocument.presentationml.tags+xml"/>
  <Override PartName="/ppt/tags/tag2092.xml" ContentType="application/vnd.openxmlformats-officedocument.presentationml.tags+xml"/>
  <Override PartName="/ppt/tags/tag2093.xml" ContentType="application/vnd.openxmlformats-officedocument.presentationml.tags+xml"/>
  <Override PartName="/ppt/tags/tag2094.xml" ContentType="application/vnd.openxmlformats-officedocument.presentationml.tags+xml"/>
  <Override PartName="/ppt/tags/tag2095.xml" ContentType="application/vnd.openxmlformats-officedocument.presentationml.tags+xml"/>
  <Override PartName="/ppt/tags/tag2096.xml" ContentType="application/vnd.openxmlformats-officedocument.presentationml.tags+xml"/>
  <Override PartName="/ppt/tags/tag2097.xml" ContentType="application/vnd.openxmlformats-officedocument.presentationml.tags+xml"/>
  <Override PartName="/ppt/tags/tag2098.xml" ContentType="application/vnd.openxmlformats-officedocument.presentationml.tags+xml"/>
  <Override PartName="/ppt/tags/tag2099.xml" ContentType="application/vnd.openxmlformats-officedocument.presentationml.tags+xml"/>
  <Override PartName="/ppt/tags/tag2100.xml" ContentType="application/vnd.openxmlformats-officedocument.presentationml.tags+xml"/>
  <Override PartName="/ppt/tags/tag2101.xml" ContentType="application/vnd.openxmlformats-officedocument.presentationml.tags+xml"/>
  <Override PartName="/ppt/tags/tag2102.xml" ContentType="application/vnd.openxmlformats-officedocument.presentationml.tags+xml"/>
  <Override PartName="/ppt/tags/tag2103.xml" ContentType="application/vnd.openxmlformats-officedocument.presentationml.tags+xml"/>
  <Override PartName="/ppt/tags/tag2104.xml" ContentType="application/vnd.openxmlformats-officedocument.presentationml.tags+xml"/>
  <Override PartName="/ppt/tags/tag2105.xml" ContentType="application/vnd.openxmlformats-officedocument.presentationml.tags+xml"/>
  <Override PartName="/ppt/tags/tag2106.xml" ContentType="application/vnd.openxmlformats-officedocument.presentationml.tags+xml"/>
  <Override PartName="/ppt/tags/tag2107.xml" ContentType="application/vnd.openxmlformats-officedocument.presentationml.tags+xml"/>
  <Override PartName="/ppt/tags/tag2108.xml" ContentType="application/vnd.openxmlformats-officedocument.presentationml.tags+xml"/>
  <Override PartName="/ppt/tags/tag2109.xml" ContentType="application/vnd.openxmlformats-officedocument.presentationml.tags+xml"/>
  <Override PartName="/ppt/tags/tag2110.xml" ContentType="application/vnd.openxmlformats-officedocument.presentationml.tags+xml"/>
  <Override PartName="/ppt/tags/tag2111.xml" ContentType="application/vnd.openxmlformats-officedocument.presentationml.tags+xml"/>
  <Override PartName="/ppt/tags/tag2112.xml" ContentType="application/vnd.openxmlformats-officedocument.presentationml.tags+xml"/>
  <Override PartName="/ppt/tags/tag2113.xml" ContentType="application/vnd.openxmlformats-officedocument.presentationml.tags+xml"/>
  <Override PartName="/ppt/tags/tag2114.xml" ContentType="application/vnd.openxmlformats-officedocument.presentationml.tags+xml"/>
  <Override PartName="/ppt/tags/tag2115.xml" ContentType="application/vnd.openxmlformats-officedocument.presentationml.tags+xml"/>
  <Override PartName="/ppt/tags/tag2116.xml" ContentType="application/vnd.openxmlformats-officedocument.presentationml.tags+xml"/>
  <Override PartName="/ppt/tags/tag2117.xml" ContentType="application/vnd.openxmlformats-officedocument.presentationml.tags+xml"/>
  <Override PartName="/ppt/tags/tag2118.xml" ContentType="application/vnd.openxmlformats-officedocument.presentationml.tags+xml"/>
  <Override PartName="/ppt/tags/tag2119.xml" ContentType="application/vnd.openxmlformats-officedocument.presentationml.tags+xml"/>
  <Override PartName="/ppt/tags/tag2120.xml" ContentType="application/vnd.openxmlformats-officedocument.presentationml.tags+xml"/>
  <Override PartName="/ppt/tags/tag2121.xml" ContentType="application/vnd.openxmlformats-officedocument.presentationml.tags+xml"/>
  <Override PartName="/ppt/tags/tag2122.xml" ContentType="application/vnd.openxmlformats-officedocument.presentationml.tags+xml"/>
  <Override PartName="/ppt/tags/tag2123.xml" ContentType="application/vnd.openxmlformats-officedocument.presentationml.tags+xml"/>
  <Override PartName="/ppt/tags/tag2124.xml" ContentType="application/vnd.openxmlformats-officedocument.presentationml.tags+xml"/>
  <Override PartName="/ppt/tags/tag2125.xml" ContentType="application/vnd.openxmlformats-officedocument.presentationml.tags+xml"/>
  <Override PartName="/ppt/tags/tag2126.xml" ContentType="application/vnd.openxmlformats-officedocument.presentationml.tags+xml"/>
  <Override PartName="/ppt/tags/tag2127.xml" ContentType="application/vnd.openxmlformats-officedocument.presentationml.tags+xml"/>
  <Override PartName="/ppt/tags/tag2128.xml" ContentType="application/vnd.openxmlformats-officedocument.presentationml.tags+xml"/>
  <Override PartName="/ppt/tags/tag2129.xml" ContentType="application/vnd.openxmlformats-officedocument.presentationml.tags+xml"/>
  <Override PartName="/ppt/tags/tag2130.xml" ContentType="application/vnd.openxmlformats-officedocument.presentationml.tags+xml"/>
  <Override PartName="/ppt/tags/tag2131.xml" ContentType="application/vnd.openxmlformats-officedocument.presentationml.tags+xml"/>
  <Override PartName="/ppt/tags/tag2132.xml" ContentType="application/vnd.openxmlformats-officedocument.presentationml.tags+xml"/>
  <Override PartName="/ppt/tags/tag2133.xml" ContentType="application/vnd.openxmlformats-officedocument.presentationml.tags+xml"/>
  <Override PartName="/ppt/tags/tag2134.xml" ContentType="application/vnd.openxmlformats-officedocument.presentationml.tags+xml"/>
  <Override PartName="/ppt/tags/tag2135.xml" ContentType="application/vnd.openxmlformats-officedocument.presentationml.tags+xml"/>
  <Override PartName="/ppt/tags/tag2136.xml" ContentType="application/vnd.openxmlformats-officedocument.presentationml.tags+xml"/>
  <Override PartName="/ppt/tags/tag2137.xml" ContentType="application/vnd.openxmlformats-officedocument.presentationml.tags+xml"/>
  <Override PartName="/ppt/tags/tag2138.xml" ContentType="application/vnd.openxmlformats-officedocument.presentationml.tags+xml"/>
  <Override PartName="/ppt/tags/tag2139.xml" ContentType="application/vnd.openxmlformats-officedocument.presentationml.tags+xml"/>
  <Override PartName="/ppt/tags/tag2140.xml" ContentType="application/vnd.openxmlformats-officedocument.presentationml.tags+xml"/>
  <Override PartName="/ppt/tags/tag2141.xml" ContentType="application/vnd.openxmlformats-officedocument.presentationml.tags+xml"/>
  <Override PartName="/ppt/tags/tag2142.xml" ContentType="application/vnd.openxmlformats-officedocument.presentationml.tags+xml"/>
  <Override PartName="/ppt/tags/tag2143.xml" ContentType="application/vnd.openxmlformats-officedocument.presentationml.tags+xml"/>
  <Override PartName="/ppt/tags/tag2144.xml" ContentType="application/vnd.openxmlformats-officedocument.presentationml.tags+xml"/>
  <Override PartName="/ppt/tags/tag2145.xml" ContentType="application/vnd.openxmlformats-officedocument.presentationml.tags+xml"/>
  <Override PartName="/ppt/tags/tag2146.xml" ContentType="application/vnd.openxmlformats-officedocument.presentationml.tags+xml"/>
  <Override PartName="/ppt/tags/tag2147.xml" ContentType="application/vnd.openxmlformats-officedocument.presentationml.tags+xml"/>
  <Override PartName="/ppt/tags/tag2148.xml" ContentType="application/vnd.openxmlformats-officedocument.presentationml.tags+xml"/>
  <Override PartName="/ppt/tags/tag2149.xml" ContentType="application/vnd.openxmlformats-officedocument.presentationml.tags+xml"/>
  <Override PartName="/ppt/tags/tag2150.xml" ContentType="application/vnd.openxmlformats-officedocument.presentationml.tags+xml"/>
  <Override PartName="/ppt/tags/tag2151.xml" ContentType="application/vnd.openxmlformats-officedocument.presentationml.tags+xml"/>
  <Override PartName="/ppt/tags/tag2152.xml" ContentType="application/vnd.openxmlformats-officedocument.presentationml.tags+xml"/>
  <Override PartName="/ppt/tags/tag2153.xml" ContentType="application/vnd.openxmlformats-officedocument.presentationml.tags+xml"/>
  <Override PartName="/ppt/tags/tag2154.xml" ContentType="application/vnd.openxmlformats-officedocument.presentationml.tags+xml"/>
  <Override PartName="/ppt/tags/tag2155.xml" ContentType="application/vnd.openxmlformats-officedocument.presentationml.tags+xml"/>
  <Override PartName="/ppt/tags/tag2156.xml" ContentType="application/vnd.openxmlformats-officedocument.presentationml.tags+xml"/>
  <Override PartName="/ppt/tags/tag2157.xml" ContentType="application/vnd.openxmlformats-officedocument.presentationml.tags+xml"/>
  <Override PartName="/ppt/tags/tag2158.xml" ContentType="application/vnd.openxmlformats-officedocument.presentationml.tags+xml"/>
  <Override PartName="/ppt/tags/tag2159.xml" ContentType="application/vnd.openxmlformats-officedocument.presentationml.tags+xml"/>
  <Override PartName="/ppt/tags/tag2160.xml" ContentType="application/vnd.openxmlformats-officedocument.presentationml.tags+xml"/>
  <Override PartName="/ppt/tags/tag2161.xml" ContentType="application/vnd.openxmlformats-officedocument.presentationml.tags+xml"/>
  <Override PartName="/ppt/tags/tag2162.xml" ContentType="application/vnd.openxmlformats-officedocument.presentationml.tags+xml"/>
  <Override PartName="/ppt/tags/tag2163.xml" ContentType="application/vnd.openxmlformats-officedocument.presentationml.tags+xml"/>
  <Override PartName="/ppt/tags/tag2164.xml" ContentType="application/vnd.openxmlformats-officedocument.presentationml.tags+xml"/>
  <Override PartName="/ppt/tags/tag2165.xml" ContentType="application/vnd.openxmlformats-officedocument.presentationml.tags+xml"/>
  <Override PartName="/ppt/tags/tag2166.xml" ContentType="application/vnd.openxmlformats-officedocument.presentationml.tags+xml"/>
  <Override PartName="/ppt/tags/tag2167.xml" ContentType="application/vnd.openxmlformats-officedocument.presentationml.tags+xml"/>
  <Override PartName="/ppt/tags/tag2168.xml" ContentType="application/vnd.openxmlformats-officedocument.presentationml.tags+xml"/>
  <Override PartName="/ppt/tags/tag2169.xml" ContentType="application/vnd.openxmlformats-officedocument.presentationml.tags+xml"/>
  <Override PartName="/ppt/tags/tag2170.xml" ContentType="application/vnd.openxmlformats-officedocument.presentationml.tags+xml"/>
  <Override PartName="/ppt/tags/tag2171.xml" ContentType="application/vnd.openxmlformats-officedocument.presentationml.tags+xml"/>
  <Override PartName="/ppt/tags/tag2172.xml" ContentType="application/vnd.openxmlformats-officedocument.presentationml.tags+xml"/>
  <Override PartName="/ppt/tags/tag2173.xml" ContentType="application/vnd.openxmlformats-officedocument.presentationml.tags+xml"/>
  <Override PartName="/ppt/tags/tag2174.xml" ContentType="application/vnd.openxmlformats-officedocument.presentationml.tags+xml"/>
  <Override PartName="/ppt/tags/tag2175.xml" ContentType="application/vnd.openxmlformats-officedocument.presentationml.tags+xml"/>
  <Override PartName="/ppt/tags/tag2176.xml" ContentType="application/vnd.openxmlformats-officedocument.presentationml.tags+xml"/>
  <Override PartName="/ppt/tags/tag2177.xml" ContentType="application/vnd.openxmlformats-officedocument.presentationml.tags+xml"/>
  <Override PartName="/ppt/tags/tag2178.xml" ContentType="application/vnd.openxmlformats-officedocument.presentationml.tags+xml"/>
  <Override PartName="/ppt/tags/tag2179.xml" ContentType="application/vnd.openxmlformats-officedocument.presentationml.tags+xml"/>
  <Override PartName="/ppt/tags/tag2180.xml" ContentType="application/vnd.openxmlformats-officedocument.presentationml.tags+xml"/>
  <Override PartName="/ppt/tags/tag2181.xml" ContentType="application/vnd.openxmlformats-officedocument.presentationml.tags+xml"/>
  <Override PartName="/ppt/tags/tag2182.xml" ContentType="application/vnd.openxmlformats-officedocument.presentationml.tags+xml"/>
  <Override PartName="/ppt/tags/tag2183.xml" ContentType="application/vnd.openxmlformats-officedocument.presentationml.tags+xml"/>
  <Override PartName="/ppt/tags/tag2184.xml" ContentType="application/vnd.openxmlformats-officedocument.presentationml.tags+xml"/>
  <Override PartName="/ppt/tags/tag2185.xml" ContentType="application/vnd.openxmlformats-officedocument.presentationml.tags+xml"/>
  <Override PartName="/ppt/tags/tag2186.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2187.xml" ContentType="application/vnd.openxmlformats-officedocument.presentationml.tags+xml"/>
  <Override PartName="/ppt/tags/tag2188.xml" ContentType="application/vnd.openxmlformats-officedocument.presentationml.tags+xml"/>
  <Override PartName="/ppt/tags/tag2189.xml" ContentType="application/vnd.openxmlformats-officedocument.presentationml.tags+xml"/>
  <Override PartName="/ppt/tags/tag2190.xml" ContentType="application/vnd.openxmlformats-officedocument.presentationml.tags+xml"/>
  <Override PartName="/ppt/tags/tag2191.xml" ContentType="application/vnd.openxmlformats-officedocument.presentationml.tags+xml"/>
  <Override PartName="/ppt/tags/tag2192.xml" ContentType="application/vnd.openxmlformats-officedocument.presentationml.tags+xml"/>
  <Override PartName="/ppt/tags/tag2193.xml" ContentType="application/vnd.openxmlformats-officedocument.presentationml.tags+xml"/>
  <Override PartName="/ppt/tags/tag2194.xml" ContentType="application/vnd.openxmlformats-officedocument.presentationml.tags+xml"/>
  <Override PartName="/ppt/tags/tag2195.xml" ContentType="application/vnd.openxmlformats-officedocument.presentationml.tags+xml"/>
  <Override PartName="/ppt/tags/tag2196.xml" ContentType="application/vnd.openxmlformats-officedocument.presentationml.tags+xml"/>
  <Override PartName="/ppt/tags/tag2197.xml" ContentType="application/vnd.openxmlformats-officedocument.presentationml.tags+xml"/>
  <Override PartName="/ppt/tags/tag2198.xml" ContentType="application/vnd.openxmlformats-officedocument.presentationml.tags+xml"/>
  <Override PartName="/ppt/tags/tag2199.xml" ContentType="application/vnd.openxmlformats-officedocument.presentationml.tags+xml"/>
  <Override PartName="/ppt/tags/tag2200.xml" ContentType="application/vnd.openxmlformats-officedocument.presentationml.tags+xml"/>
  <Override PartName="/ppt/tags/tag2201.xml" ContentType="application/vnd.openxmlformats-officedocument.presentationml.tags+xml"/>
  <Override PartName="/ppt/tags/tag2202.xml" ContentType="application/vnd.openxmlformats-officedocument.presentationml.tags+xml"/>
  <Override PartName="/ppt/tags/tag2203.xml" ContentType="application/vnd.openxmlformats-officedocument.presentationml.tags+xml"/>
  <Override PartName="/ppt/tags/tag2204.xml" ContentType="application/vnd.openxmlformats-officedocument.presentationml.tags+xml"/>
  <Override PartName="/ppt/tags/tag2205.xml" ContentType="application/vnd.openxmlformats-officedocument.presentationml.tags+xml"/>
  <Override PartName="/ppt/tags/tag2206.xml" ContentType="application/vnd.openxmlformats-officedocument.presentationml.tags+xml"/>
  <Override PartName="/ppt/tags/tag2207.xml" ContentType="application/vnd.openxmlformats-officedocument.presentationml.tags+xml"/>
  <Override PartName="/ppt/tags/tag2208.xml" ContentType="application/vnd.openxmlformats-officedocument.presentationml.tags+xml"/>
  <Override PartName="/ppt/tags/tag2209.xml" ContentType="application/vnd.openxmlformats-officedocument.presentationml.tags+xml"/>
  <Override PartName="/ppt/tags/tag2210.xml" ContentType="application/vnd.openxmlformats-officedocument.presentationml.tags+xml"/>
  <Override PartName="/ppt/tags/tag2211.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2212.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2213.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91" r:id="rId4"/>
  </p:sldMasterIdLst>
  <p:notesMasterIdLst>
    <p:notesMasterId r:id="rId41"/>
  </p:notesMasterIdLst>
  <p:handoutMasterIdLst>
    <p:handoutMasterId r:id="rId42"/>
  </p:handoutMasterIdLst>
  <p:sldIdLst>
    <p:sldId id="256" r:id="rId5"/>
    <p:sldId id="264" r:id="rId6"/>
    <p:sldId id="363" r:id="rId7"/>
    <p:sldId id="265" r:id="rId8"/>
    <p:sldId id="266" r:id="rId9"/>
    <p:sldId id="267" r:id="rId10"/>
    <p:sldId id="298" r:id="rId11"/>
    <p:sldId id="327" r:id="rId12"/>
    <p:sldId id="272" r:id="rId13"/>
    <p:sldId id="323" r:id="rId14"/>
    <p:sldId id="338" r:id="rId15"/>
    <p:sldId id="270" r:id="rId16"/>
    <p:sldId id="260" r:id="rId17"/>
    <p:sldId id="355" r:id="rId18"/>
    <p:sldId id="353" r:id="rId19"/>
    <p:sldId id="278" r:id="rId20"/>
    <p:sldId id="312" r:id="rId21"/>
    <p:sldId id="348" r:id="rId22"/>
    <p:sldId id="349" r:id="rId23"/>
    <p:sldId id="302" r:id="rId24"/>
    <p:sldId id="304" r:id="rId25"/>
    <p:sldId id="282" r:id="rId26"/>
    <p:sldId id="283" r:id="rId27"/>
    <p:sldId id="361" r:id="rId28"/>
    <p:sldId id="307" r:id="rId29"/>
    <p:sldId id="359" r:id="rId30"/>
    <p:sldId id="286" r:id="rId31"/>
    <p:sldId id="362" r:id="rId32"/>
    <p:sldId id="290" r:id="rId33"/>
    <p:sldId id="331" r:id="rId34"/>
    <p:sldId id="332" r:id="rId35"/>
    <p:sldId id="295" r:id="rId36"/>
    <p:sldId id="289" r:id="rId37"/>
    <p:sldId id="291" r:id="rId38"/>
    <p:sldId id="328" r:id="rId39"/>
    <p:sldId id="357" r:id="rId40"/>
  </p:sldIdLst>
  <p:sldSz cx="12192000" cy="6858000"/>
  <p:notesSz cx="6819900" cy="9918700"/>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D2E0"/>
    <a:srgbClr val="CBE4EC"/>
    <a:srgbClr val="C3E0EB"/>
    <a:srgbClr val="6DBACE"/>
    <a:srgbClr val="E7F1F7"/>
    <a:srgbClr val="00304A"/>
    <a:srgbClr val="003755"/>
    <a:srgbClr val="46617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526" autoAdjust="0"/>
    <p:restoredTop sz="96323" autoAdjust="0"/>
  </p:normalViewPr>
  <p:slideViewPr>
    <p:cSldViewPr snapToGrid="0">
      <p:cViewPr varScale="1">
        <p:scale>
          <a:sx n="118" d="100"/>
          <a:sy n="118" d="100"/>
        </p:scale>
        <p:origin x="523" y="91"/>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78" d="100"/>
          <a:sy n="78" d="100"/>
        </p:scale>
        <p:origin x="3888" y="91"/>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0.35021887597039897"/>
          <c:y val="2.8309512746069344E-2"/>
          <c:w val="0.64098087131683223"/>
          <c:h val="0.94338097450786129"/>
        </c:manualLayout>
      </c:layout>
      <c:barChart>
        <c:barDir val="bar"/>
        <c:grouping val="clustered"/>
        <c:varyColors val="0"/>
        <c:ser>
          <c:idx val="0"/>
          <c:order val="0"/>
          <c:tx>
            <c:strRef>
              <c:f>Sheet1!$B$1</c:f>
              <c:strCache>
                <c:ptCount val="1"/>
                <c:pt idx="0">
                  <c:v>Series 1</c:v>
                </c:pt>
              </c:strCache>
            </c:strRef>
          </c:tx>
          <c:spPr>
            <a:solidFill>
              <a:schemeClr val="tx1">
                <a:lumMod val="50000"/>
                <a:lumOff val="50000"/>
              </a:schemeClr>
            </a:solidFill>
            <a:ln>
              <a:noFill/>
            </a:ln>
            <a:effectLst/>
          </c:spPr>
          <c:invertIfNegative val="0"/>
          <c:dPt>
            <c:idx val="0"/>
            <c:invertIfNegative val="0"/>
            <c:bubble3D val="0"/>
            <c:spPr>
              <a:solidFill>
                <a:schemeClr val="tx1">
                  <a:lumMod val="50000"/>
                  <a:lumOff val="50000"/>
                </a:schemeClr>
              </a:solidFill>
              <a:ln>
                <a:noFill/>
              </a:ln>
              <a:effectLst/>
            </c:spPr>
          </c:dPt>
          <c:dPt>
            <c:idx val="1"/>
            <c:invertIfNegative val="0"/>
            <c:bubble3D val="0"/>
            <c:spPr>
              <a:solidFill>
                <a:schemeClr val="tx1">
                  <a:lumMod val="50000"/>
                  <a:lumOff val="50000"/>
                </a:schemeClr>
              </a:solidFill>
              <a:ln>
                <a:noFill/>
              </a:ln>
              <a:effectLst/>
            </c:spPr>
          </c:dPt>
          <c:dPt>
            <c:idx val="2"/>
            <c:invertIfNegative val="0"/>
            <c:bubble3D val="0"/>
            <c:spPr>
              <a:solidFill>
                <a:schemeClr val="tx1">
                  <a:lumMod val="50000"/>
                  <a:lumOff val="50000"/>
                </a:schemeClr>
              </a:solidFill>
              <a:ln>
                <a:noFill/>
              </a:ln>
              <a:effectLst/>
            </c:spPr>
          </c:dPt>
          <c:dPt>
            <c:idx val="3"/>
            <c:invertIfNegative val="0"/>
            <c:bubble3D val="0"/>
            <c:spPr>
              <a:solidFill>
                <a:schemeClr val="tx1">
                  <a:lumMod val="50000"/>
                  <a:lumOff val="50000"/>
                </a:schemeClr>
              </a:solidFill>
              <a:ln>
                <a:noFill/>
              </a:ln>
              <a:effectLst/>
            </c:spPr>
          </c:dPt>
          <c:dPt>
            <c:idx val="4"/>
            <c:invertIfNegative val="0"/>
            <c:bubble3D val="0"/>
            <c:spPr>
              <a:solidFill>
                <a:schemeClr val="tx1">
                  <a:lumMod val="50000"/>
                  <a:lumOff val="50000"/>
                </a:schemeClr>
              </a:solidFill>
              <a:ln>
                <a:noFill/>
              </a:ln>
              <a:effectLst/>
            </c:spPr>
          </c:dPt>
          <c:dPt>
            <c:idx val="5"/>
            <c:invertIfNegative val="0"/>
            <c:bubble3D val="0"/>
            <c:spPr>
              <a:solidFill>
                <a:schemeClr val="tx1">
                  <a:lumMod val="50000"/>
                  <a:lumOff val="50000"/>
                </a:schemeClr>
              </a:solidFill>
              <a:ln>
                <a:noFill/>
              </a:ln>
              <a:effectLst/>
            </c:spPr>
          </c:dPt>
          <c:dPt>
            <c:idx val="6"/>
            <c:invertIfNegative val="0"/>
            <c:bubble3D val="0"/>
            <c:spPr>
              <a:solidFill>
                <a:schemeClr val="tx1">
                  <a:lumMod val="50000"/>
                  <a:lumOff val="50000"/>
                </a:schemeClr>
              </a:solidFill>
              <a:ln>
                <a:noFill/>
              </a:ln>
              <a:effectLst/>
            </c:spPr>
          </c:dPt>
          <c:dPt>
            <c:idx val="7"/>
            <c:invertIfNegative val="0"/>
            <c:bubble3D val="0"/>
            <c:spPr>
              <a:solidFill>
                <a:schemeClr val="tx1">
                  <a:lumMod val="50000"/>
                  <a:lumOff val="50000"/>
                </a:schemeClr>
              </a:solidFill>
              <a:ln>
                <a:noFill/>
              </a:ln>
              <a:effectLst/>
            </c:spPr>
          </c:dPt>
          <c:dPt>
            <c:idx val="8"/>
            <c:invertIfNegative val="0"/>
            <c:bubble3D val="0"/>
            <c:spPr>
              <a:solidFill>
                <a:schemeClr val="tx1">
                  <a:lumMod val="50000"/>
                  <a:lumOff val="50000"/>
                </a:schemeClr>
              </a:solidFill>
              <a:ln>
                <a:noFill/>
              </a:ln>
              <a:effectLst/>
            </c:spPr>
          </c:dPt>
          <c:dPt>
            <c:idx val="9"/>
            <c:invertIfNegative val="0"/>
            <c:bubble3D val="0"/>
            <c:spPr>
              <a:solidFill>
                <a:schemeClr val="tx1">
                  <a:lumMod val="50000"/>
                  <a:lumOff val="50000"/>
                </a:schemeClr>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anks (Financial)</c:v>
                </c:pt>
                <c:pt idx="1">
                  <c:v>Food (Consumer, Non-cyclical)</c:v>
                </c:pt>
                <c:pt idx="2">
                  <c:v>Real Estate (Financial)</c:v>
                </c:pt>
                <c:pt idx="3">
                  <c:v>Healthcare-Products (Consumer, Non-cyclical)</c:v>
                </c:pt>
                <c:pt idx="4">
                  <c:v>Insurance (Financial)</c:v>
                </c:pt>
                <c:pt idx="5">
                  <c:v>Chemicals (Basic Materials)</c:v>
                </c:pt>
                <c:pt idx="6">
                  <c:v>Commercial Services (Consumer, Non-cyclical)</c:v>
                </c:pt>
                <c:pt idx="7">
                  <c:v>Pharmaceuticals (Consumer, Non-cyclical)</c:v>
                </c:pt>
                <c:pt idx="8">
                  <c:v>Electric (Utilities)</c:v>
                </c:pt>
                <c:pt idx="9">
                  <c:v>Transportation (Industrial)</c:v>
                </c:pt>
              </c:strCache>
            </c:strRef>
          </c:cat>
          <c:val>
            <c:numRef>
              <c:f>Sheet1!$B$2:$B$11</c:f>
              <c:numCache>
                <c:formatCode>General</c:formatCode>
                <c:ptCount val="10"/>
                <c:pt idx="0">
                  <c:v>24</c:v>
                </c:pt>
                <c:pt idx="1">
                  <c:v>15</c:v>
                </c:pt>
                <c:pt idx="2">
                  <c:v>15</c:v>
                </c:pt>
                <c:pt idx="3">
                  <c:v>10</c:v>
                </c:pt>
                <c:pt idx="4">
                  <c:v>9</c:v>
                </c:pt>
                <c:pt idx="5">
                  <c:v>9</c:v>
                </c:pt>
                <c:pt idx="6">
                  <c:v>9</c:v>
                </c:pt>
                <c:pt idx="7">
                  <c:v>8</c:v>
                </c:pt>
                <c:pt idx="8">
                  <c:v>8</c:v>
                </c:pt>
                <c:pt idx="9">
                  <c:v>8</c:v>
                </c:pt>
              </c:numCache>
            </c:numRef>
          </c:val>
        </c:ser>
        <c:dLbls>
          <c:dLblPos val="outEnd"/>
          <c:showLegendKey val="0"/>
          <c:showVal val="1"/>
          <c:showCatName val="0"/>
          <c:showSerName val="0"/>
          <c:showPercent val="0"/>
          <c:showBubbleSize val="0"/>
        </c:dLbls>
        <c:gapWidth val="150"/>
        <c:axId val="816442080"/>
        <c:axId val="816440904"/>
      </c:barChart>
      <c:catAx>
        <c:axId val="81644208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003755"/>
                </a:solidFill>
                <a:latin typeface="+mn-lt"/>
                <a:ea typeface="+mn-ea"/>
                <a:cs typeface="+mn-cs"/>
              </a:defRPr>
            </a:pPr>
            <a:endParaRPr lang="en-US"/>
          </a:p>
        </c:txPr>
        <c:crossAx val="816440904"/>
        <c:crosses val="autoZero"/>
        <c:auto val="1"/>
        <c:lblAlgn val="ctr"/>
        <c:lblOffset val="100"/>
        <c:noMultiLvlLbl val="0"/>
      </c:catAx>
      <c:valAx>
        <c:axId val="816440904"/>
        <c:scaling>
          <c:orientation val="minMax"/>
        </c:scaling>
        <c:delete val="1"/>
        <c:axPos val="t"/>
        <c:majorGridlines>
          <c:spPr>
            <a:ln w="9525" cap="flat" cmpd="sng" algn="ctr">
              <a:noFill/>
              <a:round/>
            </a:ln>
            <a:effectLst/>
          </c:spPr>
        </c:majorGridlines>
        <c:numFmt formatCode="General" sourceLinked="1"/>
        <c:majorTickMark val="out"/>
        <c:minorTickMark val="none"/>
        <c:tickLblPos val="nextTo"/>
        <c:crossAx val="816442080"/>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0.35021887597039897"/>
          <c:y val="2.8309512746069344E-2"/>
          <c:w val="0.64098087131683223"/>
          <c:h val="0.94338097450786129"/>
        </c:manualLayout>
      </c:layout>
      <c:barChart>
        <c:barDir val="bar"/>
        <c:grouping val="clustered"/>
        <c:varyColors val="0"/>
        <c:ser>
          <c:idx val="0"/>
          <c:order val="0"/>
          <c:tx>
            <c:strRef>
              <c:f>Sheet1!$B$1</c:f>
              <c:strCache>
                <c:ptCount val="1"/>
                <c:pt idx="0">
                  <c:v>Series 1</c:v>
                </c:pt>
              </c:strCache>
            </c:strRef>
          </c:tx>
          <c:spPr>
            <a:solidFill>
              <a:schemeClr val="tx1">
                <a:lumMod val="50000"/>
                <a:lumOff val="50000"/>
              </a:schemeClr>
            </a:solidFill>
            <a:ln>
              <a:noFill/>
            </a:ln>
            <a:effectLst/>
          </c:spPr>
          <c:invertIfNegative val="0"/>
          <c:dPt>
            <c:idx val="0"/>
            <c:invertIfNegative val="0"/>
            <c:bubble3D val="0"/>
            <c:spPr>
              <a:solidFill>
                <a:schemeClr val="tx1">
                  <a:lumMod val="50000"/>
                  <a:lumOff val="50000"/>
                </a:schemeClr>
              </a:solidFill>
              <a:ln>
                <a:noFill/>
              </a:ln>
              <a:effectLst/>
            </c:spPr>
          </c:dPt>
          <c:dPt>
            <c:idx val="1"/>
            <c:invertIfNegative val="0"/>
            <c:bubble3D val="0"/>
            <c:spPr>
              <a:solidFill>
                <a:schemeClr val="tx1">
                  <a:lumMod val="50000"/>
                  <a:lumOff val="50000"/>
                </a:schemeClr>
              </a:solidFill>
              <a:ln>
                <a:noFill/>
              </a:ln>
              <a:effectLst/>
            </c:spPr>
          </c:dPt>
          <c:dPt>
            <c:idx val="2"/>
            <c:invertIfNegative val="0"/>
            <c:bubble3D val="0"/>
            <c:spPr>
              <a:solidFill>
                <a:schemeClr val="tx1">
                  <a:lumMod val="50000"/>
                  <a:lumOff val="50000"/>
                </a:schemeClr>
              </a:solidFill>
              <a:ln>
                <a:noFill/>
              </a:ln>
              <a:effectLst/>
            </c:spPr>
          </c:dPt>
          <c:dPt>
            <c:idx val="3"/>
            <c:invertIfNegative val="0"/>
            <c:bubble3D val="0"/>
            <c:spPr>
              <a:solidFill>
                <a:schemeClr val="tx1">
                  <a:lumMod val="50000"/>
                  <a:lumOff val="50000"/>
                </a:schemeClr>
              </a:solidFill>
              <a:ln>
                <a:noFill/>
              </a:ln>
              <a:effectLst/>
            </c:spPr>
          </c:dPt>
          <c:dPt>
            <c:idx val="4"/>
            <c:invertIfNegative val="0"/>
            <c:bubble3D val="0"/>
            <c:spPr>
              <a:solidFill>
                <a:schemeClr val="tx1">
                  <a:lumMod val="50000"/>
                  <a:lumOff val="50000"/>
                </a:schemeClr>
              </a:solidFill>
              <a:ln>
                <a:noFill/>
              </a:ln>
              <a:effectLst/>
            </c:spPr>
          </c:dPt>
          <c:dPt>
            <c:idx val="5"/>
            <c:invertIfNegative val="0"/>
            <c:bubble3D val="0"/>
            <c:spPr>
              <a:solidFill>
                <a:schemeClr val="tx1">
                  <a:lumMod val="50000"/>
                  <a:lumOff val="50000"/>
                </a:schemeClr>
              </a:solidFill>
              <a:ln>
                <a:noFill/>
              </a:ln>
              <a:effectLst/>
            </c:spPr>
          </c:dPt>
          <c:dPt>
            <c:idx val="6"/>
            <c:invertIfNegative val="0"/>
            <c:bubble3D val="0"/>
            <c:spPr>
              <a:solidFill>
                <a:schemeClr val="tx1">
                  <a:lumMod val="50000"/>
                  <a:lumOff val="50000"/>
                </a:schemeClr>
              </a:solidFill>
              <a:ln>
                <a:noFill/>
              </a:ln>
              <a:effectLst/>
            </c:spPr>
          </c:dPt>
          <c:dPt>
            <c:idx val="7"/>
            <c:invertIfNegative val="0"/>
            <c:bubble3D val="0"/>
            <c:spPr>
              <a:solidFill>
                <a:schemeClr val="tx1">
                  <a:lumMod val="50000"/>
                  <a:lumOff val="50000"/>
                </a:schemeClr>
              </a:solidFill>
              <a:ln>
                <a:noFill/>
              </a:ln>
              <a:effectLst/>
            </c:spPr>
          </c:dPt>
          <c:dPt>
            <c:idx val="8"/>
            <c:invertIfNegative val="0"/>
            <c:bubble3D val="0"/>
            <c:spPr>
              <a:solidFill>
                <a:schemeClr val="tx1">
                  <a:lumMod val="50000"/>
                  <a:lumOff val="50000"/>
                </a:schemeClr>
              </a:solidFill>
              <a:ln>
                <a:noFill/>
              </a:ln>
              <a:effectLst/>
            </c:spPr>
          </c:dPt>
          <c:dPt>
            <c:idx val="9"/>
            <c:invertIfNegative val="0"/>
            <c:bubble3D val="0"/>
            <c:spPr>
              <a:solidFill>
                <a:schemeClr val="tx1">
                  <a:lumMod val="50000"/>
                  <a:lumOff val="50000"/>
                </a:schemeClr>
              </a:solidFill>
              <a:ln>
                <a:noFill/>
              </a:ln>
              <a:effectLst/>
            </c:spPr>
          </c:dPt>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anks (Financials)</c:v>
                </c:pt>
                <c:pt idx="1">
                  <c:v>Equity Real Estate Investment Trusts (REITs) (Real Estate)</c:v>
                </c:pt>
                <c:pt idx="2">
                  <c:v>Insurance (Financials)</c:v>
                </c:pt>
                <c:pt idx="3">
                  <c:v>Software (Information Technology)</c:v>
                </c:pt>
                <c:pt idx="4">
                  <c:v>Oil, Gas &amp; Consumable Fuels (Energy)</c:v>
                </c:pt>
                <c:pt idx="5">
                  <c:v>Machinery (Industrials)</c:v>
                </c:pt>
                <c:pt idx="6">
                  <c:v>Real Estate Management &amp; Development (Real Estate)</c:v>
                </c:pt>
                <c:pt idx="7">
                  <c:v>Chemicals (Materials)</c:v>
                </c:pt>
                <c:pt idx="8">
                  <c:v>Metals &amp; Mining (Materials)</c:v>
                </c:pt>
                <c:pt idx="9">
                  <c:v>Capital Markets (Financials)</c:v>
                </c:pt>
              </c:strCache>
            </c:strRef>
          </c:cat>
          <c:val>
            <c:numRef>
              <c:f>Sheet1!$B$2:$B$11</c:f>
              <c:numCache>
                <c:formatCode>General</c:formatCode>
                <c:ptCount val="10"/>
                <c:pt idx="0">
                  <c:v>264</c:v>
                </c:pt>
                <c:pt idx="1">
                  <c:v>153</c:v>
                </c:pt>
                <c:pt idx="2">
                  <c:v>127</c:v>
                </c:pt>
                <c:pt idx="3">
                  <c:v>120</c:v>
                </c:pt>
                <c:pt idx="4">
                  <c:v>119</c:v>
                </c:pt>
                <c:pt idx="5">
                  <c:v>112</c:v>
                </c:pt>
                <c:pt idx="6">
                  <c:v>107</c:v>
                </c:pt>
                <c:pt idx="7">
                  <c:v>102</c:v>
                </c:pt>
                <c:pt idx="8">
                  <c:v>100</c:v>
                </c:pt>
                <c:pt idx="9">
                  <c:v>92</c:v>
                </c:pt>
              </c:numCache>
            </c:numRef>
          </c:val>
        </c:ser>
        <c:dLbls>
          <c:dLblPos val="outEnd"/>
          <c:showLegendKey val="0"/>
          <c:showVal val="1"/>
          <c:showCatName val="0"/>
          <c:showSerName val="0"/>
          <c:showPercent val="0"/>
          <c:showBubbleSize val="0"/>
        </c:dLbls>
        <c:gapWidth val="150"/>
        <c:axId val="1492787680"/>
        <c:axId val="1492798656"/>
      </c:barChart>
      <c:catAx>
        <c:axId val="149278768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003755"/>
                </a:solidFill>
                <a:latin typeface="+mn-lt"/>
                <a:ea typeface="+mn-ea"/>
                <a:cs typeface="+mn-cs"/>
              </a:defRPr>
            </a:pPr>
            <a:endParaRPr lang="en-US"/>
          </a:p>
        </c:txPr>
        <c:crossAx val="1492798656"/>
        <c:crosses val="autoZero"/>
        <c:auto val="1"/>
        <c:lblAlgn val="ctr"/>
        <c:lblOffset val="100"/>
        <c:noMultiLvlLbl val="0"/>
      </c:catAx>
      <c:valAx>
        <c:axId val="1492798656"/>
        <c:scaling>
          <c:orientation val="minMax"/>
        </c:scaling>
        <c:delete val="1"/>
        <c:axPos val="t"/>
        <c:majorGridlines>
          <c:spPr>
            <a:ln w="9525" cap="flat" cmpd="sng" algn="ctr">
              <a:noFill/>
              <a:round/>
            </a:ln>
            <a:effectLst/>
          </c:spPr>
        </c:majorGridlines>
        <c:numFmt formatCode="General" sourceLinked="1"/>
        <c:majorTickMark val="out"/>
        <c:minorTickMark val="none"/>
        <c:tickLblPos val="nextTo"/>
        <c:crossAx val="1492787680"/>
        <c:crosses val="autoZero"/>
        <c:crossBetween val="between"/>
        <c:majorUnit val="1"/>
      </c:valAx>
      <c:spPr>
        <a:noFill/>
        <a:ln>
          <a:noFill/>
        </a:ln>
        <a:effectLst/>
      </c:spPr>
    </c:plotArea>
    <c:plotVisOnly val="1"/>
    <c:dispBlanksAs val="gap"/>
    <c:showDLblsOverMax val="0"/>
  </c:chart>
  <c:spPr>
    <a:noFill/>
    <a:ln>
      <a:solidFill>
        <a:schemeClr val="bg1">
          <a:alpha val="95000"/>
        </a:schemeClr>
      </a:solid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3087879135422994"/>
          <c:y val="9.6544777858036196E-2"/>
          <c:w val="0.38242405741732677"/>
          <c:h val="0.80691044428392766"/>
        </c:manualLayout>
      </c:layout>
      <c:doughnutChart>
        <c:varyColors val="1"/>
        <c:ser>
          <c:idx val="0"/>
          <c:order val="0"/>
          <c:tx>
            <c:strRef>
              <c:f>Sheet1!$B$1</c:f>
              <c:strCache>
                <c:ptCount val="1"/>
                <c:pt idx="0">
                  <c:v>Type</c:v>
                </c:pt>
              </c:strCache>
            </c:strRef>
          </c:tx>
          <c:dPt>
            <c:idx val="0"/>
            <c:bubble3D val="0"/>
            <c:spPr>
              <a:solidFill>
                <a:srgbClr val="00304A"/>
              </a:solidFill>
              <a:ln>
                <a:noFill/>
              </a:ln>
              <a:effectLst/>
            </c:spPr>
          </c:dPt>
          <c:dPt>
            <c:idx val="1"/>
            <c:bubble3D val="0"/>
            <c:spPr>
              <a:solidFill>
                <a:schemeClr val="bg2">
                  <a:lumMod val="50000"/>
                </a:schemeClr>
              </a:solidFill>
              <a:ln>
                <a:noFill/>
              </a:ln>
              <a:effectLst/>
            </c:spPr>
          </c:dPt>
          <c:dPt>
            <c:idx val="2"/>
            <c:bubble3D val="0"/>
            <c:spPr>
              <a:solidFill>
                <a:schemeClr val="tx2">
                  <a:lumMod val="90000"/>
                  <a:lumOff val="10000"/>
                </a:schemeClr>
              </a:solidFill>
              <a:ln>
                <a:noFill/>
              </a:ln>
              <a:effectLst/>
            </c:spPr>
          </c:dPt>
          <c:dPt>
            <c:idx val="3"/>
            <c:bubble3D val="0"/>
            <c:spPr>
              <a:solidFill>
                <a:srgbClr val="FBB273"/>
              </a:solidFill>
              <a:ln>
                <a:noFill/>
              </a:ln>
              <a:effectLst/>
            </c:spPr>
          </c:dPt>
          <c:dLbls>
            <c:dLbl>
              <c:idx val="0"/>
              <c:layout>
                <c:manualLayout>
                  <c:x val="-0.15366071724535246"/>
                  <c:y val="-0.14334412435309943"/>
                </c:manualLayout>
              </c:layout>
              <c:showLegendKey val="0"/>
              <c:showVal val="1"/>
              <c:showCatName val="1"/>
              <c:showSerName val="0"/>
              <c:showPercent val="0"/>
              <c:showBubbleSize val="0"/>
              <c:separator> </c:separator>
              <c:extLst>
                <c:ext xmlns:c15="http://schemas.microsoft.com/office/drawing/2012/chart" uri="{CE6537A1-D6FC-4f65-9D91-7224C49458BB}"/>
              </c:extLst>
            </c:dLbl>
            <c:dLbl>
              <c:idx val="1"/>
              <c:layout>
                <c:manualLayout>
                  <c:x val="4.3657232668445567E-2"/>
                  <c:y val="-0.10586994432925576"/>
                </c:manualLayout>
              </c:layout>
              <c:showLegendKey val="0"/>
              <c:showVal val="1"/>
              <c:showCatName val="1"/>
              <c:showSerName val="0"/>
              <c:showPercent val="0"/>
              <c:showBubbleSize val="0"/>
              <c:separator> </c:separator>
              <c:extLst>
                <c:ext xmlns:c15="http://schemas.microsoft.com/office/drawing/2012/chart" uri="{CE6537A1-D6FC-4f65-9D91-7224C49458BB}"/>
              </c:extLst>
            </c:dLbl>
            <c:dLbl>
              <c:idx val="2"/>
              <c:layout>
                <c:manualLayout>
                  <c:x val="0.13537910452725888"/>
                  <c:y val="-4.8428356694380226E-2"/>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2343767775875524"/>
                      <c:h val="0.10461050462395682"/>
                    </c:manualLayout>
                  </c15:layout>
                </c:ext>
              </c:extLst>
            </c:dLbl>
            <c:dLbl>
              <c:idx val="3"/>
              <c:layout>
                <c:manualLayout>
                  <c:x val="0.12213390084467196"/>
                  <c:y val="3.8541340718407022E-2"/>
                </c:manualLayout>
              </c:layout>
              <c:showLegendKey val="0"/>
              <c:showVal val="1"/>
              <c:showCatName val="1"/>
              <c:showSerName val="0"/>
              <c:showPercent val="0"/>
              <c:showBubbleSize val="0"/>
              <c:separator> </c:separator>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2"/>
                    </a:solidFill>
                    <a:latin typeface="+mn-lt"/>
                    <a:ea typeface="+mn-ea"/>
                    <a:cs typeface="+mn-cs"/>
                  </a:defRPr>
                </a:pPr>
                <a:endParaRPr lang="en-US"/>
              </a:p>
            </c:txPr>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Sheet1!$A$2:$A$5</c:f>
              <c:strCache>
                <c:ptCount val="4"/>
                <c:pt idx="0">
                  <c:v>Annual</c:v>
                </c:pt>
                <c:pt idx="1">
                  <c:v>Special</c:v>
                </c:pt>
                <c:pt idx="2">
                  <c:v>Annual/Special</c:v>
                </c:pt>
                <c:pt idx="3">
                  <c:v>Court</c:v>
                </c:pt>
              </c:strCache>
            </c:strRef>
          </c:cat>
          <c:val>
            <c:numRef>
              <c:f>Sheet1!$B$2:$B$5</c:f>
              <c:numCache>
                <c:formatCode>0.0%</c:formatCode>
                <c:ptCount val="4"/>
                <c:pt idx="0">
                  <c:v>0.85519539533474709</c:v>
                </c:pt>
                <c:pt idx="1">
                  <c:v>0.10360496819145713</c:v>
                </c:pt>
                <c:pt idx="2">
                  <c:v>4.0290820963344444E-2</c:v>
                </c:pt>
                <c:pt idx="3">
                  <c:v>9.0881551045137842E-4</c:v>
                </c:pt>
              </c:numCache>
            </c:numRef>
          </c:val>
        </c:ser>
        <c:dLbls>
          <c:showLegendKey val="0"/>
          <c:showVal val="1"/>
          <c:showCatName val="0"/>
          <c:showSerName val="0"/>
          <c:showPercent val="0"/>
          <c:showBubbleSize val="0"/>
          <c:showLeaderLines val="0"/>
        </c:dLbls>
        <c:firstSliceAng val="61"/>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518983447550206E-3"/>
          <c:y val="0.17601009467719603"/>
          <c:w val="0.97113350393346809"/>
          <c:h val="0.52657398253582133"/>
        </c:manualLayout>
      </c:layout>
      <c:barChart>
        <c:barDir val="col"/>
        <c:grouping val="clustered"/>
        <c:varyColors val="0"/>
        <c:ser>
          <c:idx val="0"/>
          <c:order val="0"/>
          <c:tx>
            <c:strRef>
              <c:f>Sheet1!$B$1</c:f>
              <c:strCache>
                <c:ptCount val="1"/>
                <c:pt idx="0">
                  <c:v>Column2</c:v>
                </c:pt>
              </c:strCache>
            </c:strRef>
          </c:tx>
          <c:spPr>
            <a:solidFill>
              <a:schemeClr val="accent1"/>
            </a:solidFill>
            <a:ln w="6350" cap="flat" cmpd="sng" algn="ctr">
              <a:solidFill>
                <a:srgbClr val="003755"/>
              </a:solidFill>
              <a:prstDash val="solid"/>
              <a:miter lim="800000"/>
            </a:ln>
            <a:effectLst/>
          </c:spPr>
          <c:invertIfNegative val="0"/>
          <c:dPt>
            <c:idx val="0"/>
            <c:invertIfNegative val="0"/>
            <c:bubble3D val="0"/>
            <c:spPr>
              <a:solidFill>
                <a:schemeClr val="accent1"/>
              </a:solidFill>
              <a:ln w="6350" cap="flat" cmpd="sng" algn="ctr">
                <a:solidFill>
                  <a:srgbClr val="003755"/>
                </a:solidFill>
                <a:prstDash val="solid"/>
                <a:miter lim="800000"/>
              </a:ln>
              <a:effectLst/>
            </c:spPr>
          </c:dPt>
          <c:dPt>
            <c:idx val="1"/>
            <c:invertIfNegative val="0"/>
            <c:bubble3D val="0"/>
            <c:spPr>
              <a:solidFill>
                <a:schemeClr val="accent1"/>
              </a:solidFill>
              <a:ln w="6350" cap="flat" cmpd="sng" algn="ctr">
                <a:solidFill>
                  <a:srgbClr val="003755"/>
                </a:solidFill>
                <a:prstDash val="solid"/>
                <a:miter lim="800000"/>
              </a:ln>
              <a:effectLst/>
            </c:spPr>
          </c:dPt>
          <c:dPt>
            <c:idx val="2"/>
            <c:invertIfNegative val="0"/>
            <c:bubble3D val="0"/>
            <c:spPr>
              <a:solidFill>
                <a:schemeClr val="accent1"/>
              </a:solidFill>
              <a:ln w="6350" cap="flat" cmpd="sng" algn="ctr">
                <a:solidFill>
                  <a:srgbClr val="003755"/>
                </a:solidFill>
                <a:prstDash val="solid"/>
                <a:miter lim="800000"/>
              </a:ln>
              <a:effectLst/>
            </c:spPr>
          </c:dPt>
          <c:dPt>
            <c:idx val="3"/>
            <c:invertIfNegative val="0"/>
            <c:bubble3D val="0"/>
            <c:spPr>
              <a:solidFill>
                <a:schemeClr val="accent1"/>
              </a:solidFill>
              <a:ln w="6350" cap="flat" cmpd="sng" algn="ctr">
                <a:solidFill>
                  <a:srgbClr val="003755"/>
                </a:solidFill>
                <a:prstDash val="solid"/>
                <a:miter lim="800000"/>
              </a:ln>
              <a:effectLst/>
            </c:spPr>
          </c:dPt>
          <c:dPt>
            <c:idx val="5"/>
            <c:invertIfNegative val="0"/>
            <c:bubble3D val="0"/>
            <c:spPr>
              <a:solidFill>
                <a:schemeClr val="accent1"/>
              </a:solidFill>
              <a:ln w="6350" cap="flat" cmpd="sng" algn="ctr">
                <a:solidFill>
                  <a:srgbClr val="003755"/>
                </a:solidFill>
                <a:prstDash val="solid"/>
                <a:miter lim="800000"/>
              </a:ln>
              <a:effectLst/>
            </c:spPr>
          </c:dPt>
          <c:dLbls>
            <c:numFmt formatCode="General"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spc="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irectors 
Related</c:v>
                </c:pt>
                <c:pt idx="1">
                  <c:v>Routine/
Business</c:v>
                </c:pt>
                <c:pt idx="2">
                  <c:v>Other/
Misc</c:v>
                </c:pt>
                <c:pt idx="3">
                  <c:v>Health/
Environmental</c:v>
                </c:pt>
                <c:pt idx="4">
                  <c:v>Corporate 
Governance</c:v>
                </c:pt>
                <c:pt idx="5">
                  <c:v>Compensation</c:v>
                </c:pt>
                <c:pt idx="6">
                  <c:v>Social
Proposal</c:v>
                </c:pt>
                <c:pt idx="7">
                  <c:v>Social/
Human Rights</c:v>
                </c:pt>
              </c:strCache>
            </c:strRef>
          </c:cat>
          <c:val>
            <c:numRef>
              <c:f>Sheet1!$B$2:$B$9</c:f>
              <c:numCache>
                <c:formatCode>General</c:formatCode>
                <c:ptCount val="8"/>
                <c:pt idx="0">
                  <c:v>582</c:v>
                </c:pt>
                <c:pt idx="1">
                  <c:v>159</c:v>
                </c:pt>
                <c:pt idx="2">
                  <c:v>98</c:v>
                </c:pt>
                <c:pt idx="3">
                  <c:v>89</c:v>
                </c:pt>
                <c:pt idx="4">
                  <c:v>79</c:v>
                </c:pt>
                <c:pt idx="5">
                  <c:v>50</c:v>
                </c:pt>
                <c:pt idx="6">
                  <c:v>21</c:v>
                </c:pt>
                <c:pt idx="7">
                  <c:v>16</c:v>
                </c:pt>
              </c:numCache>
            </c:numRef>
          </c:val>
        </c:ser>
        <c:dLbls>
          <c:showLegendKey val="0"/>
          <c:showVal val="0"/>
          <c:showCatName val="0"/>
          <c:showSerName val="0"/>
          <c:showPercent val="0"/>
          <c:showBubbleSize val="0"/>
        </c:dLbls>
        <c:gapWidth val="100"/>
        <c:axId val="1492801792"/>
        <c:axId val="1522702272"/>
      </c:barChart>
      <c:catAx>
        <c:axId val="1492801792"/>
        <c:scaling>
          <c:orientation val="minMax"/>
        </c:scaling>
        <c:delete val="0"/>
        <c:axPos val="b"/>
        <c:numFmt formatCode="General" sourceLinked="1"/>
        <c:majorTickMark val="out"/>
        <c:minorTickMark val="none"/>
        <c:tickLblPos val="nextTo"/>
        <c:spPr>
          <a:noFill/>
          <a:ln>
            <a:noFill/>
          </a:ln>
          <a:effectLst/>
        </c:spPr>
        <c:txPr>
          <a:bodyPr rot="0" spcFirstLastPara="1" vertOverflow="ellipsis" wrap="square" anchor="ctr" anchorCtr="1"/>
          <a:lstStyle/>
          <a:p>
            <a:pPr>
              <a:defRPr sz="700" b="0" i="0" u="none" strike="noStrike" kern="1200" baseline="0">
                <a:solidFill>
                  <a:srgbClr val="003755"/>
                </a:solidFill>
                <a:latin typeface="+mn-lt"/>
                <a:ea typeface="+mn-ea"/>
                <a:cs typeface="+mn-cs"/>
              </a:defRPr>
            </a:pPr>
            <a:endParaRPr lang="en-US"/>
          </a:p>
        </c:txPr>
        <c:crossAx val="1522702272"/>
        <c:crosses val="autoZero"/>
        <c:auto val="1"/>
        <c:lblAlgn val="ctr"/>
        <c:lblOffset val="100"/>
        <c:noMultiLvlLbl val="0"/>
      </c:catAx>
      <c:valAx>
        <c:axId val="1522702272"/>
        <c:scaling>
          <c:orientation val="minMax"/>
          <c:max val="610"/>
          <c:min val="0"/>
        </c:scaling>
        <c:delete val="1"/>
        <c:axPos val="l"/>
        <c:numFmt formatCode="General" sourceLinked="0"/>
        <c:majorTickMark val="out"/>
        <c:minorTickMark val="none"/>
        <c:tickLblPos val="nextTo"/>
        <c:crossAx val="1492801792"/>
        <c:crosses val="autoZero"/>
        <c:crossBetween val="between"/>
        <c:majorUnit val="100"/>
        <c:minorUnit val="50"/>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0731921292843752E-2"/>
          <c:w val="0.97571927022043092"/>
          <c:h val="0.66132234495377118"/>
        </c:manualLayout>
      </c:layout>
      <c:barChart>
        <c:barDir val="col"/>
        <c:grouping val="clustered"/>
        <c:varyColors val="0"/>
        <c:ser>
          <c:idx val="0"/>
          <c:order val="0"/>
          <c:tx>
            <c:strRef>
              <c:f>Sheet1!$B$1</c:f>
              <c:strCache>
                <c:ptCount val="1"/>
                <c:pt idx="0">
                  <c:v>Column1</c:v>
                </c:pt>
              </c:strCache>
            </c:strRef>
          </c:tx>
          <c:spPr>
            <a:solidFill>
              <a:schemeClr val="accent1"/>
            </a:solidFill>
            <a:ln w="6350" cap="flat" cmpd="sng" algn="ctr">
              <a:solidFill>
                <a:srgbClr val="003755"/>
              </a:solidFill>
              <a:prstDash val="solid"/>
              <a:miter lim="800000"/>
            </a:ln>
            <a:effectLst/>
          </c:spPr>
          <c:invertIfNegative val="0"/>
          <c:dPt>
            <c:idx val="0"/>
            <c:invertIfNegative val="0"/>
            <c:bubble3D val="0"/>
            <c:spPr>
              <a:solidFill>
                <a:schemeClr val="accent1"/>
              </a:solidFill>
              <a:ln w="6350" cap="flat" cmpd="sng" algn="ctr">
                <a:solidFill>
                  <a:srgbClr val="003755"/>
                </a:solidFill>
                <a:prstDash val="solid"/>
                <a:miter lim="800000"/>
              </a:ln>
              <a:effectLst/>
            </c:spPr>
          </c:dPt>
          <c:dPt>
            <c:idx val="1"/>
            <c:invertIfNegative val="0"/>
            <c:bubble3D val="0"/>
            <c:spPr>
              <a:solidFill>
                <a:schemeClr val="accent1"/>
              </a:solidFill>
              <a:ln w="6350" cap="flat" cmpd="sng" algn="ctr">
                <a:solidFill>
                  <a:srgbClr val="003755"/>
                </a:solidFill>
                <a:prstDash val="solid"/>
                <a:miter lim="800000"/>
              </a:ln>
              <a:effectLst/>
            </c:spPr>
          </c:dPt>
          <c:dPt>
            <c:idx val="2"/>
            <c:invertIfNegative val="0"/>
            <c:bubble3D val="0"/>
            <c:spPr>
              <a:solidFill>
                <a:schemeClr val="accent1"/>
              </a:solidFill>
              <a:ln w="6350" cap="flat" cmpd="sng" algn="ctr">
                <a:solidFill>
                  <a:srgbClr val="003755"/>
                </a:solidFill>
                <a:prstDash val="solid"/>
                <a:miter lim="800000"/>
              </a:ln>
              <a:effectLst/>
            </c:spPr>
          </c:dPt>
          <c:dPt>
            <c:idx val="3"/>
            <c:invertIfNegative val="0"/>
            <c:bubble3D val="0"/>
            <c:spPr>
              <a:solidFill>
                <a:schemeClr val="accent1"/>
              </a:solidFill>
              <a:ln w="6350" cap="flat" cmpd="sng" algn="ctr">
                <a:solidFill>
                  <a:srgbClr val="003755"/>
                </a:solidFill>
                <a:prstDash val="solid"/>
                <a:miter lim="800000"/>
              </a:ln>
              <a:effectLst/>
            </c:spPr>
          </c:dPt>
          <c:dPt>
            <c:idx val="5"/>
            <c:invertIfNegative val="0"/>
            <c:bubble3D val="0"/>
            <c:spPr>
              <a:solidFill>
                <a:schemeClr val="accent1"/>
              </a:solidFill>
              <a:ln w="6350" cap="flat" cmpd="sng" algn="ctr">
                <a:solidFill>
                  <a:srgbClr val="003755"/>
                </a:solidFill>
                <a:prstDash val="solid"/>
                <a:miter lim="800000"/>
              </a:ln>
              <a:effectLst/>
            </c:spPr>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spc="0" baseline="0">
                    <a:solidFill>
                      <a:srgbClr val="003755"/>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Directors 
Related</c:v>
                </c:pt>
                <c:pt idx="1">
                  <c:v>Routine/
Business</c:v>
                </c:pt>
                <c:pt idx="2">
                  <c:v>Non-Salary 
Comp.</c:v>
                </c:pt>
                <c:pt idx="3">
                  <c:v>Capitalization</c:v>
                </c:pt>
                <c:pt idx="4">
                  <c:v>Reorg. and 
Mergers</c:v>
                </c:pt>
                <c:pt idx="5">
                  <c:v>Antitakeover 
Related</c:v>
                </c:pt>
                <c:pt idx="6">
                  <c:v>Miscellaneous</c:v>
                </c:pt>
                <c:pt idx="7">
                  <c:v>Social 
Proposal</c:v>
                </c:pt>
                <c:pt idx="8">
                  <c:v>Other/Misc</c:v>
                </c:pt>
              </c:strCache>
            </c:strRef>
          </c:cat>
          <c:val>
            <c:numRef>
              <c:f>Sheet1!$B$2:$B$10</c:f>
              <c:numCache>
                <c:formatCode>General</c:formatCode>
                <c:ptCount val="9"/>
                <c:pt idx="0">
                  <c:v>21338</c:v>
                </c:pt>
                <c:pt idx="1">
                  <c:v>8614</c:v>
                </c:pt>
                <c:pt idx="2">
                  <c:v>3738</c:v>
                </c:pt>
                <c:pt idx="3">
                  <c:v>3458</c:v>
                </c:pt>
                <c:pt idx="4">
                  <c:v>1226</c:v>
                </c:pt>
                <c:pt idx="5">
                  <c:v>212</c:v>
                </c:pt>
                <c:pt idx="6">
                  <c:v>33</c:v>
                </c:pt>
                <c:pt idx="7">
                  <c:v>3</c:v>
                </c:pt>
                <c:pt idx="8">
                  <c:v>1</c:v>
                </c:pt>
              </c:numCache>
            </c:numRef>
          </c:val>
        </c:ser>
        <c:dLbls>
          <c:showLegendKey val="0"/>
          <c:showVal val="0"/>
          <c:showCatName val="0"/>
          <c:showSerName val="0"/>
          <c:showPercent val="0"/>
          <c:showBubbleSize val="0"/>
        </c:dLbls>
        <c:gapWidth val="100"/>
        <c:axId val="1522700704"/>
        <c:axId val="1522708152"/>
      </c:barChart>
      <c:catAx>
        <c:axId val="1522700704"/>
        <c:scaling>
          <c:orientation val="minMax"/>
        </c:scaling>
        <c:delete val="0"/>
        <c:axPos val="b"/>
        <c:numFmt formatCode="General" sourceLinked="1"/>
        <c:majorTickMark val="out"/>
        <c:minorTickMark val="none"/>
        <c:tickLblPos val="nextTo"/>
        <c:spPr>
          <a:noFill/>
          <a:ln>
            <a:noFill/>
          </a:ln>
          <a:effectLst/>
        </c:spPr>
        <c:txPr>
          <a:bodyPr rot="0" spcFirstLastPara="1" vertOverflow="ellipsis" wrap="square" anchor="t" anchorCtr="0"/>
          <a:lstStyle/>
          <a:p>
            <a:pPr>
              <a:defRPr sz="700" b="0" i="0" u="none" strike="noStrike" kern="1200" baseline="0">
                <a:solidFill>
                  <a:srgbClr val="003755"/>
                </a:solidFill>
                <a:latin typeface="+mn-lt"/>
                <a:ea typeface="+mn-ea"/>
                <a:cs typeface="+mn-cs"/>
              </a:defRPr>
            </a:pPr>
            <a:endParaRPr lang="en-US"/>
          </a:p>
        </c:txPr>
        <c:crossAx val="1522708152"/>
        <c:crosses val="autoZero"/>
        <c:auto val="1"/>
        <c:lblAlgn val="ctr"/>
        <c:lblOffset val="100"/>
        <c:noMultiLvlLbl val="0"/>
      </c:catAx>
      <c:valAx>
        <c:axId val="1522708152"/>
        <c:scaling>
          <c:orientation val="minMax"/>
          <c:max val="24000"/>
          <c:min val="0"/>
        </c:scaling>
        <c:delete val="1"/>
        <c:axPos val="l"/>
        <c:numFmt formatCode="General" sourceLinked="0"/>
        <c:majorTickMark val="out"/>
        <c:minorTickMark val="none"/>
        <c:tickLblPos val="nextTo"/>
        <c:crossAx val="1522700704"/>
        <c:crosses val="autoZero"/>
        <c:crossBetween val="between"/>
        <c:majorUnit val="1000"/>
        <c:minorUnit val="200"/>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9869945733134722"/>
          <c:y val="2.3120529872363179E-2"/>
          <c:w val="0.40081296056888266"/>
          <c:h val="0.94843750317190556"/>
        </c:manualLayout>
      </c:layout>
      <c:barChart>
        <c:barDir val="bar"/>
        <c:grouping val="clustered"/>
        <c:varyColors val="0"/>
        <c:ser>
          <c:idx val="0"/>
          <c:order val="0"/>
          <c:tx>
            <c:strRef>
              <c:f>Sheet1!$B$1</c:f>
              <c:strCache>
                <c:ptCount val="1"/>
                <c:pt idx="0">
                  <c:v>Series 1</c:v>
                </c:pt>
              </c:strCache>
            </c:strRef>
          </c:tx>
          <c:spPr>
            <a:solidFill>
              <a:schemeClr val="accent1"/>
            </a:solidFill>
            <a:ln w="12700" cap="flat" cmpd="sng" algn="ctr">
              <a:solidFill>
                <a:schemeClr val="accent1">
                  <a:shade val="50000"/>
                </a:schemeClr>
              </a:solidFill>
              <a:prstDash val="solid"/>
              <a:miter lim="800000"/>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Elect Director</c:v>
                </c:pt>
                <c:pt idx="1">
                  <c:v>Approve Issuance of Equity or Equity-Linked Securities without Preemptive Rights</c:v>
                </c:pt>
                <c:pt idx="2">
                  <c:v>Advisory Vote to Ratify Named Executive Officers'Compensation</c:v>
                </c:pt>
                <c:pt idx="3">
                  <c:v>Approve Remuneration Policy</c:v>
                </c:pt>
                <c:pt idx="4">
                  <c:v>Elect Director (Cumulative Voting or More Nominees Than Board Seats)</c:v>
                </c:pt>
                <c:pt idx="5">
                  <c:v>Authorize Reissuance of Repurchased Shares</c:v>
                </c:pt>
                <c:pt idx="6">
                  <c:v>Approve/Amend Loan Guarantee to Subsidiary</c:v>
                </c:pt>
                <c:pt idx="7">
                  <c:v>Elect Supervisory Board Member</c:v>
                </c:pt>
                <c:pt idx="8">
                  <c:v>Other Business</c:v>
                </c:pt>
                <c:pt idx="9">
                  <c:v>Approve Issuance of Shares for a Private Placement</c:v>
                </c:pt>
                <c:pt idx="10">
                  <c:v>Approve Share Plan Grant</c:v>
                </c:pt>
                <c:pt idx="11">
                  <c:v>Appoint Internal Statutory Auditor(s) [and Approve Auditor's/Auditors' Remuneration]</c:v>
                </c:pt>
                <c:pt idx="12">
                  <c:v>Approve Transaction with a Related Party</c:v>
                </c:pt>
                <c:pt idx="13">
                  <c:v>Authorize Share Repurchase Program</c:v>
                </c:pt>
                <c:pt idx="14">
                  <c:v>Provide Right to Act by Written Consent</c:v>
                </c:pt>
              </c:strCache>
            </c:strRef>
          </c:cat>
          <c:val>
            <c:numRef>
              <c:f>Sheet1!$B$2:$B$16</c:f>
              <c:numCache>
                <c:formatCode>General</c:formatCode>
                <c:ptCount val="15"/>
                <c:pt idx="0">
                  <c:v>966</c:v>
                </c:pt>
                <c:pt idx="1">
                  <c:v>247</c:v>
                </c:pt>
                <c:pt idx="2">
                  <c:v>222</c:v>
                </c:pt>
                <c:pt idx="3">
                  <c:v>124</c:v>
                </c:pt>
                <c:pt idx="4">
                  <c:v>121</c:v>
                </c:pt>
                <c:pt idx="5">
                  <c:v>120</c:v>
                </c:pt>
                <c:pt idx="6">
                  <c:v>80</c:v>
                </c:pt>
                <c:pt idx="7">
                  <c:v>61</c:v>
                </c:pt>
                <c:pt idx="8">
                  <c:v>59</c:v>
                </c:pt>
                <c:pt idx="9">
                  <c:v>51</c:v>
                </c:pt>
                <c:pt idx="10">
                  <c:v>51</c:v>
                </c:pt>
                <c:pt idx="11">
                  <c:v>48</c:v>
                </c:pt>
                <c:pt idx="12">
                  <c:v>42</c:v>
                </c:pt>
                <c:pt idx="13">
                  <c:v>41</c:v>
                </c:pt>
                <c:pt idx="14">
                  <c:v>40</c:v>
                </c:pt>
              </c:numCache>
            </c:numRef>
          </c:val>
        </c:ser>
        <c:dLbls>
          <c:dLblPos val="outEnd"/>
          <c:showLegendKey val="0"/>
          <c:showVal val="1"/>
          <c:showCatName val="0"/>
          <c:showSerName val="0"/>
          <c:showPercent val="0"/>
          <c:showBubbleSize val="0"/>
        </c:dLbls>
        <c:gapWidth val="182"/>
        <c:axId val="1522701880"/>
        <c:axId val="1522707368"/>
      </c:barChart>
      <c:catAx>
        <c:axId val="152270188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003755"/>
                </a:solidFill>
                <a:latin typeface="+mn-lt"/>
                <a:ea typeface="+mn-ea"/>
                <a:cs typeface="+mn-cs"/>
              </a:defRPr>
            </a:pPr>
            <a:endParaRPr lang="en-US"/>
          </a:p>
        </c:txPr>
        <c:crossAx val="1522707368"/>
        <c:crosses val="autoZero"/>
        <c:auto val="1"/>
        <c:lblAlgn val="ctr"/>
        <c:lblOffset val="100"/>
        <c:noMultiLvlLbl val="0"/>
      </c:catAx>
      <c:valAx>
        <c:axId val="1522707368"/>
        <c:scaling>
          <c:orientation val="minMax"/>
        </c:scaling>
        <c:delete val="1"/>
        <c:axPos val="t"/>
        <c:numFmt formatCode="General" sourceLinked="1"/>
        <c:majorTickMark val="none"/>
        <c:minorTickMark val="none"/>
        <c:tickLblPos val="nextTo"/>
        <c:crossAx val="15227018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09B89D"/>
              </a:solidFill>
              <a:ln w="19050">
                <a:solidFill>
                  <a:schemeClr val="lt1"/>
                </a:solidFill>
              </a:ln>
              <a:effectLst/>
            </c:spPr>
          </c:dPt>
          <c:dPt>
            <c:idx val="1"/>
            <c:bubble3D val="0"/>
            <c:spPr>
              <a:solidFill>
                <a:schemeClr val="accent2"/>
              </a:solidFill>
              <a:ln w="38100">
                <a:solidFill>
                  <a:schemeClr val="lt1"/>
                </a:solidFill>
              </a:ln>
              <a:effectLst/>
            </c:spPr>
          </c:dPt>
          <c:dPt>
            <c:idx val="2"/>
            <c:bubble3D val="0"/>
            <c:spPr>
              <a:solidFill>
                <a:srgbClr val="003755"/>
              </a:solidFill>
              <a:ln w="38100">
                <a:solidFill>
                  <a:schemeClr val="lt1"/>
                </a:solidFill>
                <a:round/>
              </a:ln>
              <a:effectLst/>
            </c:spPr>
          </c:dPt>
          <c:dLbls>
            <c:dLbl>
              <c:idx val="0"/>
              <c:layout>
                <c:manualLayout>
                  <c:x val="0.12728216802323214"/>
                  <c:y val="-4.0893182727158507E-2"/>
                </c:manualLayout>
              </c:layout>
              <c:spPr>
                <a:noFill/>
                <a:ln>
                  <a:noFill/>
                </a:ln>
                <a:effectLst/>
              </c:spPr>
              <c:txPr>
                <a:bodyPr rot="0" spcFirstLastPara="1" vertOverflow="ellipsis" vert="horz" wrap="square" lIns="38100" tIns="19050" rIns="38100" bIns="19050" anchor="ctr" anchorCtr="0">
                  <a:noAutofit/>
                </a:bodyPr>
                <a:lstStyle/>
                <a:p>
                  <a:pPr>
                    <a:defRPr sz="2000" b="0" i="0" u="none" strike="noStrike" kern="1200" baseline="0">
                      <a:solidFill>
                        <a:schemeClr val="accent1"/>
                      </a:solidFill>
                      <a:latin typeface="+mn-lt"/>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layout>
                    <c:manualLayout>
                      <c:w val="0.30869867540977347"/>
                      <c:h val="0.2245590721933263"/>
                    </c:manualLayout>
                  </c15:layout>
                </c:ext>
              </c:extLst>
            </c:dLbl>
            <c:dLbl>
              <c:idx val="1"/>
              <c:layout>
                <c:manualLayout>
                  <c:x val="-0.12679280220868441"/>
                  <c:y val="3.6379361442351127E-2"/>
                </c:manualLayout>
              </c:layout>
              <c:spPr>
                <a:noFill/>
                <a:ln>
                  <a:noFill/>
                </a:ln>
                <a:effectLst/>
              </c:spPr>
              <c:txPr>
                <a:bodyPr rot="0" spcFirstLastPara="1" vertOverflow="ellipsis" vert="horz" wrap="square" lIns="38100" tIns="19050" rIns="38100" bIns="19050" anchor="ctr" anchorCtr="0">
                  <a:spAutoFit/>
                </a:bodyPr>
                <a:lstStyle/>
                <a:p>
                  <a:pPr algn="ctr" rtl="0">
                    <a:defRPr lang="en-US" sz="2000" b="0" i="0" u="none" strike="noStrike" kern="1200" baseline="0">
                      <a:solidFill>
                        <a:schemeClr val="accent1"/>
                      </a:solidFill>
                      <a:latin typeface="+mn-lt"/>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extLst>
            </c:dLbl>
            <c:dLbl>
              <c:idx val="2"/>
              <c:layout>
                <c:manualLayout>
                  <c:x val="-0.13285981201365871"/>
                  <c:y val="4.5677713400042218E-3"/>
                </c:manualLayout>
              </c:layout>
              <c:spPr>
                <a:noFill/>
                <a:ln>
                  <a:noFill/>
                </a:ln>
                <a:effectLst/>
              </c:spPr>
              <c:txPr>
                <a:bodyPr rot="0" spcFirstLastPara="1" vertOverflow="overflow" horzOverflow="overflow" vert="horz" wrap="square" lIns="38100" tIns="19050" rIns="38100" bIns="19050" anchor="ctr" anchorCtr="0">
                  <a:spAutoFit/>
                </a:bodyPr>
                <a:lstStyle/>
                <a:p>
                  <a:pPr>
                    <a:defRPr sz="2000" b="0" i="0" u="none" strike="noStrike" kern="1200" baseline="0">
                      <a:solidFill>
                        <a:schemeClr val="accent1"/>
                      </a:solidFill>
                      <a:latin typeface="+mn-lt"/>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0">
                <a:spAutoFit/>
              </a:bodyPr>
              <a:lstStyle/>
              <a:p>
                <a:pPr>
                  <a:defRPr sz="2000" b="0" i="0" u="none" strike="noStrike" kern="1200" baseline="0">
                    <a:solidFill>
                      <a:schemeClr val="accent1"/>
                    </a:solidFill>
                    <a:latin typeface="+mn-lt"/>
                    <a:ea typeface="+mn-ea"/>
                    <a:cs typeface="+mn-cs"/>
                  </a:defRPr>
                </a:pPr>
                <a:endParaRPr lang="en-US"/>
              </a:p>
            </c:txPr>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Sheet1!$A$2:$A$4</c:f>
              <c:strCache>
                <c:ptCount val="3"/>
                <c:pt idx="0">
                  <c:v>Environmental</c:v>
                </c:pt>
                <c:pt idx="1">
                  <c:v>Social</c:v>
                </c:pt>
                <c:pt idx="2">
                  <c:v>Governance</c:v>
                </c:pt>
              </c:strCache>
            </c:strRef>
          </c:cat>
          <c:val>
            <c:numRef>
              <c:f>Sheet1!$B$2:$B$4</c:f>
              <c:numCache>
                <c:formatCode>0%</c:formatCode>
                <c:ptCount val="3"/>
                <c:pt idx="0">
                  <c:v>0.42</c:v>
                </c:pt>
                <c:pt idx="1">
                  <c:v>0.27</c:v>
                </c:pt>
                <c:pt idx="2">
                  <c:v>0.31</c:v>
                </c:pt>
              </c:numCache>
            </c:numRef>
          </c:val>
        </c:ser>
        <c:dLbls>
          <c:showLegendKey val="0"/>
          <c:showVal val="1"/>
          <c:showCatName val="0"/>
          <c:showSerName val="0"/>
          <c:showPercent val="0"/>
          <c:showBubbleSize val="0"/>
          <c:showLeaderLines val="0"/>
        </c:dLbls>
        <c:firstSliceAng val="360"/>
        <c:holeSize val="7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293860352373049"/>
          <c:y val="0.11335537677365105"/>
          <c:w val="0.52781209914736293"/>
          <c:h val="0.74988902903335508"/>
        </c:manualLayout>
      </c:layout>
      <c:doughnutChart>
        <c:varyColors val="1"/>
        <c:ser>
          <c:idx val="0"/>
          <c:order val="0"/>
          <c:tx>
            <c:strRef>
              <c:f>Sheet1!$B$1</c:f>
              <c:strCache>
                <c:ptCount val="1"/>
                <c:pt idx="0">
                  <c:v>Sales</c:v>
                </c:pt>
              </c:strCache>
            </c:strRef>
          </c:tx>
          <c:spPr>
            <a:ln>
              <a:noFill/>
            </a:ln>
          </c:spPr>
          <c:dPt>
            <c:idx val="0"/>
            <c:bubble3D val="0"/>
            <c:spPr>
              <a:solidFill>
                <a:srgbClr val="09B89D"/>
              </a:solidFill>
              <a:ln w="19050">
                <a:noFill/>
              </a:ln>
              <a:effectLst/>
            </c:spPr>
          </c:dPt>
          <c:dPt>
            <c:idx val="1"/>
            <c:bubble3D val="0"/>
            <c:spPr>
              <a:solidFill>
                <a:srgbClr val="6DBACE"/>
              </a:solidFill>
              <a:ln w="19050">
                <a:noFill/>
              </a:ln>
              <a:effectLst/>
            </c:spPr>
          </c:dPt>
          <c:dPt>
            <c:idx val="2"/>
            <c:bubble3D val="0"/>
            <c:spPr>
              <a:solidFill>
                <a:srgbClr val="003755"/>
              </a:solidFill>
              <a:ln w="19050">
                <a:noFill/>
              </a:ln>
              <a:effectLst/>
            </c:spPr>
          </c:dPt>
          <c:dLbls>
            <c:dLbl>
              <c:idx val="0"/>
              <c:layout>
                <c:manualLayout>
                  <c:x val="0.16095323909531992"/>
                  <c:y val="-8.5780071141146177E-2"/>
                </c:manualLayout>
              </c:layout>
              <c:showLegendKey val="0"/>
              <c:showVal val="1"/>
              <c:showCatName val="0"/>
              <c:showSerName val="0"/>
              <c:showPercent val="0"/>
              <c:showBubbleSize val="0"/>
              <c:separator>
</c:separator>
              <c:extLst>
                <c:ext xmlns:c15="http://schemas.microsoft.com/office/drawing/2012/chart" uri="{CE6537A1-D6FC-4f65-9D91-7224C49458BB}">
                  <c15:layout/>
                </c:ext>
              </c:extLst>
            </c:dLbl>
            <c:dLbl>
              <c:idx val="1"/>
              <c:layout>
                <c:manualLayout>
                  <c:x val="0.15347350599864182"/>
                  <c:y val="0.13827401202339007"/>
                </c:manualLayout>
              </c:layout>
              <c:showLegendKey val="0"/>
              <c:showVal val="1"/>
              <c:showCatName val="0"/>
              <c:showSerName val="0"/>
              <c:showPercent val="0"/>
              <c:showBubbleSize val="0"/>
              <c:separator>
</c:separator>
              <c:extLst>
                <c:ext xmlns:c15="http://schemas.microsoft.com/office/drawing/2012/chart" uri="{CE6537A1-D6FC-4f65-9D91-7224C49458BB}">
                  <c15:layout/>
                </c:ext>
              </c:extLst>
            </c:dLbl>
            <c:dLbl>
              <c:idx val="2"/>
              <c:layout>
                <c:manualLayout>
                  <c:x val="-0.18561237218425014"/>
                  <c:y val="6.3818774780026233E-2"/>
                </c:manualLayout>
              </c:layout>
              <c:showLegendKey val="0"/>
              <c:showVal val="1"/>
              <c:showCatName val="0"/>
              <c:showSerName val="0"/>
              <c:showPercent val="0"/>
              <c:showBubbleSize val="0"/>
              <c:separator>
</c:separator>
              <c:extLst>
                <c:ext xmlns:c15="http://schemas.microsoft.com/office/drawing/2012/chart" uri="{CE6537A1-D6FC-4f65-9D91-7224C49458BB}">
                  <c15:layout/>
                </c:ext>
              </c:extLst>
            </c:dLbl>
            <c:numFmt formatCode="0%" sourceLinked="0"/>
            <c:spPr>
              <a:noFill/>
              <a:ln>
                <a:noFill/>
              </a:ln>
              <a:effectLst/>
            </c:spPr>
            <c:txPr>
              <a:bodyPr rot="0" spcFirstLastPara="1" vertOverflow="ellipsis" horzOverflow="clip" vert="horz" wrap="none" lIns="38100" tIns="19050" rIns="38100" bIns="19050" anchor="t" anchorCtr="0">
                <a:spAutoFit/>
              </a:bodyPr>
              <a:lstStyle/>
              <a:p>
                <a:pPr>
                  <a:defRPr sz="1400" b="0" i="0" u="none" strike="noStrike" kern="1200" baseline="0">
                    <a:solidFill>
                      <a:srgbClr val="003755"/>
                    </a:solidFill>
                    <a:latin typeface="+mn-lt"/>
                    <a:ea typeface="+mn-ea"/>
                    <a:cs typeface="+mn-cs"/>
                  </a:defRPr>
                </a:pPr>
                <a:endParaRPr lang="en-US"/>
              </a:p>
            </c:txPr>
            <c:showLegendKey val="0"/>
            <c:showVal val="1"/>
            <c:showCatName val="1"/>
            <c:showSerName val="0"/>
            <c:showPercent val="1"/>
            <c:showBubbleSize val="0"/>
            <c:separator>
</c:separator>
            <c:showLeaderLines val="0"/>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E</c:v>
                </c:pt>
                <c:pt idx="1">
                  <c:v>S</c:v>
                </c:pt>
                <c:pt idx="2">
                  <c:v>G</c:v>
                </c:pt>
              </c:strCache>
            </c:strRef>
          </c:cat>
          <c:val>
            <c:numRef>
              <c:f>Sheet1!$B$2:$B$4</c:f>
              <c:numCache>
                <c:formatCode>0.0%</c:formatCode>
                <c:ptCount val="3"/>
                <c:pt idx="0">
                  <c:v>0.34</c:v>
                </c:pt>
                <c:pt idx="1">
                  <c:v>0.41</c:v>
                </c:pt>
                <c:pt idx="2">
                  <c:v>0.25</c:v>
                </c:pt>
              </c:numCache>
            </c:numRef>
          </c:val>
        </c:ser>
        <c:dLbls>
          <c:showLegendKey val="0"/>
          <c:showVal val="1"/>
          <c:showCatName val="0"/>
          <c:showSerName val="0"/>
          <c:showPercent val="0"/>
          <c:showBubbleSize val="0"/>
          <c:showLeaderLines val="0"/>
        </c:dLbls>
        <c:firstSliceAng val="0"/>
        <c:holeSize val="6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293860352373049"/>
          <c:y val="0.11335537677365105"/>
          <c:w val="0.52781209914736293"/>
          <c:h val="0.74988902903335508"/>
        </c:manualLayout>
      </c:layout>
      <c:doughnutChart>
        <c:varyColors val="1"/>
        <c:ser>
          <c:idx val="0"/>
          <c:order val="0"/>
          <c:tx>
            <c:strRef>
              <c:f>Sheet1!$B$1</c:f>
              <c:strCache>
                <c:ptCount val="1"/>
                <c:pt idx="0">
                  <c:v>Sales</c:v>
                </c:pt>
              </c:strCache>
            </c:strRef>
          </c:tx>
          <c:spPr>
            <a:ln>
              <a:noFill/>
            </a:ln>
          </c:spPr>
          <c:dPt>
            <c:idx val="0"/>
            <c:bubble3D val="0"/>
            <c:spPr>
              <a:solidFill>
                <a:srgbClr val="09B89D"/>
              </a:solidFill>
              <a:ln w="19050">
                <a:noFill/>
              </a:ln>
              <a:effectLst/>
            </c:spPr>
          </c:dPt>
          <c:dPt>
            <c:idx val="1"/>
            <c:bubble3D val="0"/>
            <c:spPr>
              <a:solidFill>
                <a:srgbClr val="6DBACE"/>
              </a:solidFill>
              <a:ln w="19050">
                <a:noFill/>
              </a:ln>
              <a:effectLst/>
            </c:spPr>
          </c:dPt>
          <c:dPt>
            <c:idx val="2"/>
            <c:bubble3D val="0"/>
            <c:spPr>
              <a:solidFill>
                <a:srgbClr val="003755"/>
              </a:solidFill>
              <a:ln w="19050">
                <a:noFill/>
              </a:ln>
              <a:effectLst/>
            </c:spPr>
          </c:dPt>
          <c:dLbls>
            <c:dLbl>
              <c:idx val="0"/>
              <c:layout>
                <c:manualLayout>
                  <c:x val="0.13850065030004555"/>
                  <c:y val="-0.14068360519949438"/>
                </c:manualLayout>
              </c:layout>
              <c:showLegendKey val="0"/>
              <c:showVal val="1"/>
              <c:showCatName val="0"/>
              <c:showSerName val="0"/>
              <c:showPercent val="0"/>
              <c:showBubbleSize val="0"/>
              <c:separator>
</c:separator>
              <c:extLst>
                <c:ext xmlns:c15="http://schemas.microsoft.com/office/drawing/2012/chart" uri="{CE6537A1-D6FC-4f65-9D91-7224C49458BB}">
                  <c15:layout/>
                </c:ext>
              </c:extLst>
            </c:dLbl>
            <c:dLbl>
              <c:idx val="1"/>
              <c:layout>
                <c:manualLayout>
                  <c:x val="0.15347375728456858"/>
                  <c:y val="0.1602353156823515"/>
                </c:manualLayout>
              </c:layout>
              <c:showLegendKey val="0"/>
              <c:showVal val="1"/>
              <c:showCatName val="0"/>
              <c:showSerName val="0"/>
              <c:showPercent val="0"/>
              <c:showBubbleSize val="0"/>
              <c:separator>
</c:separator>
              <c:extLst>
                <c:ext xmlns:c15="http://schemas.microsoft.com/office/drawing/2012/chart" uri="{CE6537A1-D6FC-4f65-9D91-7224C49458BB}">
                  <c15:layout/>
                </c:ext>
              </c:extLst>
            </c:dLbl>
            <c:dLbl>
              <c:idx val="2"/>
              <c:layout>
                <c:manualLayout>
                  <c:x val="-0.20806478131708889"/>
                  <c:y val="8.9151234594587112E-3"/>
                </c:manualLayout>
              </c:layout>
              <c:showLegendKey val="0"/>
              <c:showVal val="1"/>
              <c:showCatName val="0"/>
              <c:showSerName val="0"/>
              <c:showPercent val="0"/>
              <c:showBubbleSize val="0"/>
              <c:separator>
</c:separator>
              <c:extLst>
                <c:ext xmlns:c15="http://schemas.microsoft.com/office/drawing/2012/chart" uri="{CE6537A1-D6FC-4f65-9D91-7224C49458BB}">
                  <c15:layout/>
                </c:ext>
              </c:extLst>
            </c:dLbl>
            <c:numFmt formatCode="0%" sourceLinked="0"/>
            <c:spPr>
              <a:noFill/>
              <a:ln>
                <a:noFill/>
              </a:ln>
              <a:effectLst/>
            </c:spPr>
            <c:txPr>
              <a:bodyPr rot="0" spcFirstLastPara="1" vertOverflow="ellipsis" horzOverflow="clip" vert="horz" wrap="none" lIns="38100" tIns="19050" rIns="38100" bIns="19050" anchor="ctr" anchorCtr="1">
                <a:spAutoFit/>
              </a:bodyPr>
              <a:lstStyle/>
              <a:p>
                <a:pPr>
                  <a:defRPr sz="1400" b="0" i="0" u="none" strike="noStrike" kern="1200" baseline="0">
                    <a:solidFill>
                      <a:srgbClr val="003755"/>
                    </a:solidFill>
                    <a:latin typeface="+mn-lt"/>
                    <a:ea typeface="+mn-ea"/>
                    <a:cs typeface="+mn-cs"/>
                  </a:defRPr>
                </a:pPr>
                <a:endParaRPr lang="en-US"/>
              </a:p>
            </c:txPr>
            <c:showLegendKey val="0"/>
            <c:showVal val="1"/>
            <c:showCatName val="1"/>
            <c:showSerName val="0"/>
            <c:showPercent val="1"/>
            <c:showBubbleSize val="0"/>
            <c:separator>
</c:separator>
            <c:showLeaderLines val="0"/>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E</c:v>
                </c:pt>
                <c:pt idx="1">
                  <c:v>S</c:v>
                </c:pt>
                <c:pt idx="2">
                  <c:v>G</c:v>
                </c:pt>
              </c:strCache>
            </c:strRef>
          </c:cat>
          <c:val>
            <c:numRef>
              <c:f>Sheet1!$B$2:$B$4</c:f>
              <c:numCache>
                <c:formatCode>0.0%</c:formatCode>
                <c:ptCount val="3"/>
                <c:pt idx="0">
                  <c:v>0.46</c:v>
                </c:pt>
                <c:pt idx="1">
                  <c:v>0.21</c:v>
                </c:pt>
                <c:pt idx="2">
                  <c:v>0.33</c:v>
                </c:pt>
              </c:numCache>
            </c:numRef>
          </c:val>
        </c:ser>
        <c:dLbls>
          <c:showLegendKey val="0"/>
          <c:showVal val="1"/>
          <c:showCatName val="0"/>
          <c:showSerName val="0"/>
          <c:showPercent val="0"/>
          <c:showBubbleSize val="0"/>
          <c:showLeaderLines val="0"/>
        </c:dLbls>
        <c:firstSliceAng val="0"/>
        <c:holeSize val="6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293860352373049"/>
          <c:y val="0.11335537677365105"/>
          <c:w val="0.52781209914736293"/>
          <c:h val="0.74988902903335508"/>
        </c:manualLayout>
      </c:layout>
      <c:doughnutChart>
        <c:varyColors val="1"/>
        <c:ser>
          <c:idx val="0"/>
          <c:order val="0"/>
          <c:tx>
            <c:strRef>
              <c:f>Sheet1!$B$1</c:f>
              <c:strCache>
                <c:ptCount val="1"/>
                <c:pt idx="0">
                  <c:v>Sales</c:v>
                </c:pt>
              </c:strCache>
            </c:strRef>
          </c:tx>
          <c:spPr>
            <a:ln>
              <a:noFill/>
            </a:ln>
          </c:spPr>
          <c:dPt>
            <c:idx val="0"/>
            <c:bubble3D val="0"/>
            <c:spPr>
              <a:solidFill>
                <a:srgbClr val="09B89D"/>
              </a:solidFill>
              <a:ln w="19050">
                <a:noFill/>
              </a:ln>
              <a:effectLst/>
            </c:spPr>
          </c:dPt>
          <c:dPt>
            <c:idx val="1"/>
            <c:bubble3D val="0"/>
            <c:spPr>
              <a:solidFill>
                <a:srgbClr val="6DBACE"/>
              </a:solidFill>
              <a:ln w="19050">
                <a:noFill/>
              </a:ln>
              <a:effectLst/>
            </c:spPr>
          </c:dPt>
          <c:dPt>
            <c:idx val="2"/>
            <c:bubble3D val="0"/>
            <c:spPr>
              <a:solidFill>
                <a:srgbClr val="003755"/>
              </a:solidFill>
              <a:ln w="19050">
                <a:noFill/>
              </a:ln>
              <a:effectLst/>
            </c:spPr>
          </c:dPt>
          <c:dLbls>
            <c:dLbl>
              <c:idx val="0"/>
              <c:layout>
                <c:manualLayout>
                  <c:x val="0.14598484656513697"/>
                  <c:y val="-8.5780071141146205E-2"/>
                </c:manualLayout>
              </c:layout>
              <c:showLegendKey val="0"/>
              <c:showVal val="1"/>
              <c:showCatName val="0"/>
              <c:showSerName val="0"/>
              <c:showPercent val="0"/>
              <c:showBubbleSize val="0"/>
              <c:separator>
</c:separator>
              <c:extLst>
                <c:ext xmlns:c15="http://schemas.microsoft.com/office/drawing/2012/chart" uri="{CE6537A1-D6FC-4f65-9D91-7224C49458BB}">
                  <c15:layout/>
                </c:ext>
              </c:extLst>
            </c:dLbl>
            <c:dLbl>
              <c:idx val="1"/>
              <c:layout>
                <c:manualLayout>
                  <c:x val="-0.17583087837945346"/>
                  <c:y val="7.2389661188994398E-2"/>
                </c:manualLayout>
              </c:layout>
              <c:showLegendKey val="0"/>
              <c:showVal val="1"/>
              <c:showCatName val="0"/>
              <c:showSerName val="0"/>
              <c:showPercent val="0"/>
              <c:showBubbleSize val="0"/>
              <c:separator>
</c:separator>
              <c:extLst>
                <c:ext xmlns:c15="http://schemas.microsoft.com/office/drawing/2012/chart" uri="{CE6537A1-D6FC-4f65-9D91-7224C49458BB}">
                  <c15:layout/>
                </c:ext>
              </c:extLst>
            </c:dLbl>
            <c:dLbl>
              <c:idx val="2"/>
              <c:layout>
                <c:manualLayout>
                  <c:x val="-0.25296995890763735"/>
                  <c:y val="5.2837950706137261E-2"/>
                </c:manualLayout>
              </c:layout>
              <c:showLegendKey val="0"/>
              <c:showVal val="1"/>
              <c:showCatName val="0"/>
              <c:showSerName val="0"/>
              <c:showPercent val="0"/>
              <c:showBubbleSize val="0"/>
              <c:separator>
</c:separator>
              <c:extLst>
                <c:ext xmlns:c15="http://schemas.microsoft.com/office/drawing/2012/chart" uri="{CE6537A1-D6FC-4f65-9D91-7224C49458BB}">
                  <c15:layout/>
                </c:ext>
              </c:extLst>
            </c:dLbl>
            <c:numFmt formatCode="0%" sourceLinked="0"/>
            <c:spPr>
              <a:noFill/>
              <a:ln>
                <a:noFill/>
              </a:ln>
              <a:effectLst/>
            </c:spPr>
            <c:txPr>
              <a:bodyPr rot="0" spcFirstLastPara="1" vertOverflow="ellipsis" horzOverflow="clip" vert="horz" wrap="none" lIns="38100" tIns="19050" rIns="38100" bIns="19050" anchor="ctr" anchorCtr="1">
                <a:spAutoFit/>
              </a:bodyPr>
              <a:lstStyle/>
              <a:p>
                <a:pPr>
                  <a:defRPr sz="1400" b="0" i="0" u="none" strike="noStrike" kern="1200" baseline="0">
                    <a:solidFill>
                      <a:srgbClr val="003755"/>
                    </a:solidFill>
                    <a:latin typeface="+mn-lt"/>
                    <a:ea typeface="+mn-ea"/>
                    <a:cs typeface="+mn-cs"/>
                  </a:defRPr>
                </a:pPr>
                <a:endParaRPr lang="en-US"/>
              </a:p>
            </c:txPr>
            <c:showLegendKey val="0"/>
            <c:showVal val="1"/>
            <c:showCatName val="1"/>
            <c:showSerName val="0"/>
            <c:showPercent val="1"/>
            <c:showBubbleSize val="0"/>
            <c:separator>
</c:separator>
            <c:showLeaderLines val="0"/>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E</c:v>
                </c:pt>
                <c:pt idx="1">
                  <c:v>S</c:v>
                </c:pt>
                <c:pt idx="2">
                  <c:v>G</c:v>
                </c:pt>
              </c:strCache>
            </c:strRef>
          </c:cat>
          <c:val>
            <c:numRef>
              <c:f>Sheet1!$B$2:$B$4</c:f>
              <c:numCache>
                <c:formatCode>0.0%</c:formatCode>
                <c:ptCount val="3"/>
                <c:pt idx="0">
                  <c:v>0.43</c:v>
                </c:pt>
                <c:pt idx="1">
                  <c:v>0.12</c:v>
                </c:pt>
                <c:pt idx="2">
                  <c:v>0.45</c:v>
                </c:pt>
              </c:numCache>
            </c:numRef>
          </c:val>
        </c:ser>
        <c:dLbls>
          <c:showLegendKey val="0"/>
          <c:showVal val="1"/>
          <c:showCatName val="0"/>
          <c:showSerName val="0"/>
          <c:showPercent val="0"/>
          <c:showBubbleSize val="0"/>
          <c:showLeaderLines val="0"/>
        </c:dLbls>
        <c:firstSliceAng val="0"/>
        <c:holeSize val="6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293860352373049"/>
          <c:y val="0.11335537677365105"/>
          <c:w val="0.52781209914736293"/>
          <c:h val="0.74988902903335508"/>
        </c:manualLayout>
      </c:layout>
      <c:doughnutChart>
        <c:varyColors val="1"/>
        <c:ser>
          <c:idx val="0"/>
          <c:order val="0"/>
          <c:tx>
            <c:strRef>
              <c:f>Sheet1!$B$1</c:f>
              <c:strCache>
                <c:ptCount val="1"/>
                <c:pt idx="0">
                  <c:v>Sales</c:v>
                </c:pt>
              </c:strCache>
            </c:strRef>
          </c:tx>
          <c:spPr>
            <a:ln>
              <a:noFill/>
            </a:ln>
          </c:spPr>
          <c:dPt>
            <c:idx val="0"/>
            <c:bubble3D val="0"/>
            <c:spPr>
              <a:solidFill>
                <a:srgbClr val="09B89D"/>
              </a:solidFill>
              <a:ln w="19050">
                <a:noFill/>
              </a:ln>
              <a:effectLst/>
            </c:spPr>
          </c:dPt>
          <c:dPt>
            <c:idx val="1"/>
            <c:bubble3D val="0"/>
            <c:spPr>
              <a:solidFill>
                <a:srgbClr val="6DBACE"/>
              </a:solidFill>
              <a:ln w="19050">
                <a:noFill/>
              </a:ln>
              <a:effectLst/>
            </c:spPr>
          </c:dPt>
          <c:dPt>
            <c:idx val="2"/>
            <c:bubble3D val="0"/>
            <c:spPr>
              <a:solidFill>
                <a:srgbClr val="003755"/>
              </a:solidFill>
              <a:ln w="19050">
                <a:noFill/>
              </a:ln>
              <a:effectLst/>
            </c:spPr>
          </c:dPt>
          <c:dLbls>
            <c:dLbl>
              <c:idx val="0"/>
              <c:layout>
                <c:manualLayout>
                  <c:x val="0.1684374353604112"/>
                  <c:y val="-6.3818602338802086E-2"/>
                </c:manualLayout>
              </c:layout>
              <c:showLegendKey val="0"/>
              <c:showVal val="1"/>
              <c:showCatName val="0"/>
              <c:showSerName val="0"/>
              <c:showPercent val="0"/>
              <c:showBubbleSize val="0"/>
              <c:separator>
</c:separator>
              <c:extLst>
                <c:ext xmlns:c15="http://schemas.microsoft.com/office/drawing/2012/chart" uri="{CE6537A1-D6FC-4f65-9D91-7224C49458BB}">
                  <c15:layout/>
                </c:ext>
              </c:extLst>
            </c:dLbl>
            <c:dLbl>
              <c:idx val="1"/>
              <c:layout>
                <c:manualLayout>
                  <c:x val="0.15347375728456858"/>
                  <c:y val="0.10529018870371561"/>
                </c:manualLayout>
              </c:layout>
              <c:showLegendKey val="0"/>
              <c:showVal val="1"/>
              <c:showCatName val="0"/>
              <c:showSerName val="0"/>
              <c:showPercent val="0"/>
              <c:showBubbleSize val="0"/>
              <c:separator>
</c:separator>
              <c:extLst>
                <c:ext xmlns:c15="http://schemas.microsoft.com/office/drawing/2012/chart" uri="{CE6537A1-D6FC-4f65-9D91-7224C49458BB}">
                  <c15:layout/>
                </c:ext>
              </c:extLst>
            </c:dLbl>
            <c:dLbl>
              <c:idx val="2"/>
              <c:layout>
                <c:manualLayout>
                  <c:x val="-0.18561237218425014"/>
                  <c:y val="6.3818774780026233E-2"/>
                </c:manualLayout>
              </c:layout>
              <c:showLegendKey val="0"/>
              <c:showVal val="1"/>
              <c:showCatName val="0"/>
              <c:showSerName val="0"/>
              <c:showPercent val="0"/>
              <c:showBubbleSize val="0"/>
              <c:separator>
</c:separator>
              <c:extLst>
                <c:ext xmlns:c15="http://schemas.microsoft.com/office/drawing/2012/chart" uri="{CE6537A1-D6FC-4f65-9D91-7224C49458BB}">
                  <c15:layout/>
                </c:ext>
              </c:extLst>
            </c:dLbl>
            <c:numFmt formatCode="0%" sourceLinked="0"/>
            <c:spPr>
              <a:noFill/>
              <a:ln>
                <a:noFill/>
              </a:ln>
              <a:effectLst/>
            </c:spPr>
            <c:txPr>
              <a:bodyPr rot="0" spcFirstLastPara="1" vertOverflow="ellipsis" horzOverflow="clip" vert="horz" wrap="none" lIns="38100" tIns="19050" rIns="38100" bIns="19050" anchor="ctr" anchorCtr="1">
                <a:spAutoFit/>
              </a:bodyPr>
              <a:lstStyle/>
              <a:p>
                <a:pPr>
                  <a:defRPr sz="1400" b="0" i="0" u="none" strike="noStrike" kern="1200" baseline="0">
                    <a:solidFill>
                      <a:srgbClr val="003755"/>
                    </a:solidFill>
                    <a:latin typeface="+mn-lt"/>
                    <a:ea typeface="+mn-ea"/>
                    <a:cs typeface="+mn-cs"/>
                  </a:defRPr>
                </a:pPr>
                <a:endParaRPr lang="en-US"/>
              </a:p>
            </c:txPr>
            <c:showLegendKey val="0"/>
            <c:showVal val="1"/>
            <c:showCatName val="1"/>
            <c:showSerName val="0"/>
            <c:showPercent val="1"/>
            <c:showBubbleSize val="0"/>
            <c:separator>
</c:separator>
            <c:showLeaderLines val="0"/>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E</c:v>
                </c:pt>
                <c:pt idx="1">
                  <c:v>S</c:v>
                </c:pt>
                <c:pt idx="2">
                  <c:v>G</c:v>
                </c:pt>
              </c:strCache>
            </c:strRef>
          </c:cat>
          <c:val>
            <c:numRef>
              <c:f>Sheet1!$B$2:$B$4</c:f>
              <c:numCache>
                <c:formatCode>0.0%</c:formatCode>
                <c:ptCount val="3"/>
                <c:pt idx="0">
                  <c:v>0.37</c:v>
                </c:pt>
                <c:pt idx="1">
                  <c:v>0.37</c:v>
                </c:pt>
                <c:pt idx="2">
                  <c:v>0.26</c:v>
                </c:pt>
              </c:numCache>
            </c:numRef>
          </c:val>
        </c:ser>
        <c:dLbls>
          <c:showLegendKey val="0"/>
          <c:showVal val="1"/>
          <c:showCatName val="0"/>
          <c:showSerName val="0"/>
          <c:showPercent val="0"/>
          <c:showBubbleSize val="0"/>
          <c:showLeaderLines val="0"/>
        </c:dLbls>
        <c:firstSliceAng val="0"/>
        <c:holeSize val="6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893819527584317E-3"/>
          <c:y val="0"/>
          <c:w val="0.97587786567977153"/>
          <c:h val="0.71508001683515721"/>
        </c:manualLayout>
      </c:layout>
      <c:barChart>
        <c:barDir val="col"/>
        <c:grouping val="clustered"/>
        <c:varyColors val="0"/>
        <c:ser>
          <c:idx val="0"/>
          <c:order val="0"/>
          <c:tx>
            <c:strRef>
              <c:f>Sheet1!$B$1</c:f>
              <c:strCache>
                <c:ptCount val="1"/>
                <c:pt idx="0">
                  <c:v>Column3</c:v>
                </c:pt>
              </c:strCache>
            </c:strRef>
          </c:tx>
          <c:spPr>
            <a:solidFill>
              <a:schemeClr val="accent1"/>
            </a:solidFill>
            <a:ln>
              <a:noFill/>
            </a:ln>
            <a:effectLst/>
          </c:spPr>
          <c:invertIfNegative val="0"/>
          <c:dPt>
            <c:idx val="0"/>
            <c:invertIfNegative val="0"/>
            <c:bubble3D val="0"/>
            <c:spPr>
              <a:solidFill>
                <a:srgbClr val="09B89D"/>
              </a:solidFill>
              <a:ln>
                <a:noFill/>
              </a:ln>
              <a:effectLst/>
            </c:spPr>
          </c:dPt>
          <c:dPt>
            <c:idx val="1"/>
            <c:invertIfNegative val="0"/>
            <c:bubble3D val="0"/>
            <c:spPr>
              <a:solidFill>
                <a:srgbClr val="6DBACE"/>
              </a:solidFill>
              <a:ln>
                <a:noFill/>
              </a:ln>
              <a:effectLst/>
            </c:spPr>
          </c:dPt>
          <c:dPt>
            <c:idx val="2"/>
            <c:invertIfNegative val="0"/>
            <c:bubble3D val="0"/>
            <c:spPr>
              <a:solidFill>
                <a:srgbClr val="09B89D"/>
              </a:solidFill>
              <a:ln>
                <a:noFill/>
              </a:ln>
              <a:effectLst/>
            </c:spPr>
          </c:dPt>
          <c:dPt>
            <c:idx val="3"/>
            <c:invertIfNegative val="0"/>
            <c:bubble3D val="0"/>
            <c:spPr>
              <a:solidFill>
                <a:srgbClr val="09B89D"/>
              </a:solidFill>
              <a:ln>
                <a:noFill/>
              </a:ln>
              <a:effectLst/>
            </c:spPr>
          </c:dPt>
          <c:dPt>
            <c:idx val="4"/>
            <c:invertIfNegative val="0"/>
            <c:bubble3D val="0"/>
            <c:spPr>
              <a:solidFill>
                <a:srgbClr val="003755"/>
              </a:solidFill>
              <a:ln>
                <a:noFill/>
              </a:ln>
              <a:effectLst/>
            </c:spPr>
          </c:dPt>
          <c:dPt>
            <c:idx val="5"/>
            <c:invertIfNegative val="0"/>
            <c:bubble3D val="0"/>
            <c:spPr>
              <a:solidFill>
                <a:srgbClr val="6DBACE"/>
              </a:solidFill>
              <a:ln>
                <a:noFill/>
              </a:ln>
              <a:effectLst/>
            </c:spPr>
          </c:dPt>
          <c:dPt>
            <c:idx val="6"/>
            <c:invertIfNegative val="0"/>
            <c:bubble3D val="0"/>
            <c:spPr>
              <a:solidFill>
                <a:srgbClr val="6DBACE"/>
              </a:solidFill>
              <a:ln>
                <a:noFill/>
              </a:ln>
              <a:effectLst/>
            </c:spPr>
          </c:dPt>
          <c:dPt>
            <c:idx val="7"/>
            <c:invertIfNegative val="0"/>
            <c:bubble3D val="0"/>
            <c:spPr>
              <a:solidFill>
                <a:srgbClr val="09B89D"/>
              </a:solidFill>
              <a:ln>
                <a:noFill/>
              </a:ln>
              <a:effectLst/>
            </c:spPr>
          </c:dPt>
          <c:dPt>
            <c:idx val="8"/>
            <c:invertIfNegative val="0"/>
            <c:bubble3D val="0"/>
            <c:spPr>
              <a:solidFill>
                <a:srgbClr val="09B89D"/>
              </a:solidFill>
              <a:ln>
                <a:noFill/>
              </a:ln>
              <a:effectLst/>
            </c:spPr>
          </c:dPt>
          <c:dPt>
            <c:idx val="9"/>
            <c:invertIfNegative val="0"/>
            <c:bubble3D val="0"/>
            <c:spPr>
              <a:solidFill>
                <a:srgbClr val="09B89D"/>
              </a:solidFill>
              <a:ln>
                <a:noFill/>
              </a:ln>
              <a:effectLst/>
            </c:spPr>
          </c:dPt>
          <c:dPt>
            <c:idx val="10"/>
            <c:invertIfNegative val="0"/>
            <c:bubble3D val="0"/>
            <c:spPr>
              <a:solidFill>
                <a:srgbClr val="09B89D"/>
              </a:solidFill>
              <a:ln>
                <a:noFill/>
              </a:ln>
              <a:effectLst/>
            </c:spPr>
          </c:dPt>
          <c:dPt>
            <c:idx val="11"/>
            <c:invertIfNegative val="0"/>
            <c:bubble3D val="0"/>
            <c:spPr>
              <a:solidFill>
                <a:srgbClr val="003755"/>
              </a:solidFill>
              <a:ln>
                <a:noFill/>
              </a:ln>
              <a:effectLst/>
            </c:spPr>
          </c:dPt>
          <c:dPt>
            <c:idx val="12"/>
            <c:invertIfNegative val="0"/>
            <c:bubble3D val="0"/>
            <c:spPr>
              <a:solidFill>
                <a:srgbClr val="6DBACE"/>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GHG Emissions</c:v>
                </c:pt>
                <c:pt idx="1">
                  <c:v>Employee Health &amp; Safety</c:v>
                </c:pt>
                <c:pt idx="2">
                  <c:v>Energy Efficiency</c:v>
                </c:pt>
                <c:pt idx="3">
                  <c:v>Energy Transformation</c:v>
                </c:pt>
                <c:pt idx="4">
                  <c:v>Dividends</c:v>
                </c:pt>
                <c:pt idx="5">
                  <c:v>Supply Chain Management</c:v>
                </c:pt>
                <c:pt idx="6">
                  <c:v>Business Model Resilience</c:v>
                </c:pt>
                <c:pt idx="7">
                  <c:v>Green Financing</c:v>
                </c:pt>
                <c:pt idx="8">
                  <c:v>Digitalisation</c:v>
                </c:pt>
                <c:pt idx="9">
                  <c:v>Sustainable Products</c:v>
                </c:pt>
                <c:pt idx="10">
                  <c:v>Circular Economy</c:v>
                </c:pt>
                <c:pt idx="11">
                  <c:v>Capital Structure</c:v>
                </c:pt>
                <c:pt idx="12">
                  <c:v>Access &amp; Affordability</c:v>
                </c:pt>
              </c:strCache>
            </c:strRef>
          </c:cat>
          <c:val>
            <c:numRef>
              <c:f>Sheet1!$B$2:$B$14</c:f>
              <c:numCache>
                <c:formatCode>General</c:formatCode>
                <c:ptCount val="13"/>
                <c:pt idx="0">
                  <c:v>53</c:v>
                </c:pt>
                <c:pt idx="1">
                  <c:v>43</c:v>
                </c:pt>
                <c:pt idx="2">
                  <c:v>39</c:v>
                </c:pt>
                <c:pt idx="3">
                  <c:v>32</c:v>
                </c:pt>
                <c:pt idx="4">
                  <c:v>30</c:v>
                </c:pt>
                <c:pt idx="5">
                  <c:v>28</c:v>
                </c:pt>
                <c:pt idx="6">
                  <c:v>25</c:v>
                </c:pt>
                <c:pt idx="7">
                  <c:v>25</c:v>
                </c:pt>
                <c:pt idx="8">
                  <c:v>24</c:v>
                </c:pt>
                <c:pt idx="9">
                  <c:v>21</c:v>
                </c:pt>
                <c:pt idx="10">
                  <c:v>20</c:v>
                </c:pt>
                <c:pt idx="11">
                  <c:v>20</c:v>
                </c:pt>
                <c:pt idx="12">
                  <c:v>19</c:v>
                </c:pt>
              </c:numCache>
            </c:numRef>
          </c:val>
        </c:ser>
        <c:dLbls>
          <c:dLblPos val="outEnd"/>
          <c:showLegendKey val="0"/>
          <c:showVal val="1"/>
          <c:showCatName val="0"/>
          <c:showSerName val="0"/>
          <c:showPercent val="0"/>
          <c:showBubbleSize val="0"/>
        </c:dLbls>
        <c:gapWidth val="118"/>
        <c:overlap val="43"/>
        <c:axId val="823008072"/>
        <c:axId val="823010032"/>
      </c:barChart>
      <c:catAx>
        <c:axId val="823008072"/>
        <c:scaling>
          <c:orientation val="maxMin"/>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50" b="0" i="0" u="none" strike="noStrike" kern="1200" baseline="0">
                <a:solidFill>
                  <a:schemeClr val="accent1"/>
                </a:solidFill>
                <a:latin typeface="+mn-lt"/>
                <a:ea typeface="+mn-ea"/>
                <a:cs typeface="+mn-cs"/>
              </a:defRPr>
            </a:pPr>
            <a:endParaRPr lang="en-US"/>
          </a:p>
        </c:txPr>
        <c:crossAx val="823010032"/>
        <c:crosses val="autoZero"/>
        <c:auto val="1"/>
        <c:lblAlgn val="ctr"/>
        <c:lblOffset val="100"/>
        <c:noMultiLvlLbl val="0"/>
      </c:catAx>
      <c:valAx>
        <c:axId val="823010032"/>
        <c:scaling>
          <c:orientation val="minMax"/>
        </c:scaling>
        <c:delete val="1"/>
        <c:axPos val="r"/>
        <c:numFmt formatCode="General" sourceLinked="1"/>
        <c:majorTickMark val="out"/>
        <c:minorTickMark val="none"/>
        <c:tickLblPos val="nextTo"/>
        <c:crossAx val="8230080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doughnutChart>
        <c:varyColors val="1"/>
        <c:ser>
          <c:idx val="0"/>
          <c:order val="0"/>
          <c:tx>
            <c:strRef>
              <c:f>Sheet1!$B$1</c:f>
              <c:strCache>
                <c:ptCount val="1"/>
                <c:pt idx="0">
                  <c:v>Column1</c:v>
                </c:pt>
              </c:strCache>
            </c:strRef>
          </c:tx>
          <c:spPr>
            <a:effectLst/>
          </c:spPr>
          <c:dPt>
            <c:idx val="0"/>
            <c:bubble3D val="0"/>
            <c:spPr>
              <a:solidFill>
                <a:schemeClr val="accent4">
                  <a:shade val="76000"/>
                </a:schemeClr>
              </a:solidFill>
              <a:ln w="19050">
                <a:solidFill>
                  <a:schemeClr val="lt1"/>
                </a:solidFill>
              </a:ln>
              <a:effectLst/>
            </c:spPr>
          </c:dPt>
          <c:dPt>
            <c:idx val="1"/>
            <c:bubble3D val="0"/>
            <c:spPr>
              <a:solidFill>
                <a:schemeClr val="accent4">
                  <a:tint val="77000"/>
                </a:schemeClr>
              </a:solidFill>
              <a:ln w="19050">
                <a:solidFill>
                  <a:schemeClr val="lt1"/>
                </a:solidFill>
              </a:ln>
              <a:effectLst/>
            </c:spPr>
          </c:dPt>
          <c:dLbls>
            <c:dLbl>
              <c:idx val="0"/>
              <c:layout>
                <c:manualLayout>
                  <c:x val="0.18838726872642844"/>
                  <c:y val="3.4951468176031827E-2"/>
                </c:manualLayout>
              </c:layout>
              <c:tx>
                <c:rich>
                  <a:bodyPr rot="0" spcFirstLastPara="1" vertOverflow="ellipsis" vert="horz" wrap="square" lIns="38100" tIns="19050" rIns="38100" bIns="19050" anchor="ctr" anchorCtr="1">
                    <a:noAutofit/>
                  </a:bodyPr>
                  <a:lstStyle/>
                  <a:p>
                    <a:pPr>
                      <a:defRPr sz="1200" b="0" i="0" u="none" strike="noStrike" kern="1200" baseline="0">
                        <a:solidFill>
                          <a:srgbClr val="003755"/>
                        </a:solidFill>
                        <a:latin typeface="+mn-lt"/>
                        <a:ea typeface="+mn-ea"/>
                        <a:cs typeface="+mn-cs"/>
                      </a:defRPr>
                    </a:pPr>
                    <a:fld id="{ED9093ED-E3C7-46F6-BF1B-A507D8D91D92}" type="CELLRANGE">
                      <a:rPr lang="en-US" dirty="0"/>
                      <a:pPr>
                        <a:defRPr sz="1200">
                          <a:solidFill>
                            <a:srgbClr val="003755"/>
                          </a:solidFill>
                        </a:defRPr>
                      </a:pPr>
                      <a:t>[CELLRANGE]</a:t>
                    </a:fld>
                    <a:endParaRPr lang="en-US" baseline="0" dirty="0"/>
                  </a:p>
                  <a:p>
                    <a:pPr>
                      <a:defRPr sz="1200">
                        <a:solidFill>
                          <a:srgbClr val="003755"/>
                        </a:solidFill>
                      </a:defRPr>
                    </a:pPr>
                    <a:fld id="{6844D230-245C-4BED-8076-6F28B64D06CA}" type="VALUE">
                      <a:rPr lang="en-US" dirty="0"/>
                      <a:pPr>
                        <a:defRPr sz="1200">
                          <a:solidFill>
                            <a:srgbClr val="003755"/>
                          </a:solidFill>
                        </a:defRPr>
                      </a:pPr>
                      <a:t>[VALUE]</a:t>
                    </a:fld>
                    <a:endParaRPr lang="en-GB"/>
                  </a:p>
                </c:rich>
              </c:tx>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rgbClr val="003755"/>
                      </a:solidFill>
                      <a:latin typeface="+mn-lt"/>
                      <a:ea typeface="+mn-ea"/>
                      <a:cs typeface="+mn-cs"/>
                    </a:defRPr>
                  </a:pPr>
                  <a:endParaRPr lang="en-US"/>
                </a:p>
              </c:txPr>
              <c:showLegendKey val="0"/>
              <c:showVal val="1"/>
              <c:showCatName val="0"/>
              <c:showSerName val="0"/>
              <c:showPercent val="0"/>
              <c:showBubbleSize val="0"/>
              <c:separator>
</c:separator>
              <c:extLst>
                <c:ext xmlns:c15="http://schemas.microsoft.com/office/drawing/2012/chart" uri="{CE6537A1-D6FC-4f65-9D91-7224C49458BB}">
                  <c15:layout>
                    <c:manualLayout>
                      <c:w val="0.16540238378222011"/>
                      <c:h val="0.19967643248649541"/>
                    </c:manualLayout>
                  </c15:layout>
                  <c15:dlblFieldTable/>
                  <c15:showDataLabelsRange val="1"/>
                </c:ext>
              </c:extLst>
            </c:dLbl>
            <c:dLbl>
              <c:idx val="1"/>
              <c:layout>
                <c:manualLayout>
                  <c:x val="-8.4819585757979252E-2"/>
                  <c:y val="-0.27340893371358133"/>
                </c:manualLayout>
              </c:layout>
              <c:tx>
                <c:rich>
                  <a:bodyPr/>
                  <a:lstStyle/>
                  <a:p>
                    <a:fld id="{985DE784-7F91-4AB8-910E-CC899F84D1C2}" type="CELLRANGE">
                      <a:rPr lang="en-US"/>
                      <a:pPr/>
                      <a:t>[CELLRANGE]</a:t>
                    </a:fld>
                    <a:endParaRPr lang="en-US" baseline="0"/>
                  </a:p>
                  <a:p>
                    <a:fld id="{A0BFAA76-F85C-46D3-A539-93E58A73B8B8}" type="VALUE">
                      <a:rPr lang="en-US"/>
                      <a:pPr/>
                      <a:t>[VALUE]</a:t>
                    </a:fld>
                    <a:endParaRPr lang="en-GB"/>
                  </a:p>
                </c:rich>
              </c:tx>
              <c:showLegendKey val="0"/>
              <c:showVal val="1"/>
              <c:showCatName val="0"/>
              <c:showSerName val="0"/>
              <c:showPercent val="0"/>
              <c:showBubbleSize val="0"/>
              <c:separator> </c:separator>
              <c:extLst>
                <c:ext xmlns:c15="http://schemas.microsoft.com/office/drawing/2012/chart" uri="{CE6537A1-D6FC-4f65-9D91-7224C49458BB}">
                  <c15:layout>
                    <c:manualLayout>
                      <c:w val="0.26435874776517942"/>
                      <c:h val="0.28396565632684551"/>
                    </c:manualLayout>
                  </c15:layout>
                  <c15:dlblFieldTable/>
                  <c15:showDataLabelsRange val="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003755"/>
                    </a:solidFill>
                    <a:latin typeface="+mn-lt"/>
                    <a:ea typeface="+mn-ea"/>
                    <a:cs typeface="+mn-cs"/>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ext>
            </c:extLst>
          </c:dLbls>
          <c:cat>
            <c:strRef>
              <c:f>Sheet1!$A$2:$A$3</c:f>
              <c:strCache>
                <c:ptCount val="2"/>
                <c:pt idx="0">
                  <c:v>One-to-one</c:v>
                </c:pt>
                <c:pt idx="1">
                  <c:v>With other investors</c:v>
                </c:pt>
              </c:strCache>
            </c:strRef>
          </c:cat>
          <c:val>
            <c:numRef>
              <c:f>Sheet1!$B$2:$B$3</c:f>
              <c:numCache>
                <c:formatCode>0%</c:formatCode>
                <c:ptCount val="2"/>
                <c:pt idx="0">
                  <c:v>0.52</c:v>
                </c:pt>
                <c:pt idx="1">
                  <c:v>0.48</c:v>
                </c:pt>
              </c:numCache>
            </c:numRef>
          </c:val>
          <c:extLst>
            <c:ext xmlns:c15="http://schemas.microsoft.com/office/drawing/2012/chart" uri="{02D57815-91ED-43cb-92C2-25804820EDAC}">
              <c15:datalabelsRange>
                <c15:f>Sheet1!$A$2:$A$3</c15:f>
                <c15:dlblRangeCache>
                  <c:ptCount val="2"/>
                  <c:pt idx="0">
                    <c:v>One-to-one</c:v>
                  </c:pt>
                  <c:pt idx="1">
                    <c:v>With other investors</c:v>
                  </c:pt>
                </c15:dlblRangeCache>
              </c15:datalabelsRange>
            </c:ext>
          </c:extLst>
        </c:ser>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1.8436091559146994E-2"/>
          <c:y val="3.6428390571800563E-2"/>
          <c:w val="0.96312781688170601"/>
          <c:h val="0.8493189299075522"/>
        </c:manualLayout>
      </c:layout>
      <c:barChart>
        <c:barDir val="col"/>
        <c:grouping val="clustered"/>
        <c:varyColors val="0"/>
        <c:ser>
          <c:idx val="0"/>
          <c:order val="0"/>
          <c:tx>
            <c:strRef>
              <c:f>Sheet1!$B$1</c:f>
              <c:strCache>
                <c:ptCount val="1"/>
                <c:pt idx="0">
                  <c:v>Series 1</c:v>
                </c:pt>
              </c:strCache>
            </c:strRef>
          </c:tx>
          <c:spPr>
            <a:solidFill>
              <a:schemeClr val="accent4"/>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EO</c:v>
                </c:pt>
                <c:pt idx="1">
                  <c:v>IR</c:v>
                </c:pt>
                <c:pt idx="2">
                  <c:v>Other</c:v>
                </c:pt>
                <c:pt idx="3">
                  <c:v>CFO</c:v>
                </c:pt>
                <c:pt idx="4">
                  <c:v>Corporate Sustainability</c:v>
                </c:pt>
                <c:pt idx="5">
                  <c:v>Executive Vice President</c:v>
                </c:pt>
                <c:pt idx="6">
                  <c:v>Treasury</c:v>
                </c:pt>
                <c:pt idx="7">
                  <c:v>Board of directors</c:v>
                </c:pt>
              </c:strCache>
            </c:strRef>
          </c:cat>
          <c:val>
            <c:numRef>
              <c:f>Sheet1!$B$2:$B$9</c:f>
              <c:numCache>
                <c:formatCode>0.0%</c:formatCode>
                <c:ptCount val="8"/>
                <c:pt idx="0">
                  <c:v>0.30747126436781608</c:v>
                </c:pt>
                <c:pt idx="1">
                  <c:v>0.19827586206896552</c:v>
                </c:pt>
                <c:pt idx="2">
                  <c:v>0.19252873563218389</c:v>
                </c:pt>
                <c:pt idx="3">
                  <c:v>0.19252873563218389</c:v>
                </c:pt>
                <c:pt idx="4">
                  <c:v>4.5977011494252873E-2</c:v>
                </c:pt>
                <c:pt idx="5">
                  <c:v>3.7356321839080463E-2</c:v>
                </c:pt>
                <c:pt idx="6">
                  <c:v>1.7241379310344827E-2</c:v>
                </c:pt>
                <c:pt idx="7">
                  <c:v>8.6206896551724137E-3</c:v>
                </c:pt>
              </c:numCache>
            </c:numRef>
          </c:val>
        </c:ser>
        <c:dLbls>
          <c:showLegendKey val="0"/>
          <c:showVal val="0"/>
          <c:showCatName val="0"/>
          <c:showSerName val="0"/>
          <c:showPercent val="0"/>
          <c:showBubbleSize val="0"/>
        </c:dLbls>
        <c:gapWidth val="75"/>
        <c:overlap val="-84"/>
        <c:axId val="823011600"/>
        <c:axId val="823005328"/>
      </c:barChart>
      <c:catAx>
        <c:axId val="823011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en-US"/>
          </a:p>
        </c:txPr>
        <c:crossAx val="823005328"/>
        <c:crosses val="autoZero"/>
        <c:auto val="1"/>
        <c:lblAlgn val="ctr"/>
        <c:lblOffset val="100"/>
        <c:noMultiLvlLbl val="0"/>
      </c:catAx>
      <c:valAx>
        <c:axId val="823005328"/>
        <c:scaling>
          <c:orientation val="minMax"/>
          <c:max val="0.4"/>
        </c:scaling>
        <c:delete val="1"/>
        <c:axPos val="l"/>
        <c:numFmt formatCode="0.0%" sourceLinked="1"/>
        <c:majorTickMark val="none"/>
        <c:minorTickMark val="none"/>
        <c:tickLblPos val="nextTo"/>
        <c:crossAx val="823011600"/>
        <c:crosses val="autoZero"/>
        <c:crossBetween val="between"/>
        <c:minorUnit val="0.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7">
  <a:schemeClr val="accent4"/>
</cs:colorStyle>
</file>

<file path=ppt/charts/colors10.xml><?xml version="1.0" encoding="utf-8"?>
<cs:colorStyle xmlns:cs="http://schemas.microsoft.com/office/drawing/2012/chartStyle" xmlns:a="http://schemas.openxmlformats.org/drawingml/2006/main" meth="withinLinear" id="17">
  <a:schemeClr val="accent4"/>
</cs:colorStyle>
</file>

<file path=ppt/charts/colors11.xml><?xml version="1.0" encoding="utf-8"?>
<cs:colorStyle xmlns:cs="http://schemas.microsoft.com/office/drawing/2012/chartStyle" xmlns:a="http://schemas.openxmlformats.org/drawingml/2006/main" meth="withinLinearReversed" id="21">
  <a:schemeClr val="accent1"/>
</cs:colorStyle>
</file>

<file path=ppt/charts/colors1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 id="17">
  <a:schemeClr val="accent4"/>
</cs:colorStyle>
</file>

<file path=ppt/charts/colors9.xml><?xml version="1.0" encoding="utf-8"?>
<cs:colorStyle xmlns:cs="http://schemas.microsoft.com/office/drawing/2012/chartStyle" xmlns:a="http://schemas.openxmlformats.org/drawingml/2006/main" meth="withinLinear" id="17">
  <a:schemeClr val="accent4"/>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65138" y="156643"/>
            <a:ext cx="2955290" cy="153888"/>
          </a:xfrm>
          <a:prstGeom prst="rect">
            <a:avLst/>
          </a:prstGeom>
        </p:spPr>
        <p:txBody>
          <a:bodyPr vert="horz" lIns="0" tIns="0" rIns="0" bIns="0" rtlCol="0">
            <a:spAutoFit/>
          </a:bodyPr>
          <a:lstStyle>
            <a:lvl1pPr algn="l">
              <a:defRPr sz="1200"/>
            </a:lvl1pPr>
          </a:lstStyle>
          <a:p>
            <a:endParaRPr lang="en-US" sz="1000" dirty="0">
              <a:latin typeface="Danske Text v2" panose="020B0503040502040204" pitchFamily="34" charset="0"/>
            </a:endParaRPr>
          </a:p>
        </p:txBody>
      </p:sp>
      <p:sp>
        <p:nvSpPr>
          <p:cNvPr id="3" name="Date Placeholder 2"/>
          <p:cNvSpPr>
            <a:spLocks noGrp="1"/>
          </p:cNvSpPr>
          <p:nvPr>
            <p:ph type="dt" sz="quarter" idx="1"/>
          </p:nvPr>
        </p:nvSpPr>
        <p:spPr>
          <a:xfrm>
            <a:off x="3574865" y="156643"/>
            <a:ext cx="2772000" cy="153888"/>
          </a:xfrm>
          <a:prstGeom prst="rect">
            <a:avLst/>
          </a:prstGeom>
        </p:spPr>
        <p:txBody>
          <a:bodyPr vert="horz" lIns="0" tIns="0" rIns="0" bIns="0" rtlCol="0">
            <a:spAutoFit/>
          </a:bodyPr>
          <a:lstStyle>
            <a:lvl1pPr algn="r">
              <a:defRPr sz="1200"/>
            </a:lvl1pPr>
          </a:lstStyle>
          <a:p>
            <a:fld id="{38A3AD34-EEB9-4C9E-BF21-2EA80C15652E}" type="datetimeFigureOut">
              <a:rPr lang="en-US" sz="1000" smtClean="0">
                <a:latin typeface="Danske Text v2" panose="020B0503040502040204" pitchFamily="34" charset="0"/>
              </a:rPr>
              <a:pPr/>
              <a:t>08/26/2020</a:t>
            </a:fld>
            <a:endParaRPr lang="en-US" sz="1000">
              <a:latin typeface="Danske Text v2" panose="020B0503040502040204" pitchFamily="34" charset="0"/>
            </a:endParaRPr>
          </a:p>
        </p:txBody>
      </p:sp>
      <p:sp>
        <p:nvSpPr>
          <p:cNvPr id="4" name="Footer Placeholder 3"/>
          <p:cNvSpPr>
            <a:spLocks noGrp="1"/>
          </p:cNvSpPr>
          <p:nvPr>
            <p:ph type="ftr" sz="quarter" idx="2"/>
          </p:nvPr>
        </p:nvSpPr>
        <p:spPr>
          <a:xfrm>
            <a:off x="465138" y="9686094"/>
            <a:ext cx="2955290" cy="153888"/>
          </a:xfrm>
          <a:prstGeom prst="rect">
            <a:avLst/>
          </a:prstGeom>
        </p:spPr>
        <p:txBody>
          <a:bodyPr vert="horz" lIns="0" tIns="0" rIns="0" bIns="0" rtlCol="0" anchor="b">
            <a:spAutoFit/>
          </a:bodyPr>
          <a:lstStyle>
            <a:lvl1pPr algn="l">
              <a:defRPr sz="1200"/>
            </a:lvl1pPr>
          </a:lstStyle>
          <a:p>
            <a:endParaRPr lang="en-US" sz="1000" dirty="0">
              <a:latin typeface="Danske Text v2" panose="020B0503040502040204" pitchFamily="34" charset="0"/>
            </a:endParaRPr>
          </a:p>
        </p:txBody>
      </p:sp>
      <p:sp>
        <p:nvSpPr>
          <p:cNvPr id="5" name="Slide Number Placeholder 4"/>
          <p:cNvSpPr>
            <a:spLocks noGrp="1"/>
          </p:cNvSpPr>
          <p:nvPr>
            <p:ph type="sldNum" sz="quarter" idx="3"/>
          </p:nvPr>
        </p:nvSpPr>
        <p:spPr>
          <a:xfrm>
            <a:off x="3790865" y="9686094"/>
            <a:ext cx="2556000" cy="153888"/>
          </a:xfrm>
          <a:prstGeom prst="rect">
            <a:avLst/>
          </a:prstGeom>
        </p:spPr>
        <p:txBody>
          <a:bodyPr vert="horz" lIns="0" tIns="0" rIns="0" bIns="0" rtlCol="0" anchor="b">
            <a:spAutoFit/>
          </a:bodyPr>
          <a:lstStyle>
            <a:lvl1pPr algn="r">
              <a:defRPr sz="1200"/>
            </a:lvl1pPr>
          </a:lstStyle>
          <a:p>
            <a:fld id="{09B54FEB-1CC3-4ADA-BC8C-8630FE204E89}" type="slidenum">
              <a:rPr lang="en-US" sz="1000" smtClean="0">
                <a:latin typeface="Danske Text v2" panose="020B0503040502040204" pitchFamily="34" charset="0"/>
              </a:rPr>
              <a:pPr/>
              <a:t>‹#›</a:t>
            </a:fld>
            <a:endParaRPr lang="en-US" sz="1000">
              <a:latin typeface="Danske Text v2" panose="020B0503040502040204" pitchFamily="34" charset="0"/>
            </a:endParaRPr>
          </a:p>
        </p:txBody>
      </p:sp>
    </p:spTree>
    <p:extLst>
      <p:ext uri="{BB962C8B-B14F-4D97-AF65-F5344CB8AC3E}">
        <p14:creationId xmlns:p14="http://schemas.microsoft.com/office/powerpoint/2010/main" val="2690288147"/>
      </p:ext>
    </p:extLst>
  </p:cSld>
  <p:clrMap bg1="lt1" tx1="dk1" bg2="lt2" tx2="dk2" accent1="accent1" accent2="accent2" accent3="accent3" accent4="accent4" accent5="accent5" accent6="accent6" hlink="hlink" folHlink="folHlink"/>
  <p:extLst mod="1">
    <p:ext uri="{56416CCD-93CA-4268-BC5B-53C4BB910035}">
      <p15:sldGuideLst xmlns:p15="http://schemas.microsoft.com/office/powerpoint/2012/main">
        <p15:guide id="1" pos="234" userDrawn="1">
          <p15:clr>
            <a:srgbClr val="C35EA4"/>
          </p15:clr>
        </p15:guide>
        <p15:guide id="2" pos="3995" userDrawn="1">
          <p15:clr>
            <a:srgbClr val="C35EA4"/>
          </p15:clr>
        </p15:guide>
        <p15:guide id="3" orient="horz" pos="822" userDrawn="1">
          <p15:clr>
            <a:srgbClr val="C35EA4"/>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idx="1"/>
          </p:nvPr>
        </p:nvSpPr>
        <p:spPr>
          <a:xfrm>
            <a:off x="3429635" y="78718"/>
            <a:ext cx="2955290" cy="144000"/>
          </a:xfrm>
          <a:prstGeom prst="rect">
            <a:avLst/>
          </a:prstGeom>
        </p:spPr>
        <p:txBody>
          <a:bodyPr vert="horz" lIns="0" tIns="0" rIns="0" bIns="0" rtlCol="0">
            <a:spAutoFit/>
          </a:bodyPr>
          <a:lstStyle>
            <a:lvl1pPr algn="r">
              <a:defRPr sz="1000"/>
            </a:lvl1pPr>
          </a:lstStyle>
          <a:p>
            <a:fld id="{4AAE48C0-F8CF-41BB-AD86-35BC16D02E78}" type="datetimeFigureOut">
              <a:rPr lang="en-GB" smtClean="0">
                <a:latin typeface="Danske Text v2" panose="020B0503040502040204" pitchFamily="34" charset="0"/>
              </a:rPr>
              <a:pPr/>
              <a:t>26/08/2020</a:t>
            </a:fld>
            <a:endParaRPr lang="en-GB" dirty="0">
              <a:latin typeface="Danske Text v2" panose="020B0503040502040204" pitchFamily="34" charset="0"/>
            </a:endParaRPr>
          </a:p>
        </p:txBody>
      </p:sp>
      <p:sp>
        <p:nvSpPr>
          <p:cNvPr id="6" name="Footer Placeholder 5"/>
          <p:cNvSpPr>
            <a:spLocks noGrp="1"/>
          </p:cNvSpPr>
          <p:nvPr>
            <p:ph type="ftr" sz="quarter" idx="4"/>
          </p:nvPr>
        </p:nvSpPr>
        <p:spPr>
          <a:xfrm>
            <a:off x="434976" y="9686094"/>
            <a:ext cx="2955290" cy="153888"/>
          </a:xfrm>
          <a:prstGeom prst="rect">
            <a:avLst/>
          </a:prstGeom>
        </p:spPr>
        <p:txBody>
          <a:bodyPr vert="horz" lIns="0" tIns="0" rIns="0" bIns="0" rtlCol="0" anchor="b">
            <a:spAutoFit/>
          </a:bodyPr>
          <a:lstStyle>
            <a:lvl1pPr algn="l">
              <a:defRPr sz="1000"/>
            </a:lvl1pPr>
          </a:lstStyle>
          <a:p>
            <a:endParaRPr lang="en-GB" dirty="0">
              <a:latin typeface="Danske Text v2" panose="020B0503040502040204" pitchFamily="34" charset="0"/>
            </a:endParaRPr>
          </a:p>
        </p:txBody>
      </p:sp>
      <p:sp>
        <p:nvSpPr>
          <p:cNvPr id="7" name="Slide Number Placeholder 6"/>
          <p:cNvSpPr>
            <a:spLocks noGrp="1"/>
          </p:cNvSpPr>
          <p:nvPr>
            <p:ph type="sldNum" sz="quarter" idx="5"/>
          </p:nvPr>
        </p:nvSpPr>
        <p:spPr>
          <a:xfrm>
            <a:off x="3684926" y="9686094"/>
            <a:ext cx="2700000" cy="153888"/>
          </a:xfrm>
          <a:prstGeom prst="rect">
            <a:avLst/>
          </a:prstGeom>
        </p:spPr>
        <p:txBody>
          <a:bodyPr vert="horz" lIns="0" tIns="0" rIns="0" bIns="0" rtlCol="0" anchor="b">
            <a:spAutoFit/>
          </a:bodyPr>
          <a:lstStyle>
            <a:lvl1pPr algn="r">
              <a:defRPr sz="1000"/>
            </a:lvl1pPr>
          </a:lstStyle>
          <a:p>
            <a:fld id="{4B9FA167-6D91-40FB-A5E9-D55076958A4E}" type="slidenum">
              <a:rPr lang="en-GB" smtClean="0">
                <a:latin typeface="Danske Text v2" panose="020B0503040502040204" pitchFamily="34" charset="0"/>
              </a:rPr>
              <a:pPr/>
              <a:t>‹#›</a:t>
            </a:fld>
            <a:endParaRPr lang="en-GB" dirty="0">
              <a:latin typeface="Danske Text v2" panose="020B0503040502040204" pitchFamily="34" charset="0"/>
            </a:endParaRPr>
          </a:p>
        </p:txBody>
      </p:sp>
      <p:sp>
        <p:nvSpPr>
          <p:cNvPr id="5" name="Notes Placeholder 4"/>
          <p:cNvSpPr>
            <a:spLocks noGrp="1"/>
          </p:cNvSpPr>
          <p:nvPr>
            <p:ph type="body" sz="quarter" idx="3"/>
          </p:nvPr>
        </p:nvSpPr>
        <p:spPr>
          <a:xfrm>
            <a:off x="434976" y="4609578"/>
            <a:ext cx="5949950" cy="4684734"/>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9" name="Header Placeholder 8"/>
          <p:cNvSpPr>
            <a:spLocks noGrp="1"/>
          </p:cNvSpPr>
          <p:nvPr>
            <p:ph type="hdr" sz="quarter"/>
          </p:nvPr>
        </p:nvSpPr>
        <p:spPr>
          <a:xfrm>
            <a:off x="474739" y="78718"/>
            <a:ext cx="2756758" cy="144000"/>
          </a:xfrm>
          <a:prstGeom prst="rect">
            <a:avLst/>
          </a:prstGeom>
        </p:spPr>
        <p:txBody>
          <a:bodyPr vert="horz" lIns="0" tIns="0" rIns="0" bIns="0" rtlCol="0"/>
          <a:lstStyle>
            <a:lvl1pPr algn="l">
              <a:defRPr sz="1000"/>
            </a:lvl1pPr>
          </a:lstStyle>
          <a:p>
            <a:endParaRPr lang="en-GB" dirty="0">
              <a:latin typeface="Danske Text v2" panose="020B0503040502040204" pitchFamily="34" charset="0"/>
            </a:endParaRPr>
          </a:p>
        </p:txBody>
      </p:sp>
      <p:sp>
        <p:nvSpPr>
          <p:cNvPr id="2" name="Slide Image Placeholder 1"/>
          <p:cNvSpPr>
            <a:spLocks noGrp="1" noRot="1" noChangeAspect="1"/>
          </p:cNvSpPr>
          <p:nvPr>
            <p:ph type="sldImg" idx="2"/>
          </p:nvPr>
        </p:nvSpPr>
        <p:spPr>
          <a:xfrm>
            <a:off x="434975" y="944563"/>
            <a:ext cx="5949950" cy="3348037"/>
          </a:xfrm>
          <a:prstGeom prst="rect">
            <a:avLst/>
          </a:prstGeom>
          <a:noFill/>
          <a:ln w="3175">
            <a:solidFill>
              <a:prstClr val="black"/>
            </a:solidFill>
          </a:ln>
        </p:spPr>
        <p:txBody>
          <a:bodyPr vert="horz" lIns="91440" tIns="45720" rIns="91440" bIns="45720" rtlCol="0" anchor="ctr"/>
          <a:lstStyle/>
          <a:p>
            <a:endParaRPr lang="en-GB">
              <a:latin typeface="Danske Text v2" panose="020B0503040502040204" pitchFamily="34" charset="0"/>
            </a:endParaRPr>
          </a:p>
        </p:txBody>
      </p:sp>
    </p:spTree>
    <p:extLst>
      <p:ext uri="{BB962C8B-B14F-4D97-AF65-F5344CB8AC3E}">
        <p14:creationId xmlns:p14="http://schemas.microsoft.com/office/powerpoint/2010/main" val="3376813224"/>
      </p:ext>
    </p:extLst>
  </p:cSld>
  <p:clrMap bg1="lt1" tx1="dk1" bg2="lt2" tx2="dk2" accent1="accent1" accent2="accent2" accent3="accent3" accent4="accent4" accent5="accent5" accent6="accent6" hlink="hlink" folHlink="folHlink"/>
  <p:notesStyle>
    <a:lvl1pPr marL="177800" marR="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00" kern="1200">
        <a:solidFill>
          <a:schemeClr val="tx1"/>
        </a:solidFill>
        <a:latin typeface="Danske Text v2" panose="020B0503040502040204" pitchFamily="34" charset="0"/>
        <a:ea typeface="+mn-ea"/>
        <a:cs typeface="+mn-cs"/>
        <a:sym typeface="Danske Text v2" panose="020B0503040502040204" pitchFamily="34" charset="0"/>
      </a:defRPr>
    </a:lvl1pPr>
    <a:lvl2pPr marL="357188" marR="0" indent="-179388" algn="l" defTabSz="914400" rtl="0" eaLnBrk="1" fontAlgn="auto" latinLnBrk="0" hangingPunct="1">
      <a:lnSpc>
        <a:spcPct val="100000"/>
      </a:lnSpc>
      <a:spcBef>
        <a:spcPts val="0"/>
      </a:spcBef>
      <a:spcAft>
        <a:spcPts val="0"/>
      </a:spcAft>
      <a:buClrTx/>
      <a:buSzTx/>
      <a:buFont typeface="Danske Text" panose="00000400000000000000" pitchFamily="2" charset="0"/>
      <a:buChar char="−"/>
      <a:tabLst/>
      <a:defRPr sz="1000" kern="1200">
        <a:solidFill>
          <a:schemeClr val="tx1"/>
        </a:solidFill>
        <a:latin typeface="Danske Text v2" panose="020B0503040502040204" pitchFamily="34" charset="0"/>
        <a:ea typeface="+mn-ea"/>
        <a:cs typeface="+mn-cs"/>
        <a:sym typeface="Danske Text v2" panose="020B0503040502040204" pitchFamily="34" charset="0"/>
      </a:defRPr>
    </a:lvl2pPr>
    <a:lvl3pPr marL="447675" marR="0" indent="-90488" algn="l" defTabSz="914400" rtl="0" eaLnBrk="1" fontAlgn="auto" latinLnBrk="0" hangingPunct="1">
      <a:lnSpc>
        <a:spcPct val="100000"/>
      </a:lnSpc>
      <a:spcBef>
        <a:spcPts val="0"/>
      </a:spcBef>
      <a:spcAft>
        <a:spcPts val="0"/>
      </a:spcAft>
      <a:buClrTx/>
      <a:buSzTx/>
      <a:buFont typeface="Danske Text" panose="00000400000000000000" pitchFamily="2" charset="0"/>
      <a:buChar char="∙"/>
      <a:tabLst/>
      <a:defRPr sz="1000" kern="1200">
        <a:solidFill>
          <a:schemeClr val="tx1"/>
        </a:solidFill>
        <a:latin typeface="Danske Text v2" panose="020B0503040502040204" pitchFamily="34" charset="0"/>
        <a:ea typeface="+mn-ea"/>
        <a:cs typeface="+mn-cs"/>
        <a:sym typeface="Danske Text v2" panose="020B0503040502040204" pitchFamily="34" charset="0"/>
      </a:defRPr>
    </a:lvl3pPr>
    <a:lvl4pPr marL="627063" marR="0" indent="-92075" algn="l" defTabSz="914400" rtl="0" eaLnBrk="1" fontAlgn="auto" latinLnBrk="0" hangingPunct="1">
      <a:lnSpc>
        <a:spcPct val="100000"/>
      </a:lnSpc>
      <a:spcBef>
        <a:spcPts val="0"/>
      </a:spcBef>
      <a:spcAft>
        <a:spcPts val="0"/>
      </a:spcAft>
      <a:buClrTx/>
      <a:buSzTx/>
      <a:buFont typeface="Danske Text" panose="00000400000000000000" pitchFamily="2" charset="0"/>
      <a:buChar char="∙"/>
      <a:tabLst/>
      <a:defRPr sz="1000" kern="1200">
        <a:solidFill>
          <a:schemeClr val="tx1"/>
        </a:solidFill>
        <a:latin typeface="Danske Text v2" panose="020B0503040502040204" pitchFamily="34" charset="0"/>
        <a:ea typeface="+mn-ea"/>
        <a:cs typeface="+mn-cs"/>
        <a:sym typeface="Danske Text v2" panose="020B0503040502040204" pitchFamily="34" charset="0"/>
      </a:defRPr>
    </a:lvl4pPr>
    <a:lvl5pPr marL="808038" marR="0" indent="-93663" algn="l" defTabSz="914400" rtl="0" eaLnBrk="1" fontAlgn="auto" latinLnBrk="0" hangingPunct="1">
      <a:lnSpc>
        <a:spcPct val="100000"/>
      </a:lnSpc>
      <a:spcBef>
        <a:spcPts val="0"/>
      </a:spcBef>
      <a:spcAft>
        <a:spcPts val="0"/>
      </a:spcAft>
      <a:buClrTx/>
      <a:buSzTx/>
      <a:buFont typeface="Danske Text" panose="00000400000000000000" pitchFamily="2" charset="0"/>
      <a:buChar char="∙"/>
      <a:tabLst/>
      <a:defRPr sz="1000" kern="1200">
        <a:solidFill>
          <a:schemeClr val="tx1"/>
        </a:solidFill>
        <a:latin typeface="Danske Text v2" panose="020B0503040502040204" pitchFamily="34" charset="0"/>
        <a:ea typeface="+mn-ea"/>
        <a:cs typeface="+mn-cs"/>
        <a:sym typeface="Danske Text v2" panose="020B050304050204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896" userDrawn="1">
          <p15:clr>
            <a:srgbClr val="F26B43"/>
          </p15:clr>
        </p15:guide>
        <p15:guide id="2" orient="horz" pos="595" userDrawn="1">
          <p15:clr>
            <a:srgbClr val="F26B43"/>
          </p15:clr>
        </p15:guide>
        <p15:guide id="3" pos="279" userDrawn="1">
          <p15:clr>
            <a:srgbClr val="F26B43"/>
          </p15:clr>
        </p15:guide>
        <p15:guide id="4" pos="402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latin typeface="Danske Text v2" panose="020B0503040502040204" pitchFamily="34" charset="0"/>
            </a:endParaRPr>
          </a:p>
        </p:txBody>
      </p:sp>
      <p:sp>
        <p:nvSpPr>
          <p:cNvPr id="4" name="Slide Number Placeholder 3"/>
          <p:cNvSpPr>
            <a:spLocks noGrp="1"/>
          </p:cNvSpPr>
          <p:nvPr>
            <p:ph type="sldNum" sz="quarter" idx="10"/>
          </p:nvPr>
        </p:nvSpPr>
        <p:spPr/>
        <p:txBody>
          <a:bodyPr/>
          <a:lstStyle/>
          <a:p>
            <a:fld id="{4B9FA167-6D91-40FB-A5E9-D55076958A4E}" type="slidenum">
              <a:rPr lang="en-GB" smtClean="0">
                <a:latin typeface="Danske Text v2" panose="020B0503040502040204" pitchFamily="34" charset="0"/>
              </a:rPr>
              <a:pPr/>
              <a:t>1</a:t>
            </a:fld>
            <a:endParaRPr lang="en-GB" dirty="0">
              <a:latin typeface="Danske Text v2" panose="020B0503040502040204" pitchFamily="34" charset="0"/>
            </a:endParaRPr>
          </a:p>
        </p:txBody>
      </p:sp>
    </p:spTree>
    <p:extLst>
      <p:ext uri="{BB962C8B-B14F-4D97-AF65-F5344CB8AC3E}">
        <p14:creationId xmlns:p14="http://schemas.microsoft.com/office/powerpoint/2010/main" val="1430150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B9FA167-6D91-40FB-A5E9-D55076958A4E}" type="slidenum">
              <a:rPr lang="en-GB" smtClean="0">
                <a:latin typeface="Danske Text v2" panose="020B0503040502040204" pitchFamily="34" charset="0"/>
              </a:rPr>
              <a:pPr/>
              <a:t>6</a:t>
            </a:fld>
            <a:endParaRPr lang="en-GB" dirty="0">
              <a:latin typeface="Danske Text v2" panose="020B0503040502040204" pitchFamily="34" charset="0"/>
            </a:endParaRPr>
          </a:p>
        </p:txBody>
      </p:sp>
    </p:spTree>
    <p:extLst>
      <p:ext uri="{BB962C8B-B14F-4D97-AF65-F5344CB8AC3E}">
        <p14:creationId xmlns:p14="http://schemas.microsoft.com/office/powerpoint/2010/main" val="9248664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75" y="869950"/>
            <a:ext cx="8572500" cy="4821238"/>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4B9FA167-6D91-40FB-A5E9-D55076958A4E}" type="slidenum">
              <a:rPr lang="en-GB" smtClean="0"/>
              <a:pPr/>
              <a:t>34</a:t>
            </a:fld>
            <a:endParaRPr lang="en-GB" dirty="0"/>
          </a:p>
        </p:txBody>
      </p:sp>
    </p:spTree>
    <p:extLst>
      <p:ext uri="{BB962C8B-B14F-4D97-AF65-F5344CB8AC3E}">
        <p14:creationId xmlns:p14="http://schemas.microsoft.com/office/powerpoint/2010/main" val="34852349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0.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6.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29.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3.v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4.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5.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6.v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7.v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38.v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39.v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40.v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1.v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age – Internal">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4157083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0"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ctrTitle" hasCustomPrompt="1"/>
          </p:nvPr>
        </p:nvSpPr>
        <p:spPr>
          <a:xfrm>
            <a:off x="431800" y="4074530"/>
            <a:ext cx="11340000" cy="900000"/>
          </a:xfrm>
          <a:prstGeom prst="rect">
            <a:avLst/>
          </a:prstGeom>
        </p:spPr>
        <p:txBody>
          <a:bodyPr wrap="square" anchor="b" anchorCtr="0">
            <a:noAutofit/>
          </a:bodyPr>
          <a:lstStyle>
            <a:lvl1pPr algn="l">
              <a:lnSpc>
                <a:spcPct val="90000"/>
              </a:lnSpc>
              <a:defRPr sz="3200">
                <a:solidFill>
                  <a:schemeClr val="tx2"/>
                </a:solidFill>
              </a:defRPr>
            </a:lvl1pPr>
          </a:lstStyle>
          <a:p>
            <a:r>
              <a:rPr lang="en-GB" dirty="0" smtClean="0"/>
              <a:t>Click to add presentation title – subtitle </a:t>
            </a:r>
            <a:br>
              <a:rPr lang="en-GB" dirty="0" smtClean="0"/>
            </a:br>
            <a:r>
              <a:rPr lang="en-GB" dirty="0" smtClean="0"/>
              <a:t>– max. two lines</a:t>
            </a:r>
            <a:endParaRPr lang="en-GB" dirty="0"/>
          </a:p>
        </p:txBody>
      </p:sp>
      <p:sp>
        <p:nvSpPr>
          <p:cNvPr id="3" name="SUBTITLE placeholder 1"/>
          <p:cNvSpPr>
            <a:spLocks noGrp="1"/>
          </p:cNvSpPr>
          <p:nvPr>
            <p:ph type="subTitle" idx="1" hasCustomPrompt="1"/>
          </p:nvPr>
        </p:nvSpPr>
        <p:spPr>
          <a:xfrm>
            <a:off x="431800" y="5077820"/>
            <a:ext cx="11340000" cy="184666"/>
          </a:xfrm>
          <a:prstGeom prst="rect">
            <a:avLst/>
          </a:prstGeom>
        </p:spPr>
        <p:txBody>
          <a:bodyPr anchor="t" anchorCtr="0">
            <a:noAutofit/>
          </a:bodyPr>
          <a:lstStyle>
            <a:lvl1pPr marL="0" indent="0" algn="l">
              <a:spcAft>
                <a:spcPts val="0"/>
              </a:spcAft>
              <a:buNone/>
              <a:defRPr sz="1200" baseline="0">
                <a:solidFill>
                  <a:schemeClr val="tx2"/>
                </a:solidFill>
                <a:latin typeface="Danske Text v2" panose="020B0503040502040204" pitchFamily="34" charset="0"/>
                <a:sym typeface="Danske Text v2" panose="020B0503040502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Click to add document type / audience / date [</a:t>
            </a:r>
            <a:r>
              <a:rPr lang="en-GB" dirty="0" err="1" smtClean="0"/>
              <a:t>dd</a:t>
            </a:r>
            <a:r>
              <a:rPr lang="en-GB" dirty="0" smtClean="0"/>
              <a:t> </a:t>
            </a:r>
            <a:r>
              <a:rPr lang="en-GB" dirty="0" err="1" smtClean="0"/>
              <a:t>mmmm</a:t>
            </a:r>
            <a:r>
              <a:rPr lang="en-GB" dirty="0" smtClean="0"/>
              <a:t> </a:t>
            </a:r>
            <a:r>
              <a:rPr lang="en-GB" dirty="0" err="1" smtClean="0"/>
              <a:t>yyyy</a:t>
            </a:r>
            <a:r>
              <a:rPr lang="en-GB" dirty="0" smtClean="0"/>
              <a:t>]</a:t>
            </a:r>
          </a:p>
        </p:txBody>
      </p:sp>
      <p:pic>
        <p:nvPicPr>
          <p:cNvPr id="4"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125484" y="253007"/>
            <a:ext cx="1646316" cy="248400"/>
          </a:xfrm>
          <a:prstGeom prst="rect">
            <a:avLst/>
          </a:prstGeom>
        </p:spPr>
      </p:pic>
    </p:spTree>
    <p:extLst>
      <p:ext uri="{BB962C8B-B14F-4D97-AF65-F5344CB8AC3E}">
        <p14:creationId xmlns:p14="http://schemas.microsoft.com/office/powerpoint/2010/main" val="195220998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2" orient="horz" pos="2567" userDrawn="1">
          <p15:clr>
            <a:srgbClr val="F26B43"/>
          </p15:clr>
        </p15:guide>
        <p15:guide id="3" orient="horz" pos="3198" userDrawn="1">
          <p15:clr>
            <a:srgbClr val="F26B43"/>
          </p15:clr>
        </p15:guide>
        <p15:guide id="7" orient="horz" pos="3135" userDrawn="1">
          <p15:clr>
            <a:srgbClr val="F26B43"/>
          </p15:clr>
        </p15:guide>
        <p15:guide id="8" orient="horz" pos="3315"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s – wide r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814401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86"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36360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3636000" cy="460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284198" y="1522800"/>
            <a:ext cx="7488000" cy="246221"/>
          </a:xfrm>
        </p:spPr>
        <p:txBody>
          <a:bodyPr>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284198" y="1800000"/>
            <a:ext cx="7488000" cy="460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24"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141447842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569">
          <p15:clr>
            <a:srgbClr val="F26B43"/>
          </p15:clr>
        </p15:guide>
        <p15:guide id="2" orient="horz" pos="411">
          <p15:clr>
            <a:srgbClr val="F26B43"/>
          </p15:clr>
        </p15:guide>
        <p15:guide id="3" orient="horz" pos="292">
          <p15:clr>
            <a:srgbClr val="F26B43"/>
          </p15:clr>
        </p15:guide>
        <p15:guide id="4" orient="horz" pos="4179" userDrawn="1">
          <p15:clr>
            <a:srgbClr val="F26B43"/>
          </p15:clr>
        </p15:guide>
        <p15:guide id="5" pos="2696">
          <p15:clr>
            <a:srgbClr val="F26B43"/>
          </p15:clr>
        </p15:guide>
        <p15:guide id="7" orient="horz" pos="1115">
          <p15:clr>
            <a:srgbClr val="F26B43"/>
          </p15:clr>
        </p15:guide>
        <p15:guide id="8" orient="horz" pos="4258">
          <p15:clr>
            <a:srgbClr val="F26B43"/>
          </p15:clr>
        </p15:guide>
        <p15:guide id="9" orient="horz" pos="1133"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s – wide left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129636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10"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74880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7488000" cy="460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8136198" y="1522800"/>
            <a:ext cx="3636000" cy="246221"/>
          </a:xfrm>
        </p:spPr>
        <p:txBody>
          <a:bodyPr>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8136198" y="1800000"/>
            <a:ext cx="3636000" cy="460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24"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312198089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11">
          <p15:clr>
            <a:srgbClr val="F26B43"/>
          </p15:clr>
        </p15:guide>
        <p15:guide id="2" orient="horz" pos="292">
          <p15:clr>
            <a:srgbClr val="F26B43"/>
          </p15:clr>
        </p15:guide>
        <p15:guide id="3" orient="horz" pos="4178">
          <p15:clr>
            <a:srgbClr val="F26B43"/>
          </p15:clr>
        </p15:guide>
        <p15:guide id="4" pos="4996">
          <p15:clr>
            <a:srgbClr val="F26B43"/>
          </p15:clr>
        </p15:guide>
        <p15:guide id="5" pos="5124">
          <p15:clr>
            <a:srgbClr val="F26B43"/>
          </p15:clr>
        </p15:guide>
        <p15:guide id="7" orient="horz" pos="1115">
          <p15:clr>
            <a:srgbClr val="F26B43"/>
          </p15:clr>
        </p15:guide>
        <p15:guide id="8" orient="horz" pos="4258">
          <p15:clr>
            <a:srgbClr val="F26B43"/>
          </p15:clr>
        </p15:guide>
        <p15:guide id="9" orient="horz" pos="1133"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67019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34"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36360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3636000" cy="460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284198" y="1522800"/>
            <a:ext cx="3636000" cy="246221"/>
          </a:xfrm>
        </p:spPr>
        <p:txBody>
          <a:bodyPr>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284198" y="1800000"/>
            <a:ext cx="3636000" cy="460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DESCRIPTION Placeholder 3"/>
          <p:cNvSpPr>
            <a:spLocks noGrp="1"/>
          </p:cNvSpPr>
          <p:nvPr>
            <p:ph type="body" sz="quarter" idx="75" hasCustomPrompt="1"/>
          </p:nvPr>
        </p:nvSpPr>
        <p:spPr>
          <a:xfrm>
            <a:off x="8136198" y="1522800"/>
            <a:ext cx="36360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18" name="CONTENT Placeholder 3"/>
          <p:cNvSpPr>
            <a:spLocks noGrp="1"/>
          </p:cNvSpPr>
          <p:nvPr>
            <p:ph sz="quarter" idx="76"/>
          </p:nvPr>
        </p:nvSpPr>
        <p:spPr>
          <a:xfrm>
            <a:off x="8136198" y="1800000"/>
            <a:ext cx="3636000" cy="460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24"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306050741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569">
          <p15:clr>
            <a:srgbClr val="F26B43"/>
          </p15:clr>
        </p15:guide>
        <p15:guide id="2" orient="horz" pos="411">
          <p15:clr>
            <a:srgbClr val="F26B43"/>
          </p15:clr>
        </p15:guide>
        <p15:guide id="3" orient="horz" pos="292">
          <p15:clr>
            <a:srgbClr val="F26B43"/>
          </p15:clr>
        </p15:guide>
        <p15:guide id="4" orient="horz" pos="4178">
          <p15:clr>
            <a:srgbClr val="F26B43"/>
          </p15:clr>
        </p15:guide>
        <p15:guide id="5" pos="4996">
          <p15:clr>
            <a:srgbClr val="F26B43"/>
          </p15:clr>
        </p15:guide>
        <p15:guide id="6" pos="2696">
          <p15:clr>
            <a:srgbClr val="F26B43"/>
          </p15:clr>
        </p15:guide>
        <p15:guide id="7" pos="5124">
          <p15:clr>
            <a:srgbClr val="F26B43"/>
          </p15:clr>
        </p15:guide>
        <p15:guide id="10" orient="horz" pos="4258">
          <p15:clr>
            <a:srgbClr val="F26B43"/>
          </p15:clr>
        </p15:guide>
        <p15:guide id="11" orient="horz" pos="1115" userDrawn="1">
          <p15:clr>
            <a:srgbClr val="F26B43"/>
          </p15:clr>
        </p15:guide>
        <p15:guide id="12" orient="horz" pos="1133"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9664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58"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55620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55620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32198" y="4077169"/>
            <a:ext cx="5562000" cy="246221"/>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32198" y="4356000"/>
            <a:ext cx="55620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DESCRIPTION Placeholder 3"/>
          <p:cNvSpPr>
            <a:spLocks noGrp="1"/>
          </p:cNvSpPr>
          <p:nvPr>
            <p:ph type="body" sz="quarter" idx="75" hasCustomPrompt="1"/>
          </p:nvPr>
        </p:nvSpPr>
        <p:spPr>
          <a:xfrm>
            <a:off x="6208998" y="1522800"/>
            <a:ext cx="55620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18" name="CONTENT Placeholder 3"/>
          <p:cNvSpPr>
            <a:spLocks noGrp="1"/>
          </p:cNvSpPr>
          <p:nvPr>
            <p:ph sz="quarter" idx="76"/>
          </p:nvPr>
        </p:nvSpPr>
        <p:spPr>
          <a:xfrm>
            <a:off x="6208998" y="1800000"/>
            <a:ext cx="55620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DESCRIPTION Placeholder 4"/>
          <p:cNvSpPr>
            <a:spLocks noGrp="1"/>
          </p:cNvSpPr>
          <p:nvPr>
            <p:ph type="body" sz="quarter" idx="77" hasCustomPrompt="1"/>
          </p:nvPr>
        </p:nvSpPr>
        <p:spPr>
          <a:xfrm>
            <a:off x="6208998" y="4077169"/>
            <a:ext cx="55620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3" name="CONTENT Placeholder 4"/>
          <p:cNvSpPr>
            <a:spLocks noGrp="1"/>
          </p:cNvSpPr>
          <p:nvPr>
            <p:ph sz="quarter" idx="78"/>
          </p:nvPr>
        </p:nvSpPr>
        <p:spPr>
          <a:xfrm>
            <a:off x="6208998" y="4356000"/>
            <a:ext cx="55620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a:xfrm>
            <a:off x="432198" y="6886754"/>
            <a:ext cx="2088000" cy="144000"/>
          </a:xfrm>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27"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36419912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92">
          <p15:clr>
            <a:srgbClr val="F26B43"/>
          </p15:clr>
        </p15:guide>
        <p15:guide id="2" orient="horz" pos="4178">
          <p15:clr>
            <a:srgbClr val="F26B43"/>
          </p15:clr>
        </p15:guide>
        <p15:guide id="3" pos="3911">
          <p15:clr>
            <a:srgbClr val="F26B43"/>
          </p15:clr>
        </p15:guide>
        <p15:guide id="4" pos="3778">
          <p15:clr>
            <a:srgbClr val="F26B43"/>
          </p15:clr>
        </p15:guide>
        <p15:guide id="6" orient="horz" pos="2743">
          <p15:clr>
            <a:srgbClr val="F26B43"/>
          </p15:clr>
        </p15:guide>
        <p15:guide id="7" orient="horz" pos="410">
          <p15:clr>
            <a:srgbClr val="F26B43"/>
          </p15:clr>
        </p15:guide>
        <p15:guide id="8" orient="horz" pos="4258">
          <p15:clr>
            <a:srgbClr val="F26B43"/>
          </p15:clr>
        </p15:guide>
        <p15:guide id="9" orient="horz" pos="2724">
          <p15:clr>
            <a:srgbClr val="F26B43"/>
          </p15:clr>
        </p15:guide>
        <p15:guide id="10" orient="horz" pos="2568">
          <p15:clr>
            <a:srgbClr val="F26B43"/>
          </p15:clr>
        </p15:guide>
        <p15:guide id="11" orient="horz" pos="2428">
          <p15:clr>
            <a:srgbClr val="F26B43"/>
          </p15:clr>
        </p15:guide>
        <p15:guide id="12" orient="horz" pos="1133" userDrawn="1">
          <p15:clr>
            <a:srgbClr val="F26B43"/>
          </p15:clr>
        </p15:guide>
        <p15:guide id="13" orient="horz" pos="1115"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Contents – high">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86992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82"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26748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2674800" cy="460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3320598" y="1522800"/>
            <a:ext cx="2674800" cy="246221"/>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3320598" y="1800000"/>
            <a:ext cx="2674800" cy="460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DESCRIPTION Placeholder 3"/>
          <p:cNvSpPr>
            <a:spLocks noGrp="1"/>
          </p:cNvSpPr>
          <p:nvPr>
            <p:ph type="body" sz="quarter" idx="75" hasCustomPrompt="1"/>
          </p:nvPr>
        </p:nvSpPr>
        <p:spPr>
          <a:xfrm>
            <a:off x="6208998" y="1522800"/>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18" name="CONTENT Placeholder 3"/>
          <p:cNvSpPr>
            <a:spLocks noGrp="1"/>
          </p:cNvSpPr>
          <p:nvPr>
            <p:ph sz="quarter" idx="76"/>
          </p:nvPr>
        </p:nvSpPr>
        <p:spPr>
          <a:xfrm>
            <a:off x="6208998" y="1800000"/>
            <a:ext cx="2674800" cy="460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DESCRIPTION Placeholder 4"/>
          <p:cNvSpPr>
            <a:spLocks noGrp="1"/>
          </p:cNvSpPr>
          <p:nvPr>
            <p:ph type="body" sz="quarter" idx="77" hasCustomPrompt="1"/>
          </p:nvPr>
        </p:nvSpPr>
        <p:spPr>
          <a:xfrm>
            <a:off x="9097398" y="1522800"/>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3" name="CONTENT Placeholder 4"/>
          <p:cNvSpPr>
            <a:spLocks noGrp="1"/>
          </p:cNvSpPr>
          <p:nvPr>
            <p:ph sz="quarter" idx="78"/>
          </p:nvPr>
        </p:nvSpPr>
        <p:spPr>
          <a:xfrm>
            <a:off x="9097398" y="1800000"/>
            <a:ext cx="2674800" cy="460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a:xfrm>
            <a:off x="432198" y="6886754"/>
            <a:ext cx="2088000" cy="144000"/>
          </a:xfrm>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27"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270729200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957">
          <p15:clr>
            <a:srgbClr val="F26B43"/>
          </p15:clr>
        </p15:guide>
        <p15:guide id="2" orient="horz" pos="292">
          <p15:clr>
            <a:srgbClr val="F26B43"/>
          </p15:clr>
        </p15:guide>
        <p15:guide id="3" orient="horz" pos="4178">
          <p15:clr>
            <a:srgbClr val="F26B43"/>
          </p15:clr>
        </p15:guide>
        <p15:guide id="4" pos="3911">
          <p15:clr>
            <a:srgbClr val="F26B43"/>
          </p15:clr>
        </p15:guide>
        <p15:guide id="5" pos="2092">
          <p15:clr>
            <a:srgbClr val="F26B43"/>
          </p15:clr>
        </p15:guide>
        <p15:guide id="6" pos="3778">
          <p15:clr>
            <a:srgbClr val="F26B43"/>
          </p15:clr>
        </p15:guide>
        <p15:guide id="7" pos="5597">
          <p15:clr>
            <a:srgbClr val="F26B43"/>
          </p15:clr>
        </p15:guide>
        <p15:guide id="8" pos="5730">
          <p15:clr>
            <a:srgbClr val="F26B43"/>
          </p15:clr>
        </p15:guide>
        <p15:guide id="9" orient="horz" pos="958">
          <p15:clr>
            <a:srgbClr val="F26B43"/>
          </p15:clr>
        </p15:guide>
        <p15:guide id="10" orient="horz" pos="410">
          <p15:clr>
            <a:srgbClr val="F26B43"/>
          </p15:clr>
        </p15:guide>
        <p15:guide id="11" orient="horz" pos="4258">
          <p15:clr>
            <a:srgbClr val="F26B43"/>
          </p15:clr>
        </p15:guide>
        <p15:guide id="12" orient="horz" pos="1115">
          <p15:clr>
            <a:srgbClr val="F26B43"/>
          </p15:clr>
        </p15:guide>
        <p15:guide id="13" orient="horz" pos="1133"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ix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717220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06"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36360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36360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32198" y="4077169"/>
            <a:ext cx="3636000" cy="246221"/>
          </a:xfrm>
        </p:spPr>
        <p:txBody>
          <a:bodyPr>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32198" y="4356000"/>
            <a:ext cx="36360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DESCRIPTION Placeholder 3"/>
          <p:cNvSpPr>
            <a:spLocks noGrp="1"/>
          </p:cNvSpPr>
          <p:nvPr>
            <p:ph type="body" sz="quarter" idx="75" hasCustomPrompt="1"/>
          </p:nvPr>
        </p:nvSpPr>
        <p:spPr>
          <a:xfrm>
            <a:off x="4284198" y="1522800"/>
            <a:ext cx="36360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18" name="CONTENT Placeholder 3"/>
          <p:cNvSpPr>
            <a:spLocks noGrp="1"/>
          </p:cNvSpPr>
          <p:nvPr>
            <p:ph sz="quarter" idx="76"/>
          </p:nvPr>
        </p:nvSpPr>
        <p:spPr>
          <a:xfrm>
            <a:off x="4284198" y="1800000"/>
            <a:ext cx="36360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DESCRIPTION Placeholder 4"/>
          <p:cNvSpPr>
            <a:spLocks noGrp="1"/>
          </p:cNvSpPr>
          <p:nvPr>
            <p:ph type="body" sz="quarter" idx="77" hasCustomPrompt="1"/>
          </p:nvPr>
        </p:nvSpPr>
        <p:spPr>
          <a:xfrm>
            <a:off x="4284198" y="4077169"/>
            <a:ext cx="36360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3" name="CONTENT Placeholder 4"/>
          <p:cNvSpPr>
            <a:spLocks noGrp="1"/>
          </p:cNvSpPr>
          <p:nvPr>
            <p:ph sz="quarter" idx="78"/>
          </p:nvPr>
        </p:nvSpPr>
        <p:spPr>
          <a:xfrm>
            <a:off x="4284198" y="4356000"/>
            <a:ext cx="36360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DESCRIPTION Placeholder 5"/>
          <p:cNvSpPr>
            <a:spLocks noGrp="1"/>
          </p:cNvSpPr>
          <p:nvPr>
            <p:ph type="body" sz="quarter" idx="79" hasCustomPrompt="1"/>
          </p:nvPr>
        </p:nvSpPr>
        <p:spPr>
          <a:xfrm>
            <a:off x="8136198" y="1522800"/>
            <a:ext cx="36360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8" name="CONTENT Placeholder 5"/>
          <p:cNvSpPr>
            <a:spLocks noGrp="1"/>
          </p:cNvSpPr>
          <p:nvPr>
            <p:ph sz="quarter" idx="80"/>
          </p:nvPr>
        </p:nvSpPr>
        <p:spPr>
          <a:xfrm>
            <a:off x="8136198" y="1800000"/>
            <a:ext cx="36360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0" name="DESCRIPTION Placeholder 6"/>
          <p:cNvSpPr>
            <a:spLocks noGrp="1"/>
          </p:cNvSpPr>
          <p:nvPr>
            <p:ph type="body" sz="quarter" idx="81" hasCustomPrompt="1"/>
          </p:nvPr>
        </p:nvSpPr>
        <p:spPr>
          <a:xfrm>
            <a:off x="8136198" y="4077169"/>
            <a:ext cx="36360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33" name="CONTENT Placeholder 6"/>
          <p:cNvSpPr>
            <a:spLocks noGrp="1"/>
          </p:cNvSpPr>
          <p:nvPr>
            <p:ph sz="quarter" idx="82"/>
          </p:nvPr>
        </p:nvSpPr>
        <p:spPr>
          <a:xfrm>
            <a:off x="8136198" y="4356000"/>
            <a:ext cx="36360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24"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426964377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569" userDrawn="1">
          <p15:clr>
            <a:srgbClr val="F26B43"/>
          </p15:clr>
        </p15:guide>
        <p15:guide id="2" orient="horz" pos="411" userDrawn="1">
          <p15:clr>
            <a:srgbClr val="F26B43"/>
          </p15:clr>
        </p15:guide>
        <p15:guide id="3" orient="horz" pos="292">
          <p15:clr>
            <a:srgbClr val="F26B43"/>
          </p15:clr>
        </p15:guide>
        <p15:guide id="4" orient="horz" pos="4178" userDrawn="1">
          <p15:clr>
            <a:srgbClr val="F26B43"/>
          </p15:clr>
        </p15:guide>
        <p15:guide id="5" pos="4996" userDrawn="1">
          <p15:clr>
            <a:srgbClr val="F26B43"/>
          </p15:clr>
        </p15:guide>
        <p15:guide id="7" pos="2696" userDrawn="1">
          <p15:clr>
            <a:srgbClr val="F26B43"/>
          </p15:clr>
        </p15:guide>
        <p15:guide id="8" pos="5124" userDrawn="1">
          <p15:clr>
            <a:srgbClr val="F26B43"/>
          </p15:clr>
        </p15:guide>
        <p15:guide id="11" orient="horz" pos="2428" userDrawn="1">
          <p15:clr>
            <a:srgbClr val="F26B43"/>
          </p15:clr>
        </p15:guide>
        <p15:guide id="13" orient="horz" pos="958" userDrawn="1">
          <p15:clr>
            <a:srgbClr val="F26B43"/>
          </p15:clr>
        </p15:guide>
        <p15:guide id="14" orient="horz" pos="2568" userDrawn="1">
          <p15:clr>
            <a:srgbClr val="F26B43"/>
          </p15:clr>
        </p15:guide>
        <p15:guide id="19" orient="horz" pos="2724" userDrawn="1">
          <p15:clr>
            <a:srgbClr val="F26B43"/>
          </p15:clr>
        </p15:guide>
        <p15:guide id="20" orient="horz" pos="1115" userDrawn="1">
          <p15:clr>
            <a:srgbClr val="F26B43"/>
          </p15:clr>
        </p15:guide>
        <p15:guide id="22" orient="horz" pos="2743" userDrawn="1">
          <p15:clr>
            <a:srgbClr val="F26B43"/>
          </p15:clr>
        </p15:guide>
        <p15:guide id="23" orient="horz" pos="4258" userDrawn="1">
          <p15:clr>
            <a:srgbClr val="F26B43"/>
          </p15:clr>
        </p15:guide>
        <p15:guide id="24" orient="horz" pos="1133"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ix Contents – wide lef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704730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30"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55620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55620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32198" y="4077169"/>
            <a:ext cx="5562000" cy="246221"/>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32198" y="4356000"/>
            <a:ext cx="55620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DESCRIPTION Placeholder 3"/>
          <p:cNvSpPr>
            <a:spLocks noGrp="1"/>
          </p:cNvSpPr>
          <p:nvPr>
            <p:ph type="body" sz="quarter" idx="75" hasCustomPrompt="1"/>
          </p:nvPr>
        </p:nvSpPr>
        <p:spPr>
          <a:xfrm>
            <a:off x="6208398" y="1522800"/>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18" name="CONTENT Placeholder 3"/>
          <p:cNvSpPr>
            <a:spLocks noGrp="1"/>
          </p:cNvSpPr>
          <p:nvPr>
            <p:ph sz="quarter" idx="76"/>
          </p:nvPr>
        </p:nvSpPr>
        <p:spPr>
          <a:xfrm>
            <a:off x="6208398" y="1800000"/>
            <a:ext cx="26748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DESCRIPTION Placeholder 4"/>
          <p:cNvSpPr>
            <a:spLocks noGrp="1"/>
          </p:cNvSpPr>
          <p:nvPr>
            <p:ph type="body" sz="quarter" idx="77" hasCustomPrompt="1"/>
          </p:nvPr>
        </p:nvSpPr>
        <p:spPr>
          <a:xfrm>
            <a:off x="6208398" y="4077169"/>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3" name="CONTENT Placeholder 4"/>
          <p:cNvSpPr>
            <a:spLocks noGrp="1"/>
          </p:cNvSpPr>
          <p:nvPr>
            <p:ph sz="quarter" idx="78"/>
          </p:nvPr>
        </p:nvSpPr>
        <p:spPr>
          <a:xfrm>
            <a:off x="6208398" y="4356000"/>
            <a:ext cx="26748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DESCRIPTION Placeholder 5"/>
          <p:cNvSpPr>
            <a:spLocks noGrp="1"/>
          </p:cNvSpPr>
          <p:nvPr>
            <p:ph type="body" sz="quarter" idx="79" hasCustomPrompt="1"/>
          </p:nvPr>
        </p:nvSpPr>
        <p:spPr>
          <a:xfrm>
            <a:off x="9097398" y="1522800"/>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8" name="CONTENT Placeholder 5"/>
          <p:cNvSpPr>
            <a:spLocks noGrp="1"/>
          </p:cNvSpPr>
          <p:nvPr>
            <p:ph sz="quarter" idx="80"/>
          </p:nvPr>
        </p:nvSpPr>
        <p:spPr>
          <a:xfrm>
            <a:off x="9097398" y="1800000"/>
            <a:ext cx="26748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0" name="DESCRIPTION Placeholder 6"/>
          <p:cNvSpPr>
            <a:spLocks noGrp="1"/>
          </p:cNvSpPr>
          <p:nvPr>
            <p:ph type="body" sz="quarter" idx="81" hasCustomPrompt="1"/>
          </p:nvPr>
        </p:nvSpPr>
        <p:spPr>
          <a:xfrm>
            <a:off x="9097398" y="4077169"/>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33" name="CONTENT Placeholder 6"/>
          <p:cNvSpPr>
            <a:spLocks noGrp="1"/>
          </p:cNvSpPr>
          <p:nvPr>
            <p:ph sz="quarter" idx="82"/>
          </p:nvPr>
        </p:nvSpPr>
        <p:spPr>
          <a:xfrm>
            <a:off x="9097398" y="4356000"/>
            <a:ext cx="26748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a:xfrm>
            <a:off x="432198" y="6955200"/>
            <a:ext cx="2088000" cy="144000"/>
          </a:xfrm>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27"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268813439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92">
          <p15:clr>
            <a:srgbClr val="F26B43"/>
          </p15:clr>
        </p15:guide>
        <p15:guide id="2" orient="horz" pos="4178">
          <p15:clr>
            <a:srgbClr val="F26B43"/>
          </p15:clr>
        </p15:guide>
        <p15:guide id="3" pos="3911">
          <p15:clr>
            <a:srgbClr val="F26B43"/>
          </p15:clr>
        </p15:guide>
        <p15:guide id="4" pos="3778">
          <p15:clr>
            <a:srgbClr val="F26B43"/>
          </p15:clr>
        </p15:guide>
        <p15:guide id="5" pos="5597">
          <p15:clr>
            <a:srgbClr val="F26B43"/>
          </p15:clr>
        </p15:guide>
        <p15:guide id="6" pos="5730">
          <p15:clr>
            <a:srgbClr val="F26B43"/>
          </p15:clr>
        </p15:guide>
        <p15:guide id="7" orient="horz" pos="958">
          <p15:clr>
            <a:srgbClr val="F26B43"/>
          </p15:clr>
        </p15:guide>
        <p15:guide id="8" orient="horz" pos="2743">
          <p15:clr>
            <a:srgbClr val="F26B43"/>
          </p15:clr>
        </p15:guide>
        <p15:guide id="9" orient="horz" pos="410">
          <p15:clr>
            <a:srgbClr val="F26B43"/>
          </p15:clr>
        </p15:guide>
        <p15:guide id="10" orient="horz" pos="4258">
          <p15:clr>
            <a:srgbClr val="F26B43"/>
          </p15:clr>
        </p15:guide>
        <p15:guide id="11" orient="horz" pos="2724">
          <p15:clr>
            <a:srgbClr val="F26B43"/>
          </p15:clr>
        </p15:guide>
        <p15:guide id="12" orient="horz" pos="2568">
          <p15:clr>
            <a:srgbClr val="F26B43"/>
          </p15:clr>
        </p15:guide>
        <p15:guide id="13" orient="horz" pos="2428">
          <p15:clr>
            <a:srgbClr val="F26B43"/>
          </p15:clr>
        </p15:guide>
        <p15:guide id="14" orient="horz" pos="1115">
          <p15:clr>
            <a:srgbClr val="F26B43"/>
          </p15:clr>
        </p15:guide>
        <p15:guide id="15" orient="horz" pos="1133" userDrawn="1">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x contents – wide r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6666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54"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26748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26748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32198" y="4077169"/>
            <a:ext cx="2674800" cy="246221"/>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32198" y="4356000"/>
            <a:ext cx="26748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DESCRIPTION Placeholder 3"/>
          <p:cNvSpPr>
            <a:spLocks noGrp="1"/>
          </p:cNvSpPr>
          <p:nvPr>
            <p:ph type="body" sz="quarter" idx="75" hasCustomPrompt="1"/>
          </p:nvPr>
        </p:nvSpPr>
        <p:spPr>
          <a:xfrm>
            <a:off x="3320598" y="1522800"/>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18" name="CONTENT Placeholder 3"/>
          <p:cNvSpPr>
            <a:spLocks noGrp="1"/>
          </p:cNvSpPr>
          <p:nvPr>
            <p:ph sz="quarter" idx="76"/>
          </p:nvPr>
        </p:nvSpPr>
        <p:spPr>
          <a:xfrm>
            <a:off x="3320598" y="1800000"/>
            <a:ext cx="26748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DESCRIPTION Placeholder 4"/>
          <p:cNvSpPr>
            <a:spLocks noGrp="1"/>
          </p:cNvSpPr>
          <p:nvPr>
            <p:ph type="body" sz="quarter" idx="77" hasCustomPrompt="1"/>
          </p:nvPr>
        </p:nvSpPr>
        <p:spPr>
          <a:xfrm>
            <a:off x="3320598" y="4077169"/>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3" name="CONTENT Placeholder 4"/>
          <p:cNvSpPr>
            <a:spLocks noGrp="1"/>
          </p:cNvSpPr>
          <p:nvPr>
            <p:ph sz="quarter" idx="78"/>
          </p:nvPr>
        </p:nvSpPr>
        <p:spPr>
          <a:xfrm>
            <a:off x="3320598" y="4356000"/>
            <a:ext cx="26748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DESCRIPTION Placeholder 5"/>
          <p:cNvSpPr>
            <a:spLocks noGrp="1"/>
          </p:cNvSpPr>
          <p:nvPr>
            <p:ph type="body" sz="quarter" idx="79" hasCustomPrompt="1"/>
          </p:nvPr>
        </p:nvSpPr>
        <p:spPr>
          <a:xfrm>
            <a:off x="6208997" y="1522800"/>
            <a:ext cx="5563199"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8" name="CONTENT Placeholder 5"/>
          <p:cNvSpPr>
            <a:spLocks noGrp="1"/>
          </p:cNvSpPr>
          <p:nvPr>
            <p:ph sz="quarter" idx="80"/>
          </p:nvPr>
        </p:nvSpPr>
        <p:spPr>
          <a:xfrm>
            <a:off x="6208997" y="1800000"/>
            <a:ext cx="5563199"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0" name="DESCRIPTION Placeholder 6"/>
          <p:cNvSpPr>
            <a:spLocks noGrp="1"/>
          </p:cNvSpPr>
          <p:nvPr>
            <p:ph type="body" sz="quarter" idx="81" hasCustomPrompt="1"/>
          </p:nvPr>
        </p:nvSpPr>
        <p:spPr>
          <a:xfrm>
            <a:off x="6208997" y="4077169"/>
            <a:ext cx="5563199"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33" name="CONTENT Placeholder 6"/>
          <p:cNvSpPr>
            <a:spLocks noGrp="1"/>
          </p:cNvSpPr>
          <p:nvPr>
            <p:ph sz="quarter" idx="82"/>
          </p:nvPr>
        </p:nvSpPr>
        <p:spPr>
          <a:xfrm>
            <a:off x="6208997" y="4356000"/>
            <a:ext cx="5563199"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a:xfrm>
            <a:off x="432198" y="6955200"/>
            <a:ext cx="2088000" cy="144000"/>
          </a:xfrm>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27"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184808404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957">
          <p15:clr>
            <a:srgbClr val="F26B43"/>
          </p15:clr>
        </p15:guide>
        <p15:guide id="2" orient="horz" pos="292">
          <p15:clr>
            <a:srgbClr val="F26B43"/>
          </p15:clr>
        </p15:guide>
        <p15:guide id="3" orient="horz" pos="4178">
          <p15:clr>
            <a:srgbClr val="F26B43"/>
          </p15:clr>
        </p15:guide>
        <p15:guide id="4" pos="3911">
          <p15:clr>
            <a:srgbClr val="F26B43"/>
          </p15:clr>
        </p15:guide>
        <p15:guide id="5" pos="2092">
          <p15:clr>
            <a:srgbClr val="F26B43"/>
          </p15:clr>
        </p15:guide>
        <p15:guide id="6" pos="3778">
          <p15:clr>
            <a:srgbClr val="F26B43"/>
          </p15:clr>
        </p15:guide>
        <p15:guide id="7" orient="horz" pos="958">
          <p15:clr>
            <a:srgbClr val="F26B43"/>
          </p15:clr>
        </p15:guide>
        <p15:guide id="8" orient="horz" pos="2743">
          <p15:clr>
            <a:srgbClr val="F26B43"/>
          </p15:clr>
        </p15:guide>
        <p15:guide id="9" orient="horz" pos="410">
          <p15:clr>
            <a:srgbClr val="F26B43"/>
          </p15:clr>
        </p15:guide>
        <p15:guide id="10" orient="horz" pos="4258">
          <p15:clr>
            <a:srgbClr val="F26B43"/>
          </p15:clr>
        </p15:guide>
        <p15:guide id="11" orient="horz" pos="2724">
          <p15:clr>
            <a:srgbClr val="F26B43"/>
          </p15:clr>
        </p15:guide>
        <p15:guide id="12" orient="horz" pos="2568">
          <p15:clr>
            <a:srgbClr val="F26B43"/>
          </p15:clr>
        </p15:guide>
        <p15:guide id="13" orient="horz" pos="2428">
          <p15:clr>
            <a:srgbClr val="F26B43"/>
          </p15:clr>
        </p15:guide>
        <p15:guide id="14" orient="horz" pos="1115">
          <p15:clr>
            <a:srgbClr val="F26B43"/>
          </p15:clr>
        </p15:guide>
        <p15:guide id="15" orient="horz" pos="1133" userDrawn="1">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ight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662744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78"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26748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26748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32198" y="4077169"/>
            <a:ext cx="2674800" cy="246221"/>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32198" y="4356000"/>
            <a:ext cx="26748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DESCRIPTION Placeholder 3"/>
          <p:cNvSpPr>
            <a:spLocks noGrp="1"/>
          </p:cNvSpPr>
          <p:nvPr>
            <p:ph type="body" sz="quarter" idx="75" hasCustomPrompt="1"/>
          </p:nvPr>
        </p:nvSpPr>
        <p:spPr>
          <a:xfrm>
            <a:off x="3320598" y="1522800"/>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18" name="CONTENT Placeholder 3"/>
          <p:cNvSpPr>
            <a:spLocks noGrp="1"/>
          </p:cNvSpPr>
          <p:nvPr>
            <p:ph sz="quarter" idx="76"/>
          </p:nvPr>
        </p:nvSpPr>
        <p:spPr>
          <a:xfrm>
            <a:off x="3320598" y="1800000"/>
            <a:ext cx="26748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DESCRIPTION Placeholder 4"/>
          <p:cNvSpPr>
            <a:spLocks noGrp="1"/>
          </p:cNvSpPr>
          <p:nvPr>
            <p:ph type="body" sz="quarter" idx="77" hasCustomPrompt="1"/>
          </p:nvPr>
        </p:nvSpPr>
        <p:spPr>
          <a:xfrm>
            <a:off x="3320598" y="4077169"/>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3" name="CONTENT Placeholder 4"/>
          <p:cNvSpPr>
            <a:spLocks noGrp="1"/>
          </p:cNvSpPr>
          <p:nvPr>
            <p:ph sz="quarter" idx="78"/>
          </p:nvPr>
        </p:nvSpPr>
        <p:spPr>
          <a:xfrm>
            <a:off x="3320598" y="4356000"/>
            <a:ext cx="26748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5" name="DESCRIPTION Placeholder 5"/>
          <p:cNvSpPr>
            <a:spLocks noGrp="1"/>
          </p:cNvSpPr>
          <p:nvPr>
            <p:ph type="body" sz="quarter" idx="79" hasCustomPrompt="1"/>
          </p:nvPr>
        </p:nvSpPr>
        <p:spPr>
          <a:xfrm>
            <a:off x="6208998" y="1522800"/>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28" name="CONTENT Placeholder 5"/>
          <p:cNvSpPr>
            <a:spLocks noGrp="1"/>
          </p:cNvSpPr>
          <p:nvPr>
            <p:ph sz="quarter" idx="80"/>
          </p:nvPr>
        </p:nvSpPr>
        <p:spPr>
          <a:xfrm>
            <a:off x="6208998" y="1800000"/>
            <a:ext cx="26748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0" name="DESCRIPTION Placeholder 6"/>
          <p:cNvSpPr>
            <a:spLocks noGrp="1"/>
          </p:cNvSpPr>
          <p:nvPr>
            <p:ph type="body" sz="quarter" idx="81" hasCustomPrompt="1"/>
          </p:nvPr>
        </p:nvSpPr>
        <p:spPr>
          <a:xfrm>
            <a:off x="6208998" y="4077169"/>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33" name="CONTENT Placeholder 6"/>
          <p:cNvSpPr>
            <a:spLocks noGrp="1"/>
          </p:cNvSpPr>
          <p:nvPr>
            <p:ph sz="quarter" idx="82"/>
          </p:nvPr>
        </p:nvSpPr>
        <p:spPr>
          <a:xfrm>
            <a:off x="6208998" y="4356000"/>
            <a:ext cx="26748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5" name="DESCRIPTION Placeholder 7"/>
          <p:cNvSpPr>
            <a:spLocks noGrp="1"/>
          </p:cNvSpPr>
          <p:nvPr>
            <p:ph type="body" sz="quarter" idx="83" hasCustomPrompt="1"/>
          </p:nvPr>
        </p:nvSpPr>
        <p:spPr>
          <a:xfrm>
            <a:off x="9097398" y="1522800"/>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37" name="CONTENT Placeholder 7"/>
          <p:cNvSpPr>
            <a:spLocks noGrp="1"/>
          </p:cNvSpPr>
          <p:nvPr>
            <p:ph sz="quarter" idx="84"/>
          </p:nvPr>
        </p:nvSpPr>
        <p:spPr>
          <a:xfrm>
            <a:off x="9097398" y="1800000"/>
            <a:ext cx="26748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0" name="DESCRIPTION Placeholder 8"/>
          <p:cNvSpPr>
            <a:spLocks noGrp="1"/>
          </p:cNvSpPr>
          <p:nvPr>
            <p:ph type="body" sz="quarter" idx="85" hasCustomPrompt="1"/>
          </p:nvPr>
        </p:nvSpPr>
        <p:spPr>
          <a:xfrm>
            <a:off x="9097398" y="4077169"/>
            <a:ext cx="2674800" cy="246221"/>
          </a:xfrm>
        </p:spPr>
        <p:txBody>
          <a:bodyPr bIns="0">
            <a:noAutofit/>
          </a:bodyPr>
          <a:lstStyle>
            <a:lvl1pPr marL="0" indent="0">
              <a:buNone/>
              <a:defRPr b="1">
                <a:solidFill>
                  <a:srgbClr val="003755"/>
                </a:solidFill>
              </a:defRPr>
            </a:lvl1pPr>
          </a:lstStyle>
          <a:p>
            <a:pPr lvl="0"/>
            <a:r>
              <a:rPr lang="en-US" dirty="0" smtClean="0"/>
              <a:t>Add description max 1line</a:t>
            </a:r>
          </a:p>
        </p:txBody>
      </p:sp>
      <p:sp>
        <p:nvSpPr>
          <p:cNvPr id="43" name="CONTENT Placeholder 8"/>
          <p:cNvSpPr>
            <a:spLocks noGrp="1"/>
          </p:cNvSpPr>
          <p:nvPr>
            <p:ph sz="quarter" idx="86"/>
          </p:nvPr>
        </p:nvSpPr>
        <p:spPr>
          <a:xfrm>
            <a:off x="9097398" y="4356000"/>
            <a:ext cx="26748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a:xfrm>
            <a:off x="432198" y="6955200"/>
            <a:ext cx="2088000" cy="144000"/>
          </a:xfrm>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27"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414093465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957" userDrawn="1">
          <p15:clr>
            <a:srgbClr val="F26B43"/>
          </p15:clr>
        </p15:guide>
        <p15:guide id="3" orient="horz" pos="292" userDrawn="1">
          <p15:clr>
            <a:srgbClr val="F26B43"/>
          </p15:clr>
        </p15:guide>
        <p15:guide id="4" orient="horz" pos="4178" userDrawn="1">
          <p15:clr>
            <a:srgbClr val="F26B43"/>
          </p15:clr>
        </p15:guide>
        <p15:guide id="5" pos="3911" userDrawn="1">
          <p15:clr>
            <a:srgbClr val="F26B43"/>
          </p15:clr>
        </p15:guide>
        <p15:guide id="7" pos="2092" userDrawn="1">
          <p15:clr>
            <a:srgbClr val="F26B43"/>
          </p15:clr>
        </p15:guide>
        <p15:guide id="8" pos="3778" userDrawn="1">
          <p15:clr>
            <a:srgbClr val="F26B43"/>
          </p15:clr>
        </p15:guide>
        <p15:guide id="9" pos="5597" userDrawn="1">
          <p15:clr>
            <a:srgbClr val="F26B43"/>
          </p15:clr>
        </p15:guide>
        <p15:guide id="10" pos="5730" userDrawn="1">
          <p15:clr>
            <a:srgbClr val="F26B43"/>
          </p15:clr>
        </p15:guide>
        <p15:guide id="13" orient="horz" pos="958" userDrawn="1">
          <p15:clr>
            <a:srgbClr val="F26B43"/>
          </p15:clr>
        </p15:guide>
        <p15:guide id="14" orient="horz" pos="2743" userDrawn="1">
          <p15:clr>
            <a:srgbClr val="F26B43"/>
          </p15:clr>
        </p15:guide>
        <p15:guide id="16" orient="horz" pos="410" userDrawn="1">
          <p15:clr>
            <a:srgbClr val="F26B43"/>
          </p15:clr>
        </p15:guide>
        <p15:guide id="18" orient="horz" pos="4258" userDrawn="1">
          <p15:clr>
            <a:srgbClr val="F26B43"/>
          </p15:clr>
        </p15:guide>
        <p15:guide id="19" orient="horz" pos="2724" userDrawn="1">
          <p15:clr>
            <a:srgbClr val="F26B43"/>
          </p15:clr>
        </p15:guide>
        <p15:guide id="20" orient="horz" pos="2568" userDrawn="1">
          <p15:clr>
            <a:srgbClr val="F26B43"/>
          </p15:clr>
        </p15:guide>
        <p15:guide id="21" orient="horz" pos="2428" userDrawn="1">
          <p15:clr>
            <a:srgbClr val="F26B43"/>
          </p15:clr>
        </p15:guide>
        <p15:guide id="22" orient="horz" pos="1115" userDrawn="1">
          <p15:clr>
            <a:srgbClr val="F26B43"/>
          </p15:clr>
        </p15:guide>
        <p15:guide id="24" orient="horz" pos="1133"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s – (Dark) picture r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62815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02"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5"/>
          <p:cNvSpPr>
            <a:spLocks noGrp="1"/>
          </p:cNvSpPr>
          <p:nvPr>
            <p:ph type="pic" sz="quarter" idx="73" hasCustomPrompt="1"/>
          </p:nvPr>
        </p:nvSpPr>
        <p:spPr>
          <a:xfrm>
            <a:off x="7404000" y="0"/>
            <a:ext cx="4788000" cy="6858000"/>
          </a:xfrm>
          <a:solidFill>
            <a:srgbClr val="EFF0F1"/>
          </a:solidFill>
        </p:spPr>
        <p:txBody>
          <a:bodyPr/>
          <a:lstStyle>
            <a:lvl1pPr marL="0" indent="0">
              <a:buFontTx/>
              <a:buNone/>
              <a:defRPr/>
            </a:lvl1pPr>
          </a:lstStyle>
          <a:p>
            <a:r>
              <a:rPr lang="en-GB" dirty="0" smtClean="0"/>
              <a:t> </a:t>
            </a:r>
            <a:endParaRPr lang="en-GB" dirty="0"/>
          </a:p>
        </p:txBody>
      </p:sp>
      <p:sp>
        <p:nvSpPr>
          <p:cNvPr id="39" name="SUBTITLE placeholder 1"/>
          <p:cNvSpPr>
            <a:spLocks noGrp="1"/>
          </p:cNvSpPr>
          <p:nvPr>
            <p:ph type="body" sz="quarter" idx="43" hasCustomPrompt="1"/>
          </p:nvPr>
        </p:nvSpPr>
        <p:spPr>
          <a:xfrm>
            <a:off x="432198" y="465085"/>
            <a:ext cx="6696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6696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1799" y="1522800"/>
            <a:ext cx="6696000" cy="246221"/>
          </a:xfrm>
        </p:spPr>
        <p:txBody>
          <a:bodyPr>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1798" y="1800000"/>
            <a:ext cx="6696001" cy="460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6695601"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sp>
        <p:nvSpPr>
          <p:cNvPr id="15" name="TextBox 14"/>
          <p:cNvSpPr txBox="1"/>
          <p:nvPr userDrawn="1"/>
        </p:nvSpPr>
        <p:spPr>
          <a:xfrm>
            <a:off x="2460000" y="-322444"/>
            <a:ext cx="7272000" cy="289506"/>
          </a:xfrm>
          <a:prstGeom prst="rect">
            <a:avLst/>
          </a:prstGeom>
          <a:noFill/>
        </p:spPr>
        <p:txBody>
          <a:bodyPr wrap="none" lIns="72000" tIns="72000" rIns="72000" bIns="72000" rtlCol="0">
            <a:noAutofit/>
          </a:bodyPr>
          <a:lstStyle/>
          <a:p>
            <a:pPr marL="0" indent="0">
              <a:lnSpc>
                <a:spcPct val="110000"/>
              </a:lnSpc>
              <a:spcBef>
                <a:spcPts val="600"/>
              </a:spcBef>
              <a:buClr>
                <a:srgbClr val="003755"/>
              </a:buClr>
              <a:buFontTx/>
              <a:buNone/>
            </a:pPr>
            <a:r>
              <a:rPr lang="en-GB" sz="1200" dirty="0" smtClean="0">
                <a:solidFill>
                  <a:srgbClr val="E65A6D"/>
                </a:solidFill>
              </a:rPr>
              <a:t>Use this layout page when you have</a:t>
            </a:r>
            <a:r>
              <a:rPr lang="en-GB" sz="1200" baseline="0" dirty="0" smtClean="0">
                <a:solidFill>
                  <a:srgbClr val="E65A6D"/>
                </a:solidFill>
              </a:rPr>
              <a:t> a picture that is </a:t>
            </a:r>
            <a:r>
              <a:rPr lang="en-GB" sz="1200" b="1" baseline="0" dirty="0" smtClean="0">
                <a:solidFill>
                  <a:srgbClr val="E65A6D"/>
                </a:solidFill>
              </a:rPr>
              <a:t>dark</a:t>
            </a:r>
            <a:r>
              <a:rPr lang="en-GB" sz="1200" baseline="0" dirty="0" smtClean="0">
                <a:solidFill>
                  <a:srgbClr val="E65A6D"/>
                </a:solidFill>
              </a:rPr>
              <a:t>. The logo is different when the picture is very light.</a:t>
            </a:r>
            <a:endParaRPr lang="en-GB" sz="1200" dirty="0">
              <a:solidFill>
                <a:srgbClr val="E65A6D"/>
              </a:solidFill>
            </a:endParaRPr>
          </a:p>
        </p:txBody>
      </p:sp>
      <p:sp>
        <p:nvSpPr>
          <p:cNvPr id="10" name="Danske Bank LOGO"/>
          <p:cNvSpPr>
            <a:spLocks noGrp="1"/>
          </p:cNvSpPr>
          <p:nvPr>
            <p:ph type="body" sz="quarter" idx="74" hasCustomPrompt="1"/>
          </p:nvPr>
        </p:nvSpPr>
        <p:spPr>
          <a:xfrm>
            <a:off x="10458507" y="250748"/>
            <a:ext cx="1313691" cy="198120"/>
          </a:xfrm>
          <a:blipFill dpi="0" rotWithShape="1">
            <a:blip r:embed="rId6"/>
            <a:srcRect/>
            <a:stretch>
              <a:fillRect/>
            </a:stretch>
          </a:blipFill>
        </p:spPr>
        <p:txBody>
          <a:bodyPr/>
          <a:lstStyle>
            <a:lvl1pPr marL="0" indent="0">
              <a:buNone/>
              <a:defRPr/>
            </a:lvl1pPr>
          </a:lstStyle>
          <a:p>
            <a:pPr lvl="0"/>
            <a:r>
              <a:rPr lang="en-US" dirty="0" smtClean="0"/>
              <a:t> </a:t>
            </a:r>
            <a:endParaRPr lang="en-GB" dirty="0"/>
          </a:p>
        </p:txBody>
      </p:sp>
    </p:spTree>
    <p:extLst>
      <p:ext uri="{BB962C8B-B14F-4D97-AF65-F5344CB8AC3E}">
        <p14:creationId xmlns:p14="http://schemas.microsoft.com/office/powerpoint/2010/main" val="199435160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10" userDrawn="1">
          <p15:clr>
            <a:srgbClr val="F26B43"/>
          </p15:clr>
        </p15:guide>
        <p15:guide id="2" orient="horz" pos="293">
          <p15:clr>
            <a:srgbClr val="F26B43"/>
          </p15:clr>
        </p15:guide>
        <p15:guide id="8" orient="horz" pos="1115" userDrawn="1">
          <p15:clr>
            <a:srgbClr val="F26B43"/>
          </p15:clr>
        </p15:guide>
        <p15:guide id="11" orient="horz" pos="4178" userDrawn="1">
          <p15:clr>
            <a:srgbClr val="F26B43"/>
          </p15:clr>
        </p15:guide>
        <p15:guide id="12" orient="horz" pos="4258" userDrawn="1">
          <p15:clr>
            <a:srgbClr val="F26B43"/>
          </p15:clr>
        </p15:guide>
        <p15:guide id="13" pos="4495" userDrawn="1">
          <p15:clr>
            <a:srgbClr val="F26B43"/>
          </p15:clr>
        </p15:guide>
        <p15:guide id="14" orient="horz" pos="1133"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age – Midnight blue">
    <p:bg>
      <p:bgPr>
        <a:solidFill>
          <a:srgbClr val="003755"/>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210815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4"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7" name="PATTERN"/>
          <p:cNvGrpSpPr>
            <a:grpSpLocks noChangeAspect="1"/>
          </p:cNvGrpSpPr>
          <p:nvPr userDrawn="1"/>
        </p:nvGrpSpPr>
        <p:grpSpPr bwMode="auto">
          <a:xfrm>
            <a:off x="1588" y="0"/>
            <a:ext cx="12188825" cy="6858000"/>
            <a:chOff x="1" y="0"/>
            <a:chExt cx="7678" cy="4320"/>
          </a:xfrm>
          <a:solidFill>
            <a:srgbClr val="002A44"/>
          </a:solidFill>
        </p:grpSpPr>
        <p:sp>
          <p:nvSpPr>
            <p:cNvPr id="13" name="Freeform 5"/>
            <p:cNvSpPr>
              <a:spLocks/>
            </p:cNvSpPr>
            <p:nvPr userDrawn="1"/>
          </p:nvSpPr>
          <p:spPr bwMode="auto">
            <a:xfrm>
              <a:off x="2150" y="0"/>
              <a:ext cx="3003" cy="4320"/>
            </a:xfrm>
            <a:custGeom>
              <a:avLst/>
              <a:gdLst>
                <a:gd name="T0" fmla="*/ 2979 w 3003"/>
                <a:gd name="T1" fmla="*/ 3126 h 4320"/>
                <a:gd name="T2" fmla="*/ 2546 w 3003"/>
                <a:gd name="T3" fmla="*/ 2437 h 4320"/>
                <a:gd name="T4" fmla="*/ 3003 w 3003"/>
                <a:gd name="T5" fmla="*/ 1850 h 4320"/>
                <a:gd name="T6" fmla="*/ 2778 w 3003"/>
                <a:gd name="T7" fmla="*/ 1690 h 4320"/>
                <a:gd name="T8" fmla="*/ 2137 w 3003"/>
                <a:gd name="T9" fmla="*/ 2195 h 4320"/>
                <a:gd name="T10" fmla="*/ 1575 w 3003"/>
                <a:gd name="T11" fmla="*/ 1682 h 4320"/>
                <a:gd name="T12" fmla="*/ 1262 w 3003"/>
                <a:gd name="T13" fmla="*/ 968 h 4320"/>
                <a:gd name="T14" fmla="*/ 2540 w 3003"/>
                <a:gd name="T15" fmla="*/ 0 h 4320"/>
                <a:gd name="T16" fmla="*/ 1897 w 3003"/>
                <a:gd name="T17" fmla="*/ 0 h 4320"/>
                <a:gd name="T18" fmla="*/ 564 w 3003"/>
                <a:gd name="T19" fmla="*/ 872 h 4320"/>
                <a:gd name="T20" fmla="*/ 1054 w 3003"/>
                <a:gd name="T21" fmla="*/ 2027 h 4320"/>
                <a:gd name="T22" fmla="*/ 1284 w 3003"/>
                <a:gd name="T23" fmla="*/ 2426 h 4320"/>
                <a:gd name="T24" fmla="*/ 0 w 3003"/>
                <a:gd name="T25" fmla="*/ 4320 h 4320"/>
                <a:gd name="T26" fmla="*/ 649 w 3003"/>
                <a:gd name="T27" fmla="*/ 4320 h 4320"/>
                <a:gd name="T28" fmla="*/ 1896 w 3003"/>
                <a:gd name="T29" fmla="*/ 2677 h 4320"/>
                <a:gd name="T30" fmla="*/ 2321 w 3003"/>
                <a:gd name="T31" fmla="*/ 3134 h 4320"/>
                <a:gd name="T32" fmla="*/ 1139 w 3003"/>
                <a:gd name="T33" fmla="*/ 4320 h 4320"/>
                <a:gd name="T34" fmla="*/ 2027 w 3003"/>
                <a:gd name="T35" fmla="*/ 4320 h 4320"/>
                <a:gd name="T36" fmla="*/ 2979 w 3003"/>
                <a:gd name="T37" fmla="*/ 312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03" h="4320">
                  <a:moveTo>
                    <a:pt x="2979" y="3126"/>
                  </a:moveTo>
                  <a:cubicBezTo>
                    <a:pt x="2979" y="2796"/>
                    <a:pt x="2839" y="2562"/>
                    <a:pt x="2546" y="2437"/>
                  </a:cubicBezTo>
                  <a:cubicBezTo>
                    <a:pt x="2708" y="2297"/>
                    <a:pt x="2852" y="2100"/>
                    <a:pt x="3003" y="1850"/>
                  </a:cubicBezTo>
                  <a:cubicBezTo>
                    <a:pt x="2778" y="1690"/>
                    <a:pt x="2778" y="1690"/>
                    <a:pt x="2778" y="1690"/>
                  </a:cubicBezTo>
                  <a:cubicBezTo>
                    <a:pt x="2538" y="2003"/>
                    <a:pt x="2353" y="2195"/>
                    <a:pt x="2137" y="2195"/>
                  </a:cubicBezTo>
                  <a:cubicBezTo>
                    <a:pt x="1912" y="2195"/>
                    <a:pt x="1744" y="2075"/>
                    <a:pt x="1575" y="1682"/>
                  </a:cubicBezTo>
                  <a:cubicBezTo>
                    <a:pt x="1262" y="968"/>
                    <a:pt x="1262" y="968"/>
                    <a:pt x="1262" y="968"/>
                  </a:cubicBezTo>
                  <a:cubicBezTo>
                    <a:pt x="1772" y="759"/>
                    <a:pt x="2314" y="448"/>
                    <a:pt x="2540" y="0"/>
                  </a:cubicBezTo>
                  <a:cubicBezTo>
                    <a:pt x="1897" y="0"/>
                    <a:pt x="1897" y="0"/>
                    <a:pt x="1897" y="0"/>
                  </a:cubicBezTo>
                  <a:cubicBezTo>
                    <a:pt x="1698" y="356"/>
                    <a:pt x="1202" y="651"/>
                    <a:pt x="564" y="872"/>
                  </a:cubicBezTo>
                  <a:cubicBezTo>
                    <a:pt x="1054" y="2027"/>
                    <a:pt x="1054" y="2027"/>
                    <a:pt x="1054" y="2027"/>
                  </a:cubicBezTo>
                  <a:cubicBezTo>
                    <a:pt x="1126" y="2198"/>
                    <a:pt x="1200" y="2329"/>
                    <a:pt x="1284" y="2426"/>
                  </a:cubicBezTo>
                  <a:cubicBezTo>
                    <a:pt x="491" y="2686"/>
                    <a:pt x="104" y="3451"/>
                    <a:pt x="0" y="4320"/>
                  </a:cubicBezTo>
                  <a:cubicBezTo>
                    <a:pt x="649" y="4320"/>
                    <a:pt x="649" y="4320"/>
                    <a:pt x="649" y="4320"/>
                  </a:cubicBezTo>
                  <a:cubicBezTo>
                    <a:pt x="752" y="3569"/>
                    <a:pt x="1054" y="2677"/>
                    <a:pt x="1896" y="2677"/>
                  </a:cubicBezTo>
                  <a:cubicBezTo>
                    <a:pt x="2241" y="2677"/>
                    <a:pt x="2321" y="2877"/>
                    <a:pt x="2321" y="3134"/>
                  </a:cubicBezTo>
                  <a:cubicBezTo>
                    <a:pt x="2321" y="3618"/>
                    <a:pt x="1938" y="4012"/>
                    <a:pt x="1139" y="4320"/>
                  </a:cubicBezTo>
                  <a:cubicBezTo>
                    <a:pt x="2027" y="4320"/>
                    <a:pt x="2027" y="4320"/>
                    <a:pt x="2027" y="4320"/>
                  </a:cubicBezTo>
                  <a:cubicBezTo>
                    <a:pt x="2605" y="4003"/>
                    <a:pt x="2979" y="3593"/>
                    <a:pt x="2979" y="3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6"/>
            <p:cNvSpPr>
              <a:spLocks/>
            </p:cNvSpPr>
            <p:nvPr userDrawn="1"/>
          </p:nvSpPr>
          <p:spPr bwMode="auto">
            <a:xfrm>
              <a:off x="1" y="0"/>
              <a:ext cx="1451" cy="1353"/>
            </a:xfrm>
            <a:custGeom>
              <a:avLst/>
              <a:gdLst>
                <a:gd name="T0" fmla="*/ 1451 w 1451"/>
                <a:gd name="T1" fmla="*/ 527 h 1353"/>
                <a:gd name="T2" fmla="*/ 1227 w 1451"/>
                <a:gd name="T3" fmla="*/ 367 h 1353"/>
                <a:gd name="T4" fmla="*/ 585 w 1451"/>
                <a:gd name="T5" fmla="*/ 872 h 1353"/>
                <a:gd name="T6" fmla="*/ 424 w 1451"/>
                <a:gd name="T7" fmla="*/ 287 h 1353"/>
                <a:gd name="T8" fmla="*/ 473 w 1451"/>
                <a:gd name="T9" fmla="*/ 0 h 1353"/>
                <a:gd name="T10" fmla="*/ 0 w 1451"/>
                <a:gd name="T11" fmla="*/ 0 h 1353"/>
                <a:gd name="T12" fmla="*/ 0 w 1451"/>
                <a:gd name="T13" fmla="*/ 1254 h 1353"/>
                <a:gd name="T14" fmla="*/ 344 w 1451"/>
                <a:gd name="T15" fmla="*/ 1353 h 1353"/>
                <a:gd name="T16" fmla="*/ 1451 w 1451"/>
                <a:gd name="T17" fmla="*/ 527 h 1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1" h="1353">
                  <a:moveTo>
                    <a:pt x="1451" y="527"/>
                  </a:moveTo>
                  <a:cubicBezTo>
                    <a:pt x="1227" y="367"/>
                    <a:pt x="1227" y="367"/>
                    <a:pt x="1227" y="367"/>
                  </a:cubicBezTo>
                  <a:cubicBezTo>
                    <a:pt x="986" y="680"/>
                    <a:pt x="801" y="872"/>
                    <a:pt x="585" y="872"/>
                  </a:cubicBezTo>
                  <a:cubicBezTo>
                    <a:pt x="384" y="872"/>
                    <a:pt x="344" y="760"/>
                    <a:pt x="424" y="287"/>
                  </a:cubicBezTo>
                  <a:cubicBezTo>
                    <a:pt x="473" y="0"/>
                    <a:pt x="473" y="0"/>
                    <a:pt x="473" y="0"/>
                  </a:cubicBezTo>
                  <a:cubicBezTo>
                    <a:pt x="0" y="0"/>
                    <a:pt x="0" y="0"/>
                    <a:pt x="0" y="0"/>
                  </a:cubicBezTo>
                  <a:cubicBezTo>
                    <a:pt x="0" y="1254"/>
                    <a:pt x="0" y="1254"/>
                    <a:pt x="0" y="1254"/>
                  </a:cubicBezTo>
                  <a:cubicBezTo>
                    <a:pt x="81" y="1318"/>
                    <a:pt x="194" y="1353"/>
                    <a:pt x="344" y="1353"/>
                  </a:cubicBezTo>
                  <a:cubicBezTo>
                    <a:pt x="842" y="1353"/>
                    <a:pt x="1130" y="1057"/>
                    <a:pt x="1451" y="5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7"/>
            <p:cNvSpPr>
              <a:spLocks/>
            </p:cNvSpPr>
            <p:nvPr userDrawn="1"/>
          </p:nvSpPr>
          <p:spPr bwMode="auto">
            <a:xfrm>
              <a:off x="1" y="0"/>
              <a:ext cx="2600" cy="4320"/>
            </a:xfrm>
            <a:custGeom>
              <a:avLst/>
              <a:gdLst>
                <a:gd name="T0" fmla="*/ 363 w 2601"/>
                <a:gd name="T1" fmla="*/ 2850 h 4320"/>
                <a:gd name="T2" fmla="*/ 932 w 2601"/>
                <a:gd name="T3" fmla="*/ 2297 h 4320"/>
                <a:gd name="T4" fmla="*/ 1526 w 2601"/>
                <a:gd name="T5" fmla="*/ 2978 h 4320"/>
                <a:gd name="T6" fmla="*/ 1790 w 2601"/>
                <a:gd name="T7" fmla="*/ 2938 h 4320"/>
                <a:gd name="T8" fmla="*/ 2025 w 2601"/>
                <a:gd name="T9" fmla="*/ 2604 h 4320"/>
                <a:gd name="T10" fmla="*/ 2321 w 2601"/>
                <a:gd name="T11" fmla="*/ 776 h 4320"/>
                <a:gd name="T12" fmla="*/ 2601 w 2601"/>
                <a:gd name="T13" fmla="*/ 0 h 4320"/>
                <a:gd name="T14" fmla="*/ 1868 w 2601"/>
                <a:gd name="T15" fmla="*/ 0 h 4320"/>
                <a:gd name="T16" fmla="*/ 1540 w 2601"/>
                <a:gd name="T17" fmla="*/ 1994 h 4320"/>
                <a:gd name="T18" fmla="*/ 1020 w 2601"/>
                <a:gd name="T19" fmla="*/ 1928 h 4320"/>
                <a:gd name="T20" fmla="*/ 0 w 2601"/>
                <a:gd name="T21" fmla="*/ 2418 h 4320"/>
                <a:gd name="T22" fmla="*/ 0 w 2601"/>
                <a:gd name="T23" fmla="*/ 3576 h 4320"/>
                <a:gd name="T24" fmla="*/ 990 w 2601"/>
                <a:gd name="T25" fmla="*/ 4320 h 4320"/>
                <a:gd name="T26" fmla="*/ 1740 w 2601"/>
                <a:gd name="T27" fmla="*/ 4320 h 4320"/>
                <a:gd name="T28" fmla="*/ 363 w 2601"/>
                <a:gd name="T29" fmla="*/ 2850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1" h="4320">
                  <a:moveTo>
                    <a:pt x="363" y="2850"/>
                  </a:moveTo>
                  <a:cubicBezTo>
                    <a:pt x="363" y="2601"/>
                    <a:pt x="531" y="2297"/>
                    <a:pt x="932" y="2297"/>
                  </a:cubicBezTo>
                  <a:cubicBezTo>
                    <a:pt x="1293" y="2297"/>
                    <a:pt x="1526" y="2505"/>
                    <a:pt x="1526" y="2978"/>
                  </a:cubicBezTo>
                  <a:cubicBezTo>
                    <a:pt x="1790" y="2938"/>
                    <a:pt x="1790" y="2938"/>
                    <a:pt x="1790" y="2938"/>
                  </a:cubicBezTo>
                  <a:cubicBezTo>
                    <a:pt x="1894" y="2883"/>
                    <a:pt x="1999" y="2761"/>
                    <a:pt x="2025" y="2604"/>
                  </a:cubicBezTo>
                  <a:cubicBezTo>
                    <a:pt x="2321" y="776"/>
                    <a:pt x="2321" y="776"/>
                    <a:pt x="2321" y="776"/>
                  </a:cubicBezTo>
                  <a:cubicBezTo>
                    <a:pt x="2368" y="491"/>
                    <a:pt x="2465" y="226"/>
                    <a:pt x="2601" y="0"/>
                  </a:cubicBezTo>
                  <a:cubicBezTo>
                    <a:pt x="1868" y="0"/>
                    <a:pt x="1868" y="0"/>
                    <a:pt x="1868" y="0"/>
                  </a:cubicBezTo>
                  <a:cubicBezTo>
                    <a:pt x="1540" y="1994"/>
                    <a:pt x="1540" y="1994"/>
                    <a:pt x="1540" y="1994"/>
                  </a:cubicBezTo>
                  <a:cubicBezTo>
                    <a:pt x="1393" y="1950"/>
                    <a:pt x="1217" y="1928"/>
                    <a:pt x="1020" y="1928"/>
                  </a:cubicBezTo>
                  <a:cubicBezTo>
                    <a:pt x="529" y="1928"/>
                    <a:pt x="189" y="2127"/>
                    <a:pt x="0" y="2418"/>
                  </a:cubicBezTo>
                  <a:cubicBezTo>
                    <a:pt x="0" y="3576"/>
                    <a:pt x="0" y="3576"/>
                    <a:pt x="0" y="3576"/>
                  </a:cubicBezTo>
                  <a:cubicBezTo>
                    <a:pt x="251" y="3907"/>
                    <a:pt x="714" y="4057"/>
                    <a:pt x="990" y="4320"/>
                  </a:cubicBezTo>
                  <a:cubicBezTo>
                    <a:pt x="1740" y="4320"/>
                    <a:pt x="1740" y="4320"/>
                    <a:pt x="1740" y="4320"/>
                  </a:cubicBezTo>
                  <a:cubicBezTo>
                    <a:pt x="1472" y="3647"/>
                    <a:pt x="363" y="3506"/>
                    <a:pt x="363" y="28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8"/>
            <p:cNvSpPr>
              <a:spLocks/>
            </p:cNvSpPr>
            <p:nvPr userDrawn="1"/>
          </p:nvSpPr>
          <p:spPr bwMode="auto">
            <a:xfrm>
              <a:off x="5259" y="0"/>
              <a:ext cx="2420" cy="4320"/>
            </a:xfrm>
            <a:custGeom>
              <a:avLst/>
              <a:gdLst>
                <a:gd name="T0" fmla="*/ 2303 w 2421"/>
                <a:gd name="T1" fmla="*/ 0 h 4320"/>
                <a:gd name="T2" fmla="*/ 658 w 2421"/>
                <a:gd name="T3" fmla="*/ 1073 h 4320"/>
                <a:gd name="T4" fmla="*/ 920 w 2421"/>
                <a:gd name="T5" fmla="*/ 0 h 4320"/>
                <a:gd name="T6" fmla="*/ 268 w 2421"/>
                <a:gd name="T7" fmla="*/ 0 h 4320"/>
                <a:gd name="T8" fmla="*/ 0 w 2421"/>
                <a:gd name="T9" fmla="*/ 1410 h 4320"/>
                <a:gd name="T10" fmla="*/ 656 w 2421"/>
                <a:gd name="T11" fmla="*/ 2690 h 4320"/>
                <a:gd name="T12" fmla="*/ 270 w 2421"/>
                <a:gd name="T13" fmla="*/ 3541 h 4320"/>
                <a:gd name="T14" fmla="*/ 692 w 2421"/>
                <a:gd name="T15" fmla="*/ 4320 h 4320"/>
                <a:gd name="T16" fmla="*/ 1749 w 2421"/>
                <a:gd name="T17" fmla="*/ 4320 h 4320"/>
                <a:gd name="T18" fmla="*/ 808 w 2421"/>
                <a:gd name="T19" fmla="*/ 3356 h 4320"/>
                <a:gd name="T20" fmla="*/ 1377 w 2421"/>
                <a:gd name="T21" fmla="*/ 2803 h 4320"/>
                <a:gd name="T22" fmla="*/ 1971 w 2421"/>
                <a:gd name="T23" fmla="*/ 3484 h 4320"/>
                <a:gd name="T24" fmla="*/ 2236 w 2421"/>
                <a:gd name="T25" fmla="*/ 3444 h 4320"/>
                <a:gd name="T26" fmla="*/ 2421 w 2421"/>
                <a:gd name="T27" fmla="*/ 3254 h 4320"/>
                <a:gd name="T28" fmla="*/ 2421 w 2421"/>
                <a:gd name="T29" fmla="*/ 2808 h 4320"/>
                <a:gd name="T30" fmla="*/ 2145 w 2421"/>
                <a:gd name="T31" fmla="*/ 2561 h 4320"/>
                <a:gd name="T32" fmla="*/ 2421 w 2421"/>
                <a:gd name="T33" fmla="*/ 2333 h 4320"/>
                <a:gd name="T34" fmla="*/ 2421 w 2421"/>
                <a:gd name="T35" fmla="*/ 1869 h 4320"/>
                <a:gd name="T36" fmla="*/ 1404 w 2421"/>
                <a:gd name="T37" fmla="*/ 2332 h 4320"/>
                <a:gd name="T38" fmla="*/ 642 w 2421"/>
                <a:gd name="T39" fmla="*/ 1410 h 4320"/>
                <a:gd name="T40" fmla="*/ 2421 w 2421"/>
                <a:gd name="T41" fmla="*/ 670 h 4320"/>
                <a:gd name="T42" fmla="*/ 2421 w 2421"/>
                <a:gd name="T43" fmla="*/ 0 h 4320"/>
                <a:gd name="T44" fmla="*/ 2303 w 2421"/>
                <a:gd name="T45" fmla="*/ 0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21" h="4320">
                  <a:moveTo>
                    <a:pt x="2303" y="0"/>
                  </a:moveTo>
                  <a:cubicBezTo>
                    <a:pt x="2148" y="444"/>
                    <a:pt x="1610" y="800"/>
                    <a:pt x="658" y="1073"/>
                  </a:cubicBezTo>
                  <a:cubicBezTo>
                    <a:pt x="694" y="728"/>
                    <a:pt x="768" y="333"/>
                    <a:pt x="920" y="0"/>
                  </a:cubicBezTo>
                  <a:cubicBezTo>
                    <a:pt x="268" y="0"/>
                    <a:pt x="268" y="0"/>
                    <a:pt x="268" y="0"/>
                  </a:cubicBezTo>
                  <a:cubicBezTo>
                    <a:pt x="82" y="414"/>
                    <a:pt x="0" y="907"/>
                    <a:pt x="0" y="1410"/>
                  </a:cubicBezTo>
                  <a:cubicBezTo>
                    <a:pt x="0" y="2100"/>
                    <a:pt x="240" y="2507"/>
                    <a:pt x="656" y="2690"/>
                  </a:cubicBezTo>
                  <a:cubicBezTo>
                    <a:pt x="399" y="2897"/>
                    <a:pt x="270" y="3209"/>
                    <a:pt x="270" y="3541"/>
                  </a:cubicBezTo>
                  <a:cubicBezTo>
                    <a:pt x="270" y="3916"/>
                    <a:pt x="456" y="4143"/>
                    <a:pt x="692" y="4320"/>
                  </a:cubicBezTo>
                  <a:cubicBezTo>
                    <a:pt x="1749" y="4320"/>
                    <a:pt x="1749" y="4320"/>
                    <a:pt x="1749" y="4320"/>
                  </a:cubicBezTo>
                  <a:cubicBezTo>
                    <a:pt x="1333" y="4015"/>
                    <a:pt x="808" y="3807"/>
                    <a:pt x="808" y="3356"/>
                  </a:cubicBezTo>
                  <a:cubicBezTo>
                    <a:pt x="808" y="3107"/>
                    <a:pt x="976" y="2803"/>
                    <a:pt x="1377" y="2803"/>
                  </a:cubicBezTo>
                  <a:cubicBezTo>
                    <a:pt x="1738" y="2803"/>
                    <a:pt x="1971" y="3011"/>
                    <a:pt x="1971" y="3484"/>
                  </a:cubicBezTo>
                  <a:cubicBezTo>
                    <a:pt x="2236" y="3444"/>
                    <a:pt x="2236" y="3444"/>
                    <a:pt x="2236" y="3444"/>
                  </a:cubicBezTo>
                  <a:cubicBezTo>
                    <a:pt x="2305" y="3407"/>
                    <a:pt x="2375" y="3340"/>
                    <a:pt x="2421" y="3254"/>
                  </a:cubicBezTo>
                  <a:cubicBezTo>
                    <a:pt x="2421" y="2808"/>
                    <a:pt x="2421" y="2808"/>
                    <a:pt x="2421" y="2808"/>
                  </a:cubicBezTo>
                  <a:cubicBezTo>
                    <a:pt x="2366" y="2706"/>
                    <a:pt x="2272" y="2623"/>
                    <a:pt x="2145" y="2561"/>
                  </a:cubicBezTo>
                  <a:cubicBezTo>
                    <a:pt x="2248" y="2495"/>
                    <a:pt x="2339" y="2418"/>
                    <a:pt x="2421" y="2333"/>
                  </a:cubicBezTo>
                  <a:cubicBezTo>
                    <a:pt x="2421" y="1869"/>
                    <a:pt x="2421" y="1869"/>
                    <a:pt x="2421" y="1869"/>
                  </a:cubicBezTo>
                  <a:cubicBezTo>
                    <a:pt x="2165" y="2166"/>
                    <a:pt x="1799" y="2332"/>
                    <a:pt x="1404" y="2332"/>
                  </a:cubicBezTo>
                  <a:cubicBezTo>
                    <a:pt x="923" y="2332"/>
                    <a:pt x="642" y="2115"/>
                    <a:pt x="642" y="1410"/>
                  </a:cubicBezTo>
                  <a:cubicBezTo>
                    <a:pt x="1351" y="1253"/>
                    <a:pt x="1987" y="997"/>
                    <a:pt x="2421" y="670"/>
                  </a:cubicBezTo>
                  <a:cubicBezTo>
                    <a:pt x="2421" y="0"/>
                    <a:pt x="2421" y="0"/>
                    <a:pt x="2421" y="0"/>
                  </a:cubicBezTo>
                  <a:lnTo>
                    <a:pt x="23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placeholder 1"/>
          <p:cNvSpPr>
            <a:spLocks noGrp="1"/>
          </p:cNvSpPr>
          <p:nvPr>
            <p:ph type="ctrTitle" hasCustomPrompt="1"/>
          </p:nvPr>
        </p:nvSpPr>
        <p:spPr>
          <a:xfrm>
            <a:off x="431800" y="4074530"/>
            <a:ext cx="11340000" cy="900000"/>
          </a:xfrm>
          <a:prstGeom prst="rect">
            <a:avLst/>
          </a:prstGeom>
        </p:spPr>
        <p:txBody>
          <a:bodyPr wrap="square" anchor="b" anchorCtr="0">
            <a:noAutofit/>
          </a:bodyPr>
          <a:lstStyle>
            <a:lvl1pPr algn="l">
              <a:lnSpc>
                <a:spcPct val="90000"/>
              </a:lnSpc>
              <a:defRPr sz="3200">
                <a:solidFill>
                  <a:schemeClr val="bg1"/>
                </a:solidFill>
              </a:defRPr>
            </a:lvl1pPr>
          </a:lstStyle>
          <a:p>
            <a:r>
              <a:rPr lang="en-GB" dirty="0" smtClean="0"/>
              <a:t>Click to add presentation title – subtitle </a:t>
            </a:r>
            <a:br>
              <a:rPr lang="en-GB" dirty="0" smtClean="0"/>
            </a:br>
            <a:r>
              <a:rPr lang="en-GB" dirty="0" smtClean="0"/>
              <a:t>– max. two lines</a:t>
            </a:r>
            <a:endParaRPr lang="en-GB" dirty="0"/>
          </a:p>
        </p:txBody>
      </p:sp>
      <p:sp>
        <p:nvSpPr>
          <p:cNvPr id="3" name="SUBTITLE placeholder 1"/>
          <p:cNvSpPr>
            <a:spLocks noGrp="1"/>
          </p:cNvSpPr>
          <p:nvPr>
            <p:ph type="subTitle" idx="1" hasCustomPrompt="1"/>
          </p:nvPr>
        </p:nvSpPr>
        <p:spPr>
          <a:xfrm>
            <a:off x="431800" y="5077820"/>
            <a:ext cx="11340000" cy="216000"/>
          </a:xfrm>
          <a:prstGeom prst="rect">
            <a:avLst/>
          </a:prstGeom>
        </p:spPr>
        <p:txBody>
          <a:bodyPr anchor="t" anchorCtr="0">
            <a:noAutofit/>
          </a:bodyPr>
          <a:lstStyle>
            <a:lvl1pPr marL="0" indent="0" algn="l">
              <a:spcAft>
                <a:spcPts val="0"/>
              </a:spcAft>
              <a:buNone/>
              <a:defRPr sz="1200" baseline="0">
                <a:solidFill>
                  <a:schemeClr val="bg1"/>
                </a:solidFill>
                <a:latin typeface="Danske Text v2" panose="020B0503040502040204" pitchFamily="34" charset="0"/>
                <a:sym typeface="Danske Text v2" panose="020B0503040502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Click to add document type / audience / date [</a:t>
            </a:r>
            <a:r>
              <a:rPr lang="en-GB" dirty="0" err="1" smtClean="0"/>
              <a:t>dd</a:t>
            </a:r>
            <a:r>
              <a:rPr lang="en-GB" dirty="0" smtClean="0"/>
              <a:t> </a:t>
            </a:r>
            <a:r>
              <a:rPr lang="en-GB" dirty="0" err="1" smtClean="0"/>
              <a:t>mmmm</a:t>
            </a:r>
            <a:r>
              <a:rPr lang="en-GB" dirty="0" smtClean="0"/>
              <a:t> </a:t>
            </a:r>
            <a:r>
              <a:rPr lang="en-GB" dirty="0" err="1" smtClean="0"/>
              <a:t>yyyy</a:t>
            </a:r>
            <a:r>
              <a:rPr lang="en-GB" dirty="0" smtClean="0"/>
              <a:t>]</a:t>
            </a:r>
          </a:p>
        </p:txBody>
      </p:sp>
      <p:pic>
        <p:nvPicPr>
          <p:cNvPr id="6"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126600" y="252000"/>
            <a:ext cx="1645200" cy="247936"/>
          </a:xfrm>
          <a:prstGeom prst="rect">
            <a:avLst/>
          </a:prstGeom>
        </p:spPr>
      </p:pic>
    </p:spTree>
    <p:extLst>
      <p:ext uri="{BB962C8B-B14F-4D97-AF65-F5344CB8AC3E}">
        <p14:creationId xmlns:p14="http://schemas.microsoft.com/office/powerpoint/2010/main" val="266748506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3" orient="horz" pos="3336" userDrawn="1">
          <p15:clr>
            <a:srgbClr val="F26B43"/>
          </p15:clr>
        </p15:guide>
        <p15:guide id="4" orient="horz" pos="2566" userDrawn="1">
          <p15:clr>
            <a:srgbClr val="F26B43"/>
          </p15:clr>
        </p15:guide>
        <p15:guide id="6" orient="horz" pos="3198" userDrawn="1">
          <p15:clr>
            <a:srgbClr val="F26B43"/>
          </p15:clr>
        </p15:guide>
        <p15:guide id="9" orient="horz" pos="3135"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s – (Light) picture r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296906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26"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5"/>
          <p:cNvSpPr>
            <a:spLocks noGrp="1"/>
          </p:cNvSpPr>
          <p:nvPr>
            <p:ph type="pic" sz="quarter" idx="73" hasCustomPrompt="1"/>
          </p:nvPr>
        </p:nvSpPr>
        <p:spPr>
          <a:xfrm>
            <a:off x="7404000" y="0"/>
            <a:ext cx="4788000" cy="6858000"/>
          </a:xfrm>
          <a:solidFill>
            <a:srgbClr val="EFF0F1"/>
          </a:solidFill>
        </p:spPr>
        <p:txBody>
          <a:bodyPr/>
          <a:lstStyle>
            <a:lvl1pPr marL="0" indent="0">
              <a:buFontTx/>
              <a:buNone/>
              <a:defRPr/>
            </a:lvl1pPr>
          </a:lstStyle>
          <a:p>
            <a:r>
              <a:rPr lang="en-GB" dirty="0" smtClean="0"/>
              <a:t> </a:t>
            </a:r>
            <a:endParaRPr lang="en-GB" dirty="0"/>
          </a:p>
        </p:txBody>
      </p:sp>
      <p:sp>
        <p:nvSpPr>
          <p:cNvPr id="39" name="SUBTITLE placeholder 1"/>
          <p:cNvSpPr>
            <a:spLocks noGrp="1"/>
          </p:cNvSpPr>
          <p:nvPr>
            <p:ph type="body" sz="quarter" idx="43" hasCustomPrompt="1"/>
          </p:nvPr>
        </p:nvSpPr>
        <p:spPr>
          <a:xfrm>
            <a:off x="432198" y="465085"/>
            <a:ext cx="6696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6696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1799" y="1522800"/>
            <a:ext cx="66960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1798" y="1800000"/>
            <a:ext cx="6696001" cy="460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6695601"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sp>
        <p:nvSpPr>
          <p:cNvPr id="15" name="TextBox 14"/>
          <p:cNvSpPr txBox="1"/>
          <p:nvPr userDrawn="1"/>
        </p:nvSpPr>
        <p:spPr>
          <a:xfrm>
            <a:off x="2460000" y="-322444"/>
            <a:ext cx="7272000" cy="289506"/>
          </a:xfrm>
          <a:prstGeom prst="rect">
            <a:avLst/>
          </a:prstGeom>
          <a:noFill/>
        </p:spPr>
        <p:txBody>
          <a:bodyPr wrap="none" lIns="72000" tIns="72000" rIns="72000" bIns="72000" rtlCol="0">
            <a:noAutofit/>
          </a:bodyPr>
          <a:lstStyle/>
          <a:p>
            <a:pPr marL="0" indent="0">
              <a:lnSpc>
                <a:spcPct val="110000"/>
              </a:lnSpc>
              <a:spcBef>
                <a:spcPts val="600"/>
              </a:spcBef>
              <a:buClr>
                <a:srgbClr val="003755"/>
              </a:buClr>
              <a:buFontTx/>
              <a:buNone/>
            </a:pPr>
            <a:r>
              <a:rPr lang="en-GB" sz="1200" dirty="0" smtClean="0">
                <a:solidFill>
                  <a:srgbClr val="E65A6D"/>
                </a:solidFill>
              </a:rPr>
              <a:t>Use this layout page when you have</a:t>
            </a:r>
            <a:r>
              <a:rPr lang="en-GB" sz="1200" baseline="0" dirty="0" smtClean="0">
                <a:solidFill>
                  <a:srgbClr val="E65A6D"/>
                </a:solidFill>
              </a:rPr>
              <a:t> a picture that is </a:t>
            </a:r>
            <a:r>
              <a:rPr lang="en-GB" sz="1200" b="1" baseline="0" dirty="0" smtClean="0">
                <a:solidFill>
                  <a:srgbClr val="E65A6D"/>
                </a:solidFill>
              </a:rPr>
              <a:t>light</a:t>
            </a:r>
            <a:r>
              <a:rPr lang="en-GB" sz="1200" baseline="0" dirty="0" smtClean="0">
                <a:solidFill>
                  <a:srgbClr val="E65A6D"/>
                </a:solidFill>
              </a:rPr>
              <a:t>. The logo is different when the picture is dark.</a:t>
            </a:r>
            <a:endParaRPr lang="en-GB" sz="1200" dirty="0">
              <a:solidFill>
                <a:srgbClr val="E65A6D"/>
              </a:solidFill>
            </a:endParaRPr>
          </a:p>
        </p:txBody>
      </p:sp>
      <p:sp>
        <p:nvSpPr>
          <p:cNvPr id="10" name="Danske Bank LOGO"/>
          <p:cNvSpPr>
            <a:spLocks noGrp="1"/>
          </p:cNvSpPr>
          <p:nvPr>
            <p:ph type="body" sz="quarter" idx="74" hasCustomPrompt="1"/>
          </p:nvPr>
        </p:nvSpPr>
        <p:spPr>
          <a:xfrm>
            <a:off x="10458507" y="250748"/>
            <a:ext cx="1313691" cy="198120"/>
          </a:xfrm>
          <a:blipFill dpi="0" rotWithShape="1">
            <a:blip r:embed="rId6"/>
            <a:srcRect/>
            <a:stretch>
              <a:fillRect/>
            </a:stretch>
          </a:blipFill>
        </p:spPr>
        <p:txBody>
          <a:bodyPr/>
          <a:lstStyle>
            <a:lvl1pPr marL="0" indent="0">
              <a:buNone/>
              <a:defRPr/>
            </a:lvl1pPr>
          </a:lstStyle>
          <a:p>
            <a:pPr lvl="0"/>
            <a:r>
              <a:rPr lang="en-US" dirty="0" smtClean="0"/>
              <a:t> </a:t>
            </a:r>
            <a:endParaRPr lang="en-GB" dirty="0"/>
          </a:p>
        </p:txBody>
      </p:sp>
    </p:spTree>
    <p:extLst>
      <p:ext uri="{BB962C8B-B14F-4D97-AF65-F5344CB8AC3E}">
        <p14:creationId xmlns:p14="http://schemas.microsoft.com/office/powerpoint/2010/main" val="226937934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10" userDrawn="1">
          <p15:clr>
            <a:srgbClr val="F26B43"/>
          </p15:clr>
        </p15:guide>
        <p15:guide id="2" orient="horz" pos="293">
          <p15:clr>
            <a:srgbClr val="F26B43"/>
          </p15:clr>
        </p15:guide>
        <p15:guide id="8" orient="horz" pos="1115" userDrawn="1">
          <p15:clr>
            <a:srgbClr val="F26B43"/>
          </p15:clr>
        </p15:guide>
        <p15:guide id="11" orient="horz" pos="4178" userDrawn="1">
          <p15:clr>
            <a:srgbClr val="F26B43"/>
          </p15:clr>
        </p15:guide>
        <p15:guide id="12" orient="horz" pos="4258" userDrawn="1">
          <p15:clr>
            <a:srgbClr val="F26B43"/>
          </p15:clr>
        </p15:guide>
        <p15:guide id="13" pos="4495" userDrawn="1">
          <p15:clr>
            <a:srgbClr val="F26B43"/>
          </p15:clr>
        </p15:guide>
        <p15:guide id="14" orient="horz" pos="1133" userDrawn="1">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10854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50"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424000" cy="184666"/>
          </a:xfrm>
        </p:spPr>
        <p:txBody>
          <a:bodyPr>
            <a:noAutofit/>
          </a:bodyPr>
          <a:lstStyle>
            <a:lvl1pPr marL="0" indent="0">
              <a:lnSpc>
                <a:spcPct val="100000"/>
              </a:lnSpc>
              <a:spcBef>
                <a:spcPts val="0"/>
              </a:spcBef>
              <a:buFontTx/>
              <a:buNone/>
              <a:defRPr sz="1200" i="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a:noAutofit/>
          </a:bodyPr>
          <a:lstStyle>
            <a:lvl1pPr>
              <a:defRPr/>
            </a:lvl1pPr>
          </a:lstStyle>
          <a:p>
            <a:r>
              <a:rPr lang="en-US" dirty="0" smtClean="0"/>
              <a:t>Click to add Slide Title – increase font size for large audience – max. two lines</a:t>
            </a:r>
            <a:endParaRPr lang="en-GB" dirty="0"/>
          </a:p>
        </p:txBody>
      </p:sp>
      <p:sp>
        <p:nvSpPr>
          <p:cNvPr id="4" name="Date Placeholder"/>
          <p:cNvSpPr>
            <a:spLocks noGrp="1"/>
          </p:cNvSpPr>
          <p:nvPr>
            <p:ph type="dt" sz="half" idx="44"/>
          </p:nvPr>
        </p:nvSpPr>
        <p:spPr/>
        <p:txBody>
          <a:bodyPr/>
          <a:lstStyle/>
          <a:p>
            <a:endParaRPr lang="en-GB" dirty="0"/>
          </a:p>
        </p:txBody>
      </p:sp>
      <p:sp>
        <p:nvSpPr>
          <p:cNvPr id="5" name="Footer Placeholder"/>
          <p:cNvSpPr>
            <a:spLocks noGrp="1"/>
          </p:cNvSpPr>
          <p:nvPr>
            <p:ph type="ftr" sz="quarter" idx="45"/>
          </p:nvPr>
        </p:nvSpPr>
        <p:spPr/>
        <p:txBody>
          <a:bodyPr/>
          <a:lstStyle/>
          <a:p>
            <a:endParaRPr lang="en-US" dirty="0"/>
          </a:p>
        </p:txBody>
      </p:sp>
      <p:sp>
        <p:nvSpPr>
          <p:cNvPr id="6"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9"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340613788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6" orient="horz" pos="291" userDrawn="1">
          <p15:clr>
            <a:srgbClr val="F26B43"/>
          </p15:clr>
        </p15:guide>
        <p15:guide id="16" orient="horz" pos="410" userDrawn="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with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81611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74"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e Placeholder"/>
          <p:cNvSpPr>
            <a:spLocks noGrp="1"/>
          </p:cNvSpPr>
          <p:nvPr>
            <p:ph type="dt" sz="half" idx="44"/>
          </p:nvPr>
        </p:nvSpPr>
        <p:spPr/>
        <p:txBody>
          <a:bodyPr/>
          <a:lstStyle/>
          <a:p>
            <a:endParaRPr lang="en-GB" dirty="0"/>
          </a:p>
        </p:txBody>
      </p:sp>
      <p:sp>
        <p:nvSpPr>
          <p:cNvPr id="5" name="Footer Placeholder"/>
          <p:cNvSpPr>
            <a:spLocks noGrp="1"/>
          </p:cNvSpPr>
          <p:nvPr>
            <p:ph type="ftr" sz="quarter" idx="45"/>
          </p:nvPr>
        </p:nvSpPr>
        <p:spPr/>
        <p:txBody>
          <a:bodyPr/>
          <a:lstStyle/>
          <a:p>
            <a:endParaRPr lang="en-US" dirty="0"/>
          </a:p>
        </p:txBody>
      </p:sp>
      <p:sp>
        <p:nvSpPr>
          <p:cNvPr id="6"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7"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51234786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2" orient="horz" pos="29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Page – Midnight blu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30198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98"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ctrTitle" hasCustomPrompt="1"/>
          </p:nvPr>
        </p:nvSpPr>
        <p:spPr>
          <a:xfrm>
            <a:off x="432000" y="3774863"/>
            <a:ext cx="11340000" cy="936000"/>
          </a:xfrm>
          <a:prstGeom prst="rect">
            <a:avLst/>
          </a:prstGeom>
        </p:spPr>
        <p:txBody>
          <a:bodyPr vert="horz" wrap="square" lIns="0" tIns="0" rIns="0" bIns="36000" rtlCol="0" anchor="b" anchorCtr="0">
            <a:noAutofit/>
          </a:bodyPr>
          <a:lstStyle>
            <a:lvl1pPr>
              <a:defRPr lang="en-GB" sz="3200" dirty="0">
                <a:solidFill>
                  <a:schemeClr val="bg1"/>
                </a:solidFill>
              </a:defRPr>
            </a:lvl1pPr>
          </a:lstStyle>
          <a:p>
            <a:pPr marL="0" lvl="0"/>
            <a:r>
              <a:rPr lang="en-GB" dirty="0" smtClean="0"/>
              <a:t>Click to add section divider</a:t>
            </a:r>
            <a:endParaRPr lang="en-GB" dirty="0"/>
          </a:p>
        </p:txBody>
      </p:sp>
      <p:pic>
        <p:nvPicPr>
          <p:cNvPr id="4"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7954" y="250748"/>
            <a:ext cx="1313846" cy="198000"/>
          </a:xfrm>
          <a:prstGeom prst="rect">
            <a:avLst/>
          </a:prstGeom>
        </p:spPr>
      </p:pic>
    </p:spTree>
    <p:extLst>
      <p:ext uri="{BB962C8B-B14F-4D97-AF65-F5344CB8AC3E}">
        <p14:creationId xmlns:p14="http://schemas.microsoft.com/office/powerpoint/2010/main" val="365365727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377" userDrawn="1">
          <p15:clr>
            <a:srgbClr val="F26B43"/>
          </p15:clr>
        </p15:guide>
        <p15:guide id="2" orient="horz" pos="2969"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Page – Sky blue">
    <p:bg>
      <p:bgPr>
        <a:solidFill>
          <a:srgbClr val="D7E9F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70666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822"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ctrTitle" hasCustomPrompt="1"/>
          </p:nvPr>
        </p:nvSpPr>
        <p:spPr>
          <a:xfrm>
            <a:off x="432000" y="3774863"/>
            <a:ext cx="11340000" cy="936000"/>
          </a:xfrm>
          <a:prstGeom prst="rect">
            <a:avLst/>
          </a:prstGeom>
        </p:spPr>
        <p:txBody>
          <a:bodyPr vert="horz" wrap="square" lIns="0" tIns="0" rIns="0" bIns="36000" rtlCol="0" anchor="b" anchorCtr="0">
            <a:noAutofit/>
          </a:bodyPr>
          <a:lstStyle>
            <a:lvl1pPr>
              <a:defRPr lang="en-GB" sz="3200" dirty="0">
                <a:solidFill>
                  <a:schemeClr val="tx2"/>
                </a:solidFill>
              </a:defRPr>
            </a:lvl1pPr>
          </a:lstStyle>
          <a:p>
            <a:pPr marL="0" lvl="0"/>
            <a:r>
              <a:rPr lang="en-GB" dirty="0" smtClean="0"/>
              <a:t>Click to add section divider</a:t>
            </a:r>
            <a:endParaRPr lang="en-GB" dirty="0"/>
          </a:p>
        </p:txBody>
      </p:sp>
      <p:pic>
        <p:nvPicPr>
          <p:cNvPr id="4"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100033396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2" orient="horz" pos="2969" userDrawn="1">
          <p15:clr>
            <a:srgbClr val="F26B43"/>
          </p15:clr>
        </p15:guide>
        <p15:guide id="4" orient="horz" pos="2378" userDrawn="1">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Page – (Dark picture)">
    <p:bg>
      <p:bgPr>
        <a:solidFill>
          <a:srgbClr val="E6E8E9"/>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847769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846"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1"/>
          <p:cNvSpPr>
            <a:spLocks noGrp="1"/>
          </p:cNvSpPr>
          <p:nvPr>
            <p:ph type="pic" sz="quarter" idx="10" hasCustomPrompt="1"/>
          </p:nvPr>
        </p:nvSpPr>
        <p:spPr>
          <a:xfrm>
            <a:off x="0" y="0"/>
            <a:ext cx="12192000" cy="6858000"/>
          </a:xfrm>
        </p:spPr>
        <p:txBody>
          <a:bodyPr/>
          <a:lstStyle>
            <a:lvl1pPr marL="0" indent="0">
              <a:buFontTx/>
              <a:buNone/>
              <a:defRPr baseline="0"/>
            </a:lvl1pPr>
          </a:lstStyle>
          <a:p>
            <a:r>
              <a:rPr lang="en-US" dirty="0" smtClean="0"/>
              <a:t> </a:t>
            </a:r>
            <a:endParaRPr lang="en-GB" dirty="0"/>
          </a:p>
        </p:txBody>
      </p:sp>
      <p:sp>
        <p:nvSpPr>
          <p:cNvPr id="2" name="TITLE placeholder 1"/>
          <p:cNvSpPr>
            <a:spLocks noGrp="1"/>
          </p:cNvSpPr>
          <p:nvPr>
            <p:ph type="ctrTitle" hasCustomPrompt="1"/>
          </p:nvPr>
        </p:nvSpPr>
        <p:spPr>
          <a:xfrm>
            <a:off x="432000" y="3774863"/>
            <a:ext cx="11340000" cy="936000"/>
          </a:xfrm>
          <a:prstGeom prst="rect">
            <a:avLst/>
          </a:prstGeom>
        </p:spPr>
        <p:txBody>
          <a:bodyPr vert="horz" wrap="square" lIns="0" tIns="0" rIns="0" bIns="36000" rtlCol="0" anchor="b" anchorCtr="0">
            <a:noAutofit/>
          </a:bodyPr>
          <a:lstStyle>
            <a:lvl1pPr>
              <a:defRPr lang="en-GB" sz="3200" dirty="0">
                <a:solidFill>
                  <a:schemeClr val="bg1"/>
                </a:solidFill>
              </a:defRPr>
            </a:lvl1pPr>
          </a:lstStyle>
          <a:p>
            <a:pPr marL="0" lvl="0"/>
            <a:r>
              <a:rPr lang="en-GB" dirty="0" smtClean="0"/>
              <a:t>Click to add section divider</a:t>
            </a:r>
            <a:endParaRPr lang="en-GB" dirty="0"/>
          </a:p>
        </p:txBody>
      </p:sp>
      <p:sp>
        <p:nvSpPr>
          <p:cNvPr id="6" name="TextBox 5"/>
          <p:cNvSpPr txBox="1"/>
          <p:nvPr userDrawn="1"/>
        </p:nvSpPr>
        <p:spPr>
          <a:xfrm>
            <a:off x="2460000" y="-322444"/>
            <a:ext cx="7272000" cy="289506"/>
          </a:xfrm>
          <a:prstGeom prst="rect">
            <a:avLst/>
          </a:prstGeom>
          <a:noFill/>
        </p:spPr>
        <p:txBody>
          <a:bodyPr wrap="none" lIns="72000" tIns="72000" rIns="72000" bIns="72000" rtlCol="0">
            <a:noAutofit/>
          </a:bodyPr>
          <a:lstStyle/>
          <a:p>
            <a:pPr marL="0" indent="0">
              <a:lnSpc>
                <a:spcPct val="110000"/>
              </a:lnSpc>
              <a:spcBef>
                <a:spcPts val="600"/>
              </a:spcBef>
              <a:buClr>
                <a:srgbClr val="003755"/>
              </a:buClr>
              <a:buFontTx/>
              <a:buNone/>
            </a:pPr>
            <a:r>
              <a:rPr lang="en-GB" sz="1200" dirty="0" smtClean="0">
                <a:solidFill>
                  <a:srgbClr val="E65A6D"/>
                </a:solidFill>
              </a:rPr>
              <a:t>Use this layout page when you have</a:t>
            </a:r>
            <a:r>
              <a:rPr lang="en-GB" sz="1200" baseline="0" dirty="0" smtClean="0">
                <a:solidFill>
                  <a:srgbClr val="E65A6D"/>
                </a:solidFill>
              </a:rPr>
              <a:t> a picture that is </a:t>
            </a:r>
            <a:r>
              <a:rPr lang="en-GB" sz="1200" b="1" baseline="0" dirty="0" smtClean="0">
                <a:solidFill>
                  <a:srgbClr val="E65A6D"/>
                </a:solidFill>
              </a:rPr>
              <a:t>dark</a:t>
            </a:r>
            <a:r>
              <a:rPr lang="en-GB" sz="1200" baseline="0" dirty="0" smtClean="0">
                <a:solidFill>
                  <a:srgbClr val="E65A6D"/>
                </a:solidFill>
              </a:rPr>
              <a:t>. The logo is different when the picture is very light.</a:t>
            </a:r>
            <a:endParaRPr lang="en-GB" sz="1200" dirty="0">
              <a:solidFill>
                <a:srgbClr val="E65A6D"/>
              </a:solidFill>
            </a:endParaRPr>
          </a:p>
        </p:txBody>
      </p:sp>
      <p:sp>
        <p:nvSpPr>
          <p:cNvPr id="7" name="Danske Bank LOGO"/>
          <p:cNvSpPr>
            <a:spLocks noGrp="1"/>
          </p:cNvSpPr>
          <p:nvPr>
            <p:ph type="body" sz="quarter" idx="74" hasCustomPrompt="1"/>
          </p:nvPr>
        </p:nvSpPr>
        <p:spPr>
          <a:xfrm>
            <a:off x="10458507" y="250748"/>
            <a:ext cx="1313691" cy="198120"/>
          </a:xfrm>
          <a:blipFill dpi="0" rotWithShape="1">
            <a:blip r:embed="rId6"/>
            <a:srcRect/>
            <a:stretch>
              <a:fillRect/>
            </a:stretch>
          </a:blipFill>
        </p:spPr>
        <p:txBody>
          <a:bodyPr/>
          <a:lstStyle>
            <a:lvl1pPr marL="0" indent="0">
              <a:buNone/>
              <a:defRPr/>
            </a:lvl1pPr>
          </a:lstStyle>
          <a:p>
            <a:pPr lvl="0"/>
            <a:r>
              <a:rPr lang="en-US" dirty="0" smtClean="0"/>
              <a:t> </a:t>
            </a:r>
            <a:endParaRPr lang="en-GB" dirty="0"/>
          </a:p>
        </p:txBody>
      </p:sp>
    </p:spTree>
    <p:extLst>
      <p:ext uri="{BB962C8B-B14F-4D97-AF65-F5344CB8AC3E}">
        <p14:creationId xmlns:p14="http://schemas.microsoft.com/office/powerpoint/2010/main" val="312885916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969" userDrawn="1">
          <p15:clr>
            <a:srgbClr val="F26B43"/>
          </p15:clr>
        </p15:guide>
        <p15:guide id="2" orient="horz" pos="2378" userDrawn="1">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Page – (Light picture)">
    <p:bg>
      <p:bgPr>
        <a:solidFill>
          <a:srgbClr val="E6E8E9"/>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628744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70"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1"/>
          <p:cNvSpPr>
            <a:spLocks noGrp="1"/>
          </p:cNvSpPr>
          <p:nvPr>
            <p:ph type="pic" sz="quarter" idx="10" hasCustomPrompt="1"/>
          </p:nvPr>
        </p:nvSpPr>
        <p:spPr>
          <a:xfrm>
            <a:off x="0" y="0"/>
            <a:ext cx="12192000" cy="6858000"/>
          </a:xfrm>
        </p:spPr>
        <p:txBody>
          <a:bodyPr/>
          <a:lstStyle>
            <a:lvl1pPr marL="0" indent="0">
              <a:buFontTx/>
              <a:buNone/>
              <a:defRPr baseline="0"/>
            </a:lvl1pPr>
          </a:lstStyle>
          <a:p>
            <a:r>
              <a:rPr lang="en-US" dirty="0" smtClean="0"/>
              <a:t> </a:t>
            </a:r>
            <a:endParaRPr lang="en-GB" dirty="0"/>
          </a:p>
        </p:txBody>
      </p:sp>
      <p:sp>
        <p:nvSpPr>
          <p:cNvPr id="2" name="TITLE placeholder 1"/>
          <p:cNvSpPr>
            <a:spLocks noGrp="1"/>
          </p:cNvSpPr>
          <p:nvPr>
            <p:ph type="ctrTitle" hasCustomPrompt="1"/>
          </p:nvPr>
        </p:nvSpPr>
        <p:spPr>
          <a:xfrm>
            <a:off x="432000" y="3774863"/>
            <a:ext cx="11340000" cy="936000"/>
          </a:xfrm>
          <a:prstGeom prst="rect">
            <a:avLst/>
          </a:prstGeom>
        </p:spPr>
        <p:txBody>
          <a:bodyPr vert="horz" wrap="square" lIns="0" tIns="0" rIns="0" bIns="36000" rtlCol="0" anchor="b" anchorCtr="0">
            <a:noAutofit/>
          </a:bodyPr>
          <a:lstStyle>
            <a:lvl1pPr>
              <a:defRPr lang="en-GB" sz="3200" dirty="0">
                <a:solidFill>
                  <a:schemeClr val="tx2"/>
                </a:solidFill>
              </a:defRPr>
            </a:lvl1pPr>
          </a:lstStyle>
          <a:p>
            <a:pPr marL="0" lvl="0"/>
            <a:r>
              <a:rPr lang="en-GB" dirty="0" smtClean="0"/>
              <a:t>Click to add section divider</a:t>
            </a:r>
            <a:endParaRPr lang="en-GB" dirty="0"/>
          </a:p>
        </p:txBody>
      </p:sp>
      <p:sp>
        <p:nvSpPr>
          <p:cNvPr id="6" name="TextBox 5"/>
          <p:cNvSpPr txBox="1"/>
          <p:nvPr userDrawn="1"/>
        </p:nvSpPr>
        <p:spPr>
          <a:xfrm>
            <a:off x="2460000" y="-322444"/>
            <a:ext cx="7272000" cy="289506"/>
          </a:xfrm>
          <a:prstGeom prst="rect">
            <a:avLst/>
          </a:prstGeom>
          <a:noFill/>
        </p:spPr>
        <p:txBody>
          <a:bodyPr wrap="none" lIns="72000" tIns="72000" rIns="72000" bIns="72000" rtlCol="0">
            <a:noAutofit/>
          </a:bodyPr>
          <a:lstStyle/>
          <a:p>
            <a:pPr marL="0" indent="0">
              <a:lnSpc>
                <a:spcPct val="110000"/>
              </a:lnSpc>
              <a:spcBef>
                <a:spcPts val="600"/>
              </a:spcBef>
              <a:buClr>
                <a:srgbClr val="003755"/>
              </a:buClr>
              <a:buFontTx/>
              <a:buNone/>
            </a:pPr>
            <a:r>
              <a:rPr lang="en-GB" sz="1200" dirty="0" smtClean="0">
                <a:solidFill>
                  <a:srgbClr val="E65A6D"/>
                </a:solidFill>
              </a:rPr>
              <a:t>Use this layout page when you have</a:t>
            </a:r>
            <a:r>
              <a:rPr lang="en-GB" sz="1200" baseline="0" dirty="0" smtClean="0">
                <a:solidFill>
                  <a:srgbClr val="E65A6D"/>
                </a:solidFill>
              </a:rPr>
              <a:t> a picture that is </a:t>
            </a:r>
            <a:r>
              <a:rPr lang="en-GB" sz="1200" b="1" baseline="0" dirty="0" smtClean="0">
                <a:solidFill>
                  <a:srgbClr val="E65A6D"/>
                </a:solidFill>
              </a:rPr>
              <a:t>light</a:t>
            </a:r>
            <a:r>
              <a:rPr lang="en-GB" sz="1200" baseline="0" dirty="0" smtClean="0">
                <a:solidFill>
                  <a:srgbClr val="E65A6D"/>
                </a:solidFill>
              </a:rPr>
              <a:t>. The logo is different when the picture is dark.</a:t>
            </a:r>
            <a:endParaRPr lang="en-GB" sz="1200" dirty="0">
              <a:solidFill>
                <a:srgbClr val="E65A6D"/>
              </a:solidFill>
            </a:endParaRPr>
          </a:p>
        </p:txBody>
      </p:sp>
      <p:sp>
        <p:nvSpPr>
          <p:cNvPr id="7" name="Danske Bank LOGO"/>
          <p:cNvSpPr>
            <a:spLocks noGrp="1"/>
          </p:cNvSpPr>
          <p:nvPr>
            <p:ph type="body" sz="quarter" idx="74" hasCustomPrompt="1"/>
          </p:nvPr>
        </p:nvSpPr>
        <p:spPr>
          <a:xfrm>
            <a:off x="10458507" y="250748"/>
            <a:ext cx="1313691" cy="198120"/>
          </a:xfrm>
          <a:blipFill dpi="0" rotWithShape="1">
            <a:blip r:embed="rId6"/>
            <a:srcRect/>
            <a:stretch>
              <a:fillRect/>
            </a:stretch>
          </a:blipFill>
        </p:spPr>
        <p:txBody>
          <a:bodyPr/>
          <a:lstStyle>
            <a:lvl1pPr marL="0" indent="0">
              <a:buNone/>
              <a:defRPr/>
            </a:lvl1pPr>
          </a:lstStyle>
          <a:p>
            <a:pPr lvl="0"/>
            <a:r>
              <a:rPr lang="en-US" dirty="0" smtClean="0"/>
              <a:t> </a:t>
            </a:r>
            <a:endParaRPr lang="en-GB" dirty="0"/>
          </a:p>
        </p:txBody>
      </p:sp>
    </p:spTree>
    <p:extLst>
      <p:ext uri="{BB962C8B-B14F-4D97-AF65-F5344CB8AC3E}">
        <p14:creationId xmlns:p14="http://schemas.microsoft.com/office/powerpoint/2010/main" val="89152172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969" userDrawn="1">
          <p15:clr>
            <a:srgbClr val="F26B43"/>
          </p15:clr>
        </p15:guide>
        <p15:guide id="2" orient="horz" pos="2378" userDrawn="1">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mpower add-in layout: 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19183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94"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hasCustomPrompt="1"/>
          </p:nvPr>
        </p:nvSpPr>
        <p:spPr>
          <a:xfrm>
            <a:off x="432198" y="727199"/>
            <a:ext cx="11340000" cy="684000"/>
          </a:xfrm>
        </p:spPr>
        <p:txBody>
          <a:bodyPr>
            <a:noAutofit/>
          </a:bodyPr>
          <a:lstStyle>
            <a:lvl1pPr>
              <a:defRPr/>
            </a:lvl1pPr>
          </a:lstStyle>
          <a:p>
            <a:r>
              <a:rPr lang="en-US" dirty="0" smtClean="0"/>
              <a:t>Click to add Slide Title – increase font size for large audience – max. two lines</a:t>
            </a:r>
            <a:endParaRPr lang="en-GB" dirty="0"/>
          </a:p>
        </p:txBody>
      </p:sp>
      <p:sp>
        <p:nvSpPr>
          <p:cNvPr id="4" name="Date Placeholder"/>
          <p:cNvSpPr>
            <a:spLocks noGrp="1"/>
          </p:cNvSpPr>
          <p:nvPr>
            <p:ph type="dt" sz="half" idx="44"/>
          </p:nvPr>
        </p:nvSpPr>
        <p:spPr/>
        <p:txBody>
          <a:bodyPr/>
          <a:lstStyle/>
          <a:p>
            <a:endParaRPr lang="en-GB" dirty="0"/>
          </a:p>
        </p:txBody>
      </p:sp>
      <p:sp>
        <p:nvSpPr>
          <p:cNvPr id="5" name="Footer Placeholder"/>
          <p:cNvSpPr>
            <a:spLocks noGrp="1"/>
          </p:cNvSpPr>
          <p:nvPr>
            <p:ph type="ftr" sz="quarter" idx="45"/>
          </p:nvPr>
        </p:nvSpPr>
        <p:spPr/>
        <p:txBody>
          <a:bodyPr/>
          <a:lstStyle/>
          <a:p>
            <a:endParaRPr lang="en-US" dirty="0"/>
          </a:p>
        </p:txBody>
      </p:sp>
      <p:sp>
        <p:nvSpPr>
          <p:cNvPr id="6"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9"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1247849556"/>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mpower add-in layout: Agenda with picture (Dar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91087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18"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5"/>
          <p:cNvSpPr>
            <a:spLocks noGrp="1"/>
          </p:cNvSpPr>
          <p:nvPr>
            <p:ph type="pic" sz="quarter" idx="73" hasCustomPrompt="1"/>
          </p:nvPr>
        </p:nvSpPr>
        <p:spPr>
          <a:xfrm>
            <a:off x="7404000" y="0"/>
            <a:ext cx="4788000" cy="6858000"/>
          </a:xfrm>
          <a:solidFill>
            <a:srgbClr val="EFF0F1"/>
          </a:solidFill>
        </p:spPr>
        <p:txBody>
          <a:bodyPr/>
          <a:lstStyle>
            <a:lvl1pPr marL="0" indent="0">
              <a:buFontTx/>
              <a:buNone/>
              <a:defRPr/>
            </a:lvl1pPr>
          </a:lstStyle>
          <a:p>
            <a:r>
              <a:rPr lang="en-GB" dirty="0" smtClean="0"/>
              <a:t> </a:t>
            </a:r>
            <a:endParaRPr lang="en-GB" dirty="0"/>
          </a:p>
        </p:txBody>
      </p:sp>
      <p:sp>
        <p:nvSpPr>
          <p:cNvPr id="2" name="TITLE placeholder 1"/>
          <p:cNvSpPr>
            <a:spLocks noGrp="1"/>
          </p:cNvSpPr>
          <p:nvPr>
            <p:ph type="title" hasCustomPrompt="1"/>
          </p:nvPr>
        </p:nvSpPr>
        <p:spPr>
          <a:xfrm>
            <a:off x="432198" y="727199"/>
            <a:ext cx="6696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5" name="Date Placeholder"/>
          <p:cNvSpPr>
            <a:spLocks noGrp="1"/>
          </p:cNvSpPr>
          <p:nvPr>
            <p:ph type="dt" sz="half" idx="69"/>
          </p:nvPr>
        </p:nvSpPr>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sp>
        <p:nvSpPr>
          <p:cNvPr id="15" name="TextBox 14"/>
          <p:cNvSpPr txBox="1"/>
          <p:nvPr userDrawn="1"/>
        </p:nvSpPr>
        <p:spPr>
          <a:xfrm>
            <a:off x="2460000" y="-322444"/>
            <a:ext cx="7272000" cy="289506"/>
          </a:xfrm>
          <a:prstGeom prst="rect">
            <a:avLst/>
          </a:prstGeom>
          <a:noFill/>
        </p:spPr>
        <p:txBody>
          <a:bodyPr wrap="none" lIns="72000" tIns="72000" rIns="72000" bIns="72000" rtlCol="0">
            <a:noAutofit/>
          </a:bodyPr>
          <a:lstStyle/>
          <a:p>
            <a:pPr marL="0" indent="0">
              <a:lnSpc>
                <a:spcPct val="110000"/>
              </a:lnSpc>
              <a:spcBef>
                <a:spcPts val="600"/>
              </a:spcBef>
              <a:buClr>
                <a:srgbClr val="003755"/>
              </a:buClr>
              <a:buFontTx/>
              <a:buNone/>
            </a:pPr>
            <a:r>
              <a:rPr lang="en-GB" sz="1200" dirty="0" smtClean="0">
                <a:solidFill>
                  <a:srgbClr val="E65A6D"/>
                </a:solidFill>
              </a:rPr>
              <a:t>Use this layout page when you have</a:t>
            </a:r>
            <a:r>
              <a:rPr lang="en-GB" sz="1200" baseline="0" dirty="0" smtClean="0">
                <a:solidFill>
                  <a:srgbClr val="E65A6D"/>
                </a:solidFill>
              </a:rPr>
              <a:t> a picture that is </a:t>
            </a:r>
            <a:r>
              <a:rPr lang="en-GB" sz="1200" b="1" baseline="0" dirty="0" smtClean="0">
                <a:solidFill>
                  <a:srgbClr val="E65A6D"/>
                </a:solidFill>
              </a:rPr>
              <a:t>dark</a:t>
            </a:r>
            <a:r>
              <a:rPr lang="en-GB" sz="1200" baseline="0" dirty="0" smtClean="0">
                <a:solidFill>
                  <a:srgbClr val="E65A6D"/>
                </a:solidFill>
              </a:rPr>
              <a:t>. The logo is different when the picture is very light.</a:t>
            </a:r>
            <a:endParaRPr lang="en-GB" sz="1200" dirty="0">
              <a:solidFill>
                <a:srgbClr val="E65A6D"/>
              </a:solidFill>
            </a:endParaRPr>
          </a:p>
        </p:txBody>
      </p:sp>
      <p:sp>
        <p:nvSpPr>
          <p:cNvPr id="10" name="Danske Bank LOGO"/>
          <p:cNvSpPr>
            <a:spLocks noGrp="1"/>
          </p:cNvSpPr>
          <p:nvPr>
            <p:ph type="body" sz="quarter" idx="74" hasCustomPrompt="1"/>
          </p:nvPr>
        </p:nvSpPr>
        <p:spPr>
          <a:xfrm>
            <a:off x="10458507" y="250748"/>
            <a:ext cx="1313691" cy="198120"/>
          </a:xfrm>
          <a:blipFill dpi="0" rotWithShape="1">
            <a:blip r:embed="rId6"/>
            <a:srcRect/>
            <a:stretch>
              <a:fillRect/>
            </a:stretch>
          </a:blipFill>
        </p:spPr>
        <p:txBody>
          <a:bodyPr/>
          <a:lstStyle>
            <a:lvl1pPr marL="0" indent="0">
              <a:buNone/>
              <a:defRPr/>
            </a:lvl1pPr>
          </a:lstStyle>
          <a:p>
            <a:pPr lvl="0"/>
            <a:r>
              <a:rPr lang="en-US" dirty="0" smtClean="0"/>
              <a:t> </a:t>
            </a:r>
            <a:endParaRPr lang="en-GB" dirty="0"/>
          </a:p>
        </p:txBody>
      </p:sp>
    </p:spTree>
    <p:extLst>
      <p:ext uri="{BB962C8B-B14F-4D97-AF65-F5344CB8AC3E}">
        <p14:creationId xmlns:p14="http://schemas.microsoft.com/office/powerpoint/2010/main" val="401725291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3" pos="4495">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mpower add-in layout: Agenda with picture (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4203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42"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5"/>
          <p:cNvSpPr>
            <a:spLocks noGrp="1"/>
          </p:cNvSpPr>
          <p:nvPr>
            <p:ph type="pic" sz="quarter" idx="73" hasCustomPrompt="1"/>
          </p:nvPr>
        </p:nvSpPr>
        <p:spPr>
          <a:xfrm>
            <a:off x="7404000" y="0"/>
            <a:ext cx="4788000" cy="6858000"/>
          </a:xfrm>
          <a:solidFill>
            <a:srgbClr val="EFF0F1"/>
          </a:solidFill>
        </p:spPr>
        <p:txBody>
          <a:bodyPr/>
          <a:lstStyle>
            <a:lvl1pPr marL="0" indent="0">
              <a:buFontTx/>
              <a:buNone/>
              <a:defRPr/>
            </a:lvl1pPr>
          </a:lstStyle>
          <a:p>
            <a:r>
              <a:rPr lang="en-GB" dirty="0" smtClean="0"/>
              <a:t> </a:t>
            </a:r>
            <a:endParaRPr lang="en-GB" dirty="0"/>
          </a:p>
        </p:txBody>
      </p:sp>
      <p:sp>
        <p:nvSpPr>
          <p:cNvPr id="2" name="TITLE placeholder 1"/>
          <p:cNvSpPr>
            <a:spLocks noGrp="1"/>
          </p:cNvSpPr>
          <p:nvPr>
            <p:ph type="title" hasCustomPrompt="1"/>
          </p:nvPr>
        </p:nvSpPr>
        <p:spPr>
          <a:xfrm>
            <a:off x="432198" y="727199"/>
            <a:ext cx="6696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5" name="Date Placeholder"/>
          <p:cNvSpPr>
            <a:spLocks noGrp="1"/>
          </p:cNvSpPr>
          <p:nvPr>
            <p:ph type="dt" sz="half" idx="69"/>
          </p:nvPr>
        </p:nvSpPr>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sp>
        <p:nvSpPr>
          <p:cNvPr id="15" name="TextBox 14"/>
          <p:cNvSpPr txBox="1"/>
          <p:nvPr userDrawn="1"/>
        </p:nvSpPr>
        <p:spPr>
          <a:xfrm>
            <a:off x="2460000" y="-322444"/>
            <a:ext cx="7272000" cy="289506"/>
          </a:xfrm>
          <a:prstGeom prst="rect">
            <a:avLst/>
          </a:prstGeom>
          <a:noFill/>
        </p:spPr>
        <p:txBody>
          <a:bodyPr wrap="none" lIns="72000" tIns="72000" rIns="72000" bIns="72000" rtlCol="0">
            <a:noAutofit/>
          </a:bodyPr>
          <a:lstStyle/>
          <a:p>
            <a:pPr marL="0" indent="0">
              <a:lnSpc>
                <a:spcPct val="110000"/>
              </a:lnSpc>
              <a:spcBef>
                <a:spcPts val="600"/>
              </a:spcBef>
              <a:buClr>
                <a:srgbClr val="003755"/>
              </a:buClr>
              <a:buFontTx/>
              <a:buNone/>
            </a:pPr>
            <a:r>
              <a:rPr lang="en-GB" sz="1200" dirty="0" smtClean="0">
                <a:solidFill>
                  <a:srgbClr val="E65A6D"/>
                </a:solidFill>
              </a:rPr>
              <a:t>Use this layout page when you have</a:t>
            </a:r>
            <a:r>
              <a:rPr lang="en-GB" sz="1200" baseline="0" dirty="0" smtClean="0">
                <a:solidFill>
                  <a:srgbClr val="E65A6D"/>
                </a:solidFill>
              </a:rPr>
              <a:t> a picture that is </a:t>
            </a:r>
            <a:r>
              <a:rPr lang="en-GB" sz="1200" b="1" baseline="0" dirty="0" smtClean="0">
                <a:solidFill>
                  <a:srgbClr val="E65A6D"/>
                </a:solidFill>
              </a:rPr>
              <a:t>light</a:t>
            </a:r>
            <a:r>
              <a:rPr lang="en-GB" sz="1200" baseline="0" dirty="0" smtClean="0">
                <a:solidFill>
                  <a:srgbClr val="E65A6D"/>
                </a:solidFill>
              </a:rPr>
              <a:t>. The logo is different when the picture is dark.</a:t>
            </a:r>
            <a:endParaRPr lang="en-GB" sz="1200" dirty="0">
              <a:solidFill>
                <a:srgbClr val="E65A6D"/>
              </a:solidFill>
            </a:endParaRPr>
          </a:p>
        </p:txBody>
      </p:sp>
      <p:sp>
        <p:nvSpPr>
          <p:cNvPr id="10" name="Danske Bank LOGO"/>
          <p:cNvSpPr>
            <a:spLocks noGrp="1"/>
          </p:cNvSpPr>
          <p:nvPr>
            <p:ph type="body" sz="quarter" idx="74" hasCustomPrompt="1"/>
          </p:nvPr>
        </p:nvSpPr>
        <p:spPr>
          <a:xfrm>
            <a:off x="10458507" y="250748"/>
            <a:ext cx="1313691" cy="198120"/>
          </a:xfrm>
          <a:blipFill dpi="0" rotWithShape="1">
            <a:blip r:embed="rId6"/>
            <a:srcRect/>
            <a:stretch>
              <a:fillRect/>
            </a:stretch>
          </a:blipFill>
        </p:spPr>
        <p:txBody>
          <a:bodyPr/>
          <a:lstStyle>
            <a:lvl1pPr marL="0" indent="0">
              <a:buNone/>
              <a:defRPr/>
            </a:lvl1pPr>
          </a:lstStyle>
          <a:p>
            <a:pPr lvl="0"/>
            <a:r>
              <a:rPr lang="en-US" dirty="0" smtClean="0"/>
              <a:t> </a:t>
            </a:r>
            <a:endParaRPr lang="en-GB" dirty="0"/>
          </a:p>
        </p:txBody>
      </p:sp>
    </p:spTree>
    <p:extLst>
      <p:ext uri="{BB962C8B-B14F-4D97-AF65-F5344CB8AC3E}">
        <p14:creationId xmlns:p14="http://schemas.microsoft.com/office/powerpoint/2010/main" val="83740187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3" pos="4495">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Page – Sky blue">
    <p:bg>
      <p:bgPr>
        <a:solidFill>
          <a:srgbClr val="D7E9F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593379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8"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8" name="PATTERN"/>
          <p:cNvGrpSpPr>
            <a:grpSpLocks noChangeAspect="1"/>
          </p:cNvGrpSpPr>
          <p:nvPr userDrawn="1"/>
        </p:nvGrpSpPr>
        <p:grpSpPr bwMode="auto">
          <a:xfrm>
            <a:off x="1588" y="0"/>
            <a:ext cx="12188825" cy="6858000"/>
            <a:chOff x="1" y="0"/>
            <a:chExt cx="7678" cy="4320"/>
          </a:xfrm>
          <a:solidFill>
            <a:srgbClr val="CDE3ED"/>
          </a:solidFill>
        </p:grpSpPr>
        <p:sp>
          <p:nvSpPr>
            <p:cNvPr id="9" name="Freeform 5"/>
            <p:cNvSpPr>
              <a:spLocks/>
            </p:cNvSpPr>
            <p:nvPr userDrawn="1"/>
          </p:nvSpPr>
          <p:spPr bwMode="auto">
            <a:xfrm>
              <a:off x="2150" y="0"/>
              <a:ext cx="3003" cy="4320"/>
            </a:xfrm>
            <a:custGeom>
              <a:avLst/>
              <a:gdLst>
                <a:gd name="T0" fmla="*/ 2979 w 3003"/>
                <a:gd name="T1" fmla="*/ 3126 h 4320"/>
                <a:gd name="T2" fmla="*/ 2546 w 3003"/>
                <a:gd name="T3" fmla="*/ 2437 h 4320"/>
                <a:gd name="T4" fmla="*/ 3003 w 3003"/>
                <a:gd name="T5" fmla="*/ 1850 h 4320"/>
                <a:gd name="T6" fmla="*/ 2778 w 3003"/>
                <a:gd name="T7" fmla="*/ 1690 h 4320"/>
                <a:gd name="T8" fmla="*/ 2137 w 3003"/>
                <a:gd name="T9" fmla="*/ 2195 h 4320"/>
                <a:gd name="T10" fmla="*/ 1575 w 3003"/>
                <a:gd name="T11" fmla="*/ 1682 h 4320"/>
                <a:gd name="T12" fmla="*/ 1262 w 3003"/>
                <a:gd name="T13" fmla="*/ 968 h 4320"/>
                <a:gd name="T14" fmla="*/ 2540 w 3003"/>
                <a:gd name="T15" fmla="*/ 0 h 4320"/>
                <a:gd name="T16" fmla="*/ 1897 w 3003"/>
                <a:gd name="T17" fmla="*/ 0 h 4320"/>
                <a:gd name="T18" fmla="*/ 564 w 3003"/>
                <a:gd name="T19" fmla="*/ 872 h 4320"/>
                <a:gd name="T20" fmla="*/ 1054 w 3003"/>
                <a:gd name="T21" fmla="*/ 2027 h 4320"/>
                <a:gd name="T22" fmla="*/ 1284 w 3003"/>
                <a:gd name="T23" fmla="*/ 2426 h 4320"/>
                <a:gd name="T24" fmla="*/ 0 w 3003"/>
                <a:gd name="T25" fmla="*/ 4320 h 4320"/>
                <a:gd name="T26" fmla="*/ 649 w 3003"/>
                <a:gd name="T27" fmla="*/ 4320 h 4320"/>
                <a:gd name="T28" fmla="*/ 1896 w 3003"/>
                <a:gd name="T29" fmla="*/ 2677 h 4320"/>
                <a:gd name="T30" fmla="*/ 2321 w 3003"/>
                <a:gd name="T31" fmla="*/ 3134 h 4320"/>
                <a:gd name="T32" fmla="*/ 1139 w 3003"/>
                <a:gd name="T33" fmla="*/ 4320 h 4320"/>
                <a:gd name="T34" fmla="*/ 2027 w 3003"/>
                <a:gd name="T35" fmla="*/ 4320 h 4320"/>
                <a:gd name="T36" fmla="*/ 2979 w 3003"/>
                <a:gd name="T37" fmla="*/ 312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03" h="4320">
                  <a:moveTo>
                    <a:pt x="2979" y="3126"/>
                  </a:moveTo>
                  <a:cubicBezTo>
                    <a:pt x="2979" y="2796"/>
                    <a:pt x="2839" y="2562"/>
                    <a:pt x="2546" y="2437"/>
                  </a:cubicBezTo>
                  <a:cubicBezTo>
                    <a:pt x="2708" y="2297"/>
                    <a:pt x="2852" y="2100"/>
                    <a:pt x="3003" y="1850"/>
                  </a:cubicBezTo>
                  <a:cubicBezTo>
                    <a:pt x="2778" y="1690"/>
                    <a:pt x="2778" y="1690"/>
                    <a:pt x="2778" y="1690"/>
                  </a:cubicBezTo>
                  <a:cubicBezTo>
                    <a:pt x="2538" y="2003"/>
                    <a:pt x="2353" y="2195"/>
                    <a:pt x="2137" y="2195"/>
                  </a:cubicBezTo>
                  <a:cubicBezTo>
                    <a:pt x="1912" y="2195"/>
                    <a:pt x="1744" y="2075"/>
                    <a:pt x="1575" y="1682"/>
                  </a:cubicBezTo>
                  <a:cubicBezTo>
                    <a:pt x="1262" y="968"/>
                    <a:pt x="1262" y="968"/>
                    <a:pt x="1262" y="968"/>
                  </a:cubicBezTo>
                  <a:cubicBezTo>
                    <a:pt x="1772" y="759"/>
                    <a:pt x="2314" y="448"/>
                    <a:pt x="2540" y="0"/>
                  </a:cubicBezTo>
                  <a:cubicBezTo>
                    <a:pt x="1897" y="0"/>
                    <a:pt x="1897" y="0"/>
                    <a:pt x="1897" y="0"/>
                  </a:cubicBezTo>
                  <a:cubicBezTo>
                    <a:pt x="1698" y="356"/>
                    <a:pt x="1202" y="651"/>
                    <a:pt x="564" y="872"/>
                  </a:cubicBezTo>
                  <a:cubicBezTo>
                    <a:pt x="1054" y="2027"/>
                    <a:pt x="1054" y="2027"/>
                    <a:pt x="1054" y="2027"/>
                  </a:cubicBezTo>
                  <a:cubicBezTo>
                    <a:pt x="1126" y="2198"/>
                    <a:pt x="1200" y="2329"/>
                    <a:pt x="1284" y="2426"/>
                  </a:cubicBezTo>
                  <a:cubicBezTo>
                    <a:pt x="491" y="2686"/>
                    <a:pt x="104" y="3451"/>
                    <a:pt x="0" y="4320"/>
                  </a:cubicBezTo>
                  <a:cubicBezTo>
                    <a:pt x="649" y="4320"/>
                    <a:pt x="649" y="4320"/>
                    <a:pt x="649" y="4320"/>
                  </a:cubicBezTo>
                  <a:cubicBezTo>
                    <a:pt x="752" y="3569"/>
                    <a:pt x="1054" y="2677"/>
                    <a:pt x="1896" y="2677"/>
                  </a:cubicBezTo>
                  <a:cubicBezTo>
                    <a:pt x="2241" y="2677"/>
                    <a:pt x="2321" y="2877"/>
                    <a:pt x="2321" y="3134"/>
                  </a:cubicBezTo>
                  <a:cubicBezTo>
                    <a:pt x="2321" y="3618"/>
                    <a:pt x="1938" y="4012"/>
                    <a:pt x="1139" y="4320"/>
                  </a:cubicBezTo>
                  <a:cubicBezTo>
                    <a:pt x="2027" y="4320"/>
                    <a:pt x="2027" y="4320"/>
                    <a:pt x="2027" y="4320"/>
                  </a:cubicBezTo>
                  <a:cubicBezTo>
                    <a:pt x="2605" y="4003"/>
                    <a:pt x="2979" y="3593"/>
                    <a:pt x="2979" y="3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6"/>
            <p:cNvSpPr>
              <a:spLocks/>
            </p:cNvSpPr>
            <p:nvPr userDrawn="1"/>
          </p:nvSpPr>
          <p:spPr bwMode="auto">
            <a:xfrm>
              <a:off x="1" y="0"/>
              <a:ext cx="1451" cy="1353"/>
            </a:xfrm>
            <a:custGeom>
              <a:avLst/>
              <a:gdLst>
                <a:gd name="T0" fmla="*/ 1451 w 1451"/>
                <a:gd name="T1" fmla="*/ 527 h 1353"/>
                <a:gd name="T2" fmla="*/ 1227 w 1451"/>
                <a:gd name="T3" fmla="*/ 367 h 1353"/>
                <a:gd name="T4" fmla="*/ 585 w 1451"/>
                <a:gd name="T5" fmla="*/ 872 h 1353"/>
                <a:gd name="T6" fmla="*/ 424 w 1451"/>
                <a:gd name="T7" fmla="*/ 287 h 1353"/>
                <a:gd name="T8" fmla="*/ 473 w 1451"/>
                <a:gd name="T9" fmla="*/ 0 h 1353"/>
                <a:gd name="T10" fmla="*/ 0 w 1451"/>
                <a:gd name="T11" fmla="*/ 0 h 1353"/>
                <a:gd name="T12" fmla="*/ 0 w 1451"/>
                <a:gd name="T13" fmla="*/ 1254 h 1353"/>
                <a:gd name="T14" fmla="*/ 344 w 1451"/>
                <a:gd name="T15" fmla="*/ 1353 h 1353"/>
                <a:gd name="T16" fmla="*/ 1451 w 1451"/>
                <a:gd name="T17" fmla="*/ 527 h 1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1" h="1353">
                  <a:moveTo>
                    <a:pt x="1451" y="527"/>
                  </a:moveTo>
                  <a:cubicBezTo>
                    <a:pt x="1227" y="367"/>
                    <a:pt x="1227" y="367"/>
                    <a:pt x="1227" y="367"/>
                  </a:cubicBezTo>
                  <a:cubicBezTo>
                    <a:pt x="986" y="680"/>
                    <a:pt x="801" y="872"/>
                    <a:pt x="585" y="872"/>
                  </a:cubicBezTo>
                  <a:cubicBezTo>
                    <a:pt x="384" y="872"/>
                    <a:pt x="344" y="760"/>
                    <a:pt x="424" y="287"/>
                  </a:cubicBezTo>
                  <a:cubicBezTo>
                    <a:pt x="473" y="0"/>
                    <a:pt x="473" y="0"/>
                    <a:pt x="473" y="0"/>
                  </a:cubicBezTo>
                  <a:cubicBezTo>
                    <a:pt x="0" y="0"/>
                    <a:pt x="0" y="0"/>
                    <a:pt x="0" y="0"/>
                  </a:cubicBezTo>
                  <a:cubicBezTo>
                    <a:pt x="0" y="1254"/>
                    <a:pt x="0" y="1254"/>
                    <a:pt x="0" y="1254"/>
                  </a:cubicBezTo>
                  <a:cubicBezTo>
                    <a:pt x="81" y="1318"/>
                    <a:pt x="194" y="1353"/>
                    <a:pt x="344" y="1353"/>
                  </a:cubicBezTo>
                  <a:cubicBezTo>
                    <a:pt x="842" y="1353"/>
                    <a:pt x="1130" y="1057"/>
                    <a:pt x="1451" y="5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7"/>
            <p:cNvSpPr>
              <a:spLocks/>
            </p:cNvSpPr>
            <p:nvPr userDrawn="1"/>
          </p:nvSpPr>
          <p:spPr bwMode="auto">
            <a:xfrm>
              <a:off x="1" y="0"/>
              <a:ext cx="2600" cy="4320"/>
            </a:xfrm>
            <a:custGeom>
              <a:avLst/>
              <a:gdLst>
                <a:gd name="T0" fmla="*/ 363 w 2601"/>
                <a:gd name="T1" fmla="*/ 2850 h 4320"/>
                <a:gd name="T2" fmla="*/ 932 w 2601"/>
                <a:gd name="T3" fmla="*/ 2297 h 4320"/>
                <a:gd name="T4" fmla="*/ 1526 w 2601"/>
                <a:gd name="T5" fmla="*/ 2978 h 4320"/>
                <a:gd name="T6" fmla="*/ 1790 w 2601"/>
                <a:gd name="T7" fmla="*/ 2938 h 4320"/>
                <a:gd name="T8" fmla="*/ 2025 w 2601"/>
                <a:gd name="T9" fmla="*/ 2604 h 4320"/>
                <a:gd name="T10" fmla="*/ 2321 w 2601"/>
                <a:gd name="T11" fmla="*/ 776 h 4320"/>
                <a:gd name="T12" fmla="*/ 2601 w 2601"/>
                <a:gd name="T13" fmla="*/ 0 h 4320"/>
                <a:gd name="T14" fmla="*/ 1868 w 2601"/>
                <a:gd name="T15" fmla="*/ 0 h 4320"/>
                <a:gd name="T16" fmla="*/ 1540 w 2601"/>
                <a:gd name="T17" fmla="*/ 1994 h 4320"/>
                <a:gd name="T18" fmla="*/ 1020 w 2601"/>
                <a:gd name="T19" fmla="*/ 1928 h 4320"/>
                <a:gd name="T20" fmla="*/ 0 w 2601"/>
                <a:gd name="T21" fmla="*/ 2418 h 4320"/>
                <a:gd name="T22" fmla="*/ 0 w 2601"/>
                <a:gd name="T23" fmla="*/ 3576 h 4320"/>
                <a:gd name="T24" fmla="*/ 990 w 2601"/>
                <a:gd name="T25" fmla="*/ 4320 h 4320"/>
                <a:gd name="T26" fmla="*/ 1740 w 2601"/>
                <a:gd name="T27" fmla="*/ 4320 h 4320"/>
                <a:gd name="T28" fmla="*/ 363 w 2601"/>
                <a:gd name="T29" fmla="*/ 2850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1" h="4320">
                  <a:moveTo>
                    <a:pt x="363" y="2850"/>
                  </a:moveTo>
                  <a:cubicBezTo>
                    <a:pt x="363" y="2601"/>
                    <a:pt x="531" y="2297"/>
                    <a:pt x="932" y="2297"/>
                  </a:cubicBezTo>
                  <a:cubicBezTo>
                    <a:pt x="1293" y="2297"/>
                    <a:pt x="1526" y="2505"/>
                    <a:pt x="1526" y="2978"/>
                  </a:cubicBezTo>
                  <a:cubicBezTo>
                    <a:pt x="1790" y="2938"/>
                    <a:pt x="1790" y="2938"/>
                    <a:pt x="1790" y="2938"/>
                  </a:cubicBezTo>
                  <a:cubicBezTo>
                    <a:pt x="1894" y="2883"/>
                    <a:pt x="1999" y="2761"/>
                    <a:pt x="2025" y="2604"/>
                  </a:cubicBezTo>
                  <a:cubicBezTo>
                    <a:pt x="2321" y="776"/>
                    <a:pt x="2321" y="776"/>
                    <a:pt x="2321" y="776"/>
                  </a:cubicBezTo>
                  <a:cubicBezTo>
                    <a:pt x="2368" y="491"/>
                    <a:pt x="2465" y="226"/>
                    <a:pt x="2601" y="0"/>
                  </a:cubicBezTo>
                  <a:cubicBezTo>
                    <a:pt x="1868" y="0"/>
                    <a:pt x="1868" y="0"/>
                    <a:pt x="1868" y="0"/>
                  </a:cubicBezTo>
                  <a:cubicBezTo>
                    <a:pt x="1540" y="1994"/>
                    <a:pt x="1540" y="1994"/>
                    <a:pt x="1540" y="1994"/>
                  </a:cubicBezTo>
                  <a:cubicBezTo>
                    <a:pt x="1393" y="1950"/>
                    <a:pt x="1217" y="1928"/>
                    <a:pt x="1020" y="1928"/>
                  </a:cubicBezTo>
                  <a:cubicBezTo>
                    <a:pt x="529" y="1928"/>
                    <a:pt x="189" y="2127"/>
                    <a:pt x="0" y="2418"/>
                  </a:cubicBezTo>
                  <a:cubicBezTo>
                    <a:pt x="0" y="3576"/>
                    <a:pt x="0" y="3576"/>
                    <a:pt x="0" y="3576"/>
                  </a:cubicBezTo>
                  <a:cubicBezTo>
                    <a:pt x="251" y="3907"/>
                    <a:pt x="714" y="4057"/>
                    <a:pt x="990" y="4320"/>
                  </a:cubicBezTo>
                  <a:cubicBezTo>
                    <a:pt x="1740" y="4320"/>
                    <a:pt x="1740" y="4320"/>
                    <a:pt x="1740" y="4320"/>
                  </a:cubicBezTo>
                  <a:cubicBezTo>
                    <a:pt x="1472" y="3647"/>
                    <a:pt x="363" y="3506"/>
                    <a:pt x="363" y="28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8"/>
            <p:cNvSpPr>
              <a:spLocks/>
            </p:cNvSpPr>
            <p:nvPr userDrawn="1"/>
          </p:nvSpPr>
          <p:spPr bwMode="auto">
            <a:xfrm>
              <a:off x="5259" y="0"/>
              <a:ext cx="2420" cy="4320"/>
            </a:xfrm>
            <a:custGeom>
              <a:avLst/>
              <a:gdLst>
                <a:gd name="T0" fmla="*/ 2303 w 2421"/>
                <a:gd name="T1" fmla="*/ 0 h 4320"/>
                <a:gd name="T2" fmla="*/ 658 w 2421"/>
                <a:gd name="T3" fmla="*/ 1073 h 4320"/>
                <a:gd name="T4" fmla="*/ 920 w 2421"/>
                <a:gd name="T5" fmla="*/ 0 h 4320"/>
                <a:gd name="T6" fmla="*/ 268 w 2421"/>
                <a:gd name="T7" fmla="*/ 0 h 4320"/>
                <a:gd name="T8" fmla="*/ 0 w 2421"/>
                <a:gd name="T9" fmla="*/ 1410 h 4320"/>
                <a:gd name="T10" fmla="*/ 656 w 2421"/>
                <a:gd name="T11" fmla="*/ 2690 h 4320"/>
                <a:gd name="T12" fmla="*/ 270 w 2421"/>
                <a:gd name="T13" fmla="*/ 3541 h 4320"/>
                <a:gd name="T14" fmla="*/ 692 w 2421"/>
                <a:gd name="T15" fmla="*/ 4320 h 4320"/>
                <a:gd name="T16" fmla="*/ 1749 w 2421"/>
                <a:gd name="T17" fmla="*/ 4320 h 4320"/>
                <a:gd name="T18" fmla="*/ 808 w 2421"/>
                <a:gd name="T19" fmla="*/ 3356 h 4320"/>
                <a:gd name="T20" fmla="*/ 1377 w 2421"/>
                <a:gd name="T21" fmla="*/ 2803 h 4320"/>
                <a:gd name="T22" fmla="*/ 1971 w 2421"/>
                <a:gd name="T23" fmla="*/ 3484 h 4320"/>
                <a:gd name="T24" fmla="*/ 2236 w 2421"/>
                <a:gd name="T25" fmla="*/ 3444 h 4320"/>
                <a:gd name="T26" fmla="*/ 2421 w 2421"/>
                <a:gd name="T27" fmla="*/ 3254 h 4320"/>
                <a:gd name="T28" fmla="*/ 2421 w 2421"/>
                <a:gd name="T29" fmla="*/ 2808 h 4320"/>
                <a:gd name="T30" fmla="*/ 2145 w 2421"/>
                <a:gd name="T31" fmla="*/ 2561 h 4320"/>
                <a:gd name="T32" fmla="*/ 2421 w 2421"/>
                <a:gd name="T33" fmla="*/ 2333 h 4320"/>
                <a:gd name="T34" fmla="*/ 2421 w 2421"/>
                <a:gd name="T35" fmla="*/ 1869 h 4320"/>
                <a:gd name="T36" fmla="*/ 1404 w 2421"/>
                <a:gd name="T37" fmla="*/ 2332 h 4320"/>
                <a:gd name="T38" fmla="*/ 642 w 2421"/>
                <a:gd name="T39" fmla="*/ 1410 h 4320"/>
                <a:gd name="T40" fmla="*/ 2421 w 2421"/>
                <a:gd name="T41" fmla="*/ 670 h 4320"/>
                <a:gd name="T42" fmla="*/ 2421 w 2421"/>
                <a:gd name="T43" fmla="*/ 0 h 4320"/>
                <a:gd name="T44" fmla="*/ 2303 w 2421"/>
                <a:gd name="T45" fmla="*/ 0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21" h="4320">
                  <a:moveTo>
                    <a:pt x="2303" y="0"/>
                  </a:moveTo>
                  <a:cubicBezTo>
                    <a:pt x="2148" y="444"/>
                    <a:pt x="1610" y="800"/>
                    <a:pt x="658" y="1073"/>
                  </a:cubicBezTo>
                  <a:cubicBezTo>
                    <a:pt x="694" y="728"/>
                    <a:pt x="768" y="333"/>
                    <a:pt x="920" y="0"/>
                  </a:cubicBezTo>
                  <a:cubicBezTo>
                    <a:pt x="268" y="0"/>
                    <a:pt x="268" y="0"/>
                    <a:pt x="268" y="0"/>
                  </a:cubicBezTo>
                  <a:cubicBezTo>
                    <a:pt x="82" y="414"/>
                    <a:pt x="0" y="907"/>
                    <a:pt x="0" y="1410"/>
                  </a:cubicBezTo>
                  <a:cubicBezTo>
                    <a:pt x="0" y="2100"/>
                    <a:pt x="240" y="2507"/>
                    <a:pt x="656" y="2690"/>
                  </a:cubicBezTo>
                  <a:cubicBezTo>
                    <a:pt x="399" y="2897"/>
                    <a:pt x="270" y="3209"/>
                    <a:pt x="270" y="3541"/>
                  </a:cubicBezTo>
                  <a:cubicBezTo>
                    <a:pt x="270" y="3916"/>
                    <a:pt x="456" y="4143"/>
                    <a:pt x="692" y="4320"/>
                  </a:cubicBezTo>
                  <a:cubicBezTo>
                    <a:pt x="1749" y="4320"/>
                    <a:pt x="1749" y="4320"/>
                    <a:pt x="1749" y="4320"/>
                  </a:cubicBezTo>
                  <a:cubicBezTo>
                    <a:pt x="1333" y="4015"/>
                    <a:pt x="808" y="3807"/>
                    <a:pt x="808" y="3356"/>
                  </a:cubicBezTo>
                  <a:cubicBezTo>
                    <a:pt x="808" y="3107"/>
                    <a:pt x="976" y="2803"/>
                    <a:pt x="1377" y="2803"/>
                  </a:cubicBezTo>
                  <a:cubicBezTo>
                    <a:pt x="1738" y="2803"/>
                    <a:pt x="1971" y="3011"/>
                    <a:pt x="1971" y="3484"/>
                  </a:cubicBezTo>
                  <a:cubicBezTo>
                    <a:pt x="2236" y="3444"/>
                    <a:pt x="2236" y="3444"/>
                    <a:pt x="2236" y="3444"/>
                  </a:cubicBezTo>
                  <a:cubicBezTo>
                    <a:pt x="2305" y="3407"/>
                    <a:pt x="2375" y="3340"/>
                    <a:pt x="2421" y="3254"/>
                  </a:cubicBezTo>
                  <a:cubicBezTo>
                    <a:pt x="2421" y="2808"/>
                    <a:pt x="2421" y="2808"/>
                    <a:pt x="2421" y="2808"/>
                  </a:cubicBezTo>
                  <a:cubicBezTo>
                    <a:pt x="2366" y="2706"/>
                    <a:pt x="2272" y="2623"/>
                    <a:pt x="2145" y="2561"/>
                  </a:cubicBezTo>
                  <a:cubicBezTo>
                    <a:pt x="2248" y="2495"/>
                    <a:pt x="2339" y="2418"/>
                    <a:pt x="2421" y="2333"/>
                  </a:cubicBezTo>
                  <a:cubicBezTo>
                    <a:pt x="2421" y="1869"/>
                    <a:pt x="2421" y="1869"/>
                    <a:pt x="2421" y="1869"/>
                  </a:cubicBezTo>
                  <a:cubicBezTo>
                    <a:pt x="2165" y="2166"/>
                    <a:pt x="1799" y="2332"/>
                    <a:pt x="1404" y="2332"/>
                  </a:cubicBezTo>
                  <a:cubicBezTo>
                    <a:pt x="923" y="2332"/>
                    <a:pt x="642" y="2115"/>
                    <a:pt x="642" y="1410"/>
                  </a:cubicBezTo>
                  <a:cubicBezTo>
                    <a:pt x="1351" y="1253"/>
                    <a:pt x="1987" y="997"/>
                    <a:pt x="2421" y="670"/>
                  </a:cubicBezTo>
                  <a:cubicBezTo>
                    <a:pt x="2421" y="0"/>
                    <a:pt x="2421" y="0"/>
                    <a:pt x="2421" y="0"/>
                  </a:cubicBezTo>
                  <a:lnTo>
                    <a:pt x="230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placeholder 1"/>
          <p:cNvSpPr>
            <a:spLocks noGrp="1"/>
          </p:cNvSpPr>
          <p:nvPr>
            <p:ph type="ctrTitle" hasCustomPrompt="1"/>
          </p:nvPr>
        </p:nvSpPr>
        <p:spPr>
          <a:xfrm>
            <a:off x="431800" y="4074530"/>
            <a:ext cx="11340000" cy="900000"/>
          </a:xfrm>
          <a:prstGeom prst="rect">
            <a:avLst/>
          </a:prstGeom>
        </p:spPr>
        <p:txBody>
          <a:bodyPr wrap="square" anchor="b" anchorCtr="0">
            <a:noAutofit/>
          </a:bodyPr>
          <a:lstStyle>
            <a:lvl1pPr algn="l">
              <a:lnSpc>
                <a:spcPct val="90000"/>
              </a:lnSpc>
              <a:defRPr sz="3200">
                <a:solidFill>
                  <a:schemeClr val="tx2"/>
                </a:solidFill>
              </a:defRPr>
            </a:lvl1pPr>
          </a:lstStyle>
          <a:p>
            <a:r>
              <a:rPr lang="en-GB" dirty="0" smtClean="0"/>
              <a:t>Click to add presentation title – subtitle </a:t>
            </a:r>
            <a:br>
              <a:rPr lang="en-GB" dirty="0" smtClean="0"/>
            </a:br>
            <a:r>
              <a:rPr lang="en-GB" dirty="0" smtClean="0"/>
              <a:t>– max. two lines</a:t>
            </a:r>
            <a:endParaRPr lang="en-GB" dirty="0"/>
          </a:p>
        </p:txBody>
      </p:sp>
      <p:sp>
        <p:nvSpPr>
          <p:cNvPr id="3" name="SUBTITLE placeholder 1"/>
          <p:cNvSpPr>
            <a:spLocks noGrp="1"/>
          </p:cNvSpPr>
          <p:nvPr>
            <p:ph type="subTitle" idx="1" hasCustomPrompt="1"/>
          </p:nvPr>
        </p:nvSpPr>
        <p:spPr>
          <a:xfrm>
            <a:off x="431800" y="5077820"/>
            <a:ext cx="11340000" cy="184666"/>
          </a:xfrm>
          <a:prstGeom prst="rect">
            <a:avLst/>
          </a:prstGeom>
        </p:spPr>
        <p:txBody>
          <a:bodyPr anchor="t" anchorCtr="0">
            <a:noAutofit/>
          </a:bodyPr>
          <a:lstStyle>
            <a:lvl1pPr marL="0" indent="0" algn="l">
              <a:spcAft>
                <a:spcPts val="0"/>
              </a:spcAft>
              <a:buNone/>
              <a:defRPr sz="1200" baseline="0">
                <a:solidFill>
                  <a:schemeClr val="tx2"/>
                </a:solidFill>
                <a:latin typeface="Danske Text v2" panose="020B0503040502040204" pitchFamily="34" charset="0"/>
                <a:sym typeface="Danske Text v2" panose="020B0503040502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Click to add document type / audience / date [</a:t>
            </a:r>
            <a:r>
              <a:rPr lang="en-GB" dirty="0" err="1" smtClean="0"/>
              <a:t>dd</a:t>
            </a:r>
            <a:r>
              <a:rPr lang="en-GB" dirty="0" smtClean="0"/>
              <a:t> </a:t>
            </a:r>
            <a:r>
              <a:rPr lang="en-GB" dirty="0" err="1" smtClean="0"/>
              <a:t>mmmm</a:t>
            </a:r>
            <a:r>
              <a:rPr lang="en-GB" dirty="0" smtClean="0"/>
              <a:t> </a:t>
            </a:r>
            <a:r>
              <a:rPr lang="en-GB" dirty="0" err="1" smtClean="0"/>
              <a:t>yyyy</a:t>
            </a:r>
            <a:r>
              <a:rPr lang="en-GB" dirty="0" smtClean="0"/>
              <a:t>]</a:t>
            </a:r>
          </a:p>
        </p:txBody>
      </p:sp>
      <p:pic>
        <p:nvPicPr>
          <p:cNvPr id="4"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125484" y="253007"/>
            <a:ext cx="1646316" cy="248400"/>
          </a:xfrm>
          <a:prstGeom prst="rect">
            <a:avLst/>
          </a:prstGeom>
        </p:spPr>
      </p:pic>
    </p:spTree>
    <p:extLst>
      <p:ext uri="{BB962C8B-B14F-4D97-AF65-F5344CB8AC3E}">
        <p14:creationId xmlns:p14="http://schemas.microsoft.com/office/powerpoint/2010/main" val="108655309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567">
          <p15:clr>
            <a:srgbClr val="F26B43"/>
          </p15:clr>
        </p15:guide>
        <p15:guide id="2" orient="horz" pos="3198">
          <p15:clr>
            <a:srgbClr val="F26B43"/>
          </p15:clr>
        </p15:guide>
        <p15:guide id="3" orient="horz" pos="3135">
          <p15:clr>
            <a:srgbClr val="F26B43"/>
          </p15:clr>
        </p15:guide>
        <p15:guide id="4" orient="horz" pos="3315">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t;&gt;&gt;Do not use layouts after this">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843439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66"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Do not use"/>
          <p:cNvSpPr txBox="1"/>
          <p:nvPr userDrawn="1"/>
        </p:nvSpPr>
        <p:spPr>
          <a:xfrm>
            <a:off x="1627863" y="2099405"/>
            <a:ext cx="8936275" cy="2659190"/>
          </a:xfrm>
          <a:prstGeom prst="rect">
            <a:avLst/>
          </a:prstGeom>
          <a:noFill/>
        </p:spPr>
        <p:txBody>
          <a:bodyPr wrap="square" lIns="0" tIns="0" rIns="0" bIns="0" rtlCol="0">
            <a:spAutoFit/>
          </a:bodyPr>
          <a:lstStyle/>
          <a:p>
            <a:pPr marL="0" marR="0" indent="0" fontAlgn="auto">
              <a:lnSpc>
                <a:spcPct val="120000"/>
              </a:lnSpc>
              <a:spcBef>
                <a:spcPts val="600"/>
              </a:spcBef>
              <a:spcAft>
                <a:spcPts val="0"/>
              </a:spcAft>
              <a:buClr>
                <a:srgbClr val="003755"/>
              </a:buClr>
              <a:buSzTx/>
              <a:buFontTx/>
              <a:buNone/>
              <a:tabLst/>
            </a:pPr>
            <a:r>
              <a:rPr lang="en-US" sz="3600" b="1" noProof="0" dirty="0" smtClean="0">
                <a:solidFill>
                  <a:schemeClr val="bg1"/>
                </a:solidFill>
              </a:rPr>
              <a:t>If you see any layouts after this, </a:t>
            </a:r>
            <a:r>
              <a:rPr lang="en-US" sz="3600" b="1" noProof="0" dirty="0" smtClean="0">
                <a:solidFill>
                  <a:srgbClr val="E65A6D"/>
                </a:solidFill>
              </a:rPr>
              <a:t>DO NOT </a:t>
            </a:r>
            <a:br>
              <a:rPr lang="en-US" sz="3600" b="1" noProof="0" dirty="0" smtClean="0">
                <a:solidFill>
                  <a:srgbClr val="E65A6D"/>
                </a:solidFill>
              </a:rPr>
            </a:br>
            <a:r>
              <a:rPr lang="en-US" sz="3600" b="1" noProof="0" dirty="0" smtClean="0">
                <a:solidFill>
                  <a:schemeClr val="bg1"/>
                </a:solidFill>
              </a:rPr>
              <a:t>use these. The layouts have been copied from other templates at some point and are not part of Danske Bank’s official template.</a:t>
            </a:r>
            <a:endParaRPr lang="en-GB" sz="3600" baseline="0" noProof="0" dirty="0" smtClean="0">
              <a:solidFill>
                <a:schemeClr val="bg1"/>
              </a:solidFill>
            </a:endParaRPr>
          </a:p>
        </p:txBody>
      </p:sp>
    </p:spTree>
    <p:extLst>
      <p:ext uri="{BB962C8B-B14F-4D97-AF65-F5344CB8AC3E}">
        <p14:creationId xmlns:p14="http://schemas.microsoft.com/office/powerpoint/2010/main" val="320042040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_Chapter header">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50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Date Placeholder 3"/>
          <p:cNvSpPr>
            <a:spLocks noGrp="1"/>
          </p:cNvSpPr>
          <p:nvPr>
            <p:ph type="dt" sz="half" idx="10"/>
          </p:nvPr>
        </p:nvSpPr>
        <p:spPr>
          <a:xfrm>
            <a:off x="470400" y="7019334"/>
            <a:ext cx="2743200" cy="123111"/>
          </a:xfrm>
        </p:spPr>
        <p:txBody>
          <a:bodyPr/>
          <a:lstStyle/>
          <a:p>
            <a:fld id="{A960169C-9E24-485A-B7A8-19D9A23B43F5}" type="datetime1">
              <a:rPr lang="en-GB" smtClean="0">
                <a:solidFill>
                  <a:srgbClr val="000000"/>
                </a:solidFill>
              </a:rPr>
              <a:pPr/>
              <a:t>26/08/2020</a:t>
            </a:fld>
            <a:endParaRPr lang="en-GB" dirty="0">
              <a:solidFill>
                <a:srgbClr val="000000"/>
              </a:solidFill>
            </a:endParaRPr>
          </a:p>
        </p:txBody>
      </p:sp>
      <p:sp>
        <p:nvSpPr>
          <p:cNvPr id="17" name="Content Placeholder 2"/>
          <p:cNvSpPr>
            <a:spLocks noGrp="1"/>
          </p:cNvSpPr>
          <p:nvPr>
            <p:ph sz="quarter" idx="17"/>
          </p:nvPr>
        </p:nvSpPr>
        <p:spPr>
          <a:xfrm>
            <a:off x="432001" y="1795463"/>
            <a:ext cx="11333163" cy="47656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HEADING placeholder 1"/>
          <p:cNvSpPr>
            <a:spLocks noGrp="1"/>
          </p:cNvSpPr>
          <p:nvPr>
            <p:ph type="body" sz="quarter" idx="50" hasCustomPrompt="1"/>
          </p:nvPr>
        </p:nvSpPr>
        <p:spPr>
          <a:xfrm>
            <a:off x="432001" y="1523557"/>
            <a:ext cx="11333163" cy="246221"/>
          </a:xfrm>
          <a:noFill/>
        </p:spPr>
        <p:txBody>
          <a:bodyPr wrap="square" bIns="0" anchor="b">
            <a:noAutofit/>
          </a:bodyPr>
          <a:lstStyle>
            <a:lvl1pPr marL="0" indent="0">
              <a:lnSpc>
                <a:spcPct val="100000"/>
              </a:lnSpc>
              <a:spcBef>
                <a:spcPts val="0"/>
              </a:spcBef>
              <a:buFontTx/>
              <a:buNone/>
              <a:defRPr sz="1600" b="1" baseline="0">
                <a:solidFill>
                  <a:srgbClr val="003755"/>
                </a:solidFill>
                <a:latin typeface="Danske Text" panose="00000400000000000000" pitchFamily="2" charset="0"/>
              </a:defRPr>
            </a:lvl1pPr>
          </a:lstStyle>
          <a:p>
            <a:pPr lvl="0"/>
            <a:r>
              <a:rPr lang="en-GB" dirty="0" smtClean="0"/>
              <a:t>Click to add Description (max 1 line)</a:t>
            </a:r>
            <a:endParaRPr lang="en-US" dirty="0" smtClean="0"/>
          </a:p>
        </p:txBody>
      </p:sp>
      <p:sp>
        <p:nvSpPr>
          <p:cNvPr id="22" name="Text Placeholder 15"/>
          <p:cNvSpPr>
            <a:spLocks noGrp="1"/>
          </p:cNvSpPr>
          <p:nvPr>
            <p:ph type="body" sz="quarter" idx="15" hasCustomPrompt="1"/>
          </p:nvPr>
        </p:nvSpPr>
        <p:spPr>
          <a:xfrm>
            <a:off x="432000" y="6637710"/>
            <a:ext cx="10942944" cy="123111"/>
          </a:xfrm>
        </p:spPr>
        <p:txBody>
          <a:bodyPr wrap="square" anchor="b" anchorCtr="0">
            <a:spAutoFit/>
          </a:bodyPr>
          <a:lstStyle>
            <a:lvl1pPr marL="0" indent="0">
              <a:buNone/>
              <a:defRPr sz="800"/>
            </a:lvl1pPr>
            <a:lvl2pPr marL="177800" indent="0">
              <a:buNone/>
              <a:defRPr sz="800"/>
            </a:lvl2pPr>
            <a:lvl3pPr marL="357188" indent="0">
              <a:buNone/>
              <a:defRPr sz="800"/>
            </a:lvl3pPr>
            <a:lvl4pPr marL="534987" indent="0">
              <a:buNone/>
              <a:defRPr sz="800"/>
            </a:lvl4pPr>
            <a:lvl5pPr marL="714375" indent="0">
              <a:buNone/>
              <a:defRPr sz="800"/>
            </a:lvl5pPr>
          </a:lstStyle>
          <a:p>
            <a:pPr lvl="0"/>
            <a:r>
              <a:rPr lang="en-GB" dirty="0" smtClean="0"/>
              <a:t>Click to add source</a:t>
            </a:r>
            <a:endParaRPr lang="en-GB" dirty="0"/>
          </a:p>
        </p:txBody>
      </p:sp>
      <p:pic>
        <p:nvPicPr>
          <p:cNvPr id="14" name="Picture 1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450909" y="250748"/>
            <a:ext cx="1313691" cy="198120"/>
          </a:xfrm>
          <a:prstGeom prst="rect">
            <a:avLst/>
          </a:prstGeom>
        </p:spPr>
      </p:pic>
      <p:sp>
        <p:nvSpPr>
          <p:cNvPr id="16" name="Footer Placeholder 4"/>
          <p:cNvSpPr>
            <a:spLocks noGrp="1"/>
          </p:cNvSpPr>
          <p:nvPr>
            <p:ph type="ftr" sz="quarter" idx="11"/>
          </p:nvPr>
        </p:nvSpPr>
        <p:spPr>
          <a:xfrm>
            <a:off x="7649800" y="53851"/>
            <a:ext cx="4114800" cy="123111"/>
          </a:xfrm>
        </p:spPr>
        <p:txBody>
          <a:bodyPr/>
          <a:lstStyle/>
          <a:p>
            <a:endParaRPr lang="en-GB" dirty="0">
              <a:solidFill>
                <a:srgbClr val="000000"/>
              </a:solidFill>
            </a:endParaRPr>
          </a:p>
        </p:txBody>
      </p:sp>
      <p:sp>
        <p:nvSpPr>
          <p:cNvPr id="21" name="Title 6"/>
          <p:cNvSpPr>
            <a:spLocks noGrp="1"/>
          </p:cNvSpPr>
          <p:nvPr>
            <p:ph type="title" hasCustomPrompt="1"/>
          </p:nvPr>
        </p:nvSpPr>
        <p:spPr>
          <a:xfrm>
            <a:off x="432182" y="728663"/>
            <a:ext cx="10357738" cy="332399"/>
          </a:xfrm>
        </p:spPr>
        <p:txBody>
          <a:bodyPr wrap="square">
            <a:spAutoFit/>
          </a:bodyPr>
          <a:lstStyle>
            <a:lvl1pPr>
              <a:defRPr>
                <a:solidFill>
                  <a:schemeClr val="accent1"/>
                </a:solidFill>
              </a:defRPr>
            </a:lvl1pPr>
          </a:lstStyle>
          <a:p>
            <a:r>
              <a:rPr lang="en-GB" dirty="0" smtClean="0"/>
              <a:t>Click to add Slide Title – increase font size for large audience – max. two lines</a:t>
            </a:r>
            <a:endParaRPr lang="en-GB" dirty="0"/>
          </a:p>
        </p:txBody>
      </p:sp>
      <p:sp>
        <p:nvSpPr>
          <p:cNvPr id="24" name="Text Placeholder 9"/>
          <p:cNvSpPr>
            <a:spLocks noGrp="1"/>
          </p:cNvSpPr>
          <p:nvPr>
            <p:ph type="body" sz="quarter" idx="13" hasCustomPrompt="1"/>
          </p:nvPr>
        </p:nvSpPr>
        <p:spPr>
          <a:xfrm>
            <a:off x="431800" y="519113"/>
            <a:ext cx="11332800" cy="185621"/>
          </a:xfrm>
        </p:spPr>
        <p:txBody>
          <a:bodyPr/>
          <a:lstStyle>
            <a:lvl1pPr marL="0" indent="0">
              <a:buNone/>
              <a:defRPr sz="1200">
                <a:solidFill>
                  <a:schemeClr val="accent1"/>
                </a:solidFill>
              </a:defRPr>
            </a:lvl1pPr>
          </a:lstStyle>
          <a:p>
            <a:pPr lvl="0"/>
            <a:r>
              <a:rPr lang="en-GB" dirty="0" smtClean="0"/>
              <a:t>Click to add chapter header</a:t>
            </a:r>
            <a:endParaRPr lang="en-GB" dirty="0"/>
          </a:p>
        </p:txBody>
      </p:sp>
      <p:sp>
        <p:nvSpPr>
          <p:cNvPr id="15" name="Slide Number Placeholder 5"/>
          <p:cNvSpPr txBox="1">
            <a:spLocks/>
          </p:cNvSpPr>
          <p:nvPr userDrawn="1"/>
        </p:nvSpPr>
        <p:spPr>
          <a:xfrm>
            <a:off x="11050883" y="6637710"/>
            <a:ext cx="713817" cy="123111"/>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800" smtClean="0">
                <a:solidFill>
                  <a:srgbClr val="000000"/>
                </a:solidFill>
              </a:rPr>
              <a:pPr/>
              <a:t>‹#›</a:t>
            </a:fld>
            <a:endParaRPr lang="en-GB" sz="800" dirty="0">
              <a:solidFill>
                <a:srgbClr val="000000"/>
              </a:solidFill>
            </a:endParaRPr>
          </a:p>
        </p:txBody>
      </p:sp>
    </p:spTree>
    <p:extLst>
      <p:ext uri="{BB962C8B-B14F-4D97-AF65-F5344CB8AC3E}">
        <p14:creationId xmlns:p14="http://schemas.microsoft.com/office/powerpoint/2010/main" val="22513825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5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470400" y="7084605"/>
            <a:ext cx="2743200" cy="123111"/>
          </a:xfrm>
        </p:spPr>
        <p:txBody>
          <a:bodyPr/>
          <a:lstStyle/>
          <a:p>
            <a:fld id="{84F482FB-B023-4CBB-8046-4D830E895C90}" type="datetime1">
              <a:rPr lang="en-GB" smtClean="0">
                <a:solidFill>
                  <a:srgbClr val="000000"/>
                </a:solidFill>
              </a:rPr>
              <a:pPr/>
              <a:t>26/08/2020</a:t>
            </a:fld>
            <a:endParaRPr lang="en-GB" dirty="0">
              <a:solidFill>
                <a:srgbClr val="000000"/>
              </a:solidFill>
            </a:endParaRPr>
          </a:p>
        </p:txBody>
      </p:sp>
      <p:sp>
        <p:nvSpPr>
          <p:cNvPr id="11" name="Title 6"/>
          <p:cNvSpPr>
            <a:spLocks noGrp="1"/>
          </p:cNvSpPr>
          <p:nvPr>
            <p:ph type="title" hasCustomPrompt="1"/>
          </p:nvPr>
        </p:nvSpPr>
        <p:spPr>
          <a:xfrm>
            <a:off x="431900" y="728663"/>
            <a:ext cx="11332800" cy="332399"/>
          </a:xfrm>
        </p:spPr>
        <p:txBody>
          <a:bodyPr wrap="square">
            <a:spAutoFit/>
          </a:bodyPr>
          <a:lstStyle>
            <a:lvl1pPr>
              <a:defRPr>
                <a:solidFill>
                  <a:schemeClr val="accent1"/>
                </a:solidFill>
              </a:defRPr>
            </a:lvl1pPr>
          </a:lstStyle>
          <a:p>
            <a:r>
              <a:rPr lang="en-GB" dirty="0" smtClean="0"/>
              <a:t>Click to add Slide Title – increase font size for large audience – max. two lines</a:t>
            </a:r>
            <a:endParaRPr lang="en-GB" dirty="0"/>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450909" y="250748"/>
            <a:ext cx="1313691" cy="198120"/>
          </a:xfrm>
          <a:prstGeom prst="rect">
            <a:avLst/>
          </a:prstGeom>
        </p:spPr>
      </p:pic>
      <p:sp>
        <p:nvSpPr>
          <p:cNvPr id="13" name="Footer Placeholder 4"/>
          <p:cNvSpPr>
            <a:spLocks noGrp="1"/>
          </p:cNvSpPr>
          <p:nvPr>
            <p:ph type="ftr" sz="quarter" idx="11"/>
          </p:nvPr>
        </p:nvSpPr>
        <p:spPr>
          <a:xfrm>
            <a:off x="7649800" y="53851"/>
            <a:ext cx="4114800" cy="123111"/>
          </a:xfrm>
        </p:spPr>
        <p:txBody>
          <a:bodyPr/>
          <a:lstStyle/>
          <a:p>
            <a:endParaRPr lang="en-GB" dirty="0">
              <a:solidFill>
                <a:srgbClr val="000000"/>
              </a:solidFill>
            </a:endParaRPr>
          </a:p>
        </p:txBody>
      </p:sp>
      <p:sp>
        <p:nvSpPr>
          <p:cNvPr id="7" name="Slide Number Placeholder 5"/>
          <p:cNvSpPr txBox="1">
            <a:spLocks/>
          </p:cNvSpPr>
          <p:nvPr userDrawn="1"/>
        </p:nvSpPr>
        <p:spPr>
          <a:xfrm>
            <a:off x="11050883" y="6637710"/>
            <a:ext cx="713817" cy="123111"/>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800" smtClean="0">
                <a:solidFill>
                  <a:srgbClr val="000000"/>
                </a:solidFill>
              </a:rPr>
              <a:pPr/>
              <a:t>‹#›</a:t>
            </a:fld>
            <a:endParaRPr lang="en-GB" sz="800" dirty="0">
              <a:solidFill>
                <a:srgbClr val="000000"/>
              </a:solidFill>
            </a:endParaRPr>
          </a:p>
        </p:txBody>
      </p:sp>
    </p:spTree>
    <p:extLst>
      <p:ext uri="{BB962C8B-B14F-4D97-AF65-F5344CB8AC3E}">
        <p14:creationId xmlns:p14="http://schemas.microsoft.com/office/powerpoint/2010/main" val="153243822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70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Content Placeholder 2"/>
          <p:cNvSpPr>
            <a:spLocks noGrp="1"/>
          </p:cNvSpPr>
          <p:nvPr>
            <p:ph sz="quarter" idx="17"/>
          </p:nvPr>
        </p:nvSpPr>
        <p:spPr>
          <a:xfrm>
            <a:off x="431900" y="1520824"/>
            <a:ext cx="11332800" cy="504031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Date Placeholder 3"/>
          <p:cNvSpPr>
            <a:spLocks noGrp="1"/>
          </p:cNvSpPr>
          <p:nvPr>
            <p:ph type="dt" sz="half" idx="10"/>
          </p:nvPr>
        </p:nvSpPr>
        <p:spPr>
          <a:xfrm>
            <a:off x="470400" y="7019334"/>
            <a:ext cx="2743200" cy="123111"/>
          </a:xfrm>
        </p:spPr>
        <p:txBody>
          <a:bodyPr/>
          <a:lstStyle/>
          <a:p>
            <a:fld id="{F26DF438-9CC2-4A49-A657-78DE437E5C5C}" type="datetime1">
              <a:rPr lang="en-GB" smtClean="0">
                <a:solidFill>
                  <a:srgbClr val="000000"/>
                </a:solidFill>
              </a:rPr>
              <a:pPr/>
              <a:t>26/08/2020</a:t>
            </a:fld>
            <a:endParaRPr lang="en-GB" dirty="0">
              <a:solidFill>
                <a:srgbClr val="000000"/>
              </a:solidFill>
            </a:endParaRPr>
          </a:p>
        </p:txBody>
      </p:sp>
      <p:sp>
        <p:nvSpPr>
          <p:cNvPr id="18" name="Text Placeholder 9"/>
          <p:cNvSpPr>
            <a:spLocks noGrp="1"/>
          </p:cNvSpPr>
          <p:nvPr>
            <p:ph type="body" sz="quarter" idx="13" hasCustomPrompt="1"/>
          </p:nvPr>
        </p:nvSpPr>
        <p:spPr>
          <a:xfrm>
            <a:off x="431800" y="519113"/>
            <a:ext cx="11332800" cy="185621"/>
          </a:xfrm>
        </p:spPr>
        <p:txBody>
          <a:bodyPr/>
          <a:lstStyle>
            <a:lvl1pPr marL="0" indent="0">
              <a:buNone/>
              <a:defRPr sz="1200">
                <a:solidFill>
                  <a:schemeClr val="accent1"/>
                </a:solidFill>
              </a:defRPr>
            </a:lvl1pPr>
          </a:lstStyle>
          <a:p>
            <a:pPr lvl="0"/>
            <a:r>
              <a:rPr lang="en-GB" dirty="0" smtClean="0"/>
              <a:t>Click to add chapter header</a:t>
            </a:r>
            <a:endParaRPr lang="en-GB" dirty="0"/>
          </a:p>
        </p:txBody>
      </p:sp>
      <p:sp>
        <p:nvSpPr>
          <p:cNvPr id="20" name="Text Placeholder 15"/>
          <p:cNvSpPr>
            <a:spLocks noGrp="1"/>
          </p:cNvSpPr>
          <p:nvPr>
            <p:ph type="body" sz="quarter" idx="15" hasCustomPrompt="1"/>
          </p:nvPr>
        </p:nvSpPr>
        <p:spPr>
          <a:xfrm>
            <a:off x="432000" y="6637710"/>
            <a:ext cx="10942944" cy="123111"/>
          </a:xfrm>
        </p:spPr>
        <p:txBody>
          <a:bodyPr wrap="square" anchor="b" anchorCtr="0">
            <a:spAutoFit/>
          </a:bodyPr>
          <a:lstStyle>
            <a:lvl1pPr marL="0" indent="0">
              <a:buNone/>
              <a:defRPr sz="800"/>
            </a:lvl1pPr>
            <a:lvl2pPr marL="177800" indent="0">
              <a:buNone/>
              <a:defRPr sz="800"/>
            </a:lvl2pPr>
            <a:lvl3pPr marL="357188" indent="0">
              <a:buNone/>
              <a:defRPr sz="800"/>
            </a:lvl3pPr>
            <a:lvl4pPr marL="534987" indent="0">
              <a:buNone/>
              <a:defRPr sz="800"/>
            </a:lvl4pPr>
            <a:lvl5pPr marL="714375" indent="0">
              <a:buNone/>
              <a:defRPr sz="800"/>
            </a:lvl5pPr>
          </a:lstStyle>
          <a:p>
            <a:pPr lvl="0"/>
            <a:r>
              <a:rPr lang="en-GB" dirty="0" smtClean="0"/>
              <a:t>Click to add source</a:t>
            </a:r>
            <a:endParaRPr lang="en-GB" dirty="0"/>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450909" y="250748"/>
            <a:ext cx="1313691" cy="198120"/>
          </a:xfrm>
          <a:prstGeom prst="rect">
            <a:avLst/>
          </a:prstGeom>
        </p:spPr>
      </p:pic>
      <p:sp>
        <p:nvSpPr>
          <p:cNvPr id="17" name="Footer Placeholder 4"/>
          <p:cNvSpPr>
            <a:spLocks noGrp="1"/>
          </p:cNvSpPr>
          <p:nvPr>
            <p:ph type="ftr" sz="quarter" idx="11"/>
          </p:nvPr>
        </p:nvSpPr>
        <p:spPr>
          <a:xfrm>
            <a:off x="7649800" y="53851"/>
            <a:ext cx="4114800" cy="123111"/>
          </a:xfrm>
        </p:spPr>
        <p:txBody>
          <a:bodyPr/>
          <a:lstStyle/>
          <a:p>
            <a:endParaRPr lang="en-GB" dirty="0">
              <a:solidFill>
                <a:srgbClr val="000000"/>
              </a:solidFill>
            </a:endParaRPr>
          </a:p>
        </p:txBody>
      </p:sp>
      <p:sp>
        <p:nvSpPr>
          <p:cNvPr id="19" name="Title 6"/>
          <p:cNvSpPr>
            <a:spLocks noGrp="1"/>
          </p:cNvSpPr>
          <p:nvPr>
            <p:ph type="title" hasCustomPrompt="1"/>
          </p:nvPr>
        </p:nvSpPr>
        <p:spPr>
          <a:xfrm>
            <a:off x="431900" y="728663"/>
            <a:ext cx="11332800" cy="332399"/>
          </a:xfrm>
        </p:spPr>
        <p:txBody>
          <a:bodyPr wrap="square">
            <a:spAutoFit/>
          </a:bodyPr>
          <a:lstStyle>
            <a:lvl1pPr>
              <a:defRPr>
                <a:solidFill>
                  <a:schemeClr val="accent1"/>
                </a:solidFill>
              </a:defRPr>
            </a:lvl1pPr>
          </a:lstStyle>
          <a:p>
            <a:r>
              <a:rPr lang="en-GB" dirty="0" smtClean="0"/>
              <a:t>Click to add Slide Title – increase font size for large audience – max. two lines</a:t>
            </a:r>
            <a:endParaRPr lang="en-GB" dirty="0"/>
          </a:p>
        </p:txBody>
      </p:sp>
      <p:sp>
        <p:nvSpPr>
          <p:cNvPr id="14" name="Slide Number Placeholder 5"/>
          <p:cNvSpPr txBox="1">
            <a:spLocks/>
          </p:cNvSpPr>
          <p:nvPr userDrawn="1"/>
        </p:nvSpPr>
        <p:spPr>
          <a:xfrm>
            <a:off x="11050883" y="6637710"/>
            <a:ext cx="713817" cy="123111"/>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800" smtClean="0">
                <a:solidFill>
                  <a:srgbClr val="000000"/>
                </a:solidFill>
              </a:rPr>
              <a:pPr/>
              <a:t>‹#›</a:t>
            </a:fld>
            <a:endParaRPr lang="en-GB" sz="800" dirty="0">
              <a:solidFill>
                <a:srgbClr val="000000"/>
              </a:solidFill>
            </a:endParaRPr>
          </a:p>
        </p:txBody>
      </p:sp>
    </p:spTree>
    <p:extLst>
      <p:ext uri="{BB962C8B-B14F-4D97-AF65-F5344CB8AC3E}">
        <p14:creationId xmlns:p14="http://schemas.microsoft.com/office/powerpoint/2010/main" val="712649895"/>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itle Page_INTERNAL">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912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ctrTitle" hasCustomPrompt="1"/>
          </p:nvPr>
        </p:nvSpPr>
        <p:spPr>
          <a:xfrm>
            <a:off x="431800" y="4074530"/>
            <a:ext cx="11331575" cy="886397"/>
          </a:xfrm>
          <a:prstGeom prst="rect">
            <a:avLst/>
          </a:prstGeom>
        </p:spPr>
        <p:txBody>
          <a:bodyPr anchor="t" anchorCtr="0"/>
          <a:lstStyle>
            <a:lvl1pPr algn="l">
              <a:defRPr sz="3200">
                <a:solidFill>
                  <a:schemeClr val="accent1"/>
                </a:solidFill>
              </a:defRPr>
            </a:lvl1pPr>
          </a:lstStyle>
          <a:p>
            <a:r>
              <a:rPr lang="en-GB" dirty="0" smtClean="0"/>
              <a:t>Click to add Presentation Title – increase font size for large audience – max. two lines</a:t>
            </a:r>
            <a:endParaRPr lang="en-GB" dirty="0"/>
          </a:p>
        </p:txBody>
      </p:sp>
      <p:sp>
        <p:nvSpPr>
          <p:cNvPr id="3" name="Subtitle 2"/>
          <p:cNvSpPr>
            <a:spLocks noGrp="1"/>
          </p:cNvSpPr>
          <p:nvPr>
            <p:ph type="subTitle" idx="1" hasCustomPrompt="1"/>
          </p:nvPr>
        </p:nvSpPr>
        <p:spPr>
          <a:xfrm>
            <a:off x="431800" y="5155879"/>
            <a:ext cx="11331575" cy="184666"/>
          </a:xfrm>
        </p:spPr>
        <p:txBody>
          <a:bodyPr anchor="t" anchorCtr="0"/>
          <a:lstStyle>
            <a:lvl1pPr marL="0" indent="0" algn="l">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Click to add document type / audience</a:t>
            </a:r>
          </a:p>
        </p:txBody>
      </p:sp>
      <p:sp>
        <p:nvSpPr>
          <p:cNvPr id="4" name="Date Placeholder 3"/>
          <p:cNvSpPr>
            <a:spLocks noGrp="1"/>
          </p:cNvSpPr>
          <p:nvPr>
            <p:ph type="dt" sz="half" idx="10"/>
          </p:nvPr>
        </p:nvSpPr>
        <p:spPr>
          <a:xfrm>
            <a:off x="432000" y="6606933"/>
            <a:ext cx="2752589" cy="123111"/>
          </a:xfrm>
        </p:spPr>
        <p:txBody>
          <a:bodyPr/>
          <a:lstStyle/>
          <a:p>
            <a:fld id="{FD5A4159-1C9D-4C23-8DBB-0FD5BF49F859}" type="datetime1">
              <a:rPr lang="en-GB" smtClean="0">
                <a:solidFill>
                  <a:srgbClr val="000000"/>
                </a:solidFill>
              </a:rPr>
              <a:pPr/>
              <a:t>26/08/2020</a:t>
            </a:fld>
            <a:endParaRPr lang="en-GB" dirty="0">
              <a:solidFill>
                <a:srgbClr val="000000"/>
              </a:solidFill>
            </a:endParaRPr>
          </a:p>
        </p:txBody>
      </p:sp>
      <p:sp>
        <p:nvSpPr>
          <p:cNvPr id="5" name="Footer Placeholder 4"/>
          <p:cNvSpPr>
            <a:spLocks noGrp="1"/>
          </p:cNvSpPr>
          <p:nvPr>
            <p:ph type="ftr" sz="quarter" idx="11"/>
          </p:nvPr>
        </p:nvSpPr>
        <p:spPr>
          <a:xfrm>
            <a:off x="7648575" y="53851"/>
            <a:ext cx="4114800" cy="123111"/>
          </a:xfrm>
        </p:spPr>
        <p:txBody>
          <a:bodyPr/>
          <a:lstStyle/>
          <a:p>
            <a:endParaRPr lang="en-GB" dirty="0">
              <a:solidFill>
                <a:srgbClr val="000000"/>
              </a:solidFill>
            </a:endParaRP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450909" y="250748"/>
            <a:ext cx="1313691" cy="198120"/>
          </a:xfrm>
          <a:prstGeom prst="rect">
            <a:avLst/>
          </a:prstGeom>
        </p:spPr>
      </p:pic>
    </p:spTree>
    <p:extLst>
      <p:ext uri="{BB962C8B-B14F-4D97-AF65-F5344CB8AC3E}">
        <p14:creationId xmlns:p14="http://schemas.microsoft.com/office/powerpoint/2010/main" val="102263207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15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470400" y="7084605"/>
            <a:ext cx="2743200" cy="123111"/>
          </a:xfrm>
        </p:spPr>
        <p:txBody>
          <a:bodyPr/>
          <a:lstStyle/>
          <a:p>
            <a:fld id="{84F482FB-B023-4CBB-8046-4D830E895C90}" type="datetime1">
              <a:rPr lang="en-GB" smtClean="0">
                <a:solidFill>
                  <a:srgbClr val="000000"/>
                </a:solidFill>
              </a:rPr>
              <a:pPr/>
              <a:t>26/08/2020</a:t>
            </a:fld>
            <a:endParaRPr lang="en-GB" dirty="0">
              <a:solidFill>
                <a:srgbClr val="000000"/>
              </a:solidFill>
            </a:endParaRPr>
          </a:p>
        </p:txBody>
      </p:sp>
      <p:sp>
        <p:nvSpPr>
          <p:cNvPr id="11" name="Title 6"/>
          <p:cNvSpPr>
            <a:spLocks noGrp="1"/>
          </p:cNvSpPr>
          <p:nvPr>
            <p:ph type="title" hasCustomPrompt="1"/>
          </p:nvPr>
        </p:nvSpPr>
        <p:spPr>
          <a:xfrm>
            <a:off x="431900" y="728663"/>
            <a:ext cx="11332800" cy="332399"/>
          </a:xfrm>
        </p:spPr>
        <p:txBody>
          <a:bodyPr wrap="square">
            <a:spAutoFit/>
          </a:bodyPr>
          <a:lstStyle>
            <a:lvl1pPr>
              <a:defRPr>
                <a:solidFill>
                  <a:schemeClr val="accent1"/>
                </a:solidFill>
              </a:defRPr>
            </a:lvl1pPr>
          </a:lstStyle>
          <a:p>
            <a:r>
              <a:rPr lang="en-GB" dirty="0" smtClean="0"/>
              <a:t>Click to add Slide Title – increase font size for large audience – max. two lines</a:t>
            </a:r>
            <a:endParaRPr lang="en-GB" dirty="0"/>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450909" y="250748"/>
            <a:ext cx="1313691" cy="198120"/>
          </a:xfrm>
          <a:prstGeom prst="rect">
            <a:avLst/>
          </a:prstGeom>
        </p:spPr>
      </p:pic>
      <p:sp>
        <p:nvSpPr>
          <p:cNvPr id="13" name="Footer Placeholder 4"/>
          <p:cNvSpPr>
            <a:spLocks noGrp="1"/>
          </p:cNvSpPr>
          <p:nvPr>
            <p:ph type="ftr" sz="quarter" idx="11"/>
          </p:nvPr>
        </p:nvSpPr>
        <p:spPr>
          <a:xfrm>
            <a:off x="7649800" y="53851"/>
            <a:ext cx="4114800" cy="123111"/>
          </a:xfrm>
        </p:spPr>
        <p:txBody>
          <a:bodyPr/>
          <a:lstStyle/>
          <a:p>
            <a:endParaRPr lang="en-GB" dirty="0">
              <a:solidFill>
                <a:srgbClr val="000000"/>
              </a:solidFill>
            </a:endParaRPr>
          </a:p>
        </p:txBody>
      </p:sp>
      <p:sp>
        <p:nvSpPr>
          <p:cNvPr id="7" name="Slide Number Placeholder 5"/>
          <p:cNvSpPr txBox="1">
            <a:spLocks/>
          </p:cNvSpPr>
          <p:nvPr userDrawn="1"/>
        </p:nvSpPr>
        <p:spPr>
          <a:xfrm>
            <a:off x="11050883" y="6637710"/>
            <a:ext cx="713817" cy="123111"/>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800" smtClean="0">
                <a:solidFill>
                  <a:srgbClr val="000000"/>
                </a:solidFill>
              </a:rPr>
              <a:pPr/>
              <a:t>‹#›</a:t>
            </a:fld>
            <a:endParaRPr lang="en-GB" sz="800" dirty="0">
              <a:solidFill>
                <a:srgbClr val="000000"/>
              </a:solidFill>
            </a:endParaRPr>
          </a:p>
        </p:txBody>
      </p:sp>
    </p:spTree>
    <p:extLst>
      <p:ext uri="{BB962C8B-B14F-4D97-AF65-F5344CB8AC3E}">
        <p14:creationId xmlns:p14="http://schemas.microsoft.com/office/powerpoint/2010/main" val="66762520"/>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7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470400" y="7084605"/>
            <a:ext cx="2743200" cy="123111"/>
          </a:xfrm>
        </p:spPr>
        <p:txBody>
          <a:bodyPr/>
          <a:lstStyle/>
          <a:p>
            <a:fld id="{84F482FB-B023-4CBB-8046-4D830E895C90}" type="datetime1">
              <a:rPr lang="en-GB" smtClean="0">
                <a:solidFill>
                  <a:srgbClr val="000000"/>
                </a:solidFill>
              </a:rPr>
              <a:pPr/>
              <a:t>26/08/2020</a:t>
            </a:fld>
            <a:endParaRPr lang="en-GB" dirty="0">
              <a:solidFill>
                <a:srgbClr val="000000"/>
              </a:solidFill>
            </a:endParaRPr>
          </a:p>
        </p:txBody>
      </p:sp>
      <p:sp>
        <p:nvSpPr>
          <p:cNvPr id="11" name="Title 6"/>
          <p:cNvSpPr>
            <a:spLocks noGrp="1"/>
          </p:cNvSpPr>
          <p:nvPr>
            <p:ph type="title" hasCustomPrompt="1"/>
          </p:nvPr>
        </p:nvSpPr>
        <p:spPr>
          <a:xfrm>
            <a:off x="431900" y="728663"/>
            <a:ext cx="11332800" cy="332399"/>
          </a:xfrm>
        </p:spPr>
        <p:txBody>
          <a:bodyPr wrap="square">
            <a:spAutoFit/>
          </a:bodyPr>
          <a:lstStyle>
            <a:lvl1pPr>
              <a:defRPr>
                <a:solidFill>
                  <a:schemeClr val="accent1"/>
                </a:solidFill>
              </a:defRPr>
            </a:lvl1pPr>
          </a:lstStyle>
          <a:p>
            <a:r>
              <a:rPr lang="en-GB" dirty="0" smtClean="0"/>
              <a:t>Click to add Slide Title – increase font size for large audience – max. two lines</a:t>
            </a:r>
            <a:endParaRPr lang="en-GB" dirty="0"/>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450909" y="250748"/>
            <a:ext cx="1313691" cy="198120"/>
          </a:xfrm>
          <a:prstGeom prst="rect">
            <a:avLst/>
          </a:prstGeom>
        </p:spPr>
      </p:pic>
      <p:sp>
        <p:nvSpPr>
          <p:cNvPr id="13" name="Footer Placeholder 4"/>
          <p:cNvSpPr>
            <a:spLocks noGrp="1"/>
          </p:cNvSpPr>
          <p:nvPr>
            <p:ph type="ftr" sz="quarter" idx="11"/>
          </p:nvPr>
        </p:nvSpPr>
        <p:spPr>
          <a:xfrm>
            <a:off x="7649800" y="53851"/>
            <a:ext cx="4114800" cy="123111"/>
          </a:xfrm>
        </p:spPr>
        <p:txBody>
          <a:bodyPr/>
          <a:lstStyle/>
          <a:p>
            <a:endParaRPr lang="en-GB" dirty="0">
              <a:solidFill>
                <a:srgbClr val="000000"/>
              </a:solidFill>
            </a:endParaRPr>
          </a:p>
        </p:txBody>
      </p:sp>
      <p:sp>
        <p:nvSpPr>
          <p:cNvPr id="7" name="Slide Number Placeholder 5"/>
          <p:cNvSpPr txBox="1">
            <a:spLocks/>
          </p:cNvSpPr>
          <p:nvPr userDrawn="1"/>
        </p:nvSpPr>
        <p:spPr>
          <a:xfrm>
            <a:off x="11050883" y="6637710"/>
            <a:ext cx="713817" cy="123111"/>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800" smtClean="0">
                <a:solidFill>
                  <a:srgbClr val="000000"/>
                </a:solidFill>
              </a:rPr>
              <a:pPr/>
              <a:t>‹#›</a:t>
            </a:fld>
            <a:endParaRPr lang="en-GB" sz="800" dirty="0">
              <a:solidFill>
                <a:srgbClr val="000000"/>
              </a:solidFill>
            </a:endParaRPr>
          </a:p>
        </p:txBody>
      </p:sp>
    </p:spTree>
    <p:extLst>
      <p:ext uri="{BB962C8B-B14F-4D97-AF65-F5344CB8AC3E}">
        <p14:creationId xmlns:p14="http://schemas.microsoft.com/office/powerpoint/2010/main" val="143419852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2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470400" y="7084605"/>
            <a:ext cx="2743200" cy="123111"/>
          </a:xfrm>
        </p:spPr>
        <p:txBody>
          <a:bodyPr/>
          <a:lstStyle/>
          <a:p>
            <a:fld id="{84F482FB-B023-4CBB-8046-4D830E895C90}" type="datetime1">
              <a:rPr lang="en-GB" smtClean="0">
                <a:solidFill>
                  <a:srgbClr val="000000"/>
                </a:solidFill>
              </a:rPr>
              <a:pPr/>
              <a:t>26/08/2020</a:t>
            </a:fld>
            <a:endParaRPr lang="en-GB" dirty="0">
              <a:solidFill>
                <a:srgbClr val="000000"/>
              </a:solidFill>
            </a:endParaRPr>
          </a:p>
        </p:txBody>
      </p:sp>
      <p:sp>
        <p:nvSpPr>
          <p:cNvPr id="11" name="Title 6"/>
          <p:cNvSpPr>
            <a:spLocks noGrp="1"/>
          </p:cNvSpPr>
          <p:nvPr>
            <p:ph type="title" hasCustomPrompt="1"/>
          </p:nvPr>
        </p:nvSpPr>
        <p:spPr>
          <a:xfrm>
            <a:off x="431900" y="728663"/>
            <a:ext cx="11332800" cy="332399"/>
          </a:xfrm>
        </p:spPr>
        <p:txBody>
          <a:bodyPr wrap="square">
            <a:spAutoFit/>
          </a:bodyPr>
          <a:lstStyle>
            <a:lvl1pPr>
              <a:defRPr>
                <a:solidFill>
                  <a:schemeClr val="accent1"/>
                </a:solidFill>
              </a:defRPr>
            </a:lvl1pPr>
          </a:lstStyle>
          <a:p>
            <a:r>
              <a:rPr lang="en-GB" dirty="0" smtClean="0"/>
              <a:t>Click to add Slide Title – increase font size for large audience – max. two lines</a:t>
            </a:r>
            <a:endParaRPr lang="en-GB" dirty="0"/>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450909" y="250748"/>
            <a:ext cx="1313691" cy="198120"/>
          </a:xfrm>
          <a:prstGeom prst="rect">
            <a:avLst/>
          </a:prstGeom>
        </p:spPr>
      </p:pic>
      <p:sp>
        <p:nvSpPr>
          <p:cNvPr id="13" name="Footer Placeholder 4"/>
          <p:cNvSpPr>
            <a:spLocks noGrp="1"/>
          </p:cNvSpPr>
          <p:nvPr>
            <p:ph type="ftr" sz="quarter" idx="11"/>
          </p:nvPr>
        </p:nvSpPr>
        <p:spPr>
          <a:xfrm>
            <a:off x="7649800" y="53851"/>
            <a:ext cx="4114800" cy="123111"/>
          </a:xfrm>
        </p:spPr>
        <p:txBody>
          <a:bodyPr/>
          <a:lstStyle/>
          <a:p>
            <a:endParaRPr lang="en-GB" dirty="0">
              <a:solidFill>
                <a:srgbClr val="000000"/>
              </a:solidFill>
            </a:endParaRPr>
          </a:p>
        </p:txBody>
      </p:sp>
      <p:sp>
        <p:nvSpPr>
          <p:cNvPr id="7" name="Slide Number Placeholder 5"/>
          <p:cNvSpPr txBox="1">
            <a:spLocks/>
          </p:cNvSpPr>
          <p:nvPr userDrawn="1"/>
        </p:nvSpPr>
        <p:spPr>
          <a:xfrm>
            <a:off x="11050883" y="6637710"/>
            <a:ext cx="713817" cy="123111"/>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800" smtClean="0">
                <a:solidFill>
                  <a:srgbClr val="000000"/>
                </a:solidFill>
              </a:rPr>
              <a:pPr/>
              <a:t>‹#›</a:t>
            </a:fld>
            <a:endParaRPr lang="en-GB" sz="800" dirty="0">
              <a:solidFill>
                <a:srgbClr val="000000"/>
              </a:solidFill>
            </a:endParaRPr>
          </a:p>
        </p:txBody>
      </p:sp>
    </p:spTree>
    <p:extLst>
      <p:ext uri="{BB962C8B-B14F-4D97-AF65-F5344CB8AC3E}">
        <p14:creationId xmlns:p14="http://schemas.microsoft.com/office/powerpoint/2010/main" val="847844063"/>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27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470400" y="7084605"/>
            <a:ext cx="2743200" cy="123111"/>
          </a:xfrm>
        </p:spPr>
        <p:txBody>
          <a:bodyPr/>
          <a:lstStyle/>
          <a:p>
            <a:fld id="{84F482FB-B023-4CBB-8046-4D830E895C90}" type="datetime1">
              <a:rPr lang="en-GB" smtClean="0">
                <a:solidFill>
                  <a:srgbClr val="000000"/>
                </a:solidFill>
              </a:rPr>
              <a:pPr/>
              <a:t>26/08/2020</a:t>
            </a:fld>
            <a:endParaRPr lang="en-GB" dirty="0">
              <a:solidFill>
                <a:srgbClr val="000000"/>
              </a:solidFill>
            </a:endParaRPr>
          </a:p>
        </p:txBody>
      </p:sp>
      <p:sp>
        <p:nvSpPr>
          <p:cNvPr id="11" name="Title 6"/>
          <p:cNvSpPr>
            <a:spLocks noGrp="1"/>
          </p:cNvSpPr>
          <p:nvPr>
            <p:ph type="title" hasCustomPrompt="1"/>
          </p:nvPr>
        </p:nvSpPr>
        <p:spPr>
          <a:xfrm>
            <a:off x="431900" y="728663"/>
            <a:ext cx="11332800" cy="332399"/>
          </a:xfrm>
        </p:spPr>
        <p:txBody>
          <a:bodyPr wrap="square">
            <a:spAutoFit/>
          </a:bodyPr>
          <a:lstStyle>
            <a:lvl1pPr>
              <a:defRPr>
                <a:solidFill>
                  <a:schemeClr val="accent1"/>
                </a:solidFill>
              </a:defRPr>
            </a:lvl1pPr>
          </a:lstStyle>
          <a:p>
            <a:r>
              <a:rPr lang="en-GB" dirty="0" smtClean="0"/>
              <a:t>Click to add Slide Title – increase font size for large audience – max. two lines</a:t>
            </a:r>
            <a:endParaRPr lang="en-GB" dirty="0"/>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450909" y="250748"/>
            <a:ext cx="1313691" cy="198120"/>
          </a:xfrm>
          <a:prstGeom prst="rect">
            <a:avLst/>
          </a:prstGeom>
        </p:spPr>
      </p:pic>
      <p:sp>
        <p:nvSpPr>
          <p:cNvPr id="13" name="Footer Placeholder 4"/>
          <p:cNvSpPr>
            <a:spLocks noGrp="1"/>
          </p:cNvSpPr>
          <p:nvPr>
            <p:ph type="ftr" sz="quarter" idx="11"/>
          </p:nvPr>
        </p:nvSpPr>
        <p:spPr>
          <a:xfrm>
            <a:off x="7649800" y="53851"/>
            <a:ext cx="4114800" cy="123111"/>
          </a:xfrm>
        </p:spPr>
        <p:txBody>
          <a:bodyPr/>
          <a:lstStyle/>
          <a:p>
            <a:endParaRPr lang="en-GB" dirty="0">
              <a:solidFill>
                <a:srgbClr val="000000"/>
              </a:solidFill>
            </a:endParaRPr>
          </a:p>
        </p:txBody>
      </p:sp>
      <p:sp>
        <p:nvSpPr>
          <p:cNvPr id="7" name="Slide Number Placeholder 5"/>
          <p:cNvSpPr txBox="1">
            <a:spLocks/>
          </p:cNvSpPr>
          <p:nvPr userDrawn="1"/>
        </p:nvSpPr>
        <p:spPr>
          <a:xfrm>
            <a:off x="11050883" y="6637710"/>
            <a:ext cx="713817" cy="123111"/>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800" smtClean="0">
                <a:solidFill>
                  <a:srgbClr val="000000"/>
                </a:solidFill>
              </a:rPr>
              <a:pPr/>
              <a:t>‹#›</a:t>
            </a:fld>
            <a:endParaRPr lang="en-GB" sz="800" dirty="0">
              <a:solidFill>
                <a:srgbClr val="000000"/>
              </a:solidFill>
            </a:endParaRPr>
          </a:p>
        </p:txBody>
      </p:sp>
    </p:spTree>
    <p:extLst>
      <p:ext uri="{BB962C8B-B14F-4D97-AF65-F5344CB8AC3E}">
        <p14:creationId xmlns:p14="http://schemas.microsoft.com/office/powerpoint/2010/main" val="34020361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70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470400" y="7084605"/>
            <a:ext cx="2743200" cy="123111"/>
          </a:xfrm>
        </p:spPr>
        <p:txBody>
          <a:bodyPr/>
          <a:lstStyle/>
          <a:p>
            <a:fld id="{84F482FB-B023-4CBB-8046-4D830E895C90}" type="datetime1">
              <a:rPr lang="en-GB" smtClean="0">
                <a:solidFill>
                  <a:srgbClr val="000000"/>
                </a:solidFill>
              </a:rPr>
              <a:pPr/>
              <a:t>26/08/2020</a:t>
            </a:fld>
            <a:endParaRPr lang="en-GB" dirty="0">
              <a:solidFill>
                <a:srgbClr val="000000"/>
              </a:solidFill>
            </a:endParaRPr>
          </a:p>
        </p:txBody>
      </p:sp>
      <p:sp>
        <p:nvSpPr>
          <p:cNvPr id="11" name="Title 6"/>
          <p:cNvSpPr>
            <a:spLocks noGrp="1"/>
          </p:cNvSpPr>
          <p:nvPr>
            <p:ph type="title" hasCustomPrompt="1"/>
          </p:nvPr>
        </p:nvSpPr>
        <p:spPr>
          <a:xfrm>
            <a:off x="431900" y="728663"/>
            <a:ext cx="11332800" cy="332399"/>
          </a:xfrm>
        </p:spPr>
        <p:txBody>
          <a:bodyPr wrap="square">
            <a:spAutoFit/>
          </a:bodyPr>
          <a:lstStyle>
            <a:lvl1pPr>
              <a:defRPr>
                <a:solidFill>
                  <a:schemeClr val="accent1"/>
                </a:solidFill>
              </a:defRPr>
            </a:lvl1pPr>
          </a:lstStyle>
          <a:p>
            <a:r>
              <a:rPr lang="en-GB" dirty="0" smtClean="0"/>
              <a:t>Click to add Slide Title – increase font size for large audience – max. two lines</a:t>
            </a:r>
            <a:endParaRPr lang="en-GB" dirty="0"/>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450909" y="250748"/>
            <a:ext cx="1313691" cy="198120"/>
          </a:xfrm>
          <a:prstGeom prst="rect">
            <a:avLst/>
          </a:prstGeom>
        </p:spPr>
      </p:pic>
      <p:sp>
        <p:nvSpPr>
          <p:cNvPr id="13" name="Footer Placeholder 4"/>
          <p:cNvSpPr>
            <a:spLocks noGrp="1"/>
          </p:cNvSpPr>
          <p:nvPr>
            <p:ph type="ftr" sz="quarter" idx="11"/>
          </p:nvPr>
        </p:nvSpPr>
        <p:spPr>
          <a:xfrm>
            <a:off x="7649800" y="53851"/>
            <a:ext cx="4114800" cy="123111"/>
          </a:xfrm>
        </p:spPr>
        <p:txBody>
          <a:bodyPr/>
          <a:lstStyle/>
          <a:p>
            <a:endParaRPr lang="en-GB" dirty="0">
              <a:solidFill>
                <a:srgbClr val="000000"/>
              </a:solidFill>
            </a:endParaRPr>
          </a:p>
        </p:txBody>
      </p:sp>
      <p:sp>
        <p:nvSpPr>
          <p:cNvPr id="7" name="Slide Number Placeholder 5"/>
          <p:cNvSpPr txBox="1">
            <a:spLocks/>
          </p:cNvSpPr>
          <p:nvPr userDrawn="1"/>
        </p:nvSpPr>
        <p:spPr>
          <a:xfrm>
            <a:off x="11050883" y="6637710"/>
            <a:ext cx="713817" cy="123111"/>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800" smtClean="0">
                <a:solidFill>
                  <a:srgbClr val="000000"/>
                </a:solidFill>
              </a:rPr>
              <a:pPr/>
              <a:t>‹#›</a:t>
            </a:fld>
            <a:endParaRPr lang="en-GB" sz="800" dirty="0">
              <a:solidFill>
                <a:srgbClr val="000000"/>
              </a:solidFill>
            </a:endParaRPr>
          </a:p>
        </p:txBody>
      </p:sp>
    </p:spTree>
    <p:extLst>
      <p:ext uri="{BB962C8B-B14F-4D97-AF65-F5344CB8AC3E}">
        <p14:creationId xmlns:p14="http://schemas.microsoft.com/office/powerpoint/2010/main" val="41771406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Page – Picture (Dark Picture)">
    <p:bg>
      <p:bgPr>
        <a:solidFill>
          <a:srgbClr val="E6E8E9"/>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01504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42"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PICTURE Placeholder 1"/>
          <p:cNvSpPr>
            <a:spLocks noGrp="1"/>
          </p:cNvSpPr>
          <p:nvPr>
            <p:ph type="pic" sz="quarter" idx="10" hasCustomPrompt="1"/>
          </p:nvPr>
        </p:nvSpPr>
        <p:spPr>
          <a:xfrm>
            <a:off x="0" y="0"/>
            <a:ext cx="12192000" cy="6858000"/>
          </a:xfrm>
        </p:spPr>
        <p:txBody>
          <a:bodyPr/>
          <a:lstStyle>
            <a:lvl1pPr marL="0" indent="0">
              <a:buFontTx/>
              <a:buNone/>
              <a:defRPr baseline="0"/>
            </a:lvl1pPr>
          </a:lstStyle>
          <a:p>
            <a:r>
              <a:rPr lang="en-US" dirty="0" smtClean="0"/>
              <a:t> </a:t>
            </a:r>
            <a:endParaRPr lang="en-GB" dirty="0"/>
          </a:p>
        </p:txBody>
      </p:sp>
      <p:sp>
        <p:nvSpPr>
          <p:cNvPr id="2" name="TITLE placeholder 1"/>
          <p:cNvSpPr>
            <a:spLocks noGrp="1"/>
          </p:cNvSpPr>
          <p:nvPr>
            <p:ph type="ctrTitle" hasCustomPrompt="1"/>
          </p:nvPr>
        </p:nvSpPr>
        <p:spPr>
          <a:xfrm>
            <a:off x="431800" y="4074530"/>
            <a:ext cx="11340000" cy="900000"/>
          </a:xfrm>
          <a:prstGeom prst="rect">
            <a:avLst/>
          </a:prstGeom>
        </p:spPr>
        <p:txBody>
          <a:bodyPr wrap="square" bIns="0" anchor="b" anchorCtr="0">
            <a:noAutofit/>
          </a:bodyPr>
          <a:lstStyle>
            <a:lvl1pPr algn="l">
              <a:lnSpc>
                <a:spcPct val="90000"/>
              </a:lnSpc>
              <a:defRPr sz="3200">
                <a:solidFill>
                  <a:schemeClr val="bg1"/>
                </a:solidFill>
              </a:defRPr>
            </a:lvl1pPr>
          </a:lstStyle>
          <a:p>
            <a:r>
              <a:rPr lang="en-GB" dirty="0" smtClean="0"/>
              <a:t>Click to add presentation title – subtitle </a:t>
            </a:r>
            <a:br>
              <a:rPr lang="en-GB" dirty="0" smtClean="0"/>
            </a:br>
            <a:r>
              <a:rPr lang="en-GB" dirty="0" smtClean="0"/>
              <a:t>– max. two lines</a:t>
            </a:r>
            <a:endParaRPr lang="en-GB" dirty="0"/>
          </a:p>
        </p:txBody>
      </p:sp>
      <p:sp>
        <p:nvSpPr>
          <p:cNvPr id="3" name="SUBTITLE placeholder 1"/>
          <p:cNvSpPr>
            <a:spLocks noGrp="1"/>
          </p:cNvSpPr>
          <p:nvPr>
            <p:ph type="subTitle" idx="1" hasCustomPrompt="1"/>
          </p:nvPr>
        </p:nvSpPr>
        <p:spPr>
          <a:xfrm>
            <a:off x="431800" y="5077820"/>
            <a:ext cx="11340000" cy="184666"/>
          </a:xfrm>
          <a:prstGeom prst="rect">
            <a:avLst/>
          </a:prstGeom>
        </p:spPr>
        <p:txBody>
          <a:bodyPr anchor="t" anchorCtr="0">
            <a:noAutofit/>
          </a:bodyPr>
          <a:lstStyle>
            <a:lvl1pPr marL="0" indent="0" algn="l">
              <a:spcAft>
                <a:spcPts val="0"/>
              </a:spcAft>
              <a:buNone/>
              <a:defRPr sz="1200" baseline="0">
                <a:solidFill>
                  <a:schemeClr val="bg1"/>
                </a:solidFill>
                <a:latin typeface="Danske Text v2" panose="020B0503040502040204" pitchFamily="34" charset="0"/>
                <a:sym typeface="Danske Text v2" panose="020B0503040502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Click to add document type / audience / date [</a:t>
            </a:r>
            <a:r>
              <a:rPr lang="en-GB" dirty="0" err="1" smtClean="0"/>
              <a:t>dd</a:t>
            </a:r>
            <a:r>
              <a:rPr lang="en-GB" dirty="0" smtClean="0"/>
              <a:t> </a:t>
            </a:r>
            <a:r>
              <a:rPr lang="en-GB" dirty="0" err="1" smtClean="0"/>
              <a:t>mmmm</a:t>
            </a:r>
            <a:r>
              <a:rPr lang="en-GB" dirty="0" smtClean="0"/>
              <a:t> </a:t>
            </a:r>
            <a:r>
              <a:rPr lang="en-GB" dirty="0" err="1" smtClean="0"/>
              <a:t>yyyy</a:t>
            </a:r>
            <a:r>
              <a:rPr lang="en-GB" dirty="0" smtClean="0"/>
              <a:t>]</a:t>
            </a:r>
          </a:p>
        </p:txBody>
      </p:sp>
      <p:sp>
        <p:nvSpPr>
          <p:cNvPr id="9" name="TextBox 8"/>
          <p:cNvSpPr txBox="1"/>
          <p:nvPr userDrawn="1"/>
        </p:nvSpPr>
        <p:spPr>
          <a:xfrm>
            <a:off x="2460000" y="-322444"/>
            <a:ext cx="7272000" cy="289506"/>
          </a:xfrm>
          <a:prstGeom prst="rect">
            <a:avLst/>
          </a:prstGeom>
          <a:noFill/>
        </p:spPr>
        <p:txBody>
          <a:bodyPr wrap="none" lIns="72000" tIns="72000" rIns="72000" bIns="72000" rtlCol="0">
            <a:noAutofit/>
          </a:bodyPr>
          <a:lstStyle/>
          <a:p>
            <a:pPr marL="0" indent="0">
              <a:lnSpc>
                <a:spcPct val="110000"/>
              </a:lnSpc>
              <a:spcBef>
                <a:spcPts val="600"/>
              </a:spcBef>
              <a:buClr>
                <a:srgbClr val="003755"/>
              </a:buClr>
              <a:buFontTx/>
              <a:buNone/>
            </a:pPr>
            <a:r>
              <a:rPr lang="en-GB" sz="1200" dirty="0" smtClean="0">
                <a:solidFill>
                  <a:srgbClr val="E65A6D"/>
                </a:solidFill>
              </a:rPr>
              <a:t>Use this layout page when you have</a:t>
            </a:r>
            <a:r>
              <a:rPr lang="en-GB" sz="1200" baseline="0" dirty="0" smtClean="0">
                <a:solidFill>
                  <a:srgbClr val="E65A6D"/>
                </a:solidFill>
              </a:rPr>
              <a:t> a picture that is </a:t>
            </a:r>
            <a:r>
              <a:rPr lang="en-GB" sz="1200" b="1" baseline="0" dirty="0" smtClean="0">
                <a:solidFill>
                  <a:srgbClr val="E65A6D"/>
                </a:solidFill>
              </a:rPr>
              <a:t>dark</a:t>
            </a:r>
            <a:r>
              <a:rPr lang="en-GB" sz="1200" baseline="0" dirty="0" smtClean="0">
                <a:solidFill>
                  <a:srgbClr val="E65A6D"/>
                </a:solidFill>
              </a:rPr>
              <a:t>. The logo is different when the picture is very light.</a:t>
            </a:r>
            <a:endParaRPr lang="en-GB" sz="1200" dirty="0">
              <a:solidFill>
                <a:srgbClr val="E65A6D"/>
              </a:solidFill>
            </a:endParaRPr>
          </a:p>
        </p:txBody>
      </p:sp>
      <p:sp>
        <p:nvSpPr>
          <p:cNvPr id="8" name="Danske Bank LOGO"/>
          <p:cNvSpPr>
            <a:spLocks noGrp="1"/>
          </p:cNvSpPr>
          <p:nvPr>
            <p:ph type="body" sz="quarter" idx="11" hasCustomPrompt="1"/>
          </p:nvPr>
        </p:nvSpPr>
        <p:spPr>
          <a:xfrm>
            <a:off x="10126600" y="253007"/>
            <a:ext cx="1645200" cy="246527"/>
          </a:xfrm>
          <a:blipFill>
            <a:blip r:embed="rId6"/>
            <a:stretch>
              <a:fillRect/>
            </a:stretch>
          </a:blipFill>
        </p:spPr>
        <p:txBody>
          <a:bodyPr/>
          <a:lstStyle>
            <a:lvl1pPr marL="0" indent="0">
              <a:buNone/>
              <a:defRPr baseline="0"/>
            </a:lvl1pPr>
            <a:lvl2pPr marL="144463" indent="0">
              <a:buNone/>
              <a:defRPr/>
            </a:lvl2pPr>
            <a:lvl3pPr marL="288000" indent="0">
              <a:buNone/>
              <a:defRPr/>
            </a:lvl3pPr>
            <a:lvl4pPr marL="432000" indent="0">
              <a:buNone/>
              <a:defRPr/>
            </a:lvl4pPr>
            <a:lvl5pPr marL="576000" indent="0">
              <a:buNone/>
              <a:defRPr/>
            </a:lvl5pPr>
          </a:lstStyle>
          <a:p>
            <a:pPr lvl="0"/>
            <a:r>
              <a:rPr lang="en-US" dirty="0" smtClean="0"/>
              <a:t> </a:t>
            </a:r>
          </a:p>
        </p:txBody>
      </p:sp>
    </p:spTree>
    <p:extLst>
      <p:ext uri="{BB962C8B-B14F-4D97-AF65-F5344CB8AC3E}">
        <p14:creationId xmlns:p14="http://schemas.microsoft.com/office/powerpoint/2010/main" val="193330029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2" orient="horz" pos="2566" userDrawn="1">
          <p15:clr>
            <a:srgbClr val="F26B43"/>
          </p15:clr>
        </p15:guide>
        <p15:guide id="3" orient="horz" pos="3198" userDrawn="1">
          <p15:clr>
            <a:srgbClr val="F26B43"/>
          </p15:clr>
        </p15:guide>
        <p15:guide id="5" orient="horz" pos="3135" userDrawn="1">
          <p15:clr>
            <a:srgbClr val="F26B43"/>
          </p15:clr>
        </p15:guide>
        <p15:guide id="8" orient="horz" pos="3315" userDrawn="1">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90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470400" y="7084605"/>
            <a:ext cx="2743200" cy="123111"/>
          </a:xfrm>
        </p:spPr>
        <p:txBody>
          <a:bodyPr/>
          <a:lstStyle/>
          <a:p>
            <a:fld id="{84F482FB-B023-4CBB-8046-4D830E895C90}" type="datetime1">
              <a:rPr lang="en-GB" smtClean="0">
                <a:solidFill>
                  <a:srgbClr val="000000"/>
                </a:solidFill>
              </a:rPr>
              <a:pPr/>
              <a:t>26/08/2020</a:t>
            </a:fld>
            <a:endParaRPr lang="en-GB" dirty="0">
              <a:solidFill>
                <a:srgbClr val="000000"/>
              </a:solidFill>
            </a:endParaRPr>
          </a:p>
        </p:txBody>
      </p:sp>
      <p:sp>
        <p:nvSpPr>
          <p:cNvPr id="11" name="Title 6"/>
          <p:cNvSpPr>
            <a:spLocks noGrp="1"/>
          </p:cNvSpPr>
          <p:nvPr>
            <p:ph type="title" hasCustomPrompt="1"/>
          </p:nvPr>
        </p:nvSpPr>
        <p:spPr>
          <a:xfrm>
            <a:off x="431900" y="728663"/>
            <a:ext cx="11332800" cy="332399"/>
          </a:xfrm>
        </p:spPr>
        <p:txBody>
          <a:bodyPr wrap="square">
            <a:spAutoFit/>
          </a:bodyPr>
          <a:lstStyle>
            <a:lvl1pPr>
              <a:defRPr>
                <a:solidFill>
                  <a:schemeClr val="accent1"/>
                </a:solidFill>
              </a:defRPr>
            </a:lvl1pPr>
          </a:lstStyle>
          <a:p>
            <a:r>
              <a:rPr lang="en-GB" dirty="0" smtClean="0"/>
              <a:t>Click to add Slide Title – increase font size for large audience – max. two lines</a:t>
            </a:r>
            <a:endParaRPr lang="en-GB" dirty="0"/>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450909" y="250748"/>
            <a:ext cx="1313691" cy="198120"/>
          </a:xfrm>
          <a:prstGeom prst="rect">
            <a:avLst/>
          </a:prstGeom>
        </p:spPr>
      </p:pic>
      <p:sp>
        <p:nvSpPr>
          <p:cNvPr id="13" name="Footer Placeholder 4"/>
          <p:cNvSpPr>
            <a:spLocks noGrp="1"/>
          </p:cNvSpPr>
          <p:nvPr>
            <p:ph type="ftr" sz="quarter" idx="11"/>
          </p:nvPr>
        </p:nvSpPr>
        <p:spPr>
          <a:xfrm>
            <a:off x="7649800" y="53851"/>
            <a:ext cx="4114800" cy="123111"/>
          </a:xfrm>
        </p:spPr>
        <p:txBody>
          <a:bodyPr/>
          <a:lstStyle/>
          <a:p>
            <a:endParaRPr lang="en-GB" dirty="0">
              <a:solidFill>
                <a:srgbClr val="000000"/>
              </a:solidFill>
            </a:endParaRPr>
          </a:p>
        </p:txBody>
      </p:sp>
      <p:sp>
        <p:nvSpPr>
          <p:cNvPr id="7" name="Slide Number Placeholder 5"/>
          <p:cNvSpPr txBox="1">
            <a:spLocks/>
          </p:cNvSpPr>
          <p:nvPr userDrawn="1"/>
        </p:nvSpPr>
        <p:spPr>
          <a:xfrm>
            <a:off x="11050883" y="6637710"/>
            <a:ext cx="713817" cy="123111"/>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800" smtClean="0">
                <a:solidFill>
                  <a:srgbClr val="000000"/>
                </a:solidFill>
              </a:rPr>
              <a:pPr/>
              <a:t>‹#›</a:t>
            </a:fld>
            <a:endParaRPr lang="en-GB" sz="800" dirty="0">
              <a:solidFill>
                <a:srgbClr val="000000"/>
              </a:solidFill>
            </a:endParaRPr>
          </a:p>
        </p:txBody>
      </p:sp>
    </p:spTree>
    <p:extLst>
      <p:ext uri="{BB962C8B-B14F-4D97-AF65-F5344CB8AC3E}">
        <p14:creationId xmlns:p14="http://schemas.microsoft.com/office/powerpoint/2010/main" val="138805826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Page – Picture (Light Picture)">
    <p:bg>
      <p:bgPr>
        <a:solidFill>
          <a:srgbClr val="E6E8E9"/>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401820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66"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PICTURE Placeholder 1"/>
          <p:cNvSpPr>
            <a:spLocks noGrp="1"/>
          </p:cNvSpPr>
          <p:nvPr>
            <p:ph type="pic" sz="quarter" idx="10" hasCustomPrompt="1"/>
          </p:nvPr>
        </p:nvSpPr>
        <p:spPr>
          <a:xfrm>
            <a:off x="0" y="0"/>
            <a:ext cx="12192000" cy="6858000"/>
          </a:xfrm>
        </p:spPr>
        <p:txBody>
          <a:bodyPr/>
          <a:lstStyle>
            <a:lvl1pPr marL="0" indent="0">
              <a:buFontTx/>
              <a:buNone/>
              <a:defRPr baseline="0"/>
            </a:lvl1pPr>
          </a:lstStyle>
          <a:p>
            <a:r>
              <a:rPr lang="en-US" dirty="0" smtClean="0"/>
              <a:t> </a:t>
            </a:r>
            <a:endParaRPr lang="en-GB" dirty="0"/>
          </a:p>
        </p:txBody>
      </p:sp>
      <p:sp>
        <p:nvSpPr>
          <p:cNvPr id="2" name="TITLE placeholder 1"/>
          <p:cNvSpPr>
            <a:spLocks noGrp="1"/>
          </p:cNvSpPr>
          <p:nvPr>
            <p:ph type="ctrTitle" hasCustomPrompt="1"/>
          </p:nvPr>
        </p:nvSpPr>
        <p:spPr>
          <a:xfrm>
            <a:off x="431800" y="4074530"/>
            <a:ext cx="11340000" cy="900000"/>
          </a:xfrm>
          <a:prstGeom prst="rect">
            <a:avLst/>
          </a:prstGeom>
        </p:spPr>
        <p:txBody>
          <a:bodyPr wrap="square" anchor="b" anchorCtr="0">
            <a:noAutofit/>
          </a:bodyPr>
          <a:lstStyle>
            <a:lvl1pPr algn="l">
              <a:lnSpc>
                <a:spcPct val="90000"/>
              </a:lnSpc>
              <a:defRPr sz="3200">
                <a:solidFill>
                  <a:srgbClr val="003755"/>
                </a:solidFill>
              </a:defRPr>
            </a:lvl1pPr>
          </a:lstStyle>
          <a:p>
            <a:r>
              <a:rPr lang="en-GB" dirty="0" smtClean="0"/>
              <a:t>Click to add presentation title – subtitle </a:t>
            </a:r>
            <a:br>
              <a:rPr lang="en-GB" dirty="0" smtClean="0"/>
            </a:br>
            <a:r>
              <a:rPr lang="en-GB" dirty="0" smtClean="0"/>
              <a:t>– max. two lines</a:t>
            </a:r>
            <a:endParaRPr lang="en-GB" dirty="0"/>
          </a:p>
        </p:txBody>
      </p:sp>
      <p:sp>
        <p:nvSpPr>
          <p:cNvPr id="3" name="SUBTITLE placeholder 1"/>
          <p:cNvSpPr>
            <a:spLocks noGrp="1"/>
          </p:cNvSpPr>
          <p:nvPr>
            <p:ph type="subTitle" idx="1" hasCustomPrompt="1"/>
          </p:nvPr>
        </p:nvSpPr>
        <p:spPr>
          <a:xfrm>
            <a:off x="431800" y="5077820"/>
            <a:ext cx="11340000" cy="184666"/>
          </a:xfrm>
          <a:prstGeom prst="rect">
            <a:avLst/>
          </a:prstGeom>
        </p:spPr>
        <p:txBody>
          <a:bodyPr anchor="t" anchorCtr="0">
            <a:noAutofit/>
          </a:bodyPr>
          <a:lstStyle>
            <a:lvl1pPr marL="0" indent="0" algn="l">
              <a:spcAft>
                <a:spcPts val="0"/>
              </a:spcAft>
              <a:buNone/>
              <a:defRPr sz="1200" baseline="0">
                <a:solidFill>
                  <a:srgbClr val="003755"/>
                </a:solidFill>
                <a:latin typeface="Danske Text v2" panose="020B0503040502040204" pitchFamily="34" charset="0"/>
                <a:sym typeface="Danske Text v2" panose="020B0503040502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Click to add document type / audience / date [</a:t>
            </a:r>
            <a:r>
              <a:rPr lang="en-GB" dirty="0" err="1" smtClean="0"/>
              <a:t>dd</a:t>
            </a:r>
            <a:r>
              <a:rPr lang="en-GB" dirty="0" smtClean="0"/>
              <a:t> </a:t>
            </a:r>
            <a:r>
              <a:rPr lang="en-GB" dirty="0" err="1" smtClean="0"/>
              <a:t>mmmm</a:t>
            </a:r>
            <a:r>
              <a:rPr lang="en-GB" dirty="0" smtClean="0"/>
              <a:t> </a:t>
            </a:r>
            <a:r>
              <a:rPr lang="en-GB" dirty="0" err="1" smtClean="0"/>
              <a:t>yyyy</a:t>
            </a:r>
            <a:r>
              <a:rPr lang="en-GB" dirty="0" smtClean="0"/>
              <a:t>]</a:t>
            </a:r>
          </a:p>
        </p:txBody>
      </p:sp>
      <p:sp>
        <p:nvSpPr>
          <p:cNvPr id="9" name="TextBox 8"/>
          <p:cNvSpPr txBox="1"/>
          <p:nvPr userDrawn="1"/>
        </p:nvSpPr>
        <p:spPr>
          <a:xfrm>
            <a:off x="2460000" y="-322444"/>
            <a:ext cx="7272000" cy="289506"/>
          </a:xfrm>
          <a:prstGeom prst="rect">
            <a:avLst/>
          </a:prstGeom>
          <a:noFill/>
        </p:spPr>
        <p:txBody>
          <a:bodyPr wrap="none" lIns="72000" tIns="72000" rIns="72000" bIns="72000" rtlCol="0">
            <a:noAutofit/>
          </a:bodyPr>
          <a:lstStyle/>
          <a:p>
            <a:pPr marL="0" indent="0">
              <a:lnSpc>
                <a:spcPct val="110000"/>
              </a:lnSpc>
              <a:spcBef>
                <a:spcPts val="600"/>
              </a:spcBef>
              <a:buClr>
                <a:srgbClr val="003755"/>
              </a:buClr>
              <a:buFontTx/>
              <a:buNone/>
            </a:pPr>
            <a:r>
              <a:rPr lang="en-GB" sz="1200" dirty="0" smtClean="0">
                <a:solidFill>
                  <a:srgbClr val="E65A6D"/>
                </a:solidFill>
              </a:rPr>
              <a:t>Use this layout page when you have</a:t>
            </a:r>
            <a:r>
              <a:rPr lang="en-GB" sz="1200" baseline="0" dirty="0" smtClean="0">
                <a:solidFill>
                  <a:srgbClr val="E65A6D"/>
                </a:solidFill>
              </a:rPr>
              <a:t> a picture that is </a:t>
            </a:r>
            <a:r>
              <a:rPr lang="en-GB" sz="1200" b="1" baseline="0" dirty="0" smtClean="0">
                <a:solidFill>
                  <a:srgbClr val="E65A6D"/>
                </a:solidFill>
              </a:rPr>
              <a:t>light</a:t>
            </a:r>
            <a:r>
              <a:rPr lang="en-GB" sz="1200" baseline="0" dirty="0" smtClean="0">
                <a:solidFill>
                  <a:srgbClr val="E65A6D"/>
                </a:solidFill>
              </a:rPr>
              <a:t>. The logo is different when the picture is dark.</a:t>
            </a:r>
            <a:endParaRPr lang="en-GB" sz="1200" dirty="0">
              <a:solidFill>
                <a:srgbClr val="E65A6D"/>
              </a:solidFill>
            </a:endParaRPr>
          </a:p>
        </p:txBody>
      </p:sp>
      <p:sp>
        <p:nvSpPr>
          <p:cNvPr id="8" name="Danske Bank LOGO"/>
          <p:cNvSpPr>
            <a:spLocks noGrp="1"/>
          </p:cNvSpPr>
          <p:nvPr>
            <p:ph type="body" sz="quarter" idx="11" hasCustomPrompt="1"/>
          </p:nvPr>
        </p:nvSpPr>
        <p:spPr>
          <a:xfrm>
            <a:off x="10126600" y="253007"/>
            <a:ext cx="1645200" cy="246527"/>
          </a:xfrm>
          <a:blipFill>
            <a:blip r:embed="rId6"/>
            <a:stretch>
              <a:fillRect/>
            </a:stretch>
          </a:blipFill>
        </p:spPr>
        <p:txBody>
          <a:bodyPr/>
          <a:lstStyle>
            <a:lvl1pPr marL="0" indent="0">
              <a:buNone/>
              <a:defRPr baseline="0"/>
            </a:lvl1pPr>
            <a:lvl2pPr marL="144463" indent="0">
              <a:buNone/>
              <a:defRPr/>
            </a:lvl2pPr>
            <a:lvl3pPr marL="288000" indent="0">
              <a:buNone/>
              <a:defRPr/>
            </a:lvl3pPr>
            <a:lvl4pPr marL="432000" indent="0">
              <a:buNone/>
              <a:defRPr/>
            </a:lvl4pPr>
            <a:lvl5pPr marL="576000" indent="0">
              <a:buNone/>
              <a:defRPr/>
            </a:lvl5pPr>
          </a:lstStyle>
          <a:p>
            <a:pPr lvl="0"/>
            <a:r>
              <a:rPr lang="en-US" dirty="0" smtClean="0"/>
              <a:t> </a:t>
            </a:r>
          </a:p>
        </p:txBody>
      </p:sp>
    </p:spTree>
    <p:extLst>
      <p:ext uri="{BB962C8B-B14F-4D97-AF65-F5344CB8AC3E}">
        <p14:creationId xmlns:p14="http://schemas.microsoft.com/office/powerpoint/2010/main" val="135870800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135" userDrawn="1">
          <p15:clr>
            <a:srgbClr val="F26B43"/>
          </p15:clr>
        </p15:guide>
        <p15:guide id="2" orient="horz" pos="3198" userDrawn="1">
          <p15:clr>
            <a:srgbClr val="F26B43"/>
          </p15:clr>
        </p15:guide>
        <p15:guide id="3" orient="horz" pos="3315" userDrawn="1">
          <p15:clr>
            <a:srgbClr val="F26B43"/>
          </p15:clr>
        </p15:guide>
        <p15:guide id="4" orient="horz" pos="2567"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29362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90"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a:noAutofit/>
          </a:bodyPr>
          <a:lstStyle>
            <a:lvl1pPr>
              <a:defRPr/>
            </a:lvl1pPr>
          </a:lstStyle>
          <a:p>
            <a:r>
              <a:rPr lang="en-US" dirty="0" smtClean="0"/>
              <a:t>Click to add Slide Title – increase font size for large audience – max. two lines</a:t>
            </a:r>
            <a:endParaRPr lang="en-GB" dirty="0"/>
          </a:p>
        </p:txBody>
      </p:sp>
      <p:sp>
        <p:nvSpPr>
          <p:cNvPr id="9" name="CONTENT Placeholder 1"/>
          <p:cNvSpPr>
            <a:spLocks noGrp="1"/>
          </p:cNvSpPr>
          <p:nvPr>
            <p:ph sz="quarter" idx="72"/>
          </p:nvPr>
        </p:nvSpPr>
        <p:spPr>
          <a:xfrm>
            <a:off x="432198" y="1522800"/>
            <a:ext cx="11340000" cy="487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12" name="Date Placeholder"/>
          <p:cNvSpPr>
            <a:spLocks noGrp="1"/>
          </p:cNvSpPr>
          <p:nvPr>
            <p:ph type="dt" sz="half" idx="69"/>
          </p:nvPr>
        </p:nvSpPr>
        <p:spPr>
          <a:xfrm>
            <a:off x="432197" y="6886754"/>
            <a:ext cx="2088000" cy="144000"/>
          </a:xfrm>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3"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303373924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2" orient="horz" pos="411" userDrawn="1">
          <p15:clr>
            <a:srgbClr val="F26B43"/>
          </p15:clr>
        </p15:guide>
        <p15:guide id="3" orient="horz" pos="293" userDrawn="1">
          <p15:clr>
            <a:srgbClr val="F26B43"/>
          </p15:clr>
        </p15:guide>
        <p15:guide id="16" orient="horz" pos="4178" userDrawn="1">
          <p15:clr>
            <a:srgbClr val="F26B43"/>
          </p15:clr>
        </p15:guide>
        <p15:guide id="17" orient="horz" pos="4258"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Description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71629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4"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11340000" cy="246221"/>
          </a:xfrm>
        </p:spPr>
        <p:txBody>
          <a:bodyPr>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11340000" cy="460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12" name="Date Placeholder"/>
          <p:cNvSpPr>
            <a:spLocks noGrp="1"/>
          </p:cNvSpPr>
          <p:nvPr>
            <p:ph type="dt" sz="half" idx="69"/>
          </p:nvPr>
        </p:nvSpPr>
        <p:spPr>
          <a:xfrm>
            <a:off x="432197" y="6886754"/>
            <a:ext cx="2088000" cy="144000"/>
          </a:xfrm>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3"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11698638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11">
          <p15:clr>
            <a:srgbClr val="F26B43"/>
          </p15:clr>
        </p15:guide>
        <p15:guide id="2" orient="horz" pos="293">
          <p15:clr>
            <a:srgbClr val="F26B43"/>
          </p15:clr>
        </p15:guide>
        <p15:guide id="3" orient="horz" pos="1115">
          <p15:clr>
            <a:srgbClr val="F26B43"/>
          </p15:clr>
        </p15:guide>
        <p15:guide id="4" orient="horz" pos="4178">
          <p15:clr>
            <a:srgbClr val="F26B43"/>
          </p15:clr>
        </p15:guide>
        <p15:guide id="5" orient="horz" pos="4258">
          <p15:clr>
            <a:srgbClr val="F26B43"/>
          </p15:clr>
        </p15:guide>
        <p15:guide id="0" orient="horz" pos="1133"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741061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38"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55584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5558400" cy="460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6213798" y="1522800"/>
            <a:ext cx="5558400" cy="246221"/>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6213798" y="1800000"/>
            <a:ext cx="5558400" cy="4608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15"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70317231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3" orient="horz" pos="292">
          <p15:clr>
            <a:srgbClr val="F26B43"/>
          </p15:clr>
        </p15:guide>
        <p15:guide id="6" pos="3776" userDrawn="1">
          <p15:clr>
            <a:srgbClr val="F26B43"/>
          </p15:clr>
        </p15:guide>
        <p15:guide id="12" orient="horz" pos="411" userDrawn="1">
          <p15:clr>
            <a:srgbClr val="F26B43"/>
          </p15:clr>
        </p15:guide>
        <p15:guide id="13" orient="horz" pos="889" userDrawn="1">
          <p15:clr>
            <a:srgbClr val="F26B43"/>
          </p15:clr>
        </p15:guide>
        <p15:guide id="15" orient="horz" pos="4178" userDrawn="1">
          <p15:clr>
            <a:srgbClr val="F26B43"/>
          </p15:clr>
        </p15:guide>
        <p15:guide id="16" orient="horz" pos="4258" userDrawn="1">
          <p15:clr>
            <a:srgbClr val="F26B43"/>
          </p15:clr>
        </p15:guide>
        <p15:guide id="17" orient="horz" pos="1115" userDrawn="1">
          <p15:clr>
            <a:srgbClr val="F26B43"/>
          </p15:clr>
        </p15:guide>
        <p15:guide id="18" pos="3914" userDrawn="1">
          <p15:clr>
            <a:srgbClr val="F26B43"/>
          </p15:clr>
        </p15:guide>
        <p15:guide id="19" orient="horz" pos="1133"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s – horizonta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267858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62" name="think-cell Slide" r:id="rId4" imgW="366" imgH="367" progId="TCLayout.ActiveDocument.1">
                  <p:embed/>
                </p:oleObj>
              </mc:Choice>
              <mc:Fallback>
                <p:oleObj name="think-cell Slide" r:id="rId4" imgW="366" imgH="367"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9" name="SUBTITLE placeholder 1"/>
          <p:cNvSpPr>
            <a:spLocks noGrp="1"/>
          </p:cNvSpPr>
          <p:nvPr>
            <p:ph type="body" sz="quarter" idx="43" hasCustomPrompt="1"/>
          </p:nvPr>
        </p:nvSpPr>
        <p:spPr>
          <a:xfrm>
            <a:off x="432198" y="465085"/>
            <a:ext cx="8388000" cy="184666"/>
          </a:xfrm>
        </p:spPr>
        <p:txBody>
          <a:bodyPr bIns="0">
            <a:noAutofit/>
          </a:bodyPr>
          <a:lstStyle>
            <a:lvl1pPr marL="0" indent="0">
              <a:lnSpc>
                <a:spcPct val="100000"/>
              </a:lnSpc>
              <a:spcBef>
                <a:spcPts val="0"/>
              </a:spcBef>
              <a:buFontTx/>
              <a:buNone/>
              <a:defRPr sz="1200">
                <a:solidFill>
                  <a:srgbClr val="7B8185"/>
                </a:solidFill>
                <a:latin typeface="+mn-lt"/>
              </a:defRPr>
            </a:lvl1pPr>
            <a:lvl2pPr marL="180612" indent="0">
              <a:buFontTx/>
              <a:buNone/>
              <a:defRPr/>
            </a:lvl2pPr>
            <a:lvl3pPr marL="360000" indent="0">
              <a:buFontTx/>
              <a:buNone/>
              <a:defRPr/>
            </a:lvl3pPr>
            <a:lvl4pPr marL="540000" indent="0">
              <a:buFontTx/>
              <a:buNone/>
              <a:defRPr/>
            </a:lvl4pPr>
            <a:lvl5pPr marL="720000" indent="0">
              <a:buFontTx/>
              <a:buNone/>
              <a:defRPr/>
            </a:lvl5pPr>
          </a:lstStyle>
          <a:p>
            <a:pPr lvl="0"/>
            <a:r>
              <a:rPr lang="en-US" dirty="0" smtClean="0"/>
              <a:t>Click to edit subtitle</a:t>
            </a:r>
          </a:p>
        </p:txBody>
      </p:sp>
      <p:sp>
        <p:nvSpPr>
          <p:cNvPr id="2" name="TITLE placeholder 1"/>
          <p:cNvSpPr>
            <a:spLocks noGrp="1"/>
          </p:cNvSpPr>
          <p:nvPr>
            <p:ph type="title" hasCustomPrompt="1"/>
          </p:nvPr>
        </p:nvSpPr>
        <p:spPr>
          <a:xfrm>
            <a:off x="432198" y="727199"/>
            <a:ext cx="11340000" cy="684000"/>
          </a:xfrm>
        </p:spPr>
        <p:txBody>
          <a:bodyPr bIns="0">
            <a:noAutofit/>
          </a:bodyPr>
          <a:lstStyle>
            <a:lvl1pPr>
              <a:defRPr/>
            </a:lvl1pPr>
          </a:lstStyle>
          <a:p>
            <a:r>
              <a:rPr lang="en-US" dirty="0" smtClean="0"/>
              <a:t>Click to add Slide Title – increase font size for large audience – max. two lines</a:t>
            </a:r>
            <a:endParaRPr lang="en-GB" dirty="0"/>
          </a:p>
        </p:txBody>
      </p:sp>
      <p:sp>
        <p:nvSpPr>
          <p:cNvPr id="4" name="DESCRIPTION Placeholder 1"/>
          <p:cNvSpPr>
            <a:spLocks noGrp="1"/>
          </p:cNvSpPr>
          <p:nvPr>
            <p:ph type="body" sz="quarter" idx="71" hasCustomPrompt="1"/>
          </p:nvPr>
        </p:nvSpPr>
        <p:spPr>
          <a:xfrm>
            <a:off x="432198" y="1522800"/>
            <a:ext cx="11340000" cy="246221"/>
          </a:xfrm>
        </p:spPr>
        <p:txBody>
          <a:bodyPr bIns="0">
            <a:noAutofit/>
          </a:bodyPr>
          <a:lstStyle>
            <a:lvl1pPr marL="0" indent="0">
              <a:buNone/>
              <a:defRPr b="1" baseline="0">
                <a:solidFill>
                  <a:schemeClr val="tx2"/>
                </a:solidFill>
              </a:defRPr>
            </a:lvl1pPr>
          </a:lstStyle>
          <a:p>
            <a:pPr lvl="0"/>
            <a:r>
              <a:rPr lang="en-US" dirty="0" smtClean="0"/>
              <a:t>Add description max 1line</a:t>
            </a:r>
          </a:p>
        </p:txBody>
      </p:sp>
      <p:sp>
        <p:nvSpPr>
          <p:cNvPr id="9" name="CONTENT Placeholder 1"/>
          <p:cNvSpPr>
            <a:spLocks noGrp="1"/>
          </p:cNvSpPr>
          <p:nvPr>
            <p:ph sz="quarter" idx="72"/>
          </p:nvPr>
        </p:nvSpPr>
        <p:spPr>
          <a:xfrm>
            <a:off x="432198" y="1800000"/>
            <a:ext cx="113400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DESCRIPTION Placeholder 2"/>
          <p:cNvSpPr>
            <a:spLocks noGrp="1"/>
          </p:cNvSpPr>
          <p:nvPr>
            <p:ph type="body" sz="quarter" idx="73" hasCustomPrompt="1"/>
          </p:nvPr>
        </p:nvSpPr>
        <p:spPr>
          <a:xfrm>
            <a:off x="432198" y="4077169"/>
            <a:ext cx="11340000" cy="246221"/>
          </a:xfrm>
        </p:spPr>
        <p:txBody>
          <a:bodyPr bIns="0">
            <a:noAutofit/>
          </a:bodyPr>
          <a:lstStyle>
            <a:lvl1pPr marL="0" indent="0">
              <a:buFont typeface="Arial" panose="020B0604020202020204" pitchFamily="34" charset="0"/>
              <a:buNone/>
              <a:defRPr b="1">
                <a:solidFill>
                  <a:srgbClr val="003755"/>
                </a:solidFill>
              </a:defRPr>
            </a:lvl1pPr>
          </a:lstStyle>
          <a:p>
            <a:pPr lvl="0"/>
            <a:r>
              <a:rPr lang="en-US" dirty="0" smtClean="0"/>
              <a:t>Add description max 1line</a:t>
            </a:r>
          </a:p>
        </p:txBody>
      </p:sp>
      <p:sp>
        <p:nvSpPr>
          <p:cNvPr id="13" name="CONTENT Placeholder 2"/>
          <p:cNvSpPr>
            <a:spLocks noGrp="1"/>
          </p:cNvSpPr>
          <p:nvPr>
            <p:ph sz="quarter" idx="74"/>
          </p:nvPr>
        </p:nvSpPr>
        <p:spPr>
          <a:xfrm>
            <a:off x="432198" y="4356000"/>
            <a:ext cx="11340000" cy="205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5" name="SOURCE placeholder 1"/>
          <p:cNvSpPr>
            <a:spLocks noGrp="1"/>
          </p:cNvSpPr>
          <p:nvPr>
            <p:ph type="body" sz="quarter" idx="68" hasCustomPrompt="1"/>
          </p:nvPr>
        </p:nvSpPr>
        <p:spPr>
          <a:xfrm>
            <a:off x="432198" y="6634236"/>
            <a:ext cx="7704000" cy="123111"/>
          </a:xfrm>
        </p:spPr>
        <p:txBody>
          <a:bodyPr bIns="0" anchor="b" anchorCtr="0">
            <a:spAutoFit/>
          </a:bodyPr>
          <a:lstStyle>
            <a:lvl1pPr marL="360363" indent="-360363">
              <a:spcBef>
                <a:spcPts val="0"/>
              </a:spcBef>
              <a:buFontTx/>
              <a:buNone/>
              <a:tabLst>
                <a:tab pos="360363" algn="l"/>
              </a:tabLst>
              <a:defRPr sz="800"/>
            </a:lvl1pPr>
            <a:lvl2pPr marL="360363" indent="-360363">
              <a:buNone/>
              <a:defRPr/>
            </a:lvl2pPr>
          </a:lstStyle>
          <a:p>
            <a:pPr lvl="0"/>
            <a:r>
              <a:rPr lang="en-US" dirty="0" smtClean="0"/>
              <a:t>Source:</a:t>
            </a:r>
          </a:p>
        </p:txBody>
      </p:sp>
      <p:sp>
        <p:nvSpPr>
          <p:cNvPr id="5" name="Date Placeholder"/>
          <p:cNvSpPr>
            <a:spLocks noGrp="1"/>
          </p:cNvSpPr>
          <p:nvPr>
            <p:ph type="dt" sz="half" idx="69"/>
          </p:nvPr>
        </p:nvSpPr>
        <p:spPr>
          <a:xfrm>
            <a:off x="432198" y="6886754"/>
            <a:ext cx="2088000" cy="144000"/>
          </a:xfrm>
        </p:spPr>
        <p:txBody>
          <a:bodyPr/>
          <a:lstStyle/>
          <a:p>
            <a:endParaRPr lang="en-GB" dirty="0"/>
          </a:p>
        </p:txBody>
      </p:sp>
      <p:sp>
        <p:nvSpPr>
          <p:cNvPr id="7" name="Footer Placeholder"/>
          <p:cNvSpPr>
            <a:spLocks noGrp="1"/>
          </p:cNvSpPr>
          <p:nvPr>
            <p:ph type="ftr" sz="quarter" idx="70"/>
          </p:nvPr>
        </p:nvSpPr>
        <p:spPr>
          <a:xfrm>
            <a:off x="8155320" y="6649625"/>
            <a:ext cx="3276000" cy="107722"/>
          </a:xfrm>
        </p:spPr>
        <p:txBody>
          <a:bodyPr bIns="0">
            <a:spAutoFit/>
          </a:bodyPr>
          <a:lstStyle/>
          <a:p>
            <a:endParaRPr lang="en-US" dirty="0"/>
          </a:p>
        </p:txBody>
      </p:sp>
      <p:sp>
        <p:nvSpPr>
          <p:cNvPr id="48" name="Slide Number Placeholder"/>
          <p:cNvSpPr txBox="1">
            <a:spLocks/>
          </p:cNvSpPr>
          <p:nvPr userDrawn="1"/>
        </p:nvSpPr>
        <p:spPr>
          <a:xfrm>
            <a:off x="11376197" y="6649624"/>
            <a:ext cx="396000" cy="107722"/>
          </a:xfrm>
          <a:prstGeom prst="rect">
            <a:avLst/>
          </a:prstGeom>
        </p:spPr>
        <p:txBody>
          <a:bodyPr vert="horz" wrap="square" lIns="0" tIns="0" rIns="0" bIns="0" rtlCol="0" anchor="b"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5F008E4-3560-43CF-89A1-9929632734E7}" type="slidenum">
              <a:rPr lang="en-GB" sz="700" smtClean="0">
                <a:solidFill>
                  <a:srgbClr val="7B8185"/>
                </a:solidFill>
              </a:rPr>
              <a:pPr/>
              <a:t>‹#›</a:t>
            </a:fld>
            <a:endParaRPr lang="en-GB" sz="700" dirty="0">
              <a:solidFill>
                <a:srgbClr val="7B8185"/>
              </a:solidFill>
            </a:endParaRPr>
          </a:p>
        </p:txBody>
      </p:sp>
      <p:pic>
        <p:nvPicPr>
          <p:cNvPr id="27" name="Danske Bank 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459917" y="250748"/>
            <a:ext cx="1312281" cy="198000"/>
          </a:xfrm>
          <a:prstGeom prst="rect">
            <a:avLst/>
          </a:prstGeom>
        </p:spPr>
      </p:pic>
    </p:spTree>
    <p:extLst>
      <p:ext uri="{BB962C8B-B14F-4D97-AF65-F5344CB8AC3E}">
        <p14:creationId xmlns:p14="http://schemas.microsoft.com/office/powerpoint/2010/main" val="6864451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92">
          <p15:clr>
            <a:srgbClr val="F26B43"/>
          </p15:clr>
        </p15:guide>
        <p15:guide id="2" orient="horz" pos="4178">
          <p15:clr>
            <a:srgbClr val="F26B43"/>
          </p15:clr>
        </p15:guide>
        <p15:guide id="4" orient="horz" pos="2743">
          <p15:clr>
            <a:srgbClr val="F26B43"/>
          </p15:clr>
        </p15:guide>
        <p15:guide id="5" orient="horz" pos="410">
          <p15:clr>
            <a:srgbClr val="F26B43"/>
          </p15:clr>
        </p15:guide>
        <p15:guide id="6" orient="horz" pos="4258">
          <p15:clr>
            <a:srgbClr val="F26B43"/>
          </p15:clr>
        </p15:guide>
        <p15:guide id="7" orient="horz" pos="2724">
          <p15:clr>
            <a:srgbClr val="F26B43"/>
          </p15:clr>
        </p15:guide>
        <p15:guide id="8" orient="horz" pos="2568">
          <p15:clr>
            <a:srgbClr val="F26B43"/>
          </p15:clr>
        </p15:guide>
        <p15:guide id="9" orient="horz" pos="2428">
          <p15:clr>
            <a:srgbClr val="F26B43"/>
          </p15:clr>
        </p15:guide>
        <p15:guide id="10" orient="horz" pos="1115">
          <p15:clr>
            <a:srgbClr val="F26B43"/>
          </p15:clr>
        </p15:guide>
        <p15:guide id="11" orient="horz" pos="1133" userDrawn="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3"/>
            </p:custDataLst>
            <p:extLst>
              <p:ext uri="{D42A27DB-BD31-4B8C-83A1-F6EECF244321}">
                <p14:modId xmlns:p14="http://schemas.microsoft.com/office/powerpoint/2010/main" val="39280290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0" name="think-cell Slide" r:id="rId45" imgW="366" imgH="367" progId="TCLayout.ActiveDocument.1">
                  <p:embed/>
                </p:oleObj>
              </mc:Choice>
              <mc:Fallback>
                <p:oleObj name="think-cell Slide" r:id="rId45" imgW="366" imgH="367"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32" name="TITLE placeholder 1"/>
          <p:cNvSpPr>
            <a:spLocks noGrp="1"/>
          </p:cNvSpPr>
          <p:nvPr>
            <p:ph type="title"/>
          </p:nvPr>
        </p:nvSpPr>
        <p:spPr>
          <a:xfrm>
            <a:off x="432198" y="727199"/>
            <a:ext cx="11340000" cy="684000"/>
          </a:xfrm>
          <a:prstGeom prst="rect">
            <a:avLst/>
          </a:prstGeom>
        </p:spPr>
        <p:txBody>
          <a:bodyPr vert="horz" lIns="0" tIns="0" rIns="0" bIns="0" rtlCol="0" anchor="t" anchorCtr="0">
            <a:noAutofit/>
          </a:bodyPr>
          <a:lstStyle/>
          <a:p>
            <a:r>
              <a:rPr lang="en-US" noProof="0" dirty="0" smtClean="0"/>
              <a:t>Click to add Slide Title – increase font size for large audience – max. two lines</a:t>
            </a:r>
            <a:endParaRPr lang="en-GB" noProof="0" dirty="0"/>
          </a:p>
        </p:txBody>
      </p:sp>
      <p:sp>
        <p:nvSpPr>
          <p:cNvPr id="5" name="TEXT placeholder 1"/>
          <p:cNvSpPr>
            <a:spLocks noGrp="1"/>
          </p:cNvSpPr>
          <p:nvPr>
            <p:ph type="body" idx="1"/>
          </p:nvPr>
        </p:nvSpPr>
        <p:spPr>
          <a:xfrm>
            <a:off x="432197" y="1522800"/>
            <a:ext cx="11340000" cy="4878000"/>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smtClean="0"/>
          </a:p>
        </p:txBody>
      </p:sp>
      <p:sp>
        <p:nvSpPr>
          <p:cNvPr id="31" name="FOOTER placeholder"/>
          <p:cNvSpPr>
            <a:spLocks noGrp="1"/>
          </p:cNvSpPr>
          <p:nvPr>
            <p:ph type="ftr" sz="quarter" idx="3"/>
          </p:nvPr>
        </p:nvSpPr>
        <p:spPr>
          <a:xfrm>
            <a:off x="8155320" y="6649625"/>
            <a:ext cx="3276000" cy="107722"/>
          </a:xfrm>
          <a:prstGeom prst="rect">
            <a:avLst/>
          </a:prstGeom>
        </p:spPr>
        <p:txBody>
          <a:bodyPr vert="horz" lIns="0" tIns="0" rIns="0" bIns="0" rtlCol="0" anchor="b" anchorCtr="0">
            <a:spAutoFit/>
          </a:bodyPr>
          <a:lstStyle>
            <a:lvl1pPr algn="r">
              <a:defRPr lang="en-GB" sz="700" spc="10" baseline="0">
                <a:solidFill>
                  <a:srgbClr val="7B8185"/>
                </a:solidFill>
                <a:latin typeface="+mn-lt"/>
              </a:defRPr>
            </a:lvl1pPr>
          </a:lstStyle>
          <a:p>
            <a:endParaRPr lang="da-DK" dirty="0"/>
          </a:p>
        </p:txBody>
      </p:sp>
      <p:sp>
        <p:nvSpPr>
          <p:cNvPr id="8" name="empower - DO NOT DELETE!!!" hidden="1"/>
          <p:cNvSpPr/>
          <p:nvPr userDrawn="1">
            <p:custDataLst>
              <p:tags r:id="rId44"/>
            </p:custDataLst>
          </p:nvPr>
        </p:nvSpPr>
        <p:spPr>
          <a:xfrm>
            <a:off x="0" y="0"/>
            <a:ext cx="0" cy="0"/>
          </a:xfrm>
          <a:prstGeom prst="ellipse">
            <a:avLst/>
          </a:prstGeom>
          <a:solidFill>
            <a:schemeClr val="bg1"/>
          </a:solidFill>
          <a:ln w="9525" cap="flat" cmpd="sng" algn="ctr">
            <a:solidFill>
              <a:schemeClr val="bg1"/>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err="1" smtClean="0">
              <a:ln>
                <a:noFill/>
              </a:ln>
              <a:solidFill>
                <a:srgbClr val="000000"/>
              </a:solidFill>
              <a:effectLst/>
              <a:uLnTx/>
              <a:uFillTx/>
              <a:latin typeface="Danske Text v2" panose="020B0503040502040204" pitchFamily="34" charset="0"/>
              <a:ea typeface="+mn-ea"/>
              <a:cs typeface="+mn-cs"/>
              <a:sym typeface="Danske Text v2" panose="020B0503040502040204" pitchFamily="34" charset="0"/>
            </a:endParaRPr>
          </a:p>
        </p:txBody>
      </p:sp>
      <p:sp>
        <p:nvSpPr>
          <p:cNvPr id="3" name="Date Placeholder"/>
          <p:cNvSpPr>
            <a:spLocks noGrp="1"/>
          </p:cNvSpPr>
          <p:nvPr>
            <p:ph type="dt" sz="half" idx="2"/>
          </p:nvPr>
        </p:nvSpPr>
        <p:spPr>
          <a:xfrm>
            <a:off x="432197" y="6956422"/>
            <a:ext cx="2088000" cy="144000"/>
          </a:xfrm>
          <a:prstGeom prst="rect">
            <a:avLst/>
          </a:prstGeom>
        </p:spPr>
        <p:txBody>
          <a:bodyPr vert="horz" lIns="0" tIns="0" rIns="0" bIns="0" rtlCol="0" anchor="b" anchorCtr="0"/>
          <a:lstStyle>
            <a:lvl1pPr algn="l">
              <a:defRPr sz="700">
                <a:solidFill>
                  <a:srgbClr val="7B8185"/>
                </a:solidFill>
                <a:latin typeface="+mn-lt"/>
              </a:defRPr>
            </a:lvl1pPr>
          </a:lstStyle>
          <a:p>
            <a:endParaRPr lang="en-GB" dirty="0"/>
          </a:p>
        </p:txBody>
      </p:sp>
    </p:spTree>
    <p:extLst>
      <p:ext uri="{BB962C8B-B14F-4D97-AF65-F5344CB8AC3E}">
        <p14:creationId xmlns:p14="http://schemas.microsoft.com/office/powerpoint/2010/main" val="420924725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803" r:id="rId3"/>
    <p:sldLayoutId id="2147483731" r:id="rId4"/>
    <p:sldLayoutId id="2147483772" r:id="rId5"/>
    <p:sldLayoutId id="2147483789" r:id="rId6"/>
    <p:sldLayoutId id="2147483802" r:id="rId7"/>
    <p:sldLayoutId id="2147483788" r:id="rId8"/>
    <p:sldLayoutId id="2147483801" r:id="rId9"/>
    <p:sldLayoutId id="2147483800" r:id="rId10"/>
    <p:sldLayoutId id="2147483799" r:id="rId11"/>
    <p:sldLayoutId id="2147483798" r:id="rId12"/>
    <p:sldLayoutId id="2147483797" r:id="rId13"/>
    <p:sldLayoutId id="2147483796" r:id="rId14"/>
    <p:sldLayoutId id="2147483779" r:id="rId15"/>
    <p:sldLayoutId id="2147483795" r:id="rId16"/>
    <p:sldLayoutId id="2147483794" r:id="rId17"/>
    <p:sldLayoutId id="2147483776" r:id="rId18"/>
    <p:sldLayoutId id="2147483792" r:id="rId19"/>
    <p:sldLayoutId id="2147483793" r:id="rId20"/>
    <p:sldLayoutId id="2147483724" r:id="rId21"/>
    <p:sldLayoutId id="2147483782" r:id="rId22"/>
    <p:sldLayoutId id="2147483728" r:id="rId23"/>
    <p:sldLayoutId id="2147483729" r:id="rId24"/>
    <p:sldLayoutId id="2147483773" r:id="rId25"/>
    <p:sldLayoutId id="2147483774" r:id="rId26"/>
    <p:sldLayoutId id="2147483804" r:id="rId27"/>
    <p:sldLayoutId id="2147483805" r:id="rId28"/>
    <p:sldLayoutId id="2147483806" r:id="rId29"/>
    <p:sldLayoutId id="2147483722" r:id="rId30"/>
    <p:sldLayoutId id="2147483807" r:id="rId31"/>
    <p:sldLayoutId id="2147483808" r:id="rId32"/>
    <p:sldLayoutId id="2147483809" r:id="rId33"/>
    <p:sldLayoutId id="2147483810" r:id="rId34"/>
    <p:sldLayoutId id="2147483811" r:id="rId35"/>
    <p:sldLayoutId id="2147483812" r:id="rId36"/>
    <p:sldLayoutId id="2147483814" r:id="rId37"/>
    <p:sldLayoutId id="2147483816" r:id="rId38"/>
    <p:sldLayoutId id="2147483820" r:id="rId39"/>
    <p:sldLayoutId id="2147483822" r:id="rId40"/>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lang="en-GB" sz="2400" b="0" kern="1200" baseline="0" noProof="0" dirty="0">
          <a:solidFill>
            <a:srgbClr val="003755"/>
          </a:solidFill>
          <a:latin typeface="+mj-lt"/>
          <a:ea typeface="+mj-ea"/>
          <a:cs typeface="Arial" pitchFamily="34" charset="0"/>
        </a:defRPr>
      </a:lvl1pPr>
    </p:titleStyle>
    <p:bodyStyle>
      <a:lvl1pPr marL="180000" indent="-180000" algn="l" defTabSz="914400" rtl="0" eaLnBrk="1" latinLnBrk="0" hangingPunct="1">
        <a:lnSpc>
          <a:spcPct val="100000"/>
        </a:lnSpc>
        <a:spcBef>
          <a:spcPts val="0"/>
        </a:spcBef>
        <a:buClr>
          <a:schemeClr val="accent1"/>
        </a:buClr>
        <a:buFont typeface="Danske Text" panose="00000400000000000000" pitchFamily="2"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buClr>
          <a:srgbClr val="003755"/>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buClr>
          <a:srgbClr val="003755"/>
        </a:buClr>
        <a:buFont typeface="Danske Text" panose="00000400000000000000" pitchFamily="2"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buClr>
          <a:srgbClr val="003755"/>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buClr>
          <a:schemeClr val="accent1"/>
        </a:buClr>
        <a:buFont typeface="Danske Text" panose="00000400000000000000" pitchFamily="2" charset="0"/>
        <a:buChar char="•"/>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003755"/>
        </a:buClr>
        <a:buFont typeface="+mj-lt"/>
        <a:buAutoNum type="arabicPeriod"/>
        <a:defRPr sz="16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003755"/>
        </a:buClr>
        <a:buFont typeface="+mj-lt"/>
        <a:buAutoNum type="alphaLcPeriod"/>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0"/>
        </a:spcBef>
        <a:buClr>
          <a:srgbClr val="003755"/>
        </a:buClr>
        <a:buFont typeface="+mj-lt"/>
        <a:buAutoNum type="romanLcPeriod"/>
        <a:defRPr sz="1600" kern="1200" baseline="0">
          <a:solidFill>
            <a:schemeClr val="tx1"/>
          </a:solidFill>
          <a:latin typeface="+mn-lt"/>
          <a:ea typeface="+mn-ea"/>
          <a:cs typeface="+mn-cs"/>
        </a:defRPr>
      </a:lvl8pPr>
      <a:lvl9pPr marL="1620000" indent="-180000" algn="l" defTabSz="914400" rtl="0" eaLnBrk="1" latinLnBrk="0" hangingPunct="1">
        <a:lnSpc>
          <a:spcPct val="120000"/>
        </a:lnSpc>
        <a:spcBef>
          <a:spcPts val="0"/>
        </a:spcBef>
        <a:buFont typeface="Arial" panose="020B0604020202020204" pitchFamily="34" charset="0"/>
        <a:buChar char="•"/>
        <a:defRPr sz="9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59" userDrawn="1">
          <p15:clr>
            <a:srgbClr val="F26B43"/>
          </p15:clr>
        </p15:guide>
        <p15:guide id="2" pos="271" userDrawn="1">
          <p15:clr>
            <a:srgbClr val="F26B43"/>
          </p15:clr>
        </p15:guide>
        <p15:guide id="3" pos="7425" userDrawn="1">
          <p15:clr>
            <a:srgbClr val="F26B43"/>
          </p15:clr>
        </p15:guide>
        <p15:guide id="4" orient="horz" pos="457" userDrawn="1">
          <p15:clr>
            <a:srgbClr val="F26B43"/>
          </p15:clr>
        </p15:guide>
        <p15:guide id="5" orient="horz" pos="889" userDrawn="1">
          <p15:clr>
            <a:srgbClr val="F26B43"/>
          </p15:clr>
        </p15:guide>
        <p15:guide id="6" orient="horz" pos="404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2.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image" Target="../media/image7.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3" Type="http://schemas.openxmlformats.org/officeDocument/2006/relationships/tags" Target="../tags/tag491.xml"/><Relationship Id="rId18" Type="http://schemas.openxmlformats.org/officeDocument/2006/relationships/tags" Target="../tags/tag496.xml"/><Relationship Id="rId26" Type="http://schemas.openxmlformats.org/officeDocument/2006/relationships/tags" Target="../tags/tag504.xml"/><Relationship Id="rId39" Type="http://schemas.openxmlformats.org/officeDocument/2006/relationships/tags" Target="../tags/tag517.xml"/><Relationship Id="rId21" Type="http://schemas.openxmlformats.org/officeDocument/2006/relationships/tags" Target="../tags/tag499.xml"/><Relationship Id="rId34" Type="http://schemas.openxmlformats.org/officeDocument/2006/relationships/tags" Target="../tags/tag512.xml"/><Relationship Id="rId42" Type="http://schemas.openxmlformats.org/officeDocument/2006/relationships/tags" Target="../tags/tag520.xml"/><Relationship Id="rId47" Type="http://schemas.openxmlformats.org/officeDocument/2006/relationships/tags" Target="../tags/tag525.xml"/><Relationship Id="rId50" Type="http://schemas.openxmlformats.org/officeDocument/2006/relationships/tags" Target="../tags/tag528.xml"/><Relationship Id="rId55" Type="http://schemas.openxmlformats.org/officeDocument/2006/relationships/tags" Target="../tags/tag533.xml"/><Relationship Id="rId63" Type="http://schemas.openxmlformats.org/officeDocument/2006/relationships/tags" Target="../tags/tag541.xml"/><Relationship Id="rId68" Type="http://schemas.openxmlformats.org/officeDocument/2006/relationships/tags" Target="../tags/tag546.xml"/><Relationship Id="rId76" Type="http://schemas.openxmlformats.org/officeDocument/2006/relationships/tags" Target="../tags/tag554.xml"/><Relationship Id="rId84" Type="http://schemas.openxmlformats.org/officeDocument/2006/relationships/tags" Target="../tags/tag562.xml"/><Relationship Id="rId89" Type="http://schemas.openxmlformats.org/officeDocument/2006/relationships/oleObject" Target="../embeddings/oleObject46.bin"/><Relationship Id="rId7" Type="http://schemas.openxmlformats.org/officeDocument/2006/relationships/tags" Target="../tags/tag485.xml"/><Relationship Id="rId71" Type="http://schemas.openxmlformats.org/officeDocument/2006/relationships/tags" Target="../tags/tag549.xml"/><Relationship Id="rId92" Type="http://schemas.openxmlformats.org/officeDocument/2006/relationships/chart" Target="../charts/chart4.xml"/><Relationship Id="rId2" Type="http://schemas.openxmlformats.org/officeDocument/2006/relationships/tags" Target="../tags/tag480.xml"/><Relationship Id="rId16" Type="http://schemas.openxmlformats.org/officeDocument/2006/relationships/tags" Target="../tags/tag494.xml"/><Relationship Id="rId29" Type="http://schemas.openxmlformats.org/officeDocument/2006/relationships/tags" Target="../tags/tag507.xml"/><Relationship Id="rId11" Type="http://schemas.openxmlformats.org/officeDocument/2006/relationships/tags" Target="../tags/tag489.xml"/><Relationship Id="rId24" Type="http://schemas.openxmlformats.org/officeDocument/2006/relationships/tags" Target="../tags/tag502.xml"/><Relationship Id="rId32" Type="http://schemas.openxmlformats.org/officeDocument/2006/relationships/tags" Target="../tags/tag510.xml"/><Relationship Id="rId37" Type="http://schemas.openxmlformats.org/officeDocument/2006/relationships/tags" Target="../tags/tag515.xml"/><Relationship Id="rId40" Type="http://schemas.openxmlformats.org/officeDocument/2006/relationships/tags" Target="../tags/tag518.xml"/><Relationship Id="rId45" Type="http://schemas.openxmlformats.org/officeDocument/2006/relationships/tags" Target="../tags/tag523.xml"/><Relationship Id="rId53" Type="http://schemas.openxmlformats.org/officeDocument/2006/relationships/tags" Target="../tags/tag531.xml"/><Relationship Id="rId58" Type="http://schemas.openxmlformats.org/officeDocument/2006/relationships/tags" Target="../tags/tag536.xml"/><Relationship Id="rId66" Type="http://schemas.openxmlformats.org/officeDocument/2006/relationships/tags" Target="../tags/tag544.xml"/><Relationship Id="rId74" Type="http://schemas.openxmlformats.org/officeDocument/2006/relationships/tags" Target="../tags/tag552.xml"/><Relationship Id="rId79" Type="http://schemas.openxmlformats.org/officeDocument/2006/relationships/tags" Target="../tags/tag557.xml"/><Relationship Id="rId87" Type="http://schemas.openxmlformats.org/officeDocument/2006/relationships/tags" Target="../tags/tag565.xml"/><Relationship Id="rId5" Type="http://schemas.openxmlformats.org/officeDocument/2006/relationships/tags" Target="../tags/tag483.xml"/><Relationship Id="rId61" Type="http://schemas.openxmlformats.org/officeDocument/2006/relationships/tags" Target="../tags/tag539.xml"/><Relationship Id="rId82" Type="http://schemas.openxmlformats.org/officeDocument/2006/relationships/tags" Target="../tags/tag560.xml"/><Relationship Id="rId90" Type="http://schemas.openxmlformats.org/officeDocument/2006/relationships/image" Target="../media/image6.emf"/><Relationship Id="rId19" Type="http://schemas.openxmlformats.org/officeDocument/2006/relationships/tags" Target="../tags/tag497.xml"/><Relationship Id="rId14" Type="http://schemas.openxmlformats.org/officeDocument/2006/relationships/tags" Target="../tags/tag492.xml"/><Relationship Id="rId22" Type="http://schemas.openxmlformats.org/officeDocument/2006/relationships/tags" Target="../tags/tag500.xml"/><Relationship Id="rId27" Type="http://schemas.openxmlformats.org/officeDocument/2006/relationships/tags" Target="../tags/tag505.xml"/><Relationship Id="rId30" Type="http://schemas.openxmlformats.org/officeDocument/2006/relationships/tags" Target="../tags/tag508.xml"/><Relationship Id="rId35" Type="http://schemas.openxmlformats.org/officeDocument/2006/relationships/tags" Target="../tags/tag513.xml"/><Relationship Id="rId43" Type="http://schemas.openxmlformats.org/officeDocument/2006/relationships/tags" Target="../tags/tag521.xml"/><Relationship Id="rId48" Type="http://schemas.openxmlformats.org/officeDocument/2006/relationships/tags" Target="../tags/tag526.xml"/><Relationship Id="rId56" Type="http://schemas.openxmlformats.org/officeDocument/2006/relationships/tags" Target="../tags/tag534.xml"/><Relationship Id="rId64" Type="http://schemas.openxmlformats.org/officeDocument/2006/relationships/tags" Target="../tags/tag542.xml"/><Relationship Id="rId69" Type="http://schemas.openxmlformats.org/officeDocument/2006/relationships/tags" Target="../tags/tag547.xml"/><Relationship Id="rId77" Type="http://schemas.openxmlformats.org/officeDocument/2006/relationships/tags" Target="../tags/tag555.xml"/><Relationship Id="rId8" Type="http://schemas.openxmlformats.org/officeDocument/2006/relationships/tags" Target="../tags/tag486.xml"/><Relationship Id="rId51" Type="http://schemas.openxmlformats.org/officeDocument/2006/relationships/tags" Target="../tags/tag529.xml"/><Relationship Id="rId72" Type="http://schemas.openxmlformats.org/officeDocument/2006/relationships/tags" Target="../tags/tag550.xml"/><Relationship Id="rId80" Type="http://schemas.openxmlformats.org/officeDocument/2006/relationships/tags" Target="../tags/tag558.xml"/><Relationship Id="rId85" Type="http://schemas.openxmlformats.org/officeDocument/2006/relationships/tags" Target="../tags/tag563.xml"/><Relationship Id="rId93" Type="http://schemas.openxmlformats.org/officeDocument/2006/relationships/chart" Target="../charts/chart5.xml"/><Relationship Id="rId3" Type="http://schemas.openxmlformats.org/officeDocument/2006/relationships/tags" Target="../tags/tag481.xml"/><Relationship Id="rId12" Type="http://schemas.openxmlformats.org/officeDocument/2006/relationships/tags" Target="../tags/tag490.xml"/><Relationship Id="rId17" Type="http://schemas.openxmlformats.org/officeDocument/2006/relationships/tags" Target="../tags/tag495.xml"/><Relationship Id="rId25" Type="http://schemas.openxmlformats.org/officeDocument/2006/relationships/tags" Target="../tags/tag503.xml"/><Relationship Id="rId33" Type="http://schemas.openxmlformats.org/officeDocument/2006/relationships/tags" Target="../tags/tag511.xml"/><Relationship Id="rId38" Type="http://schemas.openxmlformats.org/officeDocument/2006/relationships/tags" Target="../tags/tag516.xml"/><Relationship Id="rId46" Type="http://schemas.openxmlformats.org/officeDocument/2006/relationships/tags" Target="../tags/tag524.xml"/><Relationship Id="rId59" Type="http://schemas.openxmlformats.org/officeDocument/2006/relationships/tags" Target="../tags/tag537.xml"/><Relationship Id="rId67" Type="http://schemas.openxmlformats.org/officeDocument/2006/relationships/tags" Target="../tags/tag545.xml"/><Relationship Id="rId20" Type="http://schemas.openxmlformats.org/officeDocument/2006/relationships/tags" Target="../tags/tag498.xml"/><Relationship Id="rId41" Type="http://schemas.openxmlformats.org/officeDocument/2006/relationships/tags" Target="../tags/tag519.xml"/><Relationship Id="rId54" Type="http://schemas.openxmlformats.org/officeDocument/2006/relationships/tags" Target="../tags/tag532.xml"/><Relationship Id="rId62" Type="http://schemas.openxmlformats.org/officeDocument/2006/relationships/tags" Target="../tags/tag540.xml"/><Relationship Id="rId70" Type="http://schemas.openxmlformats.org/officeDocument/2006/relationships/tags" Target="../tags/tag548.xml"/><Relationship Id="rId75" Type="http://schemas.openxmlformats.org/officeDocument/2006/relationships/tags" Target="../tags/tag553.xml"/><Relationship Id="rId83" Type="http://schemas.openxmlformats.org/officeDocument/2006/relationships/tags" Target="../tags/tag561.xml"/><Relationship Id="rId88" Type="http://schemas.openxmlformats.org/officeDocument/2006/relationships/slideLayout" Target="../slideLayouts/slideLayout37.xml"/><Relationship Id="rId91" Type="http://schemas.openxmlformats.org/officeDocument/2006/relationships/chart" Target="../charts/chart3.xml"/><Relationship Id="rId1" Type="http://schemas.openxmlformats.org/officeDocument/2006/relationships/vmlDrawing" Target="../drawings/vmlDrawing46.vml"/><Relationship Id="rId6" Type="http://schemas.openxmlformats.org/officeDocument/2006/relationships/tags" Target="../tags/tag484.xml"/><Relationship Id="rId15" Type="http://schemas.openxmlformats.org/officeDocument/2006/relationships/tags" Target="../tags/tag493.xml"/><Relationship Id="rId23" Type="http://schemas.openxmlformats.org/officeDocument/2006/relationships/tags" Target="../tags/tag501.xml"/><Relationship Id="rId28" Type="http://schemas.openxmlformats.org/officeDocument/2006/relationships/tags" Target="../tags/tag506.xml"/><Relationship Id="rId36" Type="http://schemas.openxmlformats.org/officeDocument/2006/relationships/tags" Target="../tags/tag514.xml"/><Relationship Id="rId49" Type="http://schemas.openxmlformats.org/officeDocument/2006/relationships/tags" Target="../tags/tag527.xml"/><Relationship Id="rId57" Type="http://schemas.openxmlformats.org/officeDocument/2006/relationships/tags" Target="../tags/tag535.xml"/><Relationship Id="rId10" Type="http://schemas.openxmlformats.org/officeDocument/2006/relationships/tags" Target="../tags/tag488.xml"/><Relationship Id="rId31" Type="http://schemas.openxmlformats.org/officeDocument/2006/relationships/tags" Target="../tags/tag509.xml"/><Relationship Id="rId44" Type="http://schemas.openxmlformats.org/officeDocument/2006/relationships/tags" Target="../tags/tag522.xml"/><Relationship Id="rId52" Type="http://schemas.openxmlformats.org/officeDocument/2006/relationships/tags" Target="../tags/tag530.xml"/><Relationship Id="rId60" Type="http://schemas.openxmlformats.org/officeDocument/2006/relationships/tags" Target="../tags/tag538.xml"/><Relationship Id="rId65" Type="http://schemas.openxmlformats.org/officeDocument/2006/relationships/tags" Target="../tags/tag543.xml"/><Relationship Id="rId73" Type="http://schemas.openxmlformats.org/officeDocument/2006/relationships/tags" Target="../tags/tag551.xml"/><Relationship Id="rId78" Type="http://schemas.openxmlformats.org/officeDocument/2006/relationships/tags" Target="../tags/tag556.xml"/><Relationship Id="rId81" Type="http://schemas.openxmlformats.org/officeDocument/2006/relationships/tags" Target="../tags/tag559.xml"/><Relationship Id="rId86" Type="http://schemas.openxmlformats.org/officeDocument/2006/relationships/tags" Target="../tags/tag564.xml"/><Relationship Id="rId94" Type="http://schemas.openxmlformats.org/officeDocument/2006/relationships/chart" Target="../charts/chart6.xml"/><Relationship Id="rId4" Type="http://schemas.openxmlformats.org/officeDocument/2006/relationships/tags" Target="../tags/tag482.xml"/><Relationship Id="rId9" Type="http://schemas.openxmlformats.org/officeDocument/2006/relationships/tags" Target="../tags/tag487.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66.xml"/></Relationships>
</file>

<file path=ppt/slides/_rels/slide12.xml.rels><?xml version="1.0" encoding="UTF-8" standalone="yes"?>
<Relationships xmlns="http://schemas.openxmlformats.org/package/2006/relationships"><Relationship Id="rId3" Type="http://schemas.openxmlformats.org/officeDocument/2006/relationships/tags" Target="../tags/tag568.xml"/><Relationship Id="rId2" Type="http://schemas.openxmlformats.org/officeDocument/2006/relationships/tags" Target="../tags/tag567.xml"/><Relationship Id="rId1" Type="http://schemas.openxmlformats.org/officeDocument/2006/relationships/vmlDrawing" Target="../drawings/vmlDrawing47.vml"/><Relationship Id="rId6" Type="http://schemas.openxmlformats.org/officeDocument/2006/relationships/image" Target="../media/image10.emf"/><Relationship Id="rId5" Type="http://schemas.openxmlformats.org/officeDocument/2006/relationships/oleObject" Target="../embeddings/oleObject47.bin"/><Relationship Id="rId4"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32.xml"/><Relationship Id="rId1" Type="http://schemas.openxmlformats.org/officeDocument/2006/relationships/tags" Target="../tags/tag569.xml"/></Relationships>
</file>

<file path=ppt/slides/_rels/slide14.xml.rels><?xml version="1.0" encoding="UTF-8" standalone="yes"?>
<Relationships xmlns="http://schemas.openxmlformats.org/package/2006/relationships"><Relationship Id="rId8" Type="http://schemas.openxmlformats.org/officeDocument/2006/relationships/tags" Target="../tags/tag576.xml"/><Relationship Id="rId13" Type="http://schemas.openxmlformats.org/officeDocument/2006/relationships/slideLayout" Target="../slideLayouts/slideLayout6.xml"/><Relationship Id="rId18" Type="http://schemas.openxmlformats.org/officeDocument/2006/relationships/image" Target="../media/image15.png"/><Relationship Id="rId3" Type="http://schemas.openxmlformats.org/officeDocument/2006/relationships/tags" Target="../tags/tag571.xml"/><Relationship Id="rId7" Type="http://schemas.openxmlformats.org/officeDocument/2006/relationships/tags" Target="../tags/tag575.xml"/><Relationship Id="rId12" Type="http://schemas.openxmlformats.org/officeDocument/2006/relationships/tags" Target="../tags/tag580.xml"/><Relationship Id="rId17" Type="http://schemas.openxmlformats.org/officeDocument/2006/relationships/image" Target="../media/image14.png"/><Relationship Id="rId2" Type="http://schemas.openxmlformats.org/officeDocument/2006/relationships/tags" Target="../tags/tag570.xml"/><Relationship Id="rId16" Type="http://schemas.openxmlformats.org/officeDocument/2006/relationships/image" Target="../media/image13.png"/><Relationship Id="rId1" Type="http://schemas.openxmlformats.org/officeDocument/2006/relationships/vmlDrawing" Target="../drawings/vmlDrawing48.vml"/><Relationship Id="rId6" Type="http://schemas.openxmlformats.org/officeDocument/2006/relationships/tags" Target="../tags/tag574.xml"/><Relationship Id="rId11" Type="http://schemas.openxmlformats.org/officeDocument/2006/relationships/tags" Target="../tags/tag579.xml"/><Relationship Id="rId5" Type="http://schemas.openxmlformats.org/officeDocument/2006/relationships/tags" Target="../tags/tag573.xml"/><Relationship Id="rId15" Type="http://schemas.openxmlformats.org/officeDocument/2006/relationships/image" Target="../media/image6.emf"/><Relationship Id="rId10" Type="http://schemas.openxmlformats.org/officeDocument/2006/relationships/tags" Target="../tags/tag578.xml"/><Relationship Id="rId19" Type="http://schemas.openxmlformats.org/officeDocument/2006/relationships/image" Target="../media/image16.png"/><Relationship Id="rId4" Type="http://schemas.openxmlformats.org/officeDocument/2006/relationships/tags" Target="../tags/tag572.xml"/><Relationship Id="rId9" Type="http://schemas.openxmlformats.org/officeDocument/2006/relationships/tags" Target="../tags/tag577.xml"/><Relationship Id="rId14" Type="http://schemas.openxmlformats.org/officeDocument/2006/relationships/oleObject" Target="../embeddings/oleObject48.bin"/></Relationships>
</file>

<file path=ppt/slides/_rels/slide15.xml.rels><?xml version="1.0" encoding="UTF-8" standalone="yes"?>
<Relationships xmlns="http://schemas.openxmlformats.org/package/2006/relationships"><Relationship Id="rId13" Type="http://schemas.openxmlformats.org/officeDocument/2006/relationships/tags" Target="../tags/tag593.xml"/><Relationship Id="rId18" Type="http://schemas.openxmlformats.org/officeDocument/2006/relationships/tags" Target="../tags/tag598.xml"/><Relationship Id="rId26" Type="http://schemas.openxmlformats.org/officeDocument/2006/relationships/tags" Target="../tags/tag606.xml"/><Relationship Id="rId39" Type="http://schemas.openxmlformats.org/officeDocument/2006/relationships/tags" Target="../tags/tag619.xml"/><Relationship Id="rId21" Type="http://schemas.openxmlformats.org/officeDocument/2006/relationships/tags" Target="../tags/tag601.xml"/><Relationship Id="rId34" Type="http://schemas.openxmlformats.org/officeDocument/2006/relationships/tags" Target="../tags/tag614.xml"/><Relationship Id="rId42" Type="http://schemas.openxmlformats.org/officeDocument/2006/relationships/tags" Target="../tags/tag622.xml"/><Relationship Id="rId47" Type="http://schemas.openxmlformats.org/officeDocument/2006/relationships/tags" Target="../tags/tag627.xml"/><Relationship Id="rId50" Type="http://schemas.openxmlformats.org/officeDocument/2006/relationships/tags" Target="../tags/tag630.xml"/><Relationship Id="rId55" Type="http://schemas.openxmlformats.org/officeDocument/2006/relationships/tags" Target="../tags/tag635.xml"/><Relationship Id="rId63" Type="http://schemas.openxmlformats.org/officeDocument/2006/relationships/tags" Target="../tags/tag643.xml"/><Relationship Id="rId68" Type="http://schemas.openxmlformats.org/officeDocument/2006/relationships/tags" Target="../tags/tag648.xml"/><Relationship Id="rId76" Type="http://schemas.openxmlformats.org/officeDocument/2006/relationships/tags" Target="../tags/tag656.xml"/><Relationship Id="rId84" Type="http://schemas.openxmlformats.org/officeDocument/2006/relationships/tags" Target="../tags/tag664.xml"/><Relationship Id="rId7" Type="http://schemas.openxmlformats.org/officeDocument/2006/relationships/tags" Target="../tags/tag587.xml"/><Relationship Id="rId71" Type="http://schemas.openxmlformats.org/officeDocument/2006/relationships/tags" Target="../tags/tag651.xml"/><Relationship Id="rId2" Type="http://schemas.openxmlformats.org/officeDocument/2006/relationships/tags" Target="../tags/tag582.xml"/><Relationship Id="rId16" Type="http://schemas.openxmlformats.org/officeDocument/2006/relationships/tags" Target="../tags/tag596.xml"/><Relationship Id="rId29" Type="http://schemas.openxmlformats.org/officeDocument/2006/relationships/tags" Target="../tags/tag609.xml"/><Relationship Id="rId11" Type="http://schemas.openxmlformats.org/officeDocument/2006/relationships/tags" Target="../tags/tag591.xml"/><Relationship Id="rId24" Type="http://schemas.openxmlformats.org/officeDocument/2006/relationships/tags" Target="../tags/tag604.xml"/><Relationship Id="rId32" Type="http://schemas.openxmlformats.org/officeDocument/2006/relationships/tags" Target="../tags/tag612.xml"/><Relationship Id="rId37" Type="http://schemas.openxmlformats.org/officeDocument/2006/relationships/tags" Target="../tags/tag617.xml"/><Relationship Id="rId40" Type="http://schemas.openxmlformats.org/officeDocument/2006/relationships/tags" Target="../tags/tag620.xml"/><Relationship Id="rId45" Type="http://schemas.openxmlformats.org/officeDocument/2006/relationships/tags" Target="../tags/tag625.xml"/><Relationship Id="rId53" Type="http://schemas.openxmlformats.org/officeDocument/2006/relationships/tags" Target="../tags/tag633.xml"/><Relationship Id="rId58" Type="http://schemas.openxmlformats.org/officeDocument/2006/relationships/tags" Target="../tags/tag638.xml"/><Relationship Id="rId66" Type="http://schemas.openxmlformats.org/officeDocument/2006/relationships/tags" Target="../tags/tag646.xml"/><Relationship Id="rId74" Type="http://schemas.openxmlformats.org/officeDocument/2006/relationships/tags" Target="../tags/tag654.xml"/><Relationship Id="rId79" Type="http://schemas.openxmlformats.org/officeDocument/2006/relationships/tags" Target="../tags/tag659.xml"/><Relationship Id="rId87" Type="http://schemas.openxmlformats.org/officeDocument/2006/relationships/slideLayout" Target="../slideLayouts/slideLayout37.xml"/><Relationship Id="rId5" Type="http://schemas.openxmlformats.org/officeDocument/2006/relationships/tags" Target="../tags/tag585.xml"/><Relationship Id="rId61" Type="http://schemas.openxmlformats.org/officeDocument/2006/relationships/tags" Target="../tags/tag641.xml"/><Relationship Id="rId82" Type="http://schemas.openxmlformats.org/officeDocument/2006/relationships/tags" Target="../tags/tag662.xml"/><Relationship Id="rId19" Type="http://schemas.openxmlformats.org/officeDocument/2006/relationships/tags" Target="../tags/tag599.xml"/><Relationship Id="rId4" Type="http://schemas.openxmlformats.org/officeDocument/2006/relationships/tags" Target="../tags/tag584.xml"/><Relationship Id="rId9" Type="http://schemas.openxmlformats.org/officeDocument/2006/relationships/tags" Target="../tags/tag589.xml"/><Relationship Id="rId14" Type="http://schemas.openxmlformats.org/officeDocument/2006/relationships/tags" Target="../tags/tag594.xml"/><Relationship Id="rId22" Type="http://schemas.openxmlformats.org/officeDocument/2006/relationships/tags" Target="../tags/tag602.xml"/><Relationship Id="rId27" Type="http://schemas.openxmlformats.org/officeDocument/2006/relationships/tags" Target="../tags/tag607.xml"/><Relationship Id="rId30" Type="http://schemas.openxmlformats.org/officeDocument/2006/relationships/tags" Target="../tags/tag610.xml"/><Relationship Id="rId35" Type="http://schemas.openxmlformats.org/officeDocument/2006/relationships/tags" Target="../tags/tag615.xml"/><Relationship Id="rId43" Type="http://schemas.openxmlformats.org/officeDocument/2006/relationships/tags" Target="../tags/tag623.xml"/><Relationship Id="rId48" Type="http://schemas.openxmlformats.org/officeDocument/2006/relationships/tags" Target="../tags/tag628.xml"/><Relationship Id="rId56" Type="http://schemas.openxmlformats.org/officeDocument/2006/relationships/tags" Target="../tags/tag636.xml"/><Relationship Id="rId64" Type="http://schemas.openxmlformats.org/officeDocument/2006/relationships/tags" Target="../tags/tag644.xml"/><Relationship Id="rId69" Type="http://schemas.openxmlformats.org/officeDocument/2006/relationships/tags" Target="../tags/tag649.xml"/><Relationship Id="rId77" Type="http://schemas.openxmlformats.org/officeDocument/2006/relationships/tags" Target="../tags/tag657.xml"/><Relationship Id="rId8" Type="http://schemas.openxmlformats.org/officeDocument/2006/relationships/tags" Target="../tags/tag588.xml"/><Relationship Id="rId51" Type="http://schemas.openxmlformats.org/officeDocument/2006/relationships/tags" Target="../tags/tag631.xml"/><Relationship Id="rId72" Type="http://schemas.openxmlformats.org/officeDocument/2006/relationships/tags" Target="../tags/tag652.xml"/><Relationship Id="rId80" Type="http://schemas.openxmlformats.org/officeDocument/2006/relationships/tags" Target="../tags/tag660.xml"/><Relationship Id="rId85" Type="http://schemas.openxmlformats.org/officeDocument/2006/relationships/tags" Target="../tags/tag665.xml"/><Relationship Id="rId3" Type="http://schemas.openxmlformats.org/officeDocument/2006/relationships/tags" Target="../tags/tag583.xml"/><Relationship Id="rId12" Type="http://schemas.openxmlformats.org/officeDocument/2006/relationships/tags" Target="../tags/tag592.xml"/><Relationship Id="rId17" Type="http://schemas.openxmlformats.org/officeDocument/2006/relationships/tags" Target="../tags/tag597.xml"/><Relationship Id="rId25" Type="http://schemas.openxmlformats.org/officeDocument/2006/relationships/tags" Target="../tags/tag605.xml"/><Relationship Id="rId33" Type="http://schemas.openxmlformats.org/officeDocument/2006/relationships/tags" Target="../tags/tag613.xml"/><Relationship Id="rId38" Type="http://schemas.openxmlformats.org/officeDocument/2006/relationships/tags" Target="../tags/tag618.xml"/><Relationship Id="rId46" Type="http://schemas.openxmlformats.org/officeDocument/2006/relationships/tags" Target="../tags/tag626.xml"/><Relationship Id="rId59" Type="http://schemas.openxmlformats.org/officeDocument/2006/relationships/tags" Target="../tags/tag639.xml"/><Relationship Id="rId67" Type="http://schemas.openxmlformats.org/officeDocument/2006/relationships/tags" Target="../tags/tag647.xml"/><Relationship Id="rId20" Type="http://schemas.openxmlformats.org/officeDocument/2006/relationships/tags" Target="../tags/tag600.xml"/><Relationship Id="rId41" Type="http://schemas.openxmlformats.org/officeDocument/2006/relationships/tags" Target="../tags/tag621.xml"/><Relationship Id="rId54" Type="http://schemas.openxmlformats.org/officeDocument/2006/relationships/tags" Target="../tags/tag634.xml"/><Relationship Id="rId62" Type="http://schemas.openxmlformats.org/officeDocument/2006/relationships/tags" Target="../tags/tag642.xml"/><Relationship Id="rId70" Type="http://schemas.openxmlformats.org/officeDocument/2006/relationships/tags" Target="../tags/tag650.xml"/><Relationship Id="rId75" Type="http://schemas.openxmlformats.org/officeDocument/2006/relationships/tags" Target="../tags/tag655.xml"/><Relationship Id="rId83" Type="http://schemas.openxmlformats.org/officeDocument/2006/relationships/tags" Target="../tags/tag663.xml"/><Relationship Id="rId88" Type="http://schemas.openxmlformats.org/officeDocument/2006/relationships/image" Target="../media/image17.png"/><Relationship Id="rId1" Type="http://schemas.openxmlformats.org/officeDocument/2006/relationships/tags" Target="../tags/tag581.xml"/><Relationship Id="rId6" Type="http://schemas.openxmlformats.org/officeDocument/2006/relationships/tags" Target="../tags/tag586.xml"/><Relationship Id="rId15" Type="http://schemas.openxmlformats.org/officeDocument/2006/relationships/tags" Target="../tags/tag595.xml"/><Relationship Id="rId23" Type="http://schemas.openxmlformats.org/officeDocument/2006/relationships/tags" Target="../tags/tag603.xml"/><Relationship Id="rId28" Type="http://schemas.openxmlformats.org/officeDocument/2006/relationships/tags" Target="../tags/tag608.xml"/><Relationship Id="rId36" Type="http://schemas.openxmlformats.org/officeDocument/2006/relationships/tags" Target="../tags/tag616.xml"/><Relationship Id="rId49" Type="http://schemas.openxmlformats.org/officeDocument/2006/relationships/tags" Target="../tags/tag629.xml"/><Relationship Id="rId57" Type="http://schemas.openxmlformats.org/officeDocument/2006/relationships/tags" Target="../tags/tag637.xml"/><Relationship Id="rId10" Type="http://schemas.openxmlformats.org/officeDocument/2006/relationships/tags" Target="../tags/tag590.xml"/><Relationship Id="rId31" Type="http://schemas.openxmlformats.org/officeDocument/2006/relationships/tags" Target="../tags/tag611.xml"/><Relationship Id="rId44" Type="http://schemas.openxmlformats.org/officeDocument/2006/relationships/tags" Target="../tags/tag624.xml"/><Relationship Id="rId52" Type="http://schemas.openxmlformats.org/officeDocument/2006/relationships/tags" Target="../tags/tag632.xml"/><Relationship Id="rId60" Type="http://schemas.openxmlformats.org/officeDocument/2006/relationships/tags" Target="../tags/tag640.xml"/><Relationship Id="rId65" Type="http://schemas.openxmlformats.org/officeDocument/2006/relationships/tags" Target="../tags/tag645.xml"/><Relationship Id="rId73" Type="http://schemas.openxmlformats.org/officeDocument/2006/relationships/tags" Target="../tags/tag653.xml"/><Relationship Id="rId78" Type="http://schemas.openxmlformats.org/officeDocument/2006/relationships/tags" Target="../tags/tag658.xml"/><Relationship Id="rId81" Type="http://schemas.openxmlformats.org/officeDocument/2006/relationships/tags" Target="../tags/tag661.xml"/><Relationship Id="rId86" Type="http://schemas.openxmlformats.org/officeDocument/2006/relationships/tags" Target="../tags/tag666.xml"/></Relationships>
</file>

<file path=ppt/slides/_rels/slide16.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tags" Target="../tags/tag668.xml"/><Relationship Id="rId7" Type="http://schemas.openxmlformats.org/officeDocument/2006/relationships/chart" Target="../charts/chart8.xml"/><Relationship Id="rId2" Type="http://schemas.openxmlformats.org/officeDocument/2006/relationships/tags" Target="../tags/tag667.xml"/><Relationship Id="rId1" Type="http://schemas.openxmlformats.org/officeDocument/2006/relationships/vmlDrawing" Target="../drawings/vmlDrawing49.vml"/><Relationship Id="rId6" Type="http://schemas.openxmlformats.org/officeDocument/2006/relationships/image" Target="../media/image6.emf"/><Relationship Id="rId5" Type="http://schemas.openxmlformats.org/officeDocument/2006/relationships/oleObject" Target="../embeddings/oleObject49.bin"/><Relationship Id="rId4"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26" Type="http://schemas.openxmlformats.org/officeDocument/2006/relationships/tags" Target="../tags/tag694.xml"/><Relationship Id="rId21" Type="http://schemas.openxmlformats.org/officeDocument/2006/relationships/tags" Target="../tags/tag689.xml"/><Relationship Id="rId34" Type="http://schemas.openxmlformats.org/officeDocument/2006/relationships/tags" Target="../tags/tag702.xml"/><Relationship Id="rId42" Type="http://schemas.openxmlformats.org/officeDocument/2006/relationships/tags" Target="../tags/tag710.xml"/><Relationship Id="rId47" Type="http://schemas.openxmlformats.org/officeDocument/2006/relationships/tags" Target="../tags/tag715.xml"/><Relationship Id="rId50" Type="http://schemas.openxmlformats.org/officeDocument/2006/relationships/tags" Target="../tags/tag718.xml"/><Relationship Id="rId55" Type="http://schemas.openxmlformats.org/officeDocument/2006/relationships/tags" Target="../tags/tag723.xml"/><Relationship Id="rId63" Type="http://schemas.openxmlformats.org/officeDocument/2006/relationships/tags" Target="../tags/tag731.xml"/><Relationship Id="rId68" Type="http://schemas.openxmlformats.org/officeDocument/2006/relationships/tags" Target="../tags/tag736.xml"/><Relationship Id="rId76" Type="http://schemas.openxmlformats.org/officeDocument/2006/relationships/tags" Target="../tags/tag744.xml"/><Relationship Id="rId84" Type="http://schemas.openxmlformats.org/officeDocument/2006/relationships/tags" Target="../tags/tag752.xml"/><Relationship Id="rId89" Type="http://schemas.openxmlformats.org/officeDocument/2006/relationships/tags" Target="../tags/tag757.xml"/><Relationship Id="rId97" Type="http://schemas.openxmlformats.org/officeDocument/2006/relationships/image" Target="../media/image20.png"/><Relationship Id="rId7" Type="http://schemas.openxmlformats.org/officeDocument/2006/relationships/tags" Target="../tags/tag675.xml"/><Relationship Id="rId71" Type="http://schemas.openxmlformats.org/officeDocument/2006/relationships/tags" Target="../tags/tag739.xml"/><Relationship Id="rId92" Type="http://schemas.openxmlformats.org/officeDocument/2006/relationships/tags" Target="../tags/tag760.xml"/><Relationship Id="rId2" Type="http://schemas.openxmlformats.org/officeDocument/2006/relationships/tags" Target="../tags/tag670.xml"/><Relationship Id="rId16" Type="http://schemas.openxmlformats.org/officeDocument/2006/relationships/tags" Target="../tags/tag684.xml"/><Relationship Id="rId29" Type="http://schemas.openxmlformats.org/officeDocument/2006/relationships/tags" Target="../tags/tag697.xml"/><Relationship Id="rId11" Type="http://schemas.openxmlformats.org/officeDocument/2006/relationships/tags" Target="../tags/tag679.xml"/><Relationship Id="rId24" Type="http://schemas.openxmlformats.org/officeDocument/2006/relationships/tags" Target="../tags/tag692.xml"/><Relationship Id="rId32" Type="http://schemas.openxmlformats.org/officeDocument/2006/relationships/tags" Target="../tags/tag700.xml"/><Relationship Id="rId37" Type="http://schemas.openxmlformats.org/officeDocument/2006/relationships/tags" Target="../tags/tag705.xml"/><Relationship Id="rId40" Type="http://schemas.openxmlformats.org/officeDocument/2006/relationships/tags" Target="../tags/tag708.xml"/><Relationship Id="rId45" Type="http://schemas.openxmlformats.org/officeDocument/2006/relationships/tags" Target="../tags/tag713.xml"/><Relationship Id="rId53" Type="http://schemas.openxmlformats.org/officeDocument/2006/relationships/tags" Target="../tags/tag721.xml"/><Relationship Id="rId58" Type="http://schemas.openxmlformats.org/officeDocument/2006/relationships/tags" Target="../tags/tag726.xml"/><Relationship Id="rId66" Type="http://schemas.openxmlformats.org/officeDocument/2006/relationships/tags" Target="../tags/tag734.xml"/><Relationship Id="rId74" Type="http://schemas.openxmlformats.org/officeDocument/2006/relationships/tags" Target="../tags/tag742.xml"/><Relationship Id="rId79" Type="http://schemas.openxmlformats.org/officeDocument/2006/relationships/tags" Target="../tags/tag747.xml"/><Relationship Id="rId87" Type="http://schemas.openxmlformats.org/officeDocument/2006/relationships/tags" Target="../tags/tag755.xml"/><Relationship Id="rId5" Type="http://schemas.openxmlformats.org/officeDocument/2006/relationships/tags" Target="../tags/tag673.xml"/><Relationship Id="rId61" Type="http://schemas.openxmlformats.org/officeDocument/2006/relationships/tags" Target="../tags/tag729.xml"/><Relationship Id="rId82" Type="http://schemas.openxmlformats.org/officeDocument/2006/relationships/tags" Target="../tags/tag750.xml"/><Relationship Id="rId90" Type="http://schemas.openxmlformats.org/officeDocument/2006/relationships/tags" Target="../tags/tag758.xml"/><Relationship Id="rId95" Type="http://schemas.openxmlformats.org/officeDocument/2006/relationships/image" Target="../media/image18.png"/><Relationship Id="rId19" Type="http://schemas.openxmlformats.org/officeDocument/2006/relationships/tags" Target="../tags/tag687.xml"/><Relationship Id="rId14" Type="http://schemas.openxmlformats.org/officeDocument/2006/relationships/tags" Target="../tags/tag682.xml"/><Relationship Id="rId22" Type="http://schemas.openxmlformats.org/officeDocument/2006/relationships/tags" Target="../tags/tag690.xml"/><Relationship Id="rId27" Type="http://schemas.openxmlformats.org/officeDocument/2006/relationships/tags" Target="../tags/tag695.xml"/><Relationship Id="rId30" Type="http://schemas.openxmlformats.org/officeDocument/2006/relationships/tags" Target="../tags/tag698.xml"/><Relationship Id="rId35" Type="http://schemas.openxmlformats.org/officeDocument/2006/relationships/tags" Target="../tags/tag703.xml"/><Relationship Id="rId43" Type="http://schemas.openxmlformats.org/officeDocument/2006/relationships/tags" Target="../tags/tag711.xml"/><Relationship Id="rId48" Type="http://schemas.openxmlformats.org/officeDocument/2006/relationships/tags" Target="../tags/tag716.xml"/><Relationship Id="rId56" Type="http://schemas.openxmlformats.org/officeDocument/2006/relationships/tags" Target="../tags/tag724.xml"/><Relationship Id="rId64" Type="http://schemas.openxmlformats.org/officeDocument/2006/relationships/tags" Target="../tags/tag732.xml"/><Relationship Id="rId69" Type="http://schemas.openxmlformats.org/officeDocument/2006/relationships/tags" Target="../tags/tag737.xml"/><Relationship Id="rId77" Type="http://schemas.openxmlformats.org/officeDocument/2006/relationships/tags" Target="../tags/tag745.xml"/><Relationship Id="rId8" Type="http://schemas.openxmlformats.org/officeDocument/2006/relationships/tags" Target="../tags/tag676.xml"/><Relationship Id="rId51" Type="http://schemas.openxmlformats.org/officeDocument/2006/relationships/tags" Target="../tags/tag719.xml"/><Relationship Id="rId72" Type="http://schemas.openxmlformats.org/officeDocument/2006/relationships/tags" Target="../tags/tag740.xml"/><Relationship Id="rId80" Type="http://schemas.openxmlformats.org/officeDocument/2006/relationships/tags" Target="../tags/tag748.xml"/><Relationship Id="rId85" Type="http://schemas.openxmlformats.org/officeDocument/2006/relationships/tags" Target="../tags/tag753.xml"/><Relationship Id="rId93" Type="http://schemas.openxmlformats.org/officeDocument/2006/relationships/tags" Target="../tags/tag761.xml"/><Relationship Id="rId3" Type="http://schemas.openxmlformats.org/officeDocument/2006/relationships/tags" Target="../tags/tag671.xml"/><Relationship Id="rId12" Type="http://schemas.openxmlformats.org/officeDocument/2006/relationships/tags" Target="../tags/tag680.xml"/><Relationship Id="rId17" Type="http://schemas.openxmlformats.org/officeDocument/2006/relationships/tags" Target="../tags/tag685.xml"/><Relationship Id="rId25" Type="http://schemas.openxmlformats.org/officeDocument/2006/relationships/tags" Target="../tags/tag693.xml"/><Relationship Id="rId33" Type="http://schemas.openxmlformats.org/officeDocument/2006/relationships/tags" Target="../tags/tag701.xml"/><Relationship Id="rId38" Type="http://schemas.openxmlformats.org/officeDocument/2006/relationships/tags" Target="../tags/tag706.xml"/><Relationship Id="rId46" Type="http://schemas.openxmlformats.org/officeDocument/2006/relationships/tags" Target="../tags/tag714.xml"/><Relationship Id="rId59" Type="http://schemas.openxmlformats.org/officeDocument/2006/relationships/tags" Target="../tags/tag727.xml"/><Relationship Id="rId67" Type="http://schemas.openxmlformats.org/officeDocument/2006/relationships/tags" Target="../tags/tag735.xml"/><Relationship Id="rId20" Type="http://schemas.openxmlformats.org/officeDocument/2006/relationships/tags" Target="../tags/tag688.xml"/><Relationship Id="rId41" Type="http://schemas.openxmlformats.org/officeDocument/2006/relationships/tags" Target="../tags/tag709.xml"/><Relationship Id="rId54" Type="http://schemas.openxmlformats.org/officeDocument/2006/relationships/tags" Target="../tags/tag722.xml"/><Relationship Id="rId62" Type="http://schemas.openxmlformats.org/officeDocument/2006/relationships/tags" Target="../tags/tag730.xml"/><Relationship Id="rId70" Type="http://schemas.openxmlformats.org/officeDocument/2006/relationships/tags" Target="../tags/tag738.xml"/><Relationship Id="rId75" Type="http://schemas.openxmlformats.org/officeDocument/2006/relationships/tags" Target="../tags/tag743.xml"/><Relationship Id="rId83" Type="http://schemas.openxmlformats.org/officeDocument/2006/relationships/tags" Target="../tags/tag751.xml"/><Relationship Id="rId88" Type="http://schemas.openxmlformats.org/officeDocument/2006/relationships/tags" Target="../tags/tag756.xml"/><Relationship Id="rId91" Type="http://schemas.openxmlformats.org/officeDocument/2006/relationships/tags" Target="../tags/tag759.xml"/><Relationship Id="rId96" Type="http://schemas.openxmlformats.org/officeDocument/2006/relationships/image" Target="../media/image19.png"/><Relationship Id="rId1" Type="http://schemas.openxmlformats.org/officeDocument/2006/relationships/tags" Target="../tags/tag669.xml"/><Relationship Id="rId6" Type="http://schemas.openxmlformats.org/officeDocument/2006/relationships/tags" Target="../tags/tag674.xml"/><Relationship Id="rId15" Type="http://schemas.openxmlformats.org/officeDocument/2006/relationships/tags" Target="../tags/tag683.xml"/><Relationship Id="rId23" Type="http://schemas.openxmlformats.org/officeDocument/2006/relationships/tags" Target="../tags/tag691.xml"/><Relationship Id="rId28" Type="http://schemas.openxmlformats.org/officeDocument/2006/relationships/tags" Target="../tags/tag696.xml"/><Relationship Id="rId36" Type="http://schemas.openxmlformats.org/officeDocument/2006/relationships/tags" Target="../tags/tag704.xml"/><Relationship Id="rId49" Type="http://schemas.openxmlformats.org/officeDocument/2006/relationships/tags" Target="../tags/tag717.xml"/><Relationship Id="rId57" Type="http://schemas.openxmlformats.org/officeDocument/2006/relationships/tags" Target="../tags/tag725.xml"/><Relationship Id="rId10" Type="http://schemas.openxmlformats.org/officeDocument/2006/relationships/tags" Target="../tags/tag678.xml"/><Relationship Id="rId31" Type="http://schemas.openxmlformats.org/officeDocument/2006/relationships/tags" Target="../tags/tag699.xml"/><Relationship Id="rId44" Type="http://schemas.openxmlformats.org/officeDocument/2006/relationships/tags" Target="../tags/tag712.xml"/><Relationship Id="rId52" Type="http://schemas.openxmlformats.org/officeDocument/2006/relationships/tags" Target="../tags/tag720.xml"/><Relationship Id="rId60" Type="http://schemas.openxmlformats.org/officeDocument/2006/relationships/tags" Target="../tags/tag728.xml"/><Relationship Id="rId65" Type="http://schemas.openxmlformats.org/officeDocument/2006/relationships/tags" Target="../tags/tag733.xml"/><Relationship Id="rId73" Type="http://schemas.openxmlformats.org/officeDocument/2006/relationships/tags" Target="../tags/tag741.xml"/><Relationship Id="rId78" Type="http://schemas.openxmlformats.org/officeDocument/2006/relationships/tags" Target="../tags/tag746.xml"/><Relationship Id="rId81" Type="http://schemas.openxmlformats.org/officeDocument/2006/relationships/tags" Target="../tags/tag749.xml"/><Relationship Id="rId86" Type="http://schemas.openxmlformats.org/officeDocument/2006/relationships/tags" Target="../tags/tag754.xml"/><Relationship Id="rId94" Type="http://schemas.openxmlformats.org/officeDocument/2006/relationships/slideLayout" Target="../slideLayouts/slideLayout40.xml"/><Relationship Id="rId4" Type="http://schemas.openxmlformats.org/officeDocument/2006/relationships/tags" Target="../tags/tag672.xml"/><Relationship Id="rId9" Type="http://schemas.openxmlformats.org/officeDocument/2006/relationships/tags" Target="../tags/tag677.xml"/><Relationship Id="rId13" Type="http://schemas.openxmlformats.org/officeDocument/2006/relationships/tags" Target="../tags/tag681.xml"/><Relationship Id="rId18" Type="http://schemas.openxmlformats.org/officeDocument/2006/relationships/tags" Target="../tags/tag686.xml"/><Relationship Id="rId39" Type="http://schemas.openxmlformats.org/officeDocument/2006/relationships/tags" Target="../tags/tag707.xml"/></Relationships>
</file>

<file path=ppt/slides/_rels/slide18.xml.rels><?xml version="1.0" encoding="UTF-8" standalone="yes"?>
<Relationships xmlns="http://schemas.openxmlformats.org/package/2006/relationships"><Relationship Id="rId26" Type="http://schemas.openxmlformats.org/officeDocument/2006/relationships/tags" Target="../tags/tag787.xml"/><Relationship Id="rId21" Type="http://schemas.openxmlformats.org/officeDocument/2006/relationships/tags" Target="../tags/tag782.xml"/><Relationship Id="rId34" Type="http://schemas.openxmlformats.org/officeDocument/2006/relationships/tags" Target="../tags/tag795.xml"/><Relationship Id="rId42" Type="http://schemas.openxmlformats.org/officeDocument/2006/relationships/tags" Target="../tags/tag803.xml"/><Relationship Id="rId47" Type="http://schemas.openxmlformats.org/officeDocument/2006/relationships/tags" Target="../tags/tag808.xml"/><Relationship Id="rId50" Type="http://schemas.openxmlformats.org/officeDocument/2006/relationships/tags" Target="../tags/tag811.xml"/><Relationship Id="rId55" Type="http://schemas.openxmlformats.org/officeDocument/2006/relationships/tags" Target="../tags/tag816.xml"/><Relationship Id="rId63" Type="http://schemas.openxmlformats.org/officeDocument/2006/relationships/tags" Target="../tags/tag824.xml"/><Relationship Id="rId68" Type="http://schemas.openxmlformats.org/officeDocument/2006/relationships/tags" Target="../tags/tag829.xml"/><Relationship Id="rId76" Type="http://schemas.openxmlformats.org/officeDocument/2006/relationships/tags" Target="../tags/tag837.xml"/><Relationship Id="rId84" Type="http://schemas.openxmlformats.org/officeDocument/2006/relationships/tags" Target="../tags/tag845.xml"/><Relationship Id="rId89" Type="http://schemas.openxmlformats.org/officeDocument/2006/relationships/tags" Target="../tags/tag850.xml"/><Relationship Id="rId97" Type="http://schemas.openxmlformats.org/officeDocument/2006/relationships/image" Target="../media/image21.png"/><Relationship Id="rId7" Type="http://schemas.openxmlformats.org/officeDocument/2006/relationships/tags" Target="../tags/tag768.xml"/><Relationship Id="rId71" Type="http://schemas.openxmlformats.org/officeDocument/2006/relationships/tags" Target="../tags/tag832.xml"/><Relationship Id="rId92" Type="http://schemas.openxmlformats.org/officeDocument/2006/relationships/tags" Target="../tags/tag853.xml"/><Relationship Id="rId2" Type="http://schemas.openxmlformats.org/officeDocument/2006/relationships/tags" Target="../tags/tag763.xml"/><Relationship Id="rId16" Type="http://schemas.openxmlformats.org/officeDocument/2006/relationships/tags" Target="../tags/tag777.xml"/><Relationship Id="rId29" Type="http://schemas.openxmlformats.org/officeDocument/2006/relationships/tags" Target="../tags/tag790.xml"/><Relationship Id="rId11" Type="http://schemas.openxmlformats.org/officeDocument/2006/relationships/tags" Target="../tags/tag772.xml"/><Relationship Id="rId24" Type="http://schemas.openxmlformats.org/officeDocument/2006/relationships/tags" Target="../tags/tag785.xml"/><Relationship Id="rId32" Type="http://schemas.openxmlformats.org/officeDocument/2006/relationships/tags" Target="../tags/tag793.xml"/><Relationship Id="rId37" Type="http://schemas.openxmlformats.org/officeDocument/2006/relationships/tags" Target="../tags/tag798.xml"/><Relationship Id="rId40" Type="http://schemas.openxmlformats.org/officeDocument/2006/relationships/tags" Target="../tags/tag801.xml"/><Relationship Id="rId45" Type="http://schemas.openxmlformats.org/officeDocument/2006/relationships/tags" Target="../tags/tag806.xml"/><Relationship Id="rId53" Type="http://schemas.openxmlformats.org/officeDocument/2006/relationships/tags" Target="../tags/tag814.xml"/><Relationship Id="rId58" Type="http://schemas.openxmlformats.org/officeDocument/2006/relationships/tags" Target="../tags/tag819.xml"/><Relationship Id="rId66" Type="http://schemas.openxmlformats.org/officeDocument/2006/relationships/tags" Target="../tags/tag827.xml"/><Relationship Id="rId74" Type="http://schemas.openxmlformats.org/officeDocument/2006/relationships/tags" Target="../tags/tag835.xml"/><Relationship Id="rId79" Type="http://schemas.openxmlformats.org/officeDocument/2006/relationships/tags" Target="../tags/tag840.xml"/><Relationship Id="rId87" Type="http://schemas.openxmlformats.org/officeDocument/2006/relationships/tags" Target="../tags/tag848.xml"/><Relationship Id="rId5" Type="http://schemas.openxmlformats.org/officeDocument/2006/relationships/tags" Target="../tags/tag766.xml"/><Relationship Id="rId61" Type="http://schemas.openxmlformats.org/officeDocument/2006/relationships/tags" Target="../tags/tag822.xml"/><Relationship Id="rId82" Type="http://schemas.openxmlformats.org/officeDocument/2006/relationships/tags" Target="../tags/tag843.xml"/><Relationship Id="rId90" Type="http://schemas.openxmlformats.org/officeDocument/2006/relationships/tags" Target="../tags/tag851.xml"/><Relationship Id="rId95" Type="http://schemas.openxmlformats.org/officeDocument/2006/relationships/image" Target="../media/image18.png"/><Relationship Id="rId19" Type="http://schemas.openxmlformats.org/officeDocument/2006/relationships/tags" Target="../tags/tag780.xml"/><Relationship Id="rId14" Type="http://schemas.openxmlformats.org/officeDocument/2006/relationships/tags" Target="../tags/tag775.xml"/><Relationship Id="rId22" Type="http://schemas.openxmlformats.org/officeDocument/2006/relationships/tags" Target="../tags/tag783.xml"/><Relationship Id="rId27" Type="http://schemas.openxmlformats.org/officeDocument/2006/relationships/tags" Target="../tags/tag788.xml"/><Relationship Id="rId30" Type="http://schemas.openxmlformats.org/officeDocument/2006/relationships/tags" Target="../tags/tag791.xml"/><Relationship Id="rId35" Type="http://schemas.openxmlformats.org/officeDocument/2006/relationships/tags" Target="../tags/tag796.xml"/><Relationship Id="rId43" Type="http://schemas.openxmlformats.org/officeDocument/2006/relationships/tags" Target="../tags/tag804.xml"/><Relationship Id="rId48" Type="http://schemas.openxmlformats.org/officeDocument/2006/relationships/tags" Target="../tags/tag809.xml"/><Relationship Id="rId56" Type="http://schemas.openxmlformats.org/officeDocument/2006/relationships/tags" Target="../tags/tag817.xml"/><Relationship Id="rId64" Type="http://schemas.openxmlformats.org/officeDocument/2006/relationships/tags" Target="../tags/tag825.xml"/><Relationship Id="rId69" Type="http://schemas.openxmlformats.org/officeDocument/2006/relationships/tags" Target="../tags/tag830.xml"/><Relationship Id="rId77" Type="http://schemas.openxmlformats.org/officeDocument/2006/relationships/tags" Target="../tags/tag838.xml"/><Relationship Id="rId8" Type="http://schemas.openxmlformats.org/officeDocument/2006/relationships/tags" Target="../tags/tag769.xml"/><Relationship Id="rId51" Type="http://schemas.openxmlformats.org/officeDocument/2006/relationships/tags" Target="../tags/tag812.xml"/><Relationship Id="rId72" Type="http://schemas.openxmlformats.org/officeDocument/2006/relationships/tags" Target="../tags/tag833.xml"/><Relationship Id="rId80" Type="http://schemas.openxmlformats.org/officeDocument/2006/relationships/tags" Target="../tags/tag841.xml"/><Relationship Id="rId85" Type="http://schemas.openxmlformats.org/officeDocument/2006/relationships/tags" Target="../tags/tag846.xml"/><Relationship Id="rId93" Type="http://schemas.openxmlformats.org/officeDocument/2006/relationships/tags" Target="../tags/tag854.xml"/><Relationship Id="rId98" Type="http://schemas.openxmlformats.org/officeDocument/2006/relationships/image" Target="../media/image22.png"/><Relationship Id="rId3" Type="http://schemas.openxmlformats.org/officeDocument/2006/relationships/tags" Target="../tags/tag764.xml"/><Relationship Id="rId12" Type="http://schemas.openxmlformats.org/officeDocument/2006/relationships/tags" Target="../tags/tag773.xml"/><Relationship Id="rId17" Type="http://schemas.openxmlformats.org/officeDocument/2006/relationships/tags" Target="../tags/tag778.xml"/><Relationship Id="rId25" Type="http://schemas.openxmlformats.org/officeDocument/2006/relationships/tags" Target="../tags/tag786.xml"/><Relationship Id="rId33" Type="http://schemas.openxmlformats.org/officeDocument/2006/relationships/tags" Target="../tags/tag794.xml"/><Relationship Id="rId38" Type="http://schemas.openxmlformats.org/officeDocument/2006/relationships/tags" Target="../tags/tag799.xml"/><Relationship Id="rId46" Type="http://schemas.openxmlformats.org/officeDocument/2006/relationships/tags" Target="../tags/tag807.xml"/><Relationship Id="rId59" Type="http://schemas.openxmlformats.org/officeDocument/2006/relationships/tags" Target="../tags/tag820.xml"/><Relationship Id="rId67" Type="http://schemas.openxmlformats.org/officeDocument/2006/relationships/tags" Target="../tags/tag828.xml"/><Relationship Id="rId20" Type="http://schemas.openxmlformats.org/officeDocument/2006/relationships/tags" Target="../tags/tag781.xml"/><Relationship Id="rId41" Type="http://schemas.openxmlformats.org/officeDocument/2006/relationships/tags" Target="../tags/tag802.xml"/><Relationship Id="rId54" Type="http://schemas.openxmlformats.org/officeDocument/2006/relationships/tags" Target="../tags/tag815.xml"/><Relationship Id="rId62" Type="http://schemas.openxmlformats.org/officeDocument/2006/relationships/tags" Target="../tags/tag823.xml"/><Relationship Id="rId70" Type="http://schemas.openxmlformats.org/officeDocument/2006/relationships/tags" Target="../tags/tag831.xml"/><Relationship Id="rId75" Type="http://schemas.openxmlformats.org/officeDocument/2006/relationships/tags" Target="../tags/tag836.xml"/><Relationship Id="rId83" Type="http://schemas.openxmlformats.org/officeDocument/2006/relationships/tags" Target="../tags/tag844.xml"/><Relationship Id="rId88" Type="http://schemas.openxmlformats.org/officeDocument/2006/relationships/tags" Target="../tags/tag849.xml"/><Relationship Id="rId91" Type="http://schemas.openxmlformats.org/officeDocument/2006/relationships/tags" Target="../tags/tag852.xml"/><Relationship Id="rId96" Type="http://schemas.openxmlformats.org/officeDocument/2006/relationships/image" Target="../media/image20.png"/><Relationship Id="rId1" Type="http://schemas.openxmlformats.org/officeDocument/2006/relationships/tags" Target="../tags/tag762.xml"/><Relationship Id="rId6" Type="http://schemas.openxmlformats.org/officeDocument/2006/relationships/tags" Target="../tags/tag767.xml"/><Relationship Id="rId15" Type="http://schemas.openxmlformats.org/officeDocument/2006/relationships/tags" Target="../tags/tag776.xml"/><Relationship Id="rId23" Type="http://schemas.openxmlformats.org/officeDocument/2006/relationships/tags" Target="../tags/tag784.xml"/><Relationship Id="rId28" Type="http://schemas.openxmlformats.org/officeDocument/2006/relationships/tags" Target="../tags/tag789.xml"/><Relationship Id="rId36" Type="http://schemas.openxmlformats.org/officeDocument/2006/relationships/tags" Target="../tags/tag797.xml"/><Relationship Id="rId49" Type="http://schemas.openxmlformats.org/officeDocument/2006/relationships/tags" Target="../tags/tag810.xml"/><Relationship Id="rId57" Type="http://schemas.openxmlformats.org/officeDocument/2006/relationships/tags" Target="../tags/tag818.xml"/><Relationship Id="rId10" Type="http://schemas.openxmlformats.org/officeDocument/2006/relationships/tags" Target="../tags/tag771.xml"/><Relationship Id="rId31" Type="http://schemas.openxmlformats.org/officeDocument/2006/relationships/tags" Target="../tags/tag792.xml"/><Relationship Id="rId44" Type="http://schemas.openxmlformats.org/officeDocument/2006/relationships/tags" Target="../tags/tag805.xml"/><Relationship Id="rId52" Type="http://schemas.openxmlformats.org/officeDocument/2006/relationships/tags" Target="../tags/tag813.xml"/><Relationship Id="rId60" Type="http://schemas.openxmlformats.org/officeDocument/2006/relationships/tags" Target="../tags/tag821.xml"/><Relationship Id="rId65" Type="http://schemas.openxmlformats.org/officeDocument/2006/relationships/tags" Target="../tags/tag826.xml"/><Relationship Id="rId73" Type="http://schemas.openxmlformats.org/officeDocument/2006/relationships/tags" Target="../tags/tag834.xml"/><Relationship Id="rId78" Type="http://schemas.openxmlformats.org/officeDocument/2006/relationships/tags" Target="../tags/tag839.xml"/><Relationship Id="rId81" Type="http://schemas.openxmlformats.org/officeDocument/2006/relationships/tags" Target="../tags/tag842.xml"/><Relationship Id="rId86" Type="http://schemas.openxmlformats.org/officeDocument/2006/relationships/tags" Target="../tags/tag847.xml"/><Relationship Id="rId94" Type="http://schemas.openxmlformats.org/officeDocument/2006/relationships/slideLayout" Target="../slideLayouts/slideLayout40.xml"/><Relationship Id="rId4" Type="http://schemas.openxmlformats.org/officeDocument/2006/relationships/tags" Target="../tags/tag765.xml"/><Relationship Id="rId9" Type="http://schemas.openxmlformats.org/officeDocument/2006/relationships/tags" Target="../tags/tag770.xml"/><Relationship Id="rId13" Type="http://schemas.openxmlformats.org/officeDocument/2006/relationships/tags" Target="../tags/tag774.xml"/><Relationship Id="rId18" Type="http://schemas.openxmlformats.org/officeDocument/2006/relationships/tags" Target="../tags/tag779.xml"/><Relationship Id="rId39" Type="http://schemas.openxmlformats.org/officeDocument/2006/relationships/tags" Target="../tags/tag800.xml"/></Relationships>
</file>

<file path=ppt/slides/_rels/slide19.xml.rels><?xml version="1.0" encoding="UTF-8" standalone="yes"?>
<Relationships xmlns="http://schemas.openxmlformats.org/package/2006/relationships"><Relationship Id="rId26" Type="http://schemas.openxmlformats.org/officeDocument/2006/relationships/tags" Target="../tags/tag880.xml"/><Relationship Id="rId21" Type="http://schemas.openxmlformats.org/officeDocument/2006/relationships/tags" Target="../tags/tag875.xml"/><Relationship Id="rId34" Type="http://schemas.openxmlformats.org/officeDocument/2006/relationships/tags" Target="../tags/tag888.xml"/><Relationship Id="rId42" Type="http://schemas.openxmlformats.org/officeDocument/2006/relationships/tags" Target="../tags/tag896.xml"/><Relationship Id="rId47" Type="http://schemas.openxmlformats.org/officeDocument/2006/relationships/tags" Target="../tags/tag901.xml"/><Relationship Id="rId50" Type="http://schemas.openxmlformats.org/officeDocument/2006/relationships/tags" Target="../tags/tag904.xml"/><Relationship Id="rId55" Type="http://schemas.openxmlformats.org/officeDocument/2006/relationships/tags" Target="../tags/tag909.xml"/><Relationship Id="rId63" Type="http://schemas.openxmlformats.org/officeDocument/2006/relationships/tags" Target="../tags/tag917.xml"/><Relationship Id="rId68" Type="http://schemas.openxmlformats.org/officeDocument/2006/relationships/tags" Target="../tags/tag922.xml"/><Relationship Id="rId76" Type="http://schemas.openxmlformats.org/officeDocument/2006/relationships/tags" Target="../tags/tag930.xml"/><Relationship Id="rId84" Type="http://schemas.openxmlformats.org/officeDocument/2006/relationships/tags" Target="../tags/tag938.xml"/><Relationship Id="rId89" Type="http://schemas.openxmlformats.org/officeDocument/2006/relationships/tags" Target="../tags/tag943.xml"/><Relationship Id="rId97" Type="http://schemas.openxmlformats.org/officeDocument/2006/relationships/image" Target="../media/image21.png"/><Relationship Id="rId7" Type="http://schemas.openxmlformats.org/officeDocument/2006/relationships/tags" Target="../tags/tag861.xml"/><Relationship Id="rId71" Type="http://schemas.openxmlformats.org/officeDocument/2006/relationships/tags" Target="../tags/tag925.xml"/><Relationship Id="rId92" Type="http://schemas.openxmlformats.org/officeDocument/2006/relationships/tags" Target="../tags/tag946.xml"/><Relationship Id="rId2" Type="http://schemas.openxmlformats.org/officeDocument/2006/relationships/tags" Target="../tags/tag856.xml"/><Relationship Id="rId16" Type="http://schemas.openxmlformats.org/officeDocument/2006/relationships/tags" Target="../tags/tag870.xml"/><Relationship Id="rId29" Type="http://schemas.openxmlformats.org/officeDocument/2006/relationships/tags" Target="../tags/tag883.xml"/><Relationship Id="rId11" Type="http://schemas.openxmlformats.org/officeDocument/2006/relationships/tags" Target="../tags/tag865.xml"/><Relationship Id="rId24" Type="http://schemas.openxmlformats.org/officeDocument/2006/relationships/tags" Target="../tags/tag878.xml"/><Relationship Id="rId32" Type="http://schemas.openxmlformats.org/officeDocument/2006/relationships/tags" Target="../tags/tag886.xml"/><Relationship Id="rId37" Type="http://schemas.openxmlformats.org/officeDocument/2006/relationships/tags" Target="../tags/tag891.xml"/><Relationship Id="rId40" Type="http://schemas.openxmlformats.org/officeDocument/2006/relationships/tags" Target="../tags/tag894.xml"/><Relationship Id="rId45" Type="http://schemas.openxmlformats.org/officeDocument/2006/relationships/tags" Target="../tags/tag899.xml"/><Relationship Id="rId53" Type="http://schemas.openxmlformats.org/officeDocument/2006/relationships/tags" Target="../tags/tag907.xml"/><Relationship Id="rId58" Type="http://schemas.openxmlformats.org/officeDocument/2006/relationships/tags" Target="../tags/tag912.xml"/><Relationship Id="rId66" Type="http://schemas.openxmlformats.org/officeDocument/2006/relationships/tags" Target="../tags/tag920.xml"/><Relationship Id="rId74" Type="http://schemas.openxmlformats.org/officeDocument/2006/relationships/tags" Target="../tags/tag928.xml"/><Relationship Id="rId79" Type="http://schemas.openxmlformats.org/officeDocument/2006/relationships/tags" Target="../tags/tag933.xml"/><Relationship Id="rId87" Type="http://schemas.openxmlformats.org/officeDocument/2006/relationships/tags" Target="../tags/tag941.xml"/><Relationship Id="rId5" Type="http://schemas.openxmlformats.org/officeDocument/2006/relationships/tags" Target="../tags/tag859.xml"/><Relationship Id="rId61" Type="http://schemas.openxmlformats.org/officeDocument/2006/relationships/tags" Target="../tags/tag915.xml"/><Relationship Id="rId82" Type="http://schemas.openxmlformats.org/officeDocument/2006/relationships/tags" Target="../tags/tag936.xml"/><Relationship Id="rId90" Type="http://schemas.openxmlformats.org/officeDocument/2006/relationships/tags" Target="../tags/tag944.xml"/><Relationship Id="rId95" Type="http://schemas.openxmlformats.org/officeDocument/2006/relationships/image" Target="../media/image18.png"/><Relationship Id="rId19" Type="http://schemas.openxmlformats.org/officeDocument/2006/relationships/tags" Target="../tags/tag873.xml"/><Relationship Id="rId14" Type="http://schemas.openxmlformats.org/officeDocument/2006/relationships/tags" Target="../tags/tag868.xml"/><Relationship Id="rId22" Type="http://schemas.openxmlformats.org/officeDocument/2006/relationships/tags" Target="../tags/tag876.xml"/><Relationship Id="rId27" Type="http://schemas.openxmlformats.org/officeDocument/2006/relationships/tags" Target="../tags/tag881.xml"/><Relationship Id="rId30" Type="http://schemas.openxmlformats.org/officeDocument/2006/relationships/tags" Target="../tags/tag884.xml"/><Relationship Id="rId35" Type="http://schemas.openxmlformats.org/officeDocument/2006/relationships/tags" Target="../tags/tag889.xml"/><Relationship Id="rId43" Type="http://schemas.openxmlformats.org/officeDocument/2006/relationships/tags" Target="../tags/tag897.xml"/><Relationship Id="rId48" Type="http://schemas.openxmlformats.org/officeDocument/2006/relationships/tags" Target="../tags/tag902.xml"/><Relationship Id="rId56" Type="http://schemas.openxmlformats.org/officeDocument/2006/relationships/tags" Target="../tags/tag910.xml"/><Relationship Id="rId64" Type="http://schemas.openxmlformats.org/officeDocument/2006/relationships/tags" Target="../tags/tag918.xml"/><Relationship Id="rId69" Type="http://schemas.openxmlformats.org/officeDocument/2006/relationships/tags" Target="../tags/tag923.xml"/><Relationship Id="rId77" Type="http://schemas.openxmlformats.org/officeDocument/2006/relationships/tags" Target="../tags/tag931.xml"/><Relationship Id="rId8" Type="http://schemas.openxmlformats.org/officeDocument/2006/relationships/tags" Target="../tags/tag862.xml"/><Relationship Id="rId51" Type="http://schemas.openxmlformats.org/officeDocument/2006/relationships/tags" Target="../tags/tag905.xml"/><Relationship Id="rId72" Type="http://schemas.openxmlformats.org/officeDocument/2006/relationships/tags" Target="../tags/tag926.xml"/><Relationship Id="rId80" Type="http://schemas.openxmlformats.org/officeDocument/2006/relationships/tags" Target="../tags/tag934.xml"/><Relationship Id="rId85" Type="http://schemas.openxmlformats.org/officeDocument/2006/relationships/tags" Target="../tags/tag939.xml"/><Relationship Id="rId93" Type="http://schemas.openxmlformats.org/officeDocument/2006/relationships/tags" Target="../tags/tag947.xml"/><Relationship Id="rId98" Type="http://schemas.openxmlformats.org/officeDocument/2006/relationships/image" Target="../media/image23.png"/><Relationship Id="rId3" Type="http://schemas.openxmlformats.org/officeDocument/2006/relationships/tags" Target="../tags/tag857.xml"/><Relationship Id="rId12" Type="http://schemas.openxmlformats.org/officeDocument/2006/relationships/tags" Target="../tags/tag866.xml"/><Relationship Id="rId17" Type="http://schemas.openxmlformats.org/officeDocument/2006/relationships/tags" Target="../tags/tag871.xml"/><Relationship Id="rId25" Type="http://schemas.openxmlformats.org/officeDocument/2006/relationships/tags" Target="../tags/tag879.xml"/><Relationship Id="rId33" Type="http://schemas.openxmlformats.org/officeDocument/2006/relationships/tags" Target="../tags/tag887.xml"/><Relationship Id="rId38" Type="http://schemas.openxmlformats.org/officeDocument/2006/relationships/tags" Target="../tags/tag892.xml"/><Relationship Id="rId46" Type="http://schemas.openxmlformats.org/officeDocument/2006/relationships/tags" Target="../tags/tag900.xml"/><Relationship Id="rId59" Type="http://schemas.openxmlformats.org/officeDocument/2006/relationships/tags" Target="../tags/tag913.xml"/><Relationship Id="rId67" Type="http://schemas.openxmlformats.org/officeDocument/2006/relationships/tags" Target="../tags/tag921.xml"/><Relationship Id="rId20" Type="http://schemas.openxmlformats.org/officeDocument/2006/relationships/tags" Target="../tags/tag874.xml"/><Relationship Id="rId41" Type="http://schemas.openxmlformats.org/officeDocument/2006/relationships/tags" Target="../tags/tag895.xml"/><Relationship Id="rId54" Type="http://schemas.openxmlformats.org/officeDocument/2006/relationships/tags" Target="../tags/tag908.xml"/><Relationship Id="rId62" Type="http://schemas.openxmlformats.org/officeDocument/2006/relationships/tags" Target="../tags/tag916.xml"/><Relationship Id="rId70" Type="http://schemas.openxmlformats.org/officeDocument/2006/relationships/tags" Target="../tags/tag924.xml"/><Relationship Id="rId75" Type="http://schemas.openxmlformats.org/officeDocument/2006/relationships/tags" Target="../tags/tag929.xml"/><Relationship Id="rId83" Type="http://schemas.openxmlformats.org/officeDocument/2006/relationships/tags" Target="../tags/tag937.xml"/><Relationship Id="rId88" Type="http://schemas.openxmlformats.org/officeDocument/2006/relationships/tags" Target="../tags/tag942.xml"/><Relationship Id="rId91" Type="http://schemas.openxmlformats.org/officeDocument/2006/relationships/tags" Target="../tags/tag945.xml"/><Relationship Id="rId96" Type="http://schemas.openxmlformats.org/officeDocument/2006/relationships/image" Target="../media/image20.png"/><Relationship Id="rId1" Type="http://schemas.openxmlformats.org/officeDocument/2006/relationships/tags" Target="../tags/tag855.xml"/><Relationship Id="rId6" Type="http://schemas.openxmlformats.org/officeDocument/2006/relationships/tags" Target="../tags/tag860.xml"/><Relationship Id="rId15" Type="http://schemas.openxmlformats.org/officeDocument/2006/relationships/tags" Target="../tags/tag869.xml"/><Relationship Id="rId23" Type="http://schemas.openxmlformats.org/officeDocument/2006/relationships/tags" Target="../tags/tag877.xml"/><Relationship Id="rId28" Type="http://schemas.openxmlformats.org/officeDocument/2006/relationships/tags" Target="../tags/tag882.xml"/><Relationship Id="rId36" Type="http://schemas.openxmlformats.org/officeDocument/2006/relationships/tags" Target="../tags/tag890.xml"/><Relationship Id="rId49" Type="http://schemas.openxmlformats.org/officeDocument/2006/relationships/tags" Target="../tags/tag903.xml"/><Relationship Id="rId57" Type="http://schemas.openxmlformats.org/officeDocument/2006/relationships/tags" Target="../tags/tag911.xml"/><Relationship Id="rId10" Type="http://schemas.openxmlformats.org/officeDocument/2006/relationships/tags" Target="../tags/tag864.xml"/><Relationship Id="rId31" Type="http://schemas.openxmlformats.org/officeDocument/2006/relationships/tags" Target="../tags/tag885.xml"/><Relationship Id="rId44" Type="http://schemas.openxmlformats.org/officeDocument/2006/relationships/tags" Target="../tags/tag898.xml"/><Relationship Id="rId52" Type="http://schemas.openxmlformats.org/officeDocument/2006/relationships/tags" Target="../tags/tag906.xml"/><Relationship Id="rId60" Type="http://schemas.openxmlformats.org/officeDocument/2006/relationships/tags" Target="../tags/tag914.xml"/><Relationship Id="rId65" Type="http://schemas.openxmlformats.org/officeDocument/2006/relationships/tags" Target="../tags/tag919.xml"/><Relationship Id="rId73" Type="http://schemas.openxmlformats.org/officeDocument/2006/relationships/tags" Target="../tags/tag927.xml"/><Relationship Id="rId78" Type="http://schemas.openxmlformats.org/officeDocument/2006/relationships/tags" Target="../tags/tag932.xml"/><Relationship Id="rId81" Type="http://schemas.openxmlformats.org/officeDocument/2006/relationships/tags" Target="../tags/tag935.xml"/><Relationship Id="rId86" Type="http://schemas.openxmlformats.org/officeDocument/2006/relationships/tags" Target="../tags/tag940.xml"/><Relationship Id="rId94" Type="http://schemas.openxmlformats.org/officeDocument/2006/relationships/slideLayout" Target="../slideLayouts/slideLayout40.xml"/><Relationship Id="rId4" Type="http://schemas.openxmlformats.org/officeDocument/2006/relationships/tags" Target="../tags/tag858.xml"/><Relationship Id="rId9" Type="http://schemas.openxmlformats.org/officeDocument/2006/relationships/tags" Target="../tags/tag863.xml"/><Relationship Id="rId13" Type="http://schemas.openxmlformats.org/officeDocument/2006/relationships/tags" Target="../tags/tag867.xml"/><Relationship Id="rId18" Type="http://schemas.openxmlformats.org/officeDocument/2006/relationships/tags" Target="../tags/tag872.xml"/><Relationship Id="rId39" Type="http://schemas.openxmlformats.org/officeDocument/2006/relationships/tags" Target="../tags/tag89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6.xml"/><Relationship Id="rId1" Type="http://schemas.openxmlformats.org/officeDocument/2006/relationships/tags" Target="../tags/tag45.xml"/></Relationships>
</file>

<file path=ppt/slides/_rels/slide20.xml.rels><?xml version="1.0" encoding="UTF-8" standalone="yes"?>
<Relationships xmlns="http://schemas.openxmlformats.org/package/2006/relationships"><Relationship Id="rId117" Type="http://schemas.openxmlformats.org/officeDocument/2006/relationships/tags" Target="../tags/tag1063.xml"/><Relationship Id="rId299" Type="http://schemas.openxmlformats.org/officeDocument/2006/relationships/tags" Target="../tags/tag1245.xml"/><Relationship Id="rId21" Type="http://schemas.openxmlformats.org/officeDocument/2006/relationships/tags" Target="../tags/tag967.xml"/><Relationship Id="rId63" Type="http://schemas.openxmlformats.org/officeDocument/2006/relationships/tags" Target="../tags/tag1009.xml"/><Relationship Id="rId159" Type="http://schemas.openxmlformats.org/officeDocument/2006/relationships/tags" Target="../tags/tag1105.xml"/><Relationship Id="rId324" Type="http://schemas.openxmlformats.org/officeDocument/2006/relationships/tags" Target="../tags/tag1270.xml"/><Relationship Id="rId366" Type="http://schemas.openxmlformats.org/officeDocument/2006/relationships/tags" Target="../tags/tag1312.xml"/><Relationship Id="rId170" Type="http://schemas.openxmlformats.org/officeDocument/2006/relationships/tags" Target="../tags/tag1116.xml"/><Relationship Id="rId226" Type="http://schemas.openxmlformats.org/officeDocument/2006/relationships/tags" Target="../tags/tag1172.xml"/><Relationship Id="rId268" Type="http://schemas.openxmlformats.org/officeDocument/2006/relationships/tags" Target="../tags/tag1214.xml"/><Relationship Id="rId32" Type="http://schemas.openxmlformats.org/officeDocument/2006/relationships/tags" Target="../tags/tag978.xml"/><Relationship Id="rId74" Type="http://schemas.openxmlformats.org/officeDocument/2006/relationships/tags" Target="../tags/tag1020.xml"/><Relationship Id="rId128" Type="http://schemas.openxmlformats.org/officeDocument/2006/relationships/tags" Target="../tags/tag1074.xml"/><Relationship Id="rId335" Type="http://schemas.openxmlformats.org/officeDocument/2006/relationships/tags" Target="../tags/tag1281.xml"/><Relationship Id="rId377" Type="http://schemas.openxmlformats.org/officeDocument/2006/relationships/tags" Target="../tags/tag1323.xml"/><Relationship Id="rId5" Type="http://schemas.openxmlformats.org/officeDocument/2006/relationships/tags" Target="../tags/tag951.xml"/><Relationship Id="rId95" Type="http://schemas.openxmlformats.org/officeDocument/2006/relationships/tags" Target="../tags/tag1041.xml"/><Relationship Id="rId160" Type="http://schemas.openxmlformats.org/officeDocument/2006/relationships/tags" Target="../tags/tag1106.xml"/><Relationship Id="rId181" Type="http://schemas.openxmlformats.org/officeDocument/2006/relationships/tags" Target="../tags/tag1127.xml"/><Relationship Id="rId216" Type="http://schemas.openxmlformats.org/officeDocument/2006/relationships/tags" Target="../tags/tag1162.xml"/><Relationship Id="rId237" Type="http://schemas.openxmlformats.org/officeDocument/2006/relationships/tags" Target="../tags/tag1183.xml"/><Relationship Id="rId402" Type="http://schemas.openxmlformats.org/officeDocument/2006/relationships/tags" Target="../tags/tag1348.xml"/><Relationship Id="rId258" Type="http://schemas.openxmlformats.org/officeDocument/2006/relationships/tags" Target="../tags/tag1204.xml"/><Relationship Id="rId279" Type="http://schemas.openxmlformats.org/officeDocument/2006/relationships/tags" Target="../tags/tag1225.xml"/><Relationship Id="rId22" Type="http://schemas.openxmlformats.org/officeDocument/2006/relationships/tags" Target="../tags/tag968.xml"/><Relationship Id="rId43" Type="http://schemas.openxmlformats.org/officeDocument/2006/relationships/tags" Target="../tags/tag989.xml"/><Relationship Id="rId64" Type="http://schemas.openxmlformats.org/officeDocument/2006/relationships/tags" Target="../tags/tag1010.xml"/><Relationship Id="rId118" Type="http://schemas.openxmlformats.org/officeDocument/2006/relationships/tags" Target="../tags/tag1064.xml"/><Relationship Id="rId139" Type="http://schemas.openxmlformats.org/officeDocument/2006/relationships/tags" Target="../tags/tag1085.xml"/><Relationship Id="rId290" Type="http://schemas.openxmlformats.org/officeDocument/2006/relationships/tags" Target="../tags/tag1236.xml"/><Relationship Id="rId304" Type="http://schemas.openxmlformats.org/officeDocument/2006/relationships/tags" Target="../tags/tag1250.xml"/><Relationship Id="rId325" Type="http://schemas.openxmlformats.org/officeDocument/2006/relationships/tags" Target="../tags/tag1271.xml"/><Relationship Id="rId346" Type="http://schemas.openxmlformats.org/officeDocument/2006/relationships/tags" Target="../tags/tag1292.xml"/><Relationship Id="rId367" Type="http://schemas.openxmlformats.org/officeDocument/2006/relationships/tags" Target="../tags/tag1313.xml"/><Relationship Id="rId388" Type="http://schemas.openxmlformats.org/officeDocument/2006/relationships/tags" Target="../tags/tag1334.xml"/><Relationship Id="rId85" Type="http://schemas.openxmlformats.org/officeDocument/2006/relationships/tags" Target="../tags/tag1031.xml"/><Relationship Id="rId150" Type="http://schemas.openxmlformats.org/officeDocument/2006/relationships/tags" Target="../tags/tag1096.xml"/><Relationship Id="rId171" Type="http://schemas.openxmlformats.org/officeDocument/2006/relationships/tags" Target="../tags/tag1117.xml"/><Relationship Id="rId192" Type="http://schemas.openxmlformats.org/officeDocument/2006/relationships/tags" Target="../tags/tag1138.xml"/><Relationship Id="rId206" Type="http://schemas.openxmlformats.org/officeDocument/2006/relationships/tags" Target="../tags/tag1152.xml"/><Relationship Id="rId227" Type="http://schemas.openxmlformats.org/officeDocument/2006/relationships/tags" Target="../tags/tag1173.xml"/><Relationship Id="rId248" Type="http://schemas.openxmlformats.org/officeDocument/2006/relationships/tags" Target="../tags/tag1194.xml"/><Relationship Id="rId269" Type="http://schemas.openxmlformats.org/officeDocument/2006/relationships/tags" Target="../tags/tag1215.xml"/><Relationship Id="rId12" Type="http://schemas.openxmlformats.org/officeDocument/2006/relationships/tags" Target="../tags/tag958.xml"/><Relationship Id="rId33" Type="http://schemas.openxmlformats.org/officeDocument/2006/relationships/tags" Target="../tags/tag979.xml"/><Relationship Id="rId108" Type="http://schemas.openxmlformats.org/officeDocument/2006/relationships/tags" Target="../tags/tag1054.xml"/><Relationship Id="rId129" Type="http://schemas.openxmlformats.org/officeDocument/2006/relationships/tags" Target="../tags/tag1075.xml"/><Relationship Id="rId280" Type="http://schemas.openxmlformats.org/officeDocument/2006/relationships/tags" Target="../tags/tag1226.xml"/><Relationship Id="rId315" Type="http://schemas.openxmlformats.org/officeDocument/2006/relationships/tags" Target="../tags/tag1261.xml"/><Relationship Id="rId336" Type="http://schemas.openxmlformats.org/officeDocument/2006/relationships/tags" Target="../tags/tag1282.xml"/><Relationship Id="rId357" Type="http://schemas.openxmlformats.org/officeDocument/2006/relationships/tags" Target="../tags/tag1303.xml"/><Relationship Id="rId54" Type="http://schemas.openxmlformats.org/officeDocument/2006/relationships/tags" Target="../tags/tag1000.xml"/><Relationship Id="rId75" Type="http://schemas.openxmlformats.org/officeDocument/2006/relationships/tags" Target="../tags/tag1021.xml"/><Relationship Id="rId96" Type="http://schemas.openxmlformats.org/officeDocument/2006/relationships/tags" Target="../tags/tag1042.xml"/><Relationship Id="rId140" Type="http://schemas.openxmlformats.org/officeDocument/2006/relationships/tags" Target="../tags/tag1086.xml"/><Relationship Id="rId161" Type="http://schemas.openxmlformats.org/officeDocument/2006/relationships/tags" Target="../tags/tag1107.xml"/><Relationship Id="rId182" Type="http://schemas.openxmlformats.org/officeDocument/2006/relationships/tags" Target="../tags/tag1128.xml"/><Relationship Id="rId217" Type="http://schemas.openxmlformats.org/officeDocument/2006/relationships/tags" Target="../tags/tag1163.xml"/><Relationship Id="rId378" Type="http://schemas.openxmlformats.org/officeDocument/2006/relationships/tags" Target="../tags/tag1324.xml"/><Relationship Id="rId399" Type="http://schemas.openxmlformats.org/officeDocument/2006/relationships/tags" Target="../tags/tag1345.xml"/><Relationship Id="rId403" Type="http://schemas.openxmlformats.org/officeDocument/2006/relationships/tags" Target="../tags/tag1349.xml"/><Relationship Id="rId6" Type="http://schemas.openxmlformats.org/officeDocument/2006/relationships/tags" Target="../tags/tag952.xml"/><Relationship Id="rId238" Type="http://schemas.openxmlformats.org/officeDocument/2006/relationships/tags" Target="../tags/tag1184.xml"/><Relationship Id="rId259" Type="http://schemas.openxmlformats.org/officeDocument/2006/relationships/tags" Target="../tags/tag1205.xml"/><Relationship Id="rId23" Type="http://schemas.openxmlformats.org/officeDocument/2006/relationships/tags" Target="../tags/tag969.xml"/><Relationship Id="rId119" Type="http://schemas.openxmlformats.org/officeDocument/2006/relationships/tags" Target="../tags/tag1065.xml"/><Relationship Id="rId270" Type="http://schemas.openxmlformats.org/officeDocument/2006/relationships/tags" Target="../tags/tag1216.xml"/><Relationship Id="rId291" Type="http://schemas.openxmlformats.org/officeDocument/2006/relationships/tags" Target="../tags/tag1237.xml"/><Relationship Id="rId305" Type="http://schemas.openxmlformats.org/officeDocument/2006/relationships/tags" Target="../tags/tag1251.xml"/><Relationship Id="rId326" Type="http://schemas.openxmlformats.org/officeDocument/2006/relationships/tags" Target="../tags/tag1272.xml"/><Relationship Id="rId347" Type="http://schemas.openxmlformats.org/officeDocument/2006/relationships/tags" Target="../tags/tag1293.xml"/><Relationship Id="rId44" Type="http://schemas.openxmlformats.org/officeDocument/2006/relationships/tags" Target="../tags/tag990.xml"/><Relationship Id="rId65" Type="http://schemas.openxmlformats.org/officeDocument/2006/relationships/tags" Target="../tags/tag1011.xml"/><Relationship Id="rId86" Type="http://schemas.openxmlformats.org/officeDocument/2006/relationships/tags" Target="../tags/tag1032.xml"/><Relationship Id="rId130" Type="http://schemas.openxmlformats.org/officeDocument/2006/relationships/tags" Target="../tags/tag1076.xml"/><Relationship Id="rId151" Type="http://schemas.openxmlformats.org/officeDocument/2006/relationships/tags" Target="../tags/tag1097.xml"/><Relationship Id="rId368" Type="http://schemas.openxmlformats.org/officeDocument/2006/relationships/tags" Target="../tags/tag1314.xml"/><Relationship Id="rId389" Type="http://schemas.openxmlformats.org/officeDocument/2006/relationships/tags" Target="../tags/tag1335.xml"/><Relationship Id="rId172" Type="http://schemas.openxmlformats.org/officeDocument/2006/relationships/tags" Target="../tags/tag1118.xml"/><Relationship Id="rId193" Type="http://schemas.openxmlformats.org/officeDocument/2006/relationships/tags" Target="../tags/tag1139.xml"/><Relationship Id="rId207" Type="http://schemas.openxmlformats.org/officeDocument/2006/relationships/tags" Target="../tags/tag1153.xml"/><Relationship Id="rId228" Type="http://schemas.openxmlformats.org/officeDocument/2006/relationships/tags" Target="../tags/tag1174.xml"/><Relationship Id="rId249" Type="http://schemas.openxmlformats.org/officeDocument/2006/relationships/tags" Target="../tags/tag1195.xml"/><Relationship Id="rId13" Type="http://schemas.openxmlformats.org/officeDocument/2006/relationships/tags" Target="../tags/tag959.xml"/><Relationship Id="rId109" Type="http://schemas.openxmlformats.org/officeDocument/2006/relationships/tags" Target="../tags/tag1055.xml"/><Relationship Id="rId260" Type="http://schemas.openxmlformats.org/officeDocument/2006/relationships/tags" Target="../tags/tag1206.xml"/><Relationship Id="rId281" Type="http://schemas.openxmlformats.org/officeDocument/2006/relationships/tags" Target="../tags/tag1227.xml"/><Relationship Id="rId316" Type="http://schemas.openxmlformats.org/officeDocument/2006/relationships/tags" Target="../tags/tag1262.xml"/><Relationship Id="rId337" Type="http://schemas.openxmlformats.org/officeDocument/2006/relationships/tags" Target="../tags/tag1283.xml"/><Relationship Id="rId34" Type="http://schemas.openxmlformats.org/officeDocument/2006/relationships/tags" Target="../tags/tag980.xml"/><Relationship Id="rId55" Type="http://schemas.openxmlformats.org/officeDocument/2006/relationships/tags" Target="../tags/tag1001.xml"/><Relationship Id="rId76" Type="http://schemas.openxmlformats.org/officeDocument/2006/relationships/tags" Target="../tags/tag1022.xml"/><Relationship Id="rId97" Type="http://schemas.openxmlformats.org/officeDocument/2006/relationships/tags" Target="../tags/tag1043.xml"/><Relationship Id="rId120" Type="http://schemas.openxmlformats.org/officeDocument/2006/relationships/tags" Target="../tags/tag1066.xml"/><Relationship Id="rId141" Type="http://schemas.openxmlformats.org/officeDocument/2006/relationships/tags" Target="../tags/tag1087.xml"/><Relationship Id="rId358" Type="http://schemas.openxmlformats.org/officeDocument/2006/relationships/tags" Target="../tags/tag1304.xml"/><Relationship Id="rId379" Type="http://schemas.openxmlformats.org/officeDocument/2006/relationships/tags" Target="../tags/tag1325.xml"/><Relationship Id="rId7" Type="http://schemas.openxmlformats.org/officeDocument/2006/relationships/tags" Target="../tags/tag953.xml"/><Relationship Id="rId162" Type="http://schemas.openxmlformats.org/officeDocument/2006/relationships/tags" Target="../tags/tag1108.xml"/><Relationship Id="rId183" Type="http://schemas.openxmlformats.org/officeDocument/2006/relationships/tags" Target="../tags/tag1129.xml"/><Relationship Id="rId218" Type="http://schemas.openxmlformats.org/officeDocument/2006/relationships/tags" Target="../tags/tag1164.xml"/><Relationship Id="rId239" Type="http://schemas.openxmlformats.org/officeDocument/2006/relationships/tags" Target="../tags/tag1185.xml"/><Relationship Id="rId390" Type="http://schemas.openxmlformats.org/officeDocument/2006/relationships/tags" Target="../tags/tag1336.xml"/><Relationship Id="rId404" Type="http://schemas.openxmlformats.org/officeDocument/2006/relationships/tags" Target="../tags/tag1350.xml"/><Relationship Id="rId250" Type="http://schemas.openxmlformats.org/officeDocument/2006/relationships/tags" Target="../tags/tag1196.xml"/><Relationship Id="rId271" Type="http://schemas.openxmlformats.org/officeDocument/2006/relationships/tags" Target="../tags/tag1217.xml"/><Relationship Id="rId292" Type="http://schemas.openxmlformats.org/officeDocument/2006/relationships/tags" Target="../tags/tag1238.xml"/><Relationship Id="rId306" Type="http://schemas.openxmlformats.org/officeDocument/2006/relationships/tags" Target="../tags/tag1252.xml"/><Relationship Id="rId24" Type="http://schemas.openxmlformats.org/officeDocument/2006/relationships/tags" Target="../tags/tag970.xml"/><Relationship Id="rId45" Type="http://schemas.openxmlformats.org/officeDocument/2006/relationships/tags" Target="../tags/tag991.xml"/><Relationship Id="rId66" Type="http://schemas.openxmlformats.org/officeDocument/2006/relationships/tags" Target="../tags/tag1012.xml"/><Relationship Id="rId87" Type="http://schemas.openxmlformats.org/officeDocument/2006/relationships/tags" Target="../tags/tag1033.xml"/><Relationship Id="rId110" Type="http://schemas.openxmlformats.org/officeDocument/2006/relationships/tags" Target="../tags/tag1056.xml"/><Relationship Id="rId131" Type="http://schemas.openxmlformats.org/officeDocument/2006/relationships/tags" Target="../tags/tag1077.xml"/><Relationship Id="rId327" Type="http://schemas.openxmlformats.org/officeDocument/2006/relationships/tags" Target="../tags/tag1273.xml"/><Relationship Id="rId348" Type="http://schemas.openxmlformats.org/officeDocument/2006/relationships/tags" Target="../tags/tag1294.xml"/><Relationship Id="rId369" Type="http://schemas.openxmlformats.org/officeDocument/2006/relationships/tags" Target="../tags/tag1315.xml"/><Relationship Id="rId152" Type="http://schemas.openxmlformats.org/officeDocument/2006/relationships/tags" Target="../tags/tag1098.xml"/><Relationship Id="rId173" Type="http://schemas.openxmlformats.org/officeDocument/2006/relationships/tags" Target="../tags/tag1119.xml"/><Relationship Id="rId194" Type="http://schemas.openxmlformats.org/officeDocument/2006/relationships/tags" Target="../tags/tag1140.xml"/><Relationship Id="rId208" Type="http://schemas.openxmlformats.org/officeDocument/2006/relationships/tags" Target="../tags/tag1154.xml"/><Relationship Id="rId229" Type="http://schemas.openxmlformats.org/officeDocument/2006/relationships/tags" Target="../tags/tag1175.xml"/><Relationship Id="rId380" Type="http://schemas.openxmlformats.org/officeDocument/2006/relationships/tags" Target="../tags/tag1326.xml"/><Relationship Id="rId240" Type="http://schemas.openxmlformats.org/officeDocument/2006/relationships/tags" Target="../tags/tag1186.xml"/><Relationship Id="rId261" Type="http://schemas.openxmlformats.org/officeDocument/2006/relationships/tags" Target="../tags/tag1207.xml"/><Relationship Id="rId14" Type="http://schemas.openxmlformats.org/officeDocument/2006/relationships/tags" Target="../tags/tag960.xml"/><Relationship Id="rId35" Type="http://schemas.openxmlformats.org/officeDocument/2006/relationships/tags" Target="../tags/tag981.xml"/><Relationship Id="rId56" Type="http://schemas.openxmlformats.org/officeDocument/2006/relationships/tags" Target="../tags/tag1002.xml"/><Relationship Id="rId77" Type="http://schemas.openxmlformats.org/officeDocument/2006/relationships/tags" Target="../tags/tag1023.xml"/><Relationship Id="rId100" Type="http://schemas.openxmlformats.org/officeDocument/2006/relationships/tags" Target="../tags/tag1046.xml"/><Relationship Id="rId282" Type="http://schemas.openxmlformats.org/officeDocument/2006/relationships/tags" Target="../tags/tag1228.xml"/><Relationship Id="rId317" Type="http://schemas.openxmlformats.org/officeDocument/2006/relationships/tags" Target="../tags/tag1263.xml"/><Relationship Id="rId338" Type="http://schemas.openxmlformats.org/officeDocument/2006/relationships/tags" Target="../tags/tag1284.xml"/><Relationship Id="rId359" Type="http://schemas.openxmlformats.org/officeDocument/2006/relationships/tags" Target="../tags/tag1305.xml"/><Relationship Id="rId8" Type="http://schemas.openxmlformats.org/officeDocument/2006/relationships/tags" Target="../tags/tag954.xml"/><Relationship Id="rId98" Type="http://schemas.openxmlformats.org/officeDocument/2006/relationships/tags" Target="../tags/tag1044.xml"/><Relationship Id="rId121" Type="http://schemas.openxmlformats.org/officeDocument/2006/relationships/tags" Target="../tags/tag1067.xml"/><Relationship Id="rId142" Type="http://schemas.openxmlformats.org/officeDocument/2006/relationships/tags" Target="../tags/tag1088.xml"/><Relationship Id="rId163" Type="http://schemas.openxmlformats.org/officeDocument/2006/relationships/tags" Target="../tags/tag1109.xml"/><Relationship Id="rId184" Type="http://schemas.openxmlformats.org/officeDocument/2006/relationships/tags" Target="../tags/tag1130.xml"/><Relationship Id="rId219" Type="http://schemas.openxmlformats.org/officeDocument/2006/relationships/tags" Target="../tags/tag1165.xml"/><Relationship Id="rId370" Type="http://schemas.openxmlformats.org/officeDocument/2006/relationships/tags" Target="../tags/tag1316.xml"/><Relationship Id="rId391" Type="http://schemas.openxmlformats.org/officeDocument/2006/relationships/tags" Target="../tags/tag1337.xml"/><Relationship Id="rId405" Type="http://schemas.openxmlformats.org/officeDocument/2006/relationships/tags" Target="../tags/tag1351.xml"/><Relationship Id="rId230" Type="http://schemas.openxmlformats.org/officeDocument/2006/relationships/tags" Target="../tags/tag1176.xml"/><Relationship Id="rId251" Type="http://schemas.openxmlformats.org/officeDocument/2006/relationships/tags" Target="../tags/tag1197.xml"/><Relationship Id="rId25" Type="http://schemas.openxmlformats.org/officeDocument/2006/relationships/tags" Target="../tags/tag971.xml"/><Relationship Id="rId46" Type="http://schemas.openxmlformats.org/officeDocument/2006/relationships/tags" Target="../tags/tag992.xml"/><Relationship Id="rId67" Type="http://schemas.openxmlformats.org/officeDocument/2006/relationships/tags" Target="../tags/tag1013.xml"/><Relationship Id="rId272" Type="http://schemas.openxmlformats.org/officeDocument/2006/relationships/tags" Target="../tags/tag1218.xml"/><Relationship Id="rId293" Type="http://schemas.openxmlformats.org/officeDocument/2006/relationships/tags" Target="../tags/tag1239.xml"/><Relationship Id="rId307" Type="http://schemas.openxmlformats.org/officeDocument/2006/relationships/tags" Target="../tags/tag1253.xml"/><Relationship Id="rId328" Type="http://schemas.openxmlformats.org/officeDocument/2006/relationships/tags" Target="../tags/tag1274.xml"/><Relationship Id="rId349" Type="http://schemas.openxmlformats.org/officeDocument/2006/relationships/tags" Target="../tags/tag1295.xml"/><Relationship Id="rId88" Type="http://schemas.openxmlformats.org/officeDocument/2006/relationships/tags" Target="../tags/tag1034.xml"/><Relationship Id="rId111" Type="http://schemas.openxmlformats.org/officeDocument/2006/relationships/tags" Target="../tags/tag1057.xml"/><Relationship Id="rId132" Type="http://schemas.openxmlformats.org/officeDocument/2006/relationships/tags" Target="../tags/tag1078.xml"/><Relationship Id="rId153" Type="http://schemas.openxmlformats.org/officeDocument/2006/relationships/tags" Target="../tags/tag1099.xml"/><Relationship Id="rId174" Type="http://schemas.openxmlformats.org/officeDocument/2006/relationships/tags" Target="../tags/tag1120.xml"/><Relationship Id="rId195" Type="http://schemas.openxmlformats.org/officeDocument/2006/relationships/tags" Target="../tags/tag1141.xml"/><Relationship Id="rId209" Type="http://schemas.openxmlformats.org/officeDocument/2006/relationships/tags" Target="../tags/tag1155.xml"/><Relationship Id="rId360" Type="http://schemas.openxmlformats.org/officeDocument/2006/relationships/tags" Target="../tags/tag1306.xml"/><Relationship Id="rId381" Type="http://schemas.openxmlformats.org/officeDocument/2006/relationships/tags" Target="../tags/tag1327.xml"/><Relationship Id="rId220" Type="http://schemas.openxmlformats.org/officeDocument/2006/relationships/tags" Target="../tags/tag1166.xml"/><Relationship Id="rId241" Type="http://schemas.openxmlformats.org/officeDocument/2006/relationships/tags" Target="../tags/tag1187.xml"/><Relationship Id="rId15" Type="http://schemas.openxmlformats.org/officeDocument/2006/relationships/tags" Target="../tags/tag961.xml"/><Relationship Id="rId36" Type="http://schemas.openxmlformats.org/officeDocument/2006/relationships/tags" Target="../tags/tag982.xml"/><Relationship Id="rId57" Type="http://schemas.openxmlformats.org/officeDocument/2006/relationships/tags" Target="../tags/tag1003.xml"/><Relationship Id="rId262" Type="http://schemas.openxmlformats.org/officeDocument/2006/relationships/tags" Target="../tags/tag1208.xml"/><Relationship Id="rId283" Type="http://schemas.openxmlformats.org/officeDocument/2006/relationships/tags" Target="../tags/tag1229.xml"/><Relationship Id="rId318" Type="http://schemas.openxmlformats.org/officeDocument/2006/relationships/tags" Target="../tags/tag1264.xml"/><Relationship Id="rId339" Type="http://schemas.openxmlformats.org/officeDocument/2006/relationships/tags" Target="../tags/tag1285.xml"/><Relationship Id="rId78" Type="http://schemas.openxmlformats.org/officeDocument/2006/relationships/tags" Target="../tags/tag1024.xml"/><Relationship Id="rId99" Type="http://schemas.openxmlformats.org/officeDocument/2006/relationships/tags" Target="../tags/tag1045.xml"/><Relationship Id="rId101" Type="http://schemas.openxmlformats.org/officeDocument/2006/relationships/tags" Target="../tags/tag1047.xml"/><Relationship Id="rId122" Type="http://schemas.openxmlformats.org/officeDocument/2006/relationships/tags" Target="../tags/tag1068.xml"/><Relationship Id="rId143" Type="http://schemas.openxmlformats.org/officeDocument/2006/relationships/tags" Target="../tags/tag1089.xml"/><Relationship Id="rId164" Type="http://schemas.openxmlformats.org/officeDocument/2006/relationships/tags" Target="../tags/tag1110.xml"/><Relationship Id="rId185" Type="http://schemas.openxmlformats.org/officeDocument/2006/relationships/tags" Target="../tags/tag1131.xml"/><Relationship Id="rId350" Type="http://schemas.openxmlformats.org/officeDocument/2006/relationships/tags" Target="../tags/tag1296.xml"/><Relationship Id="rId371" Type="http://schemas.openxmlformats.org/officeDocument/2006/relationships/tags" Target="../tags/tag1317.xml"/><Relationship Id="rId406" Type="http://schemas.openxmlformats.org/officeDocument/2006/relationships/tags" Target="../tags/tag1352.xml"/><Relationship Id="rId9" Type="http://schemas.openxmlformats.org/officeDocument/2006/relationships/tags" Target="../tags/tag955.xml"/><Relationship Id="rId210" Type="http://schemas.openxmlformats.org/officeDocument/2006/relationships/tags" Target="../tags/tag1156.xml"/><Relationship Id="rId392" Type="http://schemas.openxmlformats.org/officeDocument/2006/relationships/tags" Target="../tags/tag1338.xml"/><Relationship Id="rId26" Type="http://schemas.openxmlformats.org/officeDocument/2006/relationships/tags" Target="../tags/tag972.xml"/><Relationship Id="rId231" Type="http://schemas.openxmlformats.org/officeDocument/2006/relationships/tags" Target="../tags/tag1177.xml"/><Relationship Id="rId252" Type="http://schemas.openxmlformats.org/officeDocument/2006/relationships/tags" Target="../tags/tag1198.xml"/><Relationship Id="rId273" Type="http://schemas.openxmlformats.org/officeDocument/2006/relationships/tags" Target="../tags/tag1219.xml"/><Relationship Id="rId294" Type="http://schemas.openxmlformats.org/officeDocument/2006/relationships/tags" Target="../tags/tag1240.xml"/><Relationship Id="rId308" Type="http://schemas.openxmlformats.org/officeDocument/2006/relationships/tags" Target="../tags/tag1254.xml"/><Relationship Id="rId329" Type="http://schemas.openxmlformats.org/officeDocument/2006/relationships/tags" Target="../tags/tag1275.xml"/><Relationship Id="rId47" Type="http://schemas.openxmlformats.org/officeDocument/2006/relationships/tags" Target="../tags/tag993.xml"/><Relationship Id="rId68" Type="http://schemas.openxmlformats.org/officeDocument/2006/relationships/tags" Target="../tags/tag1014.xml"/><Relationship Id="rId89" Type="http://schemas.openxmlformats.org/officeDocument/2006/relationships/tags" Target="../tags/tag1035.xml"/><Relationship Id="rId112" Type="http://schemas.openxmlformats.org/officeDocument/2006/relationships/tags" Target="../tags/tag1058.xml"/><Relationship Id="rId133" Type="http://schemas.openxmlformats.org/officeDocument/2006/relationships/tags" Target="../tags/tag1079.xml"/><Relationship Id="rId154" Type="http://schemas.openxmlformats.org/officeDocument/2006/relationships/tags" Target="../tags/tag1100.xml"/><Relationship Id="rId175" Type="http://schemas.openxmlformats.org/officeDocument/2006/relationships/tags" Target="../tags/tag1121.xml"/><Relationship Id="rId340" Type="http://schemas.openxmlformats.org/officeDocument/2006/relationships/tags" Target="../tags/tag1286.xml"/><Relationship Id="rId361" Type="http://schemas.openxmlformats.org/officeDocument/2006/relationships/tags" Target="../tags/tag1307.xml"/><Relationship Id="rId196" Type="http://schemas.openxmlformats.org/officeDocument/2006/relationships/tags" Target="../tags/tag1142.xml"/><Relationship Id="rId200" Type="http://schemas.openxmlformats.org/officeDocument/2006/relationships/tags" Target="../tags/tag1146.xml"/><Relationship Id="rId382" Type="http://schemas.openxmlformats.org/officeDocument/2006/relationships/tags" Target="../tags/tag1328.xml"/><Relationship Id="rId16" Type="http://schemas.openxmlformats.org/officeDocument/2006/relationships/tags" Target="../tags/tag962.xml"/><Relationship Id="rId221" Type="http://schemas.openxmlformats.org/officeDocument/2006/relationships/tags" Target="../tags/tag1167.xml"/><Relationship Id="rId242" Type="http://schemas.openxmlformats.org/officeDocument/2006/relationships/tags" Target="../tags/tag1188.xml"/><Relationship Id="rId263" Type="http://schemas.openxmlformats.org/officeDocument/2006/relationships/tags" Target="../tags/tag1209.xml"/><Relationship Id="rId284" Type="http://schemas.openxmlformats.org/officeDocument/2006/relationships/tags" Target="../tags/tag1230.xml"/><Relationship Id="rId319" Type="http://schemas.openxmlformats.org/officeDocument/2006/relationships/tags" Target="../tags/tag1265.xml"/><Relationship Id="rId37" Type="http://schemas.openxmlformats.org/officeDocument/2006/relationships/tags" Target="../tags/tag983.xml"/><Relationship Id="rId58" Type="http://schemas.openxmlformats.org/officeDocument/2006/relationships/tags" Target="../tags/tag1004.xml"/><Relationship Id="rId79" Type="http://schemas.openxmlformats.org/officeDocument/2006/relationships/tags" Target="../tags/tag1025.xml"/><Relationship Id="rId102" Type="http://schemas.openxmlformats.org/officeDocument/2006/relationships/tags" Target="../tags/tag1048.xml"/><Relationship Id="rId123" Type="http://schemas.openxmlformats.org/officeDocument/2006/relationships/tags" Target="../tags/tag1069.xml"/><Relationship Id="rId144" Type="http://schemas.openxmlformats.org/officeDocument/2006/relationships/tags" Target="../tags/tag1090.xml"/><Relationship Id="rId330" Type="http://schemas.openxmlformats.org/officeDocument/2006/relationships/tags" Target="../tags/tag1276.xml"/><Relationship Id="rId90" Type="http://schemas.openxmlformats.org/officeDocument/2006/relationships/tags" Target="../tags/tag1036.xml"/><Relationship Id="rId165" Type="http://schemas.openxmlformats.org/officeDocument/2006/relationships/tags" Target="../tags/tag1111.xml"/><Relationship Id="rId186" Type="http://schemas.openxmlformats.org/officeDocument/2006/relationships/tags" Target="../tags/tag1132.xml"/><Relationship Id="rId351" Type="http://schemas.openxmlformats.org/officeDocument/2006/relationships/tags" Target="../tags/tag1297.xml"/><Relationship Id="rId372" Type="http://schemas.openxmlformats.org/officeDocument/2006/relationships/tags" Target="../tags/tag1318.xml"/><Relationship Id="rId393" Type="http://schemas.openxmlformats.org/officeDocument/2006/relationships/tags" Target="../tags/tag1339.xml"/><Relationship Id="rId407" Type="http://schemas.openxmlformats.org/officeDocument/2006/relationships/tags" Target="../tags/tag1353.xml"/><Relationship Id="rId211" Type="http://schemas.openxmlformats.org/officeDocument/2006/relationships/tags" Target="../tags/tag1157.xml"/><Relationship Id="rId232" Type="http://schemas.openxmlformats.org/officeDocument/2006/relationships/tags" Target="../tags/tag1178.xml"/><Relationship Id="rId253" Type="http://schemas.openxmlformats.org/officeDocument/2006/relationships/tags" Target="../tags/tag1199.xml"/><Relationship Id="rId274" Type="http://schemas.openxmlformats.org/officeDocument/2006/relationships/tags" Target="../tags/tag1220.xml"/><Relationship Id="rId295" Type="http://schemas.openxmlformats.org/officeDocument/2006/relationships/tags" Target="../tags/tag1241.xml"/><Relationship Id="rId309" Type="http://schemas.openxmlformats.org/officeDocument/2006/relationships/tags" Target="../tags/tag1255.xml"/><Relationship Id="rId27" Type="http://schemas.openxmlformats.org/officeDocument/2006/relationships/tags" Target="../tags/tag973.xml"/><Relationship Id="rId48" Type="http://schemas.openxmlformats.org/officeDocument/2006/relationships/tags" Target="../tags/tag994.xml"/><Relationship Id="rId69" Type="http://schemas.openxmlformats.org/officeDocument/2006/relationships/tags" Target="../tags/tag1015.xml"/><Relationship Id="rId113" Type="http://schemas.openxmlformats.org/officeDocument/2006/relationships/tags" Target="../tags/tag1059.xml"/><Relationship Id="rId134" Type="http://schemas.openxmlformats.org/officeDocument/2006/relationships/tags" Target="../tags/tag1080.xml"/><Relationship Id="rId320" Type="http://schemas.openxmlformats.org/officeDocument/2006/relationships/tags" Target="../tags/tag1266.xml"/><Relationship Id="rId80" Type="http://schemas.openxmlformats.org/officeDocument/2006/relationships/tags" Target="../tags/tag1026.xml"/><Relationship Id="rId155" Type="http://schemas.openxmlformats.org/officeDocument/2006/relationships/tags" Target="../tags/tag1101.xml"/><Relationship Id="rId176" Type="http://schemas.openxmlformats.org/officeDocument/2006/relationships/tags" Target="../tags/tag1122.xml"/><Relationship Id="rId197" Type="http://schemas.openxmlformats.org/officeDocument/2006/relationships/tags" Target="../tags/tag1143.xml"/><Relationship Id="rId341" Type="http://schemas.openxmlformats.org/officeDocument/2006/relationships/tags" Target="../tags/tag1287.xml"/><Relationship Id="rId362" Type="http://schemas.openxmlformats.org/officeDocument/2006/relationships/tags" Target="../tags/tag1308.xml"/><Relationship Id="rId383" Type="http://schemas.openxmlformats.org/officeDocument/2006/relationships/tags" Target="../tags/tag1329.xml"/><Relationship Id="rId201" Type="http://schemas.openxmlformats.org/officeDocument/2006/relationships/tags" Target="../tags/tag1147.xml"/><Relationship Id="rId222" Type="http://schemas.openxmlformats.org/officeDocument/2006/relationships/tags" Target="../tags/tag1168.xml"/><Relationship Id="rId243" Type="http://schemas.openxmlformats.org/officeDocument/2006/relationships/tags" Target="../tags/tag1189.xml"/><Relationship Id="rId264" Type="http://schemas.openxmlformats.org/officeDocument/2006/relationships/tags" Target="../tags/tag1210.xml"/><Relationship Id="rId285" Type="http://schemas.openxmlformats.org/officeDocument/2006/relationships/tags" Target="../tags/tag1231.xml"/><Relationship Id="rId17" Type="http://schemas.openxmlformats.org/officeDocument/2006/relationships/tags" Target="../tags/tag963.xml"/><Relationship Id="rId38" Type="http://schemas.openxmlformats.org/officeDocument/2006/relationships/tags" Target="../tags/tag984.xml"/><Relationship Id="rId59" Type="http://schemas.openxmlformats.org/officeDocument/2006/relationships/tags" Target="../tags/tag1005.xml"/><Relationship Id="rId103" Type="http://schemas.openxmlformats.org/officeDocument/2006/relationships/tags" Target="../tags/tag1049.xml"/><Relationship Id="rId124" Type="http://schemas.openxmlformats.org/officeDocument/2006/relationships/tags" Target="../tags/tag1070.xml"/><Relationship Id="rId310" Type="http://schemas.openxmlformats.org/officeDocument/2006/relationships/tags" Target="../tags/tag1256.xml"/><Relationship Id="rId70" Type="http://schemas.openxmlformats.org/officeDocument/2006/relationships/tags" Target="../tags/tag1016.xml"/><Relationship Id="rId91" Type="http://schemas.openxmlformats.org/officeDocument/2006/relationships/tags" Target="../tags/tag1037.xml"/><Relationship Id="rId145" Type="http://schemas.openxmlformats.org/officeDocument/2006/relationships/tags" Target="../tags/tag1091.xml"/><Relationship Id="rId166" Type="http://schemas.openxmlformats.org/officeDocument/2006/relationships/tags" Target="../tags/tag1112.xml"/><Relationship Id="rId187" Type="http://schemas.openxmlformats.org/officeDocument/2006/relationships/tags" Target="../tags/tag1133.xml"/><Relationship Id="rId331" Type="http://schemas.openxmlformats.org/officeDocument/2006/relationships/tags" Target="../tags/tag1277.xml"/><Relationship Id="rId352" Type="http://schemas.openxmlformats.org/officeDocument/2006/relationships/tags" Target="../tags/tag1298.xml"/><Relationship Id="rId373" Type="http://schemas.openxmlformats.org/officeDocument/2006/relationships/tags" Target="../tags/tag1319.xml"/><Relationship Id="rId394" Type="http://schemas.openxmlformats.org/officeDocument/2006/relationships/tags" Target="../tags/tag1340.xml"/><Relationship Id="rId408" Type="http://schemas.openxmlformats.org/officeDocument/2006/relationships/slideLayout" Target="../slideLayouts/slideLayout6.xml"/><Relationship Id="rId1" Type="http://schemas.openxmlformats.org/officeDocument/2006/relationships/vmlDrawing" Target="../drawings/vmlDrawing50.vml"/><Relationship Id="rId212" Type="http://schemas.openxmlformats.org/officeDocument/2006/relationships/tags" Target="../tags/tag1158.xml"/><Relationship Id="rId233" Type="http://schemas.openxmlformats.org/officeDocument/2006/relationships/tags" Target="../tags/tag1179.xml"/><Relationship Id="rId254" Type="http://schemas.openxmlformats.org/officeDocument/2006/relationships/tags" Target="../tags/tag1200.xml"/><Relationship Id="rId28" Type="http://schemas.openxmlformats.org/officeDocument/2006/relationships/tags" Target="../tags/tag974.xml"/><Relationship Id="rId49" Type="http://schemas.openxmlformats.org/officeDocument/2006/relationships/tags" Target="../tags/tag995.xml"/><Relationship Id="rId114" Type="http://schemas.openxmlformats.org/officeDocument/2006/relationships/tags" Target="../tags/tag1060.xml"/><Relationship Id="rId275" Type="http://schemas.openxmlformats.org/officeDocument/2006/relationships/tags" Target="../tags/tag1221.xml"/><Relationship Id="rId296" Type="http://schemas.openxmlformats.org/officeDocument/2006/relationships/tags" Target="../tags/tag1242.xml"/><Relationship Id="rId300" Type="http://schemas.openxmlformats.org/officeDocument/2006/relationships/tags" Target="../tags/tag1246.xml"/><Relationship Id="rId60" Type="http://schemas.openxmlformats.org/officeDocument/2006/relationships/tags" Target="../tags/tag1006.xml"/><Relationship Id="rId81" Type="http://schemas.openxmlformats.org/officeDocument/2006/relationships/tags" Target="../tags/tag1027.xml"/><Relationship Id="rId135" Type="http://schemas.openxmlformats.org/officeDocument/2006/relationships/tags" Target="../tags/tag1081.xml"/><Relationship Id="rId156" Type="http://schemas.openxmlformats.org/officeDocument/2006/relationships/tags" Target="../tags/tag1102.xml"/><Relationship Id="rId177" Type="http://schemas.openxmlformats.org/officeDocument/2006/relationships/tags" Target="../tags/tag1123.xml"/><Relationship Id="rId198" Type="http://schemas.openxmlformats.org/officeDocument/2006/relationships/tags" Target="../tags/tag1144.xml"/><Relationship Id="rId321" Type="http://schemas.openxmlformats.org/officeDocument/2006/relationships/tags" Target="../tags/tag1267.xml"/><Relationship Id="rId342" Type="http://schemas.openxmlformats.org/officeDocument/2006/relationships/tags" Target="../tags/tag1288.xml"/><Relationship Id="rId363" Type="http://schemas.openxmlformats.org/officeDocument/2006/relationships/tags" Target="../tags/tag1309.xml"/><Relationship Id="rId384" Type="http://schemas.openxmlformats.org/officeDocument/2006/relationships/tags" Target="../tags/tag1330.xml"/><Relationship Id="rId202" Type="http://schemas.openxmlformats.org/officeDocument/2006/relationships/tags" Target="../tags/tag1148.xml"/><Relationship Id="rId223" Type="http://schemas.openxmlformats.org/officeDocument/2006/relationships/tags" Target="../tags/tag1169.xml"/><Relationship Id="rId244" Type="http://schemas.openxmlformats.org/officeDocument/2006/relationships/tags" Target="../tags/tag1190.xml"/><Relationship Id="rId18" Type="http://schemas.openxmlformats.org/officeDocument/2006/relationships/tags" Target="../tags/tag964.xml"/><Relationship Id="rId39" Type="http://schemas.openxmlformats.org/officeDocument/2006/relationships/tags" Target="../tags/tag985.xml"/><Relationship Id="rId265" Type="http://schemas.openxmlformats.org/officeDocument/2006/relationships/tags" Target="../tags/tag1211.xml"/><Relationship Id="rId286" Type="http://schemas.openxmlformats.org/officeDocument/2006/relationships/tags" Target="../tags/tag1232.xml"/><Relationship Id="rId50" Type="http://schemas.openxmlformats.org/officeDocument/2006/relationships/tags" Target="../tags/tag996.xml"/><Relationship Id="rId104" Type="http://schemas.openxmlformats.org/officeDocument/2006/relationships/tags" Target="../tags/tag1050.xml"/><Relationship Id="rId125" Type="http://schemas.openxmlformats.org/officeDocument/2006/relationships/tags" Target="../tags/tag1071.xml"/><Relationship Id="rId146" Type="http://schemas.openxmlformats.org/officeDocument/2006/relationships/tags" Target="../tags/tag1092.xml"/><Relationship Id="rId167" Type="http://schemas.openxmlformats.org/officeDocument/2006/relationships/tags" Target="../tags/tag1113.xml"/><Relationship Id="rId188" Type="http://schemas.openxmlformats.org/officeDocument/2006/relationships/tags" Target="../tags/tag1134.xml"/><Relationship Id="rId311" Type="http://schemas.openxmlformats.org/officeDocument/2006/relationships/tags" Target="../tags/tag1257.xml"/><Relationship Id="rId332" Type="http://schemas.openxmlformats.org/officeDocument/2006/relationships/tags" Target="../tags/tag1278.xml"/><Relationship Id="rId353" Type="http://schemas.openxmlformats.org/officeDocument/2006/relationships/tags" Target="../tags/tag1299.xml"/><Relationship Id="rId374" Type="http://schemas.openxmlformats.org/officeDocument/2006/relationships/tags" Target="../tags/tag1320.xml"/><Relationship Id="rId395" Type="http://schemas.openxmlformats.org/officeDocument/2006/relationships/tags" Target="../tags/tag1341.xml"/><Relationship Id="rId409" Type="http://schemas.openxmlformats.org/officeDocument/2006/relationships/oleObject" Target="../embeddings/oleObject50.bin"/><Relationship Id="rId71" Type="http://schemas.openxmlformats.org/officeDocument/2006/relationships/tags" Target="../tags/tag1017.xml"/><Relationship Id="rId92" Type="http://schemas.openxmlformats.org/officeDocument/2006/relationships/tags" Target="../tags/tag1038.xml"/><Relationship Id="rId213" Type="http://schemas.openxmlformats.org/officeDocument/2006/relationships/tags" Target="../tags/tag1159.xml"/><Relationship Id="rId234" Type="http://schemas.openxmlformats.org/officeDocument/2006/relationships/tags" Target="../tags/tag1180.xml"/><Relationship Id="rId2" Type="http://schemas.openxmlformats.org/officeDocument/2006/relationships/tags" Target="../tags/tag948.xml"/><Relationship Id="rId29" Type="http://schemas.openxmlformats.org/officeDocument/2006/relationships/tags" Target="../tags/tag975.xml"/><Relationship Id="rId255" Type="http://schemas.openxmlformats.org/officeDocument/2006/relationships/tags" Target="../tags/tag1201.xml"/><Relationship Id="rId276" Type="http://schemas.openxmlformats.org/officeDocument/2006/relationships/tags" Target="../tags/tag1222.xml"/><Relationship Id="rId297" Type="http://schemas.openxmlformats.org/officeDocument/2006/relationships/tags" Target="../tags/tag1243.xml"/><Relationship Id="rId40" Type="http://schemas.openxmlformats.org/officeDocument/2006/relationships/tags" Target="../tags/tag986.xml"/><Relationship Id="rId115" Type="http://schemas.openxmlformats.org/officeDocument/2006/relationships/tags" Target="../tags/tag1061.xml"/><Relationship Id="rId136" Type="http://schemas.openxmlformats.org/officeDocument/2006/relationships/tags" Target="../tags/tag1082.xml"/><Relationship Id="rId157" Type="http://schemas.openxmlformats.org/officeDocument/2006/relationships/tags" Target="../tags/tag1103.xml"/><Relationship Id="rId178" Type="http://schemas.openxmlformats.org/officeDocument/2006/relationships/tags" Target="../tags/tag1124.xml"/><Relationship Id="rId301" Type="http://schemas.openxmlformats.org/officeDocument/2006/relationships/tags" Target="../tags/tag1247.xml"/><Relationship Id="rId322" Type="http://schemas.openxmlformats.org/officeDocument/2006/relationships/tags" Target="../tags/tag1268.xml"/><Relationship Id="rId343" Type="http://schemas.openxmlformats.org/officeDocument/2006/relationships/tags" Target="../tags/tag1289.xml"/><Relationship Id="rId364" Type="http://schemas.openxmlformats.org/officeDocument/2006/relationships/tags" Target="../tags/tag1310.xml"/><Relationship Id="rId61" Type="http://schemas.openxmlformats.org/officeDocument/2006/relationships/tags" Target="../tags/tag1007.xml"/><Relationship Id="rId82" Type="http://schemas.openxmlformats.org/officeDocument/2006/relationships/tags" Target="../tags/tag1028.xml"/><Relationship Id="rId199" Type="http://schemas.openxmlformats.org/officeDocument/2006/relationships/tags" Target="../tags/tag1145.xml"/><Relationship Id="rId203" Type="http://schemas.openxmlformats.org/officeDocument/2006/relationships/tags" Target="../tags/tag1149.xml"/><Relationship Id="rId385" Type="http://schemas.openxmlformats.org/officeDocument/2006/relationships/tags" Target="../tags/tag1331.xml"/><Relationship Id="rId19" Type="http://schemas.openxmlformats.org/officeDocument/2006/relationships/tags" Target="../tags/tag965.xml"/><Relationship Id="rId224" Type="http://schemas.openxmlformats.org/officeDocument/2006/relationships/tags" Target="../tags/tag1170.xml"/><Relationship Id="rId245" Type="http://schemas.openxmlformats.org/officeDocument/2006/relationships/tags" Target="../tags/tag1191.xml"/><Relationship Id="rId266" Type="http://schemas.openxmlformats.org/officeDocument/2006/relationships/tags" Target="../tags/tag1212.xml"/><Relationship Id="rId287" Type="http://schemas.openxmlformats.org/officeDocument/2006/relationships/tags" Target="../tags/tag1233.xml"/><Relationship Id="rId410" Type="http://schemas.openxmlformats.org/officeDocument/2006/relationships/image" Target="../media/image6.emf"/><Relationship Id="rId30" Type="http://schemas.openxmlformats.org/officeDocument/2006/relationships/tags" Target="../tags/tag976.xml"/><Relationship Id="rId105" Type="http://schemas.openxmlformats.org/officeDocument/2006/relationships/tags" Target="../tags/tag1051.xml"/><Relationship Id="rId126" Type="http://schemas.openxmlformats.org/officeDocument/2006/relationships/tags" Target="../tags/tag1072.xml"/><Relationship Id="rId147" Type="http://schemas.openxmlformats.org/officeDocument/2006/relationships/tags" Target="../tags/tag1093.xml"/><Relationship Id="rId168" Type="http://schemas.openxmlformats.org/officeDocument/2006/relationships/tags" Target="../tags/tag1114.xml"/><Relationship Id="rId312" Type="http://schemas.openxmlformats.org/officeDocument/2006/relationships/tags" Target="../tags/tag1258.xml"/><Relationship Id="rId333" Type="http://schemas.openxmlformats.org/officeDocument/2006/relationships/tags" Target="../tags/tag1279.xml"/><Relationship Id="rId354" Type="http://schemas.openxmlformats.org/officeDocument/2006/relationships/tags" Target="../tags/tag1300.xml"/><Relationship Id="rId51" Type="http://schemas.openxmlformats.org/officeDocument/2006/relationships/tags" Target="../tags/tag997.xml"/><Relationship Id="rId72" Type="http://schemas.openxmlformats.org/officeDocument/2006/relationships/tags" Target="../tags/tag1018.xml"/><Relationship Id="rId93" Type="http://schemas.openxmlformats.org/officeDocument/2006/relationships/tags" Target="../tags/tag1039.xml"/><Relationship Id="rId189" Type="http://schemas.openxmlformats.org/officeDocument/2006/relationships/tags" Target="../tags/tag1135.xml"/><Relationship Id="rId375" Type="http://schemas.openxmlformats.org/officeDocument/2006/relationships/tags" Target="../tags/tag1321.xml"/><Relationship Id="rId396" Type="http://schemas.openxmlformats.org/officeDocument/2006/relationships/tags" Target="../tags/tag1342.xml"/><Relationship Id="rId3" Type="http://schemas.openxmlformats.org/officeDocument/2006/relationships/tags" Target="../tags/tag949.xml"/><Relationship Id="rId214" Type="http://schemas.openxmlformats.org/officeDocument/2006/relationships/tags" Target="../tags/tag1160.xml"/><Relationship Id="rId235" Type="http://schemas.openxmlformats.org/officeDocument/2006/relationships/tags" Target="../tags/tag1181.xml"/><Relationship Id="rId256" Type="http://schemas.openxmlformats.org/officeDocument/2006/relationships/tags" Target="../tags/tag1202.xml"/><Relationship Id="rId277" Type="http://schemas.openxmlformats.org/officeDocument/2006/relationships/tags" Target="../tags/tag1223.xml"/><Relationship Id="rId298" Type="http://schemas.openxmlformats.org/officeDocument/2006/relationships/tags" Target="../tags/tag1244.xml"/><Relationship Id="rId400" Type="http://schemas.openxmlformats.org/officeDocument/2006/relationships/tags" Target="../tags/tag1346.xml"/><Relationship Id="rId116" Type="http://schemas.openxmlformats.org/officeDocument/2006/relationships/tags" Target="../tags/tag1062.xml"/><Relationship Id="rId137" Type="http://schemas.openxmlformats.org/officeDocument/2006/relationships/tags" Target="../tags/tag1083.xml"/><Relationship Id="rId158" Type="http://schemas.openxmlformats.org/officeDocument/2006/relationships/tags" Target="../tags/tag1104.xml"/><Relationship Id="rId302" Type="http://schemas.openxmlformats.org/officeDocument/2006/relationships/tags" Target="../tags/tag1248.xml"/><Relationship Id="rId323" Type="http://schemas.openxmlformats.org/officeDocument/2006/relationships/tags" Target="../tags/tag1269.xml"/><Relationship Id="rId344" Type="http://schemas.openxmlformats.org/officeDocument/2006/relationships/tags" Target="../tags/tag1290.xml"/><Relationship Id="rId20" Type="http://schemas.openxmlformats.org/officeDocument/2006/relationships/tags" Target="../tags/tag966.xml"/><Relationship Id="rId41" Type="http://schemas.openxmlformats.org/officeDocument/2006/relationships/tags" Target="../tags/tag987.xml"/><Relationship Id="rId62" Type="http://schemas.openxmlformats.org/officeDocument/2006/relationships/tags" Target="../tags/tag1008.xml"/><Relationship Id="rId83" Type="http://schemas.openxmlformats.org/officeDocument/2006/relationships/tags" Target="../tags/tag1029.xml"/><Relationship Id="rId179" Type="http://schemas.openxmlformats.org/officeDocument/2006/relationships/tags" Target="../tags/tag1125.xml"/><Relationship Id="rId365" Type="http://schemas.openxmlformats.org/officeDocument/2006/relationships/tags" Target="../tags/tag1311.xml"/><Relationship Id="rId386" Type="http://schemas.openxmlformats.org/officeDocument/2006/relationships/tags" Target="../tags/tag1332.xml"/><Relationship Id="rId190" Type="http://schemas.openxmlformats.org/officeDocument/2006/relationships/tags" Target="../tags/tag1136.xml"/><Relationship Id="rId204" Type="http://schemas.openxmlformats.org/officeDocument/2006/relationships/tags" Target="../tags/tag1150.xml"/><Relationship Id="rId225" Type="http://schemas.openxmlformats.org/officeDocument/2006/relationships/tags" Target="../tags/tag1171.xml"/><Relationship Id="rId246" Type="http://schemas.openxmlformats.org/officeDocument/2006/relationships/tags" Target="../tags/tag1192.xml"/><Relationship Id="rId267" Type="http://schemas.openxmlformats.org/officeDocument/2006/relationships/tags" Target="../tags/tag1213.xml"/><Relationship Id="rId288" Type="http://schemas.openxmlformats.org/officeDocument/2006/relationships/tags" Target="../tags/tag1234.xml"/><Relationship Id="rId106" Type="http://schemas.openxmlformats.org/officeDocument/2006/relationships/tags" Target="../tags/tag1052.xml"/><Relationship Id="rId127" Type="http://schemas.openxmlformats.org/officeDocument/2006/relationships/tags" Target="../tags/tag1073.xml"/><Relationship Id="rId313" Type="http://schemas.openxmlformats.org/officeDocument/2006/relationships/tags" Target="../tags/tag1259.xml"/><Relationship Id="rId10" Type="http://schemas.openxmlformats.org/officeDocument/2006/relationships/tags" Target="../tags/tag956.xml"/><Relationship Id="rId31" Type="http://schemas.openxmlformats.org/officeDocument/2006/relationships/tags" Target="../tags/tag977.xml"/><Relationship Id="rId52" Type="http://schemas.openxmlformats.org/officeDocument/2006/relationships/tags" Target="../tags/tag998.xml"/><Relationship Id="rId73" Type="http://schemas.openxmlformats.org/officeDocument/2006/relationships/tags" Target="../tags/tag1019.xml"/><Relationship Id="rId94" Type="http://schemas.openxmlformats.org/officeDocument/2006/relationships/tags" Target="../tags/tag1040.xml"/><Relationship Id="rId148" Type="http://schemas.openxmlformats.org/officeDocument/2006/relationships/tags" Target="../tags/tag1094.xml"/><Relationship Id="rId169" Type="http://schemas.openxmlformats.org/officeDocument/2006/relationships/tags" Target="../tags/tag1115.xml"/><Relationship Id="rId334" Type="http://schemas.openxmlformats.org/officeDocument/2006/relationships/tags" Target="../tags/tag1280.xml"/><Relationship Id="rId355" Type="http://schemas.openxmlformats.org/officeDocument/2006/relationships/tags" Target="../tags/tag1301.xml"/><Relationship Id="rId376" Type="http://schemas.openxmlformats.org/officeDocument/2006/relationships/tags" Target="../tags/tag1322.xml"/><Relationship Id="rId397" Type="http://schemas.openxmlformats.org/officeDocument/2006/relationships/tags" Target="../tags/tag1343.xml"/><Relationship Id="rId4" Type="http://schemas.openxmlformats.org/officeDocument/2006/relationships/tags" Target="../tags/tag950.xml"/><Relationship Id="rId180" Type="http://schemas.openxmlformats.org/officeDocument/2006/relationships/tags" Target="../tags/tag1126.xml"/><Relationship Id="rId215" Type="http://schemas.openxmlformats.org/officeDocument/2006/relationships/tags" Target="../tags/tag1161.xml"/><Relationship Id="rId236" Type="http://schemas.openxmlformats.org/officeDocument/2006/relationships/tags" Target="../tags/tag1182.xml"/><Relationship Id="rId257" Type="http://schemas.openxmlformats.org/officeDocument/2006/relationships/tags" Target="../tags/tag1203.xml"/><Relationship Id="rId278" Type="http://schemas.openxmlformats.org/officeDocument/2006/relationships/tags" Target="../tags/tag1224.xml"/><Relationship Id="rId401" Type="http://schemas.openxmlformats.org/officeDocument/2006/relationships/tags" Target="../tags/tag1347.xml"/><Relationship Id="rId303" Type="http://schemas.openxmlformats.org/officeDocument/2006/relationships/tags" Target="../tags/tag1249.xml"/><Relationship Id="rId42" Type="http://schemas.openxmlformats.org/officeDocument/2006/relationships/tags" Target="../tags/tag988.xml"/><Relationship Id="rId84" Type="http://schemas.openxmlformats.org/officeDocument/2006/relationships/tags" Target="../tags/tag1030.xml"/><Relationship Id="rId138" Type="http://schemas.openxmlformats.org/officeDocument/2006/relationships/tags" Target="../tags/tag1084.xml"/><Relationship Id="rId345" Type="http://schemas.openxmlformats.org/officeDocument/2006/relationships/tags" Target="../tags/tag1291.xml"/><Relationship Id="rId387" Type="http://schemas.openxmlformats.org/officeDocument/2006/relationships/tags" Target="../tags/tag1333.xml"/><Relationship Id="rId191" Type="http://schemas.openxmlformats.org/officeDocument/2006/relationships/tags" Target="../tags/tag1137.xml"/><Relationship Id="rId205" Type="http://schemas.openxmlformats.org/officeDocument/2006/relationships/tags" Target="../tags/tag1151.xml"/><Relationship Id="rId247" Type="http://schemas.openxmlformats.org/officeDocument/2006/relationships/tags" Target="../tags/tag1193.xml"/><Relationship Id="rId107" Type="http://schemas.openxmlformats.org/officeDocument/2006/relationships/tags" Target="../tags/tag1053.xml"/><Relationship Id="rId289" Type="http://schemas.openxmlformats.org/officeDocument/2006/relationships/tags" Target="../tags/tag1235.xml"/><Relationship Id="rId11" Type="http://schemas.openxmlformats.org/officeDocument/2006/relationships/tags" Target="../tags/tag957.xml"/><Relationship Id="rId53" Type="http://schemas.openxmlformats.org/officeDocument/2006/relationships/tags" Target="../tags/tag999.xml"/><Relationship Id="rId149" Type="http://schemas.openxmlformats.org/officeDocument/2006/relationships/tags" Target="../tags/tag1095.xml"/><Relationship Id="rId314" Type="http://schemas.openxmlformats.org/officeDocument/2006/relationships/tags" Target="../tags/tag1260.xml"/><Relationship Id="rId356" Type="http://schemas.openxmlformats.org/officeDocument/2006/relationships/tags" Target="../tags/tag1302.xml"/><Relationship Id="rId398" Type="http://schemas.openxmlformats.org/officeDocument/2006/relationships/tags" Target="../tags/tag1344.xml"/></Relationships>
</file>

<file path=ppt/slides/_rels/slide21.xml.rels><?xml version="1.0" encoding="UTF-8" standalone="yes"?>
<Relationships xmlns="http://schemas.openxmlformats.org/package/2006/relationships"><Relationship Id="rId117" Type="http://schemas.openxmlformats.org/officeDocument/2006/relationships/tags" Target="../tags/tag1469.xml"/><Relationship Id="rId299" Type="http://schemas.openxmlformats.org/officeDocument/2006/relationships/tags" Target="../tags/tag1651.xml"/><Relationship Id="rId21" Type="http://schemas.openxmlformats.org/officeDocument/2006/relationships/tags" Target="../tags/tag1373.xml"/><Relationship Id="rId63" Type="http://schemas.openxmlformats.org/officeDocument/2006/relationships/tags" Target="../tags/tag1415.xml"/><Relationship Id="rId159" Type="http://schemas.openxmlformats.org/officeDocument/2006/relationships/tags" Target="../tags/tag1511.xml"/><Relationship Id="rId324" Type="http://schemas.openxmlformats.org/officeDocument/2006/relationships/tags" Target="../tags/tag1676.xml"/><Relationship Id="rId366" Type="http://schemas.openxmlformats.org/officeDocument/2006/relationships/tags" Target="../tags/tag1718.xml"/><Relationship Id="rId170" Type="http://schemas.openxmlformats.org/officeDocument/2006/relationships/tags" Target="../tags/tag1522.xml"/><Relationship Id="rId226" Type="http://schemas.openxmlformats.org/officeDocument/2006/relationships/tags" Target="../tags/tag1578.xml"/><Relationship Id="rId268" Type="http://schemas.openxmlformats.org/officeDocument/2006/relationships/tags" Target="../tags/tag1620.xml"/><Relationship Id="rId32" Type="http://schemas.openxmlformats.org/officeDocument/2006/relationships/tags" Target="../tags/tag1384.xml"/><Relationship Id="rId74" Type="http://schemas.openxmlformats.org/officeDocument/2006/relationships/tags" Target="../tags/tag1426.xml"/><Relationship Id="rId128" Type="http://schemas.openxmlformats.org/officeDocument/2006/relationships/tags" Target="../tags/tag1480.xml"/><Relationship Id="rId335" Type="http://schemas.openxmlformats.org/officeDocument/2006/relationships/tags" Target="../tags/tag1687.xml"/><Relationship Id="rId377" Type="http://schemas.openxmlformats.org/officeDocument/2006/relationships/tags" Target="../tags/tag1729.xml"/><Relationship Id="rId5" Type="http://schemas.openxmlformats.org/officeDocument/2006/relationships/tags" Target="../tags/tag1357.xml"/><Relationship Id="rId95" Type="http://schemas.openxmlformats.org/officeDocument/2006/relationships/tags" Target="../tags/tag1447.xml"/><Relationship Id="rId160" Type="http://schemas.openxmlformats.org/officeDocument/2006/relationships/tags" Target="../tags/tag1512.xml"/><Relationship Id="rId181" Type="http://schemas.openxmlformats.org/officeDocument/2006/relationships/tags" Target="../tags/tag1533.xml"/><Relationship Id="rId216" Type="http://schemas.openxmlformats.org/officeDocument/2006/relationships/tags" Target="../tags/tag1568.xml"/><Relationship Id="rId237" Type="http://schemas.openxmlformats.org/officeDocument/2006/relationships/tags" Target="../tags/tag1589.xml"/><Relationship Id="rId402" Type="http://schemas.openxmlformats.org/officeDocument/2006/relationships/tags" Target="../tags/tag1754.xml"/><Relationship Id="rId258" Type="http://schemas.openxmlformats.org/officeDocument/2006/relationships/tags" Target="../tags/tag1610.xml"/><Relationship Id="rId279" Type="http://schemas.openxmlformats.org/officeDocument/2006/relationships/tags" Target="../tags/tag1631.xml"/><Relationship Id="rId22" Type="http://schemas.openxmlformats.org/officeDocument/2006/relationships/tags" Target="../tags/tag1374.xml"/><Relationship Id="rId43" Type="http://schemas.openxmlformats.org/officeDocument/2006/relationships/tags" Target="../tags/tag1395.xml"/><Relationship Id="rId64" Type="http://schemas.openxmlformats.org/officeDocument/2006/relationships/tags" Target="../tags/tag1416.xml"/><Relationship Id="rId118" Type="http://schemas.openxmlformats.org/officeDocument/2006/relationships/tags" Target="../tags/tag1470.xml"/><Relationship Id="rId139" Type="http://schemas.openxmlformats.org/officeDocument/2006/relationships/tags" Target="../tags/tag1491.xml"/><Relationship Id="rId290" Type="http://schemas.openxmlformats.org/officeDocument/2006/relationships/tags" Target="../tags/tag1642.xml"/><Relationship Id="rId304" Type="http://schemas.openxmlformats.org/officeDocument/2006/relationships/tags" Target="../tags/tag1656.xml"/><Relationship Id="rId325" Type="http://schemas.openxmlformats.org/officeDocument/2006/relationships/tags" Target="../tags/tag1677.xml"/><Relationship Id="rId346" Type="http://schemas.openxmlformats.org/officeDocument/2006/relationships/tags" Target="../tags/tag1698.xml"/><Relationship Id="rId367" Type="http://schemas.openxmlformats.org/officeDocument/2006/relationships/tags" Target="../tags/tag1719.xml"/><Relationship Id="rId388" Type="http://schemas.openxmlformats.org/officeDocument/2006/relationships/tags" Target="../tags/tag1740.xml"/><Relationship Id="rId85" Type="http://schemas.openxmlformats.org/officeDocument/2006/relationships/tags" Target="../tags/tag1437.xml"/><Relationship Id="rId150" Type="http://schemas.openxmlformats.org/officeDocument/2006/relationships/tags" Target="../tags/tag1502.xml"/><Relationship Id="rId171" Type="http://schemas.openxmlformats.org/officeDocument/2006/relationships/tags" Target="../tags/tag1523.xml"/><Relationship Id="rId192" Type="http://schemas.openxmlformats.org/officeDocument/2006/relationships/tags" Target="../tags/tag1544.xml"/><Relationship Id="rId206" Type="http://schemas.openxmlformats.org/officeDocument/2006/relationships/tags" Target="../tags/tag1558.xml"/><Relationship Id="rId227" Type="http://schemas.openxmlformats.org/officeDocument/2006/relationships/tags" Target="../tags/tag1579.xml"/><Relationship Id="rId248" Type="http://schemas.openxmlformats.org/officeDocument/2006/relationships/tags" Target="../tags/tag1600.xml"/><Relationship Id="rId269" Type="http://schemas.openxmlformats.org/officeDocument/2006/relationships/tags" Target="../tags/tag1621.xml"/><Relationship Id="rId12" Type="http://schemas.openxmlformats.org/officeDocument/2006/relationships/tags" Target="../tags/tag1364.xml"/><Relationship Id="rId33" Type="http://schemas.openxmlformats.org/officeDocument/2006/relationships/tags" Target="../tags/tag1385.xml"/><Relationship Id="rId108" Type="http://schemas.openxmlformats.org/officeDocument/2006/relationships/tags" Target="../tags/tag1460.xml"/><Relationship Id="rId129" Type="http://schemas.openxmlformats.org/officeDocument/2006/relationships/tags" Target="../tags/tag1481.xml"/><Relationship Id="rId280" Type="http://schemas.openxmlformats.org/officeDocument/2006/relationships/tags" Target="../tags/tag1632.xml"/><Relationship Id="rId315" Type="http://schemas.openxmlformats.org/officeDocument/2006/relationships/tags" Target="../tags/tag1667.xml"/><Relationship Id="rId336" Type="http://schemas.openxmlformats.org/officeDocument/2006/relationships/tags" Target="../tags/tag1688.xml"/><Relationship Id="rId357" Type="http://schemas.openxmlformats.org/officeDocument/2006/relationships/tags" Target="../tags/tag1709.xml"/><Relationship Id="rId54" Type="http://schemas.openxmlformats.org/officeDocument/2006/relationships/tags" Target="../tags/tag1406.xml"/><Relationship Id="rId75" Type="http://schemas.openxmlformats.org/officeDocument/2006/relationships/tags" Target="../tags/tag1427.xml"/><Relationship Id="rId96" Type="http://schemas.openxmlformats.org/officeDocument/2006/relationships/tags" Target="../tags/tag1448.xml"/><Relationship Id="rId140" Type="http://schemas.openxmlformats.org/officeDocument/2006/relationships/tags" Target="../tags/tag1492.xml"/><Relationship Id="rId161" Type="http://schemas.openxmlformats.org/officeDocument/2006/relationships/tags" Target="../tags/tag1513.xml"/><Relationship Id="rId182" Type="http://schemas.openxmlformats.org/officeDocument/2006/relationships/tags" Target="../tags/tag1534.xml"/><Relationship Id="rId217" Type="http://schemas.openxmlformats.org/officeDocument/2006/relationships/tags" Target="../tags/tag1569.xml"/><Relationship Id="rId378" Type="http://schemas.openxmlformats.org/officeDocument/2006/relationships/tags" Target="../tags/tag1730.xml"/><Relationship Id="rId399" Type="http://schemas.openxmlformats.org/officeDocument/2006/relationships/tags" Target="../tags/tag1751.xml"/><Relationship Id="rId403" Type="http://schemas.openxmlformats.org/officeDocument/2006/relationships/tags" Target="../tags/tag1755.xml"/><Relationship Id="rId6" Type="http://schemas.openxmlformats.org/officeDocument/2006/relationships/tags" Target="../tags/tag1358.xml"/><Relationship Id="rId238" Type="http://schemas.openxmlformats.org/officeDocument/2006/relationships/tags" Target="../tags/tag1590.xml"/><Relationship Id="rId259" Type="http://schemas.openxmlformats.org/officeDocument/2006/relationships/tags" Target="../tags/tag1611.xml"/><Relationship Id="rId23" Type="http://schemas.openxmlformats.org/officeDocument/2006/relationships/tags" Target="../tags/tag1375.xml"/><Relationship Id="rId119" Type="http://schemas.openxmlformats.org/officeDocument/2006/relationships/tags" Target="../tags/tag1471.xml"/><Relationship Id="rId270" Type="http://schemas.openxmlformats.org/officeDocument/2006/relationships/tags" Target="../tags/tag1622.xml"/><Relationship Id="rId291" Type="http://schemas.openxmlformats.org/officeDocument/2006/relationships/tags" Target="../tags/tag1643.xml"/><Relationship Id="rId305" Type="http://schemas.openxmlformats.org/officeDocument/2006/relationships/tags" Target="../tags/tag1657.xml"/><Relationship Id="rId326" Type="http://schemas.openxmlformats.org/officeDocument/2006/relationships/tags" Target="../tags/tag1678.xml"/><Relationship Id="rId347" Type="http://schemas.openxmlformats.org/officeDocument/2006/relationships/tags" Target="../tags/tag1699.xml"/><Relationship Id="rId44" Type="http://schemas.openxmlformats.org/officeDocument/2006/relationships/tags" Target="../tags/tag1396.xml"/><Relationship Id="rId65" Type="http://schemas.openxmlformats.org/officeDocument/2006/relationships/tags" Target="../tags/tag1417.xml"/><Relationship Id="rId86" Type="http://schemas.openxmlformats.org/officeDocument/2006/relationships/tags" Target="../tags/tag1438.xml"/><Relationship Id="rId130" Type="http://schemas.openxmlformats.org/officeDocument/2006/relationships/tags" Target="../tags/tag1482.xml"/><Relationship Id="rId151" Type="http://schemas.openxmlformats.org/officeDocument/2006/relationships/tags" Target="../tags/tag1503.xml"/><Relationship Id="rId368" Type="http://schemas.openxmlformats.org/officeDocument/2006/relationships/tags" Target="../tags/tag1720.xml"/><Relationship Id="rId389" Type="http://schemas.openxmlformats.org/officeDocument/2006/relationships/tags" Target="../tags/tag1741.xml"/><Relationship Id="rId172" Type="http://schemas.openxmlformats.org/officeDocument/2006/relationships/tags" Target="../tags/tag1524.xml"/><Relationship Id="rId193" Type="http://schemas.openxmlformats.org/officeDocument/2006/relationships/tags" Target="../tags/tag1545.xml"/><Relationship Id="rId207" Type="http://schemas.openxmlformats.org/officeDocument/2006/relationships/tags" Target="../tags/tag1559.xml"/><Relationship Id="rId228" Type="http://schemas.openxmlformats.org/officeDocument/2006/relationships/tags" Target="../tags/tag1580.xml"/><Relationship Id="rId249" Type="http://schemas.openxmlformats.org/officeDocument/2006/relationships/tags" Target="../tags/tag1601.xml"/><Relationship Id="rId13" Type="http://schemas.openxmlformats.org/officeDocument/2006/relationships/tags" Target="../tags/tag1365.xml"/><Relationship Id="rId109" Type="http://schemas.openxmlformats.org/officeDocument/2006/relationships/tags" Target="../tags/tag1461.xml"/><Relationship Id="rId260" Type="http://schemas.openxmlformats.org/officeDocument/2006/relationships/tags" Target="../tags/tag1612.xml"/><Relationship Id="rId281" Type="http://schemas.openxmlformats.org/officeDocument/2006/relationships/tags" Target="../tags/tag1633.xml"/><Relationship Id="rId316" Type="http://schemas.openxmlformats.org/officeDocument/2006/relationships/tags" Target="../tags/tag1668.xml"/><Relationship Id="rId337" Type="http://schemas.openxmlformats.org/officeDocument/2006/relationships/tags" Target="../tags/tag1689.xml"/><Relationship Id="rId34" Type="http://schemas.openxmlformats.org/officeDocument/2006/relationships/tags" Target="../tags/tag1386.xml"/><Relationship Id="rId55" Type="http://schemas.openxmlformats.org/officeDocument/2006/relationships/tags" Target="../tags/tag1407.xml"/><Relationship Id="rId76" Type="http://schemas.openxmlformats.org/officeDocument/2006/relationships/tags" Target="../tags/tag1428.xml"/><Relationship Id="rId97" Type="http://schemas.openxmlformats.org/officeDocument/2006/relationships/tags" Target="../tags/tag1449.xml"/><Relationship Id="rId120" Type="http://schemas.openxmlformats.org/officeDocument/2006/relationships/tags" Target="../tags/tag1472.xml"/><Relationship Id="rId141" Type="http://schemas.openxmlformats.org/officeDocument/2006/relationships/tags" Target="../tags/tag1493.xml"/><Relationship Id="rId358" Type="http://schemas.openxmlformats.org/officeDocument/2006/relationships/tags" Target="../tags/tag1710.xml"/><Relationship Id="rId379" Type="http://schemas.openxmlformats.org/officeDocument/2006/relationships/tags" Target="../tags/tag1731.xml"/><Relationship Id="rId7" Type="http://schemas.openxmlformats.org/officeDocument/2006/relationships/tags" Target="../tags/tag1359.xml"/><Relationship Id="rId162" Type="http://schemas.openxmlformats.org/officeDocument/2006/relationships/tags" Target="../tags/tag1514.xml"/><Relationship Id="rId183" Type="http://schemas.openxmlformats.org/officeDocument/2006/relationships/tags" Target="../tags/tag1535.xml"/><Relationship Id="rId218" Type="http://schemas.openxmlformats.org/officeDocument/2006/relationships/tags" Target="../tags/tag1570.xml"/><Relationship Id="rId239" Type="http://schemas.openxmlformats.org/officeDocument/2006/relationships/tags" Target="../tags/tag1591.xml"/><Relationship Id="rId390" Type="http://schemas.openxmlformats.org/officeDocument/2006/relationships/tags" Target="../tags/tag1742.xml"/><Relationship Id="rId404" Type="http://schemas.openxmlformats.org/officeDocument/2006/relationships/tags" Target="../tags/tag1756.xml"/><Relationship Id="rId250" Type="http://schemas.openxmlformats.org/officeDocument/2006/relationships/tags" Target="../tags/tag1602.xml"/><Relationship Id="rId271" Type="http://schemas.openxmlformats.org/officeDocument/2006/relationships/tags" Target="../tags/tag1623.xml"/><Relationship Id="rId292" Type="http://schemas.openxmlformats.org/officeDocument/2006/relationships/tags" Target="../tags/tag1644.xml"/><Relationship Id="rId306" Type="http://schemas.openxmlformats.org/officeDocument/2006/relationships/tags" Target="../tags/tag1658.xml"/><Relationship Id="rId24" Type="http://schemas.openxmlformats.org/officeDocument/2006/relationships/tags" Target="../tags/tag1376.xml"/><Relationship Id="rId45" Type="http://schemas.openxmlformats.org/officeDocument/2006/relationships/tags" Target="../tags/tag1397.xml"/><Relationship Id="rId66" Type="http://schemas.openxmlformats.org/officeDocument/2006/relationships/tags" Target="../tags/tag1418.xml"/><Relationship Id="rId87" Type="http://schemas.openxmlformats.org/officeDocument/2006/relationships/tags" Target="../tags/tag1439.xml"/><Relationship Id="rId110" Type="http://schemas.openxmlformats.org/officeDocument/2006/relationships/tags" Target="../tags/tag1462.xml"/><Relationship Id="rId131" Type="http://schemas.openxmlformats.org/officeDocument/2006/relationships/tags" Target="../tags/tag1483.xml"/><Relationship Id="rId327" Type="http://schemas.openxmlformats.org/officeDocument/2006/relationships/tags" Target="../tags/tag1679.xml"/><Relationship Id="rId348" Type="http://schemas.openxmlformats.org/officeDocument/2006/relationships/tags" Target="../tags/tag1700.xml"/><Relationship Id="rId369" Type="http://schemas.openxmlformats.org/officeDocument/2006/relationships/tags" Target="../tags/tag1721.xml"/><Relationship Id="rId152" Type="http://schemas.openxmlformats.org/officeDocument/2006/relationships/tags" Target="../tags/tag1504.xml"/><Relationship Id="rId173" Type="http://schemas.openxmlformats.org/officeDocument/2006/relationships/tags" Target="../tags/tag1525.xml"/><Relationship Id="rId194" Type="http://schemas.openxmlformats.org/officeDocument/2006/relationships/tags" Target="../tags/tag1546.xml"/><Relationship Id="rId208" Type="http://schemas.openxmlformats.org/officeDocument/2006/relationships/tags" Target="../tags/tag1560.xml"/><Relationship Id="rId229" Type="http://schemas.openxmlformats.org/officeDocument/2006/relationships/tags" Target="../tags/tag1581.xml"/><Relationship Id="rId380" Type="http://schemas.openxmlformats.org/officeDocument/2006/relationships/tags" Target="../tags/tag1732.xml"/><Relationship Id="rId240" Type="http://schemas.openxmlformats.org/officeDocument/2006/relationships/tags" Target="../tags/tag1592.xml"/><Relationship Id="rId261" Type="http://schemas.openxmlformats.org/officeDocument/2006/relationships/tags" Target="../tags/tag1613.xml"/><Relationship Id="rId14" Type="http://schemas.openxmlformats.org/officeDocument/2006/relationships/tags" Target="../tags/tag1366.xml"/><Relationship Id="rId35" Type="http://schemas.openxmlformats.org/officeDocument/2006/relationships/tags" Target="../tags/tag1387.xml"/><Relationship Id="rId56" Type="http://schemas.openxmlformats.org/officeDocument/2006/relationships/tags" Target="../tags/tag1408.xml"/><Relationship Id="rId77" Type="http://schemas.openxmlformats.org/officeDocument/2006/relationships/tags" Target="../tags/tag1429.xml"/><Relationship Id="rId100" Type="http://schemas.openxmlformats.org/officeDocument/2006/relationships/tags" Target="../tags/tag1452.xml"/><Relationship Id="rId282" Type="http://schemas.openxmlformats.org/officeDocument/2006/relationships/tags" Target="../tags/tag1634.xml"/><Relationship Id="rId317" Type="http://schemas.openxmlformats.org/officeDocument/2006/relationships/tags" Target="../tags/tag1669.xml"/><Relationship Id="rId338" Type="http://schemas.openxmlformats.org/officeDocument/2006/relationships/tags" Target="../tags/tag1690.xml"/><Relationship Id="rId359" Type="http://schemas.openxmlformats.org/officeDocument/2006/relationships/tags" Target="../tags/tag1711.xml"/><Relationship Id="rId8" Type="http://schemas.openxmlformats.org/officeDocument/2006/relationships/tags" Target="../tags/tag1360.xml"/><Relationship Id="rId98" Type="http://schemas.openxmlformats.org/officeDocument/2006/relationships/tags" Target="../tags/tag1450.xml"/><Relationship Id="rId121" Type="http://schemas.openxmlformats.org/officeDocument/2006/relationships/tags" Target="../tags/tag1473.xml"/><Relationship Id="rId142" Type="http://schemas.openxmlformats.org/officeDocument/2006/relationships/tags" Target="../tags/tag1494.xml"/><Relationship Id="rId163" Type="http://schemas.openxmlformats.org/officeDocument/2006/relationships/tags" Target="../tags/tag1515.xml"/><Relationship Id="rId184" Type="http://schemas.openxmlformats.org/officeDocument/2006/relationships/tags" Target="../tags/tag1536.xml"/><Relationship Id="rId219" Type="http://schemas.openxmlformats.org/officeDocument/2006/relationships/tags" Target="../tags/tag1571.xml"/><Relationship Id="rId370" Type="http://schemas.openxmlformats.org/officeDocument/2006/relationships/tags" Target="../tags/tag1722.xml"/><Relationship Id="rId391" Type="http://schemas.openxmlformats.org/officeDocument/2006/relationships/tags" Target="../tags/tag1743.xml"/><Relationship Id="rId405" Type="http://schemas.openxmlformats.org/officeDocument/2006/relationships/tags" Target="../tags/tag1757.xml"/><Relationship Id="rId230" Type="http://schemas.openxmlformats.org/officeDocument/2006/relationships/tags" Target="../tags/tag1582.xml"/><Relationship Id="rId251" Type="http://schemas.openxmlformats.org/officeDocument/2006/relationships/tags" Target="../tags/tag1603.xml"/><Relationship Id="rId25" Type="http://schemas.openxmlformats.org/officeDocument/2006/relationships/tags" Target="../tags/tag1377.xml"/><Relationship Id="rId46" Type="http://schemas.openxmlformats.org/officeDocument/2006/relationships/tags" Target="../tags/tag1398.xml"/><Relationship Id="rId67" Type="http://schemas.openxmlformats.org/officeDocument/2006/relationships/tags" Target="../tags/tag1419.xml"/><Relationship Id="rId272" Type="http://schemas.openxmlformats.org/officeDocument/2006/relationships/tags" Target="../tags/tag1624.xml"/><Relationship Id="rId293" Type="http://schemas.openxmlformats.org/officeDocument/2006/relationships/tags" Target="../tags/tag1645.xml"/><Relationship Id="rId307" Type="http://schemas.openxmlformats.org/officeDocument/2006/relationships/tags" Target="../tags/tag1659.xml"/><Relationship Id="rId328" Type="http://schemas.openxmlformats.org/officeDocument/2006/relationships/tags" Target="../tags/tag1680.xml"/><Relationship Id="rId349" Type="http://schemas.openxmlformats.org/officeDocument/2006/relationships/tags" Target="../tags/tag1701.xml"/><Relationship Id="rId88" Type="http://schemas.openxmlformats.org/officeDocument/2006/relationships/tags" Target="../tags/tag1440.xml"/><Relationship Id="rId111" Type="http://schemas.openxmlformats.org/officeDocument/2006/relationships/tags" Target="../tags/tag1463.xml"/><Relationship Id="rId132" Type="http://schemas.openxmlformats.org/officeDocument/2006/relationships/tags" Target="../tags/tag1484.xml"/><Relationship Id="rId153" Type="http://schemas.openxmlformats.org/officeDocument/2006/relationships/tags" Target="../tags/tag1505.xml"/><Relationship Id="rId174" Type="http://schemas.openxmlformats.org/officeDocument/2006/relationships/tags" Target="../tags/tag1526.xml"/><Relationship Id="rId195" Type="http://schemas.openxmlformats.org/officeDocument/2006/relationships/tags" Target="../tags/tag1547.xml"/><Relationship Id="rId209" Type="http://schemas.openxmlformats.org/officeDocument/2006/relationships/tags" Target="../tags/tag1561.xml"/><Relationship Id="rId360" Type="http://schemas.openxmlformats.org/officeDocument/2006/relationships/tags" Target="../tags/tag1712.xml"/><Relationship Id="rId381" Type="http://schemas.openxmlformats.org/officeDocument/2006/relationships/tags" Target="../tags/tag1733.xml"/><Relationship Id="rId220" Type="http://schemas.openxmlformats.org/officeDocument/2006/relationships/tags" Target="../tags/tag1572.xml"/><Relationship Id="rId241" Type="http://schemas.openxmlformats.org/officeDocument/2006/relationships/tags" Target="../tags/tag1593.xml"/><Relationship Id="rId15" Type="http://schemas.openxmlformats.org/officeDocument/2006/relationships/tags" Target="../tags/tag1367.xml"/><Relationship Id="rId36" Type="http://schemas.openxmlformats.org/officeDocument/2006/relationships/tags" Target="../tags/tag1388.xml"/><Relationship Id="rId57" Type="http://schemas.openxmlformats.org/officeDocument/2006/relationships/tags" Target="../tags/tag1409.xml"/><Relationship Id="rId262" Type="http://schemas.openxmlformats.org/officeDocument/2006/relationships/tags" Target="../tags/tag1614.xml"/><Relationship Id="rId283" Type="http://schemas.openxmlformats.org/officeDocument/2006/relationships/tags" Target="../tags/tag1635.xml"/><Relationship Id="rId318" Type="http://schemas.openxmlformats.org/officeDocument/2006/relationships/tags" Target="../tags/tag1670.xml"/><Relationship Id="rId339" Type="http://schemas.openxmlformats.org/officeDocument/2006/relationships/tags" Target="../tags/tag1691.xml"/><Relationship Id="rId78" Type="http://schemas.openxmlformats.org/officeDocument/2006/relationships/tags" Target="../tags/tag1430.xml"/><Relationship Id="rId99" Type="http://schemas.openxmlformats.org/officeDocument/2006/relationships/tags" Target="../tags/tag1451.xml"/><Relationship Id="rId101" Type="http://schemas.openxmlformats.org/officeDocument/2006/relationships/tags" Target="../tags/tag1453.xml"/><Relationship Id="rId122" Type="http://schemas.openxmlformats.org/officeDocument/2006/relationships/tags" Target="../tags/tag1474.xml"/><Relationship Id="rId143" Type="http://schemas.openxmlformats.org/officeDocument/2006/relationships/tags" Target="../tags/tag1495.xml"/><Relationship Id="rId164" Type="http://schemas.openxmlformats.org/officeDocument/2006/relationships/tags" Target="../tags/tag1516.xml"/><Relationship Id="rId185" Type="http://schemas.openxmlformats.org/officeDocument/2006/relationships/tags" Target="../tags/tag1537.xml"/><Relationship Id="rId350" Type="http://schemas.openxmlformats.org/officeDocument/2006/relationships/tags" Target="../tags/tag1702.xml"/><Relationship Id="rId371" Type="http://schemas.openxmlformats.org/officeDocument/2006/relationships/tags" Target="../tags/tag1723.xml"/><Relationship Id="rId406" Type="http://schemas.openxmlformats.org/officeDocument/2006/relationships/tags" Target="../tags/tag1758.xml"/><Relationship Id="rId9" Type="http://schemas.openxmlformats.org/officeDocument/2006/relationships/tags" Target="../tags/tag1361.xml"/><Relationship Id="rId210" Type="http://schemas.openxmlformats.org/officeDocument/2006/relationships/tags" Target="../tags/tag1562.xml"/><Relationship Id="rId392" Type="http://schemas.openxmlformats.org/officeDocument/2006/relationships/tags" Target="../tags/tag1744.xml"/><Relationship Id="rId26" Type="http://schemas.openxmlformats.org/officeDocument/2006/relationships/tags" Target="../tags/tag1378.xml"/><Relationship Id="rId231" Type="http://schemas.openxmlformats.org/officeDocument/2006/relationships/tags" Target="../tags/tag1583.xml"/><Relationship Id="rId252" Type="http://schemas.openxmlformats.org/officeDocument/2006/relationships/tags" Target="../tags/tag1604.xml"/><Relationship Id="rId273" Type="http://schemas.openxmlformats.org/officeDocument/2006/relationships/tags" Target="../tags/tag1625.xml"/><Relationship Id="rId294" Type="http://schemas.openxmlformats.org/officeDocument/2006/relationships/tags" Target="../tags/tag1646.xml"/><Relationship Id="rId308" Type="http://schemas.openxmlformats.org/officeDocument/2006/relationships/tags" Target="../tags/tag1660.xml"/><Relationship Id="rId329" Type="http://schemas.openxmlformats.org/officeDocument/2006/relationships/tags" Target="../tags/tag1681.xml"/><Relationship Id="rId47" Type="http://schemas.openxmlformats.org/officeDocument/2006/relationships/tags" Target="../tags/tag1399.xml"/><Relationship Id="rId68" Type="http://schemas.openxmlformats.org/officeDocument/2006/relationships/tags" Target="../tags/tag1420.xml"/><Relationship Id="rId89" Type="http://schemas.openxmlformats.org/officeDocument/2006/relationships/tags" Target="../tags/tag1441.xml"/><Relationship Id="rId112" Type="http://schemas.openxmlformats.org/officeDocument/2006/relationships/tags" Target="../tags/tag1464.xml"/><Relationship Id="rId133" Type="http://schemas.openxmlformats.org/officeDocument/2006/relationships/tags" Target="../tags/tag1485.xml"/><Relationship Id="rId154" Type="http://schemas.openxmlformats.org/officeDocument/2006/relationships/tags" Target="../tags/tag1506.xml"/><Relationship Id="rId175" Type="http://schemas.openxmlformats.org/officeDocument/2006/relationships/tags" Target="../tags/tag1527.xml"/><Relationship Id="rId340" Type="http://schemas.openxmlformats.org/officeDocument/2006/relationships/tags" Target="../tags/tag1692.xml"/><Relationship Id="rId361" Type="http://schemas.openxmlformats.org/officeDocument/2006/relationships/tags" Target="../tags/tag1713.xml"/><Relationship Id="rId196" Type="http://schemas.openxmlformats.org/officeDocument/2006/relationships/tags" Target="../tags/tag1548.xml"/><Relationship Id="rId200" Type="http://schemas.openxmlformats.org/officeDocument/2006/relationships/tags" Target="../tags/tag1552.xml"/><Relationship Id="rId382" Type="http://schemas.openxmlformats.org/officeDocument/2006/relationships/tags" Target="../tags/tag1734.xml"/><Relationship Id="rId16" Type="http://schemas.openxmlformats.org/officeDocument/2006/relationships/tags" Target="../tags/tag1368.xml"/><Relationship Id="rId221" Type="http://schemas.openxmlformats.org/officeDocument/2006/relationships/tags" Target="../tags/tag1573.xml"/><Relationship Id="rId242" Type="http://schemas.openxmlformats.org/officeDocument/2006/relationships/tags" Target="../tags/tag1594.xml"/><Relationship Id="rId263" Type="http://schemas.openxmlformats.org/officeDocument/2006/relationships/tags" Target="../tags/tag1615.xml"/><Relationship Id="rId284" Type="http://schemas.openxmlformats.org/officeDocument/2006/relationships/tags" Target="../tags/tag1636.xml"/><Relationship Id="rId319" Type="http://schemas.openxmlformats.org/officeDocument/2006/relationships/tags" Target="../tags/tag1671.xml"/><Relationship Id="rId37" Type="http://schemas.openxmlformats.org/officeDocument/2006/relationships/tags" Target="../tags/tag1389.xml"/><Relationship Id="rId58" Type="http://schemas.openxmlformats.org/officeDocument/2006/relationships/tags" Target="../tags/tag1410.xml"/><Relationship Id="rId79" Type="http://schemas.openxmlformats.org/officeDocument/2006/relationships/tags" Target="../tags/tag1431.xml"/><Relationship Id="rId102" Type="http://schemas.openxmlformats.org/officeDocument/2006/relationships/tags" Target="../tags/tag1454.xml"/><Relationship Id="rId123" Type="http://schemas.openxmlformats.org/officeDocument/2006/relationships/tags" Target="../tags/tag1475.xml"/><Relationship Id="rId144" Type="http://schemas.openxmlformats.org/officeDocument/2006/relationships/tags" Target="../tags/tag1496.xml"/><Relationship Id="rId330" Type="http://schemas.openxmlformats.org/officeDocument/2006/relationships/tags" Target="../tags/tag1682.xml"/><Relationship Id="rId90" Type="http://schemas.openxmlformats.org/officeDocument/2006/relationships/tags" Target="../tags/tag1442.xml"/><Relationship Id="rId165" Type="http://schemas.openxmlformats.org/officeDocument/2006/relationships/tags" Target="../tags/tag1517.xml"/><Relationship Id="rId186" Type="http://schemas.openxmlformats.org/officeDocument/2006/relationships/tags" Target="../tags/tag1538.xml"/><Relationship Id="rId351" Type="http://schemas.openxmlformats.org/officeDocument/2006/relationships/tags" Target="../tags/tag1703.xml"/><Relationship Id="rId372" Type="http://schemas.openxmlformats.org/officeDocument/2006/relationships/tags" Target="../tags/tag1724.xml"/><Relationship Id="rId393" Type="http://schemas.openxmlformats.org/officeDocument/2006/relationships/tags" Target="../tags/tag1745.xml"/><Relationship Id="rId407" Type="http://schemas.openxmlformats.org/officeDocument/2006/relationships/slideLayout" Target="../slideLayouts/slideLayout6.xml"/><Relationship Id="rId211" Type="http://schemas.openxmlformats.org/officeDocument/2006/relationships/tags" Target="../tags/tag1563.xml"/><Relationship Id="rId232" Type="http://schemas.openxmlformats.org/officeDocument/2006/relationships/tags" Target="../tags/tag1584.xml"/><Relationship Id="rId253" Type="http://schemas.openxmlformats.org/officeDocument/2006/relationships/tags" Target="../tags/tag1605.xml"/><Relationship Id="rId274" Type="http://schemas.openxmlformats.org/officeDocument/2006/relationships/tags" Target="../tags/tag1626.xml"/><Relationship Id="rId295" Type="http://schemas.openxmlformats.org/officeDocument/2006/relationships/tags" Target="../tags/tag1647.xml"/><Relationship Id="rId309" Type="http://schemas.openxmlformats.org/officeDocument/2006/relationships/tags" Target="../tags/tag1661.xml"/><Relationship Id="rId27" Type="http://schemas.openxmlformats.org/officeDocument/2006/relationships/tags" Target="../tags/tag1379.xml"/><Relationship Id="rId48" Type="http://schemas.openxmlformats.org/officeDocument/2006/relationships/tags" Target="../tags/tag1400.xml"/><Relationship Id="rId69" Type="http://schemas.openxmlformats.org/officeDocument/2006/relationships/tags" Target="../tags/tag1421.xml"/><Relationship Id="rId113" Type="http://schemas.openxmlformats.org/officeDocument/2006/relationships/tags" Target="../tags/tag1465.xml"/><Relationship Id="rId134" Type="http://schemas.openxmlformats.org/officeDocument/2006/relationships/tags" Target="../tags/tag1486.xml"/><Relationship Id="rId320" Type="http://schemas.openxmlformats.org/officeDocument/2006/relationships/tags" Target="../tags/tag1672.xml"/><Relationship Id="rId80" Type="http://schemas.openxmlformats.org/officeDocument/2006/relationships/tags" Target="../tags/tag1432.xml"/><Relationship Id="rId155" Type="http://schemas.openxmlformats.org/officeDocument/2006/relationships/tags" Target="../tags/tag1507.xml"/><Relationship Id="rId176" Type="http://schemas.openxmlformats.org/officeDocument/2006/relationships/tags" Target="../tags/tag1528.xml"/><Relationship Id="rId197" Type="http://schemas.openxmlformats.org/officeDocument/2006/relationships/tags" Target="../tags/tag1549.xml"/><Relationship Id="rId341" Type="http://schemas.openxmlformats.org/officeDocument/2006/relationships/tags" Target="../tags/tag1693.xml"/><Relationship Id="rId362" Type="http://schemas.openxmlformats.org/officeDocument/2006/relationships/tags" Target="../tags/tag1714.xml"/><Relationship Id="rId383" Type="http://schemas.openxmlformats.org/officeDocument/2006/relationships/tags" Target="../tags/tag1735.xml"/><Relationship Id="rId201" Type="http://schemas.openxmlformats.org/officeDocument/2006/relationships/tags" Target="../tags/tag1553.xml"/><Relationship Id="rId222" Type="http://schemas.openxmlformats.org/officeDocument/2006/relationships/tags" Target="../tags/tag1574.xml"/><Relationship Id="rId243" Type="http://schemas.openxmlformats.org/officeDocument/2006/relationships/tags" Target="../tags/tag1595.xml"/><Relationship Id="rId264" Type="http://schemas.openxmlformats.org/officeDocument/2006/relationships/tags" Target="../tags/tag1616.xml"/><Relationship Id="rId285" Type="http://schemas.openxmlformats.org/officeDocument/2006/relationships/tags" Target="../tags/tag1637.xml"/><Relationship Id="rId17" Type="http://schemas.openxmlformats.org/officeDocument/2006/relationships/tags" Target="../tags/tag1369.xml"/><Relationship Id="rId38" Type="http://schemas.openxmlformats.org/officeDocument/2006/relationships/tags" Target="../tags/tag1390.xml"/><Relationship Id="rId59" Type="http://schemas.openxmlformats.org/officeDocument/2006/relationships/tags" Target="../tags/tag1411.xml"/><Relationship Id="rId103" Type="http://schemas.openxmlformats.org/officeDocument/2006/relationships/tags" Target="../tags/tag1455.xml"/><Relationship Id="rId124" Type="http://schemas.openxmlformats.org/officeDocument/2006/relationships/tags" Target="../tags/tag1476.xml"/><Relationship Id="rId310" Type="http://schemas.openxmlformats.org/officeDocument/2006/relationships/tags" Target="../tags/tag1662.xml"/><Relationship Id="rId70" Type="http://schemas.openxmlformats.org/officeDocument/2006/relationships/tags" Target="../tags/tag1422.xml"/><Relationship Id="rId91" Type="http://schemas.openxmlformats.org/officeDocument/2006/relationships/tags" Target="../tags/tag1443.xml"/><Relationship Id="rId145" Type="http://schemas.openxmlformats.org/officeDocument/2006/relationships/tags" Target="../tags/tag1497.xml"/><Relationship Id="rId166" Type="http://schemas.openxmlformats.org/officeDocument/2006/relationships/tags" Target="../tags/tag1518.xml"/><Relationship Id="rId187" Type="http://schemas.openxmlformats.org/officeDocument/2006/relationships/tags" Target="../tags/tag1539.xml"/><Relationship Id="rId331" Type="http://schemas.openxmlformats.org/officeDocument/2006/relationships/tags" Target="../tags/tag1683.xml"/><Relationship Id="rId352" Type="http://schemas.openxmlformats.org/officeDocument/2006/relationships/tags" Target="../tags/tag1704.xml"/><Relationship Id="rId373" Type="http://schemas.openxmlformats.org/officeDocument/2006/relationships/tags" Target="../tags/tag1725.xml"/><Relationship Id="rId394" Type="http://schemas.openxmlformats.org/officeDocument/2006/relationships/tags" Target="../tags/tag1746.xml"/><Relationship Id="rId408" Type="http://schemas.openxmlformats.org/officeDocument/2006/relationships/oleObject" Target="../embeddings/oleObject51.bin"/><Relationship Id="rId1" Type="http://schemas.openxmlformats.org/officeDocument/2006/relationships/vmlDrawing" Target="../drawings/vmlDrawing51.vml"/><Relationship Id="rId212" Type="http://schemas.openxmlformats.org/officeDocument/2006/relationships/tags" Target="../tags/tag1564.xml"/><Relationship Id="rId233" Type="http://schemas.openxmlformats.org/officeDocument/2006/relationships/tags" Target="../tags/tag1585.xml"/><Relationship Id="rId254" Type="http://schemas.openxmlformats.org/officeDocument/2006/relationships/tags" Target="../tags/tag1606.xml"/><Relationship Id="rId28" Type="http://schemas.openxmlformats.org/officeDocument/2006/relationships/tags" Target="../tags/tag1380.xml"/><Relationship Id="rId49" Type="http://schemas.openxmlformats.org/officeDocument/2006/relationships/tags" Target="../tags/tag1401.xml"/><Relationship Id="rId114" Type="http://schemas.openxmlformats.org/officeDocument/2006/relationships/tags" Target="../tags/tag1466.xml"/><Relationship Id="rId275" Type="http://schemas.openxmlformats.org/officeDocument/2006/relationships/tags" Target="../tags/tag1627.xml"/><Relationship Id="rId296" Type="http://schemas.openxmlformats.org/officeDocument/2006/relationships/tags" Target="../tags/tag1648.xml"/><Relationship Id="rId300" Type="http://schemas.openxmlformats.org/officeDocument/2006/relationships/tags" Target="../tags/tag1652.xml"/><Relationship Id="rId60" Type="http://schemas.openxmlformats.org/officeDocument/2006/relationships/tags" Target="../tags/tag1412.xml"/><Relationship Id="rId81" Type="http://schemas.openxmlformats.org/officeDocument/2006/relationships/tags" Target="../tags/tag1433.xml"/><Relationship Id="rId135" Type="http://schemas.openxmlformats.org/officeDocument/2006/relationships/tags" Target="../tags/tag1487.xml"/><Relationship Id="rId156" Type="http://schemas.openxmlformats.org/officeDocument/2006/relationships/tags" Target="../tags/tag1508.xml"/><Relationship Id="rId177" Type="http://schemas.openxmlformats.org/officeDocument/2006/relationships/tags" Target="../tags/tag1529.xml"/><Relationship Id="rId198" Type="http://schemas.openxmlformats.org/officeDocument/2006/relationships/tags" Target="../tags/tag1550.xml"/><Relationship Id="rId321" Type="http://schemas.openxmlformats.org/officeDocument/2006/relationships/tags" Target="../tags/tag1673.xml"/><Relationship Id="rId342" Type="http://schemas.openxmlformats.org/officeDocument/2006/relationships/tags" Target="../tags/tag1694.xml"/><Relationship Id="rId363" Type="http://schemas.openxmlformats.org/officeDocument/2006/relationships/tags" Target="../tags/tag1715.xml"/><Relationship Id="rId384" Type="http://schemas.openxmlformats.org/officeDocument/2006/relationships/tags" Target="../tags/tag1736.xml"/><Relationship Id="rId202" Type="http://schemas.openxmlformats.org/officeDocument/2006/relationships/tags" Target="../tags/tag1554.xml"/><Relationship Id="rId223" Type="http://schemas.openxmlformats.org/officeDocument/2006/relationships/tags" Target="../tags/tag1575.xml"/><Relationship Id="rId244" Type="http://schemas.openxmlformats.org/officeDocument/2006/relationships/tags" Target="../tags/tag1596.xml"/><Relationship Id="rId18" Type="http://schemas.openxmlformats.org/officeDocument/2006/relationships/tags" Target="../tags/tag1370.xml"/><Relationship Id="rId39" Type="http://schemas.openxmlformats.org/officeDocument/2006/relationships/tags" Target="../tags/tag1391.xml"/><Relationship Id="rId265" Type="http://schemas.openxmlformats.org/officeDocument/2006/relationships/tags" Target="../tags/tag1617.xml"/><Relationship Id="rId286" Type="http://schemas.openxmlformats.org/officeDocument/2006/relationships/tags" Target="../tags/tag1638.xml"/><Relationship Id="rId50" Type="http://schemas.openxmlformats.org/officeDocument/2006/relationships/tags" Target="../tags/tag1402.xml"/><Relationship Id="rId104" Type="http://schemas.openxmlformats.org/officeDocument/2006/relationships/tags" Target="../tags/tag1456.xml"/><Relationship Id="rId125" Type="http://schemas.openxmlformats.org/officeDocument/2006/relationships/tags" Target="../tags/tag1477.xml"/><Relationship Id="rId146" Type="http://schemas.openxmlformats.org/officeDocument/2006/relationships/tags" Target="../tags/tag1498.xml"/><Relationship Id="rId167" Type="http://schemas.openxmlformats.org/officeDocument/2006/relationships/tags" Target="../tags/tag1519.xml"/><Relationship Id="rId188" Type="http://schemas.openxmlformats.org/officeDocument/2006/relationships/tags" Target="../tags/tag1540.xml"/><Relationship Id="rId311" Type="http://schemas.openxmlformats.org/officeDocument/2006/relationships/tags" Target="../tags/tag1663.xml"/><Relationship Id="rId332" Type="http://schemas.openxmlformats.org/officeDocument/2006/relationships/tags" Target="../tags/tag1684.xml"/><Relationship Id="rId353" Type="http://schemas.openxmlformats.org/officeDocument/2006/relationships/tags" Target="../tags/tag1705.xml"/><Relationship Id="rId374" Type="http://schemas.openxmlformats.org/officeDocument/2006/relationships/tags" Target="../tags/tag1726.xml"/><Relationship Id="rId395" Type="http://schemas.openxmlformats.org/officeDocument/2006/relationships/tags" Target="../tags/tag1747.xml"/><Relationship Id="rId409" Type="http://schemas.openxmlformats.org/officeDocument/2006/relationships/image" Target="../media/image6.emf"/><Relationship Id="rId71" Type="http://schemas.openxmlformats.org/officeDocument/2006/relationships/tags" Target="../tags/tag1423.xml"/><Relationship Id="rId92" Type="http://schemas.openxmlformats.org/officeDocument/2006/relationships/tags" Target="../tags/tag1444.xml"/><Relationship Id="rId213" Type="http://schemas.openxmlformats.org/officeDocument/2006/relationships/tags" Target="../tags/tag1565.xml"/><Relationship Id="rId234" Type="http://schemas.openxmlformats.org/officeDocument/2006/relationships/tags" Target="../tags/tag1586.xml"/><Relationship Id="rId2" Type="http://schemas.openxmlformats.org/officeDocument/2006/relationships/tags" Target="../tags/tag1354.xml"/><Relationship Id="rId29" Type="http://schemas.openxmlformats.org/officeDocument/2006/relationships/tags" Target="../tags/tag1381.xml"/><Relationship Id="rId255" Type="http://schemas.openxmlformats.org/officeDocument/2006/relationships/tags" Target="../tags/tag1607.xml"/><Relationship Id="rId276" Type="http://schemas.openxmlformats.org/officeDocument/2006/relationships/tags" Target="../tags/tag1628.xml"/><Relationship Id="rId297" Type="http://schemas.openxmlformats.org/officeDocument/2006/relationships/tags" Target="../tags/tag1649.xml"/><Relationship Id="rId40" Type="http://schemas.openxmlformats.org/officeDocument/2006/relationships/tags" Target="../tags/tag1392.xml"/><Relationship Id="rId115" Type="http://schemas.openxmlformats.org/officeDocument/2006/relationships/tags" Target="../tags/tag1467.xml"/><Relationship Id="rId136" Type="http://schemas.openxmlformats.org/officeDocument/2006/relationships/tags" Target="../tags/tag1488.xml"/><Relationship Id="rId157" Type="http://schemas.openxmlformats.org/officeDocument/2006/relationships/tags" Target="../tags/tag1509.xml"/><Relationship Id="rId178" Type="http://schemas.openxmlformats.org/officeDocument/2006/relationships/tags" Target="../tags/tag1530.xml"/><Relationship Id="rId301" Type="http://schemas.openxmlformats.org/officeDocument/2006/relationships/tags" Target="../tags/tag1653.xml"/><Relationship Id="rId322" Type="http://schemas.openxmlformats.org/officeDocument/2006/relationships/tags" Target="../tags/tag1674.xml"/><Relationship Id="rId343" Type="http://schemas.openxmlformats.org/officeDocument/2006/relationships/tags" Target="../tags/tag1695.xml"/><Relationship Id="rId364" Type="http://schemas.openxmlformats.org/officeDocument/2006/relationships/tags" Target="../tags/tag1716.xml"/><Relationship Id="rId61" Type="http://schemas.openxmlformats.org/officeDocument/2006/relationships/tags" Target="../tags/tag1413.xml"/><Relationship Id="rId82" Type="http://schemas.openxmlformats.org/officeDocument/2006/relationships/tags" Target="../tags/tag1434.xml"/><Relationship Id="rId199" Type="http://schemas.openxmlformats.org/officeDocument/2006/relationships/tags" Target="../tags/tag1551.xml"/><Relationship Id="rId203" Type="http://schemas.openxmlformats.org/officeDocument/2006/relationships/tags" Target="../tags/tag1555.xml"/><Relationship Id="rId385" Type="http://schemas.openxmlformats.org/officeDocument/2006/relationships/tags" Target="../tags/tag1737.xml"/><Relationship Id="rId19" Type="http://schemas.openxmlformats.org/officeDocument/2006/relationships/tags" Target="../tags/tag1371.xml"/><Relationship Id="rId224" Type="http://schemas.openxmlformats.org/officeDocument/2006/relationships/tags" Target="../tags/tag1576.xml"/><Relationship Id="rId245" Type="http://schemas.openxmlformats.org/officeDocument/2006/relationships/tags" Target="../tags/tag1597.xml"/><Relationship Id="rId266" Type="http://schemas.openxmlformats.org/officeDocument/2006/relationships/tags" Target="../tags/tag1618.xml"/><Relationship Id="rId287" Type="http://schemas.openxmlformats.org/officeDocument/2006/relationships/tags" Target="../tags/tag1639.xml"/><Relationship Id="rId30" Type="http://schemas.openxmlformats.org/officeDocument/2006/relationships/tags" Target="../tags/tag1382.xml"/><Relationship Id="rId105" Type="http://schemas.openxmlformats.org/officeDocument/2006/relationships/tags" Target="../tags/tag1457.xml"/><Relationship Id="rId126" Type="http://schemas.openxmlformats.org/officeDocument/2006/relationships/tags" Target="../tags/tag1478.xml"/><Relationship Id="rId147" Type="http://schemas.openxmlformats.org/officeDocument/2006/relationships/tags" Target="../tags/tag1499.xml"/><Relationship Id="rId168" Type="http://schemas.openxmlformats.org/officeDocument/2006/relationships/tags" Target="../tags/tag1520.xml"/><Relationship Id="rId312" Type="http://schemas.openxmlformats.org/officeDocument/2006/relationships/tags" Target="../tags/tag1664.xml"/><Relationship Id="rId333" Type="http://schemas.openxmlformats.org/officeDocument/2006/relationships/tags" Target="../tags/tag1685.xml"/><Relationship Id="rId354" Type="http://schemas.openxmlformats.org/officeDocument/2006/relationships/tags" Target="../tags/tag1706.xml"/><Relationship Id="rId51" Type="http://schemas.openxmlformats.org/officeDocument/2006/relationships/tags" Target="../tags/tag1403.xml"/><Relationship Id="rId72" Type="http://schemas.openxmlformats.org/officeDocument/2006/relationships/tags" Target="../tags/tag1424.xml"/><Relationship Id="rId93" Type="http://schemas.openxmlformats.org/officeDocument/2006/relationships/tags" Target="../tags/tag1445.xml"/><Relationship Id="rId189" Type="http://schemas.openxmlformats.org/officeDocument/2006/relationships/tags" Target="../tags/tag1541.xml"/><Relationship Id="rId375" Type="http://schemas.openxmlformats.org/officeDocument/2006/relationships/tags" Target="../tags/tag1727.xml"/><Relationship Id="rId396" Type="http://schemas.openxmlformats.org/officeDocument/2006/relationships/tags" Target="../tags/tag1748.xml"/><Relationship Id="rId3" Type="http://schemas.openxmlformats.org/officeDocument/2006/relationships/tags" Target="../tags/tag1355.xml"/><Relationship Id="rId214" Type="http://schemas.openxmlformats.org/officeDocument/2006/relationships/tags" Target="../tags/tag1566.xml"/><Relationship Id="rId235" Type="http://schemas.openxmlformats.org/officeDocument/2006/relationships/tags" Target="../tags/tag1587.xml"/><Relationship Id="rId256" Type="http://schemas.openxmlformats.org/officeDocument/2006/relationships/tags" Target="../tags/tag1608.xml"/><Relationship Id="rId277" Type="http://schemas.openxmlformats.org/officeDocument/2006/relationships/tags" Target="../tags/tag1629.xml"/><Relationship Id="rId298" Type="http://schemas.openxmlformats.org/officeDocument/2006/relationships/tags" Target="../tags/tag1650.xml"/><Relationship Id="rId400" Type="http://schemas.openxmlformats.org/officeDocument/2006/relationships/tags" Target="../tags/tag1752.xml"/><Relationship Id="rId116" Type="http://schemas.openxmlformats.org/officeDocument/2006/relationships/tags" Target="../tags/tag1468.xml"/><Relationship Id="rId137" Type="http://schemas.openxmlformats.org/officeDocument/2006/relationships/tags" Target="../tags/tag1489.xml"/><Relationship Id="rId158" Type="http://schemas.openxmlformats.org/officeDocument/2006/relationships/tags" Target="../tags/tag1510.xml"/><Relationship Id="rId302" Type="http://schemas.openxmlformats.org/officeDocument/2006/relationships/tags" Target="../tags/tag1654.xml"/><Relationship Id="rId323" Type="http://schemas.openxmlformats.org/officeDocument/2006/relationships/tags" Target="../tags/tag1675.xml"/><Relationship Id="rId344" Type="http://schemas.openxmlformats.org/officeDocument/2006/relationships/tags" Target="../tags/tag1696.xml"/><Relationship Id="rId20" Type="http://schemas.openxmlformats.org/officeDocument/2006/relationships/tags" Target="../tags/tag1372.xml"/><Relationship Id="rId41" Type="http://schemas.openxmlformats.org/officeDocument/2006/relationships/tags" Target="../tags/tag1393.xml"/><Relationship Id="rId62" Type="http://schemas.openxmlformats.org/officeDocument/2006/relationships/tags" Target="../tags/tag1414.xml"/><Relationship Id="rId83" Type="http://schemas.openxmlformats.org/officeDocument/2006/relationships/tags" Target="../tags/tag1435.xml"/><Relationship Id="rId179" Type="http://schemas.openxmlformats.org/officeDocument/2006/relationships/tags" Target="../tags/tag1531.xml"/><Relationship Id="rId365" Type="http://schemas.openxmlformats.org/officeDocument/2006/relationships/tags" Target="../tags/tag1717.xml"/><Relationship Id="rId386" Type="http://schemas.openxmlformats.org/officeDocument/2006/relationships/tags" Target="../tags/tag1738.xml"/><Relationship Id="rId190" Type="http://schemas.openxmlformats.org/officeDocument/2006/relationships/tags" Target="../tags/tag1542.xml"/><Relationship Id="rId204" Type="http://schemas.openxmlformats.org/officeDocument/2006/relationships/tags" Target="../tags/tag1556.xml"/><Relationship Id="rId225" Type="http://schemas.openxmlformats.org/officeDocument/2006/relationships/tags" Target="../tags/tag1577.xml"/><Relationship Id="rId246" Type="http://schemas.openxmlformats.org/officeDocument/2006/relationships/tags" Target="../tags/tag1598.xml"/><Relationship Id="rId267" Type="http://schemas.openxmlformats.org/officeDocument/2006/relationships/tags" Target="../tags/tag1619.xml"/><Relationship Id="rId288" Type="http://schemas.openxmlformats.org/officeDocument/2006/relationships/tags" Target="../tags/tag1640.xml"/><Relationship Id="rId106" Type="http://schemas.openxmlformats.org/officeDocument/2006/relationships/tags" Target="../tags/tag1458.xml"/><Relationship Id="rId127" Type="http://schemas.openxmlformats.org/officeDocument/2006/relationships/tags" Target="../tags/tag1479.xml"/><Relationship Id="rId313" Type="http://schemas.openxmlformats.org/officeDocument/2006/relationships/tags" Target="../tags/tag1665.xml"/><Relationship Id="rId10" Type="http://schemas.openxmlformats.org/officeDocument/2006/relationships/tags" Target="../tags/tag1362.xml"/><Relationship Id="rId31" Type="http://schemas.openxmlformats.org/officeDocument/2006/relationships/tags" Target="../tags/tag1383.xml"/><Relationship Id="rId52" Type="http://schemas.openxmlformats.org/officeDocument/2006/relationships/tags" Target="../tags/tag1404.xml"/><Relationship Id="rId73" Type="http://schemas.openxmlformats.org/officeDocument/2006/relationships/tags" Target="../tags/tag1425.xml"/><Relationship Id="rId94" Type="http://schemas.openxmlformats.org/officeDocument/2006/relationships/tags" Target="../tags/tag1446.xml"/><Relationship Id="rId148" Type="http://schemas.openxmlformats.org/officeDocument/2006/relationships/tags" Target="../tags/tag1500.xml"/><Relationship Id="rId169" Type="http://schemas.openxmlformats.org/officeDocument/2006/relationships/tags" Target="../tags/tag1521.xml"/><Relationship Id="rId334" Type="http://schemas.openxmlformats.org/officeDocument/2006/relationships/tags" Target="../tags/tag1686.xml"/><Relationship Id="rId355" Type="http://schemas.openxmlformats.org/officeDocument/2006/relationships/tags" Target="../tags/tag1707.xml"/><Relationship Id="rId376" Type="http://schemas.openxmlformats.org/officeDocument/2006/relationships/tags" Target="../tags/tag1728.xml"/><Relationship Id="rId397" Type="http://schemas.openxmlformats.org/officeDocument/2006/relationships/tags" Target="../tags/tag1749.xml"/><Relationship Id="rId4" Type="http://schemas.openxmlformats.org/officeDocument/2006/relationships/tags" Target="../tags/tag1356.xml"/><Relationship Id="rId180" Type="http://schemas.openxmlformats.org/officeDocument/2006/relationships/tags" Target="../tags/tag1532.xml"/><Relationship Id="rId215" Type="http://schemas.openxmlformats.org/officeDocument/2006/relationships/tags" Target="../tags/tag1567.xml"/><Relationship Id="rId236" Type="http://schemas.openxmlformats.org/officeDocument/2006/relationships/tags" Target="../tags/tag1588.xml"/><Relationship Id="rId257" Type="http://schemas.openxmlformats.org/officeDocument/2006/relationships/tags" Target="../tags/tag1609.xml"/><Relationship Id="rId278" Type="http://schemas.openxmlformats.org/officeDocument/2006/relationships/tags" Target="../tags/tag1630.xml"/><Relationship Id="rId401" Type="http://schemas.openxmlformats.org/officeDocument/2006/relationships/tags" Target="../tags/tag1753.xml"/><Relationship Id="rId303" Type="http://schemas.openxmlformats.org/officeDocument/2006/relationships/tags" Target="../tags/tag1655.xml"/><Relationship Id="rId42" Type="http://schemas.openxmlformats.org/officeDocument/2006/relationships/tags" Target="../tags/tag1394.xml"/><Relationship Id="rId84" Type="http://schemas.openxmlformats.org/officeDocument/2006/relationships/tags" Target="../tags/tag1436.xml"/><Relationship Id="rId138" Type="http://schemas.openxmlformats.org/officeDocument/2006/relationships/tags" Target="../tags/tag1490.xml"/><Relationship Id="rId345" Type="http://schemas.openxmlformats.org/officeDocument/2006/relationships/tags" Target="../tags/tag1697.xml"/><Relationship Id="rId387" Type="http://schemas.openxmlformats.org/officeDocument/2006/relationships/tags" Target="../tags/tag1739.xml"/><Relationship Id="rId191" Type="http://schemas.openxmlformats.org/officeDocument/2006/relationships/tags" Target="../tags/tag1543.xml"/><Relationship Id="rId205" Type="http://schemas.openxmlformats.org/officeDocument/2006/relationships/tags" Target="../tags/tag1557.xml"/><Relationship Id="rId247" Type="http://schemas.openxmlformats.org/officeDocument/2006/relationships/tags" Target="../tags/tag1599.xml"/><Relationship Id="rId107" Type="http://schemas.openxmlformats.org/officeDocument/2006/relationships/tags" Target="../tags/tag1459.xml"/><Relationship Id="rId289" Type="http://schemas.openxmlformats.org/officeDocument/2006/relationships/tags" Target="../tags/tag1641.xml"/><Relationship Id="rId11" Type="http://schemas.openxmlformats.org/officeDocument/2006/relationships/tags" Target="../tags/tag1363.xml"/><Relationship Id="rId53" Type="http://schemas.openxmlformats.org/officeDocument/2006/relationships/tags" Target="../tags/tag1405.xml"/><Relationship Id="rId149" Type="http://schemas.openxmlformats.org/officeDocument/2006/relationships/tags" Target="../tags/tag1501.xml"/><Relationship Id="rId314" Type="http://schemas.openxmlformats.org/officeDocument/2006/relationships/tags" Target="../tags/tag1666.xml"/><Relationship Id="rId356" Type="http://schemas.openxmlformats.org/officeDocument/2006/relationships/tags" Target="../tags/tag1708.xml"/><Relationship Id="rId398" Type="http://schemas.openxmlformats.org/officeDocument/2006/relationships/tags" Target="../tags/tag1750.xml"/></Relationships>
</file>

<file path=ppt/slides/_rels/slide22.xml.rels><?xml version="1.0" encoding="UTF-8" standalone="yes"?>
<Relationships xmlns="http://schemas.openxmlformats.org/package/2006/relationships"><Relationship Id="rId3" Type="http://schemas.openxmlformats.org/officeDocument/2006/relationships/tags" Target="../tags/tag1760.xml"/><Relationship Id="rId2" Type="http://schemas.openxmlformats.org/officeDocument/2006/relationships/tags" Target="../tags/tag1759.xml"/><Relationship Id="rId1" Type="http://schemas.openxmlformats.org/officeDocument/2006/relationships/vmlDrawing" Target="../drawings/vmlDrawing52.vml"/><Relationship Id="rId6" Type="http://schemas.openxmlformats.org/officeDocument/2006/relationships/image" Target="../media/image10.emf"/><Relationship Id="rId5" Type="http://schemas.openxmlformats.org/officeDocument/2006/relationships/oleObject" Target="../embeddings/oleObject52.bin"/><Relationship Id="rId4" Type="http://schemas.openxmlformats.org/officeDocument/2006/relationships/slideLayout" Target="../slideLayouts/slideLayout34.xml"/></Relationships>
</file>

<file path=ppt/slides/_rels/slide23.xml.rels><?xml version="1.0" encoding="UTF-8" standalone="yes"?>
<Relationships xmlns="http://schemas.openxmlformats.org/package/2006/relationships"><Relationship Id="rId3" Type="http://schemas.openxmlformats.org/officeDocument/2006/relationships/tags" Target="../tags/tag1763.xml"/><Relationship Id="rId7" Type="http://schemas.openxmlformats.org/officeDocument/2006/relationships/image" Target="../media/image24.jpeg"/><Relationship Id="rId2" Type="http://schemas.openxmlformats.org/officeDocument/2006/relationships/tags" Target="../tags/tag1762.xml"/><Relationship Id="rId1" Type="http://schemas.openxmlformats.org/officeDocument/2006/relationships/tags" Target="../tags/tag1761.xml"/><Relationship Id="rId6" Type="http://schemas.openxmlformats.org/officeDocument/2006/relationships/image" Target="../media/image5.png"/><Relationship Id="rId5" Type="http://schemas.openxmlformats.org/officeDocument/2006/relationships/slideLayout" Target="../slideLayouts/slideLayout6.xml"/><Relationship Id="rId4" Type="http://schemas.openxmlformats.org/officeDocument/2006/relationships/tags" Target="../tags/tag1764.xml"/></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53.bin"/><Relationship Id="rId3" Type="http://schemas.openxmlformats.org/officeDocument/2006/relationships/tags" Target="../tags/tag1766.xml"/><Relationship Id="rId7" Type="http://schemas.openxmlformats.org/officeDocument/2006/relationships/slideLayout" Target="../slideLayouts/slideLayout6.xml"/><Relationship Id="rId2" Type="http://schemas.openxmlformats.org/officeDocument/2006/relationships/tags" Target="../tags/tag1765.xml"/><Relationship Id="rId1" Type="http://schemas.openxmlformats.org/officeDocument/2006/relationships/vmlDrawing" Target="../drawings/vmlDrawing53.vml"/><Relationship Id="rId6" Type="http://schemas.openxmlformats.org/officeDocument/2006/relationships/tags" Target="../tags/tag1769.xml"/><Relationship Id="rId11" Type="http://schemas.microsoft.com/office/2007/relationships/hdphoto" Target="../media/hdphoto1.wdp"/><Relationship Id="rId5" Type="http://schemas.openxmlformats.org/officeDocument/2006/relationships/tags" Target="../tags/tag1768.xml"/><Relationship Id="rId10" Type="http://schemas.openxmlformats.org/officeDocument/2006/relationships/image" Target="../media/image25.png"/><Relationship Id="rId4" Type="http://schemas.openxmlformats.org/officeDocument/2006/relationships/tags" Target="../tags/tag1767.xml"/><Relationship Id="rId9" Type="http://schemas.openxmlformats.org/officeDocument/2006/relationships/image" Target="../media/image10.emf"/></Relationships>
</file>

<file path=ppt/slides/_rels/slide25.xml.rels><?xml version="1.0" encoding="UTF-8" standalone="yes"?>
<Relationships xmlns="http://schemas.openxmlformats.org/package/2006/relationships"><Relationship Id="rId3" Type="http://schemas.openxmlformats.org/officeDocument/2006/relationships/tags" Target="../tags/tag1771.xml"/><Relationship Id="rId7" Type="http://schemas.openxmlformats.org/officeDocument/2006/relationships/chart" Target="../charts/chart10.xml"/><Relationship Id="rId2" Type="http://schemas.openxmlformats.org/officeDocument/2006/relationships/tags" Target="../tags/tag1770.xml"/><Relationship Id="rId1" Type="http://schemas.openxmlformats.org/officeDocument/2006/relationships/vmlDrawing" Target="../drawings/vmlDrawing54.vml"/><Relationship Id="rId6" Type="http://schemas.openxmlformats.org/officeDocument/2006/relationships/image" Target="../media/image10.emf"/><Relationship Id="rId5" Type="http://schemas.openxmlformats.org/officeDocument/2006/relationships/oleObject" Target="../embeddings/oleObject54.bin"/><Relationship Id="rId4"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117" Type="http://schemas.openxmlformats.org/officeDocument/2006/relationships/tags" Target="../tags/tag1888.xml"/><Relationship Id="rId299" Type="http://schemas.openxmlformats.org/officeDocument/2006/relationships/tags" Target="../tags/tag2070.xml"/><Relationship Id="rId21" Type="http://schemas.openxmlformats.org/officeDocument/2006/relationships/tags" Target="../tags/tag1792.xml"/><Relationship Id="rId63" Type="http://schemas.openxmlformats.org/officeDocument/2006/relationships/tags" Target="../tags/tag1834.xml"/><Relationship Id="rId159" Type="http://schemas.openxmlformats.org/officeDocument/2006/relationships/tags" Target="../tags/tag1930.xml"/><Relationship Id="rId324" Type="http://schemas.openxmlformats.org/officeDocument/2006/relationships/tags" Target="../tags/tag2095.xml"/><Relationship Id="rId366" Type="http://schemas.openxmlformats.org/officeDocument/2006/relationships/tags" Target="../tags/tag2137.xml"/><Relationship Id="rId170" Type="http://schemas.openxmlformats.org/officeDocument/2006/relationships/tags" Target="../tags/tag1941.xml"/><Relationship Id="rId226" Type="http://schemas.openxmlformats.org/officeDocument/2006/relationships/tags" Target="../tags/tag1997.xml"/><Relationship Id="rId268" Type="http://schemas.openxmlformats.org/officeDocument/2006/relationships/tags" Target="../tags/tag2039.xml"/><Relationship Id="rId32" Type="http://schemas.openxmlformats.org/officeDocument/2006/relationships/tags" Target="../tags/tag1803.xml"/><Relationship Id="rId74" Type="http://schemas.openxmlformats.org/officeDocument/2006/relationships/tags" Target="../tags/tag1845.xml"/><Relationship Id="rId128" Type="http://schemas.openxmlformats.org/officeDocument/2006/relationships/tags" Target="../tags/tag1899.xml"/><Relationship Id="rId335" Type="http://schemas.openxmlformats.org/officeDocument/2006/relationships/tags" Target="../tags/tag2106.xml"/><Relationship Id="rId377" Type="http://schemas.openxmlformats.org/officeDocument/2006/relationships/tags" Target="../tags/tag2148.xml"/><Relationship Id="rId5" Type="http://schemas.openxmlformats.org/officeDocument/2006/relationships/tags" Target="../tags/tag1776.xml"/><Relationship Id="rId95" Type="http://schemas.openxmlformats.org/officeDocument/2006/relationships/tags" Target="../tags/tag1866.xml"/><Relationship Id="rId160" Type="http://schemas.openxmlformats.org/officeDocument/2006/relationships/tags" Target="../tags/tag1931.xml"/><Relationship Id="rId181" Type="http://schemas.openxmlformats.org/officeDocument/2006/relationships/tags" Target="../tags/tag1952.xml"/><Relationship Id="rId216" Type="http://schemas.openxmlformats.org/officeDocument/2006/relationships/tags" Target="../tags/tag1987.xml"/><Relationship Id="rId237" Type="http://schemas.openxmlformats.org/officeDocument/2006/relationships/tags" Target="../tags/tag2008.xml"/><Relationship Id="rId402" Type="http://schemas.openxmlformats.org/officeDocument/2006/relationships/tags" Target="../tags/tag2173.xml"/><Relationship Id="rId258" Type="http://schemas.openxmlformats.org/officeDocument/2006/relationships/tags" Target="../tags/tag2029.xml"/><Relationship Id="rId279" Type="http://schemas.openxmlformats.org/officeDocument/2006/relationships/tags" Target="../tags/tag2050.xml"/><Relationship Id="rId22" Type="http://schemas.openxmlformats.org/officeDocument/2006/relationships/tags" Target="../tags/tag1793.xml"/><Relationship Id="rId43" Type="http://schemas.openxmlformats.org/officeDocument/2006/relationships/tags" Target="../tags/tag1814.xml"/><Relationship Id="rId64" Type="http://schemas.openxmlformats.org/officeDocument/2006/relationships/tags" Target="../tags/tag1835.xml"/><Relationship Id="rId118" Type="http://schemas.openxmlformats.org/officeDocument/2006/relationships/tags" Target="../tags/tag1889.xml"/><Relationship Id="rId139" Type="http://schemas.openxmlformats.org/officeDocument/2006/relationships/tags" Target="../tags/tag1910.xml"/><Relationship Id="rId290" Type="http://schemas.openxmlformats.org/officeDocument/2006/relationships/tags" Target="../tags/tag2061.xml"/><Relationship Id="rId304" Type="http://schemas.openxmlformats.org/officeDocument/2006/relationships/tags" Target="../tags/tag2075.xml"/><Relationship Id="rId325" Type="http://schemas.openxmlformats.org/officeDocument/2006/relationships/tags" Target="../tags/tag2096.xml"/><Relationship Id="rId346" Type="http://schemas.openxmlformats.org/officeDocument/2006/relationships/tags" Target="../tags/tag2117.xml"/><Relationship Id="rId367" Type="http://schemas.openxmlformats.org/officeDocument/2006/relationships/tags" Target="../tags/tag2138.xml"/><Relationship Id="rId388" Type="http://schemas.openxmlformats.org/officeDocument/2006/relationships/tags" Target="../tags/tag2159.xml"/><Relationship Id="rId85" Type="http://schemas.openxmlformats.org/officeDocument/2006/relationships/tags" Target="../tags/tag1856.xml"/><Relationship Id="rId150" Type="http://schemas.openxmlformats.org/officeDocument/2006/relationships/tags" Target="../tags/tag1921.xml"/><Relationship Id="rId171" Type="http://schemas.openxmlformats.org/officeDocument/2006/relationships/tags" Target="../tags/tag1942.xml"/><Relationship Id="rId192" Type="http://schemas.openxmlformats.org/officeDocument/2006/relationships/tags" Target="../tags/tag1963.xml"/><Relationship Id="rId206" Type="http://schemas.openxmlformats.org/officeDocument/2006/relationships/tags" Target="../tags/tag1977.xml"/><Relationship Id="rId227" Type="http://schemas.openxmlformats.org/officeDocument/2006/relationships/tags" Target="../tags/tag1998.xml"/><Relationship Id="rId413" Type="http://schemas.openxmlformats.org/officeDocument/2006/relationships/tags" Target="../tags/tag2184.xml"/><Relationship Id="rId248" Type="http://schemas.openxmlformats.org/officeDocument/2006/relationships/tags" Target="../tags/tag2019.xml"/><Relationship Id="rId269" Type="http://schemas.openxmlformats.org/officeDocument/2006/relationships/tags" Target="../tags/tag2040.xml"/><Relationship Id="rId12" Type="http://schemas.openxmlformats.org/officeDocument/2006/relationships/tags" Target="../tags/tag1783.xml"/><Relationship Id="rId33" Type="http://schemas.openxmlformats.org/officeDocument/2006/relationships/tags" Target="../tags/tag1804.xml"/><Relationship Id="rId108" Type="http://schemas.openxmlformats.org/officeDocument/2006/relationships/tags" Target="../tags/tag1879.xml"/><Relationship Id="rId129" Type="http://schemas.openxmlformats.org/officeDocument/2006/relationships/tags" Target="../tags/tag1900.xml"/><Relationship Id="rId280" Type="http://schemas.openxmlformats.org/officeDocument/2006/relationships/tags" Target="../tags/tag2051.xml"/><Relationship Id="rId315" Type="http://schemas.openxmlformats.org/officeDocument/2006/relationships/tags" Target="../tags/tag2086.xml"/><Relationship Id="rId336" Type="http://schemas.openxmlformats.org/officeDocument/2006/relationships/tags" Target="../tags/tag2107.xml"/><Relationship Id="rId357" Type="http://schemas.openxmlformats.org/officeDocument/2006/relationships/tags" Target="../tags/tag2128.xml"/><Relationship Id="rId54" Type="http://schemas.openxmlformats.org/officeDocument/2006/relationships/tags" Target="../tags/tag1825.xml"/><Relationship Id="rId75" Type="http://schemas.openxmlformats.org/officeDocument/2006/relationships/tags" Target="../tags/tag1846.xml"/><Relationship Id="rId96" Type="http://schemas.openxmlformats.org/officeDocument/2006/relationships/tags" Target="../tags/tag1867.xml"/><Relationship Id="rId140" Type="http://schemas.openxmlformats.org/officeDocument/2006/relationships/tags" Target="../tags/tag1911.xml"/><Relationship Id="rId161" Type="http://schemas.openxmlformats.org/officeDocument/2006/relationships/tags" Target="../tags/tag1932.xml"/><Relationship Id="rId182" Type="http://schemas.openxmlformats.org/officeDocument/2006/relationships/tags" Target="../tags/tag1953.xml"/><Relationship Id="rId217" Type="http://schemas.openxmlformats.org/officeDocument/2006/relationships/tags" Target="../tags/tag1988.xml"/><Relationship Id="rId378" Type="http://schemas.openxmlformats.org/officeDocument/2006/relationships/tags" Target="../tags/tag2149.xml"/><Relationship Id="rId399" Type="http://schemas.openxmlformats.org/officeDocument/2006/relationships/tags" Target="../tags/tag2170.xml"/><Relationship Id="rId403" Type="http://schemas.openxmlformats.org/officeDocument/2006/relationships/tags" Target="../tags/tag2174.xml"/><Relationship Id="rId6" Type="http://schemas.openxmlformats.org/officeDocument/2006/relationships/tags" Target="../tags/tag1777.xml"/><Relationship Id="rId238" Type="http://schemas.openxmlformats.org/officeDocument/2006/relationships/tags" Target="../tags/tag2009.xml"/><Relationship Id="rId259" Type="http://schemas.openxmlformats.org/officeDocument/2006/relationships/tags" Target="../tags/tag2030.xml"/><Relationship Id="rId23" Type="http://schemas.openxmlformats.org/officeDocument/2006/relationships/tags" Target="../tags/tag1794.xml"/><Relationship Id="rId119" Type="http://schemas.openxmlformats.org/officeDocument/2006/relationships/tags" Target="../tags/tag1890.xml"/><Relationship Id="rId270" Type="http://schemas.openxmlformats.org/officeDocument/2006/relationships/tags" Target="../tags/tag2041.xml"/><Relationship Id="rId291" Type="http://schemas.openxmlformats.org/officeDocument/2006/relationships/tags" Target="../tags/tag2062.xml"/><Relationship Id="rId305" Type="http://schemas.openxmlformats.org/officeDocument/2006/relationships/tags" Target="../tags/tag2076.xml"/><Relationship Id="rId326" Type="http://schemas.openxmlformats.org/officeDocument/2006/relationships/tags" Target="../tags/tag2097.xml"/><Relationship Id="rId347" Type="http://schemas.openxmlformats.org/officeDocument/2006/relationships/tags" Target="../tags/tag2118.xml"/><Relationship Id="rId44" Type="http://schemas.openxmlformats.org/officeDocument/2006/relationships/tags" Target="../tags/tag1815.xml"/><Relationship Id="rId65" Type="http://schemas.openxmlformats.org/officeDocument/2006/relationships/tags" Target="../tags/tag1836.xml"/><Relationship Id="rId86" Type="http://schemas.openxmlformats.org/officeDocument/2006/relationships/tags" Target="../tags/tag1857.xml"/><Relationship Id="rId130" Type="http://schemas.openxmlformats.org/officeDocument/2006/relationships/tags" Target="../tags/tag1901.xml"/><Relationship Id="rId151" Type="http://schemas.openxmlformats.org/officeDocument/2006/relationships/tags" Target="../tags/tag1922.xml"/><Relationship Id="rId368" Type="http://schemas.openxmlformats.org/officeDocument/2006/relationships/tags" Target="../tags/tag2139.xml"/><Relationship Id="rId389" Type="http://schemas.openxmlformats.org/officeDocument/2006/relationships/tags" Target="../tags/tag2160.xml"/><Relationship Id="rId172" Type="http://schemas.openxmlformats.org/officeDocument/2006/relationships/tags" Target="../tags/tag1943.xml"/><Relationship Id="rId193" Type="http://schemas.openxmlformats.org/officeDocument/2006/relationships/tags" Target="../tags/tag1964.xml"/><Relationship Id="rId207" Type="http://schemas.openxmlformats.org/officeDocument/2006/relationships/tags" Target="../tags/tag1978.xml"/><Relationship Id="rId228" Type="http://schemas.openxmlformats.org/officeDocument/2006/relationships/tags" Target="../tags/tag1999.xml"/><Relationship Id="rId249" Type="http://schemas.openxmlformats.org/officeDocument/2006/relationships/tags" Target="../tags/tag2020.xml"/><Relationship Id="rId414" Type="http://schemas.openxmlformats.org/officeDocument/2006/relationships/slideLayout" Target="../slideLayouts/slideLayout6.xml"/><Relationship Id="rId13" Type="http://schemas.openxmlformats.org/officeDocument/2006/relationships/tags" Target="../tags/tag1784.xml"/><Relationship Id="rId109" Type="http://schemas.openxmlformats.org/officeDocument/2006/relationships/tags" Target="../tags/tag1880.xml"/><Relationship Id="rId260" Type="http://schemas.openxmlformats.org/officeDocument/2006/relationships/tags" Target="../tags/tag2031.xml"/><Relationship Id="rId281" Type="http://schemas.openxmlformats.org/officeDocument/2006/relationships/tags" Target="../tags/tag2052.xml"/><Relationship Id="rId316" Type="http://schemas.openxmlformats.org/officeDocument/2006/relationships/tags" Target="../tags/tag2087.xml"/><Relationship Id="rId337" Type="http://schemas.openxmlformats.org/officeDocument/2006/relationships/tags" Target="../tags/tag2108.xml"/><Relationship Id="rId34" Type="http://schemas.openxmlformats.org/officeDocument/2006/relationships/tags" Target="../tags/tag1805.xml"/><Relationship Id="rId55" Type="http://schemas.openxmlformats.org/officeDocument/2006/relationships/tags" Target="../tags/tag1826.xml"/><Relationship Id="rId76" Type="http://schemas.openxmlformats.org/officeDocument/2006/relationships/tags" Target="../tags/tag1847.xml"/><Relationship Id="rId97" Type="http://schemas.openxmlformats.org/officeDocument/2006/relationships/tags" Target="../tags/tag1868.xml"/><Relationship Id="rId120" Type="http://schemas.openxmlformats.org/officeDocument/2006/relationships/tags" Target="../tags/tag1891.xml"/><Relationship Id="rId141" Type="http://schemas.openxmlformats.org/officeDocument/2006/relationships/tags" Target="../tags/tag1912.xml"/><Relationship Id="rId358" Type="http://schemas.openxmlformats.org/officeDocument/2006/relationships/tags" Target="../tags/tag2129.xml"/><Relationship Id="rId379" Type="http://schemas.openxmlformats.org/officeDocument/2006/relationships/tags" Target="../tags/tag2150.xml"/><Relationship Id="rId7" Type="http://schemas.openxmlformats.org/officeDocument/2006/relationships/tags" Target="../tags/tag1778.xml"/><Relationship Id="rId162" Type="http://schemas.openxmlformats.org/officeDocument/2006/relationships/tags" Target="../tags/tag1933.xml"/><Relationship Id="rId183" Type="http://schemas.openxmlformats.org/officeDocument/2006/relationships/tags" Target="../tags/tag1954.xml"/><Relationship Id="rId218" Type="http://schemas.openxmlformats.org/officeDocument/2006/relationships/tags" Target="../tags/tag1989.xml"/><Relationship Id="rId239" Type="http://schemas.openxmlformats.org/officeDocument/2006/relationships/tags" Target="../tags/tag2010.xml"/><Relationship Id="rId390" Type="http://schemas.openxmlformats.org/officeDocument/2006/relationships/tags" Target="../tags/tag2161.xml"/><Relationship Id="rId404" Type="http://schemas.openxmlformats.org/officeDocument/2006/relationships/tags" Target="../tags/tag2175.xml"/><Relationship Id="rId250" Type="http://schemas.openxmlformats.org/officeDocument/2006/relationships/tags" Target="../tags/tag2021.xml"/><Relationship Id="rId271" Type="http://schemas.openxmlformats.org/officeDocument/2006/relationships/tags" Target="../tags/tag2042.xml"/><Relationship Id="rId292" Type="http://schemas.openxmlformats.org/officeDocument/2006/relationships/tags" Target="../tags/tag2063.xml"/><Relationship Id="rId306" Type="http://schemas.openxmlformats.org/officeDocument/2006/relationships/tags" Target="../tags/tag2077.xml"/><Relationship Id="rId24" Type="http://schemas.openxmlformats.org/officeDocument/2006/relationships/tags" Target="../tags/tag1795.xml"/><Relationship Id="rId45" Type="http://schemas.openxmlformats.org/officeDocument/2006/relationships/tags" Target="../tags/tag1816.xml"/><Relationship Id="rId66" Type="http://schemas.openxmlformats.org/officeDocument/2006/relationships/tags" Target="../tags/tag1837.xml"/><Relationship Id="rId87" Type="http://schemas.openxmlformats.org/officeDocument/2006/relationships/tags" Target="../tags/tag1858.xml"/><Relationship Id="rId110" Type="http://schemas.openxmlformats.org/officeDocument/2006/relationships/tags" Target="../tags/tag1881.xml"/><Relationship Id="rId131" Type="http://schemas.openxmlformats.org/officeDocument/2006/relationships/tags" Target="../tags/tag1902.xml"/><Relationship Id="rId327" Type="http://schemas.openxmlformats.org/officeDocument/2006/relationships/tags" Target="../tags/tag2098.xml"/><Relationship Id="rId348" Type="http://schemas.openxmlformats.org/officeDocument/2006/relationships/tags" Target="../tags/tag2119.xml"/><Relationship Id="rId369" Type="http://schemas.openxmlformats.org/officeDocument/2006/relationships/tags" Target="../tags/tag2140.xml"/><Relationship Id="rId152" Type="http://schemas.openxmlformats.org/officeDocument/2006/relationships/tags" Target="../tags/tag1923.xml"/><Relationship Id="rId173" Type="http://schemas.openxmlformats.org/officeDocument/2006/relationships/tags" Target="../tags/tag1944.xml"/><Relationship Id="rId194" Type="http://schemas.openxmlformats.org/officeDocument/2006/relationships/tags" Target="../tags/tag1965.xml"/><Relationship Id="rId208" Type="http://schemas.openxmlformats.org/officeDocument/2006/relationships/tags" Target="../tags/tag1979.xml"/><Relationship Id="rId229" Type="http://schemas.openxmlformats.org/officeDocument/2006/relationships/tags" Target="../tags/tag2000.xml"/><Relationship Id="rId380" Type="http://schemas.openxmlformats.org/officeDocument/2006/relationships/tags" Target="../tags/tag2151.xml"/><Relationship Id="rId240" Type="http://schemas.openxmlformats.org/officeDocument/2006/relationships/tags" Target="../tags/tag2011.xml"/><Relationship Id="rId261" Type="http://schemas.openxmlformats.org/officeDocument/2006/relationships/tags" Target="../tags/tag2032.xml"/><Relationship Id="rId14" Type="http://schemas.openxmlformats.org/officeDocument/2006/relationships/tags" Target="../tags/tag1785.xml"/><Relationship Id="rId35" Type="http://schemas.openxmlformats.org/officeDocument/2006/relationships/tags" Target="../tags/tag1806.xml"/><Relationship Id="rId56" Type="http://schemas.openxmlformats.org/officeDocument/2006/relationships/tags" Target="../tags/tag1827.xml"/><Relationship Id="rId77" Type="http://schemas.openxmlformats.org/officeDocument/2006/relationships/tags" Target="../tags/tag1848.xml"/><Relationship Id="rId100" Type="http://schemas.openxmlformats.org/officeDocument/2006/relationships/tags" Target="../tags/tag1871.xml"/><Relationship Id="rId282" Type="http://schemas.openxmlformats.org/officeDocument/2006/relationships/tags" Target="../tags/tag2053.xml"/><Relationship Id="rId317" Type="http://schemas.openxmlformats.org/officeDocument/2006/relationships/tags" Target="../tags/tag2088.xml"/><Relationship Id="rId338" Type="http://schemas.openxmlformats.org/officeDocument/2006/relationships/tags" Target="../tags/tag2109.xml"/><Relationship Id="rId359" Type="http://schemas.openxmlformats.org/officeDocument/2006/relationships/tags" Target="../tags/tag2130.xml"/><Relationship Id="rId8" Type="http://schemas.openxmlformats.org/officeDocument/2006/relationships/tags" Target="../tags/tag1779.xml"/><Relationship Id="rId98" Type="http://schemas.openxmlformats.org/officeDocument/2006/relationships/tags" Target="../tags/tag1869.xml"/><Relationship Id="rId121" Type="http://schemas.openxmlformats.org/officeDocument/2006/relationships/tags" Target="../tags/tag1892.xml"/><Relationship Id="rId142" Type="http://schemas.openxmlformats.org/officeDocument/2006/relationships/tags" Target="../tags/tag1913.xml"/><Relationship Id="rId163" Type="http://schemas.openxmlformats.org/officeDocument/2006/relationships/tags" Target="../tags/tag1934.xml"/><Relationship Id="rId184" Type="http://schemas.openxmlformats.org/officeDocument/2006/relationships/tags" Target="../tags/tag1955.xml"/><Relationship Id="rId219" Type="http://schemas.openxmlformats.org/officeDocument/2006/relationships/tags" Target="../tags/tag1990.xml"/><Relationship Id="rId370" Type="http://schemas.openxmlformats.org/officeDocument/2006/relationships/tags" Target="../tags/tag2141.xml"/><Relationship Id="rId391" Type="http://schemas.openxmlformats.org/officeDocument/2006/relationships/tags" Target="../tags/tag2162.xml"/><Relationship Id="rId405" Type="http://schemas.openxmlformats.org/officeDocument/2006/relationships/tags" Target="../tags/tag2176.xml"/><Relationship Id="rId230" Type="http://schemas.openxmlformats.org/officeDocument/2006/relationships/tags" Target="../tags/tag2001.xml"/><Relationship Id="rId251" Type="http://schemas.openxmlformats.org/officeDocument/2006/relationships/tags" Target="../tags/tag2022.xml"/><Relationship Id="rId25" Type="http://schemas.openxmlformats.org/officeDocument/2006/relationships/tags" Target="../tags/tag1796.xml"/><Relationship Id="rId46" Type="http://schemas.openxmlformats.org/officeDocument/2006/relationships/tags" Target="../tags/tag1817.xml"/><Relationship Id="rId67" Type="http://schemas.openxmlformats.org/officeDocument/2006/relationships/tags" Target="../tags/tag1838.xml"/><Relationship Id="rId272" Type="http://schemas.openxmlformats.org/officeDocument/2006/relationships/tags" Target="../tags/tag2043.xml"/><Relationship Id="rId293" Type="http://schemas.openxmlformats.org/officeDocument/2006/relationships/tags" Target="../tags/tag2064.xml"/><Relationship Id="rId307" Type="http://schemas.openxmlformats.org/officeDocument/2006/relationships/tags" Target="../tags/tag2078.xml"/><Relationship Id="rId328" Type="http://schemas.openxmlformats.org/officeDocument/2006/relationships/tags" Target="../tags/tag2099.xml"/><Relationship Id="rId349" Type="http://schemas.openxmlformats.org/officeDocument/2006/relationships/tags" Target="../tags/tag2120.xml"/><Relationship Id="rId88" Type="http://schemas.openxmlformats.org/officeDocument/2006/relationships/tags" Target="../tags/tag1859.xml"/><Relationship Id="rId111" Type="http://schemas.openxmlformats.org/officeDocument/2006/relationships/tags" Target="../tags/tag1882.xml"/><Relationship Id="rId132" Type="http://schemas.openxmlformats.org/officeDocument/2006/relationships/tags" Target="../tags/tag1903.xml"/><Relationship Id="rId153" Type="http://schemas.openxmlformats.org/officeDocument/2006/relationships/tags" Target="../tags/tag1924.xml"/><Relationship Id="rId174" Type="http://schemas.openxmlformats.org/officeDocument/2006/relationships/tags" Target="../tags/tag1945.xml"/><Relationship Id="rId195" Type="http://schemas.openxmlformats.org/officeDocument/2006/relationships/tags" Target="../tags/tag1966.xml"/><Relationship Id="rId209" Type="http://schemas.openxmlformats.org/officeDocument/2006/relationships/tags" Target="../tags/tag1980.xml"/><Relationship Id="rId360" Type="http://schemas.openxmlformats.org/officeDocument/2006/relationships/tags" Target="../tags/tag2131.xml"/><Relationship Id="rId381" Type="http://schemas.openxmlformats.org/officeDocument/2006/relationships/tags" Target="../tags/tag2152.xml"/><Relationship Id="rId220" Type="http://schemas.openxmlformats.org/officeDocument/2006/relationships/tags" Target="../tags/tag1991.xml"/><Relationship Id="rId241" Type="http://schemas.openxmlformats.org/officeDocument/2006/relationships/tags" Target="../tags/tag2012.xml"/><Relationship Id="rId15" Type="http://schemas.openxmlformats.org/officeDocument/2006/relationships/tags" Target="../tags/tag1786.xml"/><Relationship Id="rId36" Type="http://schemas.openxmlformats.org/officeDocument/2006/relationships/tags" Target="../tags/tag1807.xml"/><Relationship Id="rId57" Type="http://schemas.openxmlformats.org/officeDocument/2006/relationships/tags" Target="../tags/tag1828.xml"/><Relationship Id="rId262" Type="http://schemas.openxmlformats.org/officeDocument/2006/relationships/tags" Target="../tags/tag2033.xml"/><Relationship Id="rId283" Type="http://schemas.openxmlformats.org/officeDocument/2006/relationships/tags" Target="../tags/tag2054.xml"/><Relationship Id="rId318" Type="http://schemas.openxmlformats.org/officeDocument/2006/relationships/tags" Target="../tags/tag2089.xml"/><Relationship Id="rId339" Type="http://schemas.openxmlformats.org/officeDocument/2006/relationships/tags" Target="../tags/tag2110.xml"/><Relationship Id="rId78" Type="http://schemas.openxmlformats.org/officeDocument/2006/relationships/tags" Target="../tags/tag1849.xml"/><Relationship Id="rId99" Type="http://schemas.openxmlformats.org/officeDocument/2006/relationships/tags" Target="../tags/tag1870.xml"/><Relationship Id="rId101" Type="http://schemas.openxmlformats.org/officeDocument/2006/relationships/tags" Target="../tags/tag1872.xml"/><Relationship Id="rId122" Type="http://schemas.openxmlformats.org/officeDocument/2006/relationships/tags" Target="../tags/tag1893.xml"/><Relationship Id="rId143" Type="http://schemas.openxmlformats.org/officeDocument/2006/relationships/tags" Target="../tags/tag1914.xml"/><Relationship Id="rId164" Type="http://schemas.openxmlformats.org/officeDocument/2006/relationships/tags" Target="../tags/tag1935.xml"/><Relationship Id="rId185" Type="http://schemas.openxmlformats.org/officeDocument/2006/relationships/tags" Target="../tags/tag1956.xml"/><Relationship Id="rId350" Type="http://schemas.openxmlformats.org/officeDocument/2006/relationships/tags" Target="../tags/tag2121.xml"/><Relationship Id="rId371" Type="http://schemas.openxmlformats.org/officeDocument/2006/relationships/tags" Target="../tags/tag2142.xml"/><Relationship Id="rId406" Type="http://schemas.openxmlformats.org/officeDocument/2006/relationships/tags" Target="../tags/tag2177.xml"/><Relationship Id="rId9" Type="http://schemas.openxmlformats.org/officeDocument/2006/relationships/tags" Target="../tags/tag1780.xml"/><Relationship Id="rId210" Type="http://schemas.openxmlformats.org/officeDocument/2006/relationships/tags" Target="../tags/tag1981.xml"/><Relationship Id="rId392" Type="http://schemas.openxmlformats.org/officeDocument/2006/relationships/tags" Target="../tags/tag2163.xml"/><Relationship Id="rId26" Type="http://schemas.openxmlformats.org/officeDocument/2006/relationships/tags" Target="../tags/tag1797.xml"/><Relationship Id="rId231" Type="http://schemas.openxmlformats.org/officeDocument/2006/relationships/tags" Target="../tags/tag2002.xml"/><Relationship Id="rId252" Type="http://schemas.openxmlformats.org/officeDocument/2006/relationships/tags" Target="../tags/tag2023.xml"/><Relationship Id="rId273" Type="http://schemas.openxmlformats.org/officeDocument/2006/relationships/tags" Target="../tags/tag2044.xml"/><Relationship Id="rId294" Type="http://schemas.openxmlformats.org/officeDocument/2006/relationships/tags" Target="../tags/tag2065.xml"/><Relationship Id="rId308" Type="http://schemas.openxmlformats.org/officeDocument/2006/relationships/tags" Target="../tags/tag2079.xml"/><Relationship Id="rId329" Type="http://schemas.openxmlformats.org/officeDocument/2006/relationships/tags" Target="../tags/tag2100.xml"/><Relationship Id="rId47" Type="http://schemas.openxmlformats.org/officeDocument/2006/relationships/tags" Target="../tags/tag1818.xml"/><Relationship Id="rId68" Type="http://schemas.openxmlformats.org/officeDocument/2006/relationships/tags" Target="../tags/tag1839.xml"/><Relationship Id="rId89" Type="http://schemas.openxmlformats.org/officeDocument/2006/relationships/tags" Target="../tags/tag1860.xml"/><Relationship Id="rId112" Type="http://schemas.openxmlformats.org/officeDocument/2006/relationships/tags" Target="../tags/tag1883.xml"/><Relationship Id="rId133" Type="http://schemas.openxmlformats.org/officeDocument/2006/relationships/tags" Target="../tags/tag1904.xml"/><Relationship Id="rId154" Type="http://schemas.openxmlformats.org/officeDocument/2006/relationships/tags" Target="../tags/tag1925.xml"/><Relationship Id="rId175" Type="http://schemas.openxmlformats.org/officeDocument/2006/relationships/tags" Target="../tags/tag1946.xml"/><Relationship Id="rId340" Type="http://schemas.openxmlformats.org/officeDocument/2006/relationships/tags" Target="../tags/tag2111.xml"/><Relationship Id="rId361" Type="http://schemas.openxmlformats.org/officeDocument/2006/relationships/tags" Target="../tags/tag2132.xml"/><Relationship Id="rId196" Type="http://schemas.openxmlformats.org/officeDocument/2006/relationships/tags" Target="../tags/tag1967.xml"/><Relationship Id="rId200" Type="http://schemas.openxmlformats.org/officeDocument/2006/relationships/tags" Target="../tags/tag1971.xml"/><Relationship Id="rId382" Type="http://schemas.openxmlformats.org/officeDocument/2006/relationships/tags" Target="../tags/tag2153.xml"/><Relationship Id="rId16" Type="http://schemas.openxmlformats.org/officeDocument/2006/relationships/tags" Target="../tags/tag1787.xml"/><Relationship Id="rId221" Type="http://schemas.openxmlformats.org/officeDocument/2006/relationships/tags" Target="../tags/tag1992.xml"/><Relationship Id="rId242" Type="http://schemas.openxmlformats.org/officeDocument/2006/relationships/tags" Target="../tags/tag2013.xml"/><Relationship Id="rId263" Type="http://schemas.openxmlformats.org/officeDocument/2006/relationships/tags" Target="../tags/tag2034.xml"/><Relationship Id="rId284" Type="http://schemas.openxmlformats.org/officeDocument/2006/relationships/tags" Target="../tags/tag2055.xml"/><Relationship Id="rId319" Type="http://schemas.openxmlformats.org/officeDocument/2006/relationships/tags" Target="../tags/tag2090.xml"/><Relationship Id="rId37" Type="http://schemas.openxmlformats.org/officeDocument/2006/relationships/tags" Target="../tags/tag1808.xml"/><Relationship Id="rId58" Type="http://schemas.openxmlformats.org/officeDocument/2006/relationships/tags" Target="../tags/tag1829.xml"/><Relationship Id="rId79" Type="http://schemas.openxmlformats.org/officeDocument/2006/relationships/tags" Target="../tags/tag1850.xml"/><Relationship Id="rId102" Type="http://schemas.openxmlformats.org/officeDocument/2006/relationships/tags" Target="../tags/tag1873.xml"/><Relationship Id="rId123" Type="http://schemas.openxmlformats.org/officeDocument/2006/relationships/tags" Target="../tags/tag1894.xml"/><Relationship Id="rId144" Type="http://schemas.openxmlformats.org/officeDocument/2006/relationships/tags" Target="../tags/tag1915.xml"/><Relationship Id="rId330" Type="http://schemas.openxmlformats.org/officeDocument/2006/relationships/tags" Target="../tags/tag2101.xml"/><Relationship Id="rId90" Type="http://schemas.openxmlformats.org/officeDocument/2006/relationships/tags" Target="../tags/tag1861.xml"/><Relationship Id="rId165" Type="http://schemas.openxmlformats.org/officeDocument/2006/relationships/tags" Target="../tags/tag1936.xml"/><Relationship Id="rId186" Type="http://schemas.openxmlformats.org/officeDocument/2006/relationships/tags" Target="../tags/tag1957.xml"/><Relationship Id="rId351" Type="http://schemas.openxmlformats.org/officeDocument/2006/relationships/tags" Target="../tags/tag2122.xml"/><Relationship Id="rId372" Type="http://schemas.openxmlformats.org/officeDocument/2006/relationships/tags" Target="../tags/tag2143.xml"/><Relationship Id="rId393" Type="http://schemas.openxmlformats.org/officeDocument/2006/relationships/tags" Target="../tags/tag2164.xml"/><Relationship Id="rId407" Type="http://schemas.openxmlformats.org/officeDocument/2006/relationships/tags" Target="../tags/tag2178.xml"/><Relationship Id="rId211" Type="http://schemas.openxmlformats.org/officeDocument/2006/relationships/tags" Target="../tags/tag1982.xml"/><Relationship Id="rId232" Type="http://schemas.openxmlformats.org/officeDocument/2006/relationships/tags" Target="../tags/tag2003.xml"/><Relationship Id="rId253" Type="http://schemas.openxmlformats.org/officeDocument/2006/relationships/tags" Target="../tags/tag2024.xml"/><Relationship Id="rId274" Type="http://schemas.openxmlformats.org/officeDocument/2006/relationships/tags" Target="../tags/tag2045.xml"/><Relationship Id="rId295" Type="http://schemas.openxmlformats.org/officeDocument/2006/relationships/tags" Target="../tags/tag2066.xml"/><Relationship Id="rId309" Type="http://schemas.openxmlformats.org/officeDocument/2006/relationships/tags" Target="../tags/tag2080.xml"/><Relationship Id="rId27" Type="http://schemas.openxmlformats.org/officeDocument/2006/relationships/tags" Target="../tags/tag1798.xml"/><Relationship Id="rId48" Type="http://schemas.openxmlformats.org/officeDocument/2006/relationships/tags" Target="../tags/tag1819.xml"/><Relationship Id="rId69" Type="http://schemas.openxmlformats.org/officeDocument/2006/relationships/tags" Target="../tags/tag1840.xml"/><Relationship Id="rId113" Type="http://schemas.openxmlformats.org/officeDocument/2006/relationships/tags" Target="../tags/tag1884.xml"/><Relationship Id="rId134" Type="http://schemas.openxmlformats.org/officeDocument/2006/relationships/tags" Target="../tags/tag1905.xml"/><Relationship Id="rId320" Type="http://schemas.openxmlformats.org/officeDocument/2006/relationships/tags" Target="../tags/tag2091.xml"/><Relationship Id="rId80" Type="http://schemas.openxmlformats.org/officeDocument/2006/relationships/tags" Target="../tags/tag1851.xml"/><Relationship Id="rId155" Type="http://schemas.openxmlformats.org/officeDocument/2006/relationships/tags" Target="../tags/tag1926.xml"/><Relationship Id="rId176" Type="http://schemas.openxmlformats.org/officeDocument/2006/relationships/tags" Target="../tags/tag1947.xml"/><Relationship Id="rId197" Type="http://schemas.openxmlformats.org/officeDocument/2006/relationships/tags" Target="../tags/tag1968.xml"/><Relationship Id="rId341" Type="http://schemas.openxmlformats.org/officeDocument/2006/relationships/tags" Target="../tags/tag2112.xml"/><Relationship Id="rId362" Type="http://schemas.openxmlformats.org/officeDocument/2006/relationships/tags" Target="../tags/tag2133.xml"/><Relationship Id="rId383" Type="http://schemas.openxmlformats.org/officeDocument/2006/relationships/tags" Target="../tags/tag2154.xml"/><Relationship Id="rId201" Type="http://schemas.openxmlformats.org/officeDocument/2006/relationships/tags" Target="../tags/tag1972.xml"/><Relationship Id="rId222" Type="http://schemas.openxmlformats.org/officeDocument/2006/relationships/tags" Target="../tags/tag1993.xml"/><Relationship Id="rId243" Type="http://schemas.openxmlformats.org/officeDocument/2006/relationships/tags" Target="../tags/tag2014.xml"/><Relationship Id="rId264" Type="http://schemas.openxmlformats.org/officeDocument/2006/relationships/tags" Target="../tags/tag2035.xml"/><Relationship Id="rId285" Type="http://schemas.openxmlformats.org/officeDocument/2006/relationships/tags" Target="../tags/tag2056.xml"/><Relationship Id="rId17" Type="http://schemas.openxmlformats.org/officeDocument/2006/relationships/tags" Target="../tags/tag1788.xml"/><Relationship Id="rId38" Type="http://schemas.openxmlformats.org/officeDocument/2006/relationships/tags" Target="../tags/tag1809.xml"/><Relationship Id="rId59" Type="http://schemas.openxmlformats.org/officeDocument/2006/relationships/tags" Target="../tags/tag1830.xml"/><Relationship Id="rId103" Type="http://schemas.openxmlformats.org/officeDocument/2006/relationships/tags" Target="../tags/tag1874.xml"/><Relationship Id="rId124" Type="http://schemas.openxmlformats.org/officeDocument/2006/relationships/tags" Target="../tags/tag1895.xml"/><Relationship Id="rId310" Type="http://schemas.openxmlformats.org/officeDocument/2006/relationships/tags" Target="../tags/tag2081.xml"/><Relationship Id="rId70" Type="http://schemas.openxmlformats.org/officeDocument/2006/relationships/tags" Target="../tags/tag1841.xml"/><Relationship Id="rId91" Type="http://schemas.openxmlformats.org/officeDocument/2006/relationships/tags" Target="../tags/tag1862.xml"/><Relationship Id="rId145" Type="http://schemas.openxmlformats.org/officeDocument/2006/relationships/tags" Target="../tags/tag1916.xml"/><Relationship Id="rId166" Type="http://schemas.openxmlformats.org/officeDocument/2006/relationships/tags" Target="../tags/tag1937.xml"/><Relationship Id="rId187" Type="http://schemas.openxmlformats.org/officeDocument/2006/relationships/tags" Target="../tags/tag1958.xml"/><Relationship Id="rId331" Type="http://schemas.openxmlformats.org/officeDocument/2006/relationships/tags" Target="../tags/tag2102.xml"/><Relationship Id="rId352" Type="http://schemas.openxmlformats.org/officeDocument/2006/relationships/tags" Target="../tags/tag2123.xml"/><Relationship Id="rId373" Type="http://schemas.openxmlformats.org/officeDocument/2006/relationships/tags" Target="../tags/tag2144.xml"/><Relationship Id="rId394" Type="http://schemas.openxmlformats.org/officeDocument/2006/relationships/tags" Target="../tags/tag2165.xml"/><Relationship Id="rId408" Type="http://schemas.openxmlformats.org/officeDocument/2006/relationships/tags" Target="../tags/tag2179.xml"/><Relationship Id="rId1" Type="http://schemas.openxmlformats.org/officeDocument/2006/relationships/tags" Target="../tags/tag1772.xml"/><Relationship Id="rId212" Type="http://schemas.openxmlformats.org/officeDocument/2006/relationships/tags" Target="../tags/tag1983.xml"/><Relationship Id="rId233" Type="http://schemas.openxmlformats.org/officeDocument/2006/relationships/tags" Target="../tags/tag2004.xml"/><Relationship Id="rId254" Type="http://schemas.openxmlformats.org/officeDocument/2006/relationships/tags" Target="../tags/tag2025.xml"/><Relationship Id="rId28" Type="http://schemas.openxmlformats.org/officeDocument/2006/relationships/tags" Target="../tags/tag1799.xml"/><Relationship Id="rId49" Type="http://schemas.openxmlformats.org/officeDocument/2006/relationships/tags" Target="../tags/tag1820.xml"/><Relationship Id="rId114" Type="http://schemas.openxmlformats.org/officeDocument/2006/relationships/tags" Target="../tags/tag1885.xml"/><Relationship Id="rId275" Type="http://schemas.openxmlformats.org/officeDocument/2006/relationships/tags" Target="../tags/tag2046.xml"/><Relationship Id="rId296" Type="http://schemas.openxmlformats.org/officeDocument/2006/relationships/tags" Target="../tags/tag2067.xml"/><Relationship Id="rId300" Type="http://schemas.openxmlformats.org/officeDocument/2006/relationships/tags" Target="../tags/tag2071.xml"/><Relationship Id="rId60" Type="http://schemas.openxmlformats.org/officeDocument/2006/relationships/tags" Target="../tags/tag1831.xml"/><Relationship Id="rId81" Type="http://schemas.openxmlformats.org/officeDocument/2006/relationships/tags" Target="../tags/tag1852.xml"/><Relationship Id="rId135" Type="http://schemas.openxmlformats.org/officeDocument/2006/relationships/tags" Target="../tags/tag1906.xml"/><Relationship Id="rId156" Type="http://schemas.openxmlformats.org/officeDocument/2006/relationships/tags" Target="../tags/tag1927.xml"/><Relationship Id="rId177" Type="http://schemas.openxmlformats.org/officeDocument/2006/relationships/tags" Target="../tags/tag1948.xml"/><Relationship Id="rId198" Type="http://schemas.openxmlformats.org/officeDocument/2006/relationships/tags" Target="../tags/tag1969.xml"/><Relationship Id="rId321" Type="http://schemas.openxmlformats.org/officeDocument/2006/relationships/tags" Target="../tags/tag2092.xml"/><Relationship Id="rId342" Type="http://schemas.openxmlformats.org/officeDocument/2006/relationships/tags" Target="../tags/tag2113.xml"/><Relationship Id="rId363" Type="http://schemas.openxmlformats.org/officeDocument/2006/relationships/tags" Target="../tags/tag2134.xml"/><Relationship Id="rId384" Type="http://schemas.openxmlformats.org/officeDocument/2006/relationships/tags" Target="../tags/tag2155.xml"/><Relationship Id="rId202" Type="http://schemas.openxmlformats.org/officeDocument/2006/relationships/tags" Target="../tags/tag1973.xml"/><Relationship Id="rId223" Type="http://schemas.openxmlformats.org/officeDocument/2006/relationships/tags" Target="../tags/tag1994.xml"/><Relationship Id="rId244" Type="http://schemas.openxmlformats.org/officeDocument/2006/relationships/tags" Target="../tags/tag2015.xml"/><Relationship Id="rId18" Type="http://schemas.openxmlformats.org/officeDocument/2006/relationships/tags" Target="../tags/tag1789.xml"/><Relationship Id="rId39" Type="http://schemas.openxmlformats.org/officeDocument/2006/relationships/tags" Target="../tags/tag1810.xml"/><Relationship Id="rId265" Type="http://schemas.openxmlformats.org/officeDocument/2006/relationships/tags" Target="../tags/tag2036.xml"/><Relationship Id="rId286" Type="http://schemas.openxmlformats.org/officeDocument/2006/relationships/tags" Target="../tags/tag2057.xml"/><Relationship Id="rId50" Type="http://schemas.openxmlformats.org/officeDocument/2006/relationships/tags" Target="../tags/tag1821.xml"/><Relationship Id="rId104" Type="http://schemas.openxmlformats.org/officeDocument/2006/relationships/tags" Target="../tags/tag1875.xml"/><Relationship Id="rId125" Type="http://schemas.openxmlformats.org/officeDocument/2006/relationships/tags" Target="../tags/tag1896.xml"/><Relationship Id="rId146" Type="http://schemas.openxmlformats.org/officeDocument/2006/relationships/tags" Target="../tags/tag1917.xml"/><Relationship Id="rId167" Type="http://schemas.openxmlformats.org/officeDocument/2006/relationships/tags" Target="../tags/tag1938.xml"/><Relationship Id="rId188" Type="http://schemas.openxmlformats.org/officeDocument/2006/relationships/tags" Target="../tags/tag1959.xml"/><Relationship Id="rId311" Type="http://schemas.openxmlformats.org/officeDocument/2006/relationships/tags" Target="../tags/tag2082.xml"/><Relationship Id="rId332" Type="http://schemas.openxmlformats.org/officeDocument/2006/relationships/tags" Target="../tags/tag2103.xml"/><Relationship Id="rId353" Type="http://schemas.openxmlformats.org/officeDocument/2006/relationships/tags" Target="../tags/tag2124.xml"/><Relationship Id="rId374" Type="http://schemas.openxmlformats.org/officeDocument/2006/relationships/tags" Target="../tags/tag2145.xml"/><Relationship Id="rId395" Type="http://schemas.openxmlformats.org/officeDocument/2006/relationships/tags" Target="../tags/tag2166.xml"/><Relationship Id="rId409" Type="http://schemas.openxmlformats.org/officeDocument/2006/relationships/tags" Target="../tags/tag2180.xml"/><Relationship Id="rId71" Type="http://schemas.openxmlformats.org/officeDocument/2006/relationships/tags" Target="../tags/tag1842.xml"/><Relationship Id="rId92" Type="http://schemas.openxmlformats.org/officeDocument/2006/relationships/tags" Target="../tags/tag1863.xml"/><Relationship Id="rId213" Type="http://schemas.openxmlformats.org/officeDocument/2006/relationships/tags" Target="../tags/tag1984.xml"/><Relationship Id="rId234" Type="http://schemas.openxmlformats.org/officeDocument/2006/relationships/tags" Target="../tags/tag2005.xml"/><Relationship Id="rId2" Type="http://schemas.openxmlformats.org/officeDocument/2006/relationships/tags" Target="../tags/tag1773.xml"/><Relationship Id="rId29" Type="http://schemas.openxmlformats.org/officeDocument/2006/relationships/tags" Target="../tags/tag1800.xml"/><Relationship Id="rId255" Type="http://schemas.openxmlformats.org/officeDocument/2006/relationships/tags" Target="../tags/tag2026.xml"/><Relationship Id="rId276" Type="http://schemas.openxmlformats.org/officeDocument/2006/relationships/tags" Target="../tags/tag2047.xml"/><Relationship Id="rId297" Type="http://schemas.openxmlformats.org/officeDocument/2006/relationships/tags" Target="../tags/tag2068.xml"/><Relationship Id="rId40" Type="http://schemas.openxmlformats.org/officeDocument/2006/relationships/tags" Target="../tags/tag1811.xml"/><Relationship Id="rId115" Type="http://schemas.openxmlformats.org/officeDocument/2006/relationships/tags" Target="../tags/tag1886.xml"/><Relationship Id="rId136" Type="http://schemas.openxmlformats.org/officeDocument/2006/relationships/tags" Target="../tags/tag1907.xml"/><Relationship Id="rId157" Type="http://schemas.openxmlformats.org/officeDocument/2006/relationships/tags" Target="../tags/tag1928.xml"/><Relationship Id="rId178" Type="http://schemas.openxmlformats.org/officeDocument/2006/relationships/tags" Target="../tags/tag1949.xml"/><Relationship Id="rId301" Type="http://schemas.openxmlformats.org/officeDocument/2006/relationships/tags" Target="../tags/tag2072.xml"/><Relationship Id="rId322" Type="http://schemas.openxmlformats.org/officeDocument/2006/relationships/tags" Target="../tags/tag2093.xml"/><Relationship Id="rId343" Type="http://schemas.openxmlformats.org/officeDocument/2006/relationships/tags" Target="../tags/tag2114.xml"/><Relationship Id="rId364" Type="http://schemas.openxmlformats.org/officeDocument/2006/relationships/tags" Target="../tags/tag2135.xml"/><Relationship Id="rId61" Type="http://schemas.openxmlformats.org/officeDocument/2006/relationships/tags" Target="../tags/tag1832.xml"/><Relationship Id="rId82" Type="http://schemas.openxmlformats.org/officeDocument/2006/relationships/tags" Target="../tags/tag1853.xml"/><Relationship Id="rId199" Type="http://schemas.openxmlformats.org/officeDocument/2006/relationships/tags" Target="../tags/tag1970.xml"/><Relationship Id="rId203" Type="http://schemas.openxmlformats.org/officeDocument/2006/relationships/tags" Target="../tags/tag1974.xml"/><Relationship Id="rId385" Type="http://schemas.openxmlformats.org/officeDocument/2006/relationships/tags" Target="../tags/tag2156.xml"/><Relationship Id="rId19" Type="http://schemas.openxmlformats.org/officeDocument/2006/relationships/tags" Target="../tags/tag1790.xml"/><Relationship Id="rId224" Type="http://schemas.openxmlformats.org/officeDocument/2006/relationships/tags" Target="../tags/tag1995.xml"/><Relationship Id="rId245" Type="http://schemas.openxmlformats.org/officeDocument/2006/relationships/tags" Target="../tags/tag2016.xml"/><Relationship Id="rId266" Type="http://schemas.openxmlformats.org/officeDocument/2006/relationships/tags" Target="../tags/tag2037.xml"/><Relationship Id="rId287" Type="http://schemas.openxmlformats.org/officeDocument/2006/relationships/tags" Target="../tags/tag2058.xml"/><Relationship Id="rId410" Type="http://schemas.openxmlformats.org/officeDocument/2006/relationships/tags" Target="../tags/tag2181.xml"/><Relationship Id="rId30" Type="http://schemas.openxmlformats.org/officeDocument/2006/relationships/tags" Target="../tags/tag1801.xml"/><Relationship Id="rId105" Type="http://schemas.openxmlformats.org/officeDocument/2006/relationships/tags" Target="../tags/tag1876.xml"/><Relationship Id="rId126" Type="http://schemas.openxmlformats.org/officeDocument/2006/relationships/tags" Target="../tags/tag1897.xml"/><Relationship Id="rId147" Type="http://schemas.openxmlformats.org/officeDocument/2006/relationships/tags" Target="../tags/tag1918.xml"/><Relationship Id="rId168" Type="http://schemas.openxmlformats.org/officeDocument/2006/relationships/tags" Target="../tags/tag1939.xml"/><Relationship Id="rId312" Type="http://schemas.openxmlformats.org/officeDocument/2006/relationships/tags" Target="../tags/tag2083.xml"/><Relationship Id="rId333" Type="http://schemas.openxmlformats.org/officeDocument/2006/relationships/tags" Target="../tags/tag2104.xml"/><Relationship Id="rId354" Type="http://schemas.openxmlformats.org/officeDocument/2006/relationships/tags" Target="../tags/tag2125.xml"/><Relationship Id="rId51" Type="http://schemas.openxmlformats.org/officeDocument/2006/relationships/tags" Target="../tags/tag1822.xml"/><Relationship Id="rId72" Type="http://schemas.openxmlformats.org/officeDocument/2006/relationships/tags" Target="../tags/tag1843.xml"/><Relationship Id="rId93" Type="http://schemas.openxmlformats.org/officeDocument/2006/relationships/tags" Target="../tags/tag1864.xml"/><Relationship Id="rId189" Type="http://schemas.openxmlformats.org/officeDocument/2006/relationships/tags" Target="../tags/tag1960.xml"/><Relationship Id="rId375" Type="http://schemas.openxmlformats.org/officeDocument/2006/relationships/tags" Target="../tags/tag2146.xml"/><Relationship Id="rId396" Type="http://schemas.openxmlformats.org/officeDocument/2006/relationships/tags" Target="../tags/tag2167.xml"/><Relationship Id="rId3" Type="http://schemas.openxmlformats.org/officeDocument/2006/relationships/tags" Target="../tags/tag1774.xml"/><Relationship Id="rId214" Type="http://schemas.openxmlformats.org/officeDocument/2006/relationships/tags" Target="../tags/tag1985.xml"/><Relationship Id="rId235" Type="http://schemas.openxmlformats.org/officeDocument/2006/relationships/tags" Target="../tags/tag2006.xml"/><Relationship Id="rId256" Type="http://schemas.openxmlformats.org/officeDocument/2006/relationships/tags" Target="../tags/tag2027.xml"/><Relationship Id="rId277" Type="http://schemas.openxmlformats.org/officeDocument/2006/relationships/tags" Target="../tags/tag2048.xml"/><Relationship Id="rId298" Type="http://schemas.openxmlformats.org/officeDocument/2006/relationships/tags" Target="../tags/tag2069.xml"/><Relationship Id="rId400" Type="http://schemas.openxmlformats.org/officeDocument/2006/relationships/tags" Target="../tags/tag2171.xml"/><Relationship Id="rId116" Type="http://schemas.openxmlformats.org/officeDocument/2006/relationships/tags" Target="../tags/tag1887.xml"/><Relationship Id="rId137" Type="http://schemas.openxmlformats.org/officeDocument/2006/relationships/tags" Target="../tags/tag1908.xml"/><Relationship Id="rId158" Type="http://schemas.openxmlformats.org/officeDocument/2006/relationships/tags" Target="../tags/tag1929.xml"/><Relationship Id="rId302" Type="http://schemas.openxmlformats.org/officeDocument/2006/relationships/tags" Target="../tags/tag2073.xml"/><Relationship Id="rId323" Type="http://schemas.openxmlformats.org/officeDocument/2006/relationships/tags" Target="../tags/tag2094.xml"/><Relationship Id="rId344" Type="http://schemas.openxmlformats.org/officeDocument/2006/relationships/tags" Target="../tags/tag2115.xml"/><Relationship Id="rId20" Type="http://schemas.openxmlformats.org/officeDocument/2006/relationships/tags" Target="../tags/tag1791.xml"/><Relationship Id="rId41" Type="http://schemas.openxmlformats.org/officeDocument/2006/relationships/tags" Target="../tags/tag1812.xml"/><Relationship Id="rId62" Type="http://schemas.openxmlformats.org/officeDocument/2006/relationships/tags" Target="../tags/tag1833.xml"/><Relationship Id="rId83" Type="http://schemas.openxmlformats.org/officeDocument/2006/relationships/tags" Target="../tags/tag1854.xml"/><Relationship Id="rId179" Type="http://schemas.openxmlformats.org/officeDocument/2006/relationships/tags" Target="../tags/tag1950.xml"/><Relationship Id="rId365" Type="http://schemas.openxmlformats.org/officeDocument/2006/relationships/tags" Target="../tags/tag2136.xml"/><Relationship Id="rId386" Type="http://schemas.openxmlformats.org/officeDocument/2006/relationships/tags" Target="../tags/tag2157.xml"/><Relationship Id="rId190" Type="http://schemas.openxmlformats.org/officeDocument/2006/relationships/tags" Target="../tags/tag1961.xml"/><Relationship Id="rId204" Type="http://schemas.openxmlformats.org/officeDocument/2006/relationships/tags" Target="../tags/tag1975.xml"/><Relationship Id="rId225" Type="http://schemas.openxmlformats.org/officeDocument/2006/relationships/tags" Target="../tags/tag1996.xml"/><Relationship Id="rId246" Type="http://schemas.openxmlformats.org/officeDocument/2006/relationships/tags" Target="../tags/tag2017.xml"/><Relationship Id="rId267" Type="http://schemas.openxmlformats.org/officeDocument/2006/relationships/tags" Target="../tags/tag2038.xml"/><Relationship Id="rId288" Type="http://schemas.openxmlformats.org/officeDocument/2006/relationships/tags" Target="../tags/tag2059.xml"/><Relationship Id="rId411" Type="http://schemas.openxmlformats.org/officeDocument/2006/relationships/tags" Target="../tags/tag2182.xml"/><Relationship Id="rId106" Type="http://schemas.openxmlformats.org/officeDocument/2006/relationships/tags" Target="../tags/tag1877.xml"/><Relationship Id="rId127" Type="http://schemas.openxmlformats.org/officeDocument/2006/relationships/tags" Target="../tags/tag1898.xml"/><Relationship Id="rId313" Type="http://schemas.openxmlformats.org/officeDocument/2006/relationships/tags" Target="../tags/tag2084.xml"/><Relationship Id="rId10" Type="http://schemas.openxmlformats.org/officeDocument/2006/relationships/tags" Target="../tags/tag1781.xml"/><Relationship Id="rId31" Type="http://schemas.openxmlformats.org/officeDocument/2006/relationships/tags" Target="../tags/tag1802.xml"/><Relationship Id="rId52" Type="http://schemas.openxmlformats.org/officeDocument/2006/relationships/tags" Target="../tags/tag1823.xml"/><Relationship Id="rId73" Type="http://schemas.openxmlformats.org/officeDocument/2006/relationships/tags" Target="../tags/tag1844.xml"/><Relationship Id="rId94" Type="http://schemas.openxmlformats.org/officeDocument/2006/relationships/tags" Target="../tags/tag1865.xml"/><Relationship Id="rId148" Type="http://schemas.openxmlformats.org/officeDocument/2006/relationships/tags" Target="../tags/tag1919.xml"/><Relationship Id="rId169" Type="http://schemas.openxmlformats.org/officeDocument/2006/relationships/tags" Target="../tags/tag1940.xml"/><Relationship Id="rId334" Type="http://schemas.openxmlformats.org/officeDocument/2006/relationships/tags" Target="../tags/tag2105.xml"/><Relationship Id="rId355" Type="http://schemas.openxmlformats.org/officeDocument/2006/relationships/tags" Target="../tags/tag2126.xml"/><Relationship Id="rId376" Type="http://schemas.openxmlformats.org/officeDocument/2006/relationships/tags" Target="../tags/tag2147.xml"/><Relationship Id="rId397" Type="http://schemas.openxmlformats.org/officeDocument/2006/relationships/tags" Target="../tags/tag2168.xml"/><Relationship Id="rId4" Type="http://schemas.openxmlformats.org/officeDocument/2006/relationships/tags" Target="../tags/tag1775.xml"/><Relationship Id="rId180" Type="http://schemas.openxmlformats.org/officeDocument/2006/relationships/tags" Target="../tags/tag1951.xml"/><Relationship Id="rId215" Type="http://schemas.openxmlformats.org/officeDocument/2006/relationships/tags" Target="../tags/tag1986.xml"/><Relationship Id="rId236" Type="http://schemas.openxmlformats.org/officeDocument/2006/relationships/tags" Target="../tags/tag2007.xml"/><Relationship Id="rId257" Type="http://schemas.openxmlformats.org/officeDocument/2006/relationships/tags" Target="../tags/tag2028.xml"/><Relationship Id="rId278" Type="http://schemas.openxmlformats.org/officeDocument/2006/relationships/tags" Target="../tags/tag2049.xml"/><Relationship Id="rId401" Type="http://schemas.openxmlformats.org/officeDocument/2006/relationships/tags" Target="../tags/tag2172.xml"/><Relationship Id="rId303" Type="http://schemas.openxmlformats.org/officeDocument/2006/relationships/tags" Target="../tags/tag2074.xml"/><Relationship Id="rId42" Type="http://schemas.openxmlformats.org/officeDocument/2006/relationships/tags" Target="../tags/tag1813.xml"/><Relationship Id="rId84" Type="http://schemas.openxmlformats.org/officeDocument/2006/relationships/tags" Target="../tags/tag1855.xml"/><Relationship Id="rId138" Type="http://schemas.openxmlformats.org/officeDocument/2006/relationships/tags" Target="../tags/tag1909.xml"/><Relationship Id="rId345" Type="http://schemas.openxmlformats.org/officeDocument/2006/relationships/tags" Target="../tags/tag2116.xml"/><Relationship Id="rId387" Type="http://schemas.openxmlformats.org/officeDocument/2006/relationships/tags" Target="../tags/tag2158.xml"/><Relationship Id="rId191" Type="http://schemas.openxmlformats.org/officeDocument/2006/relationships/tags" Target="../tags/tag1962.xml"/><Relationship Id="rId205" Type="http://schemas.openxmlformats.org/officeDocument/2006/relationships/tags" Target="../tags/tag1976.xml"/><Relationship Id="rId247" Type="http://schemas.openxmlformats.org/officeDocument/2006/relationships/tags" Target="../tags/tag2018.xml"/><Relationship Id="rId412" Type="http://schemas.openxmlformats.org/officeDocument/2006/relationships/tags" Target="../tags/tag2183.xml"/><Relationship Id="rId107" Type="http://schemas.openxmlformats.org/officeDocument/2006/relationships/tags" Target="../tags/tag1878.xml"/><Relationship Id="rId289" Type="http://schemas.openxmlformats.org/officeDocument/2006/relationships/tags" Target="../tags/tag2060.xml"/><Relationship Id="rId11" Type="http://schemas.openxmlformats.org/officeDocument/2006/relationships/tags" Target="../tags/tag1782.xml"/><Relationship Id="rId53" Type="http://schemas.openxmlformats.org/officeDocument/2006/relationships/tags" Target="../tags/tag1824.xml"/><Relationship Id="rId149" Type="http://schemas.openxmlformats.org/officeDocument/2006/relationships/tags" Target="../tags/tag1920.xml"/><Relationship Id="rId314" Type="http://schemas.openxmlformats.org/officeDocument/2006/relationships/tags" Target="../tags/tag2085.xml"/><Relationship Id="rId356" Type="http://schemas.openxmlformats.org/officeDocument/2006/relationships/tags" Target="../tags/tag2127.xml"/><Relationship Id="rId398" Type="http://schemas.openxmlformats.org/officeDocument/2006/relationships/tags" Target="../tags/tag2169.xml"/></Relationships>
</file>

<file path=ppt/slides/_rels/slide27.xml.rels><?xml version="1.0" encoding="UTF-8" standalone="yes"?>
<Relationships xmlns="http://schemas.openxmlformats.org/package/2006/relationships"><Relationship Id="rId3" Type="http://schemas.openxmlformats.org/officeDocument/2006/relationships/tags" Target="../tags/tag2186.xml"/><Relationship Id="rId7" Type="http://schemas.openxmlformats.org/officeDocument/2006/relationships/chart" Target="../charts/chart11.xml"/><Relationship Id="rId2" Type="http://schemas.openxmlformats.org/officeDocument/2006/relationships/tags" Target="../tags/tag2185.xml"/><Relationship Id="rId1" Type="http://schemas.openxmlformats.org/officeDocument/2006/relationships/vmlDrawing" Target="../drawings/vmlDrawing55.vml"/><Relationship Id="rId6" Type="http://schemas.openxmlformats.org/officeDocument/2006/relationships/image" Target="../media/image6.emf"/><Relationship Id="rId5" Type="http://schemas.openxmlformats.org/officeDocument/2006/relationships/oleObject" Target="../embeddings/oleObject55.bin"/><Relationship Id="rId4"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8" Type="http://schemas.openxmlformats.org/officeDocument/2006/relationships/tags" Target="../tags/tag2193.xml"/><Relationship Id="rId13" Type="http://schemas.openxmlformats.org/officeDocument/2006/relationships/slideLayout" Target="../slideLayouts/slideLayout6.xml"/><Relationship Id="rId18" Type="http://schemas.openxmlformats.org/officeDocument/2006/relationships/image" Target="../media/image15.png"/><Relationship Id="rId3" Type="http://schemas.openxmlformats.org/officeDocument/2006/relationships/tags" Target="../tags/tag2188.xml"/><Relationship Id="rId7" Type="http://schemas.openxmlformats.org/officeDocument/2006/relationships/tags" Target="../tags/tag2192.xml"/><Relationship Id="rId12" Type="http://schemas.openxmlformats.org/officeDocument/2006/relationships/tags" Target="../tags/tag2197.xml"/><Relationship Id="rId17" Type="http://schemas.openxmlformats.org/officeDocument/2006/relationships/image" Target="../media/image14.png"/><Relationship Id="rId2" Type="http://schemas.openxmlformats.org/officeDocument/2006/relationships/tags" Target="../tags/tag2187.xml"/><Relationship Id="rId16" Type="http://schemas.openxmlformats.org/officeDocument/2006/relationships/image" Target="../media/image13.png"/><Relationship Id="rId1" Type="http://schemas.openxmlformats.org/officeDocument/2006/relationships/vmlDrawing" Target="../drawings/vmlDrawing56.vml"/><Relationship Id="rId6" Type="http://schemas.openxmlformats.org/officeDocument/2006/relationships/tags" Target="../tags/tag2191.xml"/><Relationship Id="rId11" Type="http://schemas.openxmlformats.org/officeDocument/2006/relationships/tags" Target="../tags/tag2196.xml"/><Relationship Id="rId5" Type="http://schemas.openxmlformats.org/officeDocument/2006/relationships/tags" Target="../tags/tag2190.xml"/><Relationship Id="rId15" Type="http://schemas.openxmlformats.org/officeDocument/2006/relationships/image" Target="../media/image6.emf"/><Relationship Id="rId10" Type="http://schemas.openxmlformats.org/officeDocument/2006/relationships/tags" Target="../tags/tag2195.xml"/><Relationship Id="rId19" Type="http://schemas.openxmlformats.org/officeDocument/2006/relationships/image" Target="../media/image16.png"/><Relationship Id="rId4" Type="http://schemas.openxmlformats.org/officeDocument/2006/relationships/tags" Target="../tags/tag2189.xml"/><Relationship Id="rId9" Type="http://schemas.openxmlformats.org/officeDocument/2006/relationships/tags" Target="../tags/tag2194.xml"/><Relationship Id="rId14" Type="http://schemas.openxmlformats.org/officeDocument/2006/relationships/oleObject" Target="../embeddings/oleObject56.bin"/></Relationships>
</file>

<file path=ppt/slides/_rels/slide29.xml.rels><?xml version="1.0" encoding="UTF-8" standalone="yes"?>
<Relationships xmlns="http://schemas.openxmlformats.org/package/2006/relationships"><Relationship Id="rId3" Type="http://schemas.openxmlformats.org/officeDocument/2006/relationships/tags" Target="../tags/tag2200.xml"/><Relationship Id="rId2" Type="http://schemas.openxmlformats.org/officeDocument/2006/relationships/tags" Target="../tags/tag2199.xml"/><Relationship Id="rId1" Type="http://schemas.openxmlformats.org/officeDocument/2006/relationships/tags" Target="../tags/tag2198.xml"/><Relationship Id="rId5" Type="http://schemas.openxmlformats.org/officeDocument/2006/relationships/slideLayout" Target="../slideLayouts/slideLayout6.xml"/><Relationship Id="rId4" Type="http://schemas.openxmlformats.org/officeDocument/2006/relationships/tags" Target="../tags/tag2201.xml"/></Relationships>
</file>

<file path=ppt/slides/_rels/slide3.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hyperlink" Target="https://danskebank.com/-/media/danske-bank-com/file-cloud/2020/6/our-sustainable-investment-journey-2020-english-version.pdf?rev=e0047af7f84e433ab591f5844ee49d87" TargetMode="External"/><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hyperlink" Target="https://danskebank.com/-/media/danske-bank-com/file-cloud/2020/1/sustainable-investment-instruction---active-ownership-2019.pdf?rev=17507a9b0d5e453892a5b50c50b5efe5" TargetMode="Externa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hyperlink" Target="https://www.danskeinvest.dk/w/show_download.hent_fra_arkiv?p_vId=didken_responsible_investment_policy_dima.pdf" TargetMode="External"/><Relationship Id="rId5" Type="http://schemas.openxmlformats.org/officeDocument/2006/relationships/tags" Target="../tags/tag51.xml"/><Relationship Id="rId15" Type="http://schemas.openxmlformats.org/officeDocument/2006/relationships/hyperlink" Target="https://vds.issgovernance.com/vds/#/NzIzNA==/" TargetMode="External"/><Relationship Id="rId10" Type="http://schemas.openxmlformats.org/officeDocument/2006/relationships/image" Target="../media/image9.jpg"/><Relationship Id="rId4" Type="http://schemas.openxmlformats.org/officeDocument/2006/relationships/tags" Target="../tags/tag50.xml"/><Relationship Id="rId9" Type="http://schemas.openxmlformats.org/officeDocument/2006/relationships/slideLayout" Target="../slideLayouts/slideLayout6.xml"/><Relationship Id="rId14" Type="http://schemas.openxmlformats.org/officeDocument/2006/relationships/hyperlink" Target="https://danskebank.com/-/media/danske-bank-com/file-cloud/2020/3/active-ownership-stories-2020.pdf?rev=bf28a574e214422f83bbe07885ff3c19" TargetMode="External"/></Relationships>
</file>

<file path=ppt/slides/_rels/slide30.xml.rels><?xml version="1.0" encoding="UTF-8" standalone="yes"?>
<Relationships xmlns="http://schemas.openxmlformats.org/package/2006/relationships"><Relationship Id="rId3" Type="http://schemas.openxmlformats.org/officeDocument/2006/relationships/tags" Target="../tags/tag2204.xml"/><Relationship Id="rId2" Type="http://schemas.openxmlformats.org/officeDocument/2006/relationships/tags" Target="../tags/tag2203.xml"/><Relationship Id="rId1" Type="http://schemas.openxmlformats.org/officeDocument/2006/relationships/tags" Target="../tags/tag2202.xml"/><Relationship Id="rId5" Type="http://schemas.openxmlformats.org/officeDocument/2006/relationships/slideLayout" Target="../slideLayouts/slideLayout6.xml"/><Relationship Id="rId4" Type="http://schemas.openxmlformats.org/officeDocument/2006/relationships/tags" Target="../tags/tag2205.xml"/></Relationships>
</file>

<file path=ppt/slides/_rels/slide31.xml.rels><?xml version="1.0" encoding="UTF-8" standalone="yes"?>
<Relationships xmlns="http://schemas.openxmlformats.org/package/2006/relationships"><Relationship Id="rId3" Type="http://schemas.openxmlformats.org/officeDocument/2006/relationships/tags" Target="../tags/tag2208.xml"/><Relationship Id="rId2" Type="http://schemas.openxmlformats.org/officeDocument/2006/relationships/tags" Target="../tags/tag2207.xml"/><Relationship Id="rId1" Type="http://schemas.openxmlformats.org/officeDocument/2006/relationships/tags" Target="../tags/tag2206.xml"/><Relationship Id="rId5" Type="http://schemas.openxmlformats.org/officeDocument/2006/relationships/slideLayout" Target="../slideLayouts/slideLayout6.xml"/><Relationship Id="rId4" Type="http://schemas.openxmlformats.org/officeDocument/2006/relationships/tags" Target="../tags/tag2209.xml"/></Relationships>
</file>

<file path=ppt/slides/_rels/slide32.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tags" Target="../tags/tag2211.xml"/><Relationship Id="rId7" Type="http://schemas.openxmlformats.org/officeDocument/2006/relationships/chart" Target="../charts/chart12.xml"/><Relationship Id="rId2" Type="http://schemas.openxmlformats.org/officeDocument/2006/relationships/tags" Target="../tags/tag2210.xml"/><Relationship Id="rId1" Type="http://schemas.openxmlformats.org/officeDocument/2006/relationships/vmlDrawing" Target="../drawings/vmlDrawing57.vml"/><Relationship Id="rId6" Type="http://schemas.openxmlformats.org/officeDocument/2006/relationships/image" Target="../media/image6.emf"/><Relationship Id="rId5" Type="http://schemas.openxmlformats.org/officeDocument/2006/relationships/oleObject" Target="../embeddings/oleObject57.bin"/><Relationship Id="rId4"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slideLayout" Target="../slideLayouts/slideLayout32.xml"/><Relationship Id="rId1" Type="http://schemas.openxmlformats.org/officeDocument/2006/relationships/tags" Target="../tags/tag2212.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213.xml"/><Relationship Id="rId1" Type="http://schemas.openxmlformats.org/officeDocument/2006/relationships/vmlDrawing" Target="../drawings/vmlDrawing58.vml"/><Relationship Id="rId6" Type="http://schemas.openxmlformats.org/officeDocument/2006/relationships/image" Target="../media/image6.emf"/><Relationship Id="rId5" Type="http://schemas.openxmlformats.org/officeDocument/2006/relationships/oleObject" Target="../embeddings/oleObject58.bin"/><Relationship Id="rId4" Type="http://schemas.openxmlformats.org/officeDocument/2006/relationships/notesSlide" Target="../notesSlides/notesSlide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43.vml"/><Relationship Id="rId6" Type="http://schemas.openxmlformats.org/officeDocument/2006/relationships/image" Target="../media/image10.emf"/><Relationship Id="rId5" Type="http://schemas.openxmlformats.org/officeDocument/2006/relationships/oleObject" Target="../embeddings/oleObject43.bin"/><Relationship Id="rId4"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1.jpe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5.png"/><Relationship Id="rId5" Type="http://schemas.openxmlformats.org/officeDocument/2006/relationships/slideLayout" Target="../slideLayouts/slideLayout6.xml"/><Relationship Id="rId4" Type="http://schemas.openxmlformats.org/officeDocument/2006/relationships/tags" Target="../tags/tag60.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62.xml"/><Relationship Id="rId7" Type="http://schemas.openxmlformats.org/officeDocument/2006/relationships/slideLayout" Target="../slideLayouts/slideLayout6.xml"/><Relationship Id="rId2" Type="http://schemas.openxmlformats.org/officeDocument/2006/relationships/tags" Target="../tags/tag61.xml"/><Relationship Id="rId1" Type="http://schemas.openxmlformats.org/officeDocument/2006/relationships/vmlDrawing" Target="../drawings/vmlDrawing44.vml"/><Relationship Id="rId6" Type="http://schemas.openxmlformats.org/officeDocument/2006/relationships/tags" Target="../tags/tag65.xml"/><Relationship Id="rId11" Type="http://schemas.openxmlformats.org/officeDocument/2006/relationships/image" Target="../media/image12.jpeg"/><Relationship Id="rId5" Type="http://schemas.openxmlformats.org/officeDocument/2006/relationships/tags" Target="../tags/tag64.xml"/><Relationship Id="rId10" Type="http://schemas.openxmlformats.org/officeDocument/2006/relationships/image" Target="../media/image10.emf"/><Relationship Id="rId4" Type="http://schemas.openxmlformats.org/officeDocument/2006/relationships/tags" Target="../tags/tag63.xml"/><Relationship Id="rId9" Type="http://schemas.openxmlformats.org/officeDocument/2006/relationships/oleObject" Target="../embeddings/oleObject44.bin"/></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31.xml"/><Relationship Id="rId1" Type="http://schemas.openxmlformats.org/officeDocument/2006/relationships/tags" Target="../tags/tag66.xml"/></Relationships>
</file>

<file path=ppt/slides/_rels/slide8.xml.rels><?xml version="1.0" encoding="UTF-8" standalone="yes"?>
<Relationships xmlns="http://schemas.openxmlformats.org/package/2006/relationships"><Relationship Id="rId117" Type="http://schemas.openxmlformats.org/officeDocument/2006/relationships/tags" Target="../tags/tag183.xml"/><Relationship Id="rId299" Type="http://schemas.openxmlformats.org/officeDocument/2006/relationships/tags" Target="../tags/tag365.xml"/><Relationship Id="rId21" Type="http://schemas.openxmlformats.org/officeDocument/2006/relationships/tags" Target="../tags/tag87.xml"/><Relationship Id="rId63" Type="http://schemas.openxmlformats.org/officeDocument/2006/relationships/tags" Target="../tags/tag129.xml"/><Relationship Id="rId159" Type="http://schemas.openxmlformats.org/officeDocument/2006/relationships/tags" Target="../tags/tag225.xml"/><Relationship Id="rId324" Type="http://schemas.openxmlformats.org/officeDocument/2006/relationships/tags" Target="../tags/tag390.xml"/><Relationship Id="rId366" Type="http://schemas.openxmlformats.org/officeDocument/2006/relationships/tags" Target="../tags/tag432.xml"/><Relationship Id="rId170" Type="http://schemas.openxmlformats.org/officeDocument/2006/relationships/tags" Target="../tags/tag236.xml"/><Relationship Id="rId226" Type="http://schemas.openxmlformats.org/officeDocument/2006/relationships/tags" Target="../tags/tag292.xml"/><Relationship Id="rId268" Type="http://schemas.openxmlformats.org/officeDocument/2006/relationships/tags" Target="../tags/tag334.xml"/><Relationship Id="rId32" Type="http://schemas.openxmlformats.org/officeDocument/2006/relationships/tags" Target="../tags/tag98.xml"/><Relationship Id="rId74" Type="http://schemas.openxmlformats.org/officeDocument/2006/relationships/tags" Target="../tags/tag140.xml"/><Relationship Id="rId128" Type="http://schemas.openxmlformats.org/officeDocument/2006/relationships/tags" Target="../tags/tag194.xml"/><Relationship Id="rId335" Type="http://schemas.openxmlformats.org/officeDocument/2006/relationships/tags" Target="../tags/tag401.xml"/><Relationship Id="rId377" Type="http://schemas.openxmlformats.org/officeDocument/2006/relationships/tags" Target="../tags/tag443.xml"/><Relationship Id="rId5" Type="http://schemas.openxmlformats.org/officeDocument/2006/relationships/tags" Target="../tags/tag71.xml"/><Relationship Id="rId95" Type="http://schemas.openxmlformats.org/officeDocument/2006/relationships/tags" Target="../tags/tag161.xml"/><Relationship Id="rId160" Type="http://schemas.openxmlformats.org/officeDocument/2006/relationships/tags" Target="../tags/tag226.xml"/><Relationship Id="rId181" Type="http://schemas.openxmlformats.org/officeDocument/2006/relationships/tags" Target="../tags/tag247.xml"/><Relationship Id="rId216" Type="http://schemas.openxmlformats.org/officeDocument/2006/relationships/tags" Target="../tags/tag282.xml"/><Relationship Id="rId237" Type="http://schemas.openxmlformats.org/officeDocument/2006/relationships/tags" Target="../tags/tag303.xml"/><Relationship Id="rId402" Type="http://schemas.openxmlformats.org/officeDocument/2006/relationships/tags" Target="../tags/tag468.xml"/><Relationship Id="rId258" Type="http://schemas.openxmlformats.org/officeDocument/2006/relationships/tags" Target="../tags/tag324.xml"/><Relationship Id="rId279" Type="http://schemas.openxmlformats.org/officeDocument/2006/relationships/tags" Target="../tags/tag345.xml"/><Relationship Id="rId22" Type="http://schemas.openxmlformats.org/officeDocument/2006/relationships/tags" Target="../tags/tag88.xml"/><Relationship Id="rId43" Type="http://schemas.openxmlformats.org/officeDocument/2006/relationships/tags" Target="../tags/tag109.xml"/><Relationship Id="rId64" Type="http://schemas.openxmlformats.org/officeDocument/2006/relationships/tags" Target="../tags/tag130.xml"/><Relationship Id="rId118" Type="http://schemas.openxmlformats.org/officeDocument/2006/relationships/tags" Target="../tags/tag184.xml"/><Relationship Id="rId139" Type="http://schemas.openxmlformats.org/officeDocument/2006/relationships/tags" Target="../tags/tag205.xml"/><Relationship Id="rId290" Type="http://schemas.openxmlformats.org/officeDocument/2006/relationships/tags" Target="../tags/tag356.xml"/><Relationship Id="rId304" Type="http://schemas.openxmlformats.org/officeDocument/2006/relationships/tags" Target="../tags/tag370.xml"/><Relationship Id="rId325" Type="http://schemas.openxmlformats.org/officeDocument/2006/relationships/tags" Target="../tags/tag391.xml"/><Relationship Id="rId346" Type="http://schemas.openxmlformats.org/officeDocument/2006/relationships/tags" Target="../tags/tag412.xml"/><Relationship Id="rId367" Type="http://schemas.openxmlformats.org/officeDocument/2006/relationships/tags" Target="../tags/tag433.xml"/><Relationship Id="rId388" Type="http://schemas.openxmlformats.org/officeDocument/2006/relationships/tags" Target="../tags/tag454.xml"/><Relationship Id="rId85" Type="http://schemas.openxmlformats.org/officeDocument/2006/relationships/tags" Target="../tags/tag151.xml"/><Relationship Id="rId150" Type="http://schemas.openxmlformats.org/officeDocument/2006/relationships/tags" Target="../tags/tag216.xml"/><Relationship Id="rId171" Type="http://schemas.openxmlformats.org/officeDocument/2006/relationships/tags" Target="../tags/tag237.xml"/><Relationship Id="rId192" Type="http://schemas.openxmlformats.org/officeDocument/2006/relationships/tags" Target="../tags/tag258.xml"/><Relationship Id="rId206" Type="http://schemas.openxmlformats.org/officeDocument/2006/relationships/tags" Target="../tags/tag272.xml"/><Relationship Id="rId227" Type="http://schemas.openxmlformats.org/officeDocument/2006/relationships/tags" Target="../tags/tag293.xml"/><Relationship Id="rId248" Type="http://schemas.openxmlformats.org/officeDocument/2006/relationships/tags" Target="../tags/tag314.xml"/><Relationship Id="rId269" Type="http://schemas.openxmlformats.org/officeDocument/2006/relationships/tags" Target="../tags/tag335.xml"/><Relationship Id="rId12" Type="http://schemas.openxmlformats.org/officeDocument/2006/relationships/tags" Target="../tags/tag78.xml"/><Relationship Id="rId33" Type="http://schemas.openxmlformats.org/officeDocument/2006/relationships/tags" Target="../tags/tag99.xml"/><Relationship Id="rId108" Type="http://schemas.openxmlformats.org/officeDocument/2006/relationships/tags" Target="../tags/tag174.xml"/><Relationship Id="rId129" Type="http://schemas.openxmlformats.org/officeDocument/2006/relationships/tags" Target="../tags/tag195.xml"/><Relationship Id="rId280" Type="http://schemas.openxmlformats.org/officeDocument/2006/relationships/tags" Target="../tags/tag346.xml"/><Relationship Id="rId315" Type="http://schemas.openxmlformats.org/officeDocument/2006/relationships/tags" Target="../tags/tag381.xml"/><Relationship Id="rId336" Type="http://schemas.openxmlformats.org/officeDocument/2006/relationships/tags" Target="../tags/tag402.xml"/><Relationship Id="rId357" Type="http://schemas.openxmlformats.org/officeDocument/2006/relationships/tags" Target="../tags/tag423.xml"/><Relationship Id="rId54" Type="http://schemas.openxmlformats.org/officeDocument/2006/relationships/tags" Target="../tags/tag120.xml"/><Relationship Id="rId75" Type="http://schemas.openxmlformats.org/officeDocument/2006/relationships/tags" Target="../tags/tag141.xml"/><Relationship Id="rId96" Type="http://schemas.openxmlformats.org/officeDocument/2006/relationships/tags" Target="../tags/tag162.xml"/><Relationship Id="rId140" Type="http://schemas.openxmlformats.org/officeDocument/2006/relationships/tags" Target="../tags/tag206.xml"/><Relationship Id="rId161" Type="http://schemas.openxmlformats.org/officeDocument/2006/relationships/tags" Target="../tags/tag227.xml"/><Relationship Id="rId182" Type="http://schemas.openxmlformats.org/officeDocument/2006/relationships/tags" Target="../tags/tag248.xml"/><Relationship Id="rId217" Type="http://schemas.openxmlformats.org/officeDocument/2006/relationships/tags" Target="../tags/tag283.xml"/><Relationship Id="rId378" Type="http://schemas.openxmlformats.org/officeDocument/2006/relationships/tags" Target="../tags/tag444.xml"/><Relationship Id="rId399" Type="http://schemas.openxmlformats.org/officeDocument/2006/relationships/tags" Target="../tags/tag465.xml"/><Relationship Id="rId403" Type="http://schemas.openxmlformats.org/officeDocument/2006/relationships/tags" Target="../tags/tag469.xml"/><Relationship Id="rId6" Type="http://schemas.openxmlformats.org/officeDocument/2006/relationships/tags" Target="../tags/tag72.xml"/><Relationship Id="rId238" Type="http://schemas.openxmlformats.org/officeDocument/2006/relationships/tags" Target="../tags/tag304.xml"/><Relationship Id="rId259" Type="http://schemas.openxmlformats.org/officeDocument/2006/relationships/tags" Target="../tags/tag325.xml"/><Relationship Id="rId23" Type="http://schemas.openxmlformats.org/officeDocument/2006/relationships/tags" Target="../tags/tag89.xml"/><Relationship Id="rId119" Type="http://schemas.openxmlformats.org/officeDocument/2006/relationships/tags" Target="../tags/tag185.xml"/><Relationship Id="rId270" Type="http://schemas.openxmlformats.org/officeDocument/2006/relationships/tags" Target="../tags/tag336.xml"/><Relationship Id="rId291" Type="http://schemas.openxmlformats.org/officeDocument/2006/relationships/tags" Target="../tags/tag357.xml"/><Relationship Id="rId305" Type="http://schemas.openxmlformats.org/officeDocument/2006/relationships/tags" Target="../tags/tag371.xml"/><Relationship Id="rId326" Type="http://schemas.openxmlformats.org/officeDocument/2006/relationships/tags" Target="../tags/tag392.xml"/><Relationship Id="rId347" Type="http://schemas.openxmlformats.org/officeDocument/2006/relationships/tags" Target="../tags/tag413.xml"/><Relationship Id="rId44" Type="http://schemas.openxmlformats.org/officeDocument/2006/relationships/tags" Target="../tags/tag110.xml"/><Relationship Id="rId65" Type="http://schemas.openxmlformats.org/officeDocument/2006/relationships/tags" Target="../tags/tag131.xml"/><Relationship Id="rId86" Type="http://schemas.openxmlformats.org/officeDocument/2006/relationships/tags" Target="../tags/tag152.xml"/><Relationship Id="rId130" Type="http://schemas.openxmlformats.org/officeDocument/2006/relationships/tags" Target="../tags/tag196.xml"/><Relationship Id="rId151" Type="http://schemas.openxmlformats.org/officeDocument/2006/relationships/tags" Target="../tags/tag217.xml"/><Relationship Id="rId368" Type="http://schemas.openxmlformats.org/officeDocument/2006/relationships/tags" Target="../tags/tag434.xml"/><Relationship Id="rId389" Type="http://schemas.openxmlformats.org/officeDocument/2006/relationships/tags" Target="../tags/tag455.xml"/><Relationship Id="rId172" Type="http://schemas.openxmlformats.org/officeDocument/2006/relationships/tags" Target="../tags/tag238.xml"/><Relationship Id="rId193" Type="http://schemas.openxmlformats.org/officeDocument/2006/relationships/tags" Target="../tags/tag259.xml"/><Relationship Id="rId207" Type="http://schemas.openxmlformats.org/officeDocument/2006/relationships/tags" Target="../tags/tag273.xml"/><Relationship Id="rId228" Type="http://schemas.openxmlformats.org/officeDocument/2006/relationships/tags" Target="../tags/tag294.xml"/><Relationship Id="rId249" Type="http://schemas.openxmlformats.org/officeDocument/2006/relationships/tags" Target="../tags/tag315.xml"/><Relationship Id="rId13" Type="http://schemas.openxmlformats.org/officeDocument/2006/relationships/tags" Target="../tags/tag79.xml"/><Relationship Id="rId109" Type="http://schemas.openxmlformats.org/officeDocument/2006/relationships/tags" Target="../tags/tag175.xml"/><Relationship Id="rId260" Type="http://schemas.openxmlformats.org/officeDocument/2006/relationships/tags" Target="../tags/tag326.xml"/><Relationship Id="rId281" Type="http://schemas.openxmlformats.org/officeDocument/2006/relationships/tags" Target="../tags/tag347.xml"/><Relationship Id="rId316" Type="http://schemas.openxmlformats.org/officeDocument/2006/relationships/tags" Target="../tags/tag382.xml"/><Relationship Id="rId337" Type="http://schemas.openxmlformats.org/officeDocument/2006/relationships/tags" Target="../tags/tag403.xml"/><Relationship Id="rId34" Type="http://schemas.openxmlformats.org/officeDocument/2006/relationships/tags" Target="../tags/tag100.xml"/><Relationship Id="rId55" Type="http://schemas.openxmlformats.org/officeDocument/2006/relationships/tags" Target="../tags/tag121.xml"/><Relationship Id="rId76" Type="http://schemas.openxmlformats.org/officeDocument/2006/relationships/tags" Target="../tags/tag142.xml"/><Relationship Id="rId97" Type="http://schemas.openxmlformats.org/officeDocument/2006/relationships/tags" Target="../tags/tag163.xml"/><Relationship Id="rId120" Type="http://schemas.openxmlformats.org/officeDocument/2006/relationships/tags" Target="../tags/tag186.xml"/><Relationship Id="rId141" Type="http://schemas.openxmlformats.org/officeDocument/2006/relationships/tags" Target="../tags/tag207.xml"/><Relationship Id="rId358" Type="http://schemas.openxmlformats.org/officeDocument/2006/relationships/tags" Target="../tags/tag424.xml"/><Relationship Id="rId379" Type="http://schemas.openxmlformats.org/officeDocument/2006/relationships/tags" Target="../tags/tag445.xml"/><Relationship Id="rId7" Type="http://schemas.openxmlformats.org/officeDocument/2006/relationships/tags" Target="../tags/tag73.xml"/><Relationship Id="rId162" Type="http://schemas.openxmlformats.org/officeDocument/2006/relationships/tags" Target="../tags/tag228.xml"/><Relationship Id="rId183" Type="http://schemas.openxmlformats.org/officeDocument/2006/relationships/tags" Target="../tags/tag249.xml"/><Relationship Id="rId218" Type="http://schemas.openxmlformats.org/officeDocument/2006/relationships/tags" Target="../tags/tag284.xml"/><Relationship Id="rId239" Type="http://schemas.openxmlformats.org/officeDocument/2006/relationships/tags" Target="../tags/tag305.xml"/><Relationship Id="rId390" Type="http://schemas.openxmlformats.org/officeDocument/2006/relationships/tags" Target="../tags/tag456.xml"/><Relationship Id="rId404" Type="http://schemas.openxmlformats.org/officeDocument/2006/relationships/tags" Target="../tags/tag470.xml"/><Relationship Id="rId250" Type="http://schemas.openxmlformats.org/officeDocument/2006/relationships/tags" Target="../tags/tag316.xml"/><Relationship Id="rId271" Type="http://schemas.openxmlformats.org/officeDocument/2006/relationships/tags" Target="../tags/tag337.xml"/><Relationship Id="rId292" Type="http://schemas.openxmlformats.org/officeDocument/2006/relationships/tags" Target="../tags/tag358.xml"/><Relationship Id="rId306" Type="http://schemas.openxmlformats.org/officeDocument/2006/relationships/tags" Target="../tags/tag372.xml"/><Relationship Id="rId24" Type="http://schemas.openxmlformats.org/officeDocument/2006/relationships/tags" Target="../tags/tag90.xml"/><Relationship Id="rId45" Type="http://schemas.openxmlformats.org/officeDocument/2006/relationships/tags" Target="../tags/tag111.xml"/><Relationship Id="rId66" Type="http://schemas.openxmlformats.org/officeDocument/2006/relationships/tags" Target="../tags/tag132.xml"/><Relationship Id="rId87" Type="http://schemas.openxmlformats.org/officeDocument/2006/relationships/tags" Target="../tags/tag153.xml"/><Relationship Id="rId110" Type="http://schemas.openxmlformats.org/officeDocument/2006/relationships/tags" Target="../tags/tag176.xml"/><Relationship Id="rId131" Type="http://schemas.openxmlformats.org/officeDocument/2006/relationships/tags" Target="../tags/tag197.xml"/><Relationship Id="rId327" Type="http://schemas.openxmlformats.org/officeDocument/2006/relationships/tags" Target="../tags/tag393.xml"/><Relationship Id="rId348" Type="http://schemas.openxmlformats.org/officeDocument/2006/relationships/tags" Target="../tags/tag414.xml"/><Relationship Id="rId369" Type="http://schemas.openxmlformats.org/officeDocument/2006/relationships/tags" Target="../tags/tag435.xml"/><Relationship Id="rId152" Type="http://schemas.openxmlformats.org/officeDocument/2006/relationships/tags" Target="../tags/tag218.xml"/><Relationship Id="rId173" Type="http://schemas.openxmlformats.org/officeDocument/2006/relationships/tags" Target="../tags/tag239.xml"/><Relationship Id="rId194" Type="http://schemas.openxmlformats.org/officeDocument/2006/relationships/tags" Target="../tags/tag260.xml"/><Relationship Id="rId208" Type="http://schemas.openxmlformats.org/officeDocument/2006/relationships/tags" Target="../tags/tag274.xml"/><Relationship Id="rId229" Type="http://schemas.openxmlformats.org/officeDocument/2006/relationships/tags" Target="../tags/tag295.xml"/><Relationship Id="rId380" Type="http://schemas.openxmlformats.org/officeDocument/2006/relationships/tags" Target="../tags/tag446.xml"/><Relationship Id="rId240" Type="http://schemas.openxmlformats.org/officeDocument/2006/relationships/tags" Target="../tags/tag306.xml"/><Relationship Id="rId261" Type="http://schemas.openxmlformats.org/officeDocument/2006/relationships/tags" Target="../tags/tag327.xml"/><Relationship Id="rId14" Type="http://schemas.openxmlformats.org/officeDocument/2006/relationships/tags" Target="../tags/tag80.xml"/><Relationship Id="rId35" Type="http://schemas.openxmlformats.org/officeDocument/2006/relationships/tags" Target="../tags/tag101.xml"/><Relationship Id="rId56" Type="http://schemas.openxmlformats.org/officeDocument/2006/relationships/tags" Target="../tags/tag122.xml"/><Relationship Id="rId77" Type="http://schemas.openxmlformats.org/officeDocument/2006/relationships/tags" Target="../tags/tag143.xml"/><Relationship Id="rId100" Type="http://schemas.openxmlformats.org/officeDocument/2006/relationships/tags" Target="../tags/tag166.xml"/><Relationship Id="rId282" Type="http://schemas.openxmlformats.org/officeDocument/2006/relationships/tags" Target="../tags/tag348.xml"/><Relationship Id="rId317" Type="http://schemas.openxmlformats.org/officeDocument/2006/relationships/tags" Target="../tags/tag383.xml"/><Relationship Id="rId338" Type="http://schemas.openxmlformats.org/officeDocument/2006/relationships/tags" Target="../tags/tag404.xml"/><Relationship Id="rId359" Type="http://schemas.openxmlformats.org/officeDocument/2006/relationships/tags" Target="../tags/tag425.xml"/><Relationship Id="rId8" Type="http://schemas.openxmlformats.org/officeDocument/2006/relationships/tags" Target="../tags/tag74.xml"/><Relationship Id="rId98" Type="http://schemas.openxmlformats.org/officeDocument/2006/relationships/tags" Target="../tags/tag164.xml"/><Relationship Id="rId121" Type="http://schemas.openxmlformats.org/officeDocument/2006/relationships/tags" Target="../tags/tag187.xml"/><Relationship Id="rId142" Type="http://schemas.openxmlformats.org/officeDocument/2006/relationships/tags" Target="../tags/tag208.xml"/><Relationship Id="rId163" Type="http://schemas.openxmlformats.org/officeDocument/2006/relationships/tags" Target="../tags/tag229.xml"/><Relationship Id="rId184" Type="http://schemas.openxmlformats.org/officeDocument/2006/relationships/tags" Target="../tags/tag250.xml"/><Relationship Id="rId219" Type="http://schemas.openxmlformats.org/officeDocument/2006/relationships/tags" Target="../tags/tag285.xml"/><Relationship Id="rId370" Type="http://schemas.openxmlformats.org/officeDocument/2006/relationships/tags" Target="../tags/tag436.xml"/><Relationship Id="rId391" Type="http://schemas.openxmlformats.org/officeDocument/2006/relationships/tags" Target="../tags/tag457.xml"/><Relationship Id="rId405" Type="http://schemas.openxmlformats.org/officeDocument/2006/relationships/tags" Target="../tags/tag471.xml"/><Relationship Id="rId230" Type="http://schemas.openxmlformats.org/officeDocument/2006/relationships/tags" Target="../tags/tag296.xml"/><Relationship Id="rId251" Type="http://schemas.openxmlformats.org/officeDocument/2006/relationships/tags" Target="../tags/tag317.xml"/><Relationship Id="rId25" Type="http://schemas.openxmlformats.org/officeDocument/2006/relationships/tags" Target="../tags/tag91.xml"/><Relationship Id="rId46" Type="http://schemas.openxmlformats.org/officeDocument/2006/relationships/tags" Target="../tags/tag112.xml"/><Relationship Id="rId67" Type="http://schemas.openxmlformats.org/officeDocument/2006/relationships/tags" Target="../tags/tag133.xml"/><Relationship Id="rId272" Type="http://schemas.openxmlformats.org/officeDocument/2006/relationships/tags" Target="../tags/tag338.xml"/><Relationship Id="rId293" Type="http://schemas.openxmlformats.org/officeDocument/2006/relationships/tags" Target="../tags/tag359.xml"/><Relationship Id="rId307" Type="http://schemas.openxmlformats.org/officeDocument/2006/relationships/tags" Target="../tags/tag373.xml"/><Relationship Id="rId328" Type="http://schemas.openxmlformats.org/officeDocument/2006/relationships/tags" Target="../tags/tag394.xml"/><Relationship Id="rId349" Type="http://schemas.openxmlformats.org/officeDocument/2006/relationships/tags" Target="../tags/tag415.xml"/><Relationship Id="rId88" Type="http://schemas.openxmlformats.org/officeDocument/2006/relationships/tags" Target="../tags/tag154.xml"/><Relationship Id="rId111" Type="http://schemas.openxmlformats.org/officeDocument/2006/relationships/tags" Target="../tags/tag177.xml"/><Relationship Id="rId132" Type="http://schemas.openxmlformats.org/officeDocument/2006/relationships/tags" Target="../tags/tag198.xml"/><Relationship Id="rId153" Type="http://schemas.openxmlformats.org/officeDocument/2006/relationships/tags" Target="../tags/tag219.xml"/><Relationship Id="rId174" Type="http://schemas.openxmlformats.org/officeDocument/2006/relationships/tags" Target="../tags/tag240.xml"/><Relationship Id="rId195" Type="http://schemas.openxmlformats.org/officeDocument/2006/relationships/tags" Target="../tags/tag261.xml"/><Relationship Id="rId209" Type="http://schemas.openxmlformats.org/officeDocument/2006/relationships/tags" Target="../tags/tag275.xml"/><Relationship Id="rId360" Type="http://schemas.openxmlformats.org/officeDocument/2006/relationships/tags" Target="../tags/tag426.xml"/><Relationship Id="rId381" Type="http://schemas.openxmlformats.org/officeDocument/2006/relationships/tags" Target="../tags/tag447.xml"/><Relationship Id="rId220" Type="http://schemas.openxmlformats.org/officeDocument/2006/relationships/tags" Target="../tags/tag286.xml"/><Relationship Id="rId241" Type="http://schemas.openxmlformats.org/officeDocument/2006/relationships/tags" Target="../tags/tag307.xml"/><Relationship Id="rId15" Type="http://schemas.openxmlformats.org/officeDocument/2006/relationships/tags" Target="../tags/tag81.xml"/><Relationship Id="rId36" Type="http://schemas.openxmlformats.org/officeDocument/2006/relationships/tags" Target="../tags/tag102.xml"/><Relationship Id="rId57" Type="http://schemas.openxmlformats.org/officeDocument/2006/relationships/tags" Target="../tags/tag123.xml"/><Relationship Id="rId262" Type="http://schemas.openxmlformats.org/officeDocument/2006/relationships/tags" Target="../tags/tag328.xml"/><Relationship Id="rId283" Type="http://schemas.openxmlformats.org/officeDocument/2006/relationships/tags" Target="../tags/tag349.xml"/><Relationship Id="rId318" Type="http://schemas.openxmlformats.org/officeDocument/2006/relationships/tags" Target="../tags/tag384.xml"/><Relationship Id="rId339" Type="http://schemas.openxmlformats.org/officeDocument/2006/relationships/tags" Target="../tags/tag405.xml"/><Relationship Id="rId78" Type="http://schemas.openxmlformats.org/officeDocument/2006/relationships/tags" Target="../tags/tag144.xml"/><Relationship Id="rId99" Type="http://schemas.openxmlformats.org/officeDocument/2006/relationships/tags" Target="../tags/tag165.xml"/><Relationship Id="rId101" Type="http://schemas.openxmlformats.org/officeDocument/2006/relationships/tags" Target="../tags/tag167.xml"/><Relationship Id="rId122" Type="http://schemas.openxmlformats.org/officeDocument/2006/relationships/tags" Target="../tags/tag188.xml"/><Relationship Id="rId143" Type="http://schemas.openxmlformats.org/officeDocument/2006/relationships/tags" Target="../tags/tag209.xml"/><Relationship Id="rId164" Type="http://schemas.openxmlformats.org/officeDocument/2006/relationships/tags" Target="../tags/tag230.xml"/><Relationship Id="rId185" Type="http://schemas.openxmlformats.org/officeDocument/2006/relationships/tags" Target="../tags/tag251.xml"/><Relationship Id="rId350" Type="http://schemas.openxmlformats.org/officeDocument/2006/relationships/tags" Target="../tags/tag416.xml"/><Relationship Id="rId371" Type="http://schemas.openxmlformats.org/officeDocument/2006/relationships/tags" Target="../tags/tag437.xml"/><Relationship Id="rId406" Type="http://schemas.openxmlformats.org/officeDocument/2006/relationships/tags" Target="../tags/tag472.xml"/><Relationship Id="rId9" Type="http://schemas.openxmlformats.org/officeDocument/2006/relationships/tags" Target="../tags/tag75.xml"/><Relationship Id="rId210" Type="http://schemas.openxmlformats.org/officeDocument/2006/relationships/tags" Target="../tags/tag276.xml"/><Relationship Id="rId392" Type="http://schemas.openxmlformats.org/officeDocument/2006/relationships/tags" Target="../tags/tag458.xml"/><Relationship Id="rId26" Type="http://schemas.openxmlformats.org/officeDocument/2006/relationships/tags" Target="../tags/tag92.xml"/><Relationship Id="rId231" Type="http://schemas.openxmlformats.org/officeDocument/2006/relationships/tags" Target="../tags/tag297.xml"/><Relationship Id="rId252" Type="http://schemas.openxmlformats.org/officeDocument/2006/relationships/tags" Target="../tags/tag318.xml"/><Relationship Id="rId273" Type="http://schemas.openxmlformats.org/officeDocument/2006/relationships/tags" Target="../tags/tag339.xml"/><Relationship Id="rId294" Type="http://schemas.openxmlformats.org/officeDocument/2006/relationships/tags" Target="../tags/tag360.xml"/><Relationship Id="rId308" Type="http://schemas.openxmlformats.org/officeDocument/2006/relationships/tags" Target="../tags/tag374.xml"/><Relationship Id="rId329" Type="http://schemas.openxmlformats.org/officeDocument/2006/relationships/tags" Target="../tags/tag395.xml"/><Relationship Id="rId47" Type="http://schemas.openxmlformats.org/officeDocument/2006/relationships/tags" Target="../tags/tag113.xml"/><Relationship Id="rId68" Type="http://schemas.openxmlformats.org/officeDocument/2006/relationships/tags" Target="../tags/tag134.xml"/><Relationship Id="rId89" Type="http://schemas.openxmlformats.org/officeDocument/2006/relationships/tags" Target="../tags/tag155.xml"/><Relationship Id="rId112" Type="http://schemas.openxmlformats.org/officeDocument/2006/relationships/tags" Target="../tags/tag178.xml"/><Relationship Id="rId133" Type="http://schemas.openxmlformats.org/officeDocument/2006/relationships/tags" Target="../tags/tag199.xml"/><Relationship Id="rId154" Type="http://schemas.openxmlformats.org/officeDocument/2006/relationships/tags" Target="../tags/tag220.xml"/><Relationship Id="rId175" Type="http://schemas.openxmlformats.org/officeDocument/2006/relationships/tags" Target="../tags/tag241.xml"/><Relationship Id="rId340" Type="http://schemas.openxmlformats.org/officeDocument/2006/relationships/tags" Target="../tags/tag406.xml"/><Relationship Id="rId361" Type="http://schemas.openxmlformats.org/officeDocument/2006/relationships/tags" Target="../tags/tag427.xml"/><Relationship Id="rId196" Type="http://schemas.openxmlformats.org/officeDocument/2006/relationships/tags" Target="../tags/tag262.xml"/><Relationship Id="rId200" Type="http://schemas.openxmlformats.org/officeDocument/2006/relationships/tags" Target="../tags/tag266.xml"/><Relationship Id="rId382" Type="http://schemas.openxmlformats.org/officeDocument/2006/relationships/tags" Target="../tags/tag448.xml"/><Relationship Id="rId16" Type="http://schemas.openxmlformats.org/officeDocument/2006/relationships/tags" Target="../tags/tag82.xml"/><Relationship Id="rId221" Type="http://schemas.openxmlformats.org/officeDocument/2006/relationships/tags" Target="../tags/tag287.xml"/><Relationship Id="rId242" Type="http://schemas.openxmlformats.org/officeDocument/2006/relationships/tags" Target="../tags/tag308.xml"/><Relationship Id="rId263" Type="http://schemas.openxmlformats.org/officeDocument/2006/relationships/tags" Target="../tags/tag329.xml"/><Relationship Id="rId284" Type="http://schemas.openxmlformats.org/officeDocument/2006/relationships/tags" Target="../tags/tag350.xml"/><Relationship Id="rId319" Type="http://schemas.openxmlformats.org/officeDocument/2006/relationships/tags" Target="../tags/tag385.xml"/><Relationship Id="rId37" Type="http://schemas.openxmlformats.org/officeDocument/2006/relationships/tags" Target="../tags/tag103.xml"/><Relationship Id="rId58" Type="http://schemas.openxmlformats.org/officeDocument/2006/relationships/tags" Target="../tags/tag124.xml"/><Relationship Id="rId79" Type="http://schemas.openxmlformats.org/officeDocument/2006/relationships/tags" Target="../tags/tag145.xml"/><Relationship Id="rId102" Type="http://schemas.openxmlformats.org/officeDocument/2006/relationships/tags" Target="../tags/tag168.xml"/><Relationship Id="rId123" Type="http://schemas.openxmlformats.org/officeDocument/2006/relationships/tags" Target="../tags/tag189.xml"/><Relationship Id="rId144" Type="http://schemas.openxmlformats.org/officeDocument/2006/relationships/tags" Target="../tags/tag210.xml"/><Relationship Id="rId330" Type="http://schemas.openxmlformats.org/officeDocument/2006/relationships/tags" Target="../tags/tag396.xml"/><Relationship Id="rId90" Type="http://schemas.openxmlformats.org/officeDocument/2006/relationships/tags" Target="../tags/tag156.xml"/><Relationship Id="rId165" Type="http://schemas.openxmlformats.org/officeDocument/2006/relationships/tags" Target="../tags/tag231.xml"/><Relationship Id="rId186" Type="http://schemas.openxmlformats.org/officeDocument/2006/relationships/tags" Target="../tags/tag252.xml"/><Relationship Id="rId351" Type="http://schemas.openxmlformats.org/officeDocument/2006/relationships/tags" Target="../tags/tag417.xml"/><Relationship Id="rId372" Type="http://schemas.openxmlformats.org/officeDocument/2006/relationships/tags" Target="../tags/tag438.xml"/><Relationship Id="rId393" Type="http://schemas.openxmlformats.org/officeDocument/2006/relationships/tags" Target="../tags/tag459.xml"/><Relationship Id="rId407" Type="http://schemas.openxmlformats.org/officeDocument/2006/relationships/tags" Target="../tags/tag473.xml"/><Relationship Id="rId211" Type="http://schemas.openxmlformats.org/officeDocument/2006/relationships/tags" Target="../tags/tag277.xml"/><Relationship Id="rId232" Type="http://schemas.openxmlformats.org/officeDocument/2006/relationships/tags" Target="../tags/tag298.xml"/><Relationship Id="rId253" Type="http://schemas.openxmlformats.org/officeDocument/2006/relationships/tags" Target="../tags/tag319.xml"/><Relationship Id="rId274" Type="http://schemas.openxmlformats.org/officeDocument/2006/relationships/tags" Target="../tags/tag340.xml"/><Relationship Id="rId295" Type="http://schemas.openxmlformats.org/officeDocument/2006/relationships/tags" Target="../tags/tag361.xml"/><Relationship Id="rId309" Type="http://schemas.openxmlformats.org/officeDocument/2006/relationships/tags" Target="../tags/tag375.xml"/><Relationship Id="rId27" Type="http://schemas.openxmlformats.org/officeDocument/2006/relationships/tags" Target="../tags/tag93.xml"/><Relationship Id="rId48" Type="http://schemas.openxmlformats.org/officeDocument/2006/relationships/tags" Target="../tags/tag114.xml"/><Relationship Id="rId69" Type="http://schemas.openxmlformats.org/officeDocument/2006/relationships/tags" Target="../tags/tag135.xml"/><Relationship Id="rId113" Type="http://schemas.openxmlformats.org/officeDocument/2006/relationships/tags" Target="../tags/tag179.xml"/><Relationship Id="rId134" Type="http://schemas.openxmlformats.org/officeDocument/2006/relationships/tags" Target="../tags/tag200.xml"/><Relationship Id="rId320" Type="http://schemas.openxmlformats.org/officeDocument/2006/relationships/tags" Target="../tags/tag386.xml"/><Relationship Id="rId80" Type="http://schemas.openxmlformats.org/officeDocument/2006/relationships/tags" Target="../tags/tag146.xml"/><Relationship Id="rId155" Type="http://schemas.openxmlformats.org/officeDocument/2006/relationships/tags" Target="../tags/tag221.xml"/><Relationship Id="rId176" Type="http://schemas.openxmlformats.org/officeDocument/2006/relationships/tags" Target="../tags/tag242.xml"/><Relationship Id="rId197" Type="http://schemas.openxmlformats.org/officeDocument/2006/relationships/tags" Target="../tags/tag263.xml"/><Relationship Id="rId341" Type="http://schemas.openxmlformats.org/officeDocument/2006/relationships/tags" Target="../tags/tag407.xml"/><Relationship Id="rId362" Type="http://schemas.openxmlformats.org/officeDocument/2006/relationships/tags" Target="../tags/tag428.xml"/><Relationship Id="rId383" Type="http://schemas.openxmlformats.org/officeDocument/2006/relationships/tags" Target="../tags/tag449.xml"/><Relationship Id="rId201" Type="http://schemas.openxmlformats.org/officeDocument/2006/relationships/tags" Target="../tags/tag267.xml"/><Relationship Id="rId222" Type="http://schemas.openxmlformats.org/officeDocument/2006/relationships/tags" Target="../tags/tag288.xml"/><Relationship Id="rId243" Type="http://schemas.openxmlformats.org/officeDocument/2006/relationships/tags" Target="../tags/tag309.xml"/><Relationship Id="rId264" Type="http://schemas.openxmlformats.org/officeDocument/2006/relationships/tags" Target="../tags/tag330.xml"/><Relationship Id="rId285" Type="http://schemas.openxmlformats.org/officeDocument/2006/relationships/tags" Target="../tags/tag351.xml"/><Relationship Id="rId17" Type="http://schemas.openxmlformats.org/officeDocument/2006/relationships/tags" Target="../tags/tag83.xml"/><Relationship Id="rId38" Type="http://schemas.openxmlformats.org/officeDocument/2006/relationships/tags" Target="../tags/tag104.xml"/><Relationship Id="rId59" Type="http://schemas.openxmlformats.org/officeDocument/2006/relationships/tags" Target="../tags/tag125.xml"/><Relationship Id="rId103" Type="http://schemas.openxmlformats.org/officeDocument/2006/relationships/tags" Target="../tags/tag169.xml"/><Relationship Id="rId124" Type="http://schemas.openxmlformats.org/officeDocument/2006/relationships/tags" Target="../tags/tag190.xml"/><Relationship Id="rId310" Type="http://schemas.openxmlformats.org/officeDocument/2006/relationships/tags" Target="../tags/tag376.xml"/><Relationship Id="rId70" Type="http://schemas.openxmlformats.org/officeDocument/2006/relationships/tags" Target="../tags/tag136.xml"/><Relationship Id="rId91" Type="http://schemas.openxmlformats.org/officeDocument/2006/relationships/tags" Target="../tags/tag157.xml"/><Relationship Id="rId145" Type="http://schemas.openxmlformats.org/officeDocument/2006/relationships/tags" Target="../tags/tag211.xml"/><Relationship Id="rId166" Type="http://schemas.openxmlformats.org/officeDocument/2006/relationships/tags" Target="../tags/tag232.xml"/><Relationship Id="rId187" Type="http://schemas.openxmlformats.org/officeDocument/2006/relationships/tags" Target="../tags/tag253.xml"/><Relationship Id="rId331" Type="http://schemas.openxmlformats.org/officeDocument/2006/relationships/tags" Target="../tags/tag397.xml"/><Relationship Id="rId352" Type="http://schemas.openxmlformats.org/officeDocument/2006/relationships/tags" Target="../tags/tag418.xml"/><Relationship Id="rId373" Type="http://schemas.openxmlformats.org/officeDocument/2006/relationships/tags" Target="../tags/tag439.xml"/><Relationship Id="rId394" Type="http://schemas.openxmlformats.org/officeDocument/2006/relationships/tags" Target="../tags/tag460.xml"/><Relationship Id="rId408" Type="http://schemas.openxmlformats.org/officeDocument/2006/relationships/tags" Target="../tags/tag474.xml"/><Relationship Id="rId1" Type="http://schemas.openxmlformats.org/officeDocument/2006/relationships/tags" Target="../tags/tag67.xml"/><Relationship Id="rId212" Type="http://schemas.openxmlformats.org/officeDocument/2006/relationships/tags" Target="../tags/tag278.xml"/><Relationship Id="rId233" Type="http://schemas.openxmlformats.org/officeDocument/2006/relationships/tags" Target="../tags/tag299.xml"/><Relationship Id="rId254" Type="http://schemas.openxmlformats.org/officeDocument/2006/relationships/tags" Target="../tags/tag320.xml"/><Relationship Id="rId28" Type="http://schemas.openxmlformats.org/officeDocument/2006/relationships/tags" Target="../tags/tag94.xml"/><Relationship Id="rId49" Type="http://schemas.openxmlformats.org/officeDocument/2006/relationships/tags" Target="../tags/tag115.xml"/><Relationship Id="rId114" Type="http://schemas.openxmlformats.org/officeDocument/2006/relationships/tags" Target="../tags/tag180.xml"/><Relationship Id="rId275" Type="http://schemas.openxmlformats.org/officeDocument/2006/relationships/tags" Target="../tags/tag341.xml"/><Relationship Id="rId296" Type="http://schemas.openxmlformats.org/officeDocument/2006/relationships/tags" Target="../tags/tag362.xml"/><Relationship Id="rId300" Type="http://schemas.openxmlformats.org/officeDocument/2006/relationships/tags" Target="../tags/tag366.xml"/><Relationship Id="rId60" Type="http://schemas.openxmlformats.org/officeDocument/2006/relationships/tags" Target="../tags/tag126.xml"/><Relationship Id="rId81" Type="http://schemas.openxmlformats.org/officeDocument/2006/relationships/tags" Target="../tags/tag147.xml"/><Relationship Id="rId135" Type="http://schemas.openxmlformats.org/officeDocument/2006/relationships/tags" Target="../tags/tag201.xml"/><Relationship Id="rId156" Type="http://schemas.openxmlformats.org/officeDocument/2006/relationships/tags" Target="../tags/tag222.xml"/><Relationship Id="rId177" Type="http://schemas.openxmlformats.org/officeDocument/2006/relationships/tags" Target="../tags/tag243.xml"/><Relationship Id="rId198" Type="http://schemas.openxmlformats.org/officeDocument/2006/relationships/tags" Target="../tags/tag264.xml"/><Relationship Id="rId321" Type="http://schemas.openxmlformats.org/officeDocument/2006/relationships/tags" Target="../tags/tag387.xml"/><Relationship Id="rId342" Type="http://schemas.openxmlformats.org/officeDocument/2006/relationships/tags" Target="../tags/tag408.xml"/><Relationship Id="rId363" Type="http://schemas.openxmlformats.org/officeDocument/2006/relationships/tags" Target="../tags/tag429.xml"/><Relationship Id="rId384" Type="http://schemas.openxmlformats.org/officeDocument/2006/relationships/tags" Target="../tags/tag450.xml"/><Relationship Id="rId202" Type="http://schemas.openxmlformats.org/officeDocument/2006/relationships/tags" Target="../tags/tag268.xml"/><Relationship Id="rId223" Type="http://schemas.openxmlformats.org/officeDocument/2006/relationships/tags" Target="../tags/tag289.xml"/><Relationship Id="rId244" Type="http://schemas.openxmlformats.org/officeDocument/2006/relationships/tags" Target="../tags/tag310.xml"/><Relationship Id="rId18" Type="http://schemas.openxmlformats.org/officeDocument/2006/relationships/tags" Target="../tags/tag84.xml"/><Relationship Id="rId39" Type="http://schemas.openxmlformats.org/officeDocument/2006/relationships/tags" Target="../tags/tag105.xml"/><Relationship Id="rId265" Type="http://schemas.openxmlformats.org/officeDocument/2006/relationships/tags" Target="../tags/tag331.xml"/><Relationship Id="rId286" Type="http://schemas.openxmlformats.org/officeDocument/2006/relationships/tags" Target="../tags/tag352.xml"/><Relationship Id="rId50" Type="http://schemas.openxmlformats.org/officeDocument/2006/relationships/tags" Target="../tags/tag116.xml"/><Relationship Id="rId104" Type="http://schemas.openxmlformats.org/officeDocument/2006/relationships/tags" Target="../tags/tag170.xml"/><Relationship Id="rId125" Type="http://schemas.openxmlformats.org/officeDocument/2006/relationships/tags" Target="../tags/tag191.xml"/><Relationship Id="rId146" Type="http://schemas.openxmlformats.org/officeDocument/2006/relationships/tags" Target="../tags/tag212.xml"/><Relationship Id="rId167" Type="http://schemas.openxmlformats.org/officeDocument/2006/relationships/tags" Target="../tags/tag233.xml"/><Relationship Id="rId188" Type="http://schemas.openxmlformats.org/officeDocument/2006/relationships/tags" Target="../tags/tag254.xml"/><Relationship Id="rId311" Type="http://schemas.openxmlformats.org/officeDocument/2006/relationships/tags" Target="../tags/tag377.xml"/><Relationship Id="rId332" Type="http://schemas.openxmlformats.org/officeDocument/2006/relationships/tags" Target="../tags/tag398.xml"/><Relationship Id="rId353" Type="http://schemas.openxmlformats.org/officeDocument/2006/relationships/tags" Target="../tags/tag419.xml"/><Relationship Id="rId374" Type="http://schemas.openxmlformats.org/officeDocument/2006/relationships/tags" Target="../tags/tag440.xml"/><Relationship Id="rId395" Type="http://schemas.openxmlformats.org/officeDocument/2006/relationships/tags" Target="../tags/tag461.xml"/><Relationship Id="rId409" Type="http://schemas.openxmlformats.org/officeDocument/2006/relationships/tags" Target="../tags/tag475.xml"/><Relationship Id="rId71" Type="http://schemas.openxmlformats.org/officeDocument/2006/relationships/tags" Target="../tags/tag137.xml"/><Relationship Id="rId92" Type="http://schemas.openxmlformats.org/officeDocument/2006/relationships/tags" Target="../tags/tag158.xml"/><Relationship Id="rId213" Type="http://schemas.openxmlformats.org/officeDocument/2006/relationships/tags" Target="../tags/tag279.xml"/><Relationship Id="rId234" Type="http://schemas.openxmlformats.org/officeDocument/2006/relationships/tags" Target="../tags/tag300.xml"/><Relationship Id="rId2" Type="http://schemas.openxmlformats.org/officeDocument/2006/relationships/tags" Target="../tags/tag68.xml"/><Relationship Id="rId29" Type="http://schemas.openxmlformats.org/officeDocument/2006/relationships/tags" Target="../tags/tag95.xml"/><Relationship Id="rId255" Type="http://schemas.openxmlformats.org/officeDocument/2006/relationships/tags" Target="../tags/tag321.xml"/><Relationship Id="rId276" Type="http://schemas.openxmlformats.org/officeDocument/2006/relationships/tags" Target="../tags/tag342.xml"/><Relationship Id="rId297" Type="http://schemas.openxmlformats.org/officeDocument/2006/relationships/tags" Target="../tags/tag363.xml"/><Relationship Id="rId40" Type="http://schemas.openxmlformats.org/officeDocument/2006/relationships/tags" Target="../tags/tag106.xml"/><Relationship Id="rId115" Type="http://schemas.openxmlformats.org/officeDocument/2006/relationships/tags" Target="../tags/tag181.xml"/><Relationship Id="rId136" Type="http://schemas.openxmlformats.org/officeDocument/2006/relationships/tags" Target="../tags/tag202.xml"/><Relationship Id="rId157" Type="http://schemas.openxmlformats.org/officeDocument/2006/relationships/tags" Target="../tags/tag223.xml"/><Relationship Id="rId178" Type="http://schemas.openxmlformats.org/officeDocument/2006/relationships/tags" Target="../tags/tag244.xml"/><Relationship Id="rId301" Type="http://schemas.openxmlformats.org/officeDocument/2006/relationships/tags" Target="../tags/tag367.xml"/><Relationship Id="rId322" Type="http://schemas.openxmlformats.org/officeDocument/2006/relationships/tags" Target="../tags/tag388.xml"/><Relationship Id="rId343" Type="http://schemas.openxmlformats.org/officeDocument/2006/relationships/tags" Target="../tags/tag409.xml"/><Relationship Id="rId364" Type="http://schemas.openxmlformats.org/officeDocument/2006/relationships/tags" Target="../tags/tag430.xml"/><Relationship Id="rId61" Type="http://schemas.openxmlformats.org/officeDocument/2006/relationships/tags" Target="../tags/tag127.xml"/><Relationship Id="rId82" Type="http://schemas.openxmlformats.org/officeDocument/2006/relationships/tags" Target="../tags/tag148.xml"/><Relationship Id="rId199" Type="http://schemas.openxmlformats.org/officeDocument/2006/relationships/tags" Target="../tags/tag265.xml"/><Relationship Id="rId203" Type="http://schemas.openxmlformats.org/officeDocument/2006/relationships/tags" Target="../tags/tag269.xml"/><Relationship Id="rId385" Type="http://schemas.openxmlformats.org/officeDocument/2006/relationships/tags" Target="../tags/tag451.xml"/><Relationship Id="rId19" Type="http://schemas.openxmlformats.org/officeDocument/2006/relationships/tags" Target="../tags/tag85.xml"/><Relationship Id="rId224" Type="http://schemas.openxmlformats.org/officeDocument/2006/relationships/tags" Target="../tags/tag290.xml"/><Relationship Id="rId245" Type="http://schemas.openxmlformats.org/officeDocument/2006/relationships/tags" Target="../tags/tag311.xml"/><Relationship Id="rId266" Type="http://schemas.openxmlformats.org/officeDocument/2006/relationships/tags" Target="../tags/tag332.xml"/><Relationship Id="rId287" Type="http://schemas.openxmlformats.org/officeDocument/2006/relationships/tags" Target="../tags/tag353.xml"/><Relationship Id="rId410" Type="http://schemas.openxmlformats.org/officeDocument/2006/relationships/tags" Target="../tags/tag476.xml"/><Relationship Id="rId30" Type="http://schemas.openxmlformats.org/officeDocument/2006/relationships/tags" Target="../tags/tag96.xml"/><Relationship Id="rId105" Type="http://schemas.openxmlformats.org/officeDocument/2006/relationships/tags" Target="../tags/tag171.xml"/><Relationship Id="rId126" Type="http://schemas.openxmlformats.org/officeDocument/2006/relationships/tags" Target="../tags/tag192.xml"/><Relationship Id="rId147" Type="http://schemas.openxmlformats.org/officeDocument/2006/relationships/tags" Target="../tags/tag213.xml"/><Relationship Id="rId168" Type="http://schemas.openxmlformats.org/officeDocument/2006/relationships/tags" Target="../tags/tag234.xml"/><Relationship Id="rId312" Type="http://schemas.openxmlformats.org/officeDocument/2006/relationships/tags" Target="../tags/tag378.xml"/><Relationship Id="rId333" Type="http://schemas.openxmlformats.org/officeDocument/2006/relationships/tags" Target="../tags/tag399.xml"/><Relationship Id="rId354" Type="http://schemas.openxmlformats.org/officeDocument/2006/relationships/tags" Target="../tags/tag420.xml"/><Relationship Id="rId51" Type="http://schemas.openxmlformats.org/officeDocument/2006/relationships/tags" Target="../tags/tag117.xml"/><Relationship Id="rId72" Type="http://schemas.openxmlformats.org/officeDocument/2006/relationships/tags" Target="../tags/tag138.xml"/><Relationship Id="rId93" Type="http://schemas.openxmlformats.org/officeDocument/2006/relationships/tags" Target="../tags/tag159.xml"/><Relationship Id="rId189" Type="http://schemas.openxmlformats.org/officeDocument/2006/relationships/tags" Target="../tags/tag255.xml"/><Relationship Id="rId375" Type="http://schemas.openxmlformats.org/officeDocument/2006/relationships/tags" Target="../tags/tag441.xml"/><Relationship Id="rId396" Type="http://schemas.openxmlformats.org/officeDocument/2006/relationships/tags" Target="../tags/tag462.xml"/><Relationship Id="rId3" Type="http://schemas.openxmlformats.org/officeDocument/2006/relationships/tags" Target="../tags/tag69.xml"/><Relationship Id="rId214" Type="http://schemas.openxmlformats.org/officeDocument/2006/relationships/tags" Target="../tags/tag280.xml"/><Relationship Id="rId235" Type="http://schemas.openxmlformats.org/officeDocument/2006/relationships/tags" Target="../tags/tag301.xml"/><Relationship Id="rId256" Type="http://schemas.openxmlformats.org/officeDocument/2006/relationships/tags" Target="../tags/tag322.xml"/><Relationship Id="rId277" Type="http://schemas.openxmlformats.org/officeDocument/2006/relationships/tags" Target="../tags/tag343.xml"/><Relationship Id="rId298" Type="http://schemas.openxmlformats.org/officeDocument/2006/relationships/tags" Target="../tags/tag364.xml"/><Relationship Id="rId400" Type="http://schemas.openxmlformats.org/officeDocument/2006/relationships/tags" Target="../tags/tag466.xml"/><Relationship Id="rId116" Type="http://schemas.openxmlformats.org/officeDocument/2006/relationships/tags" Target="../tags/tag182.xml"/><Relationship Id="rId137" Type="http://schemas.openxmlformats.org/officeDocument/2006/relationships/tags" Target="../tags/tag203.xml"/><Relationship Id="rId158" Type="http://schemas.openxmlformats.org/officeDocument/2006/relationships/tags" Target="../tags/tag224.xml"/><Relationship Id="rId302" Type="http://schemas.openxmlformats.org/officeDocument/2006/relationships/tags" Target="../tags/tag368.xml"/><Relationship Id="rId323" Type="http://schemas.openxmlformats.org/officeDocument/2006/relationships/tags" Target="../tags/tag389.xml"/><Relationship Id="rId344" Type="http://schemas.openxmlformats.org/officeDocument/2006/relationships/tags" Target="../tags/tag410.xml"/><Relationship Id="rId20" Type="http://schemas.openxmlformats.org/officeDocument/2006/relationships/tags" Target="../tags/tag86.xml"/><Relationship Id="rId41" Type="http://schemas.openxmlformats.org/officeDocument/2006/relationships/tags" Target="../tags/tag107.xml"/><Relationship Id="rId62" Type="http://schemas.openxmlformats.org/officeDocument/2006/relationships/tags" Target="../tags/tag128.xml"/><Relationship Id="rId83" Type="http://schemas.openxmlformats.org/officeDocument/2006/relationships/tags" Target="../tags/tag149.xml"/><Relationship Id="rId179" Type="http://schemas.openxmlformats.org/officeDocument/2006/relationships/tags" Target="../tags/tag245.xml"/><Relationship Id="rId365" Type="http://schemas.openxmlformats.org/officeDocument/2006/relationships/tags" Target="../tags/tag431.xml"/><Relationship Id="rId386" Type="http://schemas.openxmlformats.org/officeDocument/2006/relationships/tags" Target="../tags/tag452.xml"/><Relationship Id="rId190" Type="http://schemas.openxmlformats.org/officeDocument/2006/relationships/tags" Target="../tags/tag256.xml"/><Relationship Id="rId204" Type="http://schemas.openxmlformats.org/officeDocument/2006/relationships/tags" Target="../tags/tag270.xml"/><Relationship Id="rId225" Type="http://schemas.openxmlformats.org/officeDocument/2006/relationships/tags" Target="../tags/tag291.xml"/><Relationship Id="rId246" Type="http://schemas.openxmlformats.org/officeDocument/2006/relationships/tags" Target="../tags/tag312.xml"/><Relationship Id="rId267" Type="http://schemas.openxmlformats.org/officeDocument/2006/relationships/tags" Target="../tags/tag333.xml"/><Relationship Id="rId288" Type="http://schemas.openxmlformats.org/officeDocument/2006/relationships/tags" Target="../tags/tag354.xml"/><Relationship Id="rId411" Type="http://schemas.openxmlformats.org/officeDocument/2006/relationships/tags" Target="../tags/tag477.xml"/><Relationship Id="rId106" Type="http://schemas.openxmlformats.org/officeDocument/2006/relationships/tags" Target="../tags/tag172.xml"/><Relationship Id="rId127" Type="http://schemas.openxmlformats.org/officeDocument/2006/relationships/tags" Target="../tags/tag193.xml"/><Relationship Id="rId313" Type="http://schemas.openxmlformats.org/officeDocument/2006/relationships/tags" Target="../tags/tag379.xml"/><Relationship Id="rId10" Type="http://schemas.openxmlformats.org/officeDocument/2006/relationships/tags" Target="../tags/tag76.xml"/><Relationship Id="rId31" Type="http://schemas.openxmlformats.org/officeDocument/2006/relationships/tags" Target="../tags/tag97.xml"/><Relationship Id="rId52" Type="http://schemas.openxmlformats.org/officeDocument/2006/relationships/tags" Target="../tags/tag118.xml"/><Relationship Id="rId73" Type="http://schemas.openxmlformats.org/officeDocument/2006/relationships/tags" Target="../tags/tag139.xml"/><Relationship Id="rId94" Type="http://schemas.openxmlformats.org/officeDocument/2006/relationships/tags" Target="../tags/tag160.xml"/><Relationship Id="rId148" Type="http://schemas.openxmlformats.org/officeDocument/2006/relationships/tags" Target="../tags/tag214.xml"/><Relationship Id="rId169" Type="http://schemas.openxmlformats.org/officeDocument/2006/relationships/tags" Target="../tags/tag235.xml"/><Relationship Id="rId334" Type="http://schemas.openxmlformats.org/officeDocument/2006/relationships/tags" Target="../tags/tag400.xml"/><Relationship Id="rId355" Type="http://schemas.openxmlformats.org/officeDocument/2006/relationships/tags" Target="../tags/tag421.xml"/><Relationship Id="rId376" Type="http://schemas.openxmlformats.org/officeDocument/2006/relationships/tags" Target="../tags/tag442.xml"/><Relationship Id="rId397" Type="http://schemas.openxmlformats.org/officeDocument/2006/relationships/tags" Target="../tags/tag463.xml"/><Relationship Id="rId4" Type="http://schemas.openxmlformats.org/officeDocument/2006/relationships/tags" Target="../tags/tag70.xml"/><Relationship Id="rId180" Type="http://schemas.openxmlformats.org/officeDocument/2006/relationships/tags" Target="../tags/tag246.xml"/><Relationship Id="rId215" Type="http://schemas.openxmlformats.org/officeDocument/2006/relationships/tags" Target="../tags/tag281.xml"/><Relationship Id="rId236" Type="http://schemas.openxmlformats.org/officeDocument/2006/relationships/tags" Target="../tags/tag302.xml"/><Relationship Id="rId257" Type="http://schemas.openxmlformats.org/officeDocument/2006/relationships/tags" Target="../tags/tag323.xml"/><Relationship Id="rId278" Type="http://schemas.openxmlformats.org/officeDocument/2006/relationships/tags" Target="../tags/tag344.xml"/><Relationship Id="rId401" Type="http://schemas.openxmlformats.org/officeDocument/2006/relationships/tags" Target="../tags/tag467.xml"/><Relationship Id="rId303" Type="http://schemas.openxmlformats.org/officeDocument/2006/relationships/tags" Target="../tags/tag369.xml"/><Relationship Id="rId42" Type="http://schemas.openxmlformats.org/officeDocument/2006/relationships/tags" Target="../tags/tag108.xml"/><Relationship Id="rId84" Type="http://schemas.openxmlformats.org/officeDocument/2006/relationships/tags" Target="../tags/tag150.xml"/><Relationship Id="rId138" Type="http://schemas.openxmlformats.org/officeDocument/2006/relationships/tags" Target="../tags/tag204.xml"/><Relationship Id="rId345" Type="http://schemas.openxmlformats.org/officeDocument/2006/relationships/tags" Target="../tags/tag411.xml"/><Relationship Id="rId387" Type="http://schemas.openxmlformats.org/officeDocument/2006/relationships/tags" Target="../tags/tag453.xml"/><Relationship Id="rId191" Type="http://schemas.openxmlformats.org/officeDocument/2006/relationships/tags" Target="../tags/tag257.xml"/><Relationship Id="rId205" Type="http://schemas.openxmlformats.org/officeDocument/2006/relationships/tags" Target="../tags/tag271.xml"/><Relationship Id="rId247" Type="http://schemas.openxmlformats.org/officeDocument/2006/relationships/tags" Target="../tags/tag313.xml"/><Relationship Id="rId412" Type="http://schemas.openxmlformats.org/officeDocument/2006/relationships/slideLayout" Target="../slideLayouts/slideLayout6.xml"/><Relationship Id="rId107" Type="http://schemas.openxmlformats.org/officeDocument/2006/relationships/tags" Target="../tags/tag173.xml"/><Relationship Id="rId289" Type="http://schemas.openxmlformats.org/officeDocument/2006/relationships/tags" Target="../tags/tag355.xml"/><Relationship Id="rId11" Type="http://schemas.openxmlformats.org/officeDocument/2006/relationships/tags" Target="../tags/tag77.xml"/><Relationship Id="rId53" Type="http://schemas.openxmlformats.org/officeDocument/2006/relationships/tags" Target="../tags/tag119.xml"/><Relationship Id="rId149" Type="http://schemas.openxmlformats.org/officeDocument/2006/relationships/tags" Target="../tags/tag215.xml"/><Relationship Id="rId314" Type="http://schemas.openxmlformats.org/officeDocument/2006/relationships/tags" Target="../tags/tag380.xml"/><Relationship Id="rId356" Type="http://schemas.openxmlformats.org/officeDocument/2006/relationships/tags" Target="../tags/tag422.xml"/><Relationship Id="rId398" Type="http://schemas.openxmlformats.org/officeDocument/2006/relationships/tags" Target="../tags/tag464.xml"/></Relationships>
</file>

<file path=ppt/slides/_rels/slide9.xml.rels><?xml version="1.0" encoding="UTF-8" standalone="yes"?>
<Relationships xmlns="http://schemas.openxmlformats.org/package/2006/relationships"><Relationship Id="rId3" Type="http://schemas.openxmlformats.org/officeDocument/2006/relationships/tags" Target="../tags/tag479.xml"/><Relationship Id="rId7" Type="http://schemas.openxmlformats.org/officeDocument/2006/relationships/chart" Target="../charts/chart2.xml"/><Relationship Id="rId2" Type="http://schemas.openxmlformats.org/officeDocument/2006/relationships/tags" Target="../tags/tag478.xml"/><Relationship Id="rId1" Type="http://schemas.openxmlformats.org/officeDocument/2006/relationships/vmlDrawing" Target="../drawings/vmlDrawing45.vml"/><Relationship Id="rId6" Type="http://schemas.openxmlformats.org/officeDocument/2006/relationships/image" Target="../media/image6.emf"/><Relationship Id="rId5" Type="http://schemas.openxmlformats.org/officeDocument/2006/relationships/oleObject" Target="../embeddings/oleObject45.bin"/><Relationship Id="rId4"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 y="1"/>
            <a:ext cx="12296274" cy="6845968"/>
          </a:xfrm>
          <a:prstGeom prst="rect">
            <a:avLst/>
          </a:prstGeom>
        </p:spPr>
      </p:pic>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886526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94" name="think-cell Slide" r:id="rId6" imgW="366" imgH="367" progId="TCLayout.ActiveDocument.1">
                  <p:embed/>
                </p:oleObj>
              </mc:Choice>
              <mc:Fallback>
                <p:oleObj name="think-cell Slide" r:id="rId6" imgW="366" imgH="367"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Rectangle 9"/>
          <p:cNvSpPr/>
          <p:nvPr/>
        </p:nvSpPr>
        <p:spPr>
          <a:xfrm>
            <a:off x="0" y="0"/>
            <a:ext cx="12296274" cy="6885121"/>
          </a:xfrm>
          <a:prstGeom prst="rect">
            <a:avLst/>
          </a:prstGeom>
          <a:solidFill>
            <a:srgbClr val="E0E2E3">
              <a:alpha val="66000"/>
            </a:srgbClr>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smtClean="0">
              <a:solidFill>
                <a:schemeClr val="tx1"/>
              </a:solidFill>
            </a:endParaRPr>
          </a:p>
        </p:txBody>
      </p:sp>
      <p:sp>
        <p:nvSpPr>
          <p:cNvPr id="6" name="Title 1"/>
          <p:cNvSpPr txBox="1">
            <a:spLocks/>
          </p:cNvSpPr>
          <p:nvPr/>
        </p:nvSpPr>
        <p:spPr>
          <a:xfrm>
            <a:off x="431801" y="4617455"/>
            <a:ext cx="6989932" cy="997196"/>
          </a:xfrm>
          <a:prstGeom prst="rect">
            <a:avLst/>
          </a:prstGeom>
          <a:noFill/>
        </p:spPr>
        <p:txBody>
          <a:bodyPr vert="horz" wrap="square" lIns="0" tIns="0" rIns="0" bIns="0" rtlCol="0" anchor="b" anchorCtr="0">
            <a:noAutofit/>
          </a:bodyPr>
          <a:lstStyle>
            <a:lvl1pPr algn="l" defTabSz="914400" rtl="0" eaLnBrk="1" latinLnBrk="0" hangingPunct="1">
              <a:lnSpc>
                <a:spcPct val="90000"/>
              </a:lnSpc>
              <a:spcBef>
                <a:spcPct val="0"/>
              </a:spcBef>
              <a:buNone/>
              <a:defRPr lang="en-GB" sz="3200" b="0" kern="1200" baseline="0" noProof="0">
                <a:solidFill>
                  <a:schemeClr val="bg1"/>
                </a:solidFill>
                <a:latin typeface="+mj-lt"/>
                <a:ea typeface="+mj-ea"/>
                <a:cs typeface="Arial" pitchFamily="34" charset="0"/>
              </a:defRPr>
            </a:lvl1pPr>
          </a:lstStyle>
          <a:p>
            <a:r>
              <a:rPr lang="en-US" sz="3600" dirty="0" smtClean="0">
                <a:solidFill>
                  <a:srgbClr val="003755"/>
                </a:solidFill>
              </a:rPr>
              <a:t>Active Ownership Report: H1 2020</a:t>
            </a:r>
            <a:br>
              <a:rPr lang="en-US" sz="3600" dirty="0" smtClean="0">
                <a:solidFill>
                  <a:srgbClr val="003755"/>
                </a:solidFill>
              </a:rPr>
            </a:br>
            <a:r>
              <a:rPr lang="en-GB" sz="2000" dirty="0" smtClean="0">
                <a:solidFill>
                  <a:srgbClr val="003755"/>
                </a:solidFill>
              </a:rPr>
              <a:t>Danske Invest</a:t>
            </a:r>
          </a:p>
          <a:p>
            <a:r>
              <a:rPr lang="en-GB" sz="2000" dirty="0">
                <a:solidFill>
                  <a:srgbClr val="003755"/>
                </a:solidFill>
              </a:rPr>
              <a:t>Danske Invest </a:t>
            </a:r>
            <a:r>
              <a:rPr lang="en-GB" sz="2000" dirty="0" smtClean="0">
                <a:solidFill>
                  <a:srgbClr val="003755"/>
                </a:solidFill>
              </a:rPr>
              <a:t>Index</a:t>
            </a:r>
          </a:p>
          <a:p>
            <a:r>
              <a:rPr lang="en-GB" sz="2000" dirty="0" smtClean="0">
                <a:solidFill>
                  <a:srgbClr val="003755"/>
                </a:solidFill>
              </a:rPr>
              <a:t>Danske </a:t>
            </a:r>
            <a:r>
              <a:rPr lang="en-GB" sz="2000" smtClean="0">
                <a:solidFill>
                  <a:srgbClr val="003755"/>
                </a:solidFill>
              </a:rPr>
              <a:t>Invest Select</a:t>
            </a:r>
            <a:endParaRPr lang="en-GB" sz="2000" dirty="0">
              <a:solidFill>
                <a:srgbClr val="003755"/>
              </a:solidFill>
            </a:endParaRPr>
          </a:p>
        </p:txBody>
      </p:sp>
      <p:sp>
        <p:nvSpPr>
          <p:cNvPr id="7" name="Subtitle 2"/>
          <p:cNvSpPr txBox="1">
            <a:spLocks/>
          </p:cNvSpPr>
          <p:nvPr/>
        </p:nvSpPr>
        <p:spPr>
          <a:xfrm>
            <a:off x="431800" y="5698804"/>
            <a:ext cx="11331575" cy="184666"/>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Clr>
                <a:schemeClr val="accent1"/>
              </a:buClr>
              <a:buFont typeface="Danske Text" panose="00000400000000000000" pitchFamily="2" charset="0"/>
              <a:buNone/>
              <a:defRPr sz="1200" kern="1200" baseline="0">
                <a:solidFill>
                  <a:schemeClr val="bg1"/>
                </a:solidFill>
                <a:latin typeface="Danske Text v2" panose="020B0503040502040204" pitchFamily="34" charset="0"/>
                <a:ea typeface="+mn-ea"/>
                <a:cs typeface="+mn-cs"/>
                <a:sym typeface="Danske Text v2" panose="020B0503040502040204" pitchFamily="34" charset="0"/>
              </a:defRPr>
            </a:lvl1pPr>
            <a:lvl2pPr marL="457200" indent="0" algn="ctr" defTabSz="914400" rtl="0" eaLnBrk="1" latinLnBrk="0" hangingPunct="1">
              <a:lnSpc>
                <a:spcPct val="100000"/>
              </a:lnSpc>
              <a:spcBef>
                <a:spcPts val="0"/>
              </a:spcBef>
              <a:buClr>
                <a:srgbClr val="003755"/>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Clr>
                <a:srgbClr val="003755"/>
              </a:buClr>
              <a:buFont typeface="Danske Text" panose="00000400000000000000" pitchFamily="2"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buClr>
                <a:srgbClr val="003755"/>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buClr>
                <a:schemeClr val="accent1"/>
              </a:buClr>
              <a:buFont typeface="Danske Text" panose="00000400000000000000" pitchFamily="2" charset="0"/>
              <a:buNone/>
              <a:defRPr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buClr>
                <a:srgbClr val="003755"/>
              </a:buClr>
              <a:buFont typeface="+mj-lt"/>
              <a:buNone/>
              <a:defRPr sz="1600" kern="1200">
                <a:solidFill>
                  <a:schemeClr val="tx1"/>
                </a:solidFill>
                <a:latin typeface="+mn-lt"/>
                <a:ea typeface="+mn-ea"/>
                <a:cs typeface="+mn-cs"/>
              </a:defRPr>
            </a:lvl6pPr>
            <a:lvl7pPr marL="2743200" indent="0" algn="ctr" defTabSz="914400" rtl="0" eaLnBrk="1" latinLnBrk="0" hangingPunct="1">
              <a:lnSpc>
                <a:spcPct val="100000"/>
              </a:lnSpc>
              <a:spcBef>
                <a:spcPts val="0"/>
              </a:spcBef>
              <a:buClr>
                <a:srgbClr val="003755"/>
              </a:buClr>
              <a:buFont typeface="+mj-lt"/>
              <a:buNone/>
              <a:defRPr sz="1600" kern="1200">
                <a:solidFill>
                  <a:schemeClr val="tx1"/>
                </a:solidFill>
                <a:latin typeface="+mn-lt"/>
                <a:ea typeface="+mn-ea"/>
                <a:cs typeface="+mn-cs"/>
              </a:defRPr>
            </a:lvl7pPr>
            <a:lvl8pPr marL="3200400" indent="0" algn="ctr" defTabSz="914400" rtl="0" eaLnBrk="1" latinLnBrk="0" hangingPunct="1">
              <a:lnSpc>
                <a:spcPct val="100000"/>
              </a:lnSpc>
              <a:spcBef>
                <a:spcPts val="0"/>
              </a:spcBef>
              <a:buClr>
                <a:srgbClr val="003755"/>
              </a:buClr>
              <a:buFont typeface="+mj-lt"/>
              <a:buNone/>
              <a:defRPr sz="1600" kern="1200" baseline="0">
                <a:solidFill>
                  <a:schemeClr val="tx1"/>
                </a:solidFill>
                <a:latin typeface="+mn-lt"/>
                <a:ea typeface="+mn-ea"/>
                <a:cs typeface="+mn-cs"/>
              </a:defRPr>
            </a:lvl8pPr>
            <a:lvl9pPr marL="3657600" indent="0" algn="ctr" defTabSz="914400" rtl="0" eaLnBrk="1" latinLnBrk="0" hangingPunct="1">
              <a:lnSpc>
                <a:spcPct val="120000"/>
              </a:lnSpc>
              <a:spcBef>
                <a:spcPts val="0"/>
              </a:spcBef>
              <a:buFont typeface="Arial" panose="020B0604020202020204" pitchFamily="34" charset="0"/>
              <a:buNone/>
              <a:defRPr sz="1600" kern="1200" baseline="0">
                <a:solidFill>
                  <a:schemeClr val="tx1"/>
                </a:solidFill>
                <a:latin typeface="+mn-lt"/>
                <a:ea typeface="+mn-ea"/>
                <a:cs typeface="+mn-cs"/>
              </a:defRPr>
            </a:lvl9pPr>
          </a:lstStyle>
          <a:p>
            <a:r>
              <a:rPr lang="en-GB" dirty="0" smtClean="0">
                <a:solidFill>
                  <a:srgbClr val="003755"/>
                </a:solidFill>
              </a:rPr>
              <a:t>August 2020</a:t>
            </a:r>
            <a:endParaRPr lang="en-GB" dirty="0">
              <a:solidFill>
                <a:srgbClr val="003755"/>
              </a:solidFill>
            </a:endParaRPr>
          </a:p>
        </p:txBody>
      </p:sp>
      <p:pic>
        <p:nvPicPr>
          <p:cNvPr id="3" name="Picture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486707" y="3169379"/>
            <a:ext cx="3276668" cy="3325040"/>
          </a:xfrm>
          <a:prstGeom prst="rect">
            <a:avLst/>
          </a:prstGeom>
        </p:spPr>
      </p:pic>
    </p:spTree>
    <p:extLst>
      <p:ext uri="{BB962C8B-B14F-4D97-AF65-F5344CB8AC3E}">
        <p14:creationId xmlns:p14="http://schemas.microsoft.com/office/powerpoint/2010/main" val="420909946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52" name="think-cell Slide" r:id="rId89" imgW="216" imgH="216" progId="TCLayout.ActiveDocument.1">
                  <p:embed/>
                </p:oleObj>
              </mc:Choice>
              <mc:Fallback>
                <p:oleObj name="think-cell Slide" r:id="rId89" imgW="216" imgH="216" progId="TCLayout.ActiveDocument.1">
                  <p:embed/>
                  <p:pic>
                    <p:nvPicPr>
                      <p:cNvPr id="0" name=""/>
                      <p:cNvPicPr/>
                      <p:nvPr/>
                    </p:nvPicPr>
                    <p:blipFill>
                      <a:blip r:embed="rId90"/>
                      <a:stretch>
                        <a:fillRect/>
                      </a:stretch>
                    </p:blipFill>
                    <p:spPr>
                      <a:xfrm>
                        <a:off x="1588" y="1588"/>
                        <a:ext cx="1587" cy="1587"/>
                      </a:xfrm>
                      <a:prstGeom prst="rect">
                        <a:avLst/>
                      </a:prstGeom>
                    </p:spPr>
                  </p:pic>
                </p:oleObj>
              </mc:Fallback>
            </mc:AlternateContent>
          </a:graphicData>
        </a:graphic>
      </p:graphicFrame>
      <p:sp>
        <p:nvSpPr>
          <p:cNvPr id="6" name="Title 5"/>
          <p:cNvSpPr>
            <a:spLocks noGrp="1"/>
          </p:cNvSpPr>
          <p:nvPr>
            <p:ph type="title"/>
          </p:nvPr>
        </p:nvSpPr>
        <p:spPr>
          <a:xfrm>
            <a:off x="431900" y="728663"/>
            <a:ext cx="8576633" cy="332399"/>
          </a:xfrm>
        </p:spPr>
        <p:txBody>
          <a:bodyPr/>
          <a:lstStyle/>
          <a:p>
            <a:r>
              <a:rPr lang="en-US" dirty="0"/>
              <a:t>Split between ESG </a:t>
            </a:r>
            <a:r>
              <a:rPr lang="en-US" dirty="0" smtClean="0"/>
              <a:t>engagement themes </a:t>
            </a:r>
            <a:r>
              <a:rPr lang="en-US" dirty="0" smtClean="0">
                <a:solidFill>
                  <a:srgbClr val="003755"/>
                </a:solidFill>
              </a:rPr>
              <a:t>across regions</a:t>
            </a:r>
            <a:endParaRPr lang="en-GB" dirty="0">
              <a:solidFill>
                <a:srgbClr val="003755"/>
              </a:solidFill>
            </a:endParaRPr>
          </a:p>
        </p:txBody>
      </p:sp>
      <p:grpSp>
        <p:nvGrpSpPr>
          <p:cNvPr id="7" name="Group 6"/>
          <p:cNvGrpSpPr>
            <a:grpSpLocks noChangeAspect="1"/>
          </p:cNvGrpSpPr>
          <p:nvPr/>
        </p:nvGrpSpPr>
        <p:grpSpPr>
          <a:xfrm>
            <a:off x="992689" y="2762491"/>
            <a:ext cx="1882242" cy="1356208"/>
            <a:chOff x="224767" y="3220189"/>
            <a:chExt cx="1404816" cy="1012209"/>
          </a:xfrm>
        </p:grpSpPr>
        <p:sp>
          <p:nvSpPr>
            <p:cNvPr id="16" name="TextBox 15"/>
            <p:cNvSpPr txBox="1"/>
            <p:nvPr/>
          </p:nvSpPr>
          <p:spPr>
            <a:xfrm>
              <a:off x="224767" y="4094572"/>
              <a:ext cx="1404816" cy="137826"/>
            </a:xfrm>
            <a:prstGeom prst="rect">
              <a:avLst/>
            </a:prstGeom>
            <a:noFill/>
          </p:spPr>
          <p:txBody>
            <a:bodyPr wrap="square" lIns="0" tIns="0" rIns="0" bIns="0" rtlCol="0">
              <a:spAutoFit/>
            </a:bodyPr>
            <a:lstStyle/>
            <a:p>
              <a:pPr algn="ctr"/>
              <a:r>
                <a:rPr lang="en-GB" sz="1200" b="1" dirty="0" smtClean="0">
                  <a:solidFill>
                    <a:srgbClr val="003755"/>
                  </a:solidFill>
                </a:rPr>
                <a:t>Rest of the world</a:t>
              </a:r>
            </a:p>
          </p:txBody>
        </p:sp>
        <p:graphicFrame>
          <p:nvGraphicFramePr>
            <p:cNvPr id="61" name="Chart 60"/>
            <p:cNvGraphicFramePr/>
            <p:nvPr>
              <p:extLst>
                <p:ext uri="{D42A27DB-BD31-4B8C-83A1-F6EECF244321}">
                  <p14:modId xmlns:p14="http://schemas.microsoft.com/office/powerpoint/2010/main" val="2272135618"/>
                </p:ext>
              </p:extLst>
            </p:nvPr>
          </p:nvGraphicFramePr>
          <p:xfrm>
            <a:off x="293929" y="3220189"/>
            <a:ext cx="1266492" cy="863212"/>
          </p:xfrm>
          <a:graphic>
            <a:graphicData uri="http://schemas.openxmlformats.org/drawingml/2006/chart">
              <c:chart xmlns:c="http://schemas.openxmlformats.org/drawingml/2006/chart" xmlns:r="http://schemas.openxmlformats.org/officeDocument/2006/relationships" r:id="rId91"/>
            </a:graphicData>
          </a:graphic>
        </p:graphicFrame>
      </p:grpSp>
      <p:grpSp>
        <p:nvGrpSpPr>
          <p:cNvPr id="3" name="Group 2"/>
          <p:cNvGrpSpPr/>
          <p:nvPr/>
        </p:nvGrpSpPr>
        <p:grpSpPr>
          <a:xfrm>
            <a:off x="4709627" y="1081988"/>
            <a:ext cx="6997721" cy="5630899"/>
            <a:chOff x="4900442" y="1077931"/>
            <a:chExt cx="6997721" cy="5630899"/>
          </a:xfrm>
        </p:grpSpPr>
        <p:grpSp>
          <p:nvGrpSpPr>
            <p:cNvPr id="275" name="Europe"/>
            <p:cNvGrpSpPr>
              <a:grpSpLocks noChangeAspect="1"/>
            </p:cNvGrpSpPr>
            <p:nvPr>
              <p:custDataLst>
                <p:tags r:id="rId4"/>
              </p:custDataLst>
            </p:nvPr>
          </p:nvGrpSpPr>
          <p:grpSpPr>
            <a:xfrm>
              <a:off x="4900442" y="1077931"/>
              <a:ext cx="6997721" cy="5630899"/>
              <a:chOff x="432197" y="1520825"/>
              <a:chExt cx="5837390" cy="4697208"/>
            </a:xfrm>
          </p:grpSpPr>
          <p:sp>
            <p:nvSpPr>
              <p:cNvPr id="276" name="Freeform 275"/>
              <p:cNvSpPr>
                <a:spLocks/>
              </p:cNvSpPr>
              <p:nvPr>
                <p:custDataLst>
                  <p:tags r:id="rId5"/>
                </p:custDataLst>
              </p:nvPr>
            </p:nvSpPr>
            <p:spPr bwMode="auto">
              <a:xfrm>
                <a:off x="3519838" y="1520825"/>
                <a:ext cx="2749749" cy="3841657"/>
              </a:xfrm>
              <a:custGeom>
                <a:avLst/>
                <a:gdLst/>
                <a:ahLst/>
                <a:cxnLst>
                  <a:cxn ang="0">
                    <a:pos x="1086" y="165"/>
                  </a:cxn>
                  <a:cxn ang="0">
                    <a:pos x="918" y="255"/>
                  </a:cxn>
                  <a:cxn ang="0">
                    <a:pos x="870" y="93"/>
                  </a:cxn>
                  <a:cxn ang="0">
                    <a:pos x="858" y="290"/>
                  </a:cxn>
                  <a:cxn ang="0">
                    <a:pos x="759" y="464"/>
                  </a:cxn>
                  <a:cxn ang="0">
                    <a:pos x="635" y="602"/>
                  </a:cxn>
                  <a:cxn ang="0">
                    <a:pos x="617" y="725"/>
                  </a:cxn>
                  <a:cxn ang="0">
                    <a:pos x="364" y="386"/>
                  </a:cxn>
                  <a:cxn ang="0">
                    <a:pos x="714" y="302"/>
                  </a:cxn>
                  <a:cxn ang="0">
                    <a:pos x="292" y="243"/>
                  </a:cxn>
                  <a:cxn ang="0">
                    <a:pos x="190" y="225"/>
                  </a:cxn>
                  <a:cxn ang="0">
                    <a:pos x="200" y="389"/>
                  </a:cxn>
                  <a:cxn ang="0">
                    <a:pos x="252" y="656"/>
                  </a:cxn>
                  <a:cxn ang="0">
                    <a:pos x="302" y="875"/>
                  </a:cxn>
                  <a:cxn ang="0">
                    <a:pos x="208" y="1017"/>
                  </a:cxn>
                  <a:cxn ang="0">
                    <a:pos x="277" y="1055"/>
                  </a:cxn>
                  <a:cxn ang="0">
                    <a:pos x="261" y="1076"/>
                  </a:cxn>
                  <a:cxn ang="0">
                    <a:pos x="221" y="1159"/>
                  </a:cxn>
                  <a:cxn ang="0">
                    <a:pos x="226" y="1265"/>
                  </a:cxn>
                  <a:cxn ang="0">
                    <a:pos x="270" y="1399"/>
                  </a:cxn>
                  <a:cxn ang="0">
                    <a:pos x="212" y="1489"/>
                  </a:cxn>
                  <a:cxn ang="0">
                    <a:pos x="132" y="1597"/>
                  </a:cxn>
                  <a:cxn ang="0">
                    <a:pos x="77" y="1710"/>
                  </a:cxn>
                  <a:cxn ang="0">
                    <a:pos x="102" y="1902"/>
                  </a:cxn>
                  <a:cxn ang="0">
                    <a:pos x="22" y="2139"/>
                  </a:cxn>
                  <a:cxn ang="0">
                    <a:pos x="160" y="2126"/>
                  </a:cxn>
                  <a:cxn ang="0">
                    <a:pos x="294" y="2117"/>
                  </a:cxn>
                  <a:cxn ang="0">
                    <a:pos x="365" y="2278"/>
                  </a:cxn>
                  <a:cxn ang="0">
                    <a:pos x="500" y="2332"/>
                  </a:cxn>
                  <a:cxn ang="0">
                    <a:pos x="520" y="2287"/>
                  </a:cxn>
                  <a:cxn ang="0">
                    <a:pos x="553" y="2209"/>
                  </a:cxn>
                  <a:cxn ang="0">
                    <a:pos x="592" y="2243"/>
                  </a:cxn>
                  <a:cxn ang="0">
                    <a:pos x="629" y="2289"/>
                  </a:cxn>
                  <a:cxn ang="0">
                    <a:pos x="677" y="2356"/>
                  </a:cxn>
                  <a:cxn ang="0">
                    <a:pos x="750" y="2360"/>
                  </a:cxn>
                  <a:cxn ang="0">
                    <a:pos x="852" y="2297"/>
                  </a:cxn>
                  <a:cxn ang="0">
                    <a:pos x="756" y="2276"/>
                  </a:cxn>
                  <a:cxn ang="0">
                    <a:pos x="701" y="2214"/>
                  </a:cxn>
                  <a:cxn ang="0">
                    <a:pos x="1011" y="2093"/>
                  </a:cxn>
                  <a:cxn ang="0">
                    <a:pos x="933" y="2222"/>
                  </a:cxn>
                  <a:cxn ang="0">
                    <a:pos x="866" y="2332"/>
                  </a:cxn>
                  <a:cxn ang="0">
                    <a:pos x="1236" y="2424"/>
                  </a:cxn>
                  <a:cxn ang="0">
                    <a:pos x="1398" y="2493"/>
                  </a:cxn>
                  <a:cxn ang="0">
                    <a:pos x="1630" y="2632"/>
                  </a:cxn>
                  <a:cxn ang="0">
                    <a:pos x="1769" y="2650"/>
                  </a:cxn>
                  <a:cxn ang="0">
                    <a:pos x="1868" y="2516"/>
                  </a:cxn>
                  <a:cxn ang="0">
                    <a:pos x="1681" y="2255"/>
                  </a:cxn>
                  <a:cxn ang="0">
                    <a:pos x="1624" y="2013"/>
                  </a:cxn>
                  <a:cxn ang="0">
                    <a:pos x="1614" y="2024"/>
                  </a:cxn>
                  <a:cxn ang="0">
                    <a:pos x="1654" y="2248"/>
                  </a:cxn>
                  <a:cxn ang="0">
                    <a:pos x="1624" y="2220"/>
                  </a:cxn>
                  <a:cxn ang="0">
                    <a:pos x="1598" y="2082"/>
                  </a:cxn>
                  <a:cxn ang="0">
                    <a:pos x="1650" y="1945"/>
                  </a:cxn>
                  <a:cxn ang="0">
                    <a:pos x="1743" y="1829"/>
                  </a:cxn>
                  <a:cxn ang="0">
                    <a:pos x="1853" y="1529"/>
                  </a:cxn>
                  <a:cxn ang="0">
                    <a:pos x="1402" y="807"/>
                  </a:cxn>
                  <a:cxn ang="0">
                    <a:pos x="1280" y="64"/>
                  </a:cxn>
                </a:cxnLst>
                <a:rect l="0" t="0" r="r" b="b"/>
                <a:pathLst>
                  <a:path w="1925" h="2686">
                    <a:moveTo>
                      <a:pt x="1280" y="64"/>
                    </a:moveTo>
                    <a:lnTo>
                      <a:pt x="1164" y="0"/>
                    </a:lnTo>
                    <a:lnTo>
                      <a:pt x="1128" y="108"/>
                    </a:lnTo>
                    <a:lnTo>
                      <a:pt x="1062" y="90"/>
                    </a:lnTo>
                    <a:lnTo>
                      <a:pt x="1089" y="117"/>
                    </a:lnTo>
                    <a:lnTo>
                      <a:pt x="1131" y="135"/>
                    </a:lnTo>
                    <a:lnTo>
                      <a:pt x="1086" y="165"/>
                    </a:lnTo>
                    <a:lnTo>
                      <a:pt x="1101" y="279"/>
                    </a:lnTo>
                    <a:lnTo>
                      <a:pt x="1068" y="314"/>
                    </a:lnTo>
                    <a:lnTo>
                      <a:pt x="1023" y="329"/>
                    </a:lnTo>
                    <a:lnTo>
                      <a:pt x="981" y="323"/>
                    </a:lnTo>
                    <a:lnTo>
                      <a:pt x="957" y="296"/>
                    </a:lnTo>
                    <a:lnTo>
                      <a:pt x="936" y="281"/>
                    </a:lnTo>
                    <a:lnTo>
                      <a:pt x="918" y="255"/>
                    </a:lnTo>
                    <a:lnTo>
                      <a:pt x="924" y="219"/>
                    </a:lnTo>
                    <a:lnTo>
                      <a:pt x="903" y="192"/>
                    </a:lnTo>
                    <a:lnTo>
                      <a:pt x="957" y="174"/>
                    </a:lnTo>
                    <a:lnTo>
                      <a:pt x="966" y="138"/>
                    </a:lnTo>
                    <a:lnTo>
                      <a:pt x="948" y="90"/>
                    </a:lnTo>
                    <a:lnTo>
                      <a:pt x="900" y="75"/>
                    </a:lnTo>
                    <a:lnTo>
                      <a:pt x="870" y="93"/>
                    </a:lnTo>
                    <a:lnTo>
                      <a:pt x="804" y="102"/>
                    </a:lnTo>
                    <a:lnTo>
                      <a:pt x="768" y="99"/>
                    </a:lnTo>
                    <a:lnTo>
                      <a:pt x="804" y="132"/>
                    </a:lnTo>
                    <a:lnTo>
                      <a:pt x="831" y="171"/>
                    </a:lnTo>
                    <a:lnTo>
                      <a:pt x="849" y="201"/>
                    </a:lnTo>
                    <a:lnTo>
                      <a:pt x="861" y="243"/>
                    </a:lnTo>
                    <a:lnTo>
                      <a:pt x="858" y="290"/>
                    </a:lnTo>
                    <a:lnTo>
                      <a:pt x="882" y="311"/>
                    </a:lnTo>
                    <a:lnTo>
                      <a:pt x="918" y="395"/>
                    </a:lnTo>
                    <a:lnTo>
                      <a:pt x="885" y="377"/>
                    </a:lnTo>
                    <a:lnTo>
                      <a:pt x="843" y="359"/>
                    </a:lnTo>
                    <a:lnTo>
                      <a:pt x="810" y="341"/>
                    </a:lnTo>
                    <a:lnTo>
                      <a:pt x="798" y="410"/>
                    </a:lnTo>
                    <a:lnTo>
                      <a:pt x="759" y="464"/>
                    </a:lnTo>
                    <a:lnTo>
                      <a:pt x="729" y="488"/>
                    </a:lnTo>
                    <a:lnTo>
                      <a:pt x="801" y="590"/>
                    </a:lnTo>
                    <a:lnTo>
                      <a:pt x="789" y="620"/>
                    </a:lnTo>
                    <a:lnTo>
                      <a:pt x="750" y="632"/>
                    </a:lnTo>
                    <a:lnTo>
                      <a:pt x="693" y="617"/>
                    </a:lnTo>
                    <a:lnTo>
                      <a:pt x="668" y="611"/>
                    </a:lnTo>
                    <a:lnTo>
                      <a:pt x="635" y="602"/>
                    </a:lnTo>
                    <a:lnTo>
                      <a:pt x="614" y="623"/>
                    </a:lnTo>
                    <a:lnTo>
                      <a:pt x="626" y="650"/>
                    </a:lnTo>
                    <a:lnTo>
                      <a:pt x="650" y="665"/>
                    </a:lnTo>
                    <a:lnTo>
                      <a:pt x="705" y="659"/>
                    </a:lnTo>
                    <a:lnTo>
                      <a:pt x="723" y="734"/>
                    </a:lnTo>
                    <a:lnTo>
                      <a:pt x="678" y="746"/>
                    </a:lnTo>
                    <a:lnTo>
                      <a:pt x="617" y="725"/>
                    </a:lnTo>
                    <a:lnTo>
                      <a:pt x="551" y="692"/>
                    </a:lnTo>
                    <a:lnTo>
                      <a:pt x="526" y="662"/>
                    </a:lnTo>
                    <a:lnTo>
                      <a:pt x="490" y="533"/>
                    </a:lnTo>
                    <a:lnTo>
                      <a:pt x="463" y="494"/>
                    </a:lnTo>
                    <a:lnTo>
                      <a:pt x="409" y="458"/>
                    </a:lnTo>
                    <a:lnTo>
                      <a:pt x="382" y="422"/>
                    </a:lnTo>
                    <a:lnTo>
                      <a:pt x="364" y="386"/>
                    </a:lnTo>
                    <a:lnTo>
                      <a:pt x="490" y="440"/>
                    </a:lnTo>
                    <a:lnTo>
                      <a:pt x="587" y="449"/>
                    </a:lnTo>
                    <a:lnTo>
                      <a:pt x="650" y="437"/>
                    </a:lnTo>
                    <a:lnTo>
                      <a:pt x="678" y="422"/>
                    </a:lnTo>
                    <a:lnTo>
                      <a:pt x="702" y="383"/>
                    </a:lnTo>
                    <a:lnTo>
                      <a:pt x="714" y="350"/>
                    </a:lnTo>
                    <a:lnTo>
                      <a:pt x="714" y="302"/>
                    </a:lnTo>
                    <a:lnTo>
                      <a:pt x="659" y="270"/>
                    </a:lnTo>
                    <a:lnTo>
                      <a:pt x="635" y="281"/>
                    </a:lnTo>
                    <a:lnTo>
                      <a:pt x="543" y="225"/>
                    </a:lnTo>
                    <a:lnTo>
                      <a:pt x="463" y="225"/>
                    </a:lnTo>
                    <a:lnTo>
                      <a:pt x="346" y="234"/>
                    </a:lnTo>
                    <a:lnTo>
                      <a:pt x="310" y="243"/>
                    </a:lnTo>
                    <a:lnTo>
                      <a:pt x="292" y="243"/>
                    </a:lnTo>
                    <a:lnTo>
                      <a:pt x="271" y="223"/>
                    </a:lnTo>
                    <a:lnTo>
                      <a:pt x="286" y="180"/>
                    </a:lnTo>
                    <a:lnTo>
                      <a:pt x="261" y="179"/>
                    </a:lnTo>
                    <a:lnTo>
                      <a:pt x="246" y="204"/>
                    </a:lnTo>
                    <a:lnTo>
                      <a:pt x="220" y="201"/>
                    </a:lnTo>
                    <a:lnTo>
                      <a:pt x="201" y="207"/>
                    </a:lnTo>
                    <a:lnTo>
                      <a:pt x="190" y="225"/>
                    </a:lnTo>
                    <a:lnTo>
                      <a:pt x="162" y="249"/>
                    </a:lnTo>
                    <a:lnTo>
                      <a:pt x="158" y="290"/>
                    </a:lnTo>
                    <a:lnTo>
                      <a:pt x="151" y="305"/>
                    </a:lnTo>
                    <a:lnTo>
                      <a:pt x="151" y="329"/>
                    </a:lnTo>
                    <a:lnTo>
                      <a:pt x="180" y="348"/>
                    </a:lnTo>
                    <a:lnTo>
                      <a:pt x="183" y="366"/>
                    </a:lnTo>
                    <a:lnTo>
                      <a:pt x="200" y="389"/>
                    </a:lnTo>
                    <a:lnTo>
                      <a:pt x="206" y="407"/>
                    </a:lnTo>
                    <a:lnTo>
                      <a:pt x="207" y="431"/>
                    </a:lnTo>
                    <a:lnTo>
                      <a:pt x="203" y="457"/>
                    </a:lnTo>
                    <a:lnTo>
                      <a:pt x="214" y="501"/>
                    </a:lnTo>
                    <a:lnTo>
                      <a:pt x="234" y="540"/>
                    </a:lnTo>
                    <a:lnTo>
                      <a:pt x="229" y="602"/>
                    </a:lnTo>
                    <a:lnTo>
                      <a:pt x="252" y="656"/>
                    </a:lnTo>
                    <a:lnTo>
                      <a:pt x="257" y="707"/>
                    </a:lnTo>
                    <a:lnTo>
                      <a:pt x="266" y="729"/>
                    </a:lnTo>
                    <a:lnTo>
                      <a:pt x="305" y="760"/>
                    </a:lnTo>
                    <a:lnTo>
                      <a:pt x="319" y="791"/>
                    </a:lnTo>
                    <a:lnTo>
                      <a:pt x="319" y="818"/>
                    </a:lnTo>
                    <a:lnTo>
                      <a:pt x="307" y="865"/>
                    </a:lnTo>
                    <a:lnTo>
                      <a:pt x="302" y="875"/>
                    </a:lnTo>
                    <a:lnTo>
                      <a:pt x="307" y="887"/>
                    </a:lnTo>
                    <a:lnTo>
                      <a:pt x="292" y="912"/>
                    </a:lnTo>
                    <a:lnTo>
                      <a:pt x="270" y="923"/>
                    </a:lnTo>
                    <a:lnTo>
                      <a:pt x="265" y="938"/>
                    </a:lnTo>
                    <a:lnTo>
                      <a:pt x="237" y="978"/>
                    </a:lnTo>
                    <a:lnTo>
                      <a:pt x="212" y="991"/>
                    </a:lnTo>
                    <a:lnTo>
                      <a:pt x="208" y="1017"/>
                    </a:lnTo>
                    <a:lnTo>
                      <a:pt x="224" y="1015"/>
                    </a:lnTo>
                    <a:lnTo>
                      <a:pt x="237" y="1000"/>
                    </a:lnTo>
                    <a:lnTo>
                      <a:pt x="247" y="1003"/>
                    </a:lnTo>
                    <a:lnTo>
                      <a:pt x="253" y="1018"/>
                    </a:lnTo>
                    <a:lnTo>
                      <a:pt x="236" y="1030"/>
                    </a:lnTo>
                    <a:lnTo>
                      <a:pt x="262" y="1056"/>
                    </a:lnTo>
                    <a:lnTo>
                      <a:pt x="277" y="1055"/>
                    </a:lnTo>
                    <a:lnTo>
                      <a:pt x="295" y="1066"/>
                    </a:lnTo>
                    <a:lnTo>
                      <a:pt x="319" y="1088"/>
                    </a:lnTo>
                    <a:lnTo>
                      <a:pt x="328" y="1114"/>
                    </a:lnTo>
                    <a:lnTo>
                      <a:pt x="328" y="1114"/>
                    </a:lnTo>
                    <a:lnTo>
                      <a:pt x="296" y="1090"/>
                    </a:lnTo>
                    <a:lnTo>
                      <a:pt x="280" y="1078"/>
                    </a:lnTo>
                    <a:lnTo>
                      <a:pt x="261" y="1076"/>
                    </a:lnTo>
                    <a:lnTo>
                      <a:pt x="263" y="1088"/>
                    </a:lnTo>
                    <a:lnTo>
                      <a:pt x="247" y="1082"/>
                    </a:lnTo>
                    <a:lnTo>
                      <a:pt x="229" y="1082"/>
                    </a:lnTo>
                    <a:lnTo>
                      <a:pt x="232" y="1106"/>
                    </a:lnTo>
                    <a:lnTo>
                      <a:pt x="236" y="1120"/>
                    </a:lnTo>
                    <a:lnTo>
                      <a:pt x="229" y="1150"/>
                    </a:lnTo>
                    <a:lnTo>
                      <a:pt x="221" y="1159"/>
                    </a:lnTo>
                    <a:lnTo>
                      <a:pt x="193" y="1159"/>
                    </a:lnTo>
                    <a:lnTo>
                      <a:pt x="190" y="1177"/>
                    </a:lnTo>
                    <a:lnTo>
                      <a:pt x="205" y="1195"/>
                    </a:lnTo>
                    <a:lnTo>
                      <a:pt x="214" y="1226"/>
                    </a:lnTo>
                    <a:lnTo>
                      <a:pt x="234" y="1240"/>
                    </a:lnTo>
                    <a:lnTo>
                      <a:pt x="234" y="1256"/>
                    </a:lnTo>
                    <a:lnTo>
                      <a:pt x="226" y="1265"/>
                    </a:lnTo>
                    <a:lnTo>
                      <a:pt x="228" y="1276"/>
                    </a:lnTo>
                    <a:lnTo>
                      <a:pt x="236" y="1286"/>
                    </a:lnTo>
                    <a:lnTo>
                      <a:pt x="252" y="1324"/>
                    </a:lnTo>
                    <a:lnTo>
                      <a:pt x="267" y="1339"/>
                    </a:lnTo>
                    <a:lnTo>
                      <a:pt x="280" y="1345"/>
                    </a:lnTo>
                    <a:lnTo>
                      <a:pt x="285" y="1380"/>
                    </a:lnTo>
                    <a:lnTo>
                      <a:pt x="270" y="1399"/>
                    </a:lnTo>
                    <a:lnTo>
                      <a:pt x="249" y="1420"/>
                    </a:lnTo>
                    <a:lnTo>
                      <a:pt x="240" y="1436"/>
                    </a:lnTo>
                    <a:lnTo>
                      <a:pt x="229" y="1441"/>
                    </a:lnTo>
                    <a:lnTo>
                      <a:pt x="211" y="1440"/>
                    </a:lnTo>
                    <a:lnTo>
                      <a:pt x="204" y="1449"/>
                    </a:lnTo>
                    <a:lnTo>
                      <a:pt x="209" y="1456"/>
                    </a:lnTo>
                    <a:lnTo>
                      <a:pt x="212" y="1489"/>
                    </a:lnTo>
                    <a:lnTo>
                      <a:pt x="196" y="1491"/>
                    </a:lnTo>
                    <a:lnTo>
                      <a:pt x="181" y="1504"/>
                    </a:lnTo>
                    <a:lnTo>
                      <a:pt x="178" y="1525"/>
                    </a:lnTo>
                    <a:lnTo>
                      <a:pt x="172" y="1542"/>
                    </a:lnTo>
                    <a:lnTo>
                      <a:pt x="167" y="1593"/>
                    </a:lnTo>
                    <a:lnTo>
                      <a:pt x="147" y="1592"/>
                    </a:lnTo>
                    <a:lnTo>
                      <a:pt x="132" y="1597"/>
                    </a:lnTo>
                    <a:lnTo>
                      <a:pt x="119" y="1614"/>
                    </a:lnTo>
                    <a:lnTo>
                      <a:pt x="102" y="1625"/>
                    </a:lnTo>
                    <a:lnTo>
                      <a:pt x="84" y="1614"/>
                    </a:lnTo>
                    <a:lnTo>
                      <a:pt x="63" y="1618"/>
                    </a:lnTo>
                    <a:lnTo>
                      <a:pt x="61" y="1641"/>
                    </a:lnTo>
                    <a:lnTo>
                      <a:pt x="71" y="1668"/>
                    </a:lnTo>
                    <a:lnTo>
                      <a:pt x="77" y="1710"/>
                    </a:lnTo>
                    <a:lnTo>
                      <a:pt x="48" y="1749"/>
                    </a:lnTo>
                    <a:lnTo>
                      <a:pt x="61" y="1767"/>
                    </a:lnTo>
                    <a:lnTo>
                      <a:pt x="55" y="1794"/>
                    </a:lnTo>
                    <a:lnTo>
                      <a:pt x="57" y="1819"/>
                    </a:lnTo>
                    <a:lnTo>
                      <a:pt x="70" y="1830"/>
                    </a:lnTo>
                    <a:lnTo>
                      <a:pt x="89" y="1860"/>
                    </a:lnTo>
                    <a:lnTo>
                      <a:pt x="102" y="1902"/>
                    </a:lnTo>
                    <a:lnTo>
                      <a:pt x="100" y="1927"/>
                    </a:lnTo>
                    <a:lnTo>
                      <a:pt x="32" y="1990"/>
                    </a:lnTo>
                    <a:lnTo>
                      <a:pt x="46" y="2038"/>
                    </a:lnTo>
                    <a:lnTo>
                      <a:pt x="16" y="2069"/>
                    </a:lnTo>
                    <a:lnTo>
                      <a:pt x="0" y="2083"/>
                    </a:lnTo>
                    <a:lnTo>
                      <a:pt x="0" y="2103"/>
                    </a:lnTo>
                    <a:lnTo>
                      <a:pt x="22" y="2139"/>
                    </a:lnTo>
                    <a:lnTo>
                      <a:pt x="49" y="2140"/>
                    </a:lnTo>
                    <a:lnTo>
                      <a:pt x="60" y="2144"/>
                    </a:lnTo>
                    <a:lnTo>
                      <a:pt x="80" y="2132"/>
                    </a:lnTo>
                    <a:lnTo>
                      <a:pt x="100" y="2129"/>
                    </a:lnTo>
                    <a:lnTo>
                      <a:pt x="114" y="2137"/>
                    </a:lnTo>
                    <a:lnTo>
                      <a:pt x="134" y="2136"/>
                    </a:lnTo>
                    <a:lnTo>
                      <a:pt x="160" y="2126"/>
                    </a:lnTo>
                    <a:lnTo>
                      <a:pt x="175" y="2131"/>
                    </a:lnTo>
                    <a:lnTo>
                      <a:pt x="188" y="2142"/>
                    </a:lnTo>
                    <a:lnTo>
                      <a:pt x="207" y="2143"/>
                    </a:lnTo>
                    <a:lnTo>
                      <a:pt x="228" y="2127"/>
                    </a:lnTo>
                    <a:lnTo>
                      <a:pt x="260" y="2126"/>
                    </a:lnTo>
                    <a:lnTo>
                      <a:pt x="274" y="2111"/>
                    </a:lnTo>
                    <a:lnTo>
                      <a:pt x="294" y="2117"/>
                    </a:lnTo>
                    <a:lnTo>
                      <a:pt x="310" y="2151"/>
                    </a:lnTo>
                    <a:lnTo>
                      <a:pt x="331" y="2167"/>
                    </a:lnTo>
                    <a:lnTo>
                      <a:pt x="342" y="2195"/>
                    </a:lnTo>
                    <a:lnTo>
                      <a:pt x="361" y="2216"/>
                    </a:lnTo>
                    <a:lnTo>
                      <a:pt x="367" y="2234"/>
                    </a:lnTo>
                    <a:lnTo>
                      <a:pt x="365" y="2259"/>
                    </a:lnTo>
                    <a:lnTo>
                      <a:pt x="365" y="2278"/>
                    </a:lnTo>
                    <a:lnTo>
                      <a:pt x="380" y="2300"/>
                    </a:lnTo>
                    <a:lnTo>
                      <a:pt x="384" y="2336"/>
                    </a:lnTo>
                    <a:lnTo>
                      <a:pt x="397" y="2342"/>
                    </a:lnTo>
                    <a:lnTo>
                      <a:pt x="420" y="2345"/>
                    </a:lnTo>
                    <a:lnTo>
                      <a:pt x="451" y="2339"/>
                    </a:lnTo>
                    <a:lnTo>
                      <a:pt x="480" y="2345"/>
                    </a:lnTo>
                    <a:lnTo>
                      <a:pt x="500" y="2332"/>
                    </a:lnTo>
                    <a:lnTo>
                      <a:pt x="478" y="2315"/>
                    </a:lnTo>
                    <a:lnTo>
                      <a:pt x="470" y="2283"/>
                    </a:lnTo>
                    <a:lnTo>
                      <a:pt x="493" y="2312"/>
                    </a:lnTo>
                    <a:lnTo>
                      <a:pt x="501" y="2306"/>
                    </a:lnTo>
                    <a:lnTo>
                      <a:pt x="487" y="2288"/>
                    </a:lnTo>
                    <a:lnTo>
                      <a:pt x="505" y="2297"/>
                    </a:lnTo>
                    <a:lnTo>
                      <a:pt x="520" y="2287"/>
                    </a:lnTo>
                    <a:lnTo>
                      <a:pt x="528" y="2270"/>
                    </a:lnTo>
                    <a:lnTo>
                      <a:pt x="520" y="2258"/>
                    </a:lnTo>
                    <a:lnTo>
                      <a:pt x="501" y="2246"/>
                    </a:lnTo>
                    <a:lnTo>
                      <a:pt x="527" y="2248"/>
                    </a:lnTo>
                    <a:lnTo>
                      <a:pt x="526" y="2231"/>
                    </a:lnTo>
                    <a:lnTo>
                      <a:pt x="538" y="2224"/>
                    </a:lnTo>
                    <a:lnTo>
                      <a:pt x="553" y="2209"/>
                    </a:lnTo>
                    <a:lnTo>
                      <a:pt x="561" y="2207"/>
                    </a:lnTo>
                    <a:lnTo>
                      <a:pt x="575" y="2206"/>
                    </a:lnTo>
                    <a:lnTo>
                      <a:pt x="587" y="2222"/>
                    </a:lnTo>
                    <a:lnTo>
                      <a:pt x="561" y="2231"/>
                    </a:lnTo>
                    <a:lnTo>
                      <a:pt x="562" y="2241"/>
                    </a:lnTo>
                    <a:lnTo>
                      <a:pt x="588" y="2251"/>
                    </a:lnTo>
                    <a:lnTo>
                      <a:pt x="592" y="2243"/>
                    </a:lnTo>
                    <a:lnTo>
                      <a:pt x="606" y="2247"/>
                    </a:lnTo>
                    <a:lnTo>
                      <a:pt x="623" y="2242"/>
                    </a:lnTo>
                    <a:lnTo>
                      <a:pt x="643" y="2238"/>
                    </a:lnTo>
                    <a:lnTo>
                      <a:pt x="656" y="2234"/>
                    </a:lnTo>
                    <a:lnTo>
                      <a:pt x="661" y="2250"/>
                    </a:lnTo>
                    <a:lnTo>
                      <a:pt x="636" y="2267"/>
                    </a:lnTo>
                    <a:lnTo>
                      <a:pt x="629" y="2289"/>
                    </a:lnTo>
                    <a:lnTo>
                      <a:pt x="617" y="2305"/>
                    </a:lnTo>
                    <a:lnTo>
                      <a:pt x="614" y="2327"/>
                    </a:lnTo>
                    <a:lnTo>
                      <a:pt x="635" y="2334"/>
                    </a:lnTo>
                    <a:lnTo>
                      <a:pt x="647" y="2336"/>
                    </a:lnTo>
                    <a:lnTo>
                      <a:pt x="661" y="2336"/>
                    </a:lnTo>
                    <a:lnTo>
                      <a:pt x="671" y="2339"/>
                    </a:lnTo>
                    <a:lnTo>
                      <a:pt x="677" y="2356"/>
                    </a:lnTo>
                    <a:lnTo>
                      <a:pt x="683" y="2371"/>
                    </a:lnTo>
                    <a:lnTo>
                      <a:pt x="677" y="2404"/>
                    </a:lnTo>
                    <a:lnTo>
                      <a:pt x="703" y="2416"/>
                    </a:lnTo>
                    <a:lnTo>
                      <a:pt x="713" y="2407"/>
                    </a:lnTo>
                    <a:lnTo>
                      <a:pt x="724" y="2390"/>
                    </a:lnTo>
                    <a:lnTo>
                      <a:pt x="733" y="2369"/>
                    </a:lnTo>
                    <a:lnTo>
                      <a:pt x="750" y="2360"/>
                    </a:lnTo>
                    <a:lnTo>
                      <a:pt x="768" y="2347"/>
                    </a:lnTo>
                    <a:lnTo>
                      <a:pt x="778" y="2326"/>
                    </a:lnTo>
                    <a:lnTo>
                      <a:pt x="788" y="2330"/>
                    </a:lnTo>
                    <a:lnTo>
                      <a:pt x="798" y="2335"/>
                    </a:lnTo>
                    <a:lnTo>
                      <a:pt x="816" y="2339"/>
                    </a:lnTo>
                    <a:lnTo>
                      <a:pt x="839" y="2326"/>
                    </a:lnTo>
                    <a:lnTo>
                      <a:pt x="852" y="2297"/>
                    </a:lnTo>
                    <a:lnTo>
                      <a:pt x="830" y="2297"/>
                    </a:lnTo>
                    <a:lnTo>
                      <a:pt x="815" y="2305"/>
                    </a:lnTo>
                    <a:lnTo>
                      <a:pt x="807" y="2295"/>
                    </a:lnTo>
                    <a:lnTo>
                      <a:pt x="795" y="2306"/>
                    </a:lnTo>
                    <a:lnTo>
                      <a:pt x="776" y="2306"/>
                    </a:lnTo>
                    <a:lnTo>
                      <a:pt x="761" y="2299"/>
                    </a:lnTo>
                    <a:lnTo>
                      <a:pt x="756" y="2276"/>
                    </a:lnTo>
                    <a:lnTo>
                      <a:pt x="743" y="2260"/>
                    </a:lnTo>
                    <a:lnTo>
                      <a:pt x="733" y="2251"/>
                    </a:lnTo>
                    <a:lnTo>
                      <a:pt x="727" y="2247"/>
                    </a:lnTo>
                    <a:lnTo>
                      <a:pt x="716" y="2240"/>
                    </a:lnTo>
                    <a:lnTo>
                      <a:pt x="690" y="2237"/>
                    </a:lnTo>
                    <a:lnTo>
                      <a:pt x="670" y="2217"/>
                    </a:lnTo>
                    <a:lnTo>
                      <a:pt x="701" y="2214"/>
                    </a:lnTo>
                    <a:lnTo>
                      <a:pt x="728" y="2207"/>
                    </a:lnTo>
                    <a:lnTo>
                      <a:pt x="747" y="2186"/>
                    </a:lnTo>
                    <a:lnTo>
                      <a:pt x="818" y="2156"/>
                    </a:lnTo>
                    <a:lnTo>
                      <a:pt x="861" y="2126"/>
                    </a:lnTo>
                    <a:lnTo>
                      <a:pt x="927" y="2108"/>
                    </a:lnTo>
                    <a:lnTo>
                      <a:pt x="978" y="2091"/>
                    </a:lnTo>
                    <a:lnTo>
                      <a:pt x="1011" y="2093"/>
                    </a:lnTo>
                    <a:lnTo>
                      <a:pt x="969" y="2126"/>
                    </a:lnTo>
                    <a:lnTo>
                      <a:pt x="996" y="2141"/>
                    </a:lnTo>
                    <a:lnTo>
                      <a:pt x="942" y="2147"/>
                    </a:lnTo>
                    <a:lnTo>
                      <a:pt x="944" y="2169"/>
                    </a:lnTo>
                    <a:lnTo>
                      <a:pt x="983" y="2194"/>
                    </a:lnTo>
                    <a:lnTo>
                      <a:pt x="954" y="2196"/>
                    </a:lnTo>
                    <a:lnTo>
                      <a:pt x="933" y="2222"/>
                    </a:lnTo>
                    <a:lnTo>
                      <a:pt x="921" y="2247"/>
                    </a:lnTo>
                    <a:lnTo>
                      <a:pt x="918" y="2285"/>
                    </a:lnTo>
                    <a:lnTo>
                      <a:pt x="898" y="2309"/>
                    </a:lnTo>
                    <a:lnTo>
                      <a:pt x="886" y="2306"/>
                    </a:lnTo>
                    <a:lnTo>
                      <a:pt x="870" y="2301"/>
                    </a:lnTo>
                    <a:lnTo>
                      <a:pt x="879" y="2321"/>
                    </a:lnTo>
                    <a:lnTo>
                      <a:pt x="866" y="2332"/>
                    </a:lnTo>
                    <a:lnTo>
                      <a:pt x="905" y="2345"/>
                    </a:lnTo>
                    <a:lnTo>
                      <a:pt x="936" y="2372"/>
                    </a:lnTo>
                    <a:lnTo>
                      <a:pt x="993" y="2380"/>
                    </a:lnTo>
                    <a:lnTo>
                      <a:pt x="1068" y="2387"/>
                    </a:lnTo>
                    <a:lnTo>
                      <a:pt x="1116" y="2396"/>
                    </a:lnTo>
                    <a:lnTo>
                      <a:pt x="1173" y="2405"/>
                    </a:lnTo>
                    <a:lnTo>
                      <a:pt x="1236" y="2424"/>
                    </a:lnTo>
                    <a:lnTo>
                      <a:pt x="1267" y="2431"/>
                    </a:lnTo>
                    <a:lnTo>
                      <a:pt x="1291" y="2453"/>
                    </a:lnTo>
                    <a:lnTo>
                      <a:pt x="1300" y="2480"/>
                    </a:lnTo>
                    <a:lnTo>
                      <a:pt x="1303" y="2512"/>
                    </a:lnTo>
                    <a:lnTo>
                      <a:pt x="1359" y="2515"/>
                    </a:lnTo>
                    <a:lnTo>
                      <a:pt x="1381" y="2489"/>
                    </a:lnTo>
                    <a:lnTo>
                      <a:pt x="1398" y="2493"/>
                    </a:lnTo>
                    <a:lnTo>
                      <a:pt x="1402" y="2507"/>
                    </a:lnTo>
                    <a:lnTo>
                      <a:pt x="1447" y="2517"/>
                    </a:lnTo>
                    <a:lnTo>
                      <a:pt x="1470" y="2575"/>
                    </a:lnTo>
                    <a:lnTo>
                      <a:pt x="1553" y="2578"/>
                    </a:lnTo>
                    <a:lnTo>
                      <a:pt x="1580" y="2613"/>
                    </a:lnTo>
                    <a:lnTo>
                      <a:pt x="1603" y="2629"/>
                    </a:lnTo>
                    <a:lnTo>
                      <a:pt x="1630" y="2632"/>
                    </a:lnTo>
                    <a:lnTo>
                      <a:pt x="1663" y="2653"/>
                    </a:lnTo>
                    <a:lnTo>
                      <a:pt x="1700" y="2641"/>
                    </a:lnTo>
                    <a:lnTo>
                      <a:pt x="1715" y="2620"/>
                    </a:lnTo>
                    <a:lnTo>
                      <a:pt x="1733" y="2591"/>
                    </a:lnTo>
                    <a:lnTo>
                      <a:pt x="1766" y="2594"/>
                    </a:lnTo>
                    <a:lnTo>
                      <a:pt x="1781" y="2611"/>
                    </a:lnTo>
                    <a:lnTo>
                      <a:pt x="1769" y="2650"/>
                    </a:lnTo>
                    <a:lnTo>
                      <a:pt x="1832" y="2686"/>
                    </a:lnTo>
                    <a:lnTo>
                      <a:pt x="1832" y="2635"/>
                    </a:lnTo>
                    <a:lnTo>
                      <a:pt x="1832" y="2617"/>
                    </a:lnTo>
                    <a:lnTo>
                      <a:pt x="1844" y="2608"/>
                    </a:lnTo>
                    <a:lnTo>
                      <a:pt x="1862" y="2638"/>
                    </a:lnTo>
                    <a:lnTo>
                      <a:pt x="1850" y="2552"/>
                    </a:lnTo>
                    <a:lnTo>
                      <a:pt x="1868" y="2516"/>
                    </a:lnTo>
                    <a:lnTo>
                      <a:pt x="1886" y="2498"/>
                    </a:lnTo>
                    <a:lnTo>
                      <a:pt x="1910" y="2480"/>
                    </a:lnTo>
                    <a:lnTo>
                      <a:pt x="1859" y="2471"/>
                    </a:lnTo>
                    <a:lnTo>
                      <a:pt x="1832" y="2471"/>
                    </a:lnTo>
                    <a:lnTo>
                      <a:pt x="1742" y="2390"/>
                    </a:lnTo>
                    <a:lnTo>
                      <a:pt x="1700" y="2345"/>
                    </a:lnTo>
                    <a:lnTo>
                      <a:pt x="1681" y="2255"/>
                    </a:lnTo>
                    <a:lnTo>
                      <a:pt x="1672" y="2309"/>
                    </a:lnTo>
                    <a:lnTo>
                      <a:pt x="1660" y="2252"/>
                    </a:lnTo>
                    <a:lnTo>
                      <a:pt x="1606" y="2201"/>
                    </a:lnTo>
                    <a:lnTo>
                      <a:pt x="1579" y="2156"/>
                    </a:lnTo>
                    <a:lnTo>
                      <a:pt x="1588" y="2102"/>
                    </a:lnTo>
                    <a:lnTo>
                      <a:pt x="1606" y="2066"/>
                    </a:lnTo>
                    <a:lnTo>
                      <a:pt x="1624" y="2013"/>
                    </a:lnTo>
                    <a:lnTo>
                      <a:pt x="1651" y="1968"/>
                    </a:lnTo>
                    <a:lnTo>
                      <a:pt x="1651" y="1968"/>
                    </a:lnTo>
                    <a:lnTo>
                      <a:pt x="1651" y="1932"/>
                    </a:lnTo>
                    <a:lnTo>
                      <a:pt x="1715" y="1932"/>
                    </a:lnTo>
                    <a:lnTo>
                      <a:pt x="1650" y="1931"/>
                    </a:lnTo>
                    <a:lnTo>
                      <a:pt x="1646" y="1979"/>
                    </a:lnTo>
                    <a:lnTo>
                      <a:pt x="1614" y="2024"/>
                    </a:lnTo>
                    <a:lnTo>
                      <a:pt x="1606" y="2060"/>
                    </a:lnTo>
                    <a:lnTo>
                      <a:pt x="1588" y="2094"/>
                    </a:lnTo>
                    <a:lnTo>
                      <a:pt x="1582" y="2124"/>
                    </a:lnTo>
                    <a:lnTo>
                      <a:pt x="1580" y="2156"/>
                    </a:lnTo>
                    <a:lnTo>
                      <a:pt x="1608" y="2204"/>
                    </a:lnTo>
                    <a:lnTo>
                      <a:pt x="1638" y="2230"/>
                    </a:lnTo>
                    <a:lnTo>
                      <a:pt x="1654" y="2248"/>
                    </a:lnTo>
                    <a:lnTo>
                      <a:pt x="1668" y="2310"/>
                    </a:lnTo>
                    <a:lnTo>
                      <a:pt x="1682" y="2256"/>
                    </a:lnTo>
                    <a:lnTo>
                      <a:pt x="1668" y="2306"/>
                    </a:lnTo>
                    <a:lnTo>
                      <a:pt x="1660" y="2274"/>
                    </a:lnTo>
                    <a:lnTo>
                      <a:pt x="1656" y="2252"/>
                    </a:lnTo>
                    <a:lnTo>
                      <a:pt x="1640" y="2232"/>
                    </a:lnTo>
                    <a:lnTo>
                      <a:pt x="1624" y="2220"/>
                    </a:lnTo>
                    <a:lnTo>
                      <a:pt x="1606" y="2206"/>
                    </a:lnTo>
                    <a:lnTo>
                      <a:pt x="1598" y="2190"/>
                    </a:lnTo>
                    <a:lnTo>
                      <a:pt x="1588" y="2176"/>
                    </a:lnTo>
                    <a:lnTo>
                      <a:pt x="1582" y="2158"/>
                    </a:lnTo>
                    <a:lnTo>
                      <a:pt x="1582" y="2146"/>
                    </a:lnTo>
                    <a:lnTo>
                      <a:pt x="1584" y="2122"/>
                    </a:lnTo>
                    <a:lnTo>
                      <a:pt x="1598" y="2082"/>
                    </a:lnTo>
                    <a:lnTo>
                      <a:pt x="1610" y="2058"/>
                    </a:lnTo>
                    <a:lnTo>
                      <a:pt x="1612" y="2038"/>
                    </a:lnTo>
                    <a:lnTo>
                      <a:pt x="1620" y="2020"/>
                    </a:lnTo>
                    <a:lnTo>
                      <a:pt x="1632" y="2001"/>
                    </a:lnTo>
                    <a:lnTo>
                      <a:pt x="1642" y="1985"/>
                    </a:lnTo>
                    <a:lnTo>
                      <a:pt x="1650" y="1967"/>
                    </a:lnTo>
                    <a:lnTo>
                      <a:pt x="1650" y="1945"/>
                    </a:lnTo>
                    <a:lnTo>
                      <a:pt x="1654" y="1931"/>
                    </a:lnTo>
                    <a:lnTo>
                      <a:pt x="1686" y="1933"/>
                    </a:lnTo>
                    <a:lnTo>
                      <a:pt x="1715" y="1931"/>
                    </a:lnTo>
                    <a:lnTo>
                      <a:pt x="1739" y="1905"/>
                    </a:lnTo>
                    <a:lnTo>
                      <a:pt x="1755" y="1885"/>
                    </a:lnTo>
                    <a:lnTo>
                      <a:pt x="1775" y="1871"/>
                    </a:lnTo>
                    <a:lnTo>
                      <a:pt x="1743" y="1829"/>
                    </a:lnTo>
                    <a:lnTo>
                      <a:pt x="1709" y="1787"/>
                    </a:lnTo>
                    <a:lnTo>
                      <a:pt x="1709" y="1721"/>
                    </a:lnTo>
                    <a:lnTo>
                      <a:pt x="1775" y="1685"/>
                    </a:lnTo>
                    <a:lnTo>
                      <a:pt x="1853" y="1661"/>
                    </a:lnTo>
                    <a:lnTo>
                      <a:pt x="1919" y="1625"/>
                    </a:lnTo>
                    <a:lnTo>
                      <a:pt x="1925" y="1583"/>
                    </a:lnTo>
                    <a:lnTo>
                      <a:pt x="1853" y="1529"/>
                    </a:lnTo>
                    <a:lnTo>
                      <a:pt x="1781" y="1457"/>
                    </a:lnTo>
                    <a:lnTo>
                      <a:pt x="1727" y="1414"/>
                    </a:lnTo>
                    <a:lnTo>
                      <a:pt x="1733" y="1312"/>
                    </a:lnTo>
                    <a:lnTo>
                      <a:pt x="1630" y="1216"/>
                    </a:lnTo>
                    <a:lnTo>
                      <a:pt x="1528" y="1078"/>
                    </a:lnTo>
                    <a:lnTo>
                      <a:pt x="1450" y="934"/>
                    </a:lnTo>
                    <a:lnTo>
                      <a:pt x="1402" y="807"/>
                    </a:lnTo>
                    <a:lnTo>
                      <a:pt x="1342" y="663"/>
                    </a:lnTo>
                    <a:lnTo>
                      <a:pt x="1306" y="531"/>
                    </a:lnTo>
                    <a:lnTo>
                      <a:pt x="1318" y="411"/>
                    </a:lnTo>
                    <a:lnTo>
                      <a:pt x="1348" y="303"/>
                    </a:lnTo>
                    <a:lnTo>
                      <a:pt x="1360" y="176"/>
                    </a:lnTo>
                    <a:lnTo>
                      <a:pt x="1348" y="92"/>
                    </a:lnTo>
                    <a:lnTo>
                      <a:pt x="1280" y="64"/>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77" name="Freeform 276"/>
              <p:cNvSpPr>
                <a:spLocks/>
              </p:cNvSpPr>
              <p:nvPr>
                <p:custDataLst>
                  <p:tags r:id="rId6"/>
                </p:custDataLst>
              </p:nvPr>
            </p:nvSpPr>
            <p:spPr bwMode="auto">
              <a:xfrm>
                <a:off x="432197" y="4833172"/>
                <a:ext cx="437763" cy="622522"/>
              </a:xfrm>
              <a:custGeom>
                <a:avLst/>
                <a:gdLst/>
                <a:ahLst/>
                <a:cxnLst>
                  <a:cxn ang="0">
                    <a:pos x="177" y="0"/>
                  </a:cxn>
                  <a:cxn ang="0">
                    <a:pos x="194" y="37"/>
                  </a:cxn>
                  <a:cxn ang="0">
                    <a:pos x="211" y="38"/>
                  </a:cxn>
                  <a:cxn ang="0">
                    <a:pos x="256" y="45"/>
                  </a:cxn>
                  <a:cxn ang="0">
                    <a:pos x="280" y="56"/>
                  </a:cxn>
                  <a:cxn ang="0">
                    <a:pos x="299" y="89"/>
                  </a:cxn>
                  <a:cxn ang="0">
                    <a:pos x="304" y="103"/>
                  </a:cxn>
                  <a:cxn ang="0">
                    <a:pos x="248" y="126"/>
                  </a:cxn>
                  <a:cxn ang="0">
                    <a:pos x="232" y="167"/>
                  </a:cxn>
                  <a:cxn ang="0">
                    <a:pos x="216" y="205"/>
                  </a:cxn>
                  <a:cxn ang="0">
                    <a:pos x="205" y="234"/>
                  </a:cxn>
                  <a:cxn ang="0">
                    <a:pos x="180" y="227"/>
                  </a:cxn>
                  <a:cxn ang="0">
                    <a:pos x="175" y="257"/>
                  </a:cxn>
                  <a:cxn ang="0">
                    <a:pos x="178" y="287"/>
                  </a:cxn>
                  <a:cxn ang="0">
                    <a:pos x="155" y="314"/>
                  </a:cxn>
                  <a:cxn ang="0">
                    <a:pos x="152" y="354"/>
                  </a:cxn>
                  <a:cxn ang="0">
                    <a:pos x="156" y="378"/>
                  </a:cxn>
                  <a:cxn ang="0">
                    <a:pos x="116" y="398"/>
                  </a:cxn>
                  <a:cxn ang="0">
                    <a:pos x="115" y="432"/>
                  </a:cxn>
                  <a:cxn ang="0">
                    <a:pos x="59" y="436"/>
                  </a:cxn>
                  <a:cxn ang="0">
                    <a:pos x="19" y="406"/>
                  </a:cxn>
                  <a:cxn ang="0">
                    <a:pos x="0" y="395"/>
                  </a:cxn>
                  <a:cxn ang="0">
                    <a:pos x="22" y="362"/>
                  </a:cxn>
                  <a:cxn ang="0">
                    <a:pos x="48" y="314"/>
                  </a:cxn>
                  <a:cxn ang="0">
                    <a:pos x="44" y="288"/>
                  </a:cxn>
                  <a:cxn ang="0">
                    <a:pos x="30" y="272"/>
                  </a:cxn>
                  <a:cxn ang="0">
                    <a:pos x="52" y="252"/>
                  </a:cxn>
                  <a:cxn ang="0">
                    <a:pos x="22" y="256"/>
                  </a:cxn>
                  <a:cxn ang="0">
                    <a:pos x="30" y="226"/>
                  </a:cxn>
                  <a:cxn ang="0">
                    <a:pos x="41" y="200"/>
                  </a:cxn>
                  <a:cxn ang="0">
                    <a:pos x="52" y="186"/>
                  </a:cxn>
                  <a:cxn ang="0">
                    <a:pos x="82" y="167"/>
                  </a:cxn>
                  <a:cxn ang="0">
                    <a:pos x="122" y="115"/>
                  </a:cxn>
                  <a:cxn ang="0">
                    <a:pos x="137" y="78"/>
                  </a:cxn>
                  <a:cxn ang="0">
                    <a:pos x="148" y="38"/>
                  </a:cxn>
                </a:cxnLst>
                <a:rect l="0" t="0" r="r" b="b"/>
                <a:pathLst>
                  <a:path w="307" h="436">
                    <a:moveTo>
                      <a:pt x="155" y="4"/>
                    </a:moveTo>
                    <a:lnTo>
                      <a:pt x="177" y="0"/>
                    </a:lnTo>
                    <a:lnTo>
                      <a:pt x="192" y="17"/>
                    </a:lnTo>
                    <a:lnTo>
                      <a:pt x="194" y="37"/>
                    </a:lnTo>
                    <a:lnTo>
                      <a:pt x="200" y="41"/>
                    </a:lnTo>
                    <a:lnTo>
                      <a:pt x="211" y="38"/>
                    </a:lnTo>
                    <a:lnTo>
                      <a:pt x="246" y="52"/>
                    </a:lnTo>
                    <a:lnTo>
                      <a:pt x="256" y="45"/>
                    </a:lnTo>
                    <a:lnTo>
                      <a:pt x="271" y="44"/>
                    </a:lnTo>
                    <a:lnTo>
                      <a:pt x="280" y="56"/>
                    </a:lnTo>
                    <a:lnTo>
                      <a:pt x="288" y="76"/>
                    </a:lnTo>
                    <a:lnTo>
                      <a:pt x="299" y="89"/>
                    </a:lnTo>
                    <a:lnTo>
                      <a:pt x="307" y="96"/>
                    </a:lnTo>
                    <a:lnTo>
                      <a:pt x="304" y="103"/>
                    </a:lnTo>
                    <a:lnTo>
                      <a:pt x="278" y="110"/>
                    </a:lnTo>
                    <a:lnTo>
                      <a:pt x="248" y="126"/>
                    </a:lnTo>
                    <a:lnTo>
                      <a:pt x="249" y="153"/>
                    </a:lnTo>
                    <a:lnTo>
                      <a:pt x="232" y="167"/>
                    </a:lnTo>
                    <a:lnTo>
                      <a:pt x="218" y="179"/>
                    </a:lnTo>
                    <a:lnTo>
                      <a:pt x="216" y="205"/>
                    </a:lnTo>
                    <a:lnTo>
                      <a:pt x="216" y="222"/>
                    </a:lnTo>
                    <a:lnTo>
                      <a:pt x="205" y="234"/>
                    </a:lnTo>
                    <a:lnTo>
                      <a:pt x="196" y="222"/>
                    </a:lnTo>
                    <a:lnTo>
                      <a:pt x="180" y="227"/>
                    </a:lnTo>
                    <a:lnTo>
                      <a:pt x="178" y="235"/>
                    </a:lnTo>
                    <a:lnTo>
                      <a:pt x="175" y="257"/>
                    </a:lnTo>
                    <a:lnTo>
                      <a:pt x="181" y="265"/>
                    </a:lnTo>
                    <a:lnTo>
                      <a:pt x="178" y="287"/>
                    </a:lnTo>
                    <a:lnTo>
                      <a:pt x="168" y="297"/>
                    </a:lnTo>
                    <a:lnTo>
                      <a:pt x="155" y="314"/>
                    </a:lnTo>
                    <a:lnTo>
                      <a:pt x="149" y="328"/>
                    </a:lnTo>
                    <a:lnTo>
                      <a:pt x="152" y="354"/>
                    </a:lnTo>
                    <a:lnTo>
                      <a:pt x="163" y="369"/>
                    </a:lnTo>
                    <a:lnTo>
                      <a:pt x="156" y="378"/>
                    </a:lnTo>
                    <a:lnTo>
                      <a:pt x="127" y="387"/>
                    </a:lnTo>
                    <a:lnTo>
                      <a:pt x="116" y="398"/>
                    </a:lnTo>
                    <a:lnTo>
                      <a:pt x="115" y="410"/>
                    </a:lnTo>
                    <a:lnTo>
                      <a:pt x="115" y="432"/>
                    </a:lnTo>
                    <a:lnTo>
                      <a:pt x="82" y="432"/>
                    </a:lnTo>
                    <a:lnTo>
                      <a:pt x="59" y="436"/>
                    </a:lnTo>
                    <a:lnTo>
                      <a:pt x="33" y="406"/>
                    </a:lnTo>
                    <a:lnTo>
                      <a:pt x="19" y="406"/>
                    </a:lnTo>
                    <a:lnTo>
                      <a:pt x="7" y="406"/>
                    </a:lnTo>
                    <a:lnTo>
                      <a:pt x="0" y="395"/>
                    </a:lnTo>
                    <a:lnTo>
                      <a:pt x="7" y="384"/>
                    </a:lnTo>
                    <a:lnTo>
                      <a:pt x="22" y="362"/>
                    </a:lnTo>
                    <a:lnTo>
                      <a:pt x="30" y="340"/>
                    </a:lnTo>
                    <a:lnTo>
                      <a:pt x="48" y="314"/>
                    </a:lnTo>
                    <a:lnTo>
                      <a:pt x="52" y="299"/>
                    </a:lnTo>
                    <a:lnTo>
                      <a:pt x="44" y="288"/>
                    </a:lnTo>
                    <a:lnTo>
                      <a:pt x="33" y="278"/>
                    </a:lnTo>
                    <a:lnTo>
                      <a:pt x="30" y="272"/>
                    </a:lnTo>
                    <a:lnTo>
                      <a:pt x="44" y="267"/>
                    </a:lnTo>
                    <a:lnTo>
                      <a:pt x="52" y="252"/>
                    </a:lnTo>
                    <a:lnTo>
                      <a:pt x="37" y="248"/>
                    </a:lnTo>
                    <a:lnTo>
                      <a:pt x="22" y="256"/>
                    </a:lnTo>
                    <a:lnTo>
                      <a:pt x="22" y="237"/>
                    </a:lnTo>
                    <a:lnTo>
                      <a:pt x="30" y="226"/>
                    </a:lnTo>
                    <a:lnTo>
                      <a:pt x="37" y="215"/>
                    </a:lnTo>
                    <a:lnTo>
                      <a:pt x="41" y="200"/>
                    </a:lnTo>
                    <a:lnTo>
                      <a:pt x="44" y="189"/>
                    </a:lnTo>
                    <a:lnTo>
                      <a:pt x="52" y="186"/>
                    </a:lnTo>
                    <a:lnTo>
                      <a:pt x="63" y="193"/>
                    </a:lnTo>
                    <a:lnTo>
                      <a:pt x="82" y="167"/>
                    </a:lnTo>
                    <a:lnTo>
                      <a:pt x="93" y="149"/>
                    </a:lnTo>
                    <a:lnTo>
                      <a:pt x="122" y="115"/>
                    </a:lnTo>
                    <a:lnTo>
                      <a:pt x="122" y="101"/>
                    </a:lnTo>
                    <a:lnTo>
                      <a:pt x="137" y="78"/>
                    </a:lnTo>
                    <a:lnTo>
                      <a:pt x="141" y="52"/>
                    </a:lnTo>
                    <a:lnTo>
                      <a:pt x="148" y="38"/>
                    </a:lnTo>
                    <a:lnTo>
                      <a:pt x="155" y="4"/>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nvGrpSpPr>
              <p:cNvPr id="278" name="Group 277"/>
              <p:cNvGrpSpPr>
                <a:grpSpLocks/>
              </p:cNvGrpSpPr>
              <p:nvPr/>
            </p:nvGrpSpPr>
            <p:grpSpPr bwMode="auto">
              <a:xfrm>
                <a:off x="596982" y="4636762"/>
                <a:ext cx="1203431" cy="1026994"/>
                <a:chOff x="679" y="2614"/>
                <a:chExt cx="842" cy="718"/>
              </a:xfrm>
              <a:solidFill>
                <a:schemeClr val="accent6"/>
              </a:solidFill>
            </p:grpSpPr>
            <p:sp>
              <p:nvSpPr>
                <p:cNvPr id="366" name="Freeform 7"/>
                <p:cNvSpPr>
                  <a:spLocks/>
                </p:cNvSpPr>
                <p:nvPr>
                  <p:custDataLst>
                    <p:tags r:id="rId84"/>
                  </p:custDataLst>
                </p:nvPr>
              </p:nvSpPr>
              <p:spPr bwMode="auto">
                <a:xfrm>
                  <a:off x="679" y="2614"/>
                  <a:ext cx="811" cy="718"/>
                </a:xfrm>
                <a:custGeom>
                  <a:avLst/>
                  <a:gdLst/>
                  <a:ahLst/>
                  <a:cxnLst>
                    <a:cxn ang="0">
                      <a:pos x="37" y="130"/>
                    </a:cxn>
                    <a:cxn ang="0">
                      <a:pos x="63" y="78"/>
                    </a:cxn>
                    <a:cxn ang="0">
                      <a:pos x="56" y="59"/>
                    </a:cxn>
                    <a:cxn ang="0">
                      <a:pos x="44" y="41"/>
                    </a:cxn>
                    <a:cxn ang="0">
                      <a:pos x="89" y="19"/>
                    </a:cxn>
                    <a:cxn ang="0">
                      <a:pos x="122" y="11"/>
                    </a:cxn>
                    <a:cxn ang="0">
                      <a:pos x="157" y="4"/>
                    </a:cxn>
                    <a:cxn ang="0">
                      <a:pos x="223" y="56"/>
                    </a:cxn>
                    <a:cxn ang="0">
                      <a:pos x="270" y="59"/>
                    </a:cxn>
                    <a:cxn ang="0">
                      <a:pos x="399" y="119"/>
                    </a:cxn>
                    <a:cxn ang="0">
                      <a:pos x="454" y="133"/>
                    </a:cxn>
                    <a:cxn ang="0">
                      <a:pos x="492" y="163"/>
                    </a:cxn>
                    <a:cxn ang="0">
                      <a:pos x="529" y="167"/>
                    </a:cxn>
                    <a:cxn ang="0">
                      <a:pos x="529" y="185"/>
                    </a:cxn>
                    <a:cxn ang="0">
                      <a:pos x="588" y="241"/>
                    </a:cxn>
                    <a:cxn ang="0">
                      <a:pos x="636" y="263"/>
                    </a:cxn>
                    <a:cxn ang="0">
                      <a:pos x="711" y="285"/>
                    </a:cxn>
                    <a:cxn ang="0">
                      <a:pos x="726" y="311"/>
                    </a:cxn>
                    <a:cxn ang="0">
                      <a:pos x="755" y="322"/>
                    </a:cxn>
                    <a:cxn ang="0">
                      <a:pos x="785" y="322"/>
                    </a:cxn>
                    <a:cxn ang="0">
                      <a:pos x="804" y="322"/>
                    </a:cxn>
                    <a:cxn ang="0">
                      <a:pos x="811" y="356"/>
                    </a:cxn>
                    <a:cxn ang="0">
                      <a:pos x="741" y="411"/>
                    </a:cxn>
                    <a:cxn ang="0">
                      <a:pos x="640" y="429"/>
                    </a:cxn>
                    <a:cxn ang="0">
                      <a:pos x="614" y="455"/>
                    </a:cxn>
                    <a:cxn ang="0">
                      <a:pos x="584" y="466"/>
                    </a:cxn>
                    <a:cxn ang="0">
                      <a:pos x="554" y="499"/>
                    </a:cxn>
                    <a:cxn ang="0">
                      <a:pos x="521" y="522"/>
                    </a:cxn>
                    <a:cxn ang="0">
                      <a:pos x="532" y="562"/>
                    </a:cxn>
                    <a:cxn ang="0">
                      <a:pos x="536" y="592"/>
                    </a:cxn>
                    <a:cxn ang="0">
                      <a:pos x="517" y="603"/>
                    </a:cxn>
                    <a:cxn ang="0">
                      <a:pos x="466" y="648"/>
                    </a:cxn>
                    <a:cxn ang="0">
                      <a:pos x="447" y="666"/>
                    </a:cxn>
                    <a:cxn ang="0">
                      <a:pos x="414" y="677"/>
                    </a:cxn>
                    <a:cxn ang="0">
                      <a:pos x="380" y="685"/>
                    </a:cxn>
                    <a:cxn ang="0">
                      <a:pos x="362" y="707"/>
                    </a:cxn>
                    <a:cxn ang="0">
                      <a:pos x="332" y="714"/>
                    </a:cxn>
                    <a:cxn ang="0">
                      <a:pos x="273" y="707"/>
                    </a:cxn>
                    <a:cxn ang="0">
                      <a:pos x="182" y="677"/>
                    </a:cxn>
                    <a:cxn ang="0">
                      <a:pos x="137" y="696"/>
                    </a:cxn>
                    <a:cxn ang="0">
                      <a:pos x="96" y="711"/>
                    </a:cxn>
                    <a:cxn ang="0">
                      <a:pos x="44" y="674"/>
                    </a:cxn>
                    <a:cxn ang="0">
                      <a:pos x="26" y="588"/>
                    </a:cxn>
                    <a:cxn ang="0">
                      <a:pos x="0" y="559"/>
                    </a:cxn>
                    <a:cxn ang="0">
                      <a:pos x="11" y="525"/>
                    </a:cxn>
                    <a:cxn ang="0">
                      <a:pos x="48" y="507"/>
                    </a:cxn>
                    <a:cxn ang="0">
                      <a:pos x="33" y="466"/>
                    </a:cxn>
                    <a:cxn ang="0">
                      <a:pos x="67" y="422"/>
                    </a:cxn>
                    <a:cxn ang="0">
                      <a:pos x="59" y="389"/>
                    </a:cxn>
                    <a:cxn ang="0">
                      <a:pos x="70" y="360"/>
                    </a:cxn>
                    <a:cxn ang="0">
                      <a:pos x="89" y="371"/>
                    </a:cxn>
                    <a:cxn ang="0">
                      <a:pos x="104" y="315"/>
                    </a:cxn>
                    <a:cxn ang="0">
                      <a:pos x="133" y="274"/>
                    </a:cxn>
                    <a:cxn ang="0">
                      <a:pos x="164" y="245"/>
                    </a:cxn>
                    <a:cxn ang="0">
                      <a:pos x="194" y="233"/>
                    </a:cxn>
                    <a:cxn ang="0">
                      <a:pos x="160" y="185"/>
                    </a:cxn>
                    <a:cxn ang="0">
                      <a:pos x="130" y="189"/>
                    </a:cxn>
                    <a:cxn ang="0">
                      <a:pos x="93" y="174"/>
                    </a:cxn>
                    <a:cxn ang="0">
                      <a:pos x="78" y="170"/>
                    </a:cxn>
                    <a:cxn ang="0">
                      <a:pos x="67" y="141"/>
                    </a:cxn>
                    <a:cxn ang="0">
                      <a:pos x="41" y="141"/>
                    </a:cxn>
                  </a:cxnLst>
                  <a:rect l="0" t="0" r="r" b="b"/>
                  <a:pathLst>
                    <a:path w="811" h="718">
                      <a:moveTo>
                        <a:pt x="41" y="141"/>
                      </a:moveTo>
                      <a:lnTo>
                        <a:pt x="37" y="130"/>
                      </a:lnTo>
                      <a:lnTo>
                        <a:pt x="41" y="115"/>
                      </a:lnTo>
                      <a:lnTo>
                        <a:pt x="63" y="78"/>
                      </a:lnTo>
                      <a:lnTo>
                        <a:pt x="52" y="70"/>
                      </a:lnTo>
                      <a:lnTo>
                        <a:pt x="56" y="59"/>
                      </a:lnTo>
                      <a:lnTo>
                        <a:pt x="44" y="56"/>
                      </a:lnTo>
                      <a:lnTo>
                        <a:pt x="44" y="41"/>
                      </a:lnTo>
                      <a:lnTo>
                        <a:pt x="52" y="30"/>
                      </a:lnTo>
                      <a:lnTo>
                        <a:pt x="89" y="19"/>
                      </a:lnTo>
                      <a:lnTo>
                        <a:pt x="119" y="22"/>
                      </a:lnTo>
                      <a:lnTo>
                        <a:pt x="122" y="11"/>
                      </a:lnTo>
                      <a:lnTo>
                        <a:pt x="145" y="0"/>
                      </a:lnTo>
                      <a:lnTo>
                        <a:pt x="157" y="4"/>
                      </a:lnTo>
                      <a:lnTo>
                        <a:pt x="182" y="37"/>
                      </a:lnTo>
                      <a:lnTo>
                        <a:pt x="223" y="56"/>
                      </a:lnTo>
                      <a:lnTo>
                        <a:pt x="260" y="56"/>
                      </a:lnTo>
                      <a:lnTo>
                        <a:pt x="270" y="59"/>
                      </a:lnTo>
                      <a:lnTo>
                        <a:pt x="369" y="115"/>
                      </a:lnTo>
                      <a:lnTo>
                        <a:pt x="399" y="119"/>
                      </a:lnTo>
                      <a:lnTo>
                        <a:pt x="421" y="141"/>
                      </a:lnTo>
                      <a:lnTo>
                        <a:pt x="454" y="133"/>
                      </a:lnTo>
                      <a:lnTo>
                        <a:pt x="473" y="145"/>
                      </a:lnTo>
                      <a:lnTo>
                        <a:pt x="492" y="163"/>
                      </a:lnTo>
                      <a:lnTo>
                        <a:pt x="514" y="163"/>
                      </a:lnTo>
                      <a:lnTo>
                        <a:pt x="529" y="167"/>
                      </a:lnTo>
                      <a:lnTo>
                        <a:pt x="536" y="174"/>
                      </a:lnTo>
                      <a:lnTo>
                        <a:pt x="529" y="185"/>
                      </a:lnTo>
                      <a:lnTo>
                        <a:pt x="529" y="200"/>
                      </a:lnTo>
                      <a:lnTo>
                        <a:pt x="588" y="241"/>
                      </a:lnTo>
                      <a:lnTo>
                        <a:pt x="621" y="267"/>
                      </a:lnTo>
                      <a:lnTo>
                        <a:pt x="636" y="263"/>
                      </a:lnTo>
                      <a:lnTo>
                        <a:pt x="654" y="259"/>
                      </a:lnTo>
                      <a:lnTo>
                        <a:pt x="711" y="285"/>
                      </a:lnTo>
                      <a:lnTo>
                        <a:pt x="718" y="304"/>
                      </a:lnTo>
                      <a:lnTo>
                        <a:pt x="726" y="311"/>
                      </a:lnTo>
                      <a:lnTo>
                        <a:pt x="744" y="315"/>
                      </a:lnTo>
                      <a:lnTo>
                        <a:pt x="755" y="322"/>
                      </a:lnTo>
                      <a:lnTo>
                        <a:pt x="770" y="322"/>
                      </a:lnTo>
                      <a:lnTo>
                        <a:pt x="785" y="322"/>
                      </a:lnTo>
                      <a:lnTo>
                        <a:pt x="800" y="326"/>
                      </a:lnTo>
                      <a:lnTo>
                        <a:pt x="804" y="322"/>
                      </a:lnTo>
                      <a:lnTo>
                        <a:pt x="811" y="337"/>
                      </a:lnTo>
                      <a:lnTo>
                        <a:pt x="811" y="356"/>
                      </a:lnTo>
                      <a:lnTo>
                        <a:pt x="800" y="367"/>
                      </a:lnTo>
                      <a:lnTo>
                        <a:pt x="741" y="411"/>
                      </a:lnTo>
                      <a:lnTo>
                        <a:pt x="715" y="411"/>
                      </a:lnTo>
                      <a:lnTo>
                        <a:pt x="640" y="429"/>
                      </a:lnTo>
                      <a:lnTo>
                        <a:pt x="614" y="433"/>
                      </a:lnTo>
                      <a:lnTo>
                        <a:pt x="614" y="455"/>
                      </a:lnTo>
                      <a:lnTo>
                        <a:pt x="599" y="455"/>
                      </a:lnTo>
                      <a:lnTo>
                        <a:pt x="584" y="466"/>
                      </a:lnTo>
                      <a:lnTo>
                        <a:pt x="569" y="485"/>
                      </a:lnTo>
                      <a:lnTo>
                        <a:pt x="554" y="499"/>
                      </a:lnTo>
                      <a:lnTo>
                        <a:pt x="536" y="503"/>
                      </a:lnTo>
                      <a:lnTo>
                        <a:pt x="521" y="522"/>
                      </a:lnTo>
                      <a:lnTo>
                        <a:pt x="521" y="548"/>
                      </a:lnTo>
                      <a:lnTo>
                        <a:pt x="532" y="562"/>
                      </a:lnTo>
                      <a:lnTo>
                        <a:pt x="536" y="573"/>
                      </a:lnTo>
                      <a:lnTo>
                        <a:pt x="536" y="592"/>
                      </a:lnTo>
                      <a:lnTo>
                        <a:pt x="532" y="599"/>
                      </a:lnTo>
                      <a:lnTo>
                        <a:pt x="517" y="603"/>
                      </a:lnTo>
                      <a:lnTo>
                        <a:pt x="495" y="622"/>
                      </a:lnTo>
                      <a:lnTo>
                        <a:pt x="466" y="648"/>
                      </a:lnTo>
                      <a:lnTo>
                        <a:pt x="454" y="659"/>
                      </a:lnTo>
                      <a:lnTo>
                        <a:pt x="447" y="666"/>
                      </a:lnTo>
                      <a:lnTo>
                        <a:pt x="447" y="677"/>
                      </a:lnTo>
                      <a:lnTo>
                        <a:pt x="414" y="677"/>
                      </a:lnTo>
                      <a:lnTo>
                        <a:pt x="395" y="681"/>
                      </a:lnTo>
                      <a:lnTo>
                        <a:pt x="380" y="685"/>
                      </a:lnTo>
                      <a:lnTo>
                        <a:pt x="373" y="692"/>
                      </a:lnTo>
                      <a:lnTo>
                        <a:pt x="362" y="707"/>
                      </a:lnTo>
                      <a:lnTo>
                        <a:pt x="343" y="714"/>
                      </a:lnTo>
                      <a:lnTo>
                        <a:pt x="332" y="714"/>
                      </a:lnTo>
                      <a:lnTo>
                        <a:pt x="310" y="711"/>
                      </a:lnTo>
                      <a:lnTo>
                        <a:pt x="273" y="707"/>
                      </a:lnTo>
                      <a:lnTo>
                        <a:pt x="208" y="681"/>
                      </a:lnTo>
                      <a:lnTo>
                        <a:pt x="182" y="677"/>
                      </a:lnTo>
                      <a:lnTo>
                        <a:pt x="157" y="685"/>
                      </a:lnTo>
                      <a:lnTo>
                        <a:pt x="137" y="696"/>
                      </a:lnTo>
                      <a:lnTo>
                        <a:pt x="115" y="699"/>
                      </a:lnTo>
                      <a:lnTo>
                        <a:pt x="96" y="711"/>
                      </a:lnTo>
                      <a:lnTo>
                        <a:pt x="85" y="718"/>
                      </a:lnTo>
                      <a:lnTo>
                        <a:pt x="44" y="674"/>
                      </a:lnTo>
                      <a:lnTo>
                        <a:pt x="44" y="611"/>
                      </a:lnTo>
                      <a:lnTo>
                        <a:pt x="26" y="588"/>
                      </a:lnTo>
                      <a:lnTo>
                        <a:pt x="4" y="570"/>
                      </a:lnTo>
                      <a:lnTo>
                        <a:pt x="0" y="559"/>
                      </a:lnTo>
                      <a:lnTo>
                        <a:pt x="0" y="536"/>
                      </a:lnTo>
                      <a:lnTo>
                        <a:pt x="11" y="525"/>
                      </a:lnTo>
                      <a:lnTo>
                        <a:pt x="41" y="514"/>
                      </a:lnTo>
                      <a:lnTo>
                        <a:pt x="48" y="507"/>
                      </a:lnTo>
                      <a:lnTo>
                        <a:pt x="37" y="492"/>
                      </a:lnTo>
                      <a:lnTo>
                        <a:pt x="33" y="466"/>
                      </a:lnTo>
                      <a:lnTo>
                        <a:pt x="44" y="444"/>
                      </a:lnTo>
                      <a:lnTo>
                        <a:pt x="67" y="422"/>
                      </a:lnTo>
                      <a:lnTo>
                        <a:pt x="67" y="404"/>
                      </a:lnTo>
                      <a:lnTo>
                        <a:pt x="59" y="389"/>
                      </a:lnTo>
                      <a:lnTo>
                        <a:pt x="67" y="363"/>
                      </a:lnTo>
                      <a:lnTo>
                        <a:pt x="70" y="360"/>
                      </a:lnTo>
                      <a:lnTo>
                        <a:pt x="81" y="360"/>
                      </a:lnTo>
                      <a:lnTo>
                        <a:pt x="89" y="371"/>
                      </a:lnTo>
                      <a:lnTo>
                        <a:pt x="100" y="356"/>
                      </a:lnTo>
                      <a:lnTo>
                        <a:pt x="104" y="315"/>
                      </a:lnTo>
                      <a:lnTo>
                        <a:pt x="133" y="289"/>
                      </a:lnTo>
                      <a:lnTo>
                        <a:pt x="133" y="274"/>
                      </a:lnTo>
                      <a:lnTo>
                        <a:pt x="133" y="263"/>
                      </a:lnTo>
                      <a:lnTo>
                        <a:pt x="164" y="245"/>
                      </a:lnTo>
                      <a:lnTo>
                        <a:pt x="186" y="241"/>
                      </a:lnTo>
                      <a:lnTo>
                        <a:pt x="194" y="233"/>
                      </a:lnTo>
                      <a:lnTo>
                        <a:pt x="175" y="215"/>
                      </a:lnTo>
                      <a:lnTo>
                        <a:pt x="160" y="185"/>
                      </a:lnTo>
                      <a:lnTo>
                        <a:pt x="153" y="178"/>
                      </a:lnTo>
                      <a:lnTo>
                        <a:pt x="130" y="189"/>
                      </a:lnTo>
                      <a:lnTo>
                        <a:pt x="115" y="182"/>
                      </a:lnTo>
                      <a:lnTo>
                        <a:pt x="93" y="174"/>
                      </a:lnTo>
                      <a:lnTo>
                        <a:pt x="85" y="178"/>
                      </a:lnTo>
                      <a:lnTo>
                        <a:pt x="78" y="170"/>
                      </a:lnTo>
                      <a:lnTo>
                        <a:pt x="78" y="156"/>
                      </a:lnTo>
                      <a:lnTo>
                        <a:pt x="67" y="141"/>
                      </a:lnTo>
                      <a:lnTo>
                        <a:pt x="59" y="137"/>
                      </a:lnTo>
                      <a:lnTo>
                        <a:pt x="41" y="141"/>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67" name="Freeform 8"/>
                <p:cNvSpPr>
                  <a:spLocks/>
                </p:cNvSpPr>
                <p:nvPr>
                  <p:custDataLst>
                    <p:tags r:id="rId85"/>
                  </p:custDataLst>
                </p:nvPr>
              </p:nvSpPr>
              <p:spPr bwMode="auto">
                <a:xfrm>
                  <a:off x="1296" y="3210"/>
                  <a:ext cx="31" cy="22"/>
                </a:xfrm>
                <a:custGeom>
                  <a:avLst/>
                  <a:gdLst/>
                  <a:ahLst/>
                  <a:cxnLst>
                    <a:cxn ang="0">
                      <a:pos x="31" y="0"/>
                    </a:cxn>
                    <a:cxn ang="0">
                      <a:pos x="16" y="0"/>
                    </a:cxn>
                    <a:cxn ang="0">
                      <a:pos x="0" y="15"/>
                    </a:cxn>
                    <a:cxn ang="0">
                      <a:pos x="8" y="22"/>
                    </a:cxn>
                    <a:cxn ang="0">
                      <a:pos x="23" y="22"/>
                    </a:cxn>
                    <a:cxn ang="0">
                      <a:pos x="31" y="0"/>
                    </a:cxn>
                  </a:cxnLst>
                  <a:rect l="0" t="0" r="r" b="b"/>
                  <a:pathLst>
                    <a:path w="31" h="22">
                      <a:moveTo>
                        <a:pt x="31" y="0"/>
                      </a:moveTo>
                      <a:lnTo>
                        <a:pt x="16" y="0"/>
                      </a:lnTo>
                      <a:lnTo>
                        <a:pt x="0" y="15"/>
                      </a:lnTo>
                      <a:lnTo>
                        <a:pt x="8" y="22"/>
                      </a:lnTo>
                      <a:lnTo>
                        <a:pt x="23" y="22"/>
                      </a:lnTo>
                      <a:lnTo>
                        <a:pt x="31"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68" name="Freeform 9"/>
                <p:cNvSpPr>
                  <a:spLocks/>
                </p:cNvSpPr>
                <p:nvPr>
                  <p:custDataLst>
                    <p:tags r:id="rId86"/>
                  </p:custDataLst>
                </p:nvPr>
              </p:nvSpPr>
              <p:spPr bwMode="auto">
                <a:xfrm>
                  <a:off x="1387" y="3154"/>
                  <a:ext cx="71" cy="56"/>
                </a:xfrm>
                <a:custGeom>
                  <a:avLst/>
                  <a:gdLst/>
                  <a:ahLst/>
                  <a:cxnLst>
                    <a:cxn ang="0">
                      <a:pos x="52" y="0"/>
                    </a:cxn>
                    <a:cxn ang="0">
                      <a:pos x="45" y="7"/>
                    </a:cxn>
                    <a:cxn ang="0">
                      <a:pos x="15" y="11"/>
                    </a:cxn>
                    <a:cxn ang="0">
                      <a:pos x="0" y="30"/>
                    </a:cxn>
                    <a:cxn ang="0">
                      <a:pos x="22" y="45"/>
                    </a:cxn>
                    <a:cxn ang="0">
                      <a:pos x="34" y="56"/>
                    </a:cxn>
                    <a:cxn ang="0">
                      <a:pos x="56" y="52"/>
                    </a:cxn>
                    <a:cxn ang="0">
                      <a:pos x="71" y="45"/>
                    </a:cxn>
                    <a:cxn ang="0">
                      <a:pos x="67" y="30"/>
                    </a:cxn>
                    <a:cxn ang="0">
                      <a:pos x="56" y="19"/>
                    </a:cxn>
                    <a:cxn ang="0">
                      <a:pos x="52" y="0"/>
                    </a:cxn>
                  </a:cxnLst>
                  <a:rect l="0" t="0" r="r" b="b"/>
                  <a:pathLst>
                    <a:path w="71" h="56">
                      <a:moveTo>
                        <a:pt x="52" y="0"/>
                      </a:moveTo>
                      <a:lnTo>
                        <a:pt x="45" y="7"/>
                      </a:lnTo>
                      <a:lnTo>
                        <a:pt x="15" y="11"/>
                      </a:lnTo>
                      <a:lnTo>
                        <a:pt x="0" y="30"/>
                      </a:lnTo>
                      <a:lnTo>
                        <a:pt x="22" y="45"/>
                      </a:lnTo>
                      <a:lnTo>
                        <a:pt x="34" y="56"/>
                      </a:lnTo>
                      <a:lnTo>
                        <a:pt x="56" y="52"/>
                      </a:lnTo>
                      <a:lnTo>
                        <a:pt x="71" y="45"/>
                      </a:lnTo>
                      <a:lnTo>
                        <a:pt x="67" y="30"/>
                      </a:lnTo>
                      <a:lnTo>
                        <a:pt x="56" y="19"/>
                      </a:lnTo>
                      <a:lnTo>
                        <a:pt x="52"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69" name="Freeform 10"/>
                <p:cNvSpPr>
                  <a:spLocks/>
                </p:cNvSpPr>
                <p:nvPr>
                  <p:custDataLst>
                    <p:tags r:id="rId87"/>
                  </p:custDataLst>
                </p:nvPr>
              </p:nvSpPr>
              <p:spPr bwMode="auto">
                <a:xfrm>
                  <a:off x="1498" y="3158"/>
                  <a:ext cx="23" cy="29"/>
                </a:xfrm>
                <a:custGeom>
                  <a:avLst/>
                  <a:gdLst/>
                  <a:ahLst/>
                  <a:cxnLst>
                    <a:cxn ang="0">
                      <a:pos x="15" y="0"/>
                    </a:cxn>
                    <a:cxn ang="0">
                      <a:pos x="0" y="7"/>
                    </a:cxn>
                    <a:cxn ang="0">
                      <a:pos x="12" y="18"/>
                    </a:cxn>
                    <a:cxn ang="0">
                      <a:pos x="23" y="29"/>
                    </a:cxn>
                    <a:cxn ang="0">
                      <a:pos x="15" y="0"/>
                    </a:cxn>
                  </a:cxnLst>
                  <a:rect l="0" t="0" r="r" b="b"/>
                  <a:pathLst>
                    <a:path w="23" h="29">
                      <a:moveTo>
                        <a:pt x="15" y="0"/>
                      </a:moveTo>
                      <a:lnTo>
                        <a:pt x="0" y="7"/>
                      </a:lnTo>
                      <a:lnTo>
                        <a:pt x="12" y="18"/>
                      </a:lnTo>
                      <a:lnTo>
                        <a:pt x="23" y="29"/>
                      </a:lnTo>
                      <a:lnTo>
                        <a:pt x="15"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grpSp>
            <p:nvGrpSpPr>
              <p:cNvPr id="279" name="Group 11"/>
              <p:cNvGrpSpPr>
                <a:grpSpLocks/>
              </p:cNvGrpSpPr>
              <p:nvPr/>
            </p:nvGrpSpPr>
            <p:grpSpPr bwMode="auto">
              <a:xfrm>
                <a:off x="2146629" y="4668387"/>
                <a:ext cx="1055291" cy="1328268"/>
                <a:chOff x="1765" y="2636"/>
                <a:chExt cx="737" cy="929"/>
              </a:xfrm>
              <a:solidFill>
                <a:schemeClr val="accent6"/>
              </a:solidFill>
            </p:grpSpPr>
            <p:sp>
              <p:nvSpPr>
                <p:cNvPr id="363" name="Freeform 12"/>
                <p:cNvSpPr>
                  <a:spLocks/>
                </p:cNvSpPr>
                <p:nvPr>
                  <p:custDataLst>
                    <p:tags r:id="rId81"/>
                  </p:custDataLst>
                </p:nvPr>
              </p:nvSpPr>
              <p:spPr bwMode="auto">
                <a:xfrm>
                  <a:off x="1791" y="3128"/>
                  <a:ext cx="119" cy="193"/>
                </a:xfrm>
                <a:custGeom>
                  <a:avLst/>
                  <a:gdLst/>
                  <a:ahLst/>
                  <a:cxnLst>
                    <a:cxn ang="0">
                      <a:pos x="71" y="0"/>
                    </a:cxn>
                    <a:cxn ang="0">
                      <a:pos x="52" y="11"/>
                    </a:cxn>
                    <a:cxn ang="0">
                      <a:pos x="37" y="22"/>
                    </a:cxn>
                    <a:cxn ang="0">
                      <a:pos x="22" y="26"/>
                    </a:cxn>
                    <a:cxn ang="0">
                      <a:pos x="0" y="22"/>
                    </a:cxn>
                    <a:cxn ang="0">
                      <a:pos x="4" y="45"/>
                    </a:cxn>
                    <a:cxn ang="0">
                      <a:pos x="15" y="59"/>
                    </a:cxn>
                    <a:cxn ang="0">
                      <a:pos x="11" y="97"/>
                    </a:cxn>
                    <a:cxn ang="0">
                      <a:pos x="11" y="115"/>
                    </a:cxn>
                    <a:cxn ang="0">
                      <a:pos x="15" y="130"/>
                    </a:cxn>
                    <a:cxn ang="0">
                      <a:pos x="4" y="160"/>
                    </a:cxn>
                    <a:cxn ang="0">
                      <a:pos x="7" y="182"/>
                    </a:cxn>
                    <a:cxn ang="0">
                      <a:pos x="22" y="193"/>
                    </a:cxn>
                    <a:cxn ang="0">
                      <a:pos x="44" y="178"/>
                    </a:cxn>
                    <a:cxn ang="0">
                      <a:pos x="52" y="174"/>
                    </a:cxn>
                    <a:cxn ang="0">
                      <a:pos x="75" y="178"/>
                    </a:cxn>
                    <a:cxn ang="0">
                      <a:pos x="90" y="163"/>
                    </a:cxn>
                    <a:cxn ang="0">
                      <a:pos x="90" y="148"/>
                    </a:cxn>
                    <a:cxn ang="0">
                      <a:pos x="108" y="119"/>
                    </a:cxn>
                    <a:cxn ang="0">
                      <a:pos x="115" y="100"/>
                    </a:cxn>
                    <a:cxn ang="0">
                      <a:pos x="108" y="82"/>
                    </a:cxn>
                    <a:cxn ang="0">
                      <a:pos x="119" y="59"/>
                    </a:cxn>
                    <a:cxn ang="0">
                      <a:pos x="112" y="26"/>
                    </a:cxn>
                    <a:cxn ang="0">
                      <a:pos x="108" y="7"/>
                    </a:cxn>
                    <a:cxn ang="0">
                      <a:pos x="71" y="0"/>
                    </a:cxn>
                  </a:cxnLst>
                  <a:rect l="0" t="0" r="r" b="b"/>
                  <a:pathLst>
                    <a:path w="119" h="193">
                      <a:moveTo>
                        <a:pt x="71" y="0"/>
                      </a:moveTo>
                      <a:lnTo>
                        <a:pt x="52" y="11"/>
                      </a:lnTo>
                      <a:lnTo>
                        <a:pt x="37" y="22"/>
                      </a:lnTo>
                      <a:lnTo>
                        <a:pt x="22" y="26"/>
                      </a:lnTo>
                      <a:lnTo>
                        <a:pt x="0" y="22"/>
                      </a:lnTo>
                      <a:lnTo>
                        <a:pt x="4" y="45"/>
                      </a:lnTo>
                      <a:lnTo>
                        <a:pt x="15" y="59"/>
                      </a:lnTo>
                      <a:lnTo>
                        <a:pt x="11" y="97"/>
                      </a:lnTo>
                      <a:lnTo>
                        <a:pt x="11" y="115"/>
                      </a:lnTo>
                      <a:lnTo>
                        <a:pt x="15" y="130"/>
                      </a:lnTo>
                      <a:lnTo>
                        <a:pt x="4" y="160"/>
                      </a:lnTo>
                      <a:lnTo>
                        <a:pt x="7" y="182"/>
                      </a:lnTo>
                      <a:lnTo>
                        <a:pt x="22" y="193"/>
                      </a:lnTo>
                      <a:lnTo>
                        <a:pt x="44" y="178"/>
                      </a:lnTo>
                      <a:lnTo>
                        <a:pt x="52" y="174"/>
                      </a:lnTo>
                      <a:lnTo>
                        <a:pt x="75" y="178"/>
                      </a:lnTo>
                      <a:lnTo>
                        <a:pt x="90" y="163"/>
                      </a:lnTo>
                      <a:lnTo>
                        <a:pt x="90" y="148"/>
                      </a:lnTo>
                      <a:lnTo>
                        <a:pt x="108" y="119"/>
                      </a:lnTo>
                      <a:lnTo>
                        <a:pt x="115" y="100"/>
                      </a:lnTo>
                      <a:lnTo>
                        <a:pt x="108" y="82"/>
                      </a:lnTo>
                      <a:lnTo>
                        <a:pt x="119" y="59"/>
                      </a:lnTo>
                      <a:lnTo>
                        <a:pt x="112" y="26"/>
                      </a:lnTo>
                      <a:lnTo>
                        <a:pt x="108" y="7"/>
                      </a:lnTo>
                      <a:lnTo>
                        <a:pt x="71"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64" name="Freeform 13"/>
                <p:cNvSpPr>
                  <a:spLocks/>
                </p:cNvSpPr>
                <p:nvPr>
                  <p:custDataLst>
                    <p:tags r:id="rId82"/>
                  </p:custDataLst>
                </p:nvPr>
              </p:nvSpPr>
              <p:spPr bwMode="auto">
                <a:xfrm>
                  <a:off x="2066" y="3429"/>
                  <a:ext cx="216" cy="136"/>
                </a:xfrm>
                <a:custGeom>
                  <a:avLst/>
                  <a:gdLst/>
                  <a:ahLst/>
                  <a:cxnLst>
                    <a:cxn ang="0">
                      <a:pos x="205" y="0"/>
                    </a:cxn>
                    <a:cxn ang="0">
                      <a:pos x="216" y="11"/>
                    </a:cxn>
                    <a:cxn ang="0">
                      <a:pos x="209" y="22"/>
                    </a:cxn>
                    <a:cxn ang="0">
                      <a:pos x="201" y="40"/>
                    </a:cxn>
                    <a:cxn ang="0">
                      <a:pos x="190" y="51"/>
                    </a:cxn>
                    <a:cxn ang="0">
                      <a:pos x="194" y="85"/>
                    </a:cxn>
                    <a:cxn ang="0">
                      <a:pos x="201" y="110"/>
                    </a:cxn>
                    <a:cxn ang="0">
                      <a:pos x="182" y="121"/>
                    </a:cxn>
                    <a:cxn ang="0">
                      <a:pos x="179" y="132"/>
                    </a:cxn>
                    <a:cxn ang="0">
                      <a:pos x="164" y="136"/>
                    </a:cxn>
                    <a:cxn ang="0">
                      <a:pos x="142" y="114"/>
                    </a:cxn>
                    <a:cxn ang="0">
                      <a:pos x="127" y="114"/>
                    </a:cxn>
                    <a:cxn ang="0">
                      <a:pos x="115" y="96"/>
                    </a:cxn>
                    <a:cxn ang="0">
                      <a:pos x="93" y="85"/>
                    </a:cxn>
                    <a:cxn ang="0">
                      <a:pos x="78" y="81"/>
                    </a:cxn>
                    <a:cxn ang="0">
                      <a:pos x="63" y="74"/>
                    </a:cxn>
                    <a:cxn ang="0">
                      <a:pos x="48" y="62"/>
                    </a:cxn>
                    <a:cxn ang="0">
                      <a:pos x="22" y="44"/>
                    </a:cxn>
                    <a:cxn ang="0">
                      <a:pos x="11" y="40"/>
                    </a:cxn>
                    <a:cxn ang="0">
                      <a:pos x="0" y="29"/>
                    </a:cxn>
                    <a:cxn ang="0">
                      <a:pos x="0" y="15"/>
                    </a:cxn>
                    <a:cxn ang="0">
                      <a:pos x="4" y="4"/>
                    </a:cxn>
                    <a:cxn ang="0">
                      <a:pos x="26" y="7"/>
                    </a:cxn>
                    <a:cxn ang="0">
                      <a:pos x="60" y="7"/>
                    </a:cxn>
                    <a:cxn ang="0">
                      <a:pos x="67" y="18"/>
                    </a:cxn>
                    <a:cxn ang="0">
                      <a:pos x="104" y="18"/>
                    </a:cxn>
                    <a:cxn ang="0">
                      <a:pos x="130" y="18"/>
                    </a:cxn>
                    <a:cxn ang="0">
                      <a:pos x="164" y="11"/>
                    </a:cxn>
                    <a:cxn ang="0">
                      <a:pos x="205" y="0"/>
                    </a:cxn>
                  </a:cxnLst>
                  <a:rect l="0" t="0" r="r" b="b"/>
                  <a:pathLst>
                    <a:path w="216" h="136">
                      <a:moveTo>
                        <a:pt x="205" y="0"/>
                      </a:moveTo>
                      <a:lnTo>
                        <a:pt x="216" y="11"/>
                      </a:lnTo>
                      <a:lnTo>
                        <a:pt x="209" y="22"/>
                      </a:lnTo>
                      <a:lnTo>
                        <a:pt x="201" y="40"/>
                      </a:lnTo>
                      <a:lnTo>
                        <a:pt x="190" y="51"/>
                      </a:lnTo>
                      <a:lnTo>
                        <a:pt x="194" y="85"/>
                      </a:lnTo>
                      <a:lnTo>
                        <a:pt x="201" y="110"/>
                      </a:lnTo>
                      <a:lnTo>
                        <a:pt x="182" y="121"/>
                      </a:lnTo>
                      <a:lnTo>
                        <a:pt x="179" y="132"/>
                      </a:lnTo>
                      <a:lnTo>
                        <a:pt x="164" y="136"/>
                      </a:lnTo>
                      <a:lnTo>
                        <a:pt x="142" y="114"/>
                      </a:lnTo>
                      <a:lnTo>
                        <a:pt x="127" y="114"/>
                      </a:lnTo>
                      <a:lnTo>
                        <a:pt x="115" y="96"/>
                      </a:lnTo>
                      <a:lnTo>
                        <a:pt x="93" y="85"/>
                      </a:lnTo>
                      <a:lnTo>
                        <a:pt x="78" y="81"/>
                      </a:lnTo>
                      <a:lnTo>
                        <a:pt x="63" y="74"/>
                      </a:lnTo>
                      <a:lnTo>
                        <a:pt x="48" y="62"/>
                      </a:lnTo>
                      <a:lnTo>
                        <a:pt x="22" y="44"/>
                      </a:lnTo>
                      <a:lnTo>
                        <a:pt x="11" y="40"/>
                      </a:lnTo>
                      <a:lnTo>
                        <a:pt x="0" y="29"/>
                      </a:lnTo>
                      <a:lnTo>
                        <a:pt x="0" y="15"/>
                      </a:lnTo>
                      <a:lnTo>
                        <a:pt x="4" y="4"/>
                      </a:lnTo>
                      <a:lnTo>
                        <a:pt x="26" y="7"/>
                      </a:lnTo>
                      <a:lnTo>
                        <a:pt x="60" y="7"/>
                      </a:lnTo>
                      <a:lnTo>
                        <a:pt x="67" y="18"/>
                      </a:lnTo>
                      <a:lnTo>
                        <a:pt x="104" y="18"/>
                      </a:lnTo>
                      <a:lnTo>
                        <a:pt x="130" y="18"/>
                      </a:lnTo>
                      <a:lnTo>
                        <a:pt x="164" y="11"/>
                      </a:lnTo>
                      <a:lnTo>
                        <a:pt x="205"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65" name="Freeform 14"/>
                <p:cNvSpPr>
                  <a:spLocks/>
                </p:cNvSpPr>
                <p:nvPr>
                  <p:custDataLst>
                    <p:tags r:id="rId83"/>
                  </p:custDataLst>
                </p:nvPr>
              </p:nvSpPr>
              <p:spPr bwMode="auto">
                <a:xfrm>
                  <a:off x="1765" y="2636"/>
                  <a:ext cx="737" cy="830"/>
                </a:xfrm>
                <a:custGeom>
                  <a:avLst/>
                  <a:gdLst/>
                  <a:ahLst/>
                  <a:cxnLst>
                    <a:cxn ang="0">
                      <a:pos x="564" y="819"/>
                    </a:cxn>
                    <a:cxn ang="0">
                      <a:pos x="609" y="741"/>
                    </a:cxn>
                    <a:cxn ang="0">
                      <a:pos x="628" y="715"/>
                    </a:cxn>
                    <a:cxn ang="0">
                      <a:pos x="613" y="678"/>
                    </a:cxn>
                    <a:cxn ang="0">
                      <a:pos x="594" y="674"/>
                    </a:cxn>
                    <a:cxn ang="0">
                      <a:pos x="609" y="645"/>
                    </a:cxn>
                    <a:cxn ang="0">
                      <a:pos x="632" y="604"/>
                    </a:cxn>
                    <a:cxn ang="0">
                      <a:pos x="702" y="652"/>
                    </a:cxn>
                    <a:cxn ang="0">
                      <a:pos x="731" y="652"/>
                    </a:cxn>
                    <a:cxn ang="0">
                      <a:pos x="709" y="596"/>
                    </a:cxn>
                    <a:cxn ang="0">
                      <a:pos x="687" y="593"/>
                    </a:cxn>
                    <a:cxn ang="0">
                      <a:pos x="609" y="530"/>
                    </a:cxn>
                    <a:cxn ang="0">
                      <a:pos x="560" y="496"/>
                    </a:cxn>
                    <a:cxn ang="0">
                      <a:pos x="564" y="474"/>
                    </a:cxn>
                    <a:cxn ang="0">
                      <a:pos x="490" y="440"/>
                    </a:cxn>
                    <a:cxn ang="0">
                      <a:pos x="457" y="411"/>
                    </a:cxn>
                    <a:cxn ang="0">
                      <a:pos x="379" y="293"/>
                    </a:cxn>
                    <a:cxn ang="0">
                      <a:pos x="364" y="200"/>
                    </a:cxn>
                    <a:cxn ang="0">
                      <a:pos x="342" y="163"/>
                    </a:cxn>
                    <a:cxn ang="0">
                      <a:pos x="405" y="134"/>
                    </a:cxn>
                    <a:cxn ang="0">
                      <a:pos x="434" y="70"/>
                    </a:cxn>
                    <a:cxn ang="0">
                      <a:pos x="368" y="41"/>
                    </a:cxn>
                    <a:cxn ang="0">
                      <a:pos x="357" y="15"/>
                    </a:cxn>
                    <a:cxn ang="0">
                      <a:pos x="264" y="4"/>
                    </a:cxn>
                    <a:cxn ang="0">
                      <a:pos x="220" y="52"/>
                    </a:cxn>
                    <a:cxn ang="0">
                      <a:pos x="182" y="48"/>
                    </a:cxn>
                    <a:cxn ang="0">
                      <a:pos x="134" y="63"/>
                    </a:cxn>
                    <a:cxn ang="0">
                      <a:pos x="116" y="30"/>
                    </a:cxn>
                    <a:cxn ang="0">
                      <a:pos x="90" y="59"/>
                    </a:cxn>
                    <a:cxn ang="0">
                      <a:pos x="22" y="85"/>
                    </a:cxn>
                    <a:cxn ang="0">
                      <a:pos x="7" y="137"/>
                    </a:cxn>
                    <a:cxn ang="0">
                      <a:pos x="0" y="189"/>
                    </a:cxn>
                    <a:cxn ang="0">
                      <a:pos x="30" y="208"/>
                    </a:cxn>
                    <a:cxn ang="0">
                      <a:pos x="52" y="249"/>
                    </a:cxn>
                    <a:cxn ang="0">
                      <a:pos x="123" y="211"/>
                    </a:cxn>
                    <a:cxn ang="0">
                      <a:pos x="190" y="271"/>
                    </a:cxn>
                    <a:cxn ang="0">
                      <a:pos x="220" y="352"/>
                    </a:cxn>
                    <a:cxn ang="0">
                      <a:pos x="271" y="397"/>
                    </a:cxn>
                    <a:cxn ang="0">
                      <a:pos x="338" y="478"/>
                    </a:cxn>
                    <a:cxn ang="0">
                      <a:pos x="442" y="555"/>
                    </a:cxn>
                    <a:cxn ang="0">
                      <a:pos x="475" y="578"/>
                    </a:cxn>
                    <a:cxn ang="0">
                      <a:pos x="501" y="630"/>
                    </a:cxn>
                    <a:cxn ang="0">
                      <a:pos x="542" y="645"/>
                    </a:cxn>
                    <a:cxn ang="0">
                      <a:pos x="557" y="711"/>
                    </a:cxn>
                    <a:cxn ang="0">
                      <a:pos x="545" y="760"/>
                    </a:cxn>
                    <a:cxn ang="0">
                      <a:pos x="534" y="819"/>
                    </a:cxn>
                  </a:cxnLst>
                  <a:rect l="0" t="0" r="r" b="b"/>
                  <a:pathLst>
                    <a:path w="737" h="830">
                      <a:moveTo>
                        <a:pt x="534" y="819"/>
                      </a:moveTo>
                      <a:lnTo>
                        <a:pt x="545" y="830"/>
                      </a:lnTo>
                      <a:lnTo>
                        <a:pt x="564" y="819"/>
                      </a:lnTo>
                      <a:lnTo>
                        <a:pt x="586" y="789"/>
                      </a:lnTo>
                      <a:lnTo>
                        <a:pt x="597" y="745"/>
                      </a:lnTo>
                      <a:lnTo>
                        <a:pt x="609" y="741"/>
                      </a:lnTo>
                      <a:lnTo>
                        <a:pt x="617" y="748"/>
                      </a:lnTo>
                      <a:lnTo>
                        <a:pt x="632" y="734"/>
                      </a:lnTo>
                      <a:lnTo>
                        <a:pt x="628" y="715"/>
                      </a:lnTo>
                      <a:lnTo>
                        <a:pt x="635" y="700"/>
                      </a:lnTo>
                      <a:lnTo>
                        <a:pt x="632" y="693"/>
                      </a:lnTo>
                      <a:lnTo>
                        <a:pt x="613" y="678"/>
                      </a:lnTo>
                      <a:lnTo>
                        <a:pt x="606" y="678"/>
                      </a:lnTo>
                      <a:lnTo>
                        <a:pt x="609" y="670"/>
                      </a:lnTo>
                      <a:lnTo>
                        <a:pt x="594" y="674"/>
                      </a:lnTo>
                      <a:lnTo>
                        <a:pt x="586" y="667"/>
                      </a:lnTo>
                      <a:lnTo>
                        <a:pt x="586" y="659"/>
                      </a:lnTo>
                      <a:lnTo>
                        <a:pt x="609" y="645"/>
                      </a:lnTo>
                      <a:lnTo>
                        <a:pt x="620" y="630"/>
                      </a:lnTo>
                      <a:lnTo>
                        <a:pt x="620" y="607"/>
                      </a:lnTo>
                      <a:lnTo>
                        <a:pt x="632" y="604"/>
                      </a:lnTo>
                      <a:lnTo>
                        <a:pt x="669" y="622"/>
                      </a:lnTo>
                      <a:lnTo>
                        <a:pt x="683" y="626"/>
                      </a:lnTo>
                      <a:lnTo>
                        <a:pt x="702" y="652"/>
                      </a:lnTo>
                      <a:lnTo>
                        <a:pt x="709" y="667"/>
                      </a:lnTo>
                      <a:lnTo>
                        <a:pt x="720" y="667"/>
                      </a:lnTo>
                      <a:lnTo>
                        <a:pt x="731" y="652"/>
                      </a:lnTo>
                      <a:lnTo>
                        <a:pt x="737" y="637"/>
                      </a:lnTo>
                      <a:lnTo>
                        <a:pt x="724" y="611"/>
                      </a:lnTo>
                      <a:lnTo>
                        <a:pt x="709" y="596"/>
                      </a:lnTo>
                      <a:lnTo>
                        <a:pt x="695" y="596"/>
                      </a:lnTo>
                      <a:lnTo>
                        <a:pt x="695" y="593"/>
                      </a:lnTo>
                      <a:lnTo>
                        <a:pt x="687" y="593"/>
                      </a:lnTo>
                      <a:lnTo>
                        <a:pt x="650" y="555"/>
                      </a:lnTo>
                      <a:lnTo>
                        <a:pt x="632" y="559"/>
                      </a:lnTo>
                      <a:lnTo>
                        <a:pt x="609" y="530"/>
                      </a:lnTo>
                      <a:lnTo>
                        <a:pt x="594" y="526"/>
                      </a:lnTo>
                      <a:lnTo>
                        <a:pt x="571" y="504"/>
                      </a:lnTo>
                      <a:lnTo>
                        <a:pt x="560" y="496"/>
                      </a:lnTo>
                      <a:lnTo>
                        <a:pt x="568" y="489"/>
                      </a:lnTo>
                      <a:lnTo>
                        <a:pt x="579" y="485"/>
                      </a:lnTo>
                      <a:lnTo>
                        <a:pt x="564" y="474"/>
                      </a:lnTo>
                      <a:lnTo>
                        <a:pt x="545" y="481"/>
                      </a:lnTo>
                      <a:lnTo>
                        <a:pt x="531" y="474"/>
                      </a:lnTo>
                      <a:lnTo>
                        <a:pt x="490" y="440"/>
                      </a:lnTo>
                      <a:lnTo>
                        <a:pt x="486" y="426"/>
                      </a:lnTo>
                      <a:lnTo>
                        <a:pt x="471" y="422"/>
                      </a:lnTo>
                      <a:lnTo>
                        <a:pt x="457" y="411"/>
                      </a:lnTo>
                      <a:lnTo>
                        <a:pt x="419" y="330"/>
                      </a:lnTo>
                      <a:lnTo>
                        <a:pt x="408" y="319"/>
                      </a:lnTo>
                      <a:lnTo>
                        <a:pt x="379" y="293"/>
                      </a:lnTo>
                      <a:lnTo>
                        <a:pt x="345" y="241"/>
                      </a:lnTo>
                      <a:lnTo>
                        <a:pt x="345" y="211"/>
                      </a:lnTo>
                      <a:lnTo>
                        <a:pt x="364" y="200"/>
                      </a:lnTo>
                      <a:lnTo>
                        <a:pt x="364" y="185"/>
                      </a:lnTo>
                      <a:lnTo>
                        <a:pt x="349" y="171"/>
                      </a:lnTo>
                      <a:lnTo>
                        <a:pt x="342" y="163"/>
                      </a:lnTo>
                      <a:lnTo>
                        <a:pt x="345" y="152"/>
                      </a:lnTo>
                      <a:lnTo>
                        <a:pt x="360" y="145"/>
                      </a:lnTo>
                      <a:lnTo>
                        <a:pt x="405" y="134"/>
                      </a:lnTo>
                      <a:lnTo>
                        <a:pt x="423" y="122"/>
                      </a:lnTo>
                      <a:lnTo>
                        <a:pt x="438" y="108"/>
                      </a:lnTo>
                      <a:lnTo>
                        <a:pt x="434" y="70"/>
                      </a:lnTo>
                      <a:lnTo>
                        <a:pt x="438" y="56"/>
                      </a:lnTo>
                      <a:lnTo>
                        <a:pt x="416" y="52"/>
                      </a:lnTo>
                      <a:lnTo>
                        <a:pt x="368" y="41"/>
                      </a:lnTo>
                      <a:lnTo>
                        <a:pt x="360" y="30"/>
                      </a:lnTo>
                      <a:lnTo>
                        <a:pt x="357" y="26"/>
                      </a:lnTo>
                      <a:lnTo>
                        <a:pt x="357" y="15"/>
                      </a:lnTo>
                      <a:lnTo>
                        <a:pt x="353" y="4"/>
                      </a:lnTo>
                      <a:lnTo>
                        <a:pt x="327" y="0"/>
                      </a:lnTo>
                      <a:lnTo>
                        <a:pt x="264" y="4"/>
                      </a:lnTo>
                      <a:lnTo>
                        <a:pt x="257" y="19"/>
                      </a:lnTo>
                      <a:lnTo>
                        <a:pt x="234" y="22"/>
                      </a:lnTo>
                      <a:lnTo>
                        <a:pt x="220" y="52"/>
                      </a:lnTo>
                      <a:lnTo>
                        <a:pt x="220" y="63"/>
                      </a:lnTo>
                      <a:lnTo>
                        <a:pt x="205" y="52"/>
                      </a:lnTo>
                      <a:lnTo>
                        <a:pt x="182" y="48"/>
                      </a:lnTo>
                      <a:lnTo>
                        <a:pt x="168" y="56"/>
                      </a:lnTo>
                      <a:lnTo>
                        <a:pt x="157" y="78"/>
                      </a:lnTo>
                      <a:lnTo>
                        <a:pt x="134" y="63"/>
                      </a:lnTo>
                      <a:lnTo>
                        <a:pt x="138" y="41"/>
                      </a:lnTo>
                      <a:lnTo>
                        <a:pt x="131" y="26"/>
                      </a:lnTo>
                      <a:lnTo>
                        <a:pt x="116" y="30"/>
                      </a:lnTo>
                      <a:lnTo>
                        <a:pt x="112" y="48"/>
                      </a:lnTo>
                      <a:lnTo>
                        <a:pt x="101" y="59"/>
                      </a:lnTo>
                      <a:lnTo>
                        <a:pt x="90" y="59"/>
                      </a:lnTo>
                      <a:lnTo>
                        <a:pt x="37" y="52"/>
                      </a:lnTo>
                      <a:lnTo>
                        <a:pt x="19" y="67"/>
                      </a:lnTo>
                      <a:lnTo>
                        <a:pt x="22" y="85"/>
                      </a:lnTo>
                      <a:lnTo>
                        <a:pt x="26" y="100"/>
                      </a:lnTo>
                      <a:lnTo>
                        <a:pt x="0" y="122"/>
                      </a:lnTo>
                      <a:lnTo>
                        <a:pt x="7" y="137"/>
                      </a:lnTo>
                      <a:lnTo>
                        <a:pt x="15" y="145"/>
                      </a:lnTo>
                      <a:lnTo>
                        <a:pt x="0" y="163"/>
                      </a:lnTo>
                      <a:lnTo>
                        <a:pt x="0" y="189"/>
                      </a:lnTo>
                      <a:lnTo>
                        <a:pt x="7" y="200"/>
                      </a:lnTo>
                      <a:lnTo>
                        <a:pt x="22" y="200"/>
                      </a:lnTo>
                      <a:lnTo>
                        <a:pt x="30" y="208"/>
                      </a:lnTo>
                      <a:lnTo>
                        <a:pt x="37" y="226"/>
                      </a:lnTo>
                      <a:lnTo>
                        <a:pt x="37" y="245"/>
                      </a:lnTo>
                      <a:lnTo>
                        <a:pt x="52" y="249"/>
                      </a:lnTo>
                      <a:lnTo>
                        <a:pt x="63" y="245"/>
                      </a:lnTo>
                      <a:lnTo>
                        <a:pt x="105" y="204"/>
                      </a:lnTo>
                      <a:lnTo>
                        <a:pt x="123" y="211"/>
                      </a:lnTo>
                      <a:lnTo>
                        <a:pt x="160" y="230"/>
                      </a:lnTo>
                      <a:lnTo>
                        <a:pt x="186" y="249"/>
                      </a:lnTo>
                      <a:lnTo>
                        <a:pt x="190" y="271"/>
                      </a:lnTo>
                      <a:lnTo>
                        <a:pt x="205" y="286"/>
                      </a:lnTo>
                      <a:lnTo>
                        <a:pt x="212" y="312"/>
                      </a:lnTo>
                      <a:lnTo>
                        <a:pt x="220" y="352"/>
                      </a:lnTo>
                      <a:lnTo>
                        <a:pt x="231" y="371"/>
                      </a:lnTo>
                      <a:lnTo>
                        <a:pt x="245" y="387"/>
                      </a:lnTo>
                      <a:lnTo>
                        <a:pt x="271" y="397"/>
                      </a:lnTo>
                      <a:lnTo>
                        <a:pt x="294" y="433"/>
                      </a:lnTo>
                      <a:lnTo>
                        <a:pt x="316" y="463"/>
                      </a:lnTo>
                      <a:lnTo>
                        <a:pt x="338" y="478"/>
                      </a:lnTo>
                      <a:lnTo>
                        <a:pt x="379" y="526"/>
                      </a:lnTo>
                      <a:lnTo>
                        <a:pt x="408" y="526"/>
                      </a:lnTo>
                      <a:lnTo>
                        <a:pt x="442" y="555"/>
                      </a:lnTo>
                      <a:lnTo>
                        <a:pt x="442" y="585"/>
                      </a:lnTo>
                      <a:lnTo>
                        <a:pt x="453" y="593"/>
                      </a:lnTo>
                      <a:lnTo>
                        <a:pt x="475" y="578"/>
                      </a:lnTo>
                      <a:lnTo>
                        <a:pt x="479" y="593"/>
                      </a:lnTo>
                      <a:lnTo>
                        <a:pt x="479" y="611"/>
                      </a:lnTo>
                      <a:lnTo>
                        <a:pt x="501" y="630"/>
                      </a:lnTo>
                      <a:lnTo>
                        <a:pt x="508" y="641"/>
                      </a:lnTo>
                      <a:lnTo>
                        <a:pt x="538" y="633"/>
                      </a:lnTo>
                      <a:lnTo>
                        <a:pt x="542" y="645"/>
                      </a:lnTo>
                      <a:lnTo>
                        <a:pt x="538" y="670"/>
                      </a:lnTo>
                      <a:lnTo>
                        <a:pt x="553" y="693"/>
                      </a:lnTo>
                      <a:lnTo>
                        <a:pt x="557" y="711"/>
                      </a:lnTo>
                      <a:lnTo>
                        <a:pt x="564" y="730"/>
                      </a:lnTo>
                      <a:lnTo>
                        <a:pt x="560" y="745"/>
                      </a:lnTo>
                      <a:lnTo>
                        <a:pt x="545" y="760"/>
                      </a:lnTo>
                      <a:lnTo>
                        <a:pt x="542" y="778"/>
                      </a:lnTo>
                      <a:lnTo>
                        <a:pt x="531" y="800"/>
                      </a:lnTo>
                      <a:lnTo>
                        <a:pt x="534" y="819"/>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sp>
            <p:nvSpPr>
              <p:cNvPr id="280" name="Freeform 15"/>
              <p:cNvSpPr>
                <a:spLocks/>
              </p:cNvSpPr>
              <p:nvPr>
                <p:custDataLst>
                  <p:tags r:id="rId7"/>
                </p:custDataLst>
              </p:nvPr>
            </p:nvSpPr>
            <p:spPr bwMode="auto">
              <a:xfrm>
                <a:off x="2095029" y="4500273"/>
                <a:ext cx="429440" cy="276306"/>
              </a:xfrm>
              <a:custGeom>
                <a:avLst/>
                <a:gdLst/>
                <a:ahLst/>
                <a:cxnLst>
                  <a:cxn ang="0">
                    <a:pos x="157" y="37"/>
                  </a:cxn>
                  <a:cxn ang="0">
                    <a:pos x="142" y="24"/>
                  </a:cxn>
                  <a:cxn ang="0">
                    <a:pos x="144" y="19"/>
                  </a:cxn>
                  <a:cxn ang="0">
                    <a:pos x="135" y="11"/>
                  </a:cxn>
                  <a:cxn ang="0">
                    <a:pos x="127" y="0"/>
                  </a:cxn>
                  <a:cxn ang="0">
                    <a:pos x="117" y="11"/>
                  </a:cxn>
                  <a:cxn ang="0">
                    <a:pos x="111" y="7"/>
                  </a:cxn>
                  <a:cxn ang="0">
                    <a:pos x="100" y="17"/>
                  </a:cxn>
                  <a:cxn ang="0">
                    <a:pos x="100" y="22"/>
                  </a:cxn>
                  <a:cxn ang="0">
                    <a:pos x="87" y="28"/>
                  </a:cxn>
                  <a:cxn ang="0">
                    <a:pos x="54" y="54"/>
                  </a:cxn>
                  <a:cxn ang="0">
                    <a:pos x="45" y="65"/>
                  </a:cxn>
                  <a:cxn ang="0">
                    <a:pos x="45" y="78"/>
                  </a:cxn>
                  <a:cxn ang="0">
                    <a:pos x="33" y="82"/>
                  </a:cxn>
                  <a:cxn ang="0">
                    <a:pos x="9" y="108"/>
                  </a:cxn>
                  <a:cxn ang="0">
                    <a:pos x="9" y="117"/>
                  </a:cxn>
                  <a:cxn ang="0">
                    <a:pos x="0" y="128"/>
                  </a:cxn>
                  <a:cxn ang="0">
                    <a:pos x="4" y="141"/>
                  </a:cxn>
                  <a:cxn ang="0">
                    <a:pos x="15" y="134"/>
                  </a:cxn>
                  <a:cxn ang="0">
                    <a:pos x="26" y="122"/>
                  </a:cxn>
                  <a:cxn ang="0">
                    <a:pos x="43" y="119"/>
                  </a:cxn>
                  <a:cxn ang="0">
                    <a:pos x="54" y="122"/>
                  </a:cxn>
                  <a:cxn ang="0">
                    <a:pos x="58" y="141"/>
                  </a:cxn>
                  <a:cxn ang="0">
                    <a:pos x="56" y="154"/>
                  </a:cxn>
                  <a:cxn ang="0">
                    <a:pos x="63" y="163"/>
                  </a:cxn>
                  <a:cxn ang="0">
                    <a:pos x="72" y="169"/>
                  </a:cxn>
                  <a:cxn ang="0">
                    <a:pos x="91" y="171"/>
                  </a:cxn>
                  <a:cxn ang="0">
                    <a:pos x="133" y="176"/>
                  </a:cxn>
                  <a:cxn ang="0">
                    <a:pos x="142" y="171"/>
                  </a:cxn>
                  <a:cxn ang="0">
                    <a:pos x="148" y="163"/>
                  </a:cxn>
                  <a:cxn ang="0">
                    <a:pos x="152" y="146"/>
                  </a:cxn>
                  <a:cxn ang="0">
                    <a:pos x="167" y="145"/>
                  </a:cxn>
                  <a:cxn ang="0">
                    <a:pos x="172" y="156"/>
                  </a:cxn>
                  <a:cxn ang="0">
                    <a:pos x="172" y="181"/>
                  </a:cxn>
                  <a:cxn ang="0">
                    <a:pos x="191" y="194"/>
                  </a:cxn>
                  <a:cxn ang="0">
                    <a:pos x="205" y="172"/>
                  </a:cxn>
                  <a:cxn ang="0">
                    <a:pos x="220" y="165"/>
                  </a:cxn>
                  <a:cxn ang="0">
                    <a:pos x="237" y="167"/>
                  </a:cxn>
                  <a:cxn ang="0">
                    <a:pos x="250" y="174"/>
                  </a:cxn>
                  <a:cxn ang="0">
                    <a:pos x="255" y="180"/>
                  </a:cxn>
                  <a:cxn ang="0">
                    <a:pos x="259" y="161"/>
                  </a:cxn>
                  <a:cxn ang="0">
                    <a:pos x="269" y="139"/>
                  </a:cxn>
                  <a:cxn ang="0">
                    <a:pos x="291" y="135"/>
                  </a:cxn>
                  <a:cxn ang="0">
                    <a:pos x="298" y="121"/>
                  </a:cxn>
                  <a:cxn ang="0">
                    <a:pos x="291" y="109"/>
                  </a:cxn>
                  <a:cxn ang="0">
                    <a:pos x="281" y="104"/>
                  </a:cxn>
                  <a:cxn ang="0">
                    <a:pos x="253" y="99"/>
                  </a:cxn>
                  <a:cxn ang="0">
                    <a:pos x="252" y="85"/>
                  </a:cxn>
                  <a:cxn ang="0">
                    <a:pos x="252" y="70"/>
                  </a:cxn>
                  <a:cxn ang="0">
                    <a:pos x="252" y="59"/>
                  </a:cxn>
                  <a:cxn ang="0">
                    <a:pos x="235" y="50"/>
                  </a:cxn>
                  <a:cxn ang="0">
                    <a:pos x="226" y="54"/>
                  </a:cxn>
                  <a:cxn ang="0">
                    <a:pos x="211" y="43"/>
                  </a:cxn>
                  <a:cxn ang="0">
                    <a:pos x="209" y="35"/>
                  </a:cxn>
                  <a:cxn ang="0">
                    <a:pos x="203" y="26"/>
                  </a:cxn>
                  <a:cxn ang="0">
                    <a:pos x="203" y="22"/>
                  </a:cxn>
                  <a:cxn ang="0">
                    <a:pos x="187" y="17"/>
                  </a:cxn>
                  <a:cxn ang="0">
                    <a:pos x="181" y="24"/>
                  </a:cxn>
                  <a:cxn ang="0">
                    <a:pos x="170" y="32"/>
                  </a:cxn>
                  <a:cxn ang="0">
                    <a:pos x="157" y="37"/>
                  </a:cxn>
                </a:cxnLst>
                <a:rect l="0" t="0" r="r" b="b"/>
                <a:pathLst>
                  <a:path w="298" h="194">
                    <a:moveTo>
                      <a:pt x="157" y="37"/>
                    </a:moveTo>
                    <a:lnTo>
                      <a:pt x="142" y="24"/>
                    </a:lnTo>
                    <a:lnTo>
                      <a:pt x="144" y="19"/>
                    </a:lnTo>
                    <a:lnTo>
                      <a:pt x="135" y="11"/>
                    </a:lnTo>
                    <a:lnTo>
                      <a:pt x="127" y="0"/>
                    </a:lnTo>
                    <a:lnTo>
                      <a:pt x="117" y="11"/>
                    </a:lnTo>
                    <a:lnTo>
                      <a:pt x="111" y="7"/>
                    </a:lnTo>
                    <a:lnTo>
                      <a:pt x="100" y="17"/>
                    </a:lnTo>
                    <a:lnTo>
                      <a:pt x="100" y="22"/>
                    </a:lnTo>
                    <a:lnTo>
                      <a:pt x="87" y="28"/>
                    </a:lnTo>
                    <a:lnTo>
                      <a:pt x="54" y="54"/>
                    </a:lnTo>
                    <a:lnTo>
                      <a:pt x="45" y="65"/>
                    </a:lnTo>
                    <a:lnTo>
                      <a:pt x="45" y="78"/>
                    </a:lnTo>
                    <a:lnTo>
                      <a:pt x="33" y="82"/>
                    </a:lnTo>
                    <a:lnTo>
                      <a:pt x="9" y="108"/>
                    </a:lnTo>
                    <a:lnTo>
                      <a:pt x="9" y="117"/>
                    </a:lnTo>
                    <a:lnTo>
                      <a:pt x="0" y="128"/>
                    </a:lnTo>
                    <a:lnTo>
                      <a:pt x="4" y="141"/>
                    </a:lnTo>
                    <a:lnTo>
                      <a:pt x="15" y="134"/>
                    </a:lnTo>
                    <a:lnTo>
                      <a:pt x="26" y="122"/>
                    </a:lnTo>
                    <a:lnTo>
                      <a:pt x="43" y="119"/>
                    </a:lnTo>
                    <a:lnTo>
                      <a:pt x="54" y="122"/>
                    </a:lnTo>
                    <a:lnTo>
                      <a:pt x="58" y="141"/>
                    </a:lnTo>
                    <a:lnTo>
                      <a:pt x="56" y="154"/>
                    </a:lnTo>
                    <a:lnTo>
                      <a:pt x="63" y="163"/>
                    </a:lnTo>
                    <a:lnTo>
                      <a:pt x="72" y="169"/>
                    </a:lnTo>
                    <a:lnTo>
                      <a:pt x="91" y="171"/>
                    </a:lnTo>
                    <a:lnTo>
                      <a:pt x="133" y="176"/>
                    </a:lnTo>
                    <a:lnTo>
                      <a:pt x="142" y="171"/>
                    </a:lnTo>
                    <a:lnTo>
                      <a:pt x="148" y="163"/>
                    </a:lnTo>
                    <a:lnTo>
                      <a:pt x="152" y="146"/>
                    </a:lnTo>
                    <a:lnTo>
                      <a:pt x="167" y="145"/>
                    </a:lnTo>
                    <a:lnTo>
                      <a:pt x="172" y="156"/>
                    </a:lnTo>
                    <a:lnTo>
                      <a:pt x="172" y="181"/>
                    </a:lnTo>
                    <a:lnTo>
                      <a:pt x="191" y="194"/>
                    </a:lnTo>
                    <a:lnTo>
                      <a:pt x="205" y="172"/>
                    </a:lnTo>
                    <a:lnTo>
                      <a:pt x="220" y="165"/>
                    </a:lnTo>
                    <a:lnTo>
                      <a:pt x="237" y="167"/>
                    </a:lnTo>
                    <a:lnTo>
                      <a:pt x="250" y="174"/>
                    </a:lnTo>
                    <a:lnTo>
                      <a:pt x="255" y="180"/>
                    </a:lnTo>
                    <a:lnTo>
                      <a:pt x="259" y="161"/>
                    </a:lnTo>
                    <a:lnTo>
                      <a:pt x="269" y="139"/>
                    </a:lnTo>
                    <a:lnTo>
                      <a:pt x="291" y="135"/>
                    </a:lnTo>
                    <a:lnTo>
                      <a:pt x="298" y="121"/>
                    </a:lnTo>
                    <a:lnTo>
                      <a:pt x="291" y="109"/>
                    </a:lnTo>
                    <a:lnTo>
                      <a:pt x="281" y="104"/>
                    </a:lnTo>
                    <a:lnTo>
                      <a:pt x="253" y="99"/>
                    </a:lnTo>
                    <a:lnTo>
                      <a:pt x="252" y="85"/>
                    </a:lnTo>
                    <a:lnTo>
                      <a:pt x="252" y="70"/>
                    </a:lnTo>
                    <a:lnTo>
                      <a:pt x="252" y="59"/>
                    </a:lnTo>
                    <a:lnTo>
                      <a:pt x="235" y="50"/>
                    </a:lnTo>
                    <a:lnTo>
                      <a:pt x="226" y="54"/>
                    </a:lnTo>
                    <a:lnTo>
                      <a:pt x="211" y="43"/>
                    </a:lnTo>
                    <a:lnTo>
                      <a:pt x="209" y="35"/>
                    </a:lnTo>
                    <a:lnTo>
                      <a:pt x="203" y="26"/>
                    </a:lnTo>
                    <a:lnTo>
                      <a:pt x="203" y="22"/>
                    </a:lnTo>
                    <a:lnTo>
                      <a:pt x="187" y="17"/>
                    </a:lnTo>
                    <a:lnTo>
                      <a:pt x="181" y="24"/>
                    </a:lnTo>
                    <a:lnTo>
                      <a:pt x="170" y="32"/>
                    </a:lnTo>
                    <a:lnTo>
                      <a:pt x="157" y="37"/>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81" name="Freeform 16"/>
              <p:cNvSpPr>
                <a:spLocks/>
              </p:cNvSpPr>
              <p:nvPr>
                <p:custDataLst>
                  <p:tags r:id="rId8"/>
                </p:custDataLst>
              </p:nvPr>
            </p:nvSpPr>
            <p:spPr bwMode="auto">
              <a:xfrm>
                <a:off x="2439580" y="4466983"/>
                <a:ext cx="645825" cy="297945"/>
              </a:xfrm>
              <a:custGeom>
                <a:avLst/>
                <a:gdLst/>
                <a:ahLst/>
                <a:cxnLst>
                  <a:cxn ang="0">
                    <a:pos x="19" y="72"/>
                  </a:cxn>
                  <a:cxn ang="0">
                    <a:pos x="36" y="82"/>
                  </a:cxn>
                  <a:cxn ang="0">
                    <a:pos x="63" y="80"/>
                  </a:cxn>
                  <a:cxn ang="0">
                    <a:pos x="88" y="78"/>
                  </a:cxn>
                  <a:cxn ang="0">
                    <a:pos x="118" y="88"/>
                  </a:cxn>
                  <a:cxn ang="0">
                    <a:pos x="138" y="85"/>
                  </a:cxn>
                  <a:cxn ang="0">
                    <a:pos x="172" y="81"/>
                  </a:cxn>
                  <a:cxn ang="0">
                    <a:pos x="209" y="100"/>
                  </a:cxn>
                  <a:cxn ang="0">
                    <a:pos x="227" y="81"/>
                  </a:cxn>
                  <a:cxn ang="0">
                    <a:pos x="212" y="40"/>
                  </a:cxn>
                  <a:cxn ang="0">
                    <a:pos x="274" y="5"/>
                  </a:cxn>
                  <a:cxn ang="0">
                    <a:pos x="291" y="20"/>
                  </a:cxn>
                  <a:cxn ang="0">
                    <a:pos x="336" y="2"/>
                  </a:cxn>
                  <a:cxn ang="0">
                    <a:pos x="385" y="17"/>
                  </a:cxn>
                  <a:cxn ang="0">
                    <a:pos x="417" y="8"/>
                  </a:cxn>
                  <a:cxn ang="0">
                    <a:pos x="442" y="52"/>
                  </a:cxn>
                  <a:cxn ang="0">
                    <a:pos x="450" y="82"/>
                  </a:cxn>
                  <a:cxn ang="0">
                    <a:pos x="429" y="100"/>
                  </a:cxn>
                  <a:cxn ang="0">
                    <a:pos x="432" y="120"/>
                  </a:cxn>
                  <a:cxn ang="0">
                    <a:pos x="424" y="148"/>
                  </a:cxn>
                  <a:cxn ang="0">
                    <a:pos x="401" y="172"/>
                  </a:cxn>
                  <a:cxn ang="0">
                    <a:pos x="380" y="189"/>
                  </a:cxn>
                  <a:cxn ang="0">
                    <a:pos x="330" y="192"/>
                  </a:cxn>
                  <a:cxn ang="0">
                    <a:pos x="289" y="206"/>
                  </a:cxn>
                  <a:cxn ang="0">
                    <a:pos x="220" y="192"/>
                  </a:cxn>
                  <a:cxn ang="0">
                    <a:pos x="154" y="165"/>
                  </a:cxn>
                  <a:cxn ang="0">
                    <a:pos x="150" y="141"/>
                  </a:cxn>
                  <a:cxn ang="0">
                    <a:pos x="107" y="139"/>
                  </a:cxn>
                  <a:cxn ang="0">
                    <a:pos x="52" y="132"/>
                  </a:cxn>
                  <a:cxn ang="0">
                    <a:pos x="28" y="123"/>
                  </a:cxn>
                  <a:cxn ang="0">
                    <a:pos x="13" y="105"/>
                  </a:cxn>
                  <a:cxn ang="0">
                    <a:pos x="0" y="74"/>
                  </a:cxn>
                </a:cxnLst>
                <a:rect l="0" t="0" r="r" b="b"/>
                <a:pathLst>
                  <a:path w="453" h="206">
                    <a:moveTo>
                      <a:pt x="0" y="74"/>
                    </a:moveTo>
                    <a:lnTo>
                      <a:pt x="19" y="72"/>
                    </a:lnTo>
                    <a:lnTo>
                      <a:pt x="26" y="70"/>
                    </a:lnTo>
                    <a:lnTo>
                      <a:pt x="36" y="82"/>
                    </a:lnTo>
                    <a:lnTo>
                      <a:pt x="48" y="78"/>
                    </a:lnTo>
                    <a:lnTo>
                      <a:pt x="63" y="80"/>
                    </a:lnTo>
                    <a:lnTo>
                      <a:pt x="72" y="87"/>
                    </a:lnTo>
                    <a:lnTo>
                      <a:pt x="88" y="78"/>
                    </a:lnTo>
                    <a:lnTo>
                      <a:pt x="109" y="79"/>
                    </a:lnTo>
                    <a:lnTo>
                      <a:pt x="118" y="88"/>
                    </a:lnTo>
                    <a:lnTo>
                      <a:pt x="131" y="91"/>
                    </a:lnTo>
                    <a:lnTo>
                      <a:pt x="138" y="85"/>
                    </a:lnTo>
                    <a:lnTo>
                      <a:pt x="161" y="81"/>
                    </a:lnTo>
                    <a:lnTo>
                      <a:pt x="172" y="81"/>
                    </a:lnTo>
                    <a:lnTo>
                      <a:pt x="189" y="87"/>
                    </a:lnTo>
                    <a:lnTo>
                      <a:pt x="209" y="100"/>
                    </a:lnTo>
                    <a:lnTo>
                      <a:pt x="224" y="94"/>
                    </a:lnTo>
                    <a:lnTo>
                      <a:pt x="227" y="81"/>
                    </a:lnTo>
                    <a:lnTo>
                      <a:pt x="217" y="64"/>
                    </a:lnTo>
                    <a:lnTo>
                      <a:pt x="212" y="40"/>
                    </a:lnTo>
                    <a:lnTo>
                      <a:pt x="263" y="5"/>
                    </a:lnTo>
                    <a:lnTo>
                      <a:pt x="274" y="5"/>
                    </a:lnTo>
                    <a:lnTo>
                      <a:pt x="276" y="17"/>
                    </a:lnTo>
                    <a:lnTo>
                      <a:pt x="291" y="20"/>
                    </a:lnTo>
                    <a:lnTo>
                      <a:pt x="323" y="16"/>
                    </a:lnTo>
                    <a:lnTo>
                      <a:pt x="336" y="2"/>
                    </a:lnTo>
                    <a:lnTo>
                      <a:pt x="376" y="0"/>
                    </a:lnTo>
                    <a:lnTo>
                      <a:pt x="385" y="17"/>
                    </a:lnTo>
                    <a:lnTo>
                      <a:pt x="402" y="17"/>
                    </a:lnTo>
                    <a:lnTo>
                      <a:pt x="417" y="8"/>
                    </a:lnTo>
                    <a:lnTo>
                      <a:pt x="442" y="24"/>
                    </a:lnTo>
                    <a:lnTo>
                      <a:pt x="442" y="52"/>
                    </a:lnTo>
                    <a:lnTo>
                      <a:pt x="453" y="64"/>
                    </a:lnTo>
                    <a:lnTo>
                      <a:pt x="450" y="82"/>
                    </a:lnTo>
                    <a:lnTo>
                      <a:pt x="442" y="100"/>
                    </a:lnTo>
                    <a:lnTo>
                      <a:pt x="429" y="100"/>
                    </a:lnTo>
                    <a:lnTo>
                      <a:pt x="424" y="105"/>
                    </a:lnTo>
                    <a:lnTo>
                      <a:pt x="432" y="120"/>
                    </a:lnTo>
                    <a:lnTo>
                      <a:pt x="432" y="135"/>
                    </a:lnTo>
                    <a:lnTo>
                      <a:pt x="424" y="148"/>
                    </a:lnTo>
                    <a:lnTo>
                      <a:pt x="402" y="159"/>
                    </a:lnTo>
                    <a:lnTo>
                      <a:pt x="401" y="172"/>
                    </a:lnTo>
                    <a:lnTo>
                      <a:pt x="401" y="185"/>
                    </a:lnTo>
                    <a:lnTo>
                      <a:pt x="380" y="189"/>
                    </a:lnTo>
                    <a:lnTo>
                      <a:pt x="346" y="187"/>
                    </a:lnTo>
                    <a:lnTo>
                      <a:pt x="330" y="192"/>
                    </a:lnTo>
                    <a:lnTo>
                      <a:pt x="301" y="192"/>
                    </a:lnTo>
                    <a:lnTo>
                      <a:pt x="289" y="206"/>
                    </a:lnTo>
                    <a:lnTo>
                      <a:pt x="243" y="191"/>
                    </a:lnTo>
                    <a:lnTo>
                      <a:pt x="220" y="192"/>
                    </a:lnTo>
                    <a:lnTo>
                      <a:pt x="162" y="179"/>
                    </a:lnTo>
                    <a:lnTo>
                      <a:pt x="154" y="165"/>
                    </a:lnTo>
                    <a:lnTo>
                      <a:pt x="154" y="150"/>
                    </a:lnTo>
                    <a:lnTo>
                      <a:pt x="150" y="141"/>
                    </a:lnTo>
                    <a:lnTo>
                      <a:pt x="143" y="137"/>
                    </a:lnTo>
                    <a:lnTo>
                      <a:pt x="107" y="139"/>
                    </a:lnTo>
                    <a:lnTo>
                      <a:pt x="57" y="144"/>
                    </a:lnTo>
                    <a:lnTo>
                      <a:pt x="52" y="132"/>
                    </a:lnTo>
                    <a:lnTo>
                      <a:pt x="43" y="128"/>
                    </a:lnTo>
                    <a:lnTo>
                      <a:pt x="28" y="123"/>
                    </a:lnTo>
                    <a:lnTo>
                      <a:pt x="13" y="119"/>
                    </a:lnTo>
                    <a:lnTo>
                      <a:pt x="13" y="105"/>
                    </a:lnTo>
                    <a:lnTo>
                      <a:pt x="13" y="85"/>
                    </a:lnTo>
                    <a:lnTo>
                      <a:pt x="0" y="74"/>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82" name="Freeform 17"/>
              <p:cNvSpPr>
                <a:spLocks/>
              </p:cNvSpPr>
              <p:nvPr>
                <p:custDataLst>
                  <p:tags r:id="rId9"/>
                </p:custDataLst>
              </p:nvPr>
            </p:nvSpPr>
            <p:spPr bwMode="auto">
              <a:xfrm>
                <a:off x="3008838" y="4508596"/>
                <a:ext cx="599219" cy="361196"/>
              </a:xfrm>
              <a:custGeom>
                <a:avLst/>
                <a:gdLst/>
                <a:ahLst/>
                <a:cxnLst>
                  <a:cxn ang="0">
                    <a:pos x="2" y="161"/>
                  </a:cxn>
                  <a:cxn ang="0">
                    <a:pos x="15" y="172"/>
                  </a:cxn>
                  <a:cxn ang="0">
                    <a:pos x="13" y="178"/>
                  </a:cxn>
                  <a:cxn ang="0">
                    <a:pos x="17" y="189"/>
                  </a:cxn>
                  <a:cxn ang="0">
                    <a:pos x="28" y="189"/>
                  </a:cxn>
                  <a:cxn ang="0">
                    <a:pos x="70" y="230"/>
                  </a:cxn>
                  <a:cxn ang="0">
                    <a:pos x="83" y="232"/>
                  </a:cxn>
                  <a:cxn ang="0">
                    <a:pos x="117" y="254"/>
                  </a:cxn>
                  <a:cxn ang="0">
                    <a:pos x="133" y="241"/>
                  </a:cxn>
                  <a:cxn ang="0">
                    <a:pos x="157" y="243"/>
                  </a:cxn>
                  <a:cxn ang="0">
                    <a:pos x="165" y="248"/>
                  </a:cxn>
                  <a:cxn ang="0">
                    <a:pos x="183" y="241"/>
                  </a:cxn>
                  <a:cxn ang="0">
                    <a:pos x="220" y="226"/>
                  </a:cxn>
                  <a:cxn ang="0">
                    <a:pos x="263" y="219"/>
                  </a:cxn>
                  <a:cxn ang="0">
                    <a:pos x="281" y="222"/>
                  </a:cxn>
                  <a:cxn ang="0">
                    <a:pos x="287" y="232"/>
                  </a:cxn>
                  <a:cxn ang="0">
                    <a:pos x="302" y="215"/>
                  </a:cxn>
                  <a:cxn ang="0">
                    <a:pos x="322" y="208"/>
                  </a:cxn>
                  <a:cxn ang="0">
                    <a:pos x="341" y="205"/>
                  </a:cxn>
                  <a:cxn ang="0">
                    <a:pos x="374" y="172"/>
                  </a:cxn>
                  <a:cxn ang="0">
                    <a:pos x="383" y="152"/>
                  </a:cxn>
                  <a:cxn ang="0">
                    <a:pos x="387" y="113"/>
                  </a:cxn>
                  <a:cxn ang="0">
                    <a:pos x="391" y="81"/>
                  </a:cxn>
                  <a:cxn ang="0">
                    <a:pos x="404" y="80"/>
                  </a:cxn>
                  <a:cxn ang="0">
                    <a:pos x="414" y="68"/>
                  </a:cxn>
                  <a:cxn ang="0">
                    <a:pos x="420" y="59"/>
                  </a:cxn>
                  <a:cxn ang="0">
                    <a:pos x="407" y="50"/>
                  </a:cxn>
                  <a:cxn ang="0">
                    <a:pos x="400" y="54"/>
                  </a:cxn>
                  <a:cxn ang="0">
                    <a:pos x="381" y="50"/>
                  </a:cxn>
                  <a:cxn ang="0">
                    <a:pos x="370" y="35"/>
                  </a:cxn>
                  <a:cxn ang="0">
                    <a:pos x="359" y="15"/>
                  </a:cxn>
                  <a:cxn ang="0">
                    <a:pos x="346" y="15"/>
                  </a:cxn>
                  <a:cxn ang="0">
                    <a:pos x="326" y="0"/>
                  </a:cxn>
                  <a:cxn ang="0">
                    <a:pos x="315" y="2"/>
                  </a:cxn>
                  <a:cxn ang="0">
                    <a:pos x="274" y="7"/>
                  </a:cxn>
                  <a:cxn ang="0">
                    <a:pos x="266" y="19"/>
                  </a:cxn>
                  <a:cxn ang="0">
                    <a:pos x="255" y="33"/>
                  </a:cxn>
                  <a:cxn ang="0">
                    <a:pos x="240" y="41"/>
                  </a:cxn>
                  <a:cxn ang="0">
                    <a:pos x="226" y="44"/>
                  </a:cxn>
                  <a:cxn ang="0">
                    <a:pos x="216" y="41"/>
                  </a:cxn>
                  <a:cxn ang="0">
                    <a:pos x="207" y="35"/>
                  </a:cxn>
                  <a:cxn ang="0">
                    <a:pos x="200" y="33"/>
                  </a:cxn>
                  <a:cxn ang="0">
                    <a:pos x="187" y="39"/>
                  </a:cxn>
                  <a:cxn ang="0">
                    <a:pos x="170" y="48"/>
                  </a:cxn>
                  <a:cxn ang="0">
                    <a:pos x="135" y="63"/>
                  </a:cxn>
                  <a:cxn ang="0">
                    <a:pos x="120" y="65"/>
                  </a:cxn>
                  <a:cxn ang="0">
                    <a:pos x="83" y="63"/>
                  </a:cxn>
                  <a:cxn ang="0">
                    <a:pos x="78" y="61"/>
                  </a:cxn>
                  <a:cxn ang="0">
                    <a:pos x="68" y="46"/>
                  </a:cxn>
                  <a:cxn ang="0">
                    <a:pos x="56" y="39"/>
                  </a:cxn>
                  <a:cxn ang="0">
                    <a:pos x="52" y="44"/>
                  </a:cxn>
                  <a:cxn ang="0">
                    <a:pos x="50" y="59"/>
                  </a:cxn>
                  <a:cxn ang="0">
                    <a:pos x="43" y="74"/>
                  </a:cxn>
                  <a:cxn ang="0">
                    <a:pos x="30" y="74"/>
                  </a:cxn>
                  <a:cxn ang="0">
                    <a:pos x="26" y="78"/>
                  </a:cxn>
                  <a:cxn ang="0">
                    <a:pos x="33" y="93"/>
                  </a:cxn>
                  <a:cxn ang="0">
                    <a:pos x="31" y="108"/>
                  </a:cxn>
                  <a:cxn ang="0">
                    <a:pos x="22" y="122"/>
                  </a:cxn>
                  <a:cxn ang="0">
                    <a:pos x="15" y="128"/>
                  </a:cxn>
                  <a:cxn ang="0">
                    <a:pos x="4" y="133"/>
                  </a:cxn>
                  <a:cxn ang="0">
                    <a:pos x="0" y="145"/>
                  </a:cxn>
                  <a:cxn ang="0">
                    <a:pos x="2" y="161"/>
                  </a:cxn>
                </a:cxnLst>
                <a:rect l="0" t="0" r="r" b="b"/>
                <a:pathLst>
                  <a:path w="420" h="254">
                    <a:moveTo>
                      <a:pt x="2" y="161"/>
                    </a:moveTo>
                    <a:lnTo>
                      <a:pt x="15" y="172"/>
                    </a:lnTo>
                    <a:lnTo>
                      <a:pt x="13" y="178"/>
                    </a:lnTo>
                    <a:lnTo>
                      <a:pt x="17" y="189"/>
                    </a:lnTo>
                    <a:lnTo>
                      <a:pt x="28" y="189"/>
                    </a:lnTo>
                    <a:lnTo>
                      <a:pt x="70" y="230"/>
                    </a:lnTo>
                    <a:lnTo>
                      <a:pt x="83" y="232"/>
                    </a:lnTo>
                    <a:lnTo>
                      <a:pt x="117" y="254"/>
                    </a:lnTo>
                    <a:lnTo>
                      <a:pt x="133" y="241"/>
                    </a:lnTo>
                    <a:lnTo>
                      <a:pt x="157" y="243"/>
                    </a:lnTo>
                    <a:lnTo>
                      <a:pt x="165" y="248"/>
                    </a:lnTo>
                    <a:lnTo>
                      <a:pt x="183" y="241"/>
                    </a:lnTo>
                    <a:lnTo>
                      <a:pt x="220" y="226"/>
                    </a:lnTo>
                    <a:lnTo>
                      <a:pt x="263" y="219"/>
                    </a:lnTo>
                    <a:lnTo>
                      <a:pt x="281" y="222"/>
                    </a:lnTo>
                    <a:lnTo>
                      <a:pt x="287" y="232"/>
                    </a:lnTo>
                    <a:lnTo>
                      <a:pt x="302" y="215"/>
                    </a:lnTo>
                    <a:lnTo>
                      <a:pt x="322" y="208"/>
                    </a:lnTo>
                    <a:lnTo>
                      <a:pt x="341" y="205"/>
                    </a:lnTo>
                    <a:lnTo>
                      <a:pt x="374" y="172"/>
                    </a:lnTo>
                    <a:lnTo>
                      <a:pt x="383" y="152"/>
                    </a:lnTo>
                    <a:lnTo>
                      <a:pt x="387" y="113"/>
                    </a:lnTo>
                    <a:lnTo>
                      <a:pt x="391" y="81"/>
                    </a:lnTo>
                    <a:lnTo>
                      <a:pt x="404" y="80"/>
                    </a:lnTo>
                    <a:lnTo>
                      <a:pt x="414" y="68"/>
                    </a:lnTo>
                    <a:lnTo>
                      <a:pt x="420" y="59"/>
                    </a:lnTo>
                    <a:lnTo>
                      <a:pt x="407" y="50"/>
                    </a:lnTo>
                    <a:lnTo>
                      <a:pt x="400" y="54"/>
                    </a:lnTo>
                    <a:lnTo>
                      <a:pt x="381" y="50"/>
                    </a:lnTo>
                    <a:lnTo>
                      <a:pt x="370" y="35"/>
                    </a:lnTo>
                    <a:lnTo>
                      <a:pt x="359" y="15"/>
                    </a:lnTo>
                    <a:lnTo>
                      <a:pt x="346" y="15"/>
                    </a:lnTo>
                    <a:lnTo>
                      <a:pt x="326" y="0"/>
                    </a:lnTo>
                    <a:lnTo>
                      <a:pt x="315" y="2"/>
                    </a:lnTo>
                    <a:lnTo>
                      <a:pt x="274" y="7"/>
                    </a:lnTo>
                    <a:lnTo>
                      <a:pt x="266" y="19"/>
                    </a:lnTo>
                    <a:lnTo>
                      <a:pt x="255" y="33"/>
                    </a:lnTo>
                    <a:lnTo>
                      <a:pt x="240" y="41"/>
                    </a:lnTo>
                    <a:lnTo>
                      <a:pt x="226" y="44"/>
                    </a:lnTo>
                    <a:lnTo>
                      <a:pt x="216" y="41"/>
                    </a:lnTo>
                    <a:lnTo>
                      <a:pt x="207" y="35"/>
                    </a:lnTo>
                    <a:lnTo>
                      <a:pt x="200" y="33"/>
                    </a:lnTo>
                    <a:lnTo>
                      <a:pt x="187" y="39"/>
                    </a:lnTo>
                    <a:lnTo>
                      <a:pt x="170" y="48"/>
                    </a:lnTo>
                    <a:lnTo>
                      <a:pt x="135" y="63"/>
                    </a:lnTo>
                    <a:lnTo>
                      <a:pt x="120" y="65"/>
                    </a:lnTo>
                    <a:lnTo>
                      <a:pt x="83" y="63"/>
                    </a:lnTo>
                    <a:lnTo>
                      <a:pt x="78" y="61"/>
                    </a:lnTo>
                    <a:lnTo>
                      <a:pt x="68" y="46"/>
                    </a:lnTo>
                    <a:lnTo>
                      <a:pt x="56" y="39"/>
                    </a:lnTo>
                    <a:lnTo>
                      <a:pt x="52" y="44"/>
                    </a:lnTo>
                    <a:lnTo>
                      <a:pt x="50" y="59"/>
                    </a:lnTo>
                    <a:lnTo>
                      <a:pt x="43" y="74"/>
                    </a:lnTo>
                    <a:lnTo>
                      <a:pt x="30" y="74"/>
                    </a:lnTo>
                    <a:lnTo>
                      <a:pt x="26" y="78"/>
                    </a:lnTo>
                    <a:lnTo>
                      <a:pt x="33" y="93"/>
                    </a:lnTo>
                    <a:lnTo>
                      <a:pt x="31" y="108"/>
                    </a:lnTo>
                    <a:lnTo>
                      <a:pt x="22" y="122"/>
                    </a:lnTo>
                    <a:lnTo>
                      <a:pt x="15" y="128"/>
                    </a:lnTo>
                    <a:lnTo>
                      <a:pt x="4" y="133"/>
                    </a:lnTo>
                    <a:lnTo>
                      <a:pt x="0" y="145"/>
                    </a:lnTo>
                    <a:lnTo>
                      <a:pt x="2" y="161"/>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83" name="Freeform 18"/>
              <p:cNvSpPr>
                <a:spLocks/>
              </p:cNvSpPr>
              <p:nvPr>
                <p:custDataLst>
                  <p:tags r:id="rId10"/>
                </p:custDataLst>
              </p:nvPr>
            </p:nvSpPr>
            <p:spPr bwMode="auto">
              <a:xfrm>
                <a:off x="2749176" y="4733302"/>
                <a:ext cx="281300" cy="168114"/>
              </a:xfrm>
              <a:custGeom>
                <a:avLst/>
                <a:gdLst/>
                <a:ahLst/>
                <a:cxnLst>
                  <a:cxn ang="0">
                    <a:pos x="17" y="63"/>
                  </a:cxn>
                  <a:cxn ang="0">
                    <a:pos x="37" y="83"/>
                  </a:cxn>
                  <a:cxn ang="0">
                    <a:pos x="31" y="93"/>
                  </a:cxn>
                  <a:cxn ang="0">
                    <a:pos x="22" y="100"/>
                  </a:cxn>
                  <a:cxn ang="0">
                    <a:pos x="11" y="102"/>
                  </a:cxn>
                  <a:cxn ang="0">
                    <a:pos x="0" y="104"/>
                  </a:cxn>
                  <a:cxn ang="0">
                    <a:pos x="20" y="113"/>
                  </a:cxn>
                  <a:cxn ang="0">
                    <a:pos x="28" y="115"/>
                  </a:cxn>
                  <a:cxn ang="0">
                    <a:pos x="53" y="100"/>
                  </a:cxn>
                  <a:cxn ang="0">
                    <a:pos x="108" y="114"/>
                  </a:cxn>
                  <a:cxn ang="0">
                    <a:pos x="144" y="74"/>
                  </a:cxn>
                  <a:cxn ang="0">
                    <a:pos x="151" y="57"/>
                  </a:cxn>
                  <a:cxn ang="0">
                    <a:pos x="158" y="52"/>
                  </a:cxn>
                  <a:cxn ang="0">
                    <a:pos x="178" y="54"/>
                  </a:cxn>
                  <a:cxn ang="0">
                    <a:pos x="199" y="30"/>
                  </a:cxn>
                  <a:cxn ang="0">
                    <a:pos x="197" y="15"/>
                  </a:cxn>
                  <a:cxn ang="0">
                    <a:pos x="183" y="0"/>
                  </a:cxn>
                  <a:cxn ang="0">
                    <a:pos x="173" y="2"/>
                  </a:cxn>
                  <a:cxn ang="0">
                    <a:pos x="163" y="5"/>
                  </a:cxn>
                  <a:cxn ang="0">
                    <a:pos x="145" y="1"/>
                  </a:cxn>
                  <a:cxn ang="0">
                    <a:pos x="127" y="2"/>
                  </a:cxn>
                  <a:cxn ang="0">
                    <a:pos x="109" y="7"/>
                  </a:cxn>
                  <a:cxn ang="0">
                    <a:pos x="84" y="5"/>
                  </a:cxn>
                  <a:cxn ang="0">
                    <a:pos x="73" y="20"/>
                  </a:cxn>
                  <a:cxn ang="0">
                    <a:pos x="31" y="7"/>
                  </a:cxn>
                  <a:cxn ang="0">
                    <a:pos x="15" y="7"/>
                  </a:cxn>
                  <a:cxn ang="0">
                    <a:pos x="15" y="32"/>
                  </a:cxn>
                  <a:cxn ang="0">
                    <a:pos x="17" y="63"/>
                  </a:cxn>
                </a:cxnLst>
                <a:rect l="0" t="0" r="r" b="b"/>
                <a:pathLst>
                  <a:path w="199" h="115">
                    <a:moveTo>
                      <a:pt x="17" y="63"/>
                    </a:moveTo>
                    <a:lnTo>
                      <a:pt x="37" y="83"/>
                    </a:lnTo>
                    <a:lnTo>
                      <a:pt x="31" y="93"/>
                    </a:lnTo>
                    <a:lnTo>
                      <a:pt x="22" y="100"/>
                    </a:lnTo>
                    <a:lnTo>
                      <a:pt x="11" y="102"/>
                    </a:lnTo>
                    <a:lnTo>
                      <a:pt x="0" y="104"/>
                    </a:lnTo>
                    <a:lnTo>
                      <a:pt x="20" y="113"/>
                    </a:lnTo>
                    <a:lnTo>
                      <a:pt x="28" y="115"/>
                    </a:lnTo>
                    <a:lnTo>
                      <a:pt x="53" y="100"/>
                    </a:lnTo>
                    <a:lnTo>
                      <a:pt x="108" y="114"/>
                    </a:lnTo>
                    <a:lnTo>
                      <a:pt x="144" y="74"/>
                    </a:lnTo>
                    <a:lnTo>
                      <a:pt x="151" y="57"/>
                    </a:lnTo>
                    <a:lnTo>
                      <a:pt x="158" y="52"/>
                    </a:lnTo>
                    <a:lnTo>
                      <a:pt x="178" y="54"/>
                    </a:lnTo>
                    <a:lnTo>
                      <a:pt x="199" y="30"/>
                    </a:lnTo>
                    <a:lnTo>
                      <a:pt x="197" y="15"/>
                    </a:lnTo>
                    <a:lnTo>
                      <a:pt x="183" y="0"/>
                    </a:lnTo>
                    <a:lnTo>
                      <a:pt x="173" y="2"/>
                    </a:lnTo>
                    <a:lnTo>
                      <a:pt x="163" y="5"/>
                    </a:lnTo>
                    <a:lnTo>
                      <a:pt x="145" y="1"/>
                    </a:lnTo>
                    <a:lnTo>
                      <a:pt x="127" y="2"/>
                    </a:lnTo>
                    <a:lnTo>
                      <a:pt x="109" y="7"/>
                    </a:lnTo>
                    <a:lnTo>
                      <a:pt x="84" y="5"/>
                    </a:lnTo>
                    <a:lnTo>
                      <a:pt x="73" y="20"/>
                    </a:lnTo>
                    <a:lnTo>
                      <a:pt x="31" y="7"/>
                    </a:lnTo>
                    <a:lnTo>
                      <a:pt x="15" y="7"/>
                    </a:lnTo>
                    <a:lnTo>
                      <a:pt x="15" y="32"/>
                    </a:lnTo>
                    <a:lnTo>
                      <a:pt x="17" y="63"/>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84" name="Freeform 19"/>
              <p:cNvSpPr>
                <a:spLocks/>
              </p:cNvSpPr>
              <p:nvPr>
                <p:custDataLst>
                  <p:tags r:id="rId11"/>
                </p:custDataLst>
              </p:nvPr>
            </p:nvSpPr>
            <p:spPr bwMode="auto">
              <a:xfrm>
                <a:off x="3579760" y="5032912"/>
                <a:ext cx="549284" cy="406137"/>
              </a:xfrm>
              <a:custGeom>
                <a:avLst/>
                <a:gdLst/>
                <a:ahLst/>
                <a:cxnLst>
                  <a:cxn ang="0">
                    <a:pos x="7" y="39"/>
                  </a:cxn>
                  <a:cxn ang="0">
                    <a:pos x="2" y="59"/>
                  </a:cxn>
                  <a:cxn ang="0">
                    <a:pos x="28" y="82"/>
                  </a:cxn>
                  <a:cxn ang="0">
                    <a:pos x="30" y="115"/>
                  </a:cxn>
                  <a:cxn ang="0">
                    <a:pos x="6" y="135"/>
                  </a:cxn>
                  <a:cxn ang="0">
                    <a:pos x="9" y="159"/>
                  </a:cxn>
                  <a:cxn ang="0">
                    <a:pos x="6" y="186"/>
                  </a:cxn>
                  <a:cxn ang="0">
                    <a:pos x="9" y="209"/>
                  </a:cxn>
                  <a:cxn ang="0">
                    <a:pos x="30" y="222"/>
                  </a:cxn>
                  <a:cxn ang="0">
                    <a:pos x="31" y="255"/>
                  </a:cxn>
                  <a:cxn ang="0">
                    <a:pos x="44" y="281"/>
                  </a:cxn>
                  <a:cxn ang="0">
                    <a:pos x="109" y="264"/>
                  </a:cxn>
                  <a:cxn ang="0">
                    <a:pos x="149" y="236"/>
                  </a:cxn>
                  <a:cxn ang="0">
                    <a:pos x="179" y="253"/>
                  </a:cxn>
                  <a:cxn ang="0">
                    <a:pos x="208" y="262"/>
                  </a:cxn>
                  <a:cxn ang="0">
                    <a:pos x="243" y="249"/>
                  </a:cxn>
                  <a:cxn ang="0">
                    <a:pos x="245" y="220"/>
                  </a:cxn>
                  <a:cxn ang="0">
                    <a:pos x="271" y="220"/>
                  </a:cxn>
                  <a:cxn ang="0">
                    <a:pos x="284" y="212"/>
                  </a:cxn>
                  <a:cxn ang="0">
                    <a:pos x="336" y="196"/>
                  </a:cxn>
                  <a:cxn ang="0">
                    <a:pos x="354" y="175"/>
                  </a:cxn>
                  <a:cxn ang="0">
                    <a:pos x="328" y="147"/>
                  </a:cxn>
                  <a:cxn ang="0">
                    <a:pos x="340" y="124"/>
                  </a:cxn>
                  <a:cxn ang="0">
                    <a:pos x="349" y="111"/>
                  </a:cxn>
                  <a:cxn ang="0">
                    <a:pos x="356" y="82"/>
                  </a:cxn>
                  <a:cxn ang="0">
                    <a:pos x="364" y="52"/>
                  </a:cxn>
                  <a:cxn ang="0">
                    <a:pos x="384" y="39"/>
                  </a:cxn>
                  <a:cxn ang="0">
                    <a:pos x="373" y="9"/>
                  </a:cxn>
                  <a:cxn ang="0">
                    <a:pos x="321" y="2"/>
                  </a:cxn>
                  <a:cxn ang="0">
                    <a:pos x="266" y="6"/>
                  </a:cxn>
                  <a:cxn ang="0">
                    <a:pos x="214" y="32"/>
                  </a:cxn>
                  <a:cxn ang="0">
                    <a:pos x="173" y="50"/>
                  </a:cxn>
                  <a:cxn ang="0">
                    <a:pos x="119" y="54"/>
                  </a:cxn>
                  <a:cxn ang="0">
                    <a:pos x="83" y="52"/>
                  </a:cxn>
                  <a:cxn ang="0">
                    <a:pos x="41" y="37"/>
                  </a:cxn>
                  <a:cxn ang="0">
                    <a:pos x="9" y="33"/>
                  </a:cxn>
                </a:cxnLst>
                <a:rect l="0" t="0" r="r" b="b"/>
                <a:pathLst>
                  <a:path w="384" h="281">
                    <a:moveTo>
                      <a:pt x="9" y="33"/>
                    </a:moveTo>
                    <a:lnTo>
                      <a:pt x="7" y="39"/>
                    </a:lnTo>
                    <a:lnTo>
                      <a:pt x="0" y="46"/>
                    </a:lnTo>
                    <a:lnTo>
                      <a:pt x="2" y="59"/>
                    </a:lnTo>
                    <a:lnTo>
                      <a:pt x="13" y="80"/>
                    </a:lnTo>
                    <a:lnTo>
                      <a:pt x="28" y="82"/>
                    </a:lnTo>
                    <a:lnTo>
                      <a:pt x="31" y="91"/>
                    </a:lnTo>
                    <a:lnTo>
                      <a:pt x="30" y="115"/>
                    </a:lnTo>
                    <a:lnTo>
                      <a:pt x="24" y="122"/>
                    </a:lnTo>
                    <a:lnTo>
                      <a:pt x="6" y="135"/>
                    </a:lnTo>
                    <a:lnTo>
                      <a:pt x="4" y="141"/>
                    </a:lnTo>
                    <a:lnTo>
                      <a:pt x="9" y="159"/>
                    </a:lnTo>
                    <a:lnTo>
                      <a:pt x="11" y="173"/>
                    </a:lnTo>
                    <a:lnTo>
                      <a:pt x="6" y="186"/>
                    </a:lnTo>
                    <a:lnTo>
                      <a:pt x="0" y="196"/>
                    </a:lnTo>
                    <a:lnTo>
                      <a:pt x="9" y="209"/>
                    </a:lnTo>
                    <a:lnTo>
                      <a:pt x="17" y="207"/>
                    </a:lnTo>
                    <a:lnTo>
                      <a:pt x="30" y="222"/>
                    </a:lnTo>
                    <a:lnTo>
                      <a:pt x="31" y="236"/>
                    </a:lnTo>
                    <a:lnTo>
                      <a:pt x="31" y="255"/>
                    </a:lnTo>
                    <a:lnTo>
                      <a:pt x="30" y="264"/>
                    </a:lnTo>
                    <a:lnTo>
                      <a:pt x="44" y="281"/>
                    </a:lnTo>
                    <a:lnTo>
                      <a:pt x="74" y="275"/>
                    </a:lnTo>
                    <a:lnTo>
                      <a:pt x="109" y="264"/>
                    </a:lnTo>
                    <a:lnTo>
                      <a:pt x="136" y="248"/>
                    </a:lnTo>
                    <a:lnTo>
                      <a:pt x="149" y="236"/>
                    </a:lnTo>
                    <a:lnTo>
                      <a:pt x="166" y="259"/>
                    </a:lnTo>
                    <a:lnTo>
                      <a:pt x="179" y="253"/>
                    </a:lnTo>
                    <a:lnTo>
                      <a:pt x="197" y="259"/>
                    </a:lnTo>
                    <a:lnTo>
                      <a:pt x="208" y="262"/>
                    </a:lnTo>
                    <a:lnTo>
                      <a:pt x="230" y="253"/>
                    </a:lnTo>
                    <a:lnTo>
                      <a:pt x="243" y="249"/>
                    </a:lnTo>
                    <a:lnTo>
                      <a:pt x="243" y="238"/>
                    </a:lnTo>
                    <a:lnTo>
                      <a:pt x="245" y="220"/>
                    </a:lnTo>
                    <a:lnTo>
                      <a:pt x="256" y="214"/>
                    </a:lnTo>
                    <a:lnTo>
                      <a:pt x="271" y="220"/>
                    </a:lnTo>
                    <a:lnTo>
                      <a:pt x="273" y="227"/>
                    </a:lnTo>
                    <a:lnTo>
                      <a:pt x="284" y="212"/>
                    </a:lnTo>
                    <a:lnTo>
                      <a:pt x="312" y="199"/>
                    </a:lnTo>
                    <a:lnTo>
                      <a:pt x="336" y="196"/>
                    </a:lnTo>
                    <a:lnTo>
                      <a:pt x="358" y="196"/>
                    </a:lnTo>
                    <a:lnTo>
                      <a:pt x="354" y="175"/>
                    </a:lnTo>
                    <a:lnTo>
                      <a:pt x="351" y="164"/>
                    </a:lnTo>
                    <a:lnTo>
                      <a:pt x="328" y="147"/>
                    </a:lnTo>
                    <a:lnTo>
                      <a:pt x="327" y="142"/>
                    </a:lnTo>
                    <a:lnTo>
                      <a:pt x="340" y="124"/>
                    </a:lnTo>
                    <a:lnTo>
                      <a:pt x="353" y="121"/>
                    </a:lnTo>
                    <a:lnTo>
                      <a:pt x="349" y="111"/>
                    </a:lnTo>
                    <a:lnTo>
                      <a:pt x="356" y="93"/>
                    </a:lnTo>
                    <a:lnTo>
                      <a:pt x="356" y="82"/>
                    </a:lnTo>
                    <a:lnTo>
                      <a:pt x="360" y="61"/>
                    </a:lnTo>
                    <a:lnTo>
                      <a:pt x="364" y="52"/>
                    </a:lnTo>
                    <a:lnTo>
                      <a:pt x="377" y="54"/>
                    </a:lnTo>
                    <a:lnTo>
                      <a:pt x="384" y="39"/>
                    </a:lnTo>
                    <a:lnTo>
                      <a:pt x="377" y="26"/>
                    </a:lnTo>
                    <a:lnTo>
                      <a:pt x="373" y="9"/>
                    </a:lnTo>
                    <a:lnTo>
                      <a:pt x="364" y="11"/>
                    </a:lnTo>
                    <a:lnTo>
                      <a:pt x="321" y="2"/>
                    </a:lnTo>
                    <a:lnTo>
                      <a:pt x="293" y="0"/>
                    </a:lnTo>
                    <a:lnTo>
                      <a:pt x="266" y="6"/>
                    </a:lnTo>
                    <a:lnTo>
                      <a:pt x="242" y="17"/>
                    </a:lnTo>
                    <a:lnTo>
                      <a:pt x="214" y="32"/>
                    </a:lnTo>
                    <a:lnTo>
                      <a:pt x="193" y="48"/>
                    </a:lnTo>
                    <a:lnTo>
                      <a:pt x="173" y="50"/>
                    </a:lnTo>
                    <a:lnTo>
                      <a:pt x="145" y="45"/>
                    </a:lnTo>
                    <a:lnTo>
                      <a:pt x="119" y="54"/>
                    </a:lnTo>
                    <a:lnTo>
                      <a:pt x="102" y="58"/>
                    </a:lnTo>
                    <a:lnTo>
                      <a:pt x="83" y="52"/>
                    </a:lnTo>
                    <a:lnTo>
                      <a:pt x="56" y="41"/>
                    </a:lnTo>
                    <a:lnTo>
                      <a:pt x="41" y="37"/>
                    </a:lnTo>
                    <a:lnTo>
                      <a:pt x="20" y="33"/>
                    </a:lnTo>
                    <a:lnTo>
                      <a:pt x="9" y="33"/>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85" name="Freeform 20"/>
              <p:cNvSpPr>
                <a:spLocks/>
              </p:cNvSpPr>
              <p:nvPr>
                <p:custDataLst>
                  <p:tags r:id="rId12"/>
                </p:custDataLst>
              </p:nvPr>
            </p:nvSpPr>
            <p:spPr bwMode="auto">
              <a:xfrm>
                <a:off x="3266835" y="5282586"/>
                <a:ext cx="208062" cy="357867"/>
              </a:xfrm>
              <a:custGeom>
                <a:avLst/>
                <a:gdLst/>
                <a:ahLst/>
                <a:cxnLst>
                  <a:cxn ang="0">
                    <a:pos x="11" y="56"/>
                  </a:cxn>
                  <a:cxn ang="0">
                    <a:pos x="20" y="63"/>
                  </a:cxn>
                  <a:cxn ang="0">
                    <a:pos x="20" y="74"/>
                  </a:cxn>
                  <a:cxn ang="0">
                    <a:pos x="19" y="81"/>
                  </a:cxn>
                  <a:cxn ang="0">
                    <a:pos x="13" y="91"/>
                  </a:cxn>
                  <a:cxn ang="0">
                    <a:pos x="13" y="115"/>
                  </a:cxn>
                  <a:cxn ang="0">
                    <a:pos x="17" y="124"/>
                  </a:cxn>
                  <a:cxn ang="0">
                    <a:pos x="4" y="144"/>
                  </a:cxn>
                  <a:cxn ang="0">
                    <a:pos x="7" y="148"/>
                  </a:cxn>
                  <a:cxn ang="0">
                    <a:pos x="0" y="159"/>
                  </a:cxn>
                  <a:cxn ang="0">
                    <a:pos x="6" y="170"/>
                  </a:cxn>
                  <a:cxn ang="0">
                    <a:pos x="7" y="178"/>
                  </a:cxn>
                  <a:cxn ang="0">
                    <a:pos x="11" y="168"/>
                  </a:cxn>
                  <a:cxn ang="0">
                    <a:pos x="22" y="181"/>
                  </a:cxn>
                  <a:cxn ang="0">
                    <a:pos x="20" y="194"/>
                  </a:cxn>
                  <a:cxn ang="0">
                    <a:pos x="15" y="200"/>
                  </a:cxn>
                  <a:cxn ang="0">
                    <a:pos x="22" y="211"/>
                  </a:cxn>
                  <a:cxn ang="0">
                    <a:pos x="31" y="215"/>
                  </a:cxn>
                  <a:cxn ang="0">
                    <a:pos x="46" y="224"/>
                  </a:cxn>
                  <a:cxn ang="0">
                    <a:pos x="59" y="235"/>
                  </a:cxn>
                  <a:cxn ang="0">
                    <a:pos x="61" y="242"/>
                  </a:cxn>
                  <a:cxn ang="0">
                    <a:pos x="76" y="248"/>
                  </a:cxn>
                  <a:cxn ang="0">
                    <a:pos x="89" y="242"/>
                  </a:cxn>
                  <a:cxn ang="0">
                    <a:pos x="105" y="233"/>
                  </a:cxn>
                  <a:cxn ang="0">
                    <a:pos x="113" y="217"/>
                  </a:cxn>
                  <a:cxn ang="0">
                    <a:pos x="120" y="207"/>
                  </a:cxn>
                  <a:cxn ang="0">
                    <a:pos x="133" y="183"/>
                  </a:cxn>
                  <a:cxn ang="0">
                    <a:pos x="137" y="165"/>
                  </a:cxn>
                  <a:cxn ang="0">
                    <a:pos x="139" y="148"/>
                  </a:cxn>
                  <a:cxn ang="0">
                    <a:pos x="148" y="137"/>
                  </a:cxn>
                  <a:cxn ang="0">
                    <a:pos x="133" y="133"/>
                  </a:cxn>
                  <a:cxn ang="0">
                    <a:pos x="128" y="126"/>
                  </a:cxn>
                  <a:cxn ang="0">
                    <a:pos x="120" y="128"/>
                  </a:cxn>
                  <a:cxn ang="0">
                    <a:pos x="107" y="122"/>
                  </a:cxn>
                  <a:cxn ang="0">
                    <a:pos x="104" y="105"/>
                  </a:cxn>
                  <a:cxn ang="0">
                    <a:pos x="100" y="93"/>
                  </a:cxn>
                  <a:cxn ang="0">
                    <a:pos x="107" y="80"/>
                  </a:cxn>
                  <a:cxn ang="0">
                    <a:pos x="107" y="41"/>
                  </a:cxn>
                  <a:cxn ang="0">
                    <a:pos x="107" y="28"/>
                  </a:cxn>
                  <a:cxn ang="0">
                    <a:pos x="100" y="20"/>
                  </a:cxn>
                  <a:cxn ang="0">
                    <a:pos x="87" y="19"/>
                  </a:cxn>
                  <a:cxn ang="0">
                    <a:pos x="78" y="15"/>
                  </a:cxn>
                  <a:cxn ang="0">
                    <a:pos x="70" y="2"/>
                  </a:cxn>
                  <a:cxn ang="0">
                    <a:pos x="61" y="0"/>
                  </a:cxn>
                  <a:cxn ang="0">
                    <a:pos x="57" y="6"/>
                  </a:cxn>
                  <a:cxn ang="0">
                    <a:pos x="56" y="2"/>
                  </a:cxn>
                  <a:cxn ang="0">
                    <a:pos x="41" y="4"/>
                  </a:cxn>
                  <a:cxn ang="0">
                    <a:pos x="33" y="0"/>
                  </a:cxn>
                  <a:cxn ang="0">
                    <a:pos x="22" y="7"/>
                  </a:cxn>
                  <a:cxn ang="0">
                    <a:pos x="20" y="30"/>
                  </a:cxn>
                  <a:cxn ang="0">
                    <a:pos x="17" y="44"/>
                  </a:cxn>
                  <a:cxn ang="0">
                    <a:pos x="11" y="56"/>
                  </a:cxn>
                </a:cxnLst>
                <a:rect l="0" t="0" r="r" b="b"/>
                <a:pathLst>
                  <a:path w="148" h="248">
                    <a:moveTo>
                      <a:pt x="11" y="56"/>
                    </a:moveTo>
                    <a:lnTo>
                      <a:pt x="20" y="63"/>
                    </a:lnTo>
                    <a:lnTo>
                      <a:pt x="20" y="74"/>
                    </a:lnTo>
                    <a:lnTo>
                      <a:pt x="19" y="81"/>
                    </a:lnTo>
                    <a:lnTo>
                      <a:pt x="13" y="91"/>
                    </a:lnTo>
                    <a:lnTo>
                      <a:pt x="13" y="115"/>
                    </a:lnTo>
                    <a:lnTo>
                      <a:pt x="17" y="124"/>
                    </a:lnTo>
                    <a:lnTo>
                      <a:pt x="4" y="144"/>
                    </a:lnTo>
                    <a:lnTo>
                      <a:pt x="7" y="148"/>
                    </a:lnTo>
                    <a:lnTo>
                      <a:pt x="0" y="159"/>
                    </a:lnTo>
                    <a:lnTo>
                      <a:pt x="6" y="170"/>
                    </a:lnTo>
                    <a:lnTo>
                      <a:pt x="7" y="178"/>
                    </a:lnTo>
                    <a:lnTo>
                      <a:pt x="11" y="168"/>
                    </a:lnTo>
                    <a:lnTo>
                      <a:pt x="22" y="181"/>
                    </a:lnTo>
                    <a:lnTo>
                      <a:pt x="20" y="194"/>
                    </a:lnTo>
                    <a:lnTo>
                      <a:pt x="15" y="200"/>
                    </a:lnTo>
                    <a:lnTo>
                      <a:pt x="22" y="211"/>
                    </a:lnTo>
                    <a:lnTo>
                      <a:pt x="31" y="215"/>
                    </a:lnTo>
                    <a:lnTo>
                      <a:pt x="46" y="224"/>
                    </a:lnTo>
                    <a:lnTo>
                      <a:pt x="59" y="235"/>
                    </a:lnTo>
                    <a:lnTo>
                      <a:pt x="61" y="242"/>
                    </a:lnTo>
                    <a:lnTo>
                      <a:pt x="76" y="248"/>
                    </a:lnTo>
                    <a:lnTo>
                      <a:pt x="89" y="242"/>
                    </a:lnTo>
                    <a:lnTo>
                      <a:pt x="105" y="233"/>
                    </a:lnTo>
                    <a:lnTo>
                      <a:pt x="113" y="217"/>
                    </a:lnTo>
                    <a:lnTo>
                      <a:pt x="120" y="207"/>
                    </a:lnTo>
                    <a:lnTo>
                      <a:pt x="133" y="183"/>
                    </a:lnTo>
                    <a:lnTo>
                      <a:pt x="137" y="165"/>
                    </a:lnTo>
                    <a:lnTo>
                      <a:pt x="139" y="148"/>
                    </a:lnTo>
                    <a:lnTo>
                      <a:pt x="148" y="137"/>
                    </a:lnTo>
                    <a:lnTo>
                      <a:pt x="133" y="133"/>
                    </a:lnTo>
                    <a:lnTo>
                      <a:pt x="128" y="126"/>
                    </a:lnTo>
                    <a:lnTo>
                      <a:pt x="120" y="128"/>
                    </a:lnTo>
                    <a:lnTo>
                      <a:pt x="107" y="122"/>
                    </a:lnTo>
                    <a:lnTo>
                      <a:pt x="104" y="105"/>
                    </a:lnTo>
                    <a:lnTo>
                      <a:pt x="100" y="93"/>
                    </a:lnTo>
                    <a:lnTo>
                      <a:pt x="107" y="80"/>
                    </a:lnTo>
                    <a:lnTo>
                      <a:pt x="107" y="41"/>
                    </a:lnTo>
                    <a:lnTo>
                      <a:pt x="107" y="28"/>
                    </a:lnTo>
                    <a:lnTo>
                      <a:pt x="100" y="20"/>
                    </a:lnTo>
                    <a:lnTo>
                      <a:pt x="87" y="19"/>
                    </a:lnTo>
                    <a:lnTo>
                      <a:pt x="78" y="15"/>
                    </a:lnTo>
                    <a:lnTo>
                      <a:pt x="70" y="2"/>
                    </a:lnTo>
                    <a:lnTo>
                      <a:pt x="61" y="0"/>
                    </a:lnTo>
                    <a:lnTo>
                      <a:pt x="57" y="6"/>
                    </a:lnTo>
                    <a:lnTo>
                      <a:pt x="56" y="2"/>
                    </a:lnTo>
                    <a:lnTo>
                      <a:pt x="41" y="4"/>
                    </a:lnTo>
                    <a:lnTo>
                      <a:pt x="33" y="0"/>
                    </a:lnTo>
                    <a:lnTo>
                      <a:pt x="22" y="7"/>
                    </a:lnTo>
                    <a:lnTo>
                      <a:pt x="20" y="30"/>
                    </a:lnTo>
                    <a:lnTo>
                      <a:pt x="17" y="44"/>
                    </a:lnTo>
                    <a:lnTo>
                      <a:pt x="11" y="56"/>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86" name="Freeform 21"/>
              <p:cNvSpPr>
                <a:spLocks/>
              </p:cNvSpPr>
              <p:nvPr>
                <p:custDataLst>
                  <p:tags r:id="rId13"/>
                </p:custDataLst>
              </p:nvPr>
            </p:nvSpPr>
            <p:spPr bwMode="auto">
              <a:xfrm>
                <a:off x="3419969" y="4540221"/>
                <a:ext cx="785642" cy="574251"/>
              </a:xfrm>
              <a:custGeom>
                <a:avLst/>
                <a:gdLst/>
                <a:ahLst/>
                <a:cxnLst>
                  <a:cxn ang="0">
                    <a:pos x="122" y="46"/>
                  </a:cxn>
                  <a:cxn ang="0">
                    <a:pos x="102" y="57"/>
                  </a:cxn>
                  <a:cxn ang="0">
                    <a:pos x="95" y="130"/>
                  </a:cxn>
                  <a:cxn ang="0">
                    <a:pos x="62" y="169"/>
                  </a:cxn>
                  <a:cxn ang="0">
                    <a:pos x="19" y="189"/>
                  </a:cxn>
                  <a:cxn ang="0">
                    <a:pos x="0" y="215"/>
                  </a:cxn>
                  <a:cxn ang="0">
                    <a:pos x="17" y="237"/>
                  </a:cxn>
                  <a:cxn ang="0">
                    <a:pos x="17" y="258"/>
                  </a:cxn>
                  <a:cxn ang="0">
                    <a:pos x="41" y="263"/>
                  </a:cxn>
                  <a:cxn ang="0">
                    <a:pos x="52" y="295"/>
                  </a:cxn>
                  <a:cxn ang="0">
                    <a:pos x="59" y="324"/>
                  </a:cxn>
                  <a:cxn ang="0">
                    <a:pos x="76" y="324"/>
                  </a:cxn>
                  <a:cxn ang="0">
                    <a:pos x="104" y="326"/>
                  </a:cxn>
                  <a:cxn ang="0">
                    <a:pos x="104" y="343"/>
                  </a:cxn>
                  <a:cxn ang="0">
                    <a:pos x="122" y="358"/>
                  </a:cxn>
                  <a:cxn ang="0">
                    <a:pos x="122" y="378"/>
                  </a:cxn>
                  <a:cxn ang="0">
                    <a:pos x="160" y="387"/>
                  </a:cxn>
                  <a:cxn ang="0">
                    <a:pos x="213" y="402"/>
                  </a:cxn>
                  <a:cxn ang="0">
                    <a:pos x="253" y="391"/>
                  </a:cxn>
                  <a:cxn ang="0">
                    <a:pos x="298" y="395"/>
                  </a:cxn>
                  <a:cxn ang="0">
                    <a:pos x="324" y="380"/>
                  </a:cxn>
                  <a:cxn ang="0">
                    <a:pos x="398" y="346"/>
                  </a:cxn>
                  <a:cxn ang="0">
                    <a:pos x="441" y="350"/>
                  </a:cxn>
                  <a:cxn ang="0">
                    <a:pos x="474" y="356"/>
                  </a:cxn>
                  <a:cxn ang="0">
                    <a:pos x="494" y="339"/>
                  </a:cxn>
                  <a:cxn ang="0">
                    <a:pos x="496" y="282"/>
                  </a:cxn>
                  <a:cxn ang="0">
                    <a:pos x="515" y="263"/>
                  </a:cxn>
                  <a:cxn ang="0">
                    <a:pos x="533" y="263"/>
                  </a:cxn>
                  <a:cxn ang="0">
                    <a:pos x="537" y="248"/>
                  </a:cxn>
                  <a:cxn ang="0">
                    <a:pos x="550" y="235"/>
                  </a:cxn>
                  <a:cxn ang="0">
                    <a:pos x="522" y="226"/>
                  </a:cxn>
                  <a:cxn ang="0">
                    <a:pos x="489" y="233"/>
                  </a:cxn>
                  <a:cxn ang="0">
                    <a:pos x="457" y="226"/>
                  </a:cxn>
                  <a:cxn ang="0">
                    <a:pos x="452" y="200"/>
                  </a:cxn>
                  <a:cxn ang="0">
                    <a:pos x="441" y="174"/>
                  </a:cxn>
                  <a:cxn ang="0">
                    <a:pos x="435" y="148"/>
                  </a:cxn>
                  <a:cxn ang="0">
                    <a:pos x="437" y="124"/>
                  </a:cxn>
                  <a:cxn ang="0">
                    <a:pos x="413" y="87"/>
                  </a:cxn>
                  <a:cxn ang="0">
                    <a:pos x="405" y="61"/>
                  </a:cxn>
                  <a:cxn ang="0">
                    <a:pos x="381" y="41"/>
                  </a:cxn>
                  <a:cxn ang="0">
                    <a:pos x="365" y="9"/>
                  </a:cxn>
                  <a:cxn ang="0">
                    <a:pos x="348" y="0"/>
                  </a:cxn>
                  <a:cxn ang="0">
                    <a:pos x="329" y="13"/>
                  </a:cxn>
                  <a:cxn ang="0">
                    <a:pos x="307" y="15"/>
                  </a:cxn>
                  <a:cxn ang="0">
                    <a:pos x="288" y="26"/>
                  </a:cxn>
                  <a:cxn ang="0">
                    <a:pos x="259" y="30"/>
                  </a:cxn>
                  <a:cxn ang="0">
                    <a:pos x="235" y="13"/>
                  </a:cxn>
                  <a:cxn ang="0">
                    <a:pos x="204" y="24"/>
                  </a:cxn>
                  <a:cxn ang="0">
                    <a:pos x="180" y="22"/>
                  </a:cxn>
                  <a:cxn ang="0">
                    <a:pos x="150" y="20"/>
                  </a:cxn>
                  <a:cxn ang="0">
                    <a:pos x="135" y="28"/>
                  </a:cxn>
                  <a:cxn ang="0">
                    <a:pos x="128" y="31"/>
                  </a:cxn>
                </a:cxnLst>
                <a:rect l="0" t="0" r="r" b="b"/>
                <a:pathLst>
                  <a:path w="550" h="402">
                    <a:moveTo>
                      <a:pt x="132" y="35"/>
                    </a:moveTo>
                    <a:lnTo>
                      <a:pt x="122" y="46"/>
                    </a:lnTo>
                    <a:lnTo>
                      <a:pt x="115" y="54"/>
                    </a:lnTo>
                    <a:lnTo>
                      <a:pt x="102" y="57"/>
                    </a:lnTo>
                    <a:lnTo>
                      <a:pt x="96" y="119"/>
                    </a:lnTo>
                    <a:lnTo>
                      <a:pt x="95" y="130"/>
                    </a:lnTo>
                    <a:lnTo>
                      <a:pt x="80" y="154"/>
                    </a:lnTo>
                    <a:lnTo>
                      <a:pt x="62" y="169"/>
                    </a:lnTo>
                    <a:lnTo>
                      <a:pt x="50" y="182"/>
                    </a:lnTo>
                    <a:lnTo>
                      <a:pt x="19" y="189"/>
                    </a:lnTo>
                    <a:lnTo>
                      <a:pt x="3" y="203"/>
                    </a:lnTo>
                    <a:lnTo>
                      <a:pt x="0" y="215"/>
                    </a:lnTo>
                    <a:lnTo>
                      <a:pt x="11" y="224"/>
                    </a:lnTo>
                    <a:lnTo>
                      <a:pt x="17" y="237"/>
                    </a:lnTo>
                    <a:lnTo>
                      <a:pt x="15" y="246"/>
                    </a:lnTo>
                    <a:lnTo>
                      <a:pt x="17" y="258"/>
                    </a:lnTo>
                    <a:lnTo>
                      <a:pt x="26" y="263"/>
                    </a:lnTo>
                    <a:lnTo>
                      <a:pt x="41" y="263"/>
                    </a:lnTo>
                    <a:lnTo>
                      <a:pt x="46" y="274"/>
                    </a:lnTo>
                    <a:lnTo>
                      <a:pt x="52" y="295"/>
                    </a:lnTo>
                    <a:lnTo>
                      <a:pt x="54" y="311"/>
                    </a:lnTo>
                    <a:lnTo>
                      <a:pt x="59" y="324"/>
                    </a:lnTo>
                    <a:lnTo>
                      <a:pt x="69" y="328"/>
                    </a:lnTo>
                    <a:lnTo>
                      <a:pt x="76" y="324"/>
                    </a:lnTo>
                    <a:lnTo>
                      <a:pt x="89" y="315"/>
                    </a:lnTo>
                    <a:lnTo>
                      <a:pt x="104" y="326"/>
                    </a:lnTo>
                    <a:lnTo>
                      <a:pt x="102" y="337"/>
                    </a:lnTo>
                    <a:lnTo>
                      <a:pt x="104" y="343"/>
                    </a:lnTo>
                    <a:lnTo>
                      <a:pt x="111" y="346"/>
                    </a:lnTo>
                    <a:lnTo>
                      <a:pt x="122" y="358"/>
                    </a:lnTo>
                    <a:lnTo>
                      <a:pt x="119" y="371"/>
                    </a:lnTo>
                    <a:lnTo>
                      <a:pt x="122" y="378"/>
                    </a:lnTo>
                    <a:lnTo>
                      <a:pt x="139" y="378"/>
                    </a:lnTo>
                    <a:lnTo>
                      <a:pt x="160" y="387"/>
                    </a:lnTo>
                    <a:lnTo>
                      <a:pt x="198" y="402"/>
                    </a:lnTo>
                    <a:lnTo>
                      <a:pt x="213" y="402"/>
                    </a:lnTo>
                    <a:lnTo>
                      <a:pt x="235" y="398"/>
                    </a:lnTo>
                    <a:lnTo>
                      <a:pt x="253" y="391"/>
                    </a:lnTo>
                    <a:lnTo>
                      <a:pt x="283" y="396"/>
                    </a:lnTo>
                    <a:lnTo>
                      <a:pt x="298" y="395"/>
                    </a:lnTo>
                    <a:lnTo>
                      <a:pt x="305" y="393"/>
                    </a:lnTo>
                    <a:lnTo>
                      <a:pt x="324" y="380"/>
                    </a:lnTo>
                    <a:lnTo>
                      <a:pt x="366" y="356"/>
                    </a:lnTo>
                    <a:lnTo>
                      <a:pt x="398" y="346"/>
                    </a:lnTo>
                    <a:lnTo>
                      <a:pt x="415" y="345"/>
                    </a:lnTo>
                    <a:lnTo>
                      <a:pt x="441" y="350"/>
                    </a:lnTo>
                    <a:lnTo>
                      <a:pt x="463" y="352"/>
                    </a:lnTo>
                    <a:lnTo>
                      <a:pt x="474" y="356"/>
                    </a:lnTo>
                    <a:lnTo>
                      <a:pt x="491" y="354"/>
                    </a:lnTo>
                    <a:lnTo>
                      <a:pt x="494" y="339"/>
                    </a:lnTo>
                    <a:lnTo>
                      <a:pt x="494" y="311"/>
                    </a:lnTo>
                    <a:lnTo>
                      <a:pt x="496" y="282"/>
                    </a:lnTo>
                    <a:lnTo>
                      <a:pt x="505" y="267"/>
                    </a:lnTo>
                    <a:lnTo>
                      <a:pt x="515" y="263"/>
                    </a:lnTo>
                    <a:lnTo>
                      <a:pt x="524" y="269"/>
                    </a:lnTo>
                    <a:lnTo>
                      <a:pt x="533" y="263"/>
                    </a:lnTo>
                    <a:lnTo>
                      <a:pt x="539" y="256"/>
                    </a:lnTo>
                    <a:lnTo>
                      <a:pt x="537" y="248"/>
                    </a:lnTo>
                    <a:lnTo>
                      <a:pt x="548" y="245"/>
                    </a:lnTo>
                    <a:lnTo>
                      <a:pt x="550" y="235"/>
                    </a:lnTo>
                    <a:lnTo>
                      <a:pt x="539" y="230"/>
                    </a:lnTo>
                    <a:lnTo>
                      <a:pt x="522" y="226"/>
                    </a:lnTo>
                    <a:lnTo>
                      <a:pt x="509" y="230"/>
                    </a:lnTo>
                    <a:lnTo>
                      <a:pt x="489" y="233"/>
                    </a:lnTo>
                    <a:lnTo>
                      <a:pt x="470" y="233"/>
                    </a:lnTo>
                    <a:lnTo>
                      <a:pt x="457" y="226"/>
                    </a:lnTo>
                    <a:lnTo>
                      <a:pt x="452" y="215"/>
                    </a:lnTo>
                    <a:lnTo>
                      <a:pt x="452" y="200"/>
                    </a:lnTo>
                    <a:lnTo>
                      <a:pt x="450" y="185"/>
                    </a:lnTo>
                    <a:lnTo>
                      <a:pt x="441" y="174"/>
                    </a:lnTo>
                    <a:lnTo>
                      <a:pt x="435" y="163"/>
                    </a:lnTo>
                    <a:lnTo>
                      <a:pt x="435" y="148"/>
                    </a:lnTo>
                    <a:lnTo>
                      <a:pt x="437" y="133"/>
                    </a:lnTo>
                    <a:lnTo>
                      <a:pt x="437" y="124"/>
                    </a:lnTo>
                    <a:lnTo>
                      <a:pt x="428" y="102"/>
                    </a:lnTo>
                    <a:lnTo>
                      <a:pt x="413" y="87"/>
                    </a:lnTo>
                    <a:lnTo>
                      <a:pt x="407" y="72"/>
                    </a:lnTo>
                    <a:lnTo>
                      <a:pt x="405" y="61"/>
                    </a:lnTo>
                    <a:lnTo>
                      <a:pt x="402" y="56"/>
                    </a:lnTo>
                    <a:lnTo>
                      <a:pt x="381" y="41"/>
                    </a:lnTo>
                    <a:lnTo>
                      <a:pt x="374" y="28"/>
                    </a:lnTo>
                    <a:lnTo>
                      <a:pt x="365" y="9"/>
                    </a:lnTo>
                    <a:lnTo>
                      <a:pt x="357" y="2"/>
                    </a:lnTo>
                    <a:lnTo>
                      <a:pt x="348" y="0"/>
                    </a:lnTo>
                    <a:lnTo>
                      <a:pt x="339" y="4"/>
                    </a:lnTo>
                    <a:lnTo>
                      <a:pt x="329" y="13"/>
                    </a:lnTo>
                    <a:lnTo>
                      <a:pt x="324" y="15"/>
                    </a:lnTo>
                    <a:lnTo>
                      <a:pt x="307" y="15"/>
                    </a:lnTo>
                    <a:lnTo>
                      <a:pt x="296" y="17"/>
                    </a:lnTo>
                    <a:lnTo>
                      <a:pt x="288" y="26"/>
                    </a:lnTo>
                    <a:lnTo>
                      <a:pt x="274" y="31"/>
                    </a:lnTo>
                    <a:lnTo>
                      <a:pt x="259" y="30"/>
                    </a:lnTo>
                    <a:lnTo>
                      <a:pt x="251" y="22"/>
                    </a:lnTo>
                    <a:lnTo>
                      <a:pt x="235" y="13"/>
                    </a:lnTo>
                    <a:lnTo>
                      <a:pt x="221" y="17"/>
                    </a:lnTo>
                    <a:lnTo>
                      <a:pt x="204" y="24"/>
                    </a:lnTo>
                    <a:lnTo>
                      <a:pt x="191" y="26"/>
                    </a:lnTo>
                    <a:lnTo>
                      <a:pt x="180" y="22"/>
                    </a:lnTo>
                    <a:lnTo>
                      <a:pt x="167" y="15"/>
                    </a:lnTo>
                    <a:lnTo>
                      <a:pt x="150" y="20"/>
                    </a:lnTo>
                    <a:lnTo>
                      <a:pt x="139" y="26"/>
                    </a:lnTo>
                    <a:lnTo>
                      <a:pt x="135" y="28"/>
                    </a:lnTo>
                    <a:lnTo>
                      <a:pt x="132" y="30"/>
                    </a:lnTo>
                    <a:lnTo>
                      <a:pt x="128" y="31"/>
                    </a:lnTo>
                    <a:lnTo>
                      <a:pt x="132" y="35"/>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87" name="Freeform 22"/>
              <p:cNvSpPr>
                <a:spLocks/>
              </p:cNvSpPr>
              <p:nvPr>
                <p:custDataLst>
                  <p:tags r:id="rId14"/>
                </p:custDataLst>
              </p:nvPr>
            </p:nvSpPr>
            <p:spPr bwMode="auto">
              <a:xfrm>
                <a:off x="1953547" y="3989273"/>
                <a:ext cx="301274" cy="266319"/>
              </a:xfrm>
              <a:custGeom>
                <a:avLst/>
                <a:gdLst/>
                <a:ahLst/>
                <a:cxnLst>
                  <a:cxn ang="0">
                    <a:pos x="0" y="33"/>
                  </a:cxn>
                  <a:cxn ang="0">
                    <a:pos x="5" y="26"/>
                  </a:cxn>
                  <a:cxn ang="0">
                    <a:pos x="3" y="17"/>
                  </a:cxn>
                  <a:cxn ang="0">
                    <a:pos x="35" y="0"/>
                  </a:cxn>
                  <a:cxn ang="0">
                    <a:pos x="38" y="6"/>
                  </a:cxn>
                  <a:cxn ang="0">
                    <a:pos x="61" y="2"/>
                  </a:cxn>
                  <a:cxn ang="0">
                    <a:pos x="79" y="3"/>
                  </a:cxn>
                  <a:cxn ang="0">
                    <a:pos x="72" y="12"/>
                  </a:cxn>
                  <a:cxn ang="0">
                    <a:pos x="76" y="24"/>
                  </a:cxn>
                  <a:cxn ang="0">
                    <a:pos x="91" y="29"/>
                  </a:cxn>
                  <a:cxn ang="0">
                    <a:pos x="106" y="28"/>
                  </a:cxn>
                  <a:cxn ang="0">
                    <a:pos x="118" y="19"/>
                  </a:cxn>
                  <a:cxn ang="0">
                    <a:pos x="138" y="17"/>
                  </a:cxn>
                  <a:cxn ang="0">
                    <a:pos x="144" y="25"/>
                  </a:cxn>
                  <a:cxn ang="0">
                    <a:pos x="156" y="32"/>
                  </a:cxn>
                  <a:cxn ang="0">
                    <a:pos x="173" y="33"/>
                  </a:cxn>
                  <a:cxn ang="0">
                    <a:pos x="170" y="47"/>
                  </a:cxn>
                  <a:cxn ang="0">
                    <a:pos x="171" y="75"/>
                  </a:cxn>
                  <a:cxn ang="0">
                    <a:pos x="174" y="92"/>
                  </a:cxn>
                  <a:cxn ang="0">
                    <a:pos x="193" y="90"/>
                  </a:cxn>
                  <a:cxn ang="0">
                    <a:pos x="199" y="102"/>
                  </a:cxn>
                  <a:cxn ang="0">
                    <a:pos x="200" y="112"/>
                  </a:cxn>
                  <a:cxn ang="0">
                    <a:pos x="210" y="126"/>
                  </a:cxn>
                  <a:cxn ang="0">
                    <a:pos x="198" y="136"/>
                  </a:cxn>
                  <a:cxn ang="0">
                    <a:pos x="187" y="144"/>
                  </a:cxn>
                  <a:cxn ang="0">
                    <a:pos x="175" y="144"/>
                  </a:cxn>
                  <a:cxn ang="0">
                    <a:pos x="161" y="148"/>
                  </a:cxn>
                  <a:cxn ang="0">
                    <a:pos x="161" y="163"/>
                  </a:cxn>
                  <a:cxn ang="0">
                    <a:pos x="155" y="173"/>
                  </a:cxn>
                  <a:cxn ang="0">
                    <a:pos x="140" y="185"/>
                  </a:cxn>
                  <a:cxn ang="0">
                    <a:pos x="115" y="166"/>
                  </a:cxn>
                  <a:cxn ang="0">
                    <a:pos x="108" y="149"/>
                  </a:cxn>
                  <a:cxn ang="0">
                    <a:pos x="85" y="144"/>
                  </a:cxn>
                  <a:cxn ang="0">
                    <a:pos x="77" y="122"/>
                  </a:cxn>
                  <a:cxn ang="0">
                    <a:pos x="61" y="109"/>
                  </a:cxn>
                  <a:cxn ang="0">
                    <a:pos x="55" y="93"/>
                  </a:cxn>
                  <a:cxn ang="0">
                    <a:pos x="42" y="77"/>
                  </a:cxn>
                  <a:cxn ang="0">
                    <a:pos x="33" y="61"/>
                  </a:cxn>
                  <a:cxn ang="0">
                    <a:pos x="16" y="49"/>
                  </a:cxn>
                  <a:cxn ang="0">
                    <a:pos x="0" y="33"/>
                  </a:cxn>
                </a:cxnLst>
                <a:rect l="0" t="0" r="r" b="b"/>
                <a:pathLst>
                  <a:path w="210" h="185">
                    <a:moveTo>
                      <a:pt x="0" y="33"/>
                    </a:moveTo>
                    <a:lnTo>
                      <a:pt x="5" y="26"/>
                    </a:lnTo>
                    <a:lnTo>
                      <a:pt x="3" y="17"/>
                    </a:lnTo>
                    <a:lnTo>
                      <a:pt x="35" y="0"/>
                    </a:lnTo>
                    <a:lnTo>
                      <a:pt x="38" y="6"/>
                    </a:lnTo>
                    <a:lnTo>
                      <a:pt x="61" y="2"/>
                    </a:lnTo>
                    <a:lnTo>
                      <a:pt x="79" y="3"/>
                    </a:lnTo>
                    <a:lnTo>
                      <a:pt x="72" y="12"/>
                    </a:lnTo>
                    <a:lnTo>
                      <a:pt x="76" y="24"/>
                    </a:lnTo>
                    <a:lnTo>
                      <a:pt x="91" y="29"/>
                    </a:lnTo>
                    <a:lnTo>
                      <a:pt x="106" y="28"/>
                    </a:lnTo>
                    <a:lnTo>
                      <a:pt x="118" y="19"/>
                    </a:lnTo>
                    <a:lnTo>
                      <a:pt x="138" y="17"/>
                    </a:lnTo>
                    <a:lnTo>
                      <a:pt x="144" y="25"/>
                    </a:lnTo>
                    <a:lnTo>
                      <a:pt x="156" y="32"/>
                    </a:lnTo>
                    <a:lnTo>
                      <a:pt x="173" y="33"/>
                    </a:lnTo>
                    <a:lnTo>
                      <a:pt x="170" y="47"/>
                    </a:lnTo>
                    <a:lnTo>
                      <a:pt x="171" y="75"/>
                    </a:lnTo>
                    <a:lnTo>
                      <a:pt x="174" y="92"/>
                    </a:lnTo>
                    <a:lnTo>
                      <a:pt x="193" y="90"/>
                    </a:lnTo>
                    <a:lnTo>
                      <a:pt x="199" y="102"/>
                    </a:lnTo>
                    <a:lnTo>
                      <a:pt x="200" y="112"/>
                    </a:lnTo>
                    <a:lnTo>
                      <a:pt x="210" y="126"/>
                    </a:lnTo>
                    <a:lnTo>
                      <a:pt x="198" y="136"/>
                    </a:lnTo>
                    <a:lnTo>
                      <a:pt x="187" y="144"/>
                    </a:lnTo>
                    <a:lnTo>
                      <a:pt x="175" y="144"/>
                    </a:lnTo>
                    <a:lnTo>
                      <a:pt x="161" y="148"/>
                    </a:lnTo>
                    <a:lnTo>
                      <a:pt x="161" y="163"/>
                    </a:lnTo>
                    <a:lnTo>
                      <a:pt x="155" y="173"/>
                    </a:lnTo>
                    <a:lnTo>
                      <a:pt x="140" y="185"/>
                    </a:lnTo>
                    <a:lnTo>
                      <a:pt x="115" y="166"/>
                    </a:lnTo>
                    <a:lnTo>
                      <a:pt x="108" y="149"/>
                    </a:lnTo>
                    <a:lnTo>
                      <a:pt x="85" y="144"/>
                    </a:lnTo>
                    <a:lnTo>
                      <a:pt x="77" y="122"/>
                    </a:lnTo>
                    <a:lnTo>
                      <a:pt x="61" y="109"/>
                    </a:lnTo>
                    <a:lnTo>
                      <a:pt x="55" y="93"/>
                    </a:lnTo>
                    <a:lnTo>
                      <a:pt x="42" y="77"/>
                    </a:lnTo>
                    <a:lnTo>
                      <a:pt x="33" y="61"/>
                    </a:lnTo>
                    <a:lnTo>
                      <a:pt x="16" y="49"/>
                    </a:lnTo>
                    <a:lnTo>
                      <a:pt x="0" y="33"/>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88" name="Freeform 23"/>
              <p:cNvSpPr>
                <a:spLocks/>
              </p:cNvSpPr>
              <p:nvPr>
                <p:custDataLst>
                  <p:tags r:id="rId15"/>
                </p:custDataLst>
              </p:nvPr>
            </p:nvSpPr>
            <p:spPr bwMode="auto">
              <a:xfrm>
                <a:off x="2158280" y="4194006"/>
                <a:ext cx="79896" cy="104863"/>
              </a:xfrm>
              <a:custGeom>
                <a:avLst/>
                <a:gdLst/>
                <a:ahLst/>
                <a:cxnLst>
                  <a:cxn ang="0">
                    <a:pos x="41" y="71"/>
                  </a:cxn>
                  <a:cxn ang="0">
                    <a:pos x="44" y="48"/>
                  </a:cxn>
                  <a:cxn ang="0">
                    <a:pos x="57" y="39"/>
                  </a:cxn>
                  <a:cxn ang="0">
                    <a:pos x="57" y="28"/>
                  </a:cxn>
                  <a:cxn ang="0">
                    <a:pos x="50" y="20"/>
                  </a:cxn>
                  <a:cxn ang="0">
                    <a:pos x="43" y="9"/>
                  </a:cxn>
                  <a:cxn ang="0">
                    <a:pos x="39" y="0"/>
                  </a:cxn>
                  <a:cxn ang="0">
                    <a:pos x="26" y="0"/>
                  </a:cxn>
                  <a:cxn ang="0">
                    <a:pos x="17" y="4"/>
                  </a:cxn>
                  <a:cxn ang="0">
                    <a:pos x="17" y="19"/>
                  </a:cxn>
                  <a:cxn ang="0">
                    <a:pos x="9" y="32"/>
                  </a:cxn>
                  <a:cxn ang="0">
                    <a:pos x="0" y="36"/>
                  </a:cxn>
                  <a:cxn ang="0">
                    <a:pos x="4" y="47"/>
                  </a:cxn>
                  <a:cxn ang="0">
                    <a:pos x="16" y="50"/>
                  </a:cxn>
                  <a:cxn ang="0">
                    <a:pos x="28" y="53"/>
                  </a:cxn>
                  <a:cxn ang="0">
                    <a:pos x="35" y="60"/>
                  </a:cxn>
                  <a:cxn ang="0">
                    <a:pos x="41" y="71"/>
                  </a:cxn>
                </a:cxnLst>
                <a:rect l="0" t="0" r="r" b="b"/>
                <a:pathLst>
                  <a:path w="57" h="71">
                    <a:moveTo>
                      <a:pt x="41" y="71"/>
                    </a:moveTo>
                    <a:lnTo>
                      <a:pt x="44" y="48"/>
                    </a:lnTo>
                    <a:lnTo>
                      <a:pt x="57" y="39"/>
                    </a:lnTo>
                    <a:lnTo>
                      <a:pt x="57" y="28"/>
                    </a:lnTo>
                    <a:lnTo>
                      <a:pt x="50" y="20"/>
                    </a:lnTo>
                    <a:lnTo>
                      <a:pt x="43" y="9"/>
                    </a:lnTo>
                    <a:lnTo>
                      <a:pt x="39" y="0"/>
                    </a:lnTo>
                    <a:lnTo>
                      <a:pt x="26" y="0"/>
                    </a:lnTo>
                    <a:lnTo>
                      <a:pt x="17" y="4"/>
                    </a:lnTo>
                    <a:lnTo>
                      <a:pt x="17" y="19"/>
                    </a:lnTo>
                    <a:lnTo>
                      <a:pt x="9" y="32"/>
                    </a:lnTo>
                    <a:lnTo>
                      <a:pt x="0" y="36"/>
                    </a:lnTo>
                    <a:lnTo>
                      <a:pt x="4" y="47"/>
                    </a:lnTo>
                    <a:lnTo>
                      <a:pt x="16" y="50"/>
                    </a:lnTo>
                    <a:lnTo>
                      <a:pt x="28" y="53"/>
                    </a:lnTo>
                    <a:lnTo>
                      <a:pt x="35" y="60"/>
                    </a:lnTo>
                    <a:lnTo>
                      <a:pt x="41" y="71"/>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89" name="Freeform 24"/>
              <p:cNvSpPr>
                <a:spLocks/>
              </p:cNvSpPr>
              <p:nvPr>
                <p:custDataLst>
                  <p:tags r:id="rId16"/>
                </p:custDataLst>
              </p:nvPr>
            </p:nvSpPr>
            <p:spPr bwMode="auto">
              <a:xfrm>
                <a:off x="2058410" y="3797856"/>
                <a:ext cx="304603" cy="324577"/>
              </a:xfrm>
              <a:custGeom>
                <a:avLst/>
                <a:gdLst/>
                <a:ahLst/>
                <a:cxnLst>
                  <a:cxn ang="0">
                    <a:pos x="89" y="6"/>
                  </a:cxn>
                  <a:cxn ang="0">
                    <a:pos x="67" y="33"/>
                  </a:cxn>
                  <a:cxn ang="0">
                    <a:pos x="67" y="41"/>
                  </a:cxn>
                  <a:cxn ang="0">
                    <a:pos x="54" y="54"/>
                  </a:cxn>
                  <a:cxn ang="0">
                    <a:pos x="56" y="57"/>
                  </a:cxn>
                  <a:cxn ang="0">
                    <a:pos x="52" y="66"/>
                  </a:cxn>
                  <a:cxn ang="0">
                    <a:pos x="39" y="79"/>
                  </a:cxn>
                  <a:cxn ang="0">
                    <a:pos x="26" y="94"/>
                  </a:cxn>
                  <a:cxn ang="0">
                    <a:pos x="21" y="102"/>
                  </a:cxn>
                  <a:cxn ang="0">
                    <a:pos x="26" y="109"/>
                  </a:cxn>
                  <a:cxn ang="0">
                    <a:pos x="22" y="120"/>
                  </a:cxn>
                  <a:cxn ang="0">
                    <a:pos x="15" y="129"/>
                  </a:cxn>
                  <a:cxn ang="0">
                    <a:pos x="9" y="133"/>
                  </a:cxn>
                  <a:cxn ang="0">
                    <a:pos x="0" y="144"/>
                  </a:cxn>
                  <a:cxn ang="0">
                    <a:pos x="1" y="155"/>
                  </a:cxn>
                  <a:cxn ang="0">
                    <a:pos x="11" y="161"/>
                  </a:cxn>
                  <a:cxn ang="0">
                    <a:pos x="35" y="161"/>
                  </a:cxn>
                  <a:cxn ang="0">
                    <a:pos x="49" y="153"/>
                  </a:cxn>
                  <a:cxn ang="0">
                    <a:pos x="63" y="151"/>
                  </a:cxn>
                  <a:cxn ang="0">
                    <a:pos x="74" y="161"/>
                  </a:cxn>
                  <a:cxn ang="0">
                    <a:pos x="85" y="166"/>
                  </a:cxn>
                  <a:cxn ang="0">
                    <a:pos x="100" y="168"/>
                  </a:cxn>
                  <a:cxn ang="0">
                    <a:pos x="96" y="185"/>
                  </a:cxn>
                  <a:cxn ang="0">
                    <a:pos x="101" y="227"/>
                  </a:cxn>
                  <a:cxn ang="0">
                    <a:pos x="114" y="226"/>
                  </a:cxn>
                  <a:cxn ang="0">
                    <a:pos x="122" y="225"/>
                  </a:cxn>
                  <a:cxn ang="0">
                    <a:pos x="125" y="213"/>
                  </a:cxn>
                  <a:cxn ang="0">
                    <a:pos x="127" y="188"/>
                  </a:cxn>
                  <a:cxn ang="0">
                    <a:pos x="137" y="175"/>
                  </a:cxn>
                  <a:cxn ang="0">
                    <a:pos x="137" y="153"/>
                  </a:cxn>
                  <a:cxn ang="0">
                    <a:pos x="145" y="140"/>
                  </a:cxn>
                  <a:cxn ang="0">
                    <a:pos x="162" y="133"/>
                  </a:cxn>
                  <a:cxn ang="0">
                    <a:pos x="193" y="98"/>
                  </a:cxn>
                  <a:cxn ang="0">
                    <a:pos x="197" y="83"/>
                  </a:cxn>
                  <a:cxn ang="0">
                    <a:pos x="192" y="59"/>
                  </a:cxn>
                  <a:cxn ang="0">
                    <a:pos x="212" y="43"/>
                  </a:cxn>
                  <a:cxn ang="0">
                    <a:pos x="215" y="16"/>
                  </a:cxn>
                  <a:cxn ang="0">
                    <a:pos x="201" y="4"/>
                  </a:cxn>
                  <a:cxn ang="0">
                    <a:pos x="192" y="2"/>
                  </a:cxn>
                  <a:cxn ang="0">
                    <a:pos x="175" y="0"/>
                  </a:cxn>
                  <a:cxn ang="0">
                    <a:pos x="137" y="0"/>
                  </a:cxn>
                  <a:cxn ang="0">
                    <a:pos x="126" y="9"/>
                  </a:cxn>
                  <a:cxn ang="0">
                    <a:pos x="117" y="20"/>
                  </a:cxn>
                  <a:cxn ang="0">
                    <a:pos x="119" y="30"/>
                  </a:cxn>
                  <a:cxn ang="0">
                    <a:pos x="132" y="39"/>
                  </a:cxn>
                  <a:cxn ang="0">
                    <a:pos x="141" y="50"/>
                  </a:cxn>
                  <a:cxn ang="0">
                    <a:pos x="141" y="65"/>
                  </a:cxn>
                  <a:cxn ang="0">
                    <a:pos x="126" y="76"/>
                  </a:cxn>
                  <a:cxn ang="0">
                    <a:pos x="111" y="79"/>
                  </a:cxn>
                  <a:cxn ang="0">
                    <a:pos x="100" y="81"/>
                  </a:cxn>
                  <a:cxn ang="0">
                    <a:pos x="95" y="72"/>
                  </a:cxn>
                  <a:cxn ang="0">
                    <a:pos x="91" y="59"/>
                  </a:cxn>
                  <a:cxn ang="0">
                    <a:pos x="98" y="48"/>
                  </a:cxn>
                  <a:cxn ang="0">
                    <a:pos x="96" y="35"/>
                  </a:cxn>
                  <a:cxn ang="0">
                    <a:pos x="95" y="22"/>
                  </a:cxn>
                  <a:cxn ang="0">
                    <a:pos x="89" y="6"/>
                  </a:cxn>
                </a:cxnLst>
                <a:rect l="0" t="0" r="r" b="b"/>
                <a:pathLst>
                  <a:path w="215" h="227">
                    <a:moveTo>
                      <a:pt x="89" y="6"/>
                    </a:moveTo>
                    <a:lnTo>
                      <a:pt x="67" y="33"/>
                    </a:lnTo>
                    <a:lnTo>
                      <a:pt x="67" y="41"/>
                    </a:lnTo>
                    <a:lnTo>
                      <a:pt x="54" y="54"/>
                    </a:lnTo>
                    <a:lnTo>
                      <a:pt x="56" y="57"/>
                    </a:lnTo>
                    <a:lnTo>
                      <a:pt x="52" y="66"/>
                    </a:lnTo>
                    <a:lnTo>
                      <a:pt x="39" y="79"/>
                    </a:lnTo>
                    <a:lnTo>
                      <a:pt x="26" y="94"/>
                    </a:lnTo>
                    <a:lnTo>
                      <a:pt x="21" y="102"/>
                    </a:lnTo>
                    <a:lnTo>
                      <a:pt x="26" y="109"/>
                    </a:lnTo>
                    <a:lnTo>
                      <a:pt x="22" y="120"/>
                    </a:lnTo>
                    <a:lnTo>
                      <a:pt x="15" y="129"/>
                    </a:lnTo>
                    <a:lnTo>
                      <a:pt x="9" y="133"/>
                    </a:lnTo>
                    <a:lnTo>
                      <a:pt x="0" y="144"/>
                    </a:lnTo>
                    <a:lnTo>
                      <a:pt x="1" y="155"/>
                    </a:lnTo>
                    <a:lnTo>
                      <a:pt x="11" y="161"/>
                    </a:lnTo>
                    <a:lnTo>
                      <a:pt x="35" y="161"/>
                    </a:lnTo>
                    <a:lnTo>
                      <a:pt x="49" y="153"/>
                    </a:lnTo>
                    <a:lnTo>
                      <a:pt x="63" y="151"/>
                    </a:lnTo>
                    <a:lnTo>
                      <a:pt x="74" y="161"/>
                    </a:lnTo>
                    <a:lnTo>
                      <a:pt x="85" y="166"/>
                    </a:lnTo>
                    <a:lnTo>
                      <a:pt x="100" y="168"/>
                    </a:lnTo>
                    <a:lnTo>
                      <a:pt x="96" y="185"/>
                    </a:lnTo>
                    <a:lnTo>
                      <a:pt x="101" y="227"/>
                    </a:lnTo>
                    <a:lnTo>
                      <a:pt x="114" y="226"/>
                    </a:lnTo>
                    <a:lnTo>
                      <a:pt x="122" y="225"/>
                    </a:lnTo>
                    <a:lnTo>
                      <a:pt x="125" y="213"/>
                    </a:lnTo>
                    <a:lnTo>
                      <a:pt x="127" y="188"/>
                    </a:lnTo>
                    <a:lnTo>
                      <a:pt x="137" y="175"/>
                    </a:lnTo>
                    <a:lnTo>
                      <a:pt x="137" y="153"/>
                    </a:lnTo>
                    <a:lnTo>
                      <a:pt x="145" y="140"/>
                    </a:lnTo>
                    <a:lnTo>
                      <a:pt x="162" y="133"/>
                    </a:lnTo>
                    <a:lnTo>
                      <a:pt x="193" y="98"/>
                    </a:lnTo>
                    <a:lnTo>
                      <a:pt x="197" y="83"/>
                    </a:lnTo>
                    <a:lnTo>
                      <a:pt x="192" y="59"/>
                    </a:lnTo>
                    <a:lnTo>
                      <a:pt x="212" y="43"/>
                    </a:lnTo>
                    <a:lnTo>
                      <a:pt x="215" y="16"/>
                    </a:lnTo>
                    <a:lnTo>
                      <a:pt x="201" y="4"/>
                    </a:lnTo>
                    <a:lnTo>
                      <a:pt x="192" y="2"/>
                    </a:lnTo>
                    <a:lnTo>
                      <a:pt x="175" y="0"/>
                    </a:lnTo>
                    <a:lnTo>
                      <a:pt x="137" y="0"/>
                    </a:lnTo>
                    <a:lnTo>
                      <a:pt x="126" y="9"/>
                    </a:lnTo>
                    <a:lnTo>
                      <a:pt x="117" y="20"/>
                    </a:lnTo>
                    <a:lnTo>
                      <a:pt x="119" y="30"/>
                    </a:lnTo>
                    <a:lnTo>
                      <a:pt x="132" y="39"/>
                    </a:lnTo>
                    <a:lnTo>
                      <a:pt x="141" y="50"/>
                    </a:lnTo>
                    <a:lnTo>
                      <a:pt x="141" y="65"/>
                    </a:lnTo>
                    <a:lnTo>
                      <a:pt x="126" y="76"/>
                    </a:lnTo>
                    <a:lnTo>
                      <a:pt x="111" y="79"/>
                    </a:lnTo>
                    <a:lnTo>
                      <a:pt x="100" y="81"/>
                    </a:lnTo>
                    <a:lnTo>
                      <a:pt x="95" y="72"/>
                    </a:lnTo>
                    <a:lnTo>
                      <a:pt x="91" y="59"/>
                    </a:lnTo>
                    <a:lnTo>
                      <a:pt x="98" y="48"/>
                    </a:lnTo>
                    <a:lnTo>
                      <a:pt x="96" y="35"/>
                    </a:lnTo>
                    <a:lnTo>
                      <a:pt x="95" y="22"/>
                    </a:lnTo>
                    <a:lnTo>
                      <a:pt x="89" y="6"/>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90" name="Freeform 25"/>
              <p:cNvSpPr>
                <a:spLocks/>
              </p:cNvSpPr>
              <p:nvPr>
                <p:custDataLst>
                  <p:tags r:id="rId17"/>
                </p:custDataLst>
              </p:nvPr>
            </p:nvSpPr>
            <p:spPr bwMode="auto">
              <a:xfrm>
                <a:off x="1014771" y="3286855"/>
                <a:ext cx="432769" cy="397815"/>
              </a:xfrm>
              <a:custGeom>
                <a:avLst/>
                <a:gdLst/>
                <a:ahLst/>
                <a:cxnLst>
                  <a:cxn ang="0">
                    <a:pos x="108" y="115"/>
                  </a:cxn>
                  <a:cxn ang="0">
                    <a:pos x="106" y="139"/>
                  </a:cxn>
                  <a:cxn ang="0">
                    <a:pos x="86" y="135"/>
                  </a:cxn>
                  <a:cxn ang="0">
                    <a:pos x="63" y="167"/>
                  </a:cxn>
                  <a:cxn ang="0">
                    <a:pos x="33" y="191"/>
                  </a:cxn>
                  <a:cxn ang="0">
                    <a:pos x="13" y="195"/>
                  </a:cxn>
                  <a:cxn ang="0">
                    <a:pos x="6" y="201"/>
                  </a:cxn>
                  <a:cxn ang="0">
                    <a:pos x="11" y="221"/>
                  </a:cxn>
                  <a:cxn ang="0">
                    <a:pos x="4" y="245"/>
                  </a:cxn>
                  <a:cxn ang="0">
                    <a:pos x="17" y="245"/>
                  </a:cxn>
                  <a:cxn ang="0">
                    <a:pos x="30" y="244"/>
                  </a:cxn>
                  <a:cxn ang="0">
                    <a:pos x="24" y="262"/>
                  </a:cxn>
                  <a:cxn ang="0">
                    <a:pos x="54" y="268"/>
                  </a:cxn>
                  <a:cxn ang="0">
                    <a:pos x="80" y="277"/>
                  </a:cxn>
                  <a:cxn ang="0">
                    <a:pos x="108" y="262"/>
                  </a:cxn>
                  <a:cxn ang="0">
                    <a:pos x="186" y="268"/>
                  </a:cxn>
                  <a:cxn ang="0">
                    <a:pos x="227" y="242"/>
                  </a:cxn>
                  <a:cxn ang="0">
                    <a:pos x="249" y="221"/>
                  </a:cxn>
                  <a:cxn ang="0">
                    <a:pos x="268" y="195"/>
                  </a:cxn>
                  <a:cxn ang="0">
                    <a:pos x="277" y="135"/>
                  </a:cxn>
                  <a:cxn ang="0">
                    <a:pos x="288" y="107"/>
                  </a:cxn>
                  <a:cxn ang="0">
                    <a:pos x="273" y="76"/>
                  </a:cxn>
                  <a:cxn ang="0">
                    <a:pos x="251" y="70"/>
                  </a:cxn>
                  <a:cxn ang="0">
                    <a:pos x="240" y="41"/>
                  </a:cxn>
                  <a:cxn ang="0">
                    <a:pos x="271" y="0"/>
                  </a:cxn>
                  <a:cxn ang="0">
                    <a:pos x="223" y="4"/>
                  </a:cxn>
                  <a:cxn ang="0">
                    <a:pos x="201" y="19"/>
                  </a:cxn>
                  <a:cxn ang="0">
                    <a:pos x="180" y="22"/>
                  </a:cxn>
                  <a:cxn ang="0">
                    <a:pos x="204" y="44"/>
                  </a:cxn>
                  <a:cxn ang="0">
                    <a:pos x="158" y="50"/>
                  </a:cxn>
                  <a:cxn ang="0">
                    <a:pos x="113" y="32"/>
                  </a:cxn>
                  <a:cxn ang="0">
                    <a:pos x="100" y="54"/>
                  </a:cxn>
                  <a:cxn ang="0">
                    <a:pos x="99" y="67"/>
                  </a:cxn>
                  <a:cxn ang="0">
                    <a:pos x="87" y="89"/>
                  </a:cxn>
                  <a:cxn ang="0">
                    <a:pos x="72" y="111"/>
                  </a:cxn>
                  <a:cxn ang="0">
                    <a:pos x="89" y="126"/>
                  </a:cxn>
                </a:cxnLst>
                <a:rect l="0" t="0" r="r" b="b"/>
                <a:pathLst>
                  <a:path w="303" h="277">
                    <a:moveTo>
                      <a:pt x="112" y="104"/>
                    </a:moveTo>
                    <a:lnTo>
                      <a:pt x="108" y="115"/>
                    </a:lnTo>
                    <a:lnTo>
                      <a:pt x="112" y="130"/>
                    </a:lnTo>
                    <a:lnTo>
                      <a:pt x="106" y="139"/>
                    </a:lnTo>
                    <a:lnTo>
                      <a:pt x="97" y="133"/>
                    </a:lnTo>
                    <a:lnTo>
                      <a:pt x="86" y="135"/>
                    </a:lnTo>
                    <a:lnTo>
                      <a:pt x="86" y="146"/>
                    </a:lnTo>
                    <a:lnTo>
                      <a:pt x="63" y="167"/>
                    </a:lnTo>
                    <a:lnTo>
                      <a:pt x="50" y="172"/>
                    </a:lnTo>
                    <a:lnTo>
                      <a:pt x="33" y="191"/>
                    </a:lnTo>
                    <a:lnTo>
                      <a:pt x="22" y="196"/>
                    </a:lnTo>
                    <a:lnTo>
                      <a:pt x="13" y="195"/>
                    </a:lnTo>
                    <a:lnTo>
                      <a:pt x="9" y="198"/>
                    </a:lnTo>
                    <a:lnTo>
                      <a:pt x="6" y="201"/>
                    </a:lnTo>
                    <a:lnTo>
                      <a:pt x="11" y="208"/>
                    </a:lnTo>
                    <a:lnTo>
                      <a:pt x="11" y="221"/>
                    </a:lnTo>
                    <a:lnTo>
                      <a:pt x="0" y="233"/>
                    </a:lnTo>
                    <a:lnTo>
                      <a:pt x="4" y="245"/>
                    </a:lnTo>
                    <a:lnTo>
                      <a:pt x="4" y="245"/>
                    </a:lnTo>
                    <a:lnTo>
                      <a:pt x="17" y="245"/>
                    </a:lnTo>
                    <a:lnTo>
                      <a:pt x="22" y="236"/>
                    </a:lnTo>
                    <a:lnTo>
                      <a:pt x="30" y="244"/>
                    </a:lnTo>
                    <a:lnTo>
                      <a:pt x="20" y="251"/>
                    </a:lnTo>
                    <a:lnTo>
                      <a:pt x="24" y="262"/>
                    </a:lnTo>
                    <a:lnTo>
                      <a:pt x="30" y="264"/>
                    </a:lnTo>
                    <a:lnTo>
                      <a:pt x="54" y="268"/>
                    </a:lnTo>
                    <a:lnTo>
                      <a:pt x="58" y="270"/>
                    </a:lnTo>
                    <a:lnTo>
                      <a:pt x="80" y="277"/>
                    </a:lnTo>
                    <a:lnTo>
                      <a:pt x="89" y="273"/>
                    </a:lnTo>
                    <a:lnTo>
                      <a:pt x="108" y="262"/>
                    </a:lnTo>
                    <a:lnTo>
                      <a:pt x="136" y="268"/>
                    </a:lnTo>
                    <a:lnTo>
                      <a:pt x="186" y="268"/>
                    </a:lnTo>
                    <a:lnTo>
                      <a:pt x="214" y="262"/>
                    </a:lnTo>
                    <a:lnTo>
                      <a:pt x="227" y="242"/>
                    </a:lnTo>
                    <a:lnTo>
                      <a:pt x="244" y="233"/>
                    </a:lnTo>
                    <a:lnTo>
                      <a:pt x="249" y="221"/>
                    </a:lnTo>
                    <a:lnTo>
                      <a:pt x="255" y="205"/>
                    </a:lnTo>
                    <a:lnTo>
                      <a:pt x="268" y="195"/>
                    </a:lnTo>
                    <a:lnTo>
                      <a:pt x="279" y="167"/>
                    </a:lnTo>
                    <a:lnTo>
                      <a:pt x="277" y="135"/>
                    </a:lnTo>
                    <a:lnTo>
                      <a:pt x="303" y="120"/>
                    </a:lnTo>
                    <a:lnTo>
                      <a:pt x="288" y="107"/>
                    </a:lnTo>
                    <a:lnTo>
                      <a:pt x="283" y="85"/>
                    </a:lnTo>
                    <a:lnTo>
                      <a:pt x="273" y="76"/>
                    </a:lnTo>
                    <a:lnTo>
                      <a:pt x="262" y="76"/>
                    </a:lnTo>
                    <a:lnTo>
                      <a:pt x="251" y="70"/>
                    </a:lnTo>
                    <a:lnTo>
                      <a:pt x="231" y="46"/>
                    </a:lnTo>
                    <a:lnTo>
                      <a:pt x="240" y="41"/>
                    </a:lnTo>
                    <a:lnTo>
                      <a:pt x="275" y="9"/>
                    </a:lnTo>
                    <a:lnTo>
                      <a:pt x="271" y="0"/>
                    </a:lnTo>
                    <a:lnTo>
                      <a:pt x="260" y="2"/>
                    </a:lnTo>
                    <a:lnTo>
                      <a:pt x="223" y="4"/>
                    </a:lnTo>
                    <a:lnTo>
                      <a:pt x="210" y="13"/>
                    </a:lnTo>
                    <a:lnTo>
                      <a:pt x="201" y="19"/>
                    </a:lnTo>
                    <a:lnTo>
                      <a:pt x="188" y="17"/>
                    </a:lnTo>
                    <a:lnTo>
                      <a:pt x="180" y="22"/>
                    </a:lnTo>
                    <a:lnTo>
                      <a:pt x="186" y="32"/>
                    </a:lnTo>
                    <a:lnTo>
                      <a:pt x="204" y="44"/>
                    </a:lnTo>
                    <a:lnTo>
                      <a:pt x="191" y="46"/>
                    </a:lnTo>
                    <a:lnTo>
                      <a:pt x="158" y="50"/>
                    </a:lnTo>
                    <a:lnTo>
                      <a:pt x="136" y="41"/>
                    </a:lnTo>
                    <a:lnTo>
                      <a:pt x="113" y="32"/>
                    </a:lnTo>
                    <a:lnTo>
                      <a:pt x="106" y="37"/>
                    </a:lnTo>
                    <a:lnTo>
                      <a:pt x="100" y="54"/>
                    </a:lnTo>
                    <a:lnTo>
                      <a:pt x="102" y="63"/>
                    </a:lnTo>
                    <a:lnTo>
                      <a:pt x="99" y="67"/>
                    </a:lnTo>
                    <a:lnTo>
                      <a:pt x="86" y="72"/>
                    </a:lnTo>
                    <a:lnTo>
                      <a:pt x="87" y="89"/>
                    </a:lnTo>
                    <a:lnTo>
                      <a:pt x="86" y="93"/>
                    </a:lnTo>
                    <a:lnTo>
                      <a:pt x="72" y="111"/>
                    </a:lnTo>
                    <a:lnTo>
                      <a:pt x="84" y="128"/>
                    </a:lnTo>
                    <a:lnTo>
                      <a:pt x="89" y="126"/>
                    </a:lnTo>
                    <a:lnTo>
                      <a:pt x="112" y="104"/>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nvGrpSpPr>
              <p:cNvPr id="291" name="Group 26"/>
              <p:cNvGrpSpPr>
                <a:grpSpLocks/>
              </p:cNvGrpSpPr>
              <p:nvPr/>
            </p:nvGrpSpPr>
            <p:grpSpPr bwMode="auto">
              <a:xfrm>
                <a:off x="2487850" y="3315152"/>
                <a:ext cx="489362" cy="389492"/>
                <a:chOff x="2003" y="1691"/>
                <a:chExt cx="344" cy="272"/>
              </a:xfrm>
              <a:solidFill>
                <a:schemeClr val="accent6"/>
              </a:solidFill>
            </p:grpSpPr>
            <p:sp>
              <p:nvSpPr>
                <p:cNvPr id="357" name="Freeform 27"/>
                <p:cNvSpPr>
                  <a:spLocks/>
                </p:cNvSpPr>
                <p:nvPr>
                  <p:custDataLst>
                    <p:tags r:id="rId75"/>
                  </p:custDataLst>
                </p:nvPr>
              </p:nvSpPr>
              <p:spPr bwMode="auto">
                <a:xfrm>
                  <a:off x="2003" y="1746"/>
                  <a:ext cx="145" cy="179"/>
                </a:xfrm>
                <a:custGeom>
                  <a:avLst/>
                  <a:gdLst/>
                  <a:ahLst/>
                  <a:cxnLst>
                    <a:cxn ang="0">
                      <a:pos x="11" y="153"/>
                    </a:cxn>
                    <a:cxn ang="0">
                      <a:pos x="19" y="166"/>
                    </a:cxn>
                    <a:cxn ang="0">
                      <a:pos x="35" y="166"/>
                    </a:cxn>
                    <a:cxn ang="0">
                      <a:pos x="50" y="170"/>
                    </a:cxn>
                    <a:cxn ang="0">
                      <a:pos x="61" y="179"/>
                    </a:cxn>
                    <a:cxn ang="0">
                      <a:pos x="73" y="179"/>
                    </a:cxn>
                    <a:cxn ang="0">
                      <a:pos x="65" y="168"/>
                    </a:cxn>
                    <a:cxn ang="0">
                      <a:pos x="71" y="153"/>
                    </a:cxn>
                    <a:cxn ang="0">
                      <a:pos x="78" y="136"/>
                    </a:cxn>
                    <a:cxn ang="0">
                      <a:pos x="82" y="117"/>
                    </a:cxn>
                    <a:cxn ang="0">
                      <a:pos x="99" y="106"/>
                    </a:cxn>
                    <a:cxn ang="0">
                      <a:pos x="113" y="98"/>
                    </a:cxn>
                    <a:cxn ang="0">
                      <a:pos x="112" y="87"/>
                    </a:cxn>
                    <a:cxn ang="0">
                      <a:pos x="112" y="69"/>
                    </a:cxn>
                    <a:cxn ang="0">
                      <a:pos x="115" y="61"/>
                    </a:cxn>
                    <a:cxn ang="0">
                      <a:pos x="128" y="59"/>
                    </a:cxn>
                    <a:cxn ang="0">
                      <a:pos x="134" y="63"/>
                    </a:cxn>
                    <a:cxn ang="0">
                      <a:pos x="145" y="50"/>
                    </a:cxn>
                    <a:cxn ang="0">
                      <a:pos x="141" y="39"/>
                    </a:cxn>
                    <a:cxn ang="0">
                      <a:pos x="134" y="37"/>
                    </a:cxn>
                    <a:cxn ang="0">
                      <a:pos x="121" y="37"/>
                    </a:cxn>
                    <a:cxn ang="0">
                      <a:pos x="115" y="37"/>
                    </a:cxn>
                    <a:cxn ang="0">
                      <a:pos x="112" y="20"/>
                    </a:cxn>
                    <a:cxn ang="0">
                      <a:pos x="113" y="4"/>
                    </a:cxn>
                    <a:cxn ang="0">
                      <a:pos x="104" y="0"/>
                    </a:cxn>
                    <a:cxn ang="0">
                      <a:pos x="100" y="6"/>
                    </a:cxn>
                    <a:cxn ang="0">
                      <a:pos x="78" y="2"/>
                    </a:cxn>
                    <a:cxn ang="0">
                      <a:pos x="73" y="7"/>
                    </a:cxn>
                    <a:cxn ang="0">
                      <a:pos x="78" y="22"/>
                    </a:cxn>
                    <a:cxn ang="0">
                      <a:pos x="76" y="37"/>
                    </a:cxn>
                    <a:cxn ang="0">
                      <a:pos x="67" y="26"/>
                    </a:cxn>
                    <a:cxn ang="0">
                      <a:pos x="63" y="17"/>
                    </a:cxn>
                    <a:cxn ang="0">
                      <a:pos x="50" y="19"/>
                    </a:cxn>
                    <a:cxn ang="0">
                      <a:pos x="45" y="28"/>
                    </a:cxn>
                    <a:cxn ang="0">
                      <a:pos x="41" y="32"/>
                    </a:cxn>
                    <a:cxn ang="0">
                      <a:pos x="41" y="45"/>
                    </a:cxn>
                    <a:cxn ang="0">
                      <a:pos x="39" y="43"/>
                    </a:cxn>
                    <a:cxn ang="0">
                      <a:pos x="28" y="26"/>
                    </a:cxn>
                    <a:cxn ang="0">
                      <a:pos x="22" y="20"/>
                    </a:cxn>
                    <a:cxn ang="0">
                      <a:pos x="15" y="24"/>
                    </a:cxn>
                    <a:cxn ang="0">
                      <a:pos x="17" y="33"/>
                    </a:cxn>
                    <a:cxn ang="0">
                      <a:pos x="17" y="39"/>
                    </a:cxn>
                    <a:cxn ang="0">
                      <a:pos x="7" y="43"/>
                    </a:cxn>
                    <a:cxn ang="0">
                      <a:pos x="7" y="56"/>
                    </a:cxn>
                    <a:cxn ang="0">
                      <a:pos x="15" y="69"/>
                    </a:cxn>
                    <a:cxn ang="0">
                      <a:pos x="15" y="78"/>
                    </a:cxn>
                    <a:cxn ang="0">
                      <a:pos x="11" y="87"/>
                    </a:cxn>
                    <a:cxn ang="0">
                      <a:pos x="0" y="96"/>
                    </a:cxn>
                    <a:cxn ang="0">
                      <a:pos x="2" y="106"/>
                    </a:cxn>
                    <a:cxn ang="0">
                      <a:pos x="13" y="115"/>
                    </a:cxn>
                    <a:cxn ang="0">
                      <a:pos x="17" y="124"/>
                    </a:cxn>
                    <a:cxn ang="0">
                      <a:pos x="15" y="142"/>
                    </a:cxn>
                    <a:cxn ang="0">
                      <a:pos x="11" y="153"/>
                    </a:cxn>
                  </a:cxnLst>
                  <a:rect l="0" t="0" r="r" b="b"/>
                  <a:pathLst>
                    <a:path w="145" h="179">
                      <a:moveTo>
                        <a:pt x="11" y="153"/>
                      </a:moveTo>
                      <a:lnTo>
                        <a:pt x="19" y="166"/>
                      </a:lnTo>
                      <a:lnTo>
                        <a:pt x="35" y="166"/>
                      </a:lnTo>
                      <a:lnTo>
                        <a:pt x="50" y="170"/>
                      </a:lnTo>
                      <a:lnTo>
                        <a:pt x="61" y="179"/>
                      </a:lnTo>
                      <a:lnTo>
                        <a:pt x="73" y="179"/>
                      </a:lnTo>
                      <a:lnTo>
                        <a:pt x="65" y="168"/>
                      </a:lnTo>
                      <a:lnTo>
                        <a:pt x="71" y="153"/>
                      </a:lnTo>
                      <a:lnTo>
                        <a:pt x="78" y="136"/>
                      </a:lnTo>
                      <a:lnTo>
                        <a:pt x="82" y="117"/>
                      </a:lnTo>
                      <a:lnTo>
                        <a:pt x="99" y="106"/>
                      </a:lnTo>
                      <a:lnTo>
                        <a:pt x="113" y="98"/>
                      </a:lnTo>
                      <a:lnTo>
                        <a:pt x="112" y="87"/>
                      </a:lnTo>
                      <a:lnTo>
                        <a:pt x="112" y="69"/>
                      </a:lnTo>
                      <a:lnTo>
                        <a:pt x="115" y="61"/>
                      </a:lnTo>
                      <a:lnTo>
                        <a:pt x="128" y="59"/>
                      </a:lnTo>
                      <a:lnTo>
                        <a:pt x="134" y="63"/>
                      </a:lnTo>
                      <a:lnTo>
                        <a:pt x="145" y="50"/>
                      </a:lnTo>
                      <a:lnTo>
                        <a:pt x="141" y="39"/>
                      </a:lnTo>
                      <a:lnTo>
                        <a:pt x="134" y="37"/>
                      </a:lnTo>
                      <a:lnTo>
                        <a:pt x="121" y="37"/>
                      </a:lnTo>
                      <a:lnTo>
                        <a:pt x="115" y="37"/>
                      </a:lnTo>
                      <a:lnTo>
                        <a:pt x="112" y="20"/>
                      </a:lnTo>
                      <a:lnTo>
                        <a:pt x="113" y="4"/>
                      </a:lnTo>
                      <a:lnTo>
                        <a:pt x="104" y="0"/>
                      </a:lnTo>
                      <a:lnTo>
                        <a:pt x="100" y="6"/>
                      </a:lnTo>
                      <a:lnTo>
                        <a:pt x="78" y="2"/>
                      </a:lnTo>
                      <a:lnTo>
                        <a:pt x="73" y="7"/>
                      </a:lnTo>
                      <a:lnTo>
                        <a:pt x="78" y="22"/>
                      </a:lnTo>
                      <a:lnTo>
                        <a:pt x="76" y="37"/>
                      </a:lnTo>
                      <a:lnTo>
                        <a:pt x="67" y="26"/>
                      </a:lnTo>
                      <a:lnTo>
                        <a:pt x="63" y="17"/>
                      </a:lnTo>
                      <a:lnTo>
                        <a:pt x="50" y="19"/>
                      </a:lnTo>
                      <a:lnTo>
                        <a:pt x="45" y="28"/>
                      </a:lnTo>
                      <a:lnTo>
                        <a:pt x="41" y="32"/>
                      </a:lnTo>
                      <a:lnTo>
                        <a:pt x="41" y="45"/>
                      </a:lnTo>
                      <a:lnTo>
                        <a:pt x="39" y="43"/>
                      </a:lnTo>
                      <a:lnTo>
                        <a:pt x="28" y="26"/>
                      </a:lnTo>
                      <a:lnTo>
                        <a:pt x="22" y="20"/>
                      </a:lnTo>
                      <a:lnTo>
                        <a:pt x="15" y="24"/>
                      </a:lnTo>
                      <a:lnTo>
                        <a:pt x="17" y="33"/>
                      </a:lnTo>
                      <a:lnTo>
                        <a:pt x="17" y="39"/>
                      </a:lnTo>
                      <a:lnTo>
                        <a:pt x="7" y="43"/>
                      </a:lnTo>
                      <a:lnTo>
                        <a:pt x="7" y="56"/>
                      </a:lnTo>
                      <a:lnTo>
                        <a:pt x="15" y="69"/>
                      </a:lnTo>
                      <a:lnTo>
                        <a:pt x="15" y="78"/>
                      </a:lnTo>
                      <a:lnTo>
                        <a:pt x="11" y="87"/>
                      </a:lnTo>
                      <a:lnTo>
                        <a:pt x="0" y="96"/>
                      </a:lnTo>
                      <a:lnTo>
                        <a:pt x="2" y="106"/>
                      </a:lnTo>
                      <a:lnTo>
                        <a:pt x="13" y="115"/>
                      </a:lnTo>
                      <a:lnTo>
                        <a:pt x="17" y="124"/>
                      </a:lnTo>
                      <a:lnTo>
                        <a:pt x="15" y="142"/>
                      </a:lnTo>
                      <a:lnTo>
                        <a:pt x="11" y="153"/>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58" name="Freeform 28"/>
                <p:cNvSpPr>
                  <a:spLocks/>
                </p:cNvSpPr>
                <p:nvPr>
                  <p:custDataLst>
                    <p:tags r:id="rId76"/>
                  </p:custDataLst>
                </p:nvPr>
              </p:nvSpPr>
              <p:spPr bwMode="auto">
                <a:xfrm>
                  <a:off x="2033" y="1691"/>
                  <a:ext cx="109" cy="68"/>
                </a:xfrm>
                <a:custGeom>
                  <a:avLst/>
                  <a:gdLst/>
                  <a:ahLst/>
                  <a:cxnLst>
                    <a:cxn ang="0">
                      <a:pos x="0" y="66"/>
                    </a:cxn>
                    <a:cxn ang="0">
                      <a:pos x="9" y="68"/>
                    </a:cxn>
                    <a:cxn ang="0">
                      <a:pos x="20" y="60"/>
                    </a:cxn>
                    <a:cxn ang="0">
                      <a:pos x="31" y="47"/>
                    </a:cxn>
                    <a:cxn ang="0">
                      <a:pos x="61" y="47"/>
                    </a:cxn>
                    <a:cxn ang="0">
                      <a:pos x="87" y="42"/>
                    </a:cxn>
                    <a:cxn ang="0">
                      <a:pos x="102" y="30"/>
                    </a:cxn>
                    <a:cxn ang="0">
                      <a:pos x="107" y="15"/>
                    </a:cxn>
                    <a:cxn ang="0">
                      <a:pos x="109" y="0"/>
                    </a:cxn>
                    <a:cxn ang="0">
                      <a:pos x="89" y="9"/>
                    </a:cxn>
                    <a:cxn ang="0">
                      <a:pos x="52" y="26"/>
                    </a:cxn>
                    <a:cxn ang="0">
                      <a:pos x="42" y="28"/>
                    </a:cxn>
                    <a:cxn ang="0">
                      <a:pos x="31" y="36"/>
                    </a:cxn>
                    <a:cxn ang="0">
                      <a:pos x="9" y="40"/>
                    </a:cxn>
                    <a:cxn ang="0">
                      <a:pos x="0" y="45"/>
                    </a:cxn>
                    <a:cxn ang="0">
                      <a:pos x="0" y="66"/>
                    </a:cxn>
                  </a:cxnLst>
                  <a:rect l="0" t="0" r="r" b="b"/>
                  <a:pathLst>
                    <a:path w="109" h="68">
                      <a:moveTo>
                        <a:pt x="0" y="66"/>
                      </a:moveTo>
                      <a:lnTo>
                        <a:pt x="9" y="68"/>
                      </a:lnTo>
                      <a:lnTo>
                        <a:pt x="20" y="60"/>
                      </a:lnTo>
                      <a:lnTo>
                        <a:pt x="31" y="47"/>
                      </a:lnTo>
                      <a:lnTo>
                        <a:pt x="61" y="47"/>
                      </a:lnTo>
                      <a:lnTo>
                        <a:pt x="87" y="42"/>
                      </a:lnTo>
                      <a:lnTo>
                        <a:pt x="102" y="30"/>
                      </a:lnTo>
                      <a:lnTo>
                        <a:pt x="107" y="15"/>
                      </a:lnTo>
                      <a:lnTo>
                        <a:pt x="109" y="0"/>
                      </a:lnTo>
                      <a:lnTo>
                        <a:pt x="89" y="9"/>
                      </a:lnTo>
                      <a:lnTo>
                        <a:pt x="52" y="26"/>
                      </a:lnTo>
                      <a:lnTo>
                        <a:pt x="42" y="28"/>
                      </a:lnTo>
                      <a:lnTo>
                        <a:pt x="31" y="36"/>
                      </a:lnTo>
                      <a:lnTo>
                        <a:pt x="9" y="40"/>
                      </a:lnTo>
                      <a:lnTo>
                        <a:pt x="0" y="45"/>
                      </a:lnTo>
                      <a:lnTo>
                        <a:pt x="0" y="66"/>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59" name="Freeform 29"/>
                <p:cNvSpPr>
                  <a:spLocks/>
                </p:cNvSpPr>
                <p:nvPr>
                  <p:custDataLst>
                    <p:tags r:id="rId77"/>
                  </p:custDataLst>
                </p:nvPr>
              </p:nvSpPr>
              <p:spPr bwMode="auto">
                <a:xfrm>
                  <a:off x="2089" y="1858"/>
                  <a:ext cx="47" cy="57"/>
                </a:xfrm>
                <a:custGeom>
                  <a:avLst/>
                  <a:gdLst/>
                  <a:ahLst/>
                  <a:cxnLst>
                    <a:cxn ang="0">
                      <a:pos x="15" y="0"/>
                    </a:cxn>
                    <a:cxn ang="0">
                      <a:pos x="45" y="20"/>
                    </a:cxn>
                    <a:cxn ang="0">
                      <a:pos x="47" y="29"/>
                    </a:cxn>
                    <a:cxn ang="0">
                      <a:pos x="36" y="40"/>
                    </a:cxn>
                    <a:cxn ang="0">
                      <a:pos x="26" y="48"/>
                    </a:cxn>
                    <a:cxn ang="0">
                      <a:pos x="28" y="57"/>
                    </a:cxn>
                    <a:cxn ang="0">
                      <a:pos x="15" y="55"/>
                    </a:cxn>
                    <a:cxn ang="0">
                      <a:pos x="2" y="40"/>
                    </a:cxn>
                    <a:cxn ang="0">
                      <a:pos x="0" y="29"/>
                    </a:cxn>
                    <a:cxn ang="0">
                      <a:pos x="6" y="17"/>
                    </a:cxn>
                    <a:cxn ang="0">
                      <a:pos x="15" y="0"/>
                    </a:cxn>
                  </a:cxnLst>
                  <a:rect l="0" t="0" r="r" b="b"/>
                  <a:pathLst>
                    <a:path w="47" h="57">
                      <a:moveTo>
                        <a:pt x="15" y="0"/>
                      </a:moveTo>
                      <a:lnTo>
                        <a:pt x="45" y="20"/>
                      </a:lnTo>
                      <a:lnTo>
                        <a:pt x="47" y="29"/>
                      </a:lnTo>
                      <a:lnTo>
                        <a:pt x="36" y="40"/>
                      </a:lnTo>
                      <a:lnTo>
                        <a:pt x="26" y="48"/>
                      </a:lnTo>
                      <a:lnTo>
                        <a:pt x="28" y="57"/>
                      </a:lnTo>
                      <a:lnTo>
                        <a:pt x="15" y="55"/>
                      </a:lnTo>
                      <a:lnTo>
                        <a:pt x="2" y="40"/>
                      </a:lnTo>
                      <a:lnTo>
                        <a:pt x="0" y="29"/>
                      </a:lnTo>
                      <a:lnTo>
                        <a:pt x="6" y="17"/>
                      </a:lnTo>
                      <a:lnTo>
                        <a:pt x="15"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60" name="Freeform 30"/>
                <p:cNvSpPr>
                  <a:spLocks/>
                </p:cNvSpPr>
                <p:nvPr>
                  <p:custDataLst>
                    <p:tags r:id="rId78"/>
                  </p:custDataLst>
                </p:nvPr>
              </p:nvSpPr>
              <p:spPr bwMode="auto">
                <a:xfrm>
                  <a:off x="2148" y="1842"/>
                  <a:ext cx="69" cy="83"/>
                </a:xfrm>
                <a:custGeom>
                  <a:avLst/>
                  <a:gdLst/>
                  <a:ahLst/>
                  <a:cxnLst>
                    <a:cxn ang="0">
                      <a:pos x="65" y="0"/>
                    </a:cxn>
                    <a:cxn ang="0">
                      <a:pos x="69" y="4"/>
                    </a:cxn>
                    <a:cxn ang="0">
                      <a:pos x="65" y="9"/>
                    </a:cxn>
                    <a:cxn ang="0">
                      <a:pos x="69" y="18"/>
                    </a:cxn>
                    <a:cxn ang="0">
                      <a:pos x="64" y="29"/>
                    </a:cxn>
                    <a:cxn ang="0">
                      <a:pos x="54" y="37"/>
                    </a:cxn>
                    <a:cxn ang="0">
                      <a:pos x="58" y="46"/>
                    </a:cxn>
                    <a:cxn ang="0">
                      <a:pos x="54" y="54"/>
                    </a:cxn>
                    <a:cxn ang="0">
                      <a:pos x="58" y="63"/>
                    </a:cxn>
                    <a:cxn ang="0">
                      <a:pos x="45" y="83"/>
                    </a:cxn>
                    <a:cxn ang="0">
                      <a:pos x="16" y="63"/>
                    </a:cxn>
                    <a:cxn ang="0">
                      <a:pos x="0" y="52"/>
                    </a:cxn>
                    <a:cxn ang="0">
                      <a:pos x="9" y="46"/>
                    </a:cxn>
                    <a:cxn ang="0">
                      <a:pos x="9" y="33"/>
                    </a:cxn>
                    <a:cxn ang="0">
                      <a:pos x="27" y="22"/>
                    </a:cxn>
                    <a:cxn ang="0">
                      <a:pos x="36" y="26"/>
                    </a:cxn>
                    <a:cxn ang="0">
                      <a:pos x="45" y="22"/>
                    </a:cxn>
                    <a:cxn ang="0">
                      <a:pos x="60" y="11"/>
                    </a:cxn>
                    <a:cxn ang="0">
                      <a:pos x="65" y="0"/>
                    </a:cxn>
                  </a:cxnLst>
                  <a:rect l="0" t="0" r="r" b="b"/>
                  <a:pathLst>
                    <a:path w="69" h="83">
                      <a:moveTo>
                        <a:pt x="65" y="0"/>
                      </a:moveTo>
                      <a:lnTo>
                        <a:pt x="69" y="4"/>
                      </a:lnTo>
                      <a:lnTo>
                        <a:pt x="65" y="9"/>
                      </a:lnTo>
                      <a:lnTo>
                        <a:pt x="69" y="18"/>
                      </a:lnTo>
                      <a:lnTo>
                        <a:pt x="64" y="29"/>
                      </a:lnTo>
                      <a:lnTo>
                        <a:pt x="54" y="37"/>
                      </a:lnTo>
                      <a:lnTo>
                        <a:pt x="58" y="46"/>
                      </a:lnTo>
                      <a:lnTo>
                        <a:pt x="54" y="54"/>
                      </a:lnTo>
                      <a:lnTo>
                        <a:pt x="58" y="63"/>
                      </a:lnTo>
                      <a:lnTo>
                        <a:pt x="45" y="83"/>
                      </a:lnTo>
                      <a:lnTo>
                        <a:pt x="16" y="63"/>
                      </a:lnTo>
                      <a:lnTo>
                        <a:pt x="0" y="52"/>
                      </a:lnTo>
                      <a:lnTo>
                        <a:pt x="9" y="46"/>
                      </a:lnTo>
                      <a:lnTo>
                        <a:pt x="9" y="33"/>
                      </a:lnTo>
                      <a:lnTo>
                        <a:pt x="27" y="22"/>
                      </a:lnTo>
                      <a:lnTo>
                        <a:pt x="36" y="26"/>
                      </a:lnTo>
                      <a:lnTo>
                        <a:pt x="45" y="22"/>
                      </a:lnTo>
                      <a:lnTo>
                        <a:pt x="60" y="11"/>
                      </a:lnTo>
                      <a:lnTo>
                        <a:pt x="65"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61" name="Freeform 31"/>
                <p:cNvSpPr>
                  <a:spLocks/>
                </p:cNvSpPr>
                <p:nvPr>
                  <p:custDataLst>
                    <p:tags r:id="rId79"/>
                  </p:custDataLst>
                </p:nvPr>
              </p:nvSpPr>
              <p:spPr bwMode="auto">
                <a:xfrm>
                  <a:off x="2139" y="1928"/>
                  <a:ext cx="28" cy="35"/>
                </a:xfrm>
                <a:custGeom>
                  <a:avLst/>
                  <a:gdLst/>
                  <a:ahLst/>
                  <a:cxnLst>
                    <a:cxn ang="0">
                      <a:pos x="0" y="0"/>
                    </a:cxn>
                    <a:cxn ang="0">
                      <a:pos x="19" y="6"/>
                    </a:cxn>
                    <a:cxn ang="0">
                      <a:pos x="26" y="15"/>
                    </a:cxn>
                    <a:cxn ang="0">
                      <a:pos x="28" y="28"/>
                    </a:cxn>
                    <a:cxn ang="0">
                      <a:pos x="19" y="35"/>
                    </a:cxn>
                    <a:cxn ang="0">
                      <a:pos x="5" y="29"/>
                    </a:cxn>
                    <a:cxn ang="0">
                      <a:pos x="2" y="20"/>
                    </a:cxn>
                    <a:cxn ang="0">
                      <a:pos x="0" y="0"/>
                    </a:cxn>
                  </a:cxnLst>
                  <a:rect l="0" t="0" r="r" b="b"/>
                  <a:pathLst>
                    <a:path w="28" h="35">
                      <a:moveTo>
                        <a:pt x="0" y="0"/>
                      </a:moveTo>
                      <a:lnTo>
                        <a:pt x="19" y="6"/>
                      </a:lnTo>
                      <a:lnTo>
                        <a:pt x="26" y="15"/>
                      </a:lnTo>
                      <a:lnTo>
                        <a:pt x="28" y="28"/>
                      </a:lnTo>
                      <a:lnTo>
                        <a:pt x="19" y="35"/>
                      </a:lnTo>
                      <a:lnTo>
                        <a:pt x="5" y="29"/>
                      </a:lnTo>
                      <a:lnTo>
                        <a:pt x="2" y="20"/>
                      </a:lnTo>
                      <a:lnTo>
                        <a:pt x="0"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62" name="Freeform 32"/>
                <p:cNvSpPr>
                  <a:spLocks/>
                </p:cNvSpPr>
                <p:nvPr>
                  <p:custDataLst>
                    <p:tags r:id="rId80"/>
                  </p:custDataLst>
                </p:nvPr>
              </p:nvSpPr>
              <p:spPr bwMode="auto">
                <a:xfrm>
                  <a:off x="2331" y="1919"/>
                  <a:ext cx="16" cy="29"/>
                </a:xfrm>
                <a:custGeom>
                  <a:avLst/>
                  <a:gdLst/>
                  <a:ahLst/>
                  <a:cxnLst>
                    <a:cxn ang="0">
                      <a:pos x="5" y="0"/>
                    </a:cxn>
                    <a:cxn ang="0">
                      <a:pos x="0" y="5"/>
                    </a:cxn>
                    <a:cxn ang="0">
                      <a:pos x="0" y="20"/>
                    </a:cxn>
                    <a:cxn ang="0">
                      <a:pos x="11" y="29"/>
                    </a:cxn>
                    <a:cxn ang="0">
                      <a:pos x="16" y="16"/>
                    </a:cxn>
                    <a:cxn ang="0">
                      <a:pos x="5" y="0"/>
                    </a:cxn>
                  </a:cxnLst>
                  <a:rect l="0" t="0" r="r" b="b"/>
                  <a:pathLst>
                    <a:path w="16" h="29">
                      <a:moveTo>
                        <a:pt x="5" y="0"/>
                      </a:moveTo>
                      <a:lnTo>
                        <a:pt x="0" y="5"/>
                      </a:lnTo>
                      <a:lnTo>
                        <a:pt x="0" y="20"/>
                      </a:lnTo>
                      <a:lnTo>
                        <a:pt x="11" y="29"/>
                      </a:lnTo>
                      <a:lnTo>
                        <a:pt x="16" y="16"/>
                      </a:lnTo>
                      <a:lnTo>
                        <a:pt x="5"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grpSp>
            <p:nvGrpSpPr>
              <p:cNvPr id="292" name="Group 33"/>
              <p:cNvGrpSpPr>
                <a:grpSpLocks/>
              </p:cNvGrpSpPr>
              <p:nvPr/>
            </p:nvGrpSpPr>
            <p:grpSpPr bwMode="auto">
              <a:xfrm>
                <a:off x="2214873" y="3633071"/>
                <a:ext cx="730714" cy="975395"/>
                <a:chOff x="1811" y="1911"/>
                <a:chExt cx="512" cy="684"/>
              </a:xfrm>
              <a:solidFill>
                <a:schemeClr val="accent6"/>
              </a:solidFill>
            </p:grpSpPr>
            <p:sp>
              <p:nvSpPr>
                <p:cNvPr id="355" name="Freeform 34"/>
                <p:cNvSpPr>
                  <a:spLocks/>
                </p:cNvSpPr>
                <p:nvPr>
                  <p:custDataLst>
                    <p:tags r:id="rId73"/>
                  </p:custDataLst>
                </p:nvPr>
              </p:nvSpPr>
              <p:spPr bwMode="auto">
                <a:xfrm>
                  <a:off x="2245" y="1976"/>
                  <a:ext cx="24" cy="22"/>
                </a:xfrm>
                <a:custGeom>
                  <a:avLst/>
                  <a:gdLst/>
                  <a:ahLst/>
                  <a:cxnLst>
                    <a:cxn ang="0">
                      <a:pos x="2" y="0"/>
                    </a:cxn>
                    <a:cxn ang="0">
                      <a:pos x="0" y="4"/>
                    </a:cxn>
                    <a:cxn ang="0">
                      <a:pos x="2" y="15"/>
                    </a:cxn>
                    <a:cxn ang="0">
                      <a:pos x="15" y="22"/>
                    </a:cxn>
                    <a:cxn ang="0">
                      <a:pos x="24" y="13"/>
                    </a:cxn>
                    <a:cxn ang="0">
                      <a:pos x="2" y="0"/>
                    </a:cxn>
                  </a:cxnLst>
                  <a:rect l="0" t="0" r="r" b="b"/>
                  <a:pathLst>
                    <a:path w="24" h="22">
                      <a:moveTo>
                        <a:pt x="2" y="0"/>
                      </a:moveTo>
                      <a:lnTo>
                        <a:pt x="0" y="4"/>
                      </a:lnTo>
                      <a:lnTo>
                        <a:pt x="2" y="15"/>
                      </a:lnTo>
                      <a:lnTo>
                        <a:pt x="15" y="22"/>
                      </a:lnTo>
                      <a:lnTo>
                        <a:pt x="24" y="13"/>
                      </a:lnTo>
                      <a:lnTo>
                        <a:pt x="2"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56" name="Freeform 35"/>
                <p:cNvSpPr>
                  <a:spLocks/>
                </p:cNvSpPr>
                <p:nvPr>
                  <p:custDataLst>
                    <p:tags r:id="rId74"/>
                  </p:custDataLst>
                </p:nvPr>
              </p:nvSpPr>
              <p:spPr bwMode="auto">
                <a:xfrm>
                  <a:off x="1811" y="1911"/>
                  <a:ext cx="512" cy="684"/>
                </a:xfrm>
                <a:custGeom>
                  <a:avLst/>
                  <a:gdLst/>
                  <a:ahLst/>
                  <a:cxnLst>
                    <a:cxn ang="0">
                      <a:pos x="201" y="15"/>
                    </a:cxn>
                    <a:cxn ang="0">
                      <a:pos x="207" y="48"/>
                    </a:cxn>
                    <a:cxn ang="0">
                      <a:pos x="203" y="72"/>
                    </a:cxn>
                    <a:cxn ang="0">
                      <a:pos x="231" y="107"/>
                    </a:cxn>
                    <a:cxn ang="0">
                      <a:pos x="190" y="96"/>
                    </a:cxn>
                    <a:cxn ang="0">
                      <a:pos x="158" y="122"/>
                    </a:cxn>
                    <a:cxn ang="0">
                      <a:pos x="136" y="100"/>
                    </a:cxn>
                    <a:cxn ang="0">
                      <a:pos x="95" y="122"/>
                    </a:cxn>
                    <a:cxn ang="0">
                      <a:pos x="103" y="157"/>
                    </a:cxn>
                    <a:cxn ang="0">
                      <a:pos x="82" y="176"/>
                    </a:cxn>
                    <a:cxn ang="0">
                      <a:pos x="86" y="209"/>
                    </a:cxn>
                    <a:cxn ang="0">
                      <a:pos x="58" y="244"/>
                    </a:cxn>
                    <a:cxn ang="0">
                      <a:pos x="28" y="272"/>
                    </a:cxn>
                    <a:cxn ang="0">
                      <a:pos x="19" y="326"/>
                    </a:cxn>
                    <a:cxn ang="0">
                      <a:pos x="15" y="350"/>
                    </a:cxn>
                    <a:cxn ang="0">
                      <a:pos x="2" y="400"/>
                    </a:cxn>
                    <a:cxn ang="0">
                      <a:pos x="19" y="424"/>
                    </a:cxn>
                    <a:cxn ang="0">
                      <a:pos x="0" y="455"/>
                    </a:cxn>
                    <a:cxn ang="0">
                      <a:pos x="28" y="489"/>
                    </a:cxn>
                    <a:cxn ang="0">
                      <a:pos x="81" y="496"/>
                    </a:cxn>
                    <a:cxn ang="0">
                      <a:pos x="90" y="520"/>
                    </a:cxn>
                    <a:cxn ang="0">
                      <a:pos x="66" y="553"/>
                    </a:cxn>
                    <a:cxn ang="0">
                      <a:pos x="45" y="608"/>
                    </a:cxn>
                    <a:cxn ang="0">
                      <a:pos x="73" y="641"/>
                    </a:cxn>
                    <a:cxn ang="0">
                      <a:pos x="99" y="628"/>
                    </a:cxn>
                    <a:cxn ang="0">
                      <a:pos x="125" y="638"/>
                    </a:cxn>
                    <a:cxn ang="0">
                      <a:pos x="149" y="660"/>
                    </a:cxn>
                    <a:cxn ang="0">
                      <a:pos x="197" y="667"/>
                    </a:cxn>
                    <a:cxn ang="0">
                      <a:pos x="229" y="673"/>
                    </a:cxn>
                    <a:cxn ang="0">
                      <a:pos x="277" y="673"/>
                    </a:cxn>
                    <a:cxn ang="0">
                      <a:pos x="308" y="669"/>
                    </a:cxn>
                    <a:cxn ang="0">
                      <a:pos x="342" y="669"/>
                    </a:cxn>
                    <a:cxn ang="0">
                      <a:pos x="382" y="678"/>
                    </a:cxn>
                    <a:cxn ang="0">
                      <a:pos x="373" y="649"/>
                    </a:cxn>
                    <a:cxn ang="0">
                      <a:pos x="432" y="593"/>
                    </a:cxn>
                    <a:cxn ang="0">
                      <a:pos x="403" y="567"/>
                    </a:cxn>
                    <a:cxn ang="0">
                      <a:pos x="347" y="511"/>
                    </a:cxn>
                    <a:cxn ang="0">
                      <a:pos x="333" y="461"/>
                    </a:cxn>
                    <a:cxn ang="0">
                      <a:pos x="352" y="449"/>
                    </a:cxn>
                    <a:cxn ang="0">
                      <a:pos x="463" y="400"/>
                    </a:cxn>
                    <a:cxn ang="0">
                      <a:pos x="503" y="397"/>
                    </a:cxn>
                    <a:cxn ang="0">
                      <a:pos x="512" y="363"/>
                    </a:cxn>
                    <a:cxn ang="0">
                      <a:pos x="501" y="300"/>
                    </a:cxn>
                    <a:cxn ang="0">
                      <a:pos x="492" y="256"/>
                    </a:cxn>
                    <a:cxn ang="0">
                      <a:pos x="479" y="207"/>
                    </a:cxn>
                    <a:cxn ang="0">
                      <a:pos x="458" y="130"/>
                    </a:cxn>
                    <a:cxn ang="0">
                      <a:pos x="414" y="85"/>
                    </a:cxn>
                    <a:cxn ang="0">
                      <a:pos x="379" y="83"/>
                    </a:cxn>
                    <a:cxn ang="0">
                      <a:pos x="319" y="106"/>
                    </a:cxn>
                    <a:cxn ang="0">
                      <a:pos x="314" y="87"/>
                    </a:cxn>
                    <a:cxn ang="0">
                      <a:pos x="284" y="59"/>
                    </a:cxn>
                    <a:cxn ang="0">
                      <a:pos x="260" y="15"/>
                    </a:cxn>
                    <a:cxn ang="0">
                      <a:pos x="225" y="2"/>
                    </a:cxn>
                  </a:cxnLst>
                  <a:rect l="0" t="0" r="r" b="b"/>
                  <a:pathLst>
                    <a:path w="512" h="684">
                      <a:moveTo>
                        <a:pt x="212" y="0"/>
                      </a:moveTo>
                      <a:lnTo>
                        <a:pt x="201" y="7"/>
                      </a:lnTo>
                      <a:lnTo>
                        <a:pt x="201" y="15"/>
                      </a:lnTo>
                      <a:lnTo>
                        <a:pt x="203" y="22"/>
                      </a:lnTo>
                      <a:lnTo>
                        <a:pt x="205" y="33"/>
                      </a:lnTo>
                      <a:lnTo>
                        <a:pt x="207" y="48"/>
                      </a:lnTo>
                      <a:lnTo>
                        <a:pt x="201" y="54"/>
                      </a:lnTo>
                      <a:lnTo>
                        <a:pt x="201" y="63"/>
                      </a:lnTo>
                      <a:lnTo>
                        <a:pt x="203" y="72"/>
                      </a:lnTo>
                      <a:lnTo>
                        <a:pt x="218" y="85"/>
                      </a:lnTo>
                      <a:lnTo>
                        <a:pt x="227" y="87"/>
                      </a:lnTo>
                      <a:lnTo>
                        <a:pt x="231" y="107"/>
                      </a:lnTo>
                      <a:lnTo>
                        <a:pt x="210" y="102"/>
                      </a:lnTo>
                      <a:lnTo>
                        <a:pt x="199" y="91"/>
                      </a:lnTo>
                      <a:lnTo>
                        <a:pt x="190" y="96"/>
                      </a:lnTo>
                      <a:lnTo>
                        <a:pt x="173" y="117"/>
                      </a:lnTo>
                      <a:lnTo>
                        <a:pt x="166" y="124"/>
                      </a:lnTo>
                      <a:lnTo>
                        <a:pt x="158" y="122"/>
                      </a:lnTo>
                      <a:lnTo>
                        <a:pt x="157" y="113"/>
                      </a:lnTo>
                      <a:lnTo>
                        <a:pt x="151" y="106"/>
                      </a:lnTo>
                      <a:lnTo>
                        <a:pt x="136" y="100"/>
                      </a:lnTo>
                      <a:lnTo>
                        <a:pt x="114" y="100"/>
                      </a:lnTo>
                      <a:lnTo>
                        <a:pt x="107" y="109"/>
                      </a:lnTo>
                      <a:lnTo>
                        <a:pt x="95" y="122"/>
                      </a:lnTo>
                      <a:lnTo>
                        <a:pt x="105" y="131"/>
                      </a:lnTo>
                      <a:lnTo>
                        <a:pt x="105" y="148"/>
                      </a:lnTo>
                      <a:lnTo>
                        <a:pt x="103" y="157"/>
                      </a:lnTo>
                      <a:lnTo>
                        <a:pt x="99" y="165"/>
                      </a:lnTo>
                      <a:lnTo>
                        <a:pt x="86" y="174"/>
                      </a:lnTo>
                      <a:lnTo>
                        <a:pt x="82" y="176"/>
                      </a:lnTo>
                      <a:lnTo>
                        <a:pt x="84" y="189"/>
                      </a:lnTo>
                      <a:lnTo>
                        <a:pt x="90" y="198"/>
                      </a:lnTo>
                      <a:lnTo>
                        <a:pt x="86" y="209"/>
                      </a:lnTo>
                      <a:lnTo>
                        <a:pt x="77" y="222"/>
                      </a:lnTo>
                      <a:lnTo>
                        <a:pt x="66" y="235"/>
                      </a:lnTo>
                      <a:lnTo>
                        <a:pt x="58" y="244"/>
                      </a:lnTo>
                      <a:lnTo>
                        <a:pt x="45" y="254"/>
                      </a:lnTo>
                      <a:lnTo>
                        <a:pt x="35" y="257"/>
                      </a:lnTo>
                      <a:lnTo>
                        <a:pt x="28" y="272"/>
                      </a:lnTo>
                      <a:lnTo>
                        <a:pt x="26" y="294"/>
                      </a:lnTo>
                      <a:lnTo>
                        <a:pt x="19" y="307"/>
                      </a:lnTo>
                      <a:lnTo>
                        <a:pt x="19" y="326"/>
                      </a:lnTo>
                      <a:lnTo>
                        <a:pt x="11" y="335"/>
                      </a:lnTo>
                      <a:lnTo>
                        <a:pt x="9" y="341"/>
                      </a:lnTo>
                      <a:lnTo>
                        <a:pt x="15" y="350"/>
                      </a:lnTo>
                      <a:lnTo>
                        <a:pt x="19" y="365"/>
                      </a:lnTo>
                      <a:lnTo>
                        <a:pt x="28" y="378"/>
                      </a:lnTo>
                      <a:lnTo>
                        <a:pt x="2" y="400"/>
                      </a:lnTo>
                      <a:lnTo>
                        <a:pt x="7" y="413"/>
                      </a:lnTo>
                      <a:lnTo>
                        <a:pt x="17" y="422"/>
                      </a:lnTo>
                      <a:lnTo>
                        <a:pt x="19" y="424"/>
                      </a:lnTo>
                      <a:lnTo>
                        <a:pt x="19" y="433"/>
                      </a:lnTo>
                      <a:lnTo>
                        <a:pt x="6" y="442"/>
                      </a:lnTo>
                      <a:lnTo>
                        <a:pt x="0" y="455"/>
                      </a:lnTo>
                      <a:lnTo>
                        <a:pt x="6" y="472"/>
                      </a:lnTo>
                      <a:lnTo>
                        <a:pt x="13" y="483"/>
                      </a:lnTo>
                      <a:lnTo>
                        <a:pt x="28" y="489"/>
                      </a:lnTo>
                      <a:lnTo>
                        <a:pt x="47" y="492"/>
                      </a:lnTo>
                      <a:lnTo>
                        <a:pt x="66" y="494"/>
                      </a:lnTo>
                      <a:lnTo>
                        <a:pt x="81" y="496"/>
                      </a:lnTo>
                      <a:lnTo>
                        <a:pt x="92" y="504"/>
                      </a:lnTo>
                      <a:lnTo>
                        <a:pt x="103" y="513"/>
                      </a:lnTo>
                      <a:lnTo>
                        <a:pt x="90" y="520"/>
                      </a:lnTo>
                      <a:lnTo>
                        <a:pt x="79" y="531"/>
                      </a:lnTo>
                      <a:lnTo>
                        <a:pt x="68" y="541"/>
                      </a:lnTo>
                      <a:lnTo>
                        <a:pt x="66" y="553"/>
                      </a:lnTo>
                      <a:lnTo>
                        <a:pt x="60" y="580"/>
                      </a:lnTo>
                      <a:lnTo>
                        <a:pt x="51" y="597"/>
                      </a:lnTo>
                      <a:lnTo>
                        <a:pt x="45" y="608"/>
                      </a:lnTo>
                      <a:lnTo>
                        <a:pt x="60" y="628"/>
                      </a:lnTo>
                      <a:lnTo>
                        <a:pt x="64" y="634"/>
                      </a:lnTo>
                      <a:lnTo>
                        <a:pt x="73" y="641"/>
                      </a:lnTo>
                      <a:lnTo>
                        <a:pt x="82" y="640"/>
                      </a:lnTo>
                      <a:lnTo>
                        <a:pt x="94" y="634"/>
                      </a:lnTo>
                      <a:lnTo>
                        <a:pt x="99" y="628"/>
                      </a:lnTo>
                      <a:lnTo>
                        <a:pt x="101" y="625"/>
                      </a:lnTo>
                      <a:lnTo>
                        <a:pt x="118" y="628"/>
                      </a:lnTo>
                      <a:lnTo>
                        <a:pt x="125" y="638"/>
                      </a:lnTo>
                      <a:lnTo>
                        <a:pt x="131" y="649"/>
                      </a:lnTo>
                      <a:lnTo>
                        <a:pt x="138" y="658"/>
                      </a:lnTo>
                      <a:lnTo>
                        <a:pt x="149" y="660"/>
                      </a:lnTo>
                      <a:lnTo>
                        <a:pt x="171" y="658"/>
                      </a:lnTo>
                      <a:lnTo>
                        <a:pt x="182" y="656"/>
                      </a:lnTo>
                      <a:lnTo>
                        <a:pt x="197" y="667"/>
                      </a:lnTo>
                      <a:lnTo>
                        <a:pt x="208" y="662"/>
                      </a:lnTo>
                      <a:lnTo>
                        <a:pt x="219" y="665"/>
                      </a:lnTo>
                      <a:lnTo>
                        <a:pt x="229" y="673"/>
                      </a:lnTo>
                      <a:lnTo>
                        <a:pt x="247" y="665"/>
                      </a:lnTo>
                      <a:lnTo>
                        <a:pt x="264" y="665"/>
                      </a:lnTo>
                      <a:lnTo>
                        <a:pt x="277" y="673"/>
                      </a:lnTo>
                      <a:lnTo>
                        <a:pt x="286" y="677"/>
                      </a:lnTo>
                      <a:lnTo>
                        <a:pt x="297" y="669"/>
                      </a:lnTo>
                      <a:lnTo>
                        <a:pt x="308" y="669"/>
                      </a:lnTo>
                      <a:lnTo>
                        <a:pt x="327" y="665"/>
                      </a:lnTo>
                      <a:lnTo>
                        <a:pt x="340" y="673"/>
                      </a:lnTo>
                      <a:lnTo>
                        <a:pt x="342" y="669"/>
                      </a:lnTo>
                      <a:lnTo>
                        <a:pt x="356" y="678"/>
                      </a:lnTo>
                      <a:lnTo>
                        <a:pt x="368" y="684"/>
                      </a:lnTo>
                      <a:lnTo>
                        <a:pt x="382" y="678"/>
                      </a:lnTo>
                      <a:lnTo>
                        <a:pt x="384" y="669"/>
                      </a:lnTo>
                      <a:lnTo>
                        <a:pt x="375" y="656"/>
                      </a:lnTo>
                      <a:lnTo>
                        <a:pt x="373" y="649"/>
                      </a:lnTo>
                      <a:lnTo>
                        <a:pt x="368" y="627"/>
                      </a:lnTo>
                      <a:lnTo>
                        <a:pt x="419" y="593"/>
                      </a:lnTo>
                      <a:lnTo>
                        <a:pt x="432" y="593"/>
                      </a:lnTo>
                      <a:lnTo>
                        <a:pt x="434" y="588"/>
                      </a:lnTo>
                      <a:lnTo>
                        <a:pt x="416" y="581"/>
                      </a:lnTo>
                      <a:lnTo>
                        <a:pt x="403" y="567"/>
                      </a:lnTo>
                      <a:lnTo>
                        <a:pt x="370" y="538"/>
                      </a:lnTo>
                      <a:lnTo>
                        <a:pt x="366" y="515"/>
                      </a:lnTo>
                      <a:lnTo>
                        <a:pt x="347" y="511"/>
                      </a:lnTo>
                      <a:lnTo>
                        <a:pt x="345" y="489"/>
                      </a:lnTo>
                      <a:lnTo>
                        <a:pt x="341" y="470"/>
                      </a:lnTo>
                      <a:lnTo>
                        <a:pt x="333" y="461"/>
                      </a:lnTo>
                      <a:lnTo>
                        <a:pt x="338" y="452"/>
                      </a:lnTo>
                      <a:lnTo>
                        <a:pt x="342" y="448"/>
                      </a:lnTo>
                      <a:lnTo>
                        <a:pt x="352" y="449"/>
                      </a:lnTo>
                      <a:lnTo>
                        <a:pt x="383" y="440"/>
                      </a:lnTo>
                      <a:lnTo>
                        <a:pt x="449" y="406"/>
                      </a:lnTo>
                      <a:lnTo>
                        <a:pt x="463" y="400"/>
                      </a:lnTo>
                      <a:lnTo>
                        <a:pt x="477" y="391"/>
                      </a:lnTo>
                      <a:lnTo>
                        <a:pt x="488" y="403"/>
                      </a:lnTo>
                      <a:lnTo>
                        <a:pt x="503" y="397"/>
                      </a:lnTo>
                      <a:lnTo>
                        <a:pt x="507" y="382"/>
                      </a:lnTo>
                      <a:lnTo>
                        <a:pt x="506" y="373"/>
                      </a:lnTo>
                      <a:lnTo>
                        <a:pt x="512" y="363"/>
                      </a:lnTo>
                      <a:lnTo>
                        <a:pt x="504" y="351"/>
                      </a:lnTo>
                      <a:lnTo>
                        <a:pt x="495" y="330"/>
                      </a:lnTo>
                      <a:lnTo>
                        <a:pt x="501" y="300"/>
                      </a:lnTo>
                      <a:lnTo>
                        <a:pt x="491" y="285"/>
                      </a:lnTo>
                      <a:lnTo>
                        <a:pt x="487" y="270"/>
                      </a:lnTo>
                      <a:lnTo>
                        <a:pt x="492" y="256"/>
                      </a:lnTo>
                      <a:lnTo>
                        <a:pt x="489" y="244"/>
                      </a:lnTo>
                      <a:lnTo>
                        <a:pt x="468" y="221"/>
                      </a:lnTo>
                      <a:lnTo>
                        <a:pt x="479" y="207"/>
                      </a:lnTo>
                      <a:lnTo>
                        <a:pt x="479" y="183"/>
                      </a:lnTo>
                      <a:lnTo>
                        <a:pt x="481" y="155"/>
                      </a:lnTo>
                      <a:lnTo>
                        <a:pt x="458" y="130"/>
                      </a:lnTo>
                      <a:lnTo>
                        <a:pt x="447" y="115"/>
                      </a:lnTo>
                      <a:lnTo>
                        <a:pt x="434" y="102"/>
                      </a:lnTo>
                      <a:lnTo>
                        <a:pt x="414" y="85"/>
                      </a:lnTo>
                      <a:lnTo>
                        <a:pt x="401" y="76"/>
                      </a:lnTo>
                      <a:lnTo>
                        <a:pt x="392" y="74"/>
                      </a:lnTo>
                      <a:lnTo>
                        <a:pt x="379" y="83"/>
                      </a:lnTo>
                      <a:lnTo>
                        <a:pt x="369" y="89"/>
                      </a:lnTo>
                      <a:lnTo>
                        <a:pt x="340" y="111"/>
                      </a:lnTo>
                      <a:lnTo>
                        <a:pt x="319" y="106"/>
                      </a:lnTo>
                      <a:lnTo>
                        <a:pt x="310" y="106"/>
                      </a:lnTo>
                      <a:lnTo>
                        <a:pt x="310" y="98"/>
                      </a:lnTo>
                      <a:lnTo>
                        <a:pt x="314" y="87"/>
                      </a:lnTo>
                      <a:lnTo>
                        <a:pt x="319" y="78"/>
                      </a:lnTo>
                      <a:lnTo>
                        <a:pt x="292" y="61"/>
                      </a:lnTo>
                      <a:lnTo>
                        <a:pt x="284" y="59"/>
                      </a:lnTo>
                      <a:lnTo>
                        <a:pt x="271" y="48"/>
                      </a:lnTo>
                      <a:lnTo>
                        <a:pt x="266" y="28"/>
                      </a:lnTo>
                      <a:lnTo>
                        <a:pt x="260" y="15"/>
                      </a:lnTo>
                      <a:lnTo>
                        <a:pt x="251" y="17"/>
                      </a:lnTo>
                      <a:lnTo>
                        <a:pt x="240" y="4"/>
                      </a:lnTo>
                      <a:lnTo>
                        <a:pt x="225" y="2"/>
                      </a:lnTo>
                      <a:lnTo>
                        <a:pt x="212"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sp>
            <p:nvSpPr>
              <p:cNvPr id="293" name="Freeform 292"/>
              <p:cNvSpPr>
                <a:spLocks/>
              </p:cNvSpPr>
              <p:nvPr>
                <p:custDataLst>
                  <p:tags r:id="rId18"/>
                </p:custDataLst>
              </p:nvPr>
            </p:nvSpPr>
            <p:spPr bwMode="auto">
              <a:xfrm>
                <a:off x="2880672" y="3709637"/>
                <a:ext cx="787307" cy="737372"/>
              </a:xfrm>
              <a:custGeom>
                <a:avLst/>
                <a:gdLst/>
                <a:ahLst/>
                <a:cxnLst>
                  <a:cxn ang="0">
                    <a:pos x="11" y="130"/>
                  </a:cxn>
                  <a:cxn ang="0">
                    <a:pos x="0" y="165"/>
                  </a:cxn>
                  <a:cxn ang="0">
                    <a:pos x="24" y="198"/>
                  </a:cxn>
                  <a:cxn ang="0">
                    <a:pos x="20" y="226"/>
                  </a:cxn>
                  <a:cxn ang="0">
                    <a:pos x="30" y="250"/>
                  </a:cxn>
                  <a:cxn ang="0">
                    <a:pos x="37" y="297"/>
                  </a:cxn>
                  <a:cxn ang="0">
                    <a:pos x="39" y="315"/>
                  </a:cxn>
                  <a:cxn ang="0">
                    <a:pos x="33" y="332"/>
                  </a:cxn>
                  <a:cxn ang="0">
                    <a:pos x="48" y="341"/>
                  </a:cxn>
                  <a:cxn ang="0">
                    <a:pos x="63" y="352"/>
                  </a:cxn>
                  <a:cxn ang="0">
                    <a:pos x="78" y="380"/>
                  </a:cxn>
                  <a:cxn ang="0">
                    <a:pos x="95" y="399"/>
                  </a:cxn>
                  <a:cxn ang="0">
                    <a:pos x="127" y="408"/>
                  </a:cxn>
                  <a:cxn ang="0">
                    <a:pos x="149" y="406"/>
                  </a:cxn>
                  <a:cxn ang="0">
                    <a:pos x="181" y="436"/>
                  </a:cxn>
                  <a:cxn ang="0">
                    <a:pos x="219" y="452"/>
                  </a:cxn>
                  <a:cxn ang="0">
                    <a:pos x="247" y="447"/>
                  </a:cxn>
                  <a:cxn ang="0">
                    <a:pos x="277" y="467"/>
                  </a:cxn>
                  <a:cxn ang="0">
                    <a:pos x="292" y="469"/>
                  </a:cxn>
                  <a:cxn ang="0">
                    <a:pos x="314" y="478"/>
                  </a:cxn>
                  <a:cxn ang="0">
                    <a:pos x="340" y="498"/>
                  </a:cxn>
                  <a:cxn ang="0">
                    <a:pos x="362" y="501"/>
                  </a:cxn>
                  <a:cxn ang="0">
                    <a:pos x="379" y="490"/>
                  </a:cxn>
                  <a:cxn ang="0">
                    <a:pos x="482" y="518"/>
                  </a:cxn>
                  <a:cxn ang="0">
                    <a:pos x="486" y="490"/>
                  </a:cxn>
                  <a:cxn ang="0">
                    <a:pos x="536" y="408"/>
                  </a:cxn>
                  <a:cxn ang="0">
                    <a:pos x="551" y="374"/>
                  </a:cxn>
                  <a:cxn ang="0">
                    <a:pos x="532" y="324"/>
                  </a:cxn>
                  <a:cxn ang="0">
                    <a:pos x="505" y="287"/>
                  </a:cxn>
                  <a:cxn ang="0">
                    <a:pos x="505" y="254"/>
                  </a:cxn>
                  <a:cxn ang="0">
                    <a:pos x="503" y="226"/>
                  </a:cxn>
                  <a:cxn ang="0">
                    <a:pos x="503" y="208"/>
                  </a:cxn>
                  <a:cxn ang="0">
                    <a:pos x="523" y="182"/>
                  </a:cxn>
                  <a:cxn ang="0">
                    <a:pos x="514" y="128"/>
                  </a:cxn>
                  <a:cxn ang="0">
                    <a:pos x="508" y="91"/>
                  </a:cxn>
                  <a:cxn ang="0">
                    <a:pos x="482" y="59"/>
                  </a:cxn>
                  <a:cxn ang="0">
                    <a:pos x="418" y="56"/>
                  </a:cxn>
                  <a:cxn ang="0">
                    <a:pos x="344" y="50"/>
                  </a:cxn>
                  <a:cxn ang="0">
                    <a:pos x="305" y="39"/>
                  </a:cxn>
                  <a:cxn ang="0">
                    <a:pos x="281" y="52"/>
                  </a:cxn>
                  <a:cxn ang="0">
                    <a:pos x="258" y="37"/>
                  </a:cxn>
                  <a:cxn ang="0">
                    <a:pos x="240" y="32"/>
                  </a:cxn>
                  <a:cxn ang="0">
                    <a:pos x="219" y="2"/>
                  </a:cxn>
                  <a:cxn ang="0">
                    <a:pos x="184" y="6"/>
                  </a:cxn>
                  <a:cxn ang="0">
                    <a:pos x="151" y="20"/>
                  </a:cxn>
                  <a:cxn ang="0">
                    <a:pos x="99" y="43"/>
                  </a:cxn>
                  <a:cxn ang="0">
                    <a:pos x="52" y="63"/>
                  </a:cxn>
                  <a:cxn ang="0">
                    <a:pos x="24" y="91"/>
                  </a:cxn>
                </a:cxnLst>
                <a:rect l="0" t="0" r="r" b="b"/>
                <a:pathLst>
                  <a:path w="551" h="518">
                    <a:moveTo>
                      <a:pt x="13" y="98"/>
                    </a:moveTo>
                    <a:lnTo>
                      <a:pt x="11" y="130"/>
                    </a:lnTo>
                    <a:lnTo>
                      <a:pt x="11" y="150"/>
                    </a:lnTo>
                    <a:lnTo>
                      <a:pt x="0" y="165"/>
                    </a:lnTo>
                    <a:lnTo>
                      <a:pt x="22" y="191"/>
                    </a:lnTo>
                    <a:lnTo>
                      <a:pt x="24" y="198"/>
                    </a:lnTo>
                    <a:lnTo>
                      <a:pt x="19" y="215"/>
                    </a:lnTo>
                    <a:lnTo>
                      <a:pt x="20" y="226"/>
                    </a:lnTo>
                    <a:lnTo>
                      <a:pt x="31" y="241"/>
                    </a:lnTo>
                    <a:lnTo>
                      <a:pt x="30" y="250"/>
                    </a:lnTo>
                    <a:lnTo>
                      <a:pt x="28" y="278"/>
                    </a:lnTo>
                    <a:lnTo>
                      <a:pt x="37" y="297"/>
                    </a:lnTo>
                    <a:lnTo>
                      <a:pt x="44" y="308"/>
                    </a:lnTo>
                    <a:lnTo>
                      <a:pt x="39" y="315"/>
                    </a:lnTo>
                    <a:lnTo>
                      <a:pt x="39" y="326"/>
                    </a:lnTo>
                    <a:lnTo>
                      <a:pt x="33" y="332"/>
                    </a:lnTo>
                    <a:lnTo>
                      <a:pt x="33" y="339"/>
                    </a:lnTo>
                    <a:lnTo>
                      <a:pt x="48" y="341"/>
                    </a:lnTo>
                    <a:lnTo>
                      <a:pt x="59" y="345"/>
                    </a:lnTo>
                    <a:lnTo>
                      <a:pt x="63" y="352"/>
                    </a:lnTo>
                    <a:lnTo>
                      <a:pt x="63" y="365"/>
                    </a:lnTo>
                    <a:lnTo>
                      <a:pt x="78" y="380"/>
                    </a:lnTo>
                    <a:lnTo>
                      <a:pt x="92" y="386"/>
                    </a:lnTo>
                    <a:lnTo>
                      <a:pt x="95" y="399"/>
                    </a:lnTo>
                    <a:lnTo>
                      <a:pt x="112" y="421"/>
                    </a:lnTo>
                    <a:lnTo>
                      <a:pt x="127" y="408"/>
                    </a:lnTo>
                    <a:lnTo>
                      <a:pt x="140" y="404"/>
                    </a:lnTo>
                    <a:lnTo>
                      <a:pt x="149" y="406"/>
                    </a:lnTo>
                    <a:lnTo>
                      <a:pt x="175" y="434"/>
                    </a:lnTo>
                    <a:lnTo>
                      <a:pt x="181" y="436"/>
                    </a:lnTo>
                    <a:lnTo>
                      <a:pt x="212" y="450"/>
                    </a:lnTo>
                    <a:lnTo>
                      <a:pt x="219" y="452"/>
                    </a:lnTo>
                    <a:lnTo>
                      <a:pt x="232" y="449"/>
                    </a:lnTo>
                    <a:lnTo>
                      <a:pt x="247" y="447"/>
                    </a:lnTo>
                    <a:lnTo>
                      <a:pt x="260" y="452"/>
                    </a:lnTo>
                    <a:lnTo>
                      <a:pt x="277" y="467"/>
                    </a:lnTo>
                    <a:lnTo>
                      <a:pt x="284" y="475"/>
                    </a:lnTo>
                    <a:lnTo>
                      <a:pt x="292" y="469"/>
                    </a:lnTo>
                    <a:lnTo>
                      <a:pt x="301" y="467"/>
                    </a:lnTo>
                    <a:lnTo>
                      <a:pt x="314" y="478"/>
                    </a:lnTo>
                    <a:lnTo>
                      <a:pt x="329" y="490"/>
                    </a:lnTo>
                    <a:lnTo>
                      <a:pt x="340" y="498"/>
                    </a:lnTo>
                    <a:lnTo>
                      <a:pt x="355" y="503"/>
                    </a:lnTo>
                    <a:lnTo>
                      <a:pt x="362" y="501"/>
                    </a:lnTo>
                    <a:lnTo>
                      <a:pt x="369" y="494"/>
                    </a:lnTo>
                    <a:lnTo>
                      <a:pt x="379" y="490"/>
                    </a:lnTo>
                    <a:lnTo>
                      <a:pt x="397" y="496"/>
                    </a:lnTo>
                    <a:lnTo>
                      <a:pt x="482" y="518"/>
                    </a:lnTo>
                    <a:lnTo>
                      <a:pt x="495" y="507"/>
                    </a:lnTo>
                    <a:lnTo>
                      <a:pt x="486" y="490"/>
                    </a:lnTo>
                    <a:lnTo>
                      <a:pt x="477" y="462"/>
                    </a:lnTo>
                    <a:lnTo>
                      <a:pt x="536" y="408"/>
                    </a:lnTo>
                    <a:lnTo>
                      <a:pt x="547" y="395"/>
                    </a:lnTo>
                    <a:lnTo>
                      <a:pt x="551" y="374"/>
                    </a:lnTo>
                    <a:lnTo>
                      <a:pt x="542" y="347"/>
                    </a:lnTo>
                    <a:lnTo>
                      <a:pt x="532" y="324"/>
                    </a:lnTo>
                    <a:lnTo>
                      <a:pt x="516" y="298"/>
                    </a:lnTo>
                    <a:lnTo>
                      <a:pt x="505" y="287"/>
                    </a:lnTo>
                    <a:lnTo>
                      <a:pt x="503" y="271"/>
                    </a:lnTo>
                    <a:lnTo>
                      <a:pt x="505" y="254"/>
                    </a:lnTo>
                    <a:lnTo>
                      <a:pt x="510" y="237"/>
                    </a:lnTo>
                    <a:lnTo>
                      <a:pt x="503" y="226"/>
                    </a:lnTo>
                    <a:lnTo>
                      <a:pt x="494" y="219"/>
                    </a:lnTo>
                    <a:lnTo>
                      <a:pt x="503" y="208"/>
                    </a:lnTo>
                    <a:lnTo>
                      <a:pt x="518" y="187"/>
                    </a:lnTo>
                    <a:lnTo>
                      <a:pt x="523" y="182"/>
                    </a:lnTo>
                    <a:lnTo>
                      <a:pt x="520" y="146"/>
                    </a:lnTo>
                    <a:lnTo>
                      <a:pt x="514" y="128"/>
                    </a:lnTo>
                    <a:lnTo>
                      <a:pt x="508" y="109"/>
                    </a:lnTo>
                    <a:lnTo>
                      <a:pt x="508" y="91"/>
                    </a:lnTo>
                    <a:lnTo>
                      <a:pt x="497" y="74"/>
                    </a:lnTo>
                    <a:lnTo>
                      <a:pt x="482" y="59"/>
                    </a:lnTo>
                    <a:lnTo>
                      <a:pt x="466" y="57"/>
                    </a:lnTo>
                    <a:lnTo>
                      <a:pt x="418" y="56"/>
                    </a:lnTo>
                    <a:lnTo>
                      <a:pt x="392" y="54"/>
                    </a:lnTo>
                    <a:lnTo>
                      <a:pt x="344" y="50"/>
                    </a:lnTo>
                    <a:lnTo>
                      <a:pt x="325" y="41"/>
                    </a:lnTo>
                    <a:lnTo>
                      <a:pt x="305" y="39"/>
                    </a:lnTo>
                    <a:lnTo>
                      <a:pt x="294" y="43"/>
                    </a:lnTo>
                    <a:lnTo>
                      <a:pt x="281" y="52"/>
                    </a:lnTo>
                    <a:lnTo>
                      <a:pt x="269" y="48"/>
                    </a:lnTo>
                    <a:lnTo>
                      <a:pt x="258" y="37"/>
                    </a:lnTo>
                    <a:lnTo>
                      <a:pt x="245" y="37"/>
                    </a:lnTo>
                    <a:lnTo>
                      <a:pt x="240" y="32"/>
                    </a:lnTo>
                    <a:lnTo>
                      <a:pt x="236" y="15"/>
                    </a:lnTo>
                    <a:lnTo>
                      <a:pt x="219" y="2"/>
                    </a:lnTo>
                    <a:lnTo>
                      <a:pt x="207" y="0"/>
                    </a:lnTo>
                    <a:lnTo>
                      <a:pt x="184" y="6"/>
                    </a:lnTo>
                    <a:lnTo>
                      <a:pt x="166" y="11"/>
                    </a:lnTo>
                    <a:lnTo>
                      <a:pt x="151" y="20"/>
                    </a:lnTo>
                    <a:lnTo>
                      <a:pt x="125" y="35"/>
                    </a:lnTo>
                    <a:lnTo>
                      <a:pt x="99" y="43"/>
                    </a:lnTo>
                    <a:lnTo>
                      <a:pt x="76" y="52"/>
                    </a:lnTo>
                    <a:lnTo>
                      <a:pt x="52" y="63"/>
                    </a:lnTo>
                    <a:lnTo>
                      <a:pt x="39" y="78"/>
                    </a:lnTo>
                    <a:lnTo>
                      <a:pt x="24" y="91"/>
                    </a:lnTo>
                    <a:lnTo>
                      <a:pt x="13" y="98"/>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94" name="Freeform 293"/>
              <p:cNvSpPr>
                <a:spLocks/>
              </p:cNvSpPr>
              <p:nvPr>
                <p:custDataLst>
                  <p:tags r:id="rId19"/>
                </p:custDataLst>
              </p:nvPr>
            </p:nvSpPr>
            <p:spPr bwMode="auto">
              <a:xfrm>
                <a:off x="3411646" y="3524878"/>
                <a:ext cx="409466" cy="321248"/>
              </a:xfrm>
              <a:custGeom>
                <a:avLst/>
                <a:gdLst/>
                <a:ahLst/>
                <a:cxnLst>
                  <a:cxn ang="0">
                    <a:pos x="2" y="24"/>
                  </a:cxn>
                  <a:cxn ang="0">
                    <a:pos x="0" y="31"/>
                  </a:cxn>
                  <a:cxn ang="0">
                    <a:pos x="4" y="58"/>
                  </a:cxn>
                  <a:cxn ang="0">
                    <a:pos x="17" y="97"/>
                  </a:cxn>
                  <a:cxn ang="0">
                    <a:pos x="28" y="108"/>
                  </a:cxn>
                  <a:cxn ang="0">
                    <a:pos x="54" y="118"/>
                  </a:cxn>
                  <a:cxn ang="0">
                    <a:pos x="65" y="121"/>
                  </a:cxn>
                  <a:cxn ang="0">
                    <a:pos x="67" y="134"/>
                  </a:cxn>
                  <a:cxn ang="0">
                    <a:pos x="67" y="156"/>
                  </a:cxn>
                  <a:cxn ang="0">
                    <a:pos x="93" y="182"/>
                  </a:cxn>
                  <a:cxn ang="0">
                    <a:pos x="109" y="190"/>
                  </a:cxn>
                  <a:cxn ang="0">
                    <a:pos x="117" y="194"/>
                  </a:cxn>
                  <a:cxn ang="0">
                    <a:pos x="139" y="221"/>
                  </a:cxn>
                  <a:cxn ang="0">
                    <a:pos x="146" y="216"/>
                  </a:cxn>
                  <a:cxn ang="0">
                    <a:pos x="161" y="214"/>
                  </a:cxn>
                  <a:cxn ang="0">
                    <a:pos x="178" y="225"/>
                  </a:cxn>
                  <a:cxn ang="0">
                    <a:pos x="191" y="218"/>
                  </a:cxn>
                  <a:cxn ang="0">
                    <a:pos x="209" y="197"/>
                  </a:cxn>
                  <a:cxn ang="0">
                    <a:pos x="222" y="190"/>
                  </a:cxn>
                  <a:cxn ang="0">
                    <a:pos x="236" y="195"/>
                  </a:cxn>
                  <a:cxn ang="0">
                    <a:pos x="244" y="192"/>
                  </a:cxn>
                  <a:cxn ang="0">
                    <a:pos x="245" y="184"/>
                  </a:cxn>
                  <a:cxn ang="0">
                    <a:pos x="247" y="142"/>
                  </a:cxn>
                  <a:cxn ang="0">
                    <a:pos x="255" y="129"/>
                  </a:cxn>
                  <a:cxn ang="0">
                    <a:pos x="255" y="110"/>
                  </a:cxn>
                  <a:cxn ang="0">
                    <a:pos x="258" y="103"/>
                  </a:cxn>
                  <a:cxn ang="0">
                    <a:pos x="273" y="92"/>
                  </a:cxn>
                  <a:cxn ang="0">
                    <a:pos x="288" y="90"/>
                  </a:cxn>
                  <a:cxn ang="0">
                    <a:pos x="288" y="69"/>
                  </a:cxn>
                  <a:cxn ang="0">
                    <a:pos x="284" y="53"/>
                  </a:cxn>
                  <a:cxn ang="0">
                    <a:pos x="273" y="47"/>
                  </a:cxn>
                  <a:cxn ang="0">
                    <a:pos x="268" y="49"/>
                  </a:cxn>
                  <a:cxn ang="0">
                    <a:pos x="249" y="31"/>
                  </a:cxn>
                  <a:cxn ang="0">
                    <a:pos x="238" y="19"/>
                  </a:cxn>
                  <a:cxn ang="0">
                    <a:pos x="224" y="19"/>
                  </a:cxn>
                  <a:cxn ang="0">
                    <a:pos x="198" y="19"/>
                  </a:cxn>
                  <a:cxn ang="0">
                    <a:pos x="193" y="15"/>
                  </a:cxn>
                  <a:cxn ang="0">
                    <a:pos x="187" y="2"/>
                  </a:cxn>
                  <a:cxn ang="0">
                    <a:pos x="180" y="0"/>
                  </a:cxn>
                  <a:cxn ang="0">
                    <a:pos x="157" y="0"/>
                  </a:cxn>
                  <a:cxn ang="0">
                    <a:pos x="148" y="11"/>
                  </a:cxn>
                  <a:cxn ang="0">
                    <a:pos x="139" y="9"/>
                  </a:cxn>
                  <a:cxn ang="0">
                    <a:pos x="124" y="6"/>
                  </a:cxn>
                  <a:cxn ang="0">
                    <a:pos x="117" y="4"/>
                  </a:cxn>
                  <a:cxn ang="0">
                    <a:pos x="106" y="7"/>
                  </a:cxn>
                  <a:cxn ang="0">
                    <a:pos x="98" y="13"/>
                  </a:cxn>
                  <a:cxn ang="0">
                    <a:pos x="83" y="7"/>
                  </a:cxn>
                  <a:cxn ang="0">
                    <a:pos x="52" y="2"/>
                  </a:cxn>
                  <a:cxn ang="0">
                    <a:pos x="44" y="0"/>
                  </a:cxn>
                  <a:cxn ang="0">
                    <a:pos x="35" y="7"/>
                  </a:cxn>
                  <a:cxn ang="0">
                    <a:pos x="20" y="17"/>
                  </a:cxn>
                  <a:cxn ang="0">
                    <a:pos x="2" y="24"/>
                  </a:cxn>
                </a:cxnLst>
                <a:rect l="0" t="0" r="r" b="b"/>
                <a:pathLst>
                  <a:path w="288" h="225">
                    <a:moveTo>
                      <a:pt x="2" y="24"/>
                    </a:moveTo>
                    <a:lnTo>
                      <a:pt x="0" y="31"/>
                    </a:lnTo>
                    <a:lnTo>
                      <a:pt x="4" y="58"/>
                    </a:lnTo>
                    <a:lnTo>
                      <a:pt x="17" y="97"/>
                    </a:lnTo>
                    <a:lnTo>
                      <a:pt x="28" y="108"/>
                    </a:lnTo>
                    <a:lnTo>
                      <a:pt x="54" y="118"/>
                    </a:lnTo>
                    <a:lnTo>
                      <a:pt x="65" y="121"/>
                    </a:lnTo>
                    <a:lnTo>
                      <a:pt x="67" y="134"/>
                    </a:lnTo>
                    <a:lnTo>
                      <a:pt x="67" y="156"/>
                    </a:lnTo>
                    <a:lnTo>
                      <a:pt x="93" y="182"/>
                    </a:lnTo>
                    <a:lnTo>
                      <a:pt x="109" y="190"/>
                    </a:lnTo>
                    <a:lnTo>
                      <a:pt x="117" y="194"/>
                    </a:lnTo>
                    <a:lnTo>
                      <a:pt x="139" y="221"/>
                    </a:lnTo>
                    <a:lnTo>
                      <a:pt x="146" y="216"/>
                    </a:lnTo>
                    <a:lnTo>
                      <a:pt x="161" y="214"/>
                    </a:lnTo>
                    <a:lnTo>
                      <a:pt x="178" y="225"/>
                    </a:lnTo>
                    <a:lnTo>
                      <a:pt x="191" y="218"/>
                    </a:lnTo>
                    <a:lnTo>
                      <a:pt x="209" y="197"/>
                    </a:lnTo>
                    <a:lnTo>
                      <a:pt x="222" y="190"/>
                    </a:lnTo>
                    <a:lnTo>
                      <a:pt x="236" y="195"/>
                    </a:lnTo>
                    <a:lnTo>
                      <a:pt x="244" y="192"/>
                    </a:lnTo>
                    <a:lnTo>
                      <a:pt x="245" y="184"/>
                    </a:lnTo>
                    <a:lnTo>
                      <a:pt x="247" y="142"/>
                    </a:lnTo>
                    <a:lnTo>
                      <a:pt x="255" y="129"/>
                    </a:lnTo>
                    <a:lnTo>
                      <a:pt x="255" y="110"/>
                    </a:lnTo>
                    <a:lnTo>
                      <a:pt x="258" y="103"/>
                    </a:lnTo>
                    <a:lnTo>
                      <a:pt x="273" y="92"/>
                    </a:lnTo>
                    <a:lnTo>
                      <a:pt x="288" y="90"/>
                    </a:lnTo>
                    <a:lnTo>
                      <a:pt x="288" y="69"/>
                    </a:lnTo>
                    <a:lnTo>
                      <a:pt x="284" y="53"/>
                    </a:lnTo>
                    <a:lnTo>
                      <a:pt x="273" y="47"/>
                    </a:lnTo>
                    <a:lnTo>
                      <a:pt x="268" y="49"/>
                    </a:lnTo>
                    <a:lnTo>
                      <a:pt x="249" y="31"/>
                    </a:lnTo>
                    <a:lnTo>
                      <a:pt x="238" y="19"/>
                    </a:lnTo>
                    <a:lnTo>
                      <a:pt x="224" y="19"/>
                    </a:lnTo>
                    <a:lnTo>
                      <a:pt x="198" y="19"/>
                    </a:lnTo>
                    <a:lnTo>
                      <a:pt x="193" y="15"/>
                    </a:lnTo>
                    <a:lnTo>
                      <a:pt x="187" y="2"/>
                    </a:lnTo>
                    <a:lnTo>
                      <a:pt x="180" y="0"/>
                    </a:lnTo>
                    <a:lnTo>
                      <a:pt x="157" y="0"/>
                    </a:lnTo>
                    <a:lnTo>
                      <a:pt x="148" y="11"/>
                    </a:lnTo>
                    <a:lnTo>
                      <a:pt x="139" y="9"/>
                    </a:lnTo>
                    <a:lnTo>
                      <a:pt x="124" y="6"/>
                    </a:lnTo>
                    <a:lnTo>
                      <a:pt x="117" y="4"/>
                    </a:lnTo>
                    <a:lnTo>
                      <a:pt x="106" y="7"/>
                    </a:lnTo>
                    <a:lnTo>
                      <a:pt x="98" y="13"/>
                    </a:lnTo>
                    <a:lnTo>
                      <a:pt x="83" y="7"/>
                    </a:lnTo>
                    <a:lnTo>
                      <a:pt x="52" y="2"/>
                    </a:lnTo>
                    <a:lnTo>
                      <a:pt x="44" y="0"/>
                    </a:lnTo>
                    <a:lnTo>
                      <a:pt x="35" y="7"/>
                    </a:lnTo>
                    <a:lnTo>
                      <a:pt x="20" y="17"/>
                    </a:lnTo>
                    <a:lnTo>
                      <a:pt x="2" y="24"/>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nvGrpSpPr>
              <p:cNvPr id="295" name="Group 38"/>
              <p:cNvGrpSpPr>
                <a:grpSpLocks/>
              </p:cNvGrpSpPr>
              <p:nvPr/>
            </p:nvGrpSpPr>
            <p:grpSpPr bwMode="auto">
              <a:xfrm>
                <a:off x="3443272" y="3087116"/>
                <a:ext cx="412795" cy="276306"/>
                <a:chOff x="2671" y="1532"/>
                <a:chExt cx="290" cy="191"/>
              </a:xfrm>
              <a:solidFill>
                <a:schemeClr val="accent6"/>
              </a:solidFill>
            </p:grpSpPr>
            <p:sp>
              <p:nvSpPr>
                <p:cNvPr id="352" name="Freeform 39"/>
                <p:cNvSpPr>
                  <a:spLocks/>
                </p:cNvSpPr>
                <p:nvPr>
                  <p:custDataLst>
                    <p:tags r:id="rId70"/>
                  </p:custDataLst>
                </p:nvPr>
              </p:nvSpPr>
              <p:spPr bwMode="auto">
                <a:xfrm>
                  <a:off x="2684" y="1595"/>
                  <a:ext cx="44" cy="37"/>
                </a:xfrm>
                <a:custGeom>
                  <a:avLst/>
                  <a:gdLst/>
                  <a:ahLst/>
                  <a:cxnLst>
                    <a:cxn ang="0">
                      <a:pos x="26" y="0"/>
                    </a:cxn>
                    <a:cxn ang="0">
                      <a:pos x="6" y="13"/>
                    </a:cxn>
                    <a:cxn ang="0">
                      <a:pos x="0" y="20"/>
                    </a:cxn>
                    <a:cxn ang="0">
                      <a:pos x="13" y="24"/>
                    </a:cxn>
                    <a:cxn ang="0">
                      <a:pos x="24" y="37"/>
                    </a:cxn>
                    <a:cxn ang="0">
                      <a:pos x="33" y="28"/>
                    </a:cxn>
                    <a:cxn ang="0">
                      <a:pos x="44" y="20"/>
                    </a:cxn>
                    <a:cxn ang="0">
                      <a:pos x="35" y="11"/>
                    </a:cxn>
                    <a:cxn ang="0">
                      <a:pos x="26" y="0"/>
                    </a:cxn>
                  </a:cxnLst>
                  <a:rect l="0" t="0" r="r" b="b"/>
                  <a:pathLst>
                    <a:path w="44" h="37">
                      <a:moveTo>
                        <a:pt x="26" y="0"/>
                      </a:moveTo>
                      <a:lnTo>
                        <a:pt x="6" y="13"/>
                      </a:lnTo>
                      <a:lnTo>
                        <a:pt x="0" y="20"/>
                      </a:lnTo>
                      <a:lnTo>
                        <a:pt x="13" y="24"/>
                      </a:lnTo>
                      <a:lnTo>
                        <a:pt x="24" y="37"/>
                      </a:lnTo>
                      <a:lnTo>
                        <a:pt x="33" y="28"/>
                      </a:lnTo>
                      <a:lnTo>
                        <a:pt x="44" y="20"/>
                      </a:lnTo>
                      <a:lnTo>
                        <a:pt x="35" y="11"/>
                      </a:lnTo>
                      <a:lnTo>
                        <a:pt x="26"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53" name="Freeform 40"/>
                <p:cNvSpPr>
                  <a:spLocks/>
                </p:cNvSpPr>
                <p:nvPr>
                  <p:custDataLst>
                    <p:tags r:id="rId71"/>
                  </p:custDataLst>
                </p:nvPr>
              </p:nvSpPr>
              <p:spPr bwMode="auto">
                <a:xfrm>
                  <a:off x="2671" y="1638"/>
                  <a:ext cx="65" cy="67"/>
                </a:xfrm>
                <a:custGeom>
                  <a:avLst/>
                  <a:gdLst/>
                  <a:ahLst/>
                  <a:cxnLst>
                    <a:cxn ang="0">
                      <a:pos x="54" y="0"/>
                    </a:cxn>
                    <a:cxn ang="0">
                      <a:pos x="32" y="4"/>
                    </a:cxn>
                    <a:cxn ang="0">
                      <a:pos x="24" y="0"/>
                    </a:cxn>
                    <a:cxn ang="0">
                      <a:pos x="11" y="17"/>
                    </a:cxn>
                    <a:cxn ang="0">
                      <a:pos x="6" y="13"/>
                    </a:cxn>
                    <a:cxn ang="0">
                      <a:pos x="0" y="24"/>
                    </a:cxn>
                    <a:cxn ang="0">
                      <a:pos x="7" y="30"/>
                    </a:cxn>
                    <a:cxn ang="0">
                      <a:pos x="7" y="58"/>
                    </a:cxn>
                    <a:cxn ang="0">
                      <a:pos x="13" y="67"/>
                    </a:cxn>
                    <a:cxn ang="0">
                      <a:pos x="46" y="30"/>
                    </a:cxn>
                    <a:cxn ang="0">
                      <a:pos x="59" y="30"/>
                    </a:cxn>
                    <a:cxn ang="0">
                      <a:pos x="65" y="20"/>
                    </a:cxn>
                    <a:cxn ang="0">
                      <a:pos x="63" y="15"/>
                    </a:cxn>
                    <a:cxn ang="0">
                      <a:pos x="54" y="0"/>
                    </a:cxn>
                  </a:cxnLst>
                  <a:rect l="0" t="0" r="r" b="b"/>
                  <a:pathLst>
                    <a:path w="65" h="67">
                      <a:moveTo>
                        <a:pt x="54" y="0"/>
                      </a:moveTo>
                      <a:lnTo>
                        <a:pt x="32" y="4"/>
                      </a:lnTo>
                      <a:lnTo>
                        <a:pt x="24" y="0"/>
                      </a:lnTo>
                      <a:lnTo>
                        <a:pt x="11" y="17"/>
                      </a:lnTo>
                      <a:lnTo>
                        <a:pt x="6" y="13"/>
                      </a:lnTo>
                      <a:lnTo>
                        <a:pt x="0" y="24"/>
                      </a:lnTo>
                      <a:lnTo>
                        <a:pt x="7" y="30"/>
                      </a:lnTo>
                      <a:lnTo>
                        <a:pt x="7" y="58"/>
                      </a:lnTo>
                      <a:lnTo>
                        <a:pt x="13" y="67"/>
                      </a:lnTo>
                      <a:lnTo>
                        <a:pt x="46" y="30"/>
                      </a:lnTo>
                      <a:lnTo>
                        <a:pt x="59" y="30"/>
                      </a:lnTo>
                      <a:lnTo>
                        <a:pt x="65" y="20"/>
                      </a:lnTo>
                      <a:lnTo>
                        <a:pt x="63" y="15"/>
                      </a:lnTo>
                      <a:lnTo>
                        <a:pt x="54"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54" name="Freeform 41"/>
                <p:cNvSpPr>
                  <a:spLocks/>
                </p:cNvSpPr>
                <p:nvPr>
                  <p:custDataLst>
                    <p:tags r:id="rId72"/>
                  </p:custDataLst>
                </p:nvPr>
              </p:nvSpPr>
              <p:spPr bwMode="auto">
                <a:xfrm>
                  <a:off x="2746" y="1532"/>
                  <a:ext cx="215" cy="191"/>
                </a:xfrm>
                <a:custGeom>
                  <a:avLst/>
                  <a:gdLst/>
                  <a:ahLst/>
                  <a:cxnLst>
                    <a:cxn ang="0">
                      <a:pos x="208" y="180"/>
                    </a:cxn>
                    <a:cxn ang="0">
                      <a:pos x="206" y="169"/>
                    </a:cxn>
                    <a:cxn ang="0">
                      <a:pos x="213" y="159"/>
                    </a:cxn>
                    <a:cxn ang="0">
                      <a:pos x="213" y="145"/>
                    </a:cxn>
                    <a:cxn ang="0">
                      <a:pos x="198" y="134"/>
                    </a:cxn>
                    <a:cxn ang="0">
                      <a:pos x="193" y="128"/>
                    </a:cxn>
                    <a:cxn ang="0">
                      <a:pos x="189" y="109"/>
                    </a:cxn>
                    <a:cxn ang="0">
                      <a:pos x="180" y="93"/>
                    </a:cxn>
                    <a:cxn ang="0">
                      <a:pos x="170" y="80"/>
                    </a:cxn>
                    <a:cxn ang="0">
                      <a:pos x="170" y="69"/>
                    </a:cxn>
                    <a:cxn ang="0">
                      <a:pos x="176" y="61"/>
                    </a:cxn>
                    <a:cxn ang="0">
                      <a:pos x="200" y="63"/>
                    </a:cxn>
                    <a:cxn ang="0">
                      <a:pos x="209" y="52"/>
                    </a:cxn>
                    <a:cxn ang="0">
                      <a:pos x="215" y="24"/>
                    </a:cxn>
                    <a:cxn ang="0">
                      <a:pos x="213" y="15"/>
                    </a:cxn>
                    <a:cxn ang="0">
                      <a:pos x="202" y="13"/>
                    </a:cxn>
                    <a:cxn ang="0">
                      <a:pos x="182" y="15"/>
                    </a:cxn>
                    <a:cxn ang="0">
                      <a:pos x="154" y="15"/>
                    </a:cxn>
                    <a:cxn ang="0">
                      <a:pos x="132" y="6"/>
                    </a:cxn>
                    <a:cxn ang="0">
                      <a:pos x="117" y="2"/>
                    </a:cxn>
                    <a:cxn ang="0">
                      <a:pos x="104" y="0"/>
                    </a:cxn>
                    <a:cxn ang="0">
                      <a:pos x="91" y="17"/>
                    </a:cxn>
                    <a:cxn ang="0">
                      <a:pos x="76" y="28"/>
                    </a:cxn>
                    <a:cxn ang="0">
                      <a:pos x="54" y="26"/>
                    </a:cxn>
                    <a:cxn ang="0">
                      <a:pos x="41" y="35"/>
                    </a:cxn>
                    <a:cxn ang="0">
                      <a:pos x="20" y="56"/>
                    </a:cxn>
                    <a:cxn ang="0">
                      <a:pos x="4" y="69"/>
                    </a:cxn>
                    <a:cxn ang="0">
                      <a:pos x="0" y="78"/>
                    </a:cxn>
                    <a:cxn ang="0">
                      <a:pos x="9" y="95"/>
                    </a:cxn>
                    <a:cxn ang="0">
                      <a:pos x="19" y="117"/>
                    </a:cxn>
                    <a:cxn ang="0">
                      <a:pos x="30" y="130"/>
                    </a:cxn>
                    <a:cxn ang="0">
                      <a:pos x="41" y="126"/>
                    </a:cxn>
                    <a:cxn ang="0">
                      <a:pos x="60" y="119"/>
                    </a:cxn>
                    <a:cxn ang="0">
                      <a:pos x="58" y="137"/>
                    </a:cxn>
                    <a:cxn ang="0">
                      <a:pos x="52" y="159"/>
                    </a:cxn>
                    <a:cxn ang="0">
                      <a:pos x="54" y="163"/>
                    </a:cxn>
                    <a:cxn ang="0">
                      <a:pos x="63" y="163"/>
                    </a:cxn>
                    <a:cxn ang="0">
                      <a:pos x="76" y="159"/>
                    </a:cxn>
                    <a:cxn ang="0">
                      <a:pos x="104" y="162"/>
                    </a:cxn>
                    <a:cxn ang="0">
                      <a:pos x="112" y="172"/>
                    </a:cxn>
                    <a:cxn ang="0">
                      <a:pos x="128" y="178"/>
                    </a:cxn>
                    <a:cxn ang="0">
                      <a:pos x="142" y="191"/>
                    </a:cxn>
                    <a:cxn ang="0">
                      <a:pos x="151" y="189"/>
                    </a:cxn>
                    <a:cxn ang="0">
                      <a:pos x="168" y="180"/>
                    </a:cxn>
                    <a:cxn ang="0">
                      <a:pos x="185" y="178"/>
                    </a:cxn>
                    <a:cxn ang="0">
                      <a:pos x="208" y="180"/>
                    </a:cxn>
                  </a:cxnLst>
                  <a:rect l="0" t="0" r="r" b="b"/>
                  <a:pathLst>
                    <a:path w="215" h="191">
                      <a:moveTo>
                        <a:pt x="208" y="180"/>
                      </a:moveTo>
                      <a:lnTo>
                        <a:pt x="206" y="169"/>
                      </a:lnTo>
                      <a:lnTo>
                        <a:pt x="213" y="159"/>
                      </a:lnTo>
                      <a:lnTo>
                        <a:pt x="213" y="145"/>
                      </a:lnTo>
                      <a:lnTo>
                        <a:pt x="198" y="134"/>
                      </a:lnTo>
                      <a:lnTo>
                        <a:pt x="193" y="128"/>
                      </a:lnTo>
                      <a:lnTo>
                        <a:pt x="189" y="109"/>
                      </a:lnTo>
                      <a:lnTo>
                        <a:pt x="180" y="93"/>
                      </a:lnTo>
                      <a:lnTo>
                        <a:pt x="170" y="80"/>
                      </a:lnTo>
                      <a:lnTo>
                        <a:pt x="170" y="69"/>
                      </a:lnTo>
                      <a:lnTo>
                        <a:pt x="176" y="61"/>
                      </a:lnTo>
                      <a:lnTo>
                        <a:pt x="200" y="63"/>
                      </a:lnTo>
                      <a:lnTo>
                        <a:pt x="209" y="52"/>
                      </a:lnTo>
                      <a:lnTo>
                        <a:pt x="215" y="24"/>
                      </a:lnTo>
                      <a:lnTo>
                        <a:pt x="213" y="15"/>
                      </a:lnTo>
                      <a:lnTo>
                        <a:pt x="202" y="13"/>
                      </a:lnTo>
                      <a:lnTo>
                        <a:pt x="182" y="15"/>
                      </a:lnTo>
                      <a:lnTo>
                        <a:pt x="154" y="15"/>
                      </a:lnTo>
                      <a:lnTo>
                        <a:pt x="132" y="6"/>
                      </a:lnTo>
                      <a:lnTo>
                        <a:pt x="117" y="2"/>
                      </a:lnTo>
                      <a:lnTo>
                        <a:pt x="104" y="0"/>
                      </a:lnTo>
                      <a:lnTo>
                        <a:pt x="91" y="17"/>
                      </a:lnTo>
                      <a:lnTo>
                        <a:pt x="76" y="28"/>
                      </a:lnTo>
                      <a:lnTo>
                        <a:pt x="54" y="26"/>
                      </a:lnTo>
                      <a:lnTo>
                        <a:pt x="41" y="35"/>
                      </a:lnTo>
                      <a:lnTo>
                        <a:pt x="20" y="56"/>
                      </a:lnTo>
                      <a:lnTo>
                        <a:pt x="4" y="69"/>
                      </a:lnTo>
                      <a:lnTo>
                        <a:pt x="0" y="78"/>
                      </a:lnTo>
                      <a:lnTo>
                        <a:pt x="9" y="95"/>
                      </a:lnTo>
                      <a:lnTo>
                        <a:pt x="19" y="117"/>
                      </a:lnTo>
                      <a:lnTo>
                        <a:pt x="30" y="130"/>
                      </a:lnTo>
                      <a:lnTo>
                        <a:pt x="41" y="126"/>
                      </a:lnTo>
                      <a:lnTo>
                        <a:pt x="60" y="119"/>
                      </a:lnTo>
                      <a:lnTo>
                        <a:pt x="58" y="137"/>
                      </a:lnTo>
                      <a:lnTo>
                        <a:pt x="52" y="159"/>
                      </a:lnTo>
                      <a:lnTo>
                        <a:pt x="54" y="163"/>
                      </a:lnTo>
                      <a:lnTo>
                        <a:pt x="63" y="163"/>
                      </a:lnTo>
                      <a:lnTo>
                        <a:pt x="76" y="159"/>
                      </a:lnTo>
                      <a:lnTo>
                        <a:pt x="104" y="162"/>
                      </a:lnTo>
                      <a:lnTo>
                        <a:pt x="112" y="172"/>
                      </a:lnTo>
                      <a:lnTo>
                        <a:pt x="128" y="178"/>
                      </a:lnTo>
                      <a:lnTo>
                        <a:pt x="142" y="191"/>
                      </a:lnTo>
                      <a:lnTo>
                        <a:pt x="151" y="189"/>
                      </a:lnTo>
                      <a:lnTo>
                        <a:pt x="168" y="180"/>
                      </a:lnTo>
                      <a:lnTo>
                        <a:pt x="185" y="178"/>
                      </a:lnTo>
                      <a:lnTo>
                        <a:pt x="208" y="18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grpSp>
            <p:nvGrpSpPr>
              <p:cNvPr id="296" name="Group 42"/>
              <p:cNvGrpSpPr>
                <a:grpSpLocks/>
              </p:cNvGrpSpPr>
              <p:nvPr/>
            </p:nvGrpSpPr>
            <p:grpSpPr bwMode="auto">
              <a:xfrm>
                <a:off x="3315105" y="1793802"/>
                <a:ext cx="665799" cy="1293313"/>
                <a:chOff x="2582" y="627"/>
                <a:chExt cx="466" cy="903"/>
              </a:xfrm>
              <a:solidFill>
                <a:schemeClr val="accent6"/>
              </a:solidFill>
            </p:grpSpPr>
            <p:sp>
              <p:nvSpPr>
                <p:cNvPr id="350" name="Freeform 43"/>
                <p:cNvSpPr>
                  <a:spLocks/>
                </p:cNvSpPr>
                <p:nvPr>
                  <p:custDataLst>
                    <p:tags r:id="rId68"/>
                  </p:custDataLst>
                </p:nvPr>
              </p:nvSpPr>
              <p:spPr bwMode="auto">
                <a:xfrm>
                  <a:off x="2582" y="1475"/>
                  <a:ext cx="28" cy="26"/>
                </a:xfrm>
                <a:custGeom>
                  <a:avLst/>
                  <a:gdLst/>
                  <a:ahLst/>
                  <a:cxnLst>
                    <a:cxn ang="0">
                      <a:pos x="24" y="0"/>
                    </a:cxn>
                    <a:cxn ang="0">
                      <a:pos x="13" y="6"/>
                    </a:cxn>
                    <a:cxn ang="0">
                      <a:pos x="0" y="17"/>
                    </a:cxn>
                    <a:cxn ang="0">
                      <a:pos x="2" y="26"/>
                    </a:cxn>
                    <a:cxn ang="0">
                      <a:pos x="9" y="26"/>
                    </a:cxn>
                    <a:cxn ang="0">
                      <a:pos x="28" y="13"/>
                    </a:cxn>
                    <a:cxn ang="0">
                      <a:pos x="24" y="0"/>
                    </a:cxn>
                  </a:cxnLst>
                  <a:rect l="0" t="0" r="r" b="b"/>
                  <a:pathLst>
                    <a:path w="28" h="26">
                      <a:moveTo>
                        <a:pt x="24" y="0"/>
                      </a:moveTo>
                      <a:lnTo>
                        <a:pt x="13" y="6"/>
                      </a:lnTo>
                      <a:lnTo>
                        <a:pt x="0" y="17"/>
                      </a:lnTo>
                      <a:lnTo>
                        <a:pt x="2" y="26"/>
                      </a:lnTo>
                      <a:lnTo>
                        <a:pt x="9" y="26"/>
                      </a:lnTo>
                      <a:lnTo>
                        <a:pt x="28" y="13"/>
                      </a:lnTo>
                      <a:lnTo>
                        <a:pt x="24"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51" name="Freeform 44"/>
                <p:cNvSpPr>
                  <a:spLocks/>
                </p:cNvSpPr>
                <p:nvPr>
                  <p:custDataLst>
                    <p:tags r:id="rId69"/>
                  </p:custDataLst>
                </p:nvPr>
              </p:nvSpPr>
              <p:spPr bwMode="auto">
                <a:xfrm>
                  <a:off x="2610" y="627"/>
                  <a:ext cx="438" cy="903"/>
                </a:xfrm>
                <a:custGeom>
                  <a:avLst/>
                  <a:gdLst/>
                  <a:ahLst/>
                  <a:cxnLst>
                    <a:cxn ang="0">
                      <a:pos x="119" y="873"/>
                    </a:cxn>
                    <a:cxn ang="0">
                      <a:pos x="93" y="851"/>
                    </a:cxn>
                    <a:cxn ang="0">
                      <a:pos x="59" y="844"/>
                    </a:cxn>
                    <a:cxn ang="0">
                      <a:pos x="59" y="773"/>
                    </a:cxn>
                    <a:cxn ang="0">
                      <a:pos x="44" y="725"/>
                    </a:cxn>
                    <a:cxn ang="0">
                      <a:pos x="41" y="688"/>
                    </a:cxn>
                    <a:cxn ang="0">
                      <a:pos x="30" y="655"/>
                    </a:cxn>
                    <a:cxn ang="0">
                      <a:pos x="52" y="622"/>
                    </a:cxn>
                    <a:cxn ang="0">
                      <a:pos x="63" y="592"/>
                    </a:cxn>
                    <a:cxn ang="0">
                      <a:pos x="107" y="555"/>
                    </a:cxn>
                    <a:cxn ang="0">
                      <a:pos x="137" y="511"/>
                    </a:cxn>
                    <a:cxn ang="0">
                      <a:pos x="159" y="474"/>
                    </a:cxn>
                    <a:cxn ang="0">
                      <a:pos x="178" y="448"/>
                    </a:cxn>
                    <a:cxn ang="0">
                      <a:pos x="181" y="422"/>
                    </a:cxn>
                    <a:cxn ang="0">
                      <a:pos x="174" y="396"/>
                    </a:cxn>
                    <a:cxn ang="0">
                      <a:pos x="152" y="385"/>
                    </a:cxn>
                    <a:cxn ang="0">
                      <a:pos x="119" y="314"/>
                    </a:cxn>
                    <a:cxn ang="0">
                      <a:pos x="122" y="255"/>
                    </a:cxn>
                    <a:cxn ang="0">
                      <a:pos x="107" y="196"/>
                    </a:cxn>
                    <a:cxn ang="0">
                      <a:pos x="81" y="158"/>
                    </a:cxn>
                    <a:cxn ang="0">
                      <a:pos x="30" y="129"/>
                    </a:cxn>
                    <a:cxn ang="0">
                      <a:pos x="11" y="99"/>
                    </a:cxn>
                    <a:cxn ang="0">
                      <a:pos x="15" y="78"/>
                    </a:cxn>
                    <a:cxn ang="0">
                      <a:pos x="48" y="95"/>
                    </a:cxn>
                    <a:cxn ang="0">
                      <a:pos x="107" y="110"/>
                    </a:cxn>
                    <a:cxn ang="0">
                      <a:pos x="130" y="125"/>
                    </a:cxn>
                    <a:cxn ang="0">
                      <a:pos x="159" y="99"/>
                    </a:cxn>
                    <a:cxn ang="0">
                      <a:pos x="178" y="78"/>
                    </a:cxn>
                    <a:cxn ang="0">
                      <a:pos x="174" y="37"/>
                    </a:cxn>
                    <a:cxn ang="0">
                      <a:pos x="204" y="19"/>
                    </a:cxn>
                    <a:cxn ang="0">
                      <a:pos x="244" y="26"/>
                    </a:cxn>
                    <a:cxn ang="0">
                      <a:pos x="244" y="59"/>
                    </a:cxn>
                    <a:cxn ang="0">
                      <a:pos x="211" y="92"/>
                    </a:cxn>
                    <a:cxn ang="0">
                      <a:pos x="248" y="85"/>
                    </a:cxn>
                    <a:cxn ang="0">
                      <a:pos x="252" y="30"/>
                    </a:cxn>
                    <a:cxn ang="0">
                      <a:pos x="275" y="63"/>
                    </a:cxn>
                    <a:cxn ang="0">
                      <a:pos x="267" y="114"/>
                    </a:cxn>
                    <a:cxn ang="0">
                      <a:pos x="297" y="158"/>
                    </a:cxn>
                    <a:cxn ang="0">
                      <a:pos x="316" y="199"/>
                    </a:cxn>
                    <a:cxn ang="0">
                      <a:pos x="319" y="262"/>
                    </a:cxn>
                    <a:cxn ang="0">
                      <a:pos x="349" y="351"/>
                    </a:cxn>
                    <a:cxn ang="0">
                      <a:pos x="360" y="448"/>
                    </a:cxn>
                    <a:cxn ang="0">
                      <a:pos x="375" y="518"/>
                    </a:cxn>
                    <a:cxn ang="0">
                      <a:pos x="419" y="566"/>
                    </a:cxn>
                    <a:cxn ang="0">
                      <a:pos x="438" y="604"/>
                    </a:cxn>
                    <a:cxn ang="0">
                      <a:pos x="416" y="680"/>
                    </a:cxn>
                    <a:cxn ang="0">
                      <a:pos x="405" y="721"/>
                    </a:cxn>
                    <a:cxn ang="0">
                      <a:pos x="382" y="744"/>
                    </a:cxn>
                    <a:cxn ang="0">
                      <a:pos x="327" y="799"/>
                    </a:cxn>
                    <a:cxn ang="0">
                      <a:pos x="301" y="825"/>
                    </a:cxn>
                    <a:cxn ang="0">
                      <a:pos x="267" y="840"/>
                    </a:cxn>
                    <a:cxn ang="0">
                      <a:pos x="215" y="855"/>
                    </a:cxn>
                    <a:cxn ang="0">
                      <a:pos x="163" y="877"/>
                    </a:cxn>
                    <a:cxn ang="0">
                      <a:pos x="122" y="903"/>
                    </a:cxn>
                  </a:cxnLst>
                  <a:rect l="0" t="0" r="r" b="b"/>
                  <a:pathLst>
                    <a:path w="438" h="903">
                      <a:moveTo>
                        <a:pt x="122" y="903"/>
                      </a:moveTo>
                      <a:lnTo>
                        <a:pt x="119" y="873"/>
                      </a:lnTo>
                      <a:lnTo>
                        <a:pt x="104" y="858"/>
                      </a:lnTo>
                      <a:lnTo>
                        <a:pt x="93" y="851"/>
                      </a:lnTo>
                      <a:lnTo>
                        <a:pt x="74" y="844"/>
                      </a:lnTo>
                      <a:lnTo>
                        <a:pt x="59" y="844"/>
                      </a:lnTo>
                      <a:lnTo>
                        <a:pt x="52" y="829"/>
                      </a:lnTo>
                      <a:lnTo>
                        <a:pt x="59" y="773"/>
                      </a:lnTo>
                      <a:lnTo>
                        <a:pt x="56" y="740"/>
                      </a:lnTo>
                      <a:lnTo>
                        <a:pt x="44" y="725"/>
                      </a:lnTo>
                      <a:lnTo>
                        <a:pt x="37" y="718"/>
                      </a:lnTo>
                      <a:lnTo>
                        <a:pt x="41" y="688"/>
                      </a:lnTo>
                      <a:lnTo>
                        <a:pt x="37" y="669"/>
                      </a:lnTo>
                      <a:lnTo>
                        <a:pt x="30" y="655"/>
                      </a:lnTo>
                      <a:lnTo>
                        <a:pt x="41" y="622"/>
                      </a:lnTo>
                      <a:lnTo>
                        <a:pt x="52" y="622"/>
                      </a:lnTo>
                      <a:lnTo>
                        <a:pt x="59" y="615"/>
                      </a:lnTo>
                      <a:lnTo>
                        <a:pt x="63" y="592"/>
                      </a:lnTo>
                      <a:lnTo>
                        <a:pt x="85" y="574"/>
                      </a:lnTo>
                      <a:lnTo>
                        <a:pt x="107" y="555"/>
                      </a:lnTo>
                      <a:lnTo>
                        <a:pt x="111" y="533"/>
                      </a:lnTo>
                      <a:lnTo>
                        <a:pt x="137" y="511"/>
                      </a:lnTo>
                      <a:lnTo>
                        <a:pt x="163" y="485"/>
                      </a:lnTo>
                      <a:lnTo>
                        <a:pt x="159" y="474"/>
                      </a:lnTo>
                      <a:lnTo>
                        <a:pt x="159" y="459"/>
                      </a:lnTo>
                      <a:lnTo>
                        <a:pt x="178" y="448"/>
                      </a:lnTo>
                      <a:lnTo>
                        <a:pt x="185" y="444"/>
                      </a:lnTo>
                      <a:lnTo>
                        <a:pt x="181" y="422"/>
                      </a:lnTo>
                      <a:lnTo>
                        <a:pt x="181" y="400"/>
                      </a:lnTo>
                      <a:lnTo>
                        <a:pt x="174" y="396"/>
                      </a:lnTo>
                      <a:lnTo>
                        <a:pt x="163" y="400"/>
                      </a:lnTo>
                      <a:lnTo>
                        <a:pt x="152" y="385"/>
                      </a:lnTo>
                      <a:lnTo>
                        <a:pt x="141" y="344"/>
                      </a:lnTo>
                      <a:lnTo>
                        <a:pt x="119" y="314"/>
                      </a:lnTo>
                      <a:lnTo>
                        <a:pt x="126" y="273"/>
                      </a:lnTo>
                      <a:lnTo>
                        <a:pt x="122" y="255"/>
                      </a:lnTo>
                      <a:lnTo>
                        <a:pt x="96" y="229"/>
                      </a:lnTo>
                      <a:lnTo>
                        <a:pt x="107" y="196"/>
                      </a:lnTo>
                      <a:lnTo>
                        <a:pt x="100" y="177"/>
                      </a:lnTo>
                      <a:lnTo>
                        <a:pt x="81" y="158"/>
                      </a:lnTo>
                      <a:lnTo>
                        <a:pt x="70" y="170"/>
                      </a:lnTo>
                      <a:lnTo>
                        <a:pt x="30" y="129"/>
                      </a:lnTo>
                      <a:lnTo>
                        <a:pt x="19" y="114"/>
                      </a:lnTo>
                      <a:lnTo>
                        <a:pt x="11" y="99"/>
                      </a:lnTo>
                      <a:lnTo>
                        <a:pt x="0" y="92"/>
                      </a:lnTo>
                      <a:lnTo>
                        <a:pt x="15" y="78"/>
                      </a:lnTo>
                      <a:lnTo>
                        <a:pt x="37" y="78"/>
                      </a:lnTo>
                      <a:lnTo>
                        <a:pt x="48" y="95"/>
                      </a:lnTo>
                      <a:lnTo>
                        <a:pt x="78" y="129"/>
                      </a:lnTo>
                      <a:lnTo>
                        <a:pt x="107" y="110"/>
                      </a:lnTo>
                      <a:lnTo>
                        <a:pt x="126" y="114"/>
                      </a:lnTo>
                      <a:lnTo>
                        <a:pt x="130" y="125"/>
                      </a:lnTo>
                      <a:lnTo>
                        <a:pt x="152" y="129"/>
                      </a:lnTo>
                      <a:lnTo>
                        <a:pt x="159" y="99"/>
                      </a:lnTo>
                      <a:lnTo>
                        <a:pt x="170" y="89"/>
                      </a:lnTo>
                      <a:lnTo>
                        <a:pt x="178" y="78"/>
                      </a:lnTo>
                      <a:lnTo>
                        <a:pt x="178" y="67"/>
                      </a:lnTo>
                      <a:lnTo>
                        <a:pt x="174" y="37"/>
                      </a:lnTo>
                      <a:lnTo>
                        <a:pt x="193" y="19"/>
                      </a:lnTo>
                      <a:lnTo>
                        <a:pt x="204" y="19"/>
                      </a:lnTo>
                      <a:lnTo>
                        <a:pt x="222" y="0"/>
                      </a:lnTo>
                      <a:lnTo>
                        <a:pt x="244" y="26"/>
                      </a:lnTo>
                      <a:lnTo>
                        <a:pt x="252" y="37"/>
                      </a:lnTo>
                      <a:lnTo>
                        <a:pt x="244" y="59"/>
                      </a:lnTo>
                      <a:lnTo>
                        <a:pt x="226" y="74"/>
                      </a:lnTo>
                      <a:lnTo>
                        <a:pt x="211" y="92"/>
                      </a:lnTo>
                      <a:lnTo>
                        <a:pt x="215" y="110"/>
                      </a:lnTo>
                      <a:lnTo>
                        <a:pt x="248" y="85"/>
                      </a:lnTo>
                      <a:lnTo>
                        <a:pt x="248" y="63"/>
                      </a:lnTo>
                      <a:lnTo>
                        <a:pt x="252" y="30"/>
                      </a:lnTo>
                      <a:lnTo>
                        <a:pt x="263" y="22"/>
                      </a:lnTo>
                      <a:lnTo>
                        <a:pt x="275" y="63"/>
                      </a:lnTo>
                      <a:lnTo>
                        <a:pt x="275" y="99"/>
                      </a:lnTo>
                      <a:lnTo>
                        <a:pt x="267" y="114"/>
                      </a:lnTo>
                      <a:lnTo>
                        <a:pt x="267" y="136"/>
                      </a:lnTo>
                      <a:lnTo>
                        <a:pt x="297" y="158"/>
                      </a:lnTo>
                      <a:lnTo>
                        <a:pt x="297" y="173"/>
                      </a:lnTo>
                      <a:lnTo>
                        <a:pt x="316" y="199"/>
                      </a:lnTo>
                      <a:lnTo>
                        <a:pt x="323" y="218"/>
                      </a:lnTo>
                      <a:lnTo>
                        <a:pt x="319" y="262"/>
                      </a:lnTo>
                      <a:lnTo>
                        <a:pt x="331" y="311"/>
                      </a:lnTo>
                      <a:lnTo>
                        <a:pt x="349" y="351"/>
                      </a:lnTo>
                      <a:lnTo>
                        <a:pt x="345" y="411"/>
                      </a:lnTo>
                      <a:lnTo>
                        <a:pt x="360" y="448"/>
                      </a:lnTo>
                      <a:lnTo>
                        <a:pt x="368" y="463"/>
                      </a:lnTo>
                      <a:lnTo>
                        <a:pt x="375" y="518"/>
                      </a:lnTo>
                      <a:lnTo>
                        <a:pt x="382" y="541"/>
                      </a:lnTo>
                      <a:lnTo>
                        <a:pt x="419" y="566"/>
                      </a:lnTo>
                      <a:lnTo>
                        <a:pt x="438" y="589"/>
                      </a:lnTo>
                      <a:lnTo>
                        <a:pt x="438" y="604"/>
                      </a:lnTo>
                      <a:lnTo>
                        <a:pt x="423" y="673"/>
                      </a:lnTo>
                      <a:lnTo>
                        <a:pt x="416" y="680"/>
                      </a:lnTo>
                      <a:lnTo>
                        <a:pt x="423" y="695"/>
                      </a:lnTo>
                      <a:lnTo>
                        <a:pt x="405" y="721"/>
                      </a:lnTo>
                      <a:lnTo>
                        <a:pt x="382" y="732"/>
                      </a:lnTo>
                      <a:lnTo>
                        <a:pt x="382" y="744"/>
                      </a:lnTo>
                      <a:lnTo>
                        <a:pt x="349" y="788"/>
                      </a:lnTo>
                      <a:lnTo>
                        <a:pt x="327" y="799"/>
                      </a:lnTo>
                      <a:lnTo>
                        <a:pt x="323" y="825"/>
                      </a:lnTo>
                      <a:lnTo>
                        <a:pt x="301" y="825"/>
                      </a:lnTo>
                      <a:lnTo>
                        <a:pt x="290" y="833"/>
                      </a:lnTo>
                      <a:lnTo>
                        <a:pt x="267" y="840"/>
                      </a:lnTo>
                      <a:lnTo>
                        <a:pt x="237" y="836"/>
                      </a:lnTo>
                      <a:lnTo>
                        <a:pt x="215" y="855"/>
                      </a:lnTo>
                      <a:lnTo>
                        <a:pt x="189" y="870"/>
                      </a:lnTo>
                      <a:lnTo>
                        <a:pt x="163" y="877"/>
                      </a:lnTo>
                      <a:lnTo>
                        <a:pt x="144" y="892"/>
                      </a:lnTo>
                      <a:lnTo>
                        <a:pt x="122" y="903"/>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sp>
            <p:nvSpPr>
              <p:cNvPr id="297" name="Freeform 45"/>
              <p:cNvSpPr>
                <a:spLocks/>
              </p:cNvSpPr>
              <p:nvPr>
                <p:custDataLst>
                  <p:tags r:id="rId20"/>
                </p:custDataLst>
              </p:nvPr>
            </p:nvSpPr>
            <p:spPr bwMode="auto">
              <a:xfrm>
                <a:off x="2689255" y="4187348"/>
                <a:ext cx="577580" cy="316254"/>
              </a:xfrm>
              <a:custGeom>
                <a:avLst/>
                <a:gdLst/>
                <a:ahLst/>
                <a:cxnLst>
                  <a:cxn ang="0">
                    <a:pos x="99" y="211"/>
                  </a:cxn>
                  <a:cxn ang="0">
                    <a:pos x="96" y="199"/>
                  </a:cxn>
                  <a:cxn ang="0">
                    <a:pos x="83" y="192"/>
                  </a:cxn>
                  <a:cxn ang="0">
                    <a:pos x="36" y="149"/>
                  </a:cxn>
                  <a:cxn ang="0">
                    <a:pos x="33" y="126"/>
                  </a:cxn>
                  <a:cxn ang="0">
                    <a:pos x="12" y="123"/>
                  </a:cxn>
                  <a:cxn ang="0">
                    <a:pos x="13" y="102"/>
                  </a:cxn>
                  <a:cxn ang="0">
                    <a:pos x="6" y="82"/>
                  </a:cxn>
                  <a:cxn ang="0">
                    <a:pos x="0" y="71"/>
                  </a:cxn>
                  <a:cxn ang="0">
                    <a:pos x="4" y="59"/>
                  </a:cxn>
                  <a:cxn ang="0">
                    <a:pos x="19" y="59"/>
                  </a:cxn>
                  <a:cxn ang="0">
                    <a:pos x="45" y="53"/>
                  </a:cxn>
                  <a:cxn ang="0">
                    <a:pos x="126" y="11"/>
                  </a:cxn>
                  <a:cxn ang="0">
                    <a:pos x="143" y="0"/>
                  </a:cxn>
                  <a:cxn ang="0">
                    <a:pos x="154" y="13"/>
                  </a:cxn>
                  <a:cxn ang="0">
                    <a:pos x="171" y="6"/>
                  </a:cxn>
                  <a:cxn ang="0">
                    <a:pos x="187" y="7"/>
                  </a:cxn>
                  <a:cxn ang="0">
                    <a:pos x="197" y="14"/>
                  </a:cxn>
                  <a:cxn ang="0">
                    <a:pos x="197" y="33"/>
                  </a:cxn>
                  <a:cxn ang="0">
                    <a:pos x="227" y="52"/>
                  </a:cxn>
                  <a:cxn ang="0">
                    <a:pos x="229" y="65"/>
                  </a:cxn>
                  <a:cxn ang="0">
                    <a:pos x="240" y="80"/>
                  </a:cxn>
                  <a:cxn ang="0">
                    <a:pos x="248" y="86"/>
                  </a:cxn>
                  <a:cxn ang="0">
                    <a:pos x="253" y="80"/>
                  </a:cxn>
                  <a:cxn ang="0">
                    <a:pos x="274" y="69"/>
                  </a:cxn>
                  <a:cxn ang="0">
                    <a:pos x="283" y="71"/>
                  </a:cxn>
                  <a:cxn ang="0">
                    <a:pos x="309" y="100"/>
                  </a:cxn>
                  <a:cxn ang="0">
                    <a:pos x="315" y="99"/>
                  </a:cxn>
                  <a:cxn ang="0">
                    <a:pos x="342" y="115"/>
                  </a:cxn>
                  <a:cxn ang="0">
                    <a:pos x="382" y="113"/>
                  </a:cxn>
                  <a:cxn ang="0">
                    <a:pos x="403" y="126"/>
                  </a:cxn>
                  <a:cxn ang="0">
                    <a:pos x="359" y="151"/>
                  </a:cxn>
                  <a:cxn ang="0">
                    <a:pos x="357" y="181"/>
                  </a:cxn>
                  <a:cxn ang="0">
                    <a:pos x="330" y="206"/>
                  </a:cxn>
                  <a:cxn ang="0">
                    <a:pos x="301" y="205"/>
                  </a:cxn>
                  <a:cxn ang="0">
                    <a:pos x="285" y="212"/>
                  </a:cxn>
                  <a:cxn ang="0">
                    <a:pos x="265" y="220"/>
                  </a:cxn>
                  <a:cxn ang="0">
                    <a:pos x="240" y="204"/>
                  </a:cxn>
                  <a:cxn ang="0">
                    <a:pos x="224" y="212"/>
                  </a:cxn>
                  <a:cxn ang="0">
                    <a:pos x="209" y="215"/>
                  </a:cxn>
                  <a:cxn ang="0">
                    <a:pos x="197" y="196"/>
                  </a:cxn>
                  <a:cxn ang="0">
                    <a:pos x="162" y="197"/>
                  </a:cxn>
                  <a:cxn ang="0">
                    <a:pos x="151" y="205"/>
                  </a:cxn>
                  <a:cxn ang="0">
                    <a:pos x="143" y="213"/>
                  </a:cxn>
                  <a:cxn ang="0">
                    <a:pos x="128" y="213"/>
                  </a:cxn>
                  <a:cxn ang="0">
                    <a:pos x="112" y="216"/>
                  </a:cxn>
                  <a:cxn ang="0">
                    <a:pos x="99" y="211"/>
                  </a:cxn>
                </a:cxnLst>
                <a:rect l="0" t="0" r="r" b="b"/>
                <a:pathLst>
                  <a:path w="403" h="220">
                    <a:moveTo>
                      <a:pt x="99" y="211"/>
                    </a:moveTo>
                    <a:lnTo>
                      <a:pt x="96" y="199"/>
                    </a:lnTo>
                    <a:lnTo>
                      <a:pt x="83" y="192"/>
                    </a:lnTo>
                    <a:lnTo>
                      <a:pt x="36" y="149"/>
                    </a:lnTo>
                    <a:lnTo>
                      <a:pt x="33" y="126"/>
                    </a:lnTo>
                    <a:lnTo>
                      <a:pt x="12" y="123"/>
                    </a:lnTo>
                    <a:lnTo>
                      <a:pt x="13" y="102"/>
                    </a:lnTo>
                    <a:lnTo>
                      <a:pt x="6" y="82"/>
                    </a:lnTo>
                    <a:lnTo>
                      <a:pt x="0" y="71"/>
                    </a:lnTo>
                    <a:lnTo>
                      <a:pt x="4" y="59"/>
                    </a:lnTo>
                    <a:lnTo>
                      <a:pt x="19" y="59"/>
                    </a:lnTo>
                    <a:lnTo>
                      <a:pt x="45" y="53"/>
                    </a:lnTo>
                    <a:lnTo>
                      <a:pt x="126" y="11"/>
                    </a:lnTo>
                    <a:lnTo>
                      <a:pt x="143" y="0"/>
                    </a:lnTo>
                    <a:lnTo>
                      <a:pt x="154" y="13"/>
                    </a:lnTo>
                    <a:lnTo>
                      <a:pt x="171" y="6"/>
                    </a:lnTo>
                    <a:lnTo>
                      <a:pt x="187" y="7"/>
                    </a:lnTo>
                    <a:lnTo>
                      <a:pt x="197" y="14"/>
                    </a:lnTo>
                    <a:lnTo>
                      <a:pt x="197" y="33"/>
                    </a:lnTo>
                    <a:lnTo>
                      <a:pt x="227" y="52"/>
                    </a:lnTo>
                    <a:lnTo>
                      <a:pt x="229" y="65"/>
                    </a:lnTo>
                    <a:lnTo>
                      <a:pt x="240" y="80"/>
                    </a:lnTo>
                    <a:lnTo>
                      <a:pt x="248" y="86"/>
                    </a:lnTo>
                    <a:lnTo>
                      <a:pt x="253" y="80"/>
                    </a:lnTo>
                    <a:lnTo>
                      <a:pt x="274" y="69"/>
                    </a:lnTo>
                    <a:lnTo>
                      <a:pt x="283" y="71"/>
                    </a:lnTo>
                    <a:lnTo>
                      <a:pt x="309" y="100"/>
                    </a:lnTo>
                    <a:lnTo>
                      <a:pt x="315" y="99"/>
                    </a:lnTo>
                    <a:lnTo>
                      <a:pt x="342" y="115"/>
                    </a:lnTo>
                    <a:lnTo>
                      <a:pt x="382" y="113"/>
                    </a:lnTo>
                    <a:lnTo>
                      <a:pt x="403" y="126"/>
                    </a:lnTo>
                    <a:lnTo>
                      <a:pt x="359" y="151"/>
                    </a:lnTo>
                    <a:lnTo>
                      <a:pt x="357" y="181"/>
                    </a:lnTo>
                    <a:lnTo>
                      <a:pt x="330" y="206"/>
                    </a:lnTo>
                    <a:lnTo>
                      <a:pt x="301" y="205"/>
                    </a:lnTo>
                    <a:lnTo>
                      <a:pt x="285" y="212"/>
                    </a:lnTo>
                    <a:lnTo>
                      <a:pt x="265" y="220"/>
                    </a:lnTo>
                    <a:lnTo>
                      <a:pt x="240" y="204"/>
                    </a:lnTo>
                    <a:lnTo>
                      <a:pt x="224" y="212"/>
                    </a:lnTo>
                    <a:lnTo>
                      <a:pt x="209" y="215"/>
                    </a:lnTo>
                    <a:lnTo>
                      <a:pt x="197" y="196"/>
                    </a:lnTo>
                    <a:lnTo>
                      <a:pt x="162" y="197"/>
                    </a:lnTo>
                    <a:lnTo>
                      <a:pt x="151" y="205"/>
                    </a:lnTo>
                    <a:lnTo>
                      <a:pt x="143" y="213"/>
                    </a:lnTo>
                    <a:lnTo>
                      <a:pt x="128" y="213"/>
                    </a:lnTo>
                    <a:lnTo>
                      <a:pt x="112" y="216"/>
                    </a:lnTo>
                    <a:lnTo>
                      <a:pt x="99" y="211"/>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98" name="Freeform 46"/>
              <p:cNvSpPr>
                <a:spLocks/>
              </p:cNvSpPr>
              <p:nvPr>
                <p:custDataLst>
                  <p:tags r:id="rId21"/>
                </p:custDataLst>
              </p:nvPr>
            </p:nvSpPr>
            <p:spPr bwMode="auto">
              <a:xfrm>
                <a:off x="2749176" y="4773250"/>
                <a:ext cx="517658" cy="509336"/>
              </a:xfrm>
              <a:custGeom>
                <a:avLst/>
                <a:gdLst/>
                <a:ahLst/>
                <a:cxnLst>
                  <a:cxn ang="0">
                    <a:pos x="7" y="102"/>
                  </a:cxn>
                  <a:cxn ang="0">
                    <a:pos x="22" y="130"/>
                  </a:cxn>
                  <a:cxn ang="0">
                    <a:pos x="41" y="126"/>
                  </a:cxn>
                  <a:cxn ang="0">
                    <a:pos x="56" y="98"/>
                  </a:cxn>
                  <a:cxn ang="0">
                    <a:pos x="82" y="111"/>
                  </a:cxn>
                  <a:cxn ang="0">
                    <a:pos x="89" y="135"/>
                  </a:cxn>
                  <a:cxn ang="0">
                    <a:pos x="102" y="167"/>
                  </a:cxn>
                  <a:cxn ang="0">
                    <a:pos x="115" y="189"/>
                  </a:cxn>
                  <a:cxn ang="0">
                    <a:pos x="106" y="199"/>
                  </a:cxn>
                  <a:cxn ang="0">
                    <a:pos x="161" y="260"/>
                  </a:cxn>
                  <a:cxn ang="0">
                    <a:pos x="188" y="263"/>
                  </a:cxn>
                  <a:cxn ang="0">
                    <a:pos x="229" y="291"/>
                  </a:cxn>
                  <a:cxn ang="0">
                    <a:pos x="240" y="314"/>
                  </a:cxn>
                  <a:cxn ang="0">
                    <a:pos x="251" y="313"/>
                  </a:cxn>
                  <a:cxn ang="0">
                    <a:pos x="275" y="326"/>
                  </a:cxn>
                  <a:cxn ang="0">
                    <a:pos x="291" y="325"/>
                  </a:cxn>
                  <a:cxn ang="0">
                    <a:pos x="290" y="301"/>
                  </a:cxn>
                  <a:cxn ang="0">
                    <a:pos x="272" y="275"/>
                  </a:cxn>
                  <a:cxn ang="0">
                    <a:pos x="229" y="232"/>
                  </a:cxn>
                  <a:cxn ang="0">
                    <a:pos x="214" y="228"/>
                  </a:cxn>
                  <a:cxn ang="0">
                    <a:pos x="199" y="217"/>
                  </a:cxn>
                  <a:cxn ang="0">
                    <a:pos x="188" y="197"/>
                  </a:cxn>
                  <a:cxn ang="0">
                    <a:pos x="169" y="165"/>
                  </a:cxn>
                  <a:cxn ang="0">
                    <a:pos x="137" y="126"/>
                  </a:cxn>
                  <a:cxn ang="0">
                    <a:pos x="154" y="119"/>
                  </a:cxn>
                  <a:cxn ang="0">
                    <a:pos x="223" y="102"/>
                  </a:cxn>
                  <a:cxn ang="0">
                    <a:pos x="255" y="122"/>
                  </a:cxn>
                  <a:cxn ang="0">
                    <a:pos x="268" y="122"/>
                  </a:cxn>
                  <a:cxn ang="0">
                    <a:pos x="296" y="124"/>
                  </a:cxn>
                  <a:cxn ang="0">
                    <a:pos x="333" y="122"/>
                  </a:cxn>
                  <a:cxn ang="0">
                    <a:pos x="357" y="135"/>
                  </a:cxn>
                  <a:cxn ang="0">
                    <a:pos x="364" y="111"/>
                  </a:cxn>
                  <a:cxn ang="0">
                    <a:pos x="345" y="91"/>
                  </a:cxn>
                  <a:cxn ang="0">
                    <a:pos x="344" y="69"/>
                  </a:cxn>
                  <a:cxn ang="0">
                    <a:pos x="329" y="54"/>
                  </a:cxn>
                  <a:cxn ang="0">
                    <a:pos x="313" y="58"/>
                  </a:cxn>
                  <a:cxn ang="0">
                    <a:pos x="294" y="65"/>
                  </a:cxn>
                  <a:cxn ang="0">
                    <a:pos x="266" y="43"/>
                  </a:cxn>
                  <a:cxn ang="0">
                    <a:pos x="242" y="33"/>
                  </a:cxn>
                  <a:cxn ang="0">
                    <a:pos x="199" y="0"/>
                  </a:cxn>
                  <a:cxn ang="0">
                    <a:pos x="157" y="24"/>
                  </a:cxn>
                  <a:cxn ang="0">
                    <a:pos x="145" y="45"/>
                  </a:cxn>
                  <a:cxn ang="0">
                    <a:pos x="80" y="80"/>
                  </a:cxn>
                  <a:cxn ang="0">
                    <a:pos x="41" y="80"/>
                  </a:cxn>
                  <a:cxn ang="0">
                    <a:pos x="0" y="80"/>
                  </a:cxn>
                </a:cxnLst>
                <a:rect l="0" t="0" r="r" b="b"/>
                <a:pathLst>
                  <a:path w="364" h="357">
                    <a:moveTo>
                      <a:pt x="0" y="80"/>
                    </a:moveTo>
                    <a:lnTo>
                      <a:pt x="7" y="102"/>
                    </a:lnTo>
                    <a:lnTo>
                      <a:pt x="15" y="119"/>
                    </a:lnTo>
                    <a:lnTo>
                      <a:pt x="22" y="130"/>
                    </a:lnTo>
                    <a:lnTo>
                      <a:pt x="31" y="132"/>
                    </a:lnTo>
                    <a:lnTo>
                      <a:pt x="41" y="126"/>
                    </a:lnTo>
                    <a:lnTo>
                      <a:pt x="46" y="115"/>
                    </a:lnTo>
                    <a:lnTo>
                      <a:pt x="56" y="98"/>
                    </a:lnTo>
                    <a:lnTo>
                      <a:pt x="69" y="108"/>
                    </a:lnTo>
                    <a:lnTo>
                      <a:pt x="82" y="111"/>
                    </a:lnTo>
                    <a:lnTo>
                      <a:pt x="91" y="117"/>
                    </a:lnTo>
                    <a:lnTo>
                      <a:pt x="89" y="135"/>
                    </a:lnTo>
                    <a:lnTo>
                      <a:pt x="89" y="147"/>
                    </a:lnTo>
                    <a:lnTo>
                      <a:pt x="102" y="167"/>
                    </a:lnTo>
                    <a:lnTo>
                      <a:pt x="117" y="184"/>
                    </a:lnTo>
                    <a:lnTo>
                      <a:pt x="115" y="189"/>
                    </a:lnTo>
                    <a:lnTo>
                      <a:pt x="98" y="189"/>
                    </a:lnTo>
                    <a:lnTo>
                      <a:pt x="106" y="199"/>
                    </a:lnTo>
                    <a:lnTo>
                      <a:pt x="156" y="256"/>
                    </a:lnTo>
                    <a:lnTo>
                      <a:pt x="161" y="260"/>
                    </a:lnTo>
                    <a:lnTo>
                      <a:pt x="176" y="260"/>
                    </a:lnTo>
                    <a:lnTo>
                      <a:pt x="188" y="263"/>
                    </a:lnTo>
                    <a:lnTo>
                      <a:pt x="210" y="273"/>
                    </a:lnTo>
                    <a:lnTo>
                      <a:pt x="229" y="291"/>
                    </a:lnTo>
                    <a:lnTo>
                      <a:pt x="233" y="299"/>
                    </a:lnTo>
                    <a:lnTo>
                      <a:pt x="240" y="314"/>
                    </a:lnTo>
                    <a:lnTo>
                      <a:pt x="246" y="313"/>
                    </a:lnTo>
                    <a:lnTo>
                      <a:pt x="251" y="313"/>
                    </a:lnTo>
                    <a:lnTo>
                      <a:pt x="266" y="319"/>
                    </a:lnTo>
                    <a:lnTo>
                      <a:pt x="275" y="326"/>
                    </a:lnTo>
                    <a:lnTo>
                      <a:pt x="303" y="357"/>
                    </a:lnTo>
                    <a:lnTo>
                      <a:pt x="291" y="325"/>
                    </a:lnTo>
                    <a:lnTo>
                      <a:pt x="284" y="313"/>
                    </a:lnTo>
                    <a:lnTo>
                      <a:pt x="290" y="301"/>
                    </a:lnTo>
                    <a:lnTo>
                      <a:pt x="286" y="291"/>
                    </a:lnTo>
                    <a:lnTo>
                      <a:pt x="272" y="275"/>
                    </a:lnTo>
                    <a:lnTo>
                      <a:pt x="246" y="245"/>
                    </a:lnTo>
                    <a:lnTo>
                      <a:pt x="229" y="232"/>
                    </a:lnTo>
                    <a:lnTo>
                      <a:pt x="223" y="226"/>
                    </a:lnTo>
                    <a:lnTo>
                      <a:pt x="214" y="228"/>
                    </a:lnTo>
                    <a:lnTo>
                      <a:pt x="201" y="217"/>
                    </a:lnTo>
                    <a:lnTo>
                      <a:pt x="199" y="217"/>
                    </a:lnTo>
                    <a:lnTo>
                      <a:pt x="192" y="210"/>
                    </a:lnTo>
                    <a:lnTo>
                      <a:pt x="188" y="197"/>
                    </a:lnTo>
                    <a:lnTo>
                      <a:pt x="184" y="184"/>
                    </a:lnTo>
                    <a:lnTo>
                      <a:pt x="169" y="165"/>
                    </a:lnTo>
                    <a:lnTo>
                      <a:pt x="139" y="134"/>
                    </a:lnTo>
                    <a:lnTo>
                      <a:pt x="137" y="126"/>
                    </a:lnTo>
                    <a:lnTo>
                      <a:pt x="139" y="122"/>
                    </a:lnTo>
                    <a:lnTo>
                      <a:pt x="154" y="119"/>
                    </a:lnTo>
                    <a:lnTo>
                      <a:pt x="196" y="132"/>
                    </a:lnTo>
                    <a:lnTo>
                      <a:pt x="223" y="102"/>
                    </a:lnTo>
                    <a:lnTo>
                      <a:pt x="246" y="121"/>
                    </a:lnTo>
                    <a:lnTo>
                      <a:pt x="255" y="122"/>
                    </a:lnTo>
                    <a:lnTo>
                      <a:pt x="260" y="130"/>
                    </a:lnTo>
                    <a:lnTo>
                      <a:pt x="268" y="122"/>
                    </a:lnTo>
                    <a:lnTo>
                      <a:pt x="283" y="122"/>
                    </a:lnTo>
                    <a:lnTo>
                      <a:pt x="296" y="124"/>
                    </a:lnTo>
                    <a:lnTo>
                      <a:pt x="314" y="115"/>
                    </a:lnTo>
                    <a:lnTo>
                      <a:pt x="333" y="122"/>
                    </a:lnTo>
                    <a:lnTo>
                      <a:pt x="344" y="132"/>
                    </a:lnTo>
                    <a:lnTo>
                      <a:pt x="357" y="135"/>
                    </a:lnTo>
                    <a:lnTo>
                      <a:pt x="358" y="126"/>
                    </a:lnTo>
                    <a:lnTo>
                      <a:pt x="364" y="111"/>
                    </a:lnTo>
                    <a:lnTo>
                      <a:pt x="357" y="104"/>
                    </a:lnTo>
                    <a:lnTo>
                      <a:pt x="345" y="91"/>
                    </a:lnTo>
                    <a:lnTo>
                      <a:pt x="344" y="78"/>
                    </a:lnTo>
                    <a:lnTo>
                      <a:pt x="344" y="69"/>
                    </a:lnTo>
                    <a:lnTo>
                      <a:pt x="345" y="58"/>
                    </a:lnTo>
                    <a:lnTo>
                      <a:pt x="329" y="54"/>
                    </a:lnTo>
                    <a:lnTo>
                      <a:pt x="321" y="52"/>
                    </a:lnTo>
                    <a:lnTo>
                      <a:pt x="313" y="58"/>
                    </a:lnTo>
                    <a:lnTo>
                      <a:pt x="303" y="65"/>
                    </a:lnTo>
                    <a:lnTo>
                      <a:pt x="294" y="65"/>
                    </a:lnTo>
                    <a:lnTo>
                      <a:pt x="279" y="50"/>
                    </a:lnTo>
                    <a:lnTo>
                      <a:pt x="266" y="43"/>
                    </a:lnTo>
                    <a:lnTo>
                      <a:pt x="253" y="45"/>
                    </a:lnTo>
                    <a:lnTo>
                      <a:pt x="242" y="33"/>
                    </a:lnTo>
                    <a:lnTo>
                      <a:pt x="212" y="2"/>
                    </a:lnTo>
                    <a:lnTo>
                      <a:pt x="199" y="0"/>
                    </a:lnTo>
                    <a:lnTo>
                      <a:pt x="178" y="26"/>
                    </a:lnTo>
                    <a:lnTo>
                      <a:pt x="157" y="24"/>
                    </a:lnTo>
                    <a:lnTo>
                      <a:pt x="148" y="33"/>
                    </a:lnTo>
                    <a:lnTo>
                      <a:pt x="145" y="45"/>
                    </a:lnTo>
                    <a:lnTo>
                      <a:pt x="106" y="87"/>
                    </a:lnTo>
                    <a:lnTo>
                      <a:pt x="80" y="80"/>
                    </a:lnTo>
                    <a:lnTo>
                      <a:pt x="54" y="74"/>
                    </a:lnTo>
                    <a:lnTo>
                      <a:pt x="41" y="80"/>
                    </a:lnTo>
                    <a:lnTo>
                      <a:pt x="24" y="87"/>
                    </a:lnTo>
                    <a:lnTo>
                      <a:pt x="0" y="80"/>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nvGrpSpPr>
              <p:cNvPr id="299" name="Group 47"/>
              <p:cNvGrpSpPr>
                <a:grpSpLocks/>
              </p:cNvGrpSpPr>
              <p:nvPr/>
            </p:nvGrpSpPr>
            <p:grpSpPr bwMode="auto">
              <a:xfrm>
                <a:off x="3355053" y="5342508"/>
                <a:ext cx="838906" cy="875525"/>
                <a:chOff x="2610" y="3109"/>
                <a:chExt cx="586" cy="611"/>
              </a:xfrm>
              <a:solidFill>
                <a:schemeClr val="accent6"/>
              </a:solidFill>
            </p:grpSpPr>
            <p:sp>
              <p:nvSpPr>
                <p:cNvPr id="341" name="Freeform 48"/>
                <p:cNvSpPr>
                  <a:spLocks/>
                </p:cNvSpPr>
                <p:nvPr>
                  <p:custDataLst>
                    <p:tags r:id="rId59"/>
                  </p:custDataLst>
                </p:nvPr>
              </p:nvSpPr>
              <p:spPr bwMode="auto">
                <a:xfrm>
                  <a:off x="2623" y="3429"/>
                  <a:ext cx="24" cy="25"/>
                </a:xfrm>
                <a:custGeom>
                  <a:avLst/>
                  <a:gdLst/>
                  <a:ahLst/>
                  <a:cxnLst>
                    <a:cxn ang="0">
                      <a:pos x="18" y="0"/>
                    </a:cxn>
                    <a:cxn ang="0">
                      <a:pos x="24" y="7"/>
                    </a:cxn>
                    <a:cxn ang="0">
                      <a:pos x="22" y="16"/>
                    </a:cxn>
                    <a:cxn ang="0">
                      <a:pos x="24" y="23"/>
                    </a:cxn>
                    <a:cxn ang="0">
                      <a:pos x="18" y="25"/>
                    </a:cxn>
                    <a:cxn ang="0">
                      <a:pos x="7" y="23"/>
                    </a:cxn>
                    <a:cxn ang="0">
                      <a:pos x="0" y="14"/>
                    </a:cxn>
                    <a:cxn ang="0">
                      <a:pos x="18" y="0"/>
                    </a:cxn>
                  </a:cxnLst>
                  <a:rect l="0" t="0" r="r" b="b"/>
                  <a:pathLst>
                    <a:path w="24" h="25">
                      <a:moveTo>
                        <a:pt x="18" y="0"/>
                      </a:moveTo>
                      <a:lnTo>
                        <a:pt x="24" y="7"/>
                      </a:lnTo>
                      <a:lnTo>
                        <a:pt x="22" y="16"/>
                      </a:lnTo>
                      <a:lnTo>
                        <a:pt x="24" y="23"/>
                      </a:lnTo>
                      <a:lnTo>
                        <a:pt x="18" y="25"/>
                      </a:lnTo>
                      <a:lnTo>
                        <a:pt x="7" y="23"/>
                      </a:lnTo>
                      <a:lnTo>
                        <a:pt x="0" y="14"/>
                      </a:lnTo>
                      <a:lnTo>
                        <a:pt x="18"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42" name="Freeform 49"/>
                <p:cNvSpPr>
                  <a:spLocks/>
                </p:cNvSpPr>
                <p:nvPr>
                  <p:custDataLst>
                    <p:tags r:id="rId60"/>
                  </p:custDataLst>
                </p:nvPr>
              </p:nvSpPr>
              <p:spPr bwMode="auto">
                <a:xfrm>
                  <a:off x="2672" y="3439"/>
                  <a:ext cx="184" cy="163"/>
                </a:xfrm>
                <a:custGeom>
                  <a:avLst/>
                  <a:gdLst/>
                  <a:ahLst/>
                  <a:cxnLst>
                    <a:cxn ang="0">
                      <a:pos x="26" y="7"/>
                    </a:cxn>
                    <a:cxn ang="0">
                      <a:pos x="17" y="11"/>
                    </a:cxn>
                    <a:cxn ang="0">
                      <a:pos x="20" y="20"/>
                    </a:cxn>
                    <a:cxn ang="0">
                      <a:pos x="11" y="31"/>
                    </a:cxn>
                    <a:cxn ang="0">
                      <a:pos x="4" y="30"/>
                    </a:cxn>
                    <a:cxn ang="0">
                      <a:pos x="0" y="35"/>
                    </a:cxn>
                    <a:cxn ang="0">
                      <a:pos x="2" y="46"/>
                    </a:cxn>
                    <a:cxn ang="0">
                      <a:pos x="32" y="57"/>
                    </a:cxn>
                    <a:cxn ang="0">
                      <a:pos x="39" y="82"/>
                    </a:cxn>
                    <a:cxn ang="0">
                      <a:pos x="48" y="113"/>
                    </a:cxn>
                    <a:cxn ang="0">
                      <a:pos x="59" y="130"/>
                    </a:cxn>
                    <a:cxn ang="0">
                      <a:pos x="72" y="119"/>
                    </a:cxn>
                    <a:cxn ang="0">
                      <a:pos x="89" y="141"/>
                    </a:cxn>
                    <a:cxn ang="0">
                      <a:pos x="106" y="163"/>
                    </a:cxn>
                    <a:cxn ang="0">
                      <a:pos x="113" y="146"/>
                    </a:cxn>
                    <a:cxn ang="0">
                      <a:pos x="108" y="135"/>
                    </a:cxn>
                    <a:cxn ang="0">
                      <a:pos x="115" y="130"/>
                    </a:cxn>
                    <a:cxn ang="0">
                      <a:pos x="141" y="150"/>
                    </a:cxn>
                    <a:cxn ang="0">
                      <a:pos x="149" y="144"/>
                    </a:cxn>
                    <a:cxn ang="0">
                      <a:pos x="151" y="137"/>
                    </a:cxn>
                    <a:cxn ang="0">
                      <a:pos x="138" y="111"/>
                    </a:cxn>
                    <a:cxn ang="0">
                      <a:pos x="138" y="106"/>
                    </a:cxn>
                    <a:cxn ang="0">
                      <a:pos x="126" y="85"/>
                    </a:cxn>
                    <a:cxn ang="0">
                      <a:pos x="121" y="70"/>
                    </a:cxn>
                    <a:cxn ang="0">
                      <a:pos x="126" y="69"/>
                    </a:cxn>
                    <a:cxn ang="0">
                      <a:pos x="141" y="72"/>
                    </a:cxn>
                    <a:cxn ang="0">
                      <a:pos x="158" y="87"/>
                    </a:cxn>
                    <a:cxn ang="0">
                      <a:pos x="167" y="76"/>
                    </a:cxn>
                    <a:cxn ang="0">
                      <a:pos x="182" y="78"/>
                    </a:cxn>
                    <a:cxn ang="0">
                      <a:pos x="184" y="74"/>
                    </a:cxn>
                    <a:cxn ang="0">
                      <a:pos x="165" y="50"/>
                    </a:cxn>
                    <a:cxn ang="0">
                      <a:pos x="151" y="52"/>
                    </a:cxn>
                    <a:cxn ang="0">
                      <a:pos x="147" y="44"/>
                    </a:cxn>
                    <a:cxn ang="0">
                      <a:pos x="138" y="26"/>
                    </a:cxn>
                    <a:cxn ang="0">
                      <a:pos x="130" y="33"/>
                    </a:cxn>
                    <a:cxn ang="0">
                      <a:pos x="112" y="26"/>
                    </a:cxn>
                    <a:cxn ang="0">
                      <a:pos x="100" y="7"/>
                    </a:cxn>
                    <a:cxn ang="0">
                      <a:pos x="78" y="9"/>
                    </a:cxn>
                    <a:cxn ang="0">
                      <a:pos x="61" y="11"/>
                    </a:cxn>
                    <a:cxn ang="0">
                      <a:pos x="50" y="0"/>
                    </a:cxn>
                    <a:cxn ang="0">
                      <a:pos x="41" y="6"/>
                    </a:cxn>
                    <a:cxn ang="0">
                      <a:pos x="26" y="7"/>
                    </a:cxn>
                  </a:cxnLst>
                  <a:rect l="0" t="0" r="r" b="b"/>
                  <a:pathLst>
                    <a:path w="184" h="163">
                      <a:moveTo>
                        <a:pt x="26" y="7"/>
                      </a:moveTo>
                      <a:lnTo>
                        <a:pt x="17" y="11"/>
                      </a:lnTo>
                      <a:lnTo>
                        <a:pt x="20" y="20"/>
                      </a:lnTo>
                      <a:lnTo>
                        <a:pt x="11" y="31"/>
                      </a:lnTo>
                      <a:lnTo>
                        <a:pt x="4" y="30"/>
                      </a:lnTo>
                      <a:lnTo>
                        <a:pt x="0" y="35"/>
                      </a:lnTo>
                      <a:lnTo>
                        <a:pt x="2" y="46"/>
                      </a:lnTo>
                      <a:lnTo>
                        <a:pt x="32" y="57"/>
                      </a:lnTo>
                      <a:lnTo>
                        <a:pt x="39" y="82"/>
                      </a:lnTo>
                      <a:lnTo>
                        <a:pt x="48" y="113"/>
                      </a:lnTo>
                      <a:lnTo>
                        <a:pt x="59" y="130"/>
                      </a:lnTo>
                      <a:lnTo>
                        <a:pt x="72" y="119"/>
                      </a:lnTo>
                      <a:lnTo>
                        <a:pt x="89" y="141"/>
                      </a:lnTo>
                      <a:lnTo>
                        <a:pt x="106" y="163"/>
                      </a:lnTo>
                      <a:lnTo>
                        <a:pt x="113" y="146"/>
                      </a:lnTo>
                      <a:lnTo>
                        <a:pt x="108" y="135"/>
                      </a:lnTo>
                      <a:lnTo>
                        <a:pt x="115" y="130"/>
                      </a:lnTo>
                      <a:lnTo>
                        <a:pt x="141" y="150"/>
                      </a:lnTo>
                      <a:lnTo>
                        <a:pt x="149" y="144"/>
                      </a:lnTo>
                      <a:lnTo>
                        <a:pt x="151" y="137"/>
                      </a:lnTo>
                      <a:lnTo>
                        <a:pt x="138" y="111"/>
                      </a:lnTo>
                      <a:lnTo>
                        <a:pt x="138" y="106"/>
                      </a:lnTo>
                      <a:lnTo>
                        <a:pt x="126" y="85"/>
                      </a:lnTo>
                      <a:lnTo>
                        <a:pt x="121" y="70"/>
                      </a:lnTo>
                      <a:lnTo>
                        <a:pt x="126" y="69"/>
                      </a:lnTo>
                      <a:lnTo>
                        <a:pt x="141" y="72"/>
                      </a:lnTo>
                      <a:lnTo>
                        <a:pt x="158" y="87"/>
                      </a:lnTo>
                      <a:lnTo>
                        <a:pt x="167" y="76"/>
                      </a:lnTo>
                      <a:lnTo>
                        <a:pt x="182" y="78"/>
                      </a:lnTo>
                      <a:lnTo>
                        <a:pt x="184" y="74"/>
                      </a:lnTo>
                      <a:lnTo>
                        <a:pt x="165" y="50"/>
                      </a:lnTo>
                      <a:lnTo>
                        <a:pt x="151" y="52"/>
                      </a:lnTo>
                      <a:lnTo>
                        <a:pt x="147" y="44"/>
                      </a:lnTo>
                      <a:lnTo>
                        <a:pt x="138" y="26"/>
                      </a:lnTo>
                      <a:lnTo>
                        <a:pt x="130" y="33"/>
                      </a:lnTo>
                      <a:lnTo>
                        <a:pt x="112" y="26"/>
                      </a:lnTo>
                      <a:lnTo>
                        <a:pt x="100" y="7"/>
                      </a:lnTo>
                      <a:lnTo>
                        <a:pt x="78" y="9"/>
                      </a:lnTo>
                      <a:lnTo>
                        <a:pt x="61" y="11"/>
                      </a:lnTo>
                      <a:lnTo>
                        <a:pt x="50" y="0"/>
                      </a:lnTo>
                      <a:lnTo>
                        <a:pt x="41" y="6"/>
                      </a:lnTo>
                      <a:lnTo>
                        <a:pt x="26" y="7"/>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43" name="Freeform 50"/>
                <p:cNvSpPr>
                  <a:spLocks/>
                </p:cNvSpPr>
                <p:nvPr>
                  <p:custDataLst>
                    <p:tags r:id="rId61"/>
                  </p:custDataLst>
                </p:nvPr>
              </p:nvSpPr>
              <p:spPr bwMode="auto">
                <a:xfrm>
                  <a:off x="2610" y="3109"/>
                  <a:ext cx="430" cy="386"/>
                </a:xfrm>
                <a:custGeom>
                  <a:avLst/>
                  <a:gdLst/>
                  <a:ahLst/>
                  <a:cxnLst>
                    <a:cxn ang="0">
                      <a:pos x="78" y="102"/>
                    </a:cxn>
                    <a:cxn ang="0">
                      <a:pos x="55" y="167"/>
                    </a:cxn>
                    <a:cxn ang="0">
                      <a:pos x="44" y="182"/>
                    </a:cxn>
                    <a:cxn ang="0">
                      <a:pos x="24" y="200"/>
                    </a:cxn>
                    <a:cxn ang="0">
                      <a:pos x="0" y="204"/>
                    </a:cxn>
                    <a:cxn ang="0">
                      <a:pos x="31" y="260"/>
                    </a:cxn>
                    <a:cxn ang="0">
                      <a:pos x="57" y="260"/>
                    </a:cxn>
                    <a:cxn ang="0">
                      <a:pos x="48" y="278"/>
                    </a:cxn>
                    <a:cxn ang="0">
                      <a:pos x="57" y="308"/>
                    </a:cxn>
                    <a:cxn ang="0">
                      <a:pos x="76" y="330"/>
                    </a:cxn>
                    <a:cxn ang="0">
                      <a:pos x="91" y="317"/>
                    </a:cxn>
                    <a:cxn ang="0">
                      <a:pos x="107" y="319"/>
                    </a:cxn>
                    <a:cxn ang="0">
                      <a:pos x="159" y="325"/>
                    </a:cxn>
                    <a:cxn ang="0">
                      <a:pos x="190" y="341"/>
                    </a:cxn>
                    <a:cxn ang="0">
                      <a:pos x="207" y="362"/>
                    </a:cxn>
                    <a:cxn ang="0">
                      <a:pos x="229" y="353"/>
                    </a:cxn>
                    <a:cxn ang="0">
                      <a:pos x="271" y="386"/>
                    </a:cxn>
                    <a:cxn ang="0">
                      <a:pos x="278" y="367"/>
                    </a:cxn>
                    <a:cxn ang="0">
                      <a:pos x="277" y="336"/>
                    </a:cxn>
                    <a:cxn ang="0">
                      <a:pos x="259" y="323"/>
                    </a:cxn>
                    <a:cxn ang="0">
                      <a:pos x="215" y="295"/>
                    </a:cxn>
                    <a:cxn ang="0">
                      <a:pos x="189" y="286"/>
                    </a:cxn>
                    <a:cxn ang="0">
                      <a:pos x="179" y="273"/>
                    </a:cxn>
                    <a:cxn ang="0">
                      <a:pos x="194" y="258"/>
                    </a:cxn>
                    <a:cxn ang="0">
                      <a:pos x="183" y="236"/>
                    </a:cxn>
                    <a:cxn ang="0">
                      <a:pos x="202" y="245"/>
                    </a:cxn>
                    <a:cxn ang="0">
                      <a:pos x="215" y="238"/>
                    </a:cxn>
                    <a:cxn ang="0">
                      <a:pos x="190" y="202"/>
                    </a:cxn>
                    <a:cxn ang="0">
                      <a:pos x="170" y="160"/>
                    </a:cxn>
                    <a:cxn ang="0">
                      <a:pos x="165" y="134"/>
                    </a:cxn>
                    <a:cxn ang="0">
                      <a:pos x="176" y="117"/>
                    </a:cxn>
                    <a:cxn ang="0">
                      <a:pos x="185" y="139"/>
                    </a:cxn>
                    <a:cxn ang="0">
                      <a:pos x="190" y="147"/>
                    </a:cxn>
                    <a:cxn ang="0">
                      <a:pos x="227" y="176"/>
                    </a:cxn>
                    <a:cxn ang="0">
                      <a:pos x="231" y="156"/>
                    </a:cxn>
                    <a:cxn ang="0">
                      <a:pos x="257" y="176"/>
                    </a:cxn>
                    <a:cxn ang="0">
                      <a:pos x="246" y="152"/>
                    </a:cxn>
                    <a:cxn ang="0">
                      <a:pos x="257" y="141"/>
                    </a:cxn>
                    <a:cxn ang="0">
                      <a:pos x="288" y="148"/>
                    </a:cxn>
                    <a:cxn ang="0">
                      <a:pos x="275" y="130"/>
                    </a:cxn>
                    <a:cxn ang="0">
                      <a:pos x="246" y="113"/>
                    </a:cxn>
                    <a:cxn ang="0">
                      <a:pos x="248" y="98"/>
                    </a:cxn>
                    <a:cxn ang="0">
                      <a:pos x="299" y="87"/>
                    </a:cxn>
                    <a:cxn ang="0">
                      <a:pos x="350" y="82"/>
                    </a:cxn>
                    <a:cxn ang="0">
                      <a:pos x="378" y="87"/>
                    </a:cxn>
                    <a:cxn ang="0">
                      <a:pos x="406" y="76"/>
                    </a:cxn>
                    <a:cxn ang="0">
                      <a:pos x="428" y="48"/>
                    </a:cxn>
                    <a:cxn ang="0">
                      <a:pos x="428" y="6"/>
                    </a:cxn>
                    <a:cxn ang="0">
                      <a:pos x="408" y="0"/>
                    </a:cxn>
                    <a:cxn ang="0">
                      <a:pos x="402" y="20"/>
                    </a:cxn>
                    <a:cxn ang="0">
                      <a:pos x="389" y="35"/>
                    </a:cxn>
                    <a:cxn ang="0">
                      <a:pos x="371" y="45"/>
                    </a:cxn>
                    <a:cxn ang="0">
                      <a:pos x="338" y="33"/>
                    </a:cxn>
                    <a:cxn ang="0">
                      <a:pos x="306" y="20"/>
                    </a:cxn>
                    <a:cxn ang="0">
                      <a:pos x="271" y="45"/>
                    </a:cxn>
                    <a:cxn ang="0">
                      <a:pos x="231" y="56"/>
                    </a:cxn>
                    <a:cxn ang="0">
                      <a:pos x="202" y="61"/>
                    </a:cxn>
                    <a:cxn ang="0">
                      <a:pos x="183" y="78"/>
                    </a:cxn>
                    <a:cxn ang="0">
                      <a:pos x="153" y="82"/>
                    </a:cxn>
                    <a:cxn ang="0">
                      <a:pos x="126" y="97"/>
                    </a:cxn>
                    <a:cxn ang="0">
                      <a:pos x="98" y="97"/>
                    </a:cxn>
                  </a:cxnLst>
                  <a:rect l="0" t="0" r="r" b="b"/>
                  <a:pathLst>
                    <a:path w="430" h="386">
                      <a:moveTo>
                        <a:pt x="87" y="95"/>
                      </a:moveTo>
                      <a:lnTo>
                        <a:pt x="78" y="102"/>
                      </a:lnTo>
                      <a:lnTo>
                        <a:pt x="68" y="135"/>
                      </a:lnTo>
                      <a:lnTo>
                        <a:pt x="55" y="167"/>
                      </a:lnTo>
                      <a:lnTo>
                        <a:pt x="50" y="171"/>
                      </a:lnTo>
                      <a:lnTo>
                        <a:pt x="44" y="182"/>
                      </a:lnTo>
                      <a:lnTo>
                        <a:pt x="37" y="193"/>
                      </a:lnTo>
                      <a:lnTo>
                        <a:pt x="24" y="200"/>
                      </a:lnTo>
                      <a:lnTo>
                        <a:pt x="13" y="204"/>
                      </a:lnTo>
                      <a:lnTo>
                        <a:pt x="0" y="204"/>
                      </a:lnTo>
                      <a:lnTo>
                        <a:pt x="17" y="241"/>
                      </a:lnTo>
                      <a:lnTo>
                        <a:pt x="31" y="260"/>
                      </a:lnTo>
                      <a:lnTo>
                        <a:pt x="44" y="260"/>
                      </a:lnTo>
                      <a:lnTo>
                        <a:pt x="57" y="260"/>
                      </a:lnTo>
                      <a:lnTo>
                        <a:pt x="61" y="269"/>
                      </a:lnTo>
                      <a:lnTo>
                        <a:pt x="48" y="278"/>
                      </a:lnTo>
                      <a:lnTo>
                        <a:pt x="48" y="290"/>
                      </a:lnTo>
                      <a:lnTo>
                        <a:pt x="57" y="308"/>
                      </a:lnTo>
                      <a:lnTo>
                        <a:pt x="68" y="323"/>
                      </a:lnTo>
                      <a:lnTo>
                        <a:pt x="76" y="330"/>
                      </a:lnTo>
                      <a:lnTo>
                        <a:pt x="80" y="319"/>
                      </a:lnTo>
                      <a:lnTo>
                        <a:pt x="91" y="317"/>
                      </a:lnTo>
                      <a:lnTo>
                        <a:pt x="104" y="328"/>
                      </a:lnTo>
                      <a:lnTo>
                        <a:pt x="107" y="319"/>
                      </a:lnTo>
                      <a:lnTo>
                        <a:pt x="128" y="321"/>
                      </a:lnTo>
                      <a:lnTo>
                        <a:pt x="159" y="325"/>
                      </a:lnTo>
                      <a:lnTo>
                        <a:pt x="181" y="332"/>
                      </a:lnTo>
                      <a:lnTo>
                        <a:pt x="190" y="341"/>
                      </a:lnTo>
                      <a:lnTo>
                        <a:pt x="200" y="354"/>
                      </a:lnTo>
                      <a:lnTo>
                        <a:pt x="207" y="362"/>
                      </a:lnTo>
                      <a:lnTo>
                        <a:pt x="216" y="354"/>
                      </a:lnTo>
                      <a:lnTo>
                        <a:pt x="229" y="353"/>
                      </a:lnTo>
                      <a:lnTo>
                        <a:pt x="248" y="366"/>
                      </a:lnTo>
                      <a:lnTo>
                        <a:pt x="271" y="386"/>
                      </a:lnTo>
                      <a:lnTo>
                        <a:pt x="277" y="382"/>
                      </a:lnTo>
                      <a:lnTo>
                        <a:pt x="278" y="367"/>
                      </a:lnTo>
                      <a:lnTo>
                        <a:pt x="278" y="351"/>
                      </a:lnTo>
                      <a:lnTo>
                        <a:pt x="277" y="336"/>
                      </a:lnTo>
                      <a:lnTo>
                        <a:pt x="266" y="319"/>
                      </a:lnTo>
                      <a:lnTo>
                        <a:pt x="259" y="323"/>
                      </a:lnTo>
                      <a:lnTo>
                        <a:pt x="242" y="315"/>
                      </a:lnTo>
                      <a:lnTo>
                        <a:pt x="215" y="295"/>
                      </a:lnTo>
                      <a:lnTo>
                        <a:pt x="207" y="288"/>
                      </a:lnTo>
                      <a:lnTo>
                        <a:pt x="189" y="286"/>
                      </a:lnTo>
                      <a:lnTo>
                        <a:pt x="179" y="280"/>
                      </a:lnTo>
                      <a:lnTo>
                        <a:pt x="179" y="273"/>
                      </a:lnTo>
                      <a:lnTo>
                        <a:pt x="190" y="262"/>
                      </a:lnTo>
                      <a:lnTo>
                        <a:pt x="194" y="258"/>
                      </a:lnTo>
                      <a:lnTo>
                        <a:pt x="187" y="249"/>
                      </a:lnTo>
                      <a:lnTo>
                        <a:pt x="183" y="236"/>
                      </a:lnTo>
                      <a:lnTo>
                        <a:pt x="187" y="230"/>
                      </a:lnTo>
                      <a:lnTo>
                        <a:pt x="202" y="245"/>
                      </a:lnTo>
                      <a:lnTo>
                        <a:pt x="215" y="251"/>
                      </a:lnTo>
                      <a:lnTo>
                        <a:pt x="215" y="238"/>
                      </a:lnTo>
                      <a:lnTo>
                        <a:pt x="207" y="223"/>
                      </a:lnTo>
                      <a:lnTo>
                        <a:pt x="190" y="202"/>
                      </a:lnTo>
                      <a:lnTo>
                        <a:pt x="172" y="174"/>
                      </a:lnTo>
                      <a:lnTo>
                        <a:pt x="170" y="160"/>
                      </a:lnTo>
                      <a:lnTo>
                        <a:pt x="168" y="147"/>
                      </a:lnTo>
                      <a:lnTo>
                        <a:pt x="165" y="134"/>
                      </a:lnTo>
                      <a:lnTo>
                        <a:pt x="163" y="121"/>
                      </a:lnTo>
                      <a:lnTo>
                        <a:pt x="176" y="117"/>
                      </a:lnTo>
                      <a:lnTo>
                        <a:pt x="174" y="126"/>
                      </a:lnTo>
                      <a:lnTo>
                        <a:pt x="185" y="139"/>
                      </a:lnTo>
                      <a:lnTo>
                        <a:pt x="192" y="139"/>
                      </a:lnTo>
                      <a:lnTo>
                        <a:pt x="190" y="147"/>
                      </a:lnTo>
                      <a:lnTo>
                        <a:pt x="226" y="182"/>
                      </a:lnTo>
                      <a:lnTo>
                        <a:pt x="227" y="176"/>
                      </a:lnTo>
                      <a:lnTo>
                        <a:pt x="220" y="160"/>
                      </a:lnTo>
                      <a:lnTo>
                        <a:pt x="231" y="156"/>
                      </a:lnTo>
                      <a:lnTo>
                        <a:pt x="248" y="163"/>
                      </a:lnTo>
                      <a:lnTo>
                        <a:pt x="257" y="176"/>
                      </a:lnTo>
                      <a:lnTo>
                        <a:pt x="259" y="167"/>
                      </a:lnTo>
                      <a:lnTo>
                        <a:pt x="246" y="152"/>
                      </a:lnTo>
                      <a:lnTo>
                        <a:pt x="248" y="145"/>
                      </a:lnTo>
                      <a:lnTo>
                        <a:pt x="257" y="141"/>
                      </a:lnTo>
                      <a:lnTo>
                        <a:pt x="282" y="152"/>
                      </a:lnTo>
                      <a:lnTo>
                        <a:pt x="288" y="148"/>
                      </a:lnTo>
                      <a:lnTo>
                        <a:pt x="286" y="137"/>
                      </a:lnTo>
                      <a:lnTo>
                        <a:pt x="275" y="130"/>
                      </a:lnTo>
                      <a:lnTo>
                        <a:pt x="257" y="122"/>
                      </a:lnTo>
                      <a:lnTo>
                        <a:pt x="246" y="113"/>
                      </a:lnTo>
                      <a:lnTo>
                        <a:pt x="244" y="106"/>
                      </a:lnTo>
                      <a:lnTo>
                        <a:pt x="248" y="98"/>
                      </a:lnTo>
                      <a:lnTo>
                        <a:pt x="273" y="95"/>
                      </a:lnTo>
                      <a:lnTo>
                        <a:pt x="299" y="87"/>
                      </a:lnTo>
                      <a:lnTo>
                        <a:pt x="317" y="89"/>
                      </a:lnTo>
                      <a:lnTo>
                        <a:pt x="350" y="82"/>
                      </a:lnTo>
                      <a:lnTo>
                        <a:pt x="356" y="78"/>
                      </a:lnTo>
                      <a:lnTo>
                        <a:pt x="378" y="87"/>
                      </a:lnTo>
                      <a:lnTo>
                        <a:pt x="397" y="97"/>
                      </a:lnTo>
                      <a:lnTo>
                        <a:pt x="406" y="76"/>
                      </a:lnTo>
                      <a:lnTo>
                        <a:pt x="423" y="54"/>
                      </a:lnTo>
                      <a:lnTo>
                        <a:pt x="428" y="48"/>
                      </a:lnTo>
                      <a:lnTo>
                        <a:pt x="430" y="9"/>
                      </a:lnTo>
                      <a:lnTo>
                        <a:pt x="428" y="6"/>
                      </a:lnTo>
                      <a:lnTo>
                        <a:pt x="419" y="0"/>
                      </a:lnTo>
                      <a:lnTo>
                        <a:pt x="408" y="0"/>
                      </a:lnTo>
                      <a:lnTo>
                        <a:pt x="402" y="6"/>
                      </a:lnTo>
                      <a:lnTo>
                        <a:pt x="402" y="20"/>
                      </a:lnTo>
                      <a:lnTo>
                        <a:pt x="404" y="32"/>
                      </a:lnTo>
                      <a:lnTo>
                        <a:pt x="389" y="35"/>
                      </a:lnTo>
                      <a:lnTo>
                        <a:pt x="378" y="43"/>
                      </a:lnTo>
                      <a:lnTo>
                        <a:pt x="371" y="45"/>
                      </a:lnTo>
                      <a:lnTo>
                        <a:pt x="347" y="39"/>
                      </a:lnTo>
                      <a:lnTo>
                        <a:pt x="338" y="33"/>
                      </a:lnTo>
                      <a:lnTo>
                        <a:pt x="325" y="41"/>
                      </a:lnTo>
                      <a:lnTo>
                        <a:pt x="306" y="20"/>
                      </a:lnTo>
                      <a:lnTo>
                        <a:pt x="286" y="35"/>
                      </a:lnTo>
                      <a:lnTo>
                        <a:pt x="271" y="45"/>
                      </a:lnTo>
                      <a:lnTo>
                        <a:pt x="255" y="52"/>
                      </a:lnTo>
                      <a:lnTo>
                        <a:pt x="231" y="56"/>
                      </a:lnTo>
                      <a:lnTo>
                        <a:pt x="215" y="61"/>
                      </a:lnTo>
                      <a:lnTo>
                        <a:pt x="202" y="61"/>
                      </a:lnTo>
                      <a:lnTo>
                        <a:pt x="196" y="63"/>
                      </a:lnTo>
                      <a:lnTo>
                        <a:pt x="183" y="78"/>
                      </a:lnTo>
                      <a:lnTo>
                        <a:pt x="172" y="78"/>
                      </a:lnTo>
                      <a:lnTo>
                        <a:pt x="153" y="82"/>
                      </a:lnTo>
                      <a:lnTo>
                        <a:pt x="135" y="80"/>
                      </a:lnTo>
                      <a:lnTo>
                        <a:pt x="126" y="97"/>
                      </a:lnTo>
                      <a:lnTo>
                        <a:pt x="111" y="98"/>
                      </a:lnTo>
                      <a:lnTo>
                        <a:pt x="98" y="97"/>
                      </a:lnTo>
                      <a:lnTo>
                        <a:pt x="87" y="95"/>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44" name="Freeform 51"/>
                <p:cNvSpPr>
                  <a:spLocks/>
                </p:cNvSpPr>
                <p:nvPr>
                  <p:custDataLst>
                    <p:tags r:id="rId62"/>
                  </p:custDataLst>
                </p:nvPr>
              </p:nvSpPr>
              <p:spPr bwMode="auto">
                <a:xfrm>
                  <a:off x="2824" y="3374"/>
                  <a:ext cx="107" cy="87"/>
                </a:xfrm>
                <a:custGeom>
                  <a:avLst/>
                  <a:gdLst/>
                  <a:ahLst/>
                  <a:cxnLst>
                    <a:cxn ang="0">
                      <a:pos x="9" y="0"/>
                    </a:cxn>
                    <a:cxn ang="0">
                      <a:pos x="0" y="7"/>
                    </a:cxn>
                    <a:cxn ang="0">
                      <a:pos x="11" y="26"/>
                    </a:cxn>
                    <a:cxn ang="0">
                      <a:pos x="24" y="30"/>
                    </a:cxn>
                    <a:cxn ang="0">
                      <a:pos x="39" y="46"/>
                    </a:cxn>
                    <a:cxn ang="0">
                      <a:pos x="52" y="54"/>
                    </a:cxn>
                    <a:cxn ang="0">
                      <a:pos x="74" y="70"/>
                    </a:cxn>
                    <a:cxn ang="0">
                      <a:pos x="87" y="76"/>
                    </a:cxn>
                    <a:cxn ang="0">
                      <a:pos x="103" y="87"/>
                    </a:cxn>
                    <a:cxn ang="0">
                      <a:pos x="107" y="81"/>
                    </a:cxn>
                    <a:cxn ang="0">
                      <a:pos x="74" y="56"/>
                    </a:cxn>
                    <a:cxn ang="0">
                      <a:pos x="72" y="44"/>
                    </a:cxn>
                    <a:cxn ang="0">
                      <a:pos x="68" y="33"/>
                    </a:cxn>
                    <a:cxn ang="0">
                      <a:pos x="54" y="20"/>
                    </a:cxn>
                    <a:cxn ang="0">
                      <a:pos x="50" y="22"/>
                    </a:cxn>
                    <a:cxn ang="0">
                      <a:pos x="32" y="9"/>
                    </a:cxn>
                    <a:cxn ang="0">
                      <a:pos x="22" y="4"/>
                    </a:cxn>
                    <a:cxn ang="0">
                      <a:pos x="9" y="0"/>
                    </a:cxn>
                  </a:cxnLst>
                  <a:rect l="0" t="0" r="r" b="b"/>
                  <a:pathLst>
                    <a:path w="107" h="87">
                      <a:moveTo>
                        <a:pt x="9" y="0"/>
                      </a:moveTo>
                      <a:lnTo>
                        <a:pt x="0" y="7"/>
                      </a:lnTo>
                      <a:lnTo>
                        <a:pt x="11" y="26"/>
                      </a:lnTo>
                      <a:lnTo>
                        <a:pt x="24" y="30"/>
                      </a:lnTo>
                      <a:lnTo>
                        <a:pt x="39" y="46"/>
                      </a:lnTo>
                      <a:lnTo>
                        <a:pt x="52" y="54"/>
                      </a:lnTo>
                      <a:lnTo>
                        <a:pt x="74" y="70"/>
                      </a:lnTo>
                      <a:lnTo>
                        <a:pt x="87" y="76"/>
                      </a:lnTo>
                      <a:lnTo>
                        <a:pt x="103" y="87"/>
                      </a:lnTo>
                      <a:lnTo>
                        <a:pt x="107" y="81"/>
                      </a:lnTo>
                      <a:lnTo>
                        <a:pt x="74" y="56"/>
                      </a:lnTo>
                      <a:lnTo>
                        <a:pt x="72" y="44"/>
                      </a:lnTo>
                      <a:lnTo>
                        <a:pt x="68" y="33"/>
                      </a:lnTo>
                      <a:lnTo>
                        <a:pt x="54" y="20"/>
                      </a:lnTo>
                      <a:lnTo>
                        <a:pt x="50" y="22"/>
                      </a:lnTo>
                      <a:lnTo>
                        <a:pt x="32" y="9"/>
                      </a:lnTo>
                      <a:lnTo>
                        <a:pt x="22" y="4"/>
                      </a:lnTo>
                      <a:lnTo>
                        <a:pt x="9"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45" name="Freeform 52"/>
                <p:cNvSpPr>
                  <a:spLocks/>
                </p:cNvSpPr>
                <p:nvPr>
                  <p:custDataLst>
                    <p:tags r:id="rId63"/>
                  </p:custDataLst>
                </p:nvPr>
              </p:nvSpPr>
              <p:spPr bwMode="auto">
                <a:xfrm>
                  <a:off x="2858" y="3666"/>
                  <a:ext cx="201" cy="54"/>
                </a:xfrm>
                <a:custGeom>
                  <a:avLst/>
                  <a:gdLst/>
                  <a:ahLst/>
                  <a:cxnLst>
                    <a:cxn ang="0">
                      <a:pos x="42" y="11"/>
                    </a:cxn>
                    <a:cxn ang="0">
                      <a:pos x="57" y="4"/>
                    </a:cxn>
                    <a:cxn ang="0">
                      <a:pos x="64" y="11"/>
                    </a:cxn>
                    <a:cxn ang="0">
                      <a:pos x="70" y="13"/>
                    </a:cxn>
                    <a:cxn ang="0">
                      <a:pos x="81" y="7"/>
                    </a:cxn>
                    <a:cxn ang="0">
                      <a:pos x="88" y="4"/>
                    </a:cxn>
                    <a:cxn ang="0">
                      <a:pos x="120" y="7"/>
                    </a:cxn>
                    <a:cxn ang="0">
                      <a:pos x="151" y="6"/>
                    </a:cxn>
                    <a:cxn ang="0">
                      <a:pos x="160" y="15"/>
                    </a:cxn>
                    <a:cxn ang="0">
                      <a:pos x="160" y="20"/>
                    </a:cxn>
                    <a:cxn ang="0">
                      <a:pos x="182" y="17"/>
                    </a:cxn>
                    <a:cxn ang="0">
                      <a:pos x="194" y="19"/>
                    </a:cxn>
                    <a:cxn ang="0">
                      <a:pos x="201" y="26"/>
                    </a:cxn>
                    <a:cxn ang="0">
                      <a:pos x="194" y="35"/>
                    </a:cxn>
                    <a:cxn ang="0">
                      <a:pos x="175" y="34"/>
                    </a:cxn>
                    <a:cxn ang="0">
                      <a:pos x="162" y="41"/>
                    </a:cxn>
                    <a:cxn ang="0">
                      <a:pos x="140" y="41"/>
                    </a:cxn>
                    <a:cxn ang="0">
                      <a:pos x="118" y="50"/>
                    </a:cxn>
                    <a:cxn ang="0">
                      <a:pos x="99" y="54"/>
                    </a:cxn>
                    <a:cxn ang="0">
                      <a:pos x="84" y="45"/>
                    </a:cxn>
                    <a:cxn ang="0">
                      <a:pos x="64" y="34"/>
                    </a:cxn>
                    <a:cxn ang="0">
                      <a:pos x="44" y="34"/>
                    </a:cxn>
                    <a:cxn ang="0">
                      <a:pos x="17" y="28"/>
                    </a:cxn>
                    <a:cxn ang="0">
                      <a:pos x="7" y="20"/>
                    </a:cxn>
                    <a:cxn ang="0">
                      <a:pos x="0" y="6"/>
                    </a:cxn>
                    <a:cxn ang="0">
                      <a:pos x="4" y="0"/>
                    </a:cxn>
                    <a:cxn ang="0">
                      <a:pos x="27" y="4"/>
                    </a:cxn>
                    <a:cxn ang="0">
                      <a:pos x="42" y="11"/>
                    </a:cxn>
                  </a:cxnLst>
                  <a:rect l="0" t="0" r="r" b="b"/>
                  <a:pathLst>
                    <a:path w="201" h="54">
                      <a:moveTo>
                        <a:pt x="42" y="11"/>
                      </a:moveTo>
                      <a:lnTo>
                        <a:pt x="57" y="4"/>
                      </a:lnTo>
                      <a:lnTo>
                        <a:pt x="64" y="11"/>
                      </a:lnTo>
                      <a:lnTo>
                        <a:pt x="70" y="13"/>
                      </a:lnTo>
                      <a:lnTo>
                        <a:pt x="81" y="7"/>
                      </a:lnTo>
                      <a:lnTo>
                        <a:pt x="88" y="4"/>
                      </a:lnTo>
                      <a:lnTo>
                        <a:pt x="120" y="7"/>
                      </a:lnTo>
                      <a:lnTo>
                        <a:pt x="151" y="6"/>
                      </a:lnTo>
                      <a:lnTo>
                        <a:pt x="160" y="15"/>
                      </a:lnTo>
                      <a:lnTo>
                        <a:pt x="160" y="20"/>
                      </a:lnTo>
                      <a:lnTo>
                        <a:pt x="182" y="17"/>
                      </a:lnTo>
                      <a:lnTo>
                        <a:pt x="194" y="19"/>
                      </a:lnTo>
                      <a:lnTo>
                        <a:pt x="201" y="26"/>
                      </a:lnTo>
                      <a:lnTo>
                        <a:pt x="194" y="35"/>
                      </a:lnTo>
                      <a:lnTo>
                        <a:pt x="175" y="34"/>
                      </a:lnTo>
                      <a:lnTo>
                        <a:pt x="162" y="41"/>
                      </a:lnTo>
                      <a:lnTo>
                        <a:pt x="140" y="41"/>
                      </a:lnTo>
                      <a:lnTo>
                        <a:pt x="118" y="50"/>
                      </a:lnTo>
                      <a:lnTo>
                        <a:pt x="99" y="54"/>
                      </a:lnTo>
                      <a:lnTo>
                        <a:pt x="84" y="45"/>
                      </a:lnTo>
                      <a:lnTo>
                        <a:pt x="64" y="34"/>
                      </a:lnTo>
                      <a:lnTo>
                        <a:pt x="44" y="34"/>
                      </a:lnTo>
                      <a:lnTo>
                        <a:pt x="17" y="28"/>
                      </a:lnTo>
                      <a:lnTo>
                        <a:pt x="7" y="20"/>
                      </a:lnTo>
                      <a:lnTo>
                        <a:pt x="0" y="6"/>
                      </a:lnTo>
                      <a:lnTo>
                        <a:pt x="4" y="0"/>
                      </a:lnTo>
                      <a:lnTo>
                        <a:pt x="27" y="4"/>
                      </a:lnTo>
                      <a:lnTo>
                        <a:pt x="42" y="11"/>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46" name="Freeform 53"/>
                <p:cNvSpPr>
                  <a:spLocks/>
                </p:cNvSpPr>
                <p:nvPr>
                  <p:custDataLst>
                    <p:tags r:id="rId64"/>
                  </p:custDataLst>
                </p:nvPr>
              </p:nvSpPr>
              <p:spPr bwMode="auto">
                <a:xfrm>
                  <a:off x="2944" y="3271"/>
                  <a:ext cx="30" cy="28"/>
                </a:xfrm>
                <a:custGeom>
                  <a:avLst/>
                  <a:gdLst/>
                  <a:ahLst/>
                  <a:cxnLst>
                    <a:cxn ang="0">
                      <a:pos x="30" y="0"/>
                    </a:cxn>
                    <a:cxn ang="0">
                      <a:pos x="11" y="0"/>
                    </a:cxn>
                    <a:cxn ang="0">
                      <a:pos x="2" y="6"/>
                    </a:cxn>
                    <a:cxn ang="0">
                      <a:pos x="0" y="15"/>
                    </a:cxn>
                    <a:cxn ang="0">
                      <a:pos x="0" y="26"/>
                    </a:cxn>
                    <a:cxn ang="0">
                      <a:pos x="9" y="28"/>
                    </a:cxn>
                    <a:cxn ang="0">
                      <a:pos x="26" y="17"/>
                    </a:cxn>
                    <a:cxn ang="0">
                      <a:pos x="30" y="0"/>
                    </a:cxn>
                  </a:cxnLst>
                  <a:rect l="0" t="0" r="r" b="b"/>
                  <a:pathLst>
                    <a:path w="30" h="28">
                      <a:moveTo>
                        <a:pt x="30" y="0"/>
                      </a:moveTo>
                      <a:lnTo>
                        <a:pt x="11" y="0"/>
                      </a:lnTo>
                      <a:lnTo>
                        <a:pt x="2" y="6"/>
                      </a:lnTo>
                      <a:lnTo>
                        <a:pt x="0" y="15"/>
                      </a:lnTo>
                      <a:lnTo>
                        <a:pt x="0" y="26"/>
                      </a:lnTo>
                      <a:lnTo>
                        <a:pt x="9" y="28"/>
                      </a:lnTo>
                      <a:lnTo>
                        <a:pt x="26" y="17"/>
                      </a:lnTo>
                      <a:lnTo>
                        <a:pt x="30"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47" name="Freeform 54"/>
                <p:cNvSpPr>
                  <a:spLocks/>
                </p:cNvSpPr>
                <p:nvPr>
                  <p:custDataLst>
                    <p:tags r:id="rId65"/>
                  </p:custDataLst>
                </p:nvPr>
              </p:nvSpPr>
              <p:spPr bwMode="auto">
                <a:xfrm>
                  <a:off x="3148" y="3534"/>
                  <a:ext cx="41" cy="22"/>
                </a:xfrm>
                <a:custGeom>
                  <a:avLst/>
                  <a:gdLst/>
                  <a:ahLst/>
                  <a:cxnLst>
                    <a:cxn ang="0">
                      <a:pos x="41" y="6"/>
                    </a:cxn>
                    <a:cxn ang="0">
                      <a:pos x="22" y="22"/>
                    </a:cxn>
                    <a:cxn ang="0">
                      <a:pos x="9" y="22"/>
                    </a:cxn>
                    <a:cxn ang="0">
                      <a:pos x="0" y="15"/>
                    </a:cxn>
                    <a:cxn ang="0">
                      <a:pos x="6" y="2"/>
                    </a:cxn>
                    <a:cxn ang="0">
                      <a:pos x="26" y="0"/>
                    </a:cxn>
                    <a:cxn ang="0">
                      <a:pos x="41" y="6"/>
                    </a:cxn>
                  </a:cxnLst>
                  <a:rect l="0" t="0" r="r" b="b"/>
                  <a:pathLst>
                    <a:path w="41" h="22">
                      <a:moveTo>
                        <a:pt x="41" y="6"/>
                      </a:moveTo>
                      <a:lnTo>
                        <a:pt x="22" y="22"/>
                      </a:lnTo>
                      <a:lnTo>
                        <a:pt x="9" y="22"/>
                      </a:lnTo>
                      <a:lnTo>
                        <a:pt x="0" y="15"/>
                      </a:lnTo>
                      <a:lnTo>
                        <a:pt x="6" y="2"/>
                      </a:lnTo>
                      <a:lnTo>
                        <a:pt x="26" y="0"/>
                      </a:lnTo>
                      <a:lnTo>
                        <a:pt x="41" y="6"/>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48" name="Freeform 55"/>
                <p:cNvSpPr>
                  <a:spLocks/>
                </p:cNvSpPr>
                <p:nvPr>
                  <p:custDataLst>
                    <p:tags r:id="rId66"/>
                  </p:custDataLst>
                </p:nvPr>
              </p:nvSpPr>
              <p:spPr bwMode="auto">
                <a:xfrm>
                  <a:off x="3154" y="3584"/>
                  <a:ext cx="42" cy="34"/>
                </a:xfrm>
                <a:custGeom>
                  <a:avLst/>
                  <a:gdLst/>
                  <a:ahLst/>
                  <a:cxnLst>
                    <a:cxn ang="0">
                      <a:pos x="42" y="0"/>
                    </a:cxn>
                    <a:cxn ang="0">
                      <a:pos x="42" y="11"/>
                    </a:cxn>
                    <a:cxn ang="0">
                      <a:pos x="16" y="29"/>
                    </a:cxn>
                    <a:cxn ang="0">
                      <a:pos x="5" y="34"/>
                    </a:cxn>
                    <a:cxn ang="0">
                      <a:pos x="0" y="32"/>
                    </a:cxn>
                    <a:cxn ang="0">
                      <a:pos x="4" y="20"/>
                    </a:cxn>
                    <a:cxn ang="0">
                      <a:pos x="22" y="6"/>
                    </a:cxn>
                    <a:cxn ang="0">
                      <a:pos x="42" y="0"/>
                    </a:cxn>
                  </a:cxnLst>
                  <a:rect l="0" t="0" r="r" b="b"/>
                  <a:pathLst>
                    <a:path w="42" h="34">
                      <a:moveTo>
                        <a:pt x="42" y="0"/>
                      </a:moveTo>
                      <a:lnTo>
                        <a:pt x="42" y="11"/>
                      </a:lnTo>
                      <a:lnTo>
                        <a:pt x="16" y="29"/>
                      </a:lnTo>
                      <a:lnTo>
                        <a:pt x="5" y="34"/>
                      </a:lnTo>
                      <a:lnTo>
                        <a:pt x="0" y="32"/>
                      </a:lnTo>
                      <a:lnTo>
                        <a:pt x="4" y="20"/>
                      </a:lnTo>
                      <a:lnTo>
                        <a:pt x="22" y="6"/>
                      </a:lnTo>
                      <a:lnTo>
                        <a:pt x="42"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49" name="Freeform 56"/>
                <p:cNvSpPr>
                  <a:spLocks/>
                </p:cNvSpPr>
                <p:nvPr>
                  <p:custDataLst>
                    <p:tags r:id="rId67"/>
                  </p:custDataLst>
                </p:nvPr>
              </p:nvSpPr>
              <p:spPr bwMode="auto">
                <a:xfrm>
                  <a:off x="3000" y="3319"/>
                  <a:ext cx="52" cy="37"/>
                </a:xfrm>
                <a:custGeom>
                  <a:avLst/>
                  <a:gdLst/>
                  <a:ahLst/>
                  <a:cxnLst>
                    <a:cxn ang="0">
                      <a:pos x="28" y="0"/>
                    </a:cxn>
                    <a:cxn ang="0">
                      <a:pos x="52" y="26"/>
                    </a:cxn>
                    <a:cxn ang="0">
                      <a:pos x="48" y="33"/>
                    </a:cxn>
                    <a:cxn ang="0">
                      <a:pos x="35" y="37"/>
                    </a:cxn>
                    <a:cxn ang="0">
                      <a:pos x="33" y="28"/>
                    </a:cxn>
                    <a:cxn ang="0">
                      <a:pos x="28" y="24"/>
                    </a:cxn>
                    <a:cxn ang="0">
                      <a:pos x="20" y="28"/>
                    </a:cxn>
                    <a:cxn ang="0">
                      <a:pos x="11" y="22"/>
                    </a:cxn>
                    <a:cxn ang="0">
                      <a:pos x="7" y="17"/>
                    </a:cxn>
                    <a:cxn ang="0">
                      <a:pos x="13" y="13"/>
                    </a:cxn>
                    <a:cxn ang="0">
                      <a:pos x="2" y="19"/>
                    </a:cxn>
                    <a:cxn ang="0">
                      <a:pos x="0" y="13"/>
                    </a:cxn>
                    <a:cxn ang="0">
                      <a:pos x="15" y="7"/>
                    </a:cxn>
                    <a:cxn ang="0">
                      <a:pos x="28" y="0"/>
                    </a:cxn>
                  </a:cxnLst>
                  <a:rect l="0" t="0" r="r" b="b"/>
                  <a:pathLst>
                    <a:path w="52" h="37">
                      <a:moveTo>
                        <a:pt x="28" y="0"/>
                      </a:moveTo>
                      <a:lnTo>
                        <a:pt x="52" y="26"/>
                      </a:lnTo>
                      <a:lnTo>
                        <a:pt x="48" y="33"/>
                      </a:lnTo>
                      <a:lnTo>
                        <a:pt x="35" y="37"/>
                      </a:lnTo>
                      <a:lnTo>
                        <a:pt x="33" y="28"/>
                      </a:lnTo>
                      <a:lnTo>
                        <a:pt x="28" y="24"/>
                      </a:lnTo>
                      <a:lnTo>
                        <a:pt x="20" y="28"/>
                      </a:lnTo>
                      <a:lnTo>
                        <a:pt x="11" y="22"/>
                      </a:lnTo>
                      <a:lnTo>
                        <a:pt x="7" y="17"/>
                      </a:lnTo>
                      <a:lnTo>
                        <a:pt x="13" y="13"/>
                      </a:lnTo>
                      <a:lnTo>
                        <a:pt x="2" y="19"/>
                      </a:lnTo>
                      <a:lnTo>
                        <a:pt x="0" y="13"/>
                      </a:lnTo>
                      <a:lnTo>
                        <a:pt x="15" y="7"/>
                      </a:lnTo>
                      <a:lnTo>
                        <a:pt x="28"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grpSp>
            <p:nvGrpSpPr>
              <p:cNvPr id="300" name="Group 57"/>
              <p:cNvGrpSpPr>
                <a:grpSpLocks/>
              </p:cNvGrpSpPr>
              <p:nvPr/>
            </p:nvGrpSpPr>
            <p:grpSpPr bwMode="auto">
              <a:xfrm>
                <a:off x="1267774" y="4034214"/>
                <a:ext cx="1091910" cy="1296642"/>
                <a:chOff x="1150" y="2193"/>
                <a:chExt cx="764" cy="906"/>
              </a:xfrm>
              <a:solidFill>
                <a:schemeClr val="accent6"/>
              </a:solidFill>
            </p:grpSpPr>
            <p:sp>
              <p:nvSpPr>
                <p:cNvPr id="339" name="Freeform 58"/>
                <p:cNvSpPr>
                  <a:spLocks/>
                </p:cNvSpPr>
                <p:nvPr>
                  <p:custDataLst>
                    <p:tags r:id="rId57"/>
                  </p:custDataLst>
                </p:nvPr>
              </p:nvSpPr>
              <p:spPr bwMode="auto">
                <a:xfrm>
                  <a:off x="1846" y="2977"/>
                  <a:ext cx="68" cy="122"/>
                </a:xfrm>
                <a:custGeom>
                  <a:avLst/>
                  <a:gdLst/>
                  <a:ahLst/>
                  <a:cxnLst>
                    <a:cxn ang="0">
                      <a:pos x="68" y="0"/>
                    </a:cxn>
                    <a:cxn ang="0">
                      <a:pos x="46" y="26"/>
                    </a:cxn>
                    <a:cxn ang="0">
                      <a:pos x="20" y="26"/>
                    </a:cxn>
                    <a:cxn ang="0">
                      <a:pos x="0" y="41"/>
                    </a:cxn>
                    <a:cxn ang="0">
                      <a:pos x="4" y="62"/>
                    </a:cxn>
                    <a:cxn ang="0">
                      <a:pos x="4" y="96"/>
                    </a:cxn>
                    <a:cxn ang="0">
                      <a:pos x="20" y="122"/>
                    </a:cxn>
                    <a:cxn ang="0">
                      <a:pos x="38" y="115"/>
                    </a:cxn>
                    <a:cxn ang="0">
                      <a:pos x="42" y="100"/>
                    </a:cxn>
                    <a:cxn ang="0">
                      <a:pos x="61" y="66"/>
                    </a:cxn>
                    <a:cxn ang="0">
                      <a:pos x="61" y="48"/>
                    </a:cxn>
                    <a:cxn ang="0">
                      <a:pos x="68" y="0"/>
                    </a:cxn>
                  </a:cxnLst>
                  <a:rect l="0" t="0" r="r" b="b"/>
                  <a:pathLst>
                    <a:path w="68" h="122">
                      <a:moveTo>
                        <a:pt x="68" y="0"/>
                      </a:moveTo>
                      <a:lnTo>
                        <a:pt x="46" y="26"/>
                      </a:lnTo>
                      <a:lnTo>
                        <a:pt x="20" y="26"/>
                      </a:lnTo>
                      <a:lnTo>
                        <a:pt x="0" y="41"/>
                      </a:lnTo>
                      <a:lnTo>
                        <a:pt x="4" y="62"/>
                      </a:lnTo>
                      <a:lnTo>
                        <a:pt x="4" y="96"/>
                      </a:lnTo>
                      <a:lnTo>
                        <a:pt x="20" y="122"/>
                      </a:lnTo>
                      <a:lnTo>
                        <a:pt x="38" y="115"/>
                      </a:lnTo>
                      <a:lnTo>
                        <a:pt x="42" y="100"/>
                      </a:lnTo>
                      <a:lnTo>
                        <a:pt x="61" y="66"/>
                      </a:lnTo>
                      <a:lnTo>
                        <a:pt x="61" y="48"/>
                      </a:lnTo>
                      <a:lnTo>
                        <a:pt x="68"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40" name="Freeform 59"/>
                <p:cNvSpPr>
                  <a:spLocks/>
                </p:cNvSpPr>
                <p:nvPr>
                  <p:custDataLst>
                    <p:tags r:id="rId58"/>
                  </p:custDataLst>
                </p:nvPr>
              </p:nvSpPr>
              <p:spPr bwMode="auto">
                <a:xfrm>
                  <a:off x="1150" y="2193"/>
                  <a:ext cx="764" cy="746"/>
                </a:xfrm>
                <a:custGeom>
                  <a:avLst/>
                  <a:gdLst/>
                  <a:ahLst/>
                  <a:cxnLst>
                    <a:cxn ang="0">
                      <a:pos x="11" y="145"/>
                    </a:cxn>
                    <a:cxn ang="0">
                      <a:pos x="13" y="174"/>
                    </a:cxn>
                    <a:cxn ang="0">
                      <a:pos x="74" y="221"/>
                    </a:cxn>
                    <a:cxn ang="0">
                      <a:pos x="122" y="250"/>
                    </a:cxn>
                    <a:cxn ang="0">
                      <a:pos x="117" y="290"/>
                    </a:cxn>
                    <a:cxn ang="0">
                      <a:pos x="145" y="349"/>
                    </a:cxn>
                    <a:cxn ang="0">
                      <a:pos x="158" y="429"/>
                    </a:cxn>
                    <a:cxn ang="0">
                      <a:pos x="132" y="429"/>
                    </a:cxn>
                    <a:cxn ang="0">
                      <a:pos x="115" y="470"/>
                    </a:cxn>
                    <a:cxn ang="0">
                      <a:pos x="98" y="511"/>
                    </a:cxn>
                    <a:cxn ang="0">
                      <a:pos x="57" y="583"/>
                    </a:cxn>
                    <a:cxn ang="0">
                      <a:pos x="59" y="618"/>
                    </a:cxn>
                    <a:cxn ang="0">
                      <a:pos x="161" y="685"/>
                    </a:cxn>
                    <a:cxn ang="0">
                      <a:pos x="249" y="726"/>
                    </a:cxn>
                    <a:cxn ang="0">
                      <a:pos x="325" y="746"/>
                    </a:cxn>
                    <a:cxn ang="0">
                      <a:pos x="353" y="689"/>
                    </a:cxn>
                    <a:cxn ang="0">
                      <a:pos x="422" y="664"/>
                    </a:cxn>
                    <a:cxn ang="0">
                      <a:pos x="472" y="690"/>
                    </a:cxn>
                    <a:cxn ang="0">
                      <a:pos x="541" y="726"/>
                    </a:cxn>
                    <a:cxn ang="0">
                      <a:pos x="604" y="711"/>
                    </a:cxn>
                    <a:cxn ang="0">
                      <a:pos x="650" y="663"/>
                    </a:cxn>
                    <a:cxn ang="0">
                      <a:pos x="622" y="642"/>
                    </a:cxn>
                    <a:cxn ang="0">
                      <a:pos x="617" y="574"/>
                    </a:cxn>
                    <a:cxn ang="0">
                      <a:pos x="635" y="511"/>
                    </a:cxn>
                    <a:cxn ang="0">
                      <a:pos x="635" y="453"/>
                    </a:cxn>
                    <a:cxn ang="0">
                      <a:pos x="602" y="455"/>
                    </a:cxn>
                    <a:cxn ang="0">
                      <a:pos x="587" y="446"/>
                    </a:cxn>
                    <a:cxn ang="0">
                      <a:pos x="622" y="405"/>
                    </a:cxn>
                    <a:cxn ang="0">
                      <a:pos x="676" y="353"/>
                    </a:cxn>
                    <a:cxn ang="0">
                      <a:pos x="705" y="327"/>
                    </a:cxn>
                    <a:cxn ang="0">
                      <a:pos x="727" y="277"/>
                    </a:cxn>
                    <a:cxn ang="0">
                      <a:pos x="764" y="234"/>
                    </a:cxn>
                    <a:cxn ang="0">
                      <a:pos x="720" y="213"/>
                    </a:cxn>
                    <a:cxn ang="0">
                      <a:pos x="667" y="195"/>
                    </a:cxn>
                    <a:cxn ang="0">
                      <a:pos x="631" y="163"/>
                    </a:cxn>
                    <a:cxn ang="0">
                      <a:pos x="581" y="119"/>
                    </a:cxn>
                    <a:cxn ang="0">
                      <a:pos x="539" y="76"/>
                    </a:cxn>
                    <a:cxn ang="0">
                      <a:pos x="509" y="30"/>
                    </a:cxn>
                    <a:cxn ang="0">
                      <a:pos x="444" y="2"/>
                    </a:cxn>
                    <a:cxn ang="0">
                      <a:pos x="416" y="35"/>
                    </a:cxn>
                    <a:cxn ang="0">
                      <a:pos x="318" y="87"/>
                    </a:cxn>
                    <a:cxn ang="0">
                      <a:pos x="266" y="104"/>
                    </a:cxn>
                    <a:cxn ang="0">
                      <a:pos x="220" y="78"/>
                    </a:cxn>
                    <a:cxn ang="0">
                      <a:pos x="199" y="56"/>
                    </a:cxn>
                    <a:cxn ang="0">
                      <a:pos x="205" y="83"/>
                    </a:cxn>
                    <a:cxn ang="0">
                      <a:pos x="198" y="113"/>
                    </a:cxn>
                    <a:cxn ang="0">
                      <a:pos x="182" y="137"/>
                    </a:cxn>
                    <a:cxn ang="0">
                      <a:pos x="141" y="126"/>
                    </a:cxn>
                    <a:cxn ang="0">
                      <a:pos x="93" y="96"/>
                    </a:cxn>
                    <a:cxn ang="0">
                      <a:pos x="59" y="108"/>
                    </a:cxn>
                  </a:cxnLst>
                  <a:rect l="0" t="0" r="r" b="b"/>
                  <a:pathLst>
                    <a:path w="764" h="746">
                      <a:moveTo>
                        <a:pt x="13" y="106"/>
                      </a:moveTo>
                      <a:lnTo>
                        <a:pt x="20" y="124"/>
                      </a:lnTo>
                      <a:lnTo>
                        <a:pt x="13" y="139"/>
                      </a:lnTo>
                      <a:lnTo>
                        <a:pt x="11" y="145"/>
                      </a:lnTo>
                      <a:lnTo>
                        <a:pt x="0" y="141"/>
                      </a:lnTo>
                      <a:lnTo>
                        <a:pt x="4" y="150"/>
                      </a:lnTo>
                      <a:lnTo>
                        <a:pt x="4" y="159"/>
                      </a:lnTo>
                      <a:lnTo>
                        <a:pt x="13" y="174"/>
                      </a:lnTo>
                      <a:lnTo>
                        <a:pt x="30" y="169"/>
                      </a:lnTo>
                      <a:lnTo>
                        <a:pt x="52" y="193"/>
                      </a:lnTo>
                      <a:lnTo>
                        <a:pt x="61" y="209"/>
                      </a:lnTo>
                      <a:lnTo>
                        <a:pt x="74" y="221"/>
                      </a:lnTo>
                      <a:lnTo>
                        <a:pt x="91" y="221"/>
                      </a:lnTo>
                      <a:lnTo>
                        <a:pt x="98" y="235"/>
                      </a:lnTo>
                      <a:lnTo>
                        <a:pt x="113" y="248"/>
                      </a:lnTo>
                      <a:lnTo>
                        <a:pt x="122" y="250"/>
                      </a:lnTo>
                      <a:lnTo>
                        <a:pt x="124" y="256"/>
                      </a:lnTo>
                      <a:lnTo>
                        <a:pt x="119" y="268"/>
                      </a:lnTo>
                      <a:lnTo>
                        <a:pt x="119" y="279"/>
                      </a:lnTo>
                      <a:lnTo>
                        <a:pt x="117" y="290"/>
                      </a:lnTo>
                      <a:lnTo>
                        <a:pt x="113" y="309"/>
                      </a:lnTo>
                      <a:lnTo>
                        <a:pt x="128" y="327"/>
                      </a:lnTo>
                      <a:lnTo>
                        <a:pt x="145" y="340"/>
                      </a:lnTo>
                      <a:lnTo>
                        <a:pt x="145" y="349"/>
                      </a:lnTo>
                      <a:lnTo>
                        <a:pt x="143" y="381"/>
                      </a:lnTo>
                      <a:lnTo>
                        <a:pt x="139" y="407"/>
                      </a:lnTo>
                      <a:lnTo>
                        <a:pt x="143" y="418"/>
                      </a:lnTo>
                      <a:lnTo>
                        <a:pt x="158" y="429"/>
                      </a:lnTo>
                      <a:lnTo>
                        <a:pt x="158" y="451"/>
                      </a:lnTo>
                      <a:lnTo>
                        <a:pt x="158" y="466"/>
                      </a:lnTo>
                      <a:lnTo>
                        <a:pt x="141" y="444"/>
                      </a:lnTo>
                      <a:lnTo>
                        <a:pt x="132" y="429"/>
                      </a:lnTo>
                      <a:lnTo>
                        <a:pt x="126" y="433"/>
                      </a:lnTo>
                      <a:lnTo>
                        <a:pt x="130" y="444"/>
                      </a:lnTo>
                      <a:lnTo>
                        <a:pt x="124" y="457"/>
                      </a:lnTo>
                      <a:lnTo>
                        <a:pt x="115" y="470"/>
                      </a:lnTo>
                      <a:lnTo>
                        <a:pt x="109" y="479"/>
                      </a:lnTo>
                      <a:lnTo>
                        <a:pt x="117" y="488"/>
                      </a:lnTo>
                      <a:lnTo>
                        <a:pt x="111" y="498"/>
                      </a:lnTo>
                      <a:lnTo>
                        <a:pt x="98" y="511"/>
                      </a:lnTo>
                      <a:lnTo>
                        <a:pt x="96" y="522"/>
                      </a:lnTo>
                      <a:lnTo>
                        <a:pt x="89" y="535"/>
                      </a:lnTo>
                      <a:lnTo>
                        <a:pt x="69" y="559"/>
                      </a:lnTo>
                      <a:lnTo>
                        <a:pt x="57" y="583"/>
                      </a:lnTo>
                      <a:lnTo>
                        <a:pt x="57" y="587"/>
                      </a:lnTo>
                      <a:lnTo>
                        <a:pt x="63" y="594"/>
                      </a:lnTo>
                      <a:lnTo>
                        <a:pt x="56" y="605"/>
                      </a:lnTo>
                      <a:lnTo>
                        <a:pt x="59" y="618"/>
                      </a:lnTo>
                      <a:lnTo>
                        <a:pt x="70" y="635"/>
                      </a:lnTo>
                      <a:lnTo>
                        <a:pt x="117" y="661"/>
                      </a:lnTo>
                      <a:lnTo>
                        <a:pt x="150" y="689"/>
                      </a:lnTo>
                      <a:lnTo>
                        <a:pt x="161" y="685"/>
                      </a:lnTo>
                      <a:lnTo>
                        <a:pt x="178" y="679"/>
                      </a:lnTo>
                      <a:lnTo>
                        <a:pt x="236" y="703"/>
                      </a:lnTo>
                      <a:lnTo>
                        <a:pt x="244" y="711"/>
                      </a:lnTo>
                      <a:lnTo>
                        <a:pt x="249" y="726"/>
                      </a:lnTo>
                      <a:lnTo>
                        <a:pt x="259" y="731"/>
                      </a:lnTo>
                      <a:lnTo>
                        <a:pt x="272" y="733"/>
                      </a:lnTo>
                      <a:lnTo>
                        <a:pt x="292" y="744"/>
                      </a:lnTo>
                      <a:lnTo>
                        <a:pt x="325" y="746"/>
                      </a:lnTo>
                      <a:lnTo>
                        <a:pt x="335" y="733"/>
                      </a:lnTo>
                      <a:lnTo>
                        <a:pt x="338" y="718"/>
                      </a:lnTo>
                      <a:lnTo>
                        <a:pt x="338" y="702"/>
                      </a:lnTo>
                      <a:lnTo>
                        <a:pt x="353" y="689"/>
                      </a:lnTo>
                      <a:lnTo>
                        <a:pt x="381" y="674"/>
                      </a:lnTo>
                      <a:lnTo>
                        <a:pt x="394" y="672"/>
                      </a:lnTo>
                      <a:lnTo>
                        <a:pt x="409" y="664"/>
                      </a:lnTo>
                      <a:lnTo>
                        <a:pt x="422" y="664"/>
                      </a:lnTo>
                      <a:lnTo>
                        <a:pt x="437" y="674"/>
                      </a:lnTo>
                      <a:lnTo>
                        <a:pt x="448" y="687"/>
                      </a:lnTo>
                      <a:lnTo>
                        <a:pt x="461" y="687"/>
                      </a:lnTo>
                      <a:lnTo>
                        <a:pt x="472" y="690"/>
                      </a:lnTo>
                      <a:lnTo>
                        <a:pt x="494" y="692"/>
                      </a:lnTo>
                      <a:lnTo>
                        <a:pt x="509" y="711"/>
                      </a:lnTo>
                      <a:lnTo>
                        <a:pt x="522" y="720"/>
                      </a:lnTo>
                      <a:lnTo>
                        <a:pt x="541" y="726"/>
                      </a:lnTo>
                      <a:lnTo>
                        <a:pt x="557" y="735"/>
                      </a:lnTo>
                      <a:lnTo>
                        <a:pt x="566" y="737"/>
                      </a:lnTo>
                      <a:lnTo>
                        <a:pt x="589" y="714"/>
                      </a:lnTo>
                      <a:lnTo>
                        <a:pt x="604" y="711"/>
                      </a:lnTo>
                      <a:lnTo>
                        <a:pt x="615" y="702"/>
                      </a:lnTo>
                      <a:lnTo>
                        <a:pt x="631" y="690"/>
                      </a:lnTo>
                      <a:lnTo>
                        <a:pt x="652" y="689"/>
                      </a:lnTo>
                      <a:lnTo>
                        <a:pt x="650" y="663"/>
                      </a:lnTo>
                      <a:lnTo>
                        <a:pt x="646" y="655"/>
                      </a:lnTo>
                      <a:lnTo>
                        <a:pt x="637" y="642"/>
                      </a:lnTo>
                      <a:lnTo>
                        <a:pt x="630" y="644"/>
                      </a:lnTo>
                      <a:lnTo>
                        <a:pt x="622" y="642"/>
                      </a:lnTo>
                      <a:lnTo>
                        <a:pt x="615" y="631"/>
                      </a:lnTo>
                      <a:lnTo>
                        <a:pt x="613" y="605"/>
                      </a:lnTo>
                      <a:lnTo>
                        <a:pt x="628" y="588"/>
                      </a:lnTo>
                      <a:lnTo>
                        <a:pt x="617" y="574"/>
                      </a:lnTo>
                      <a:lnTo>
                        <a:pt x="617" y="568"/>
                      </a:lnTo>
                      <a:lnTo>
                        <a:pt x="639" y="546"/>
                      </a:lnTo>
                      <a:lnTo>
                        <a:pt x="639" y="538"/>
                      </a:lnTo>
                      <a:lnTo>
                        <a:pt x="635" y="511"/>
                      </a:lnTo>
                      <a:lnTo>
                        <a:pt x="648" y="498"/>
                      </a:lnTo>
                      <a:lnTo>
                        <a:pt x="637" y="483"/>
                      </a:lnTo>
                      <a:lnTo>
                        <a:pt x="637" y="472"/>
                      </a:lnTo>
                      <a:lnTo>
                        <a:pt x="635" y="453"/>
                      </a:lnTo>
                      <a:lnTo>
                        <a:pt x="630" y="448"/>
                      </a:lnTo>
                      <a:lnTo>
                        <a:pt x="617" y="448"/>
                      </a:lnTo>
                      <a:lnTo>
                        <a:pt x="605" y="451"/>
                      </a:lnTo>
                      <a:lnTo>
                        <a:pt x="602" y="455"/>
                      </a:lnTo>
                      <a:lnTo>
                        <a:pt x="594" y="462"/>
                      </a:lnTo>
                      <a:lnTo>
                        <a:pt x="583" y="466"/>
                      </a:lnTo>
                      <a:lnTo>
                        <a:pt x="579" y="455"/>
                      </a:lnTo>
                      <a:lnTo>
                        <a:pt x="587" y="446"/>
                      </a:lnTo>
                      <a:lnTo>
                        <a:pt x="591" y="438"/>
                      </a:lnTo>
                      <a:lnTo>
                        <a:pt x="591" y="429"/>
                      </a:lnTo>
                      <a:lnTo>
                        <a:pt x="611" y="409"/>
                      </a:lnTo>
                      <a:lnTo>
                        <a:pt x="622" y="405"/>
                      </a:lnTo>
                      <a:lnTo>
                        <a:pt x="624" y="390"/>
                      </a:lnTo>
                      <a:lnTo>
                        <a:pt x="635" y="377"/>
                      </a:lnTo>
                      <a:lnTo>
                        <a:pt x="667" y="353"/>
                      </a:lnTo>
                      <a:lnTo>
                        <a:pt x="676" y="353"/>
                      </a:lnTo>
                      <a:lnTo>
                        <a:pt x="680" y="344"/>
                      </a:lnTo>
                      <a:lnTo>
                        <a:pt x="691" y="333"/>
                      </a:lnTo>
                      <a:lnTo>
                        <a:pt x="700" y="333"/>
                      </a:lnTo>
                      <a:lnTo>
                        <a:pt x="705" y="327"/>
                      </a:lnTo>
                      <a:lnTo>
                        <a:pt x="710" y="323"/>
                      </a:lnTo>
                      <a:lnTo>
                        <a:pt x="718" y="310"/>
                      </a:lnTo>
                      <a:lnTo>
                        <a:pt x="725" y="290"/>
                      </a:lnTo>
                      <a:lnTo>
                        <a:pt x="727" y="277"/>
                      </a:lnTo>
                      <a:lnTo>
                        <a:pt x="727" y="266"/>
                      </a:lnTo>
                      <a:lnTo>
                        <a:pt x="738" y="252"/>
                      </a:lnTo>
                      <a:lnTo>
                        <a:pt x="755" y="243"/>
                      </a:lnTo>
                      <a:lnTo>
                        <a:pt x="764" y="234"/>
                      </a:lnTo>
                      <a:lnTo>
                        <a:pt x="764" y="230"/>
                      </a:lnTo>
                      <a:lnTo>
                        <a:pt x="749" y="219"/>
                      </a:lnTo>
                      <a:lnTo>
                        <a:pt x="742" y="215"/>
                      </a:lnTo>
                      <a:lnTo>
                        <a:pt x="720" y="213"/>
                      </a:lnTo>
                      <a:lnTo>
                        <a:pt x="694" y="209"/>
                      </a:lnTo>
                      <a:lnTo>
                        <a:pt x="685" y="208"/>
                      </a:lnTo>
                      <a:lnTo>
                        <a:pt x="676" y="204"/>
                      </a:lnTo>
                      <a:lnTo>
                        <a:pt x="667" y="195"/>
                      </a:lnTo>
                      <a:lnTo>
                        <a:pt x="659" y="180"/>
                      </a:lnTo>
                      <a:lnTo>
                        <a:pt x="652" y="171"/>
                      </a:lnTo>
                      <a:lnTo>
                        <a:pt x="642" y="167"/>
                      </a:lnTo>
                      <a:lnTo>
                        <a:pt x="631" y="163"/>
                      </a:lnTo>
                      <a:lnTo>
                        <a:pt x="626" y="161"/>
                      </a:lnTo>
                      <a:lnTo>
                        <a:pt x="611" y="148"/>
                      </a:lnTo>
                      <a:lnTo>
                        <a:pt x="592" y="133"/>
                      </a:lnTo>
                      <a:lnTo>
                        <a:pt x="581" y="119"/>
                      </a:lnTo>
                      <a:lnTo>
                        <a:pt x="568" y="115"/>
                      </a:lnTo>
                      <a:lnTo>
                        <a:pt x="561" y="109"/>
                      </a:lnTo>
                      <a:lnTo>
                        <a:pt x="555" y="95"/>
                      </a:lnTo>
                      <a:lnTo>
                        <a:pt x="539" y="76"/>
                      </a:lnTo>
                      <a:lnTo>
                        <a:pt x="535" y="63"/>
                      </a:lnTo>
                      <a:lnTo>
                        <a:pt x="522" y="50"/>
                      </a:lnTo>
                      <a:lnTo>
                        <a:pt x="516" y="39"/>
                      </a:lnTo>
                      <a:lnTo>
                        <a:pt x="509" y="30"/>
                      </a:lnTo>
                      <a:lnTo>
                        <a:pt x="496" y="20"/>
                      </a:lnTo>
                      <a:lnTo>
                        <a:pt x="483" y="6"/>
                      </a:lnTo>
                      <a:lnTo>
                        <a:pt x="472" y="0"/>
                      </a:lnTo>
                      <a:lnTo>
                        <a:pt x="444" y="2"/>
                      </a:lnTo>
                      <a:lnTo>
                        <a:pt x="433" y="2"/>
                      </a:lnTo>
                      <a:lnTo>
                        <a:pt x="418" y="13"/>
                      </a:lnTo>
                      <a:lnTo>
                        <a:pt x="427" y="22"/>
                      </a:lnTo>
                      <a:lnTo>
                        <a:pt x="416" y="35"/>
                      </a:lnTo>
                      <a:lnTo>
                        <a:pt x="388" y="70"/>
                      </a:lnTo>
                      <a:lnTo>
                        <a:pt x="374" y="78"/>
                      </a:lnTo>
                      <a:lnTo>
                        <a:pt x="335" y="82"/>
                      </a:lnTo>
                      <a:lnTo>
                        <a:pt x="318" y="87"/>
                      </a:lnTo>
                      <a:lnTo>
                        <a:pt x="309" y="96"/>
                      </a:lnTo>
                      <a:lnTo>
                        <a:pt x="305" y="104"/>
                      </a:lnTo>
                      <a:lnTo>
                        <a:pt x="290" y="100"/>
                      </a:lnTo>
                      <a:lnTo>
                        <a:pt x="266" y="104"/>
                      </a:lnTo>
                      <a:lnTo>
                        <a:pt x="251" y="102"/>
                      </a:lnTo>
                      <a:lnTo>
                        <a:pt x="238" y="93"/>
                      </a:lnTo>
                      <a:lnTo>
                        <a:pt x="229" y="82"/>
                      </a:lnTo>
                      <a:lnTo>
                        <a:pt x="220" y="78"/>
                      </a:lnTo>
                      <a:lnTo>
                        <a:pt x="227" y="69"/>
                      </a:lnTo>
                      <a:lnTo>
                        <a:pt x="216" y="59"/>
                      </a:lnTo>
                      <a:lnTo>
                        <a:pt x="207" y="57"/>
                      </a:lnTo>
                      <a:lnTo>
                        <a:pt x="199" y="56"/>
                      </a:lnTo>
                      <a:lnTo>
                        <a:pt x="198" y="59"/>
                      </a:lnTo>
                      <a:lnTo>
                        <a:pt x="205" y="67"/>
                      </a:lnTo>
                      <a:lnTo>
                        <a:pt x="201" y="72"/>
                      </a:lnTo>
                      <a:lnTo>
                        <a:pt x="205" y="83"/>
                      </a:lnTo>
                      <a:lnTo>
                        <a:pt x="207" y="96"/>
                      </a:lnTo>
                      <a:lnTo>
                        <a:pt x="207" y="106"/>
                      </a:lnTo>
                      <a:lnTo>
                        <a:pt x="205" y="108"/>
                      </a:lnTo>
                      <a:lnTo>
                        <a:pt x="198" y="113"/>
                      </a:lnTo>
                      <a:lnTo>
                        <a:pt x="196" y="122"/>
                      </a:lnTo>
                      <a:lnTo>
                        <a:pt x="196" y="132"/>
                      </a:lnTo>
                      <a:lnTo>
                        <a:pt x="194" y="139"/>
                      </a:lnTo>
                      <a:lnTo>
                        <a:pt x="182" y="137"/>
                      </a:lnTo>
                      <a:lnTo>
                        <a:pt x="169" y="130"/>
                      </a:lnTo>
                      <a:lnTo>
                        <a:pt x="161" y="137"/>
                      </a:lnTo>
                      <a:lnTo>
                        <a:pt x="148" y="128"/>
                      </a:lnTo>
                      <a:lnTo>
                        <a:pt x="141" y="126"/>
                      </a:lnTo>
                      <a:lnTo>
                        <a:pt x="132" y="133"/>
                      </a:lnTo>
                      <a:lnTo>
                        <a:pt x="124" y="132"/>
                      </a:lnTo>
                      <a:lnTo>
                        <a:pt x="124" y="126"/>
                      </a:lnTo>
                      <a:lnTo>
                        <a:pt x="93" y="96"/>
                      </a:lnTo>
                      <a:lnTo>
                        <a:pt x="85" y="95"/>
                      </a:lnTo>
                      <a:lnTo>
                        <a:pt x="80" y="100"/>
                      </a:lnTo>
                      <a:lnTo>
                        <a:pt x="67" y="106"/>
                      </a:lnTo>
                      <a:lnTo>
                        <a:pt x="59" y="108"/>
                      </a:lnTo>
                      <a:lnTo>
                        <a:pt x="50" y="98"/>
                      </a:lnTo>
                      <a:lnTo>
                        <a:pt x="28" y="98"/>
                      </a:lnTo>
                      <a:lnTo>
                        <a:pt x="13" y="106"/>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sp>
            <p:nvSpPr>
              <p:cNvPr id="301" name="Freeform 60"/>
              <p:cNvSpPr>
                <a:spLocks/>
              </p:cNvSpPr>
              <p:nvPr>
                <p:custDataLst>
                  <p:tags r:id="rId22"/>
                </p:custDataLst>
              </p:nvPr>
            </p:nvSpPr>
            <p:spPr bwMode="auto">
              <a:xfrm>
                <a:off x="3395001" y="3315152"/>
                <a:ext cx="529310" cy="277971"/>
              </a:xfrm>
              <a:custGeom>
                <a:avLst/>
                <a:gdLst/>
                <a:ahLst/>
                <a:cxnLst>
                  <a:cxn ang="0">
                    <a:pos x="91" y="65"/>
                  </a:cxn>
                  <a:cxn ang="0">
                    <a:pos x="83" y="39"/>
                  </a:cxn>
                  <a:cxn ang="0">
                    <a:pos x="59" y="26"/>
                  </a:cxn>
                  <a:cxn ang="0">
                    <a:pos x="33" y="46"/>
                  </a:cxn>
                  <a:cxn ang="0">
                    <a:pos x="17" y="89"/>
                  </a:cxn>
                  <a:cxn ang="0">
                    <a:pos x="13" y="104"/>
                  </a:cxn>
                  <a:cxn ang="0">
                    <a:pos x="0" y="119"/>
                  </a:cxn>
                  <a:cxn ang="0">
                    <a:pos x="4" y="149"/>
                  </a:cxn>
                  <a:cxn ang="0">
                    <a:pos x="15" y="169"/>
                  </a:cxn>
                  <a:cxn ang="0">
                    <a:pos x="48" y="152"/>
                  </a:cxn>
                  <a:cxn ang="0">
                    <a:pos x="70" y="149"/>
                  </a:cxn>
                  <a:cxn ang="0">
                    <a:pos x="98" y="156"/>
                  </a:cxn>
                  <a:cxn ang="0">
                    <a:pos x="126" y="149"/>
                  </a:cxn>
                  <a:cxn ang="0">
                    <a:pos x="144" y="154"/>
                  </a:cxn>
                  <a:cxn ang="0">
                    <a:pos x="168" y="149"/>
                  </a:cxn>
                  <a:cxn ang="0">
                    <a:pos x="196" y="147"/>
                  </a:cxn>
                  <a:cxn ang="0">
                    <a:pos x="224" y="165"/>
                  </a:cxn>
                  <a:cxn ang="0">
                    <a:pos x="262" y="181"/>
                  </a:cxn>
                  <a:cxn ang="0">
                    <a:pos x="284" y="194"/>
                  </a:cxn>
                  <a:cxn ang="0">
                    <a:pos x="317" y="185"/>
                  </a:cxn>
                  <a:cxn ang="0">
                    <a:pos x="334" y="167"/>
                  </a:cxn>
                  <a:cxn ang="0">
                    <a:pos x="365" y="134"/>
                  </a:cxn>
                  <a:cxn ang="0">
                    <a:pos x="367" y="91"/>
                  </a:cxn>
                  <a:cxn ang="0">
                    <a:pos x="341" y="69"/>
                  </a:cxn>
                  <a:cxn ang="0">
                    <a:pos x="327" y="33"/>
                  </a:cxn>
                  <a:cxn ang="0">
                    <a:pos x="303" y="19"/>
                  </a:cxn>
                  <a:cxn ang="0">
                    <a:pos x="260" y="30"/>
                  </a:cxn>
                  <a:cxn ang="0">
                    <a:pos x="235" y="19"/>
                  </a:cxn>
                  <a:cxn ang="0">
                    <a:pos x="213" y="4"/>
                  </a:cxn>
                  <a:cxn ang="0">
                    <a:pos x="191" y="0"/>
                  </a:cxn>
                  <a:cxn ang="0">
                    <a:pos x="167" y="4"/>
                  </a:cxn>
                  <a:cxn ang="0">
                    <a:pos x="155" y="19"/>
                  </a:cxn>
                  <a:cxn ang="0">
                    <a:pos x="159" y="61"/>
                  </a:cxn>
                  <a:cxn ang="0">
                    <a:pos x="144" y="85"/>
                  </a:cxn>
                  <a:cxn ang="0">
                    <a:pos x="128" y="84"/>
                  </a:cxn>
                </a:cxnLst>
                <a:rect l="0" t="0" r="r" b="b"/>
                <a:pathLst>
                  <a:path w="371" h="194">
                    <a:moveTo>
                      <a:pt x="109" y="76"/>
                    </a:moveTo>
                    <a:lnTo>
                      <a:pt x="91" y="65"/>
                    </a:lnTo>
                    <a:lnTo>
                      <a:pt x="87" y="52"/>
                    </a:lnTo>
                    <a:lnTo>
                      <a:pt x="83" y="39"/>
                    </a:lnTo>
                    <a:lnTo>
                      <a:pt x="74" y="26"/>
                    </a:lnTo>
                    <a:lnTo>
                      <a:pt x="59" y="26"/>
                    </a:lnTo>
                    <a:lnTo>
                      <a:pt x="48" y="32"/>
                    </a:lnTo>
                    <a:lnTo>
                      <a:pt x="33" y="46"/>
                    </a:lnTo>
                    <a:lnTo>
                      <a:pt x="15" y="80"/>
                    </a:lnTo>
                    <a:lnTo>
                      <a:pt x="17" y="89"/>
                    </a:lnTo>
                    <a:lnTo>
                      <a:pt x="17" y="98"/>
                    </a:lnTo>
                    <a:lnTo>
                      <a:pt x="13" y="104"/>
                    </a:lnTo>
                    <a:lnTo>
                      <a:pt x="6" y="111"/>
                    </a:lnTo>
                    <a:lnTo>
                      <a:pt x="0" y="119"/>
                    </a:lnTo>
                    <a:lnTo>
                      <a:pt x="4" y="128"/>
                    </a:lnTo>
                    <a:lnTo>
                      <a:pt x="4" y="149"/>
                    </a:lnTo>
                    <a:lnTo>
                      <a:pt x="7" y="165"/>
                    </a:lnTo>
                    <a:lnTo>
                      <a:pt x="15" y="169"/>
                    </a:lnTo>
                    <a:lnTo>
                      <a:pt x="30" y="163"/>
                    </a:lnTo>
                    <a:lnTo>
                      <a:pt x="48" y="152"/>
                    </a:lnTo>
                    <a:lnTo>
                      <a:pt x="56" y="145"/>
                    </a:lnTo>
                    <a:lnTo>
                      <a:pt x="70" y="149"/>
                    </a:lnTo>
                    <a:lnTo>
                      <a:pt x="85" y="152"/>
                    </a:lnTo>
                    <a:lnTo>
                      <a:pt x="98" y="156"/>
                    </a:lnTo>
                    <a:lnTo>
                      <a:pt x="107" y="160"/>
                    </a:lnTo>
                    <a:lnTo>
                      <a:pt x="126" y="149"/>
                    </a:lnTo>
                    <a:lnTo>
                      <a:pt x="135" y="149"/>
                    </a:lnTo>
                    <a:lnTo>
                      <a:pt x="144" y="154"/>
                    </a:lnTo>
                    <a:lnTo>
                      <a:pt x="157" y="158"/>
                    </a:lnTo>
                    <a:lnTo>
                      <a:pt x="168" y="149"/>
                    </a:lnTo>
                    <a:lnTo>
                      <a:pt x="185" y="145"/>
                    </a:lnTo>
                    <a:lnTo>
                      <a:pt x="196" y="147"/>
                    </a:lnTo>
                    <a:lnTo>
                      <a:pt x="205" y="163"/>
                    </a:lnTo>
                    <a:lnTo>
                      <a:pt x="224" y="165"/>
                    </a:lnTo>
                    <a:lnTo>
                      <a:pt x="247" y="163"/>
                    </a:lnTo>
                    <a:lnTo>
                      <a:pt x="262" y="181"/>
                    </a:lnTo>
                    <a:lnTo>
                      <a:pt x="273" y="192"/>
                    </a:lnTo>
                    <a:lnTo>
                      <a:pt x="284" y="194"/>
                    </a:lnTo>
                    <a:lnTo>
                      <a:pt x="301" y="187"/>
                    </a:lnTo>
                    <a:lnTo>
                      <a:pt x="317" y="185"/>
                    </a:lnTo>
                    <a:lnTo>
                      <a:pt x="328" y="176"/>
                    </a:lnTo>
                    <a:lnTo>
                      <a:pt x="334" y="167"/>
                    </a:lnTo>
                    <a:lnTo>
                      <a:pt x="354" y="145"/>
                    </a:lnTo>
                    <a:lnTo>
                      <a:pt x="365" y="134"/>
                    </a:lnTo>
                    <a:lnTo>
                      <a:pt x="371" y="117"/>
                    </a:lnTo>
                    <a:lnTo>
                      <a:pt x="367" y="91"/>
                    </a:lnTo>
                    <a:lnTo>
                      <a:pt x="358" y="85"/>
                    </a:lnTo>
                    <a:lnTo>
                      <a:pt x="341" y="69"/>
                    </a:lnTo>
                    <a:lnTo>
                      <a:pt x="334" y="52"/>
                    </a:lnTo>
                    <a:lnTo>
                      <a:pt x="327" y="33"/>
                    </a:lnTo>
                    <a:lnTo>
                      <a:pt x="312" y="20"/>
                    </a:lnTo>
                    <a:lnTo>
                      <a:pt x="303" y="19"/>
                    </a:lnTo>
                    <a:lnTo>
                      <a:pt x="273" y="20"/>
                    </a:lnTo>
                    <a:lnTo>
                      <a:pt x="260" y="30"/>
                    </a:lnTo>
                    <a:lnTo>
                      <a:pt x="251" y="33"/>
                    </a:lnTo>
                    <a:lnTo>
                      <a:pt x="235" y="19"/>
                    </a:lnTo>
                    <a:lnTo>
                      <a:pt x="222" y="13"/>
                    </a:lnTo>
                    <a:lnTo>
                      <a:pt x="213" y="4"/>
                    </a:lnTo>
                    <a:lnTo>
                      <a:pt x="207" y="2"/>
                    </a:lnTo>
                    <a:lnTo>
                      <a:pt x="191" y="0"/>
                    </a:lnTo>
                    <a:lnTo>
                      <a:pt x="178" y="4"/>
                    </a:lnTo>
                    <a:lnTo>
                      <a:pt x="167" y="4"/>
                    </a:lnTo>
                    <a:lnTo>
                      <a:pt x="161" y="9"/>
                    </a:lnTo>
                    <a:lnTo>
                      <a:pt x="155" y="19"/>
                    </a:lnTo>
                    <a:lnTo>
                      <a:pt x="155" y="39"/>
                    </a:lnTo>
                    <a:lnTo>
                      <a:pt x="159" y="61"/>
                    </a:lnTo>
                    <a:lnTo>
                      <a:pt x="159" y="71"/>
                    </a:lnTo>
                    <a:lnTo>
                      <a:pt x="144" y="85"/>
                    </a:lnTo>
                    <a:lnTo>
                      <a:pt x="135" y="93"/>
                    </a:lnTo>
                    <a:lnTo>
                      <a:pt x="128" y="84"/>
                    </a:lnTo>
                    <a:lnTo>
                      <a:pt x="109" y="76"/>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nvGrpSpPr>
              <p:cNvPr id="302" name="Group 61"/>
              <p:cNvGrpSpPr>
                <a:grpSpLocks/>
              </p:cNvGrpSpPr>
              <p:nvPr/>
            </p:nvGrpSpPr>
            <p:grpSpPr bwMode="auto">
              <a:xfrm>
                <a:off x="1279426" y="2945634"/>
                <a:ext cx="645825" cy="1080258"/>
                <a:chOff x="1158" y="1432"/>
                <a:chExt cx="452" cy="754"/>
              </a:xfrm>
              <a:solidFill>
                <a:schemeClr val="accent6"/>
              </a:solidFill>
            </p:grpSpPr>
            <p:sp>
              <p:nvSpPr>
                <p:cNvPr id="333" name="Freeform 62"/>
                <p:cNvSpPr>
                  <a:spLocks/>
                </p:cNvSpPr>
                <p:nvPr>
                  <p:custDataLst>
                    <p:tags r:id="rId51"/>
                  </p:custDataLst>
                </p:nvPr>
              </p:nvSpPr>
              <p:spPr bwMode="auto">
                <a:xfrm>
                  <a:off x="1158" y="1441"/>
                  <a:ext cx="452" cy="745"/>
                </a:xfrm>
                <a:custGeom>
                  <a:avLst/>
                  <a:gdLst/>
                  <a:ahLst/>
                  <a:cxnLst>
                    <a:cxn ang="0">
                      <a:pos x="147" y="515"/>
                    </a:cxn>
                    <a:cxn ang="0">
                      <a:pos x="97" y="549"/>
                    </a:cxn>
                    <a:cxn ang="0">
                      <a:pos x="84" y="580"/>
                    </a:cxn>
                    <a:cxn ang="0">
                      <a:pos x="113" y="597"/>
                    </a:cxn>
                    <a:cxn ang="0">
                      <a:pos x="137" y="608"/>
                    </a:cxn>
                    <a:cxn ang="0">
                      <a:pos x="181" y="617"/>
                    </a:cxn>
                    <a:cxn ang="0">
                      <a:pos x="152" y="651"/>
                    </a:cxn>
                    <a:cxn ang="0">
                      <a:pos x="87" y="632"/>
                    </a:cxn>
                    <a:cxn ang="0">
                      <a:pos x="41" y="671"/>
                    </a:cxn>
                    <a:cxn ang="0">
                      <a:pos x="2" y="691"/>
                    </a:cxn>
                    <a:cxn ang="0">
                      <a:pos x="22" y="708"/>
                    </a:cxn>
                    <a:cxn ang="0">
                      <a:pos x="59" y="702"/>
                    </a:cxn>
                    <a:cxn ang="0">
                      <a:pos x="110" y="723"/>
                    </a:cxn>
                    <a:cxn ang="0">
                      <a:pos x="148" y="689"/>
                    </a:cxn>
                    <a:cxn ang="0">
                      <a:pos x="183" y="710"/>
                    </a:cxn>
                    <a:cxn ang="0">
                      <a:pos x="231" y="717"/>
                    </a:cxn>
                    <a:cxn ang="0">
                      <a:pos x="266" y="714"/>
                    </a:cxn>
                    <a:cxn ang="0">
                      <a:pos x="315" y="734"/>
                    </a:cxn>
                    <a:cxn ang="0">
                      <a:pos x="357" y="738"/>
                    </a:cxn>
                    <a:cxn ang="0">
                      <a:pos x="398" y="723"/>
                    </a:cxn>
                    <a:cxn ang="0">
                      <a:pos x="381" y="689"/>
                    </a:cxn>
                    <a:cxn ang="0">
                      <a:pos x="383" y="667"/>
                    </a:cxn>
                    <a:cxn ang="0">
                      <a:pos x="437" y="632"/>
                    </a:cxn>
                    <a:cxn ang="0">
                      <a:pos x="452" y="584"/>
                    </a:cxn>
                    <a:cxn ang="0">
                      <a:pos x="413" y="558"/>
                    </a:cxn>
                    <a:cxn ang="0">
                      <a:pos x="385" y="556"/>
                    </a:cxn>
                    <a:cxn ang="0">
                      <a:pos x="394" y="510"/>
                    </a:cxn>
                    <a:cxn ang="0">
                      <a:pos x="394" y="447"/>
                    </a:cxn>
                    <a:cxn ang="0">
                      <a:pos x="354" y="374"/>
                    </a:cxn>
                    <a:cxn ang="0">
                      <a:pos x="354" y="317"/>
                    </a:cxn>
                    <a:cxn ang="0">
                      <a:pos x="341" y="272"/>
                    </a:cxn>
                    <a:cxn ang="0">
                      <a:pos x="298" y="248"/>
                    </a:cxn>
                    <a:cxn ang="0">
                      <a:pos x="294" y="230"/>
                    </a:cxn>
                    <a:cxn ang="0">
                      <a:pos x="331" y="235"/>
                    </a:cxn>
                    <a:cxn ang="0">
                      <a:pos x="389" y="165"/>
                    </a:cxn>
                    <a:cxn ang="0">
                      <a:pos x="385" y="120"/>
                    </a:cxn>
                    <a:cxn ang="0">
                      <a:pos x="331" y="98"/>
                    </a:cxn>
                    <a:cxn ang="0">
                      <a:pos x="302" y="100"/>
                    </a:cxn>
                    <a:cxn ang="0">
                      <a:pos x="318" y="72"/>
                    </a:cxn>
                    <a:cxn ang="0">
                      <a:pos x="376" y="37"/>
                    </a:cxn>
                    <a:cxn ang="0">
                      <a:pos x="339" y="13"/>
                    </a:cxn>
                    <a:cxn ang="0">
                      <a:pos x="278" y="22"/>
                    </a:cxn>
                    <a:cxn ang="0">
                      <a:pos x="250" y="48"/>
                    </a:cxn>
                    <a:cxn ang="0">
                      <a:pos x="231" y="83"/>
                    </a:cxn>
                    <a:cxn ang="0">
                      <a:pos x="183" y="143"/>
                    </a:cxn>
                    <a:cxn ang="0">
                      <a:pos x="214" y="155"/>
                    </a:cxn>
                    <a:cxn ang="0">
                      <a:pos x="169" y="230"/>
                    </a:cxn>
                    <a:cxn ang="0">
                      <a:pos x="185" y="241"/>
                    </a:cxn>
                    <a:cxn ang="0">
                      <a:pos x="213" y="257"/>
                    </a:cxn>
                    <a:cxn ang="0">
                      <a:pos x="181" y="302"/>
                    </a:cxn>
                    <a:cxn ang="0">
                      <a:pos x="226" y="331"/>
                    </a:cxn>
                    <a:cxn ang="0">
                      <a:pos x="253" y="341"/>
                    </a:cxn>
                    <a:cxn ang="0">
                      <a:pos x="244" y="405"/>
                    </a:cxn>
                    <a:cxn ang="0">
                      <a:pos x="242" y="449"/>
                    </a:cxn>
                    <a:cxn ang="0">
                      <a:pos x="222" y="469"/>
                    </a:cxn>
                  </a:cxnLst>
                  <a:rect l="0" t="0" r="r" b="b"/>
                  <a:pathLst>
                    <a:path w="452" h="745">
                      <a:moveTo>
                        <a:pt x="135" y="478"/>
                      </a:moveTo>
                      <a:lnTo>
                        <a:pt x="156" y="497"/>
                      </a:lnTo>
                      <a:lnTo>
                        <a:pt x="147" y="515"/>
                      </a:lnTo>
                      <a:lnTo>
                        <a:pt x="134" y="530"/>
                      </a:lnTo>
                      <a:lnTo>
                        <a:pt x="113" y="540"/>
                      </a:lnTo>
                      <a:lnTo>
                        <a:pt x="97" y="549"/>
                      </a:lnTo>
                      <a:lnTo>
                        <a:pt x="80" y="551"/>
                      </a:lnTo>
                      <a:lnTo>
                        <a:pt x="71" y="558"/>
                      </a:lnTo>
                      <a:lnTo>
                        <a:pt x="84" y="580"/>
                      </a:lnTo>
                      <a:lnTo>
                        <a:pt x="104" y="580"/>
                      </a:lnTo>
                      <a:lnTo>
                        <a:pt x="113" y="582"/>
                      </a:lnTo>
                      <a:lnTo>
                        <a:pt x="113" y="597"/>
                      </a:lnTo>
                      <a:lnTo>
                        <a:pt x="124" y="597"/>
                      </a:lnTo>
                      <a:lnTo>
                        <a:pt x="132" y="593"/>
                      </a:lnTo>
                      <a:lnTo>
                        <a:pt x="137" y="608"/>
                      </a:lnTo>
                      <a:lnTo>
                        <a:pt x="148" y="621"/>
                      </a:lnTo>
                      <a:lnTo>
                        <a:pt x="167" y="621"/>
                      </a:lnTo>
                      <a:lnTo>
                        <a:pt x="181" y="617"/>
                      </a:lnTo>
                      <a:lnTo>
                        <a:pt x="192" y="621"/>
                      </a:lnTo>
                      <a:lnTo>
                        <a:pt x="163" y="645"/>
                      </a:lnTo>
                      <a:lnTo>
                        <a:pt x="152" y="651"/>
                      </a:lnTo>
                      <a:lnTo>
                        <a:pt x="137" y="645"/>
                      </a:lnTo>
                      <a:lnTo>
                        <a:pt x="104" y="632"/>
                      </a:lnTo>
                      <a:lnTo>
                        <a:pt x="87" y="632"/>
                      </a:lnTo>
                      <a:lnTo>
                        <a:pt x="72" y="645"/>
                      </a:lnTo>
                      <a:lnTo>
                        <a:pt x="52" y="662"/>
                      </a:lnTo>
                      <a:lnTo>
                        <a:pt x="41" y="671"/>
                      </a:lnTo>
                      <a:lnTo>
                        <a:pt x="28" y="675"/>
                      </a:lnTo>
                      <a:lnTo>
                        <a:pt x="13" y="682"/>
                      </a:lnTo>
                      <a:lnTo>
                        <a:pt x="2" y="691"/>
                      </a:lnTo>
                      <a:lnTo>
                        <a:pt x="0" y="697"/>
                      </a:lnTo>
                      <a:lnTo>
                        <a:pt x="13" y="699"/>
                      </a:lnTo>
                      <a:lnTo>
                        <a:pt x="22" y="708"/>
                      </a:lnTo>
                      <a:lnTo>
                        <a:pt x="35" y="714"/>
                      </a:lnTo>
                      <a:lnTo>
                        <a:pt x="48" y="708"/>
                      </a:lnTo>
                      <a:lnTo>
                        <a:pt x="59" y="702"/>
                      </a:lnTo>
                      <a:lnTo>
                        <a:pt x="72" y="704"/>
                      </a:lnTo>
                      <a:lnTo>
                        <a:pt x="91" y="715"/>
                      </a:lnTo>
                      <a:lnTo>
                        <a:pt x="110" y="723"/>
                      </a:lnTo>
                      <a:lnTo>
                        <a:pt x="122" y="715"/>
                      </a:lnTo>
                      <a:lnTo>
                        <a:pt x="128" y="701"/>
                      </a:lnTo>
                      <a:lnTo>
                        <a:pt x="148" y="689"/>
                      </a:lnTo>
                      <a:lnTo>
                        <a:pt x="161" y="689"/>
                      </a:lnTo>
                      <a:lnTo>
                        <a:pt x="173" y="702"/>
                      </a:lnTo>
                      <a:lnTo>
                        <a:pt x="183" y="710"/>
                      </a:lnTo>
                      <a:lnTo>
                        <a:pt x="198" y="710"/>
                      </a:lnTo>
                      <a:lnTo>
                        <a:pt x="218" y="712"/>
                      </a:lnTo>
                      <a:lnTo>
                        <a:pt x="231" y="717"/>
                      </a:lnTo>
                      <a:lnTo>
                        <a:pt x="244" y="708"/>
                      </a:lnTo>
                      <a:lnTo>
                        <a:pt x="255" y="708"/>
                      </a:lnTo>
                      <a:lnTo>
                        <a:pt x="266" y="714"/>
                      </a:lnTo>
                      <a:lnTo>
                        <a:pt x="279" y="728"/>
                      </a:lnTo>
                      <a:lnTo>
                        <a:pt x="296" y="730"/>
                      </a:lnTo>
                      <a:lnTo>
                        <a:pt x="315" y="734"/>
                      </a:lnTo>
                      <a:lnTo>
                        <a:pt x="328" y="741"/>
                      </a:lnTo>
                      <a:lnTo>
                        <a:pt x="344" y="745"/>
                      </a:lnTo>
                      <a:lnTo>
                        <a:pt x="357" y="738"/>
                      </a:lnTo>
                      <a:lnTo>
                        <a:pt x="374" y="728"/>
                      </a:lnTo>
                      <a:lnTo>
                        <a:pt x="385" y="726"/>
                      </a:lnTo>
                      <a:lnTo>
                        <a:pt x="398" y="723"/>
                      </a:lnTo>
                      <a:lnTo>
                        <a:pt x="411" y="712"/>
                      </a:lnTo>
                      <a:lnTo>
                        <a:pt x="402" y="701"/>
                      </a:lnTo>
                      <a:lnTo>
                        <a:pt x="381" y="689"/>
                      </a:lnTo>
                      <a:lnTo>
                        <a:pt x="374" y="682"/>
                      </a:lnTo>
                      <a:lnTo>
                        <a:pt x="374" y="675"/>
                      </a:lnTo>
                      <a:lnTo>
                        <a:pt x="383" y="667"/>
                      </a:lnTo>
                      <a:lnTo>
                        <a:pt x="398" y="665"/>
                      </a:lnTo>
                      <a:lnTo>
                        <a:pt x="413" y="658"/>
                      </a:lnTo>
                      <a:lnTo>
                        <a:pt x="437" y="632"/>
                      </a:lnTo>
                      <a:lnTo>
                        <a:pt x="448" y="619"/>
                      </a:lnTo>
                      <a:lnTo>
                        <a:pt x="452" y="597"/>
                      </a:lnTo>
                      <a:lnTo>
                        <a:pt x="452" y="584"/>
                      </a:lnTo>
                      <a:lnTo>
                        <a:pt x="441" y="575"/>
                      </a:lnTo>
                      <a:lnTo>
                        <a:pt x="426" y="564"/>
                      </a:lnTo>
                      <a:lnTo>
                        <a:pt x="413" y="558"/>
                      </a:lnTo>
                      <a:lnTo>
                        <a:pt x="398" y="560"/>
                      </a:lnTo>
                      <a:lnTo>
                        <a:pt x="389" y="565"/>
                      </a:lnTo>
                      <a:lnTo>
                        <a:pt x="385" y="556"/>
                      </a:lnTo>
                      <a:lnTo>
                        <a:pt x="393" y="541"/>
                      </a:lnTo>
                      <a:lnTo>
                        <a:pt x="396" y="530"/>
                      </a:lnTo>
                      <a:lnTo>
                        <a:pt x="394" y="510"/>
                      </a:lnTo>
                      <a:lnTo>
                        <a:pt x="393" y="482"/>
                      </a:lnTo>
                      <a:lnTo>
                        <a:pt x="398" y="460"/>
                      </a:lnTo>
                      <a:lnTo>
                        <a:pt x="394" y="447"/>
                      </a:lnTo>
                      <a:lnTo>
                        <a:pt x="385" y="431"/>
                      </a:lnTo>
                      <a:lnTo>
                        <a:pt x="363" y="392"/>
                      </a:lnTo>
                      <a:lnTo>
                        <a:pt x="354" y="374"/>
                      </a:lnTo>
                      <a:lnTo>
                        <a:pt x="350" y="352"/>
                      </a:lnTo>
                      <a:lnTo>
                        <a:pt x="348" y="339"/>
                      </a:lnTo>
                      <a:lnTo>
                        <a:pt x="354" y="317"/>
                      </a:lnTo>
                      <a:lnTo>
                        <a:pt x="354" y="300"/>
                      </a:lnTo>
                      <a:lnTo>
                        <a:pt x="350" y="281"/>
                      </a:lnTo>
                      <a:lnTo>
                        <a:pt x="341" y="272"/>
                      </a:lnTo>
                      <a:lnTo>
                        <a:pt x="324" y="255"/>
                      </a:lnTo>
                      <a:lnTo>
                        <a:pt x="311" y="250"/>
                      </a:lnTo>
                      <a:lnTo>
                        <a:pt x="298" y="248"/>
                      </a:lnTo>
                      <a:lnTo>
                        <a:pt x="289" y="246"/>
                      </a:lnTo>
                      <a:lnTo>
                        <a:pt x="289" y="237"/>
                      </a:lnTo>
                      <a:lnTo>
                        <a:pt x="294" y="230"/>
                      </a:lnTo>
                      <a:lnTo>
                        <a:pt x="309" y="228"/>
                      </a:lnTo>
                      <a:lnTo>
                        <a:pt x="322" y="233"/>
                      </a:lnTo>
                      <a:lnTo>
                        <a:pt x="331" y="235"/>
                      </a:lnTo>
                      <a:lnTo>
                        <a:pt x="337" y="226"/>
                      </a:lnTo>
                      <a:lnTo>
                        <a:pt x="335" y="215"/>
                      </a:lnTo>
                      <a:lnTo>
                        <a:pt x="389" y="165"/>
                      </a:lnTo>
                      <a:lnTo>
                        <a:pt x="398" y="154"/>
                      </a:lnTo>
                      <a:lnTo>
                        <a:pt x="398" y="131"/>
                      </a:lnTo>
                      <a:lnTo>
                        <a:pt x="385" y="120"/>
                      </a:lnTo>
                      <a:lnTo>
                        <a:pt x="370" y="118"/>
                      </a:lnTo>
                      <a:lnTo>
                        <a:pt x="357" y="98"/>
                      </a:lnTo>
                      <a:lnTo>
                        <a:pt x="331" y="98"/>
                      </a:lnTo>
                      <a:lnTo>
                        <a:pt x="331" y="98"/>
                      </a:lnTo>
                      <a:lnTo>
                        <a:pt x="307" y="102"/>
                      </a:lnTo>
                      <a:lnTo>
                        <a:pt x="302" y="100"/>
                      </a:lnTo>
                      <a:lnTo>
                        <a:pt x="296" y="91"/>
                      </a:lnTo>
                      <a:lnTo>
                        <a:pt x="307" y="83"/>
                      </a:lnTo>
                      <a:lnTo>
                        <a:pt x="318" y="72"/>
                      </a:lnTo>
                      <a:lnTo>
                        <a:pt x="341" y="52"/>
                      </a:lnTo>
                      <a:lnTo>
                        <a:pt x="359" y="50"/>
                      </a:lnTo>
                      <a:lnTo>
                        <a:pt x="376" y="37"/>
                      </a:lnTo>
                      <a:lnTo>
                        <a:pt x="393" y="24"/>
                      </a:lnTo>
                      <a:lnTo>
                        <a:pt x="355" y="15"/>
                      </a:lnTo>
                      <a:lnTo>
                        <a:pt x="339" y="13"/>
                      </a:lnTo>
                      <a:lnTo>
                        <a:pt x="320" y="11"/>
                      </a:lnTo>
                      <a:lnTo>
                        <a:pt x="298" y="0"/>
                      </a:lnTo>
                      <a:lnTo>
                        <a:pt x="278" y="22"/>
                      </a:lnTo>
                      <a:lnTo>
                        <a:pt x="279" y="33"/>
                      </a:lnTo>
                      <a:lnTo>
                        <a:pt x="268" y="37"/>
                      </a:lnTo>
                      <a:lnTo>
                        <a:pt x="250" y="48"/>
                      </a:lnTo>
                      <a:lnTo>
                        <a:pt x="233" y="54"/>
                      </a:lnTo>
                      <a:lnTo>
                        <a:pt x="233" y="70"/>
                      </a:lnTo>
                      <a:lnTo>
                        <a:pt x="231" y="83"/>
                      </a:lnTo>
                      <a:lnTo>
                        <a:pt x="216" y="104"/>
                      </a:lnTo>
                      <a:lnTo>
                        <a:pt x="192" y="130"/>
                      </a:lnTo>
                      <a:lnTo>
                        <a:pt x="183" y="143"/>
                      </a:lnTo>
                      <a:lnTo>
                        <a:pt x="188" y="152"/>
                      </a:lnTo>
                      <a:lnTo>
                        <a:pt x="213" y="150"/>
                      </a:lnTo>
                      <a:lnTo>
                        <a:pt x="214" y="155"/>
                      </a:lnTo>
                      <a:lnTo>
                        <a:pt x="214" y="165"/>
                      </a:lnTo>
                      <a:lnTo>
                        <a:pt x="181" y="207"/>
                      </a:lnTo>
                      <a:lnTo>
                        <a:pt x="169" y="230"/>
                      </a:lnTo>
                      <a:lnTo>
                        <a:pt x="161" y="250"/>
                      </a:lnTo>
                      <a:lnTo>
                        <a:pt x="169" y="259"/>
                      </a:lnTo>
                      <a:lnTo>
                        <a:pt x="185" y="241"/>
                      </a:lnTo>
                      <a:lnTo>
                        <a:pt x="200" y="220"/>
                      </a:lnTo>
                      <a:lnTo>
                        <a:pt x="211" y="226"/>
                      </a:lnTo>
                      <a:lnTo>
                        <a:pt x="213" y="257"/>
                      </a:lnTo>
                      <a:lnTo>
                        <a:pt x="214" y="278"/>
                      </a:lnTo>
                      <a:lnTo>
                        <a:pt x="194" y="289"/>
                      </a:lnTo>
                      <a:lnTo>
                        <a:pt x="181" y="302"/>
                      </a:lnTo>
                      <a:lnTo>
                        <a:pt x="176" y="313"/>
                      </a:lnTo>
                      <a:lnTo>
                        <a:pt x="203" y="335"/>
                      </a:lnTo>
                      <a:lnTo>
                        <a:pt x="226" y="331"/>
                      </a:lnTo>
                      <a:lnTo>
                        <a:pt x="231" y="344"/>
                      </a:lnTo>
                      <a:lnTo>
                        <a:pt x="255" y="329"/>
                      </a:lnTo>
                      <a:lnTo>
                        <a:pt x="253" y="341"/>
                      </a:lnTo>
                      <a:lnTo>
                        <a:pt x="233" y="365"/>
                      </a:lnTo>
                      <a:lnTo>
                        <a:pt x="242" y="391"/>
                      </a:lnTo>
                      <a:lnTo>
                        <a:pt x="244" y="405"/>
                      </a:lnTo>
                      <a:lnTo>
                        <a:pt x="265" y="407"/>
                      </a:lnTo>
                      <a:lnTo>
                        <a:pt x="266" y="420"/>
                      </a:lnTo>
                      <a:lnTo>
                        <a:pt x="242" y="449"/>
                      </a:lnTo>
                      <a:lnTo>
                        <a:pt x="233" y="445"/>
                      </a:lnTo>
                      <a:lnTo>
                        <a:pt x="224" y="454"/>
                      </a:lnTo>
                      <a:lnTo>
                        <a:pt x="222" y="469"/>
                      </a:lnTo>
                      <a:lnTo>
                        <a:pt x="198" y="456"/>
                      </a:lnTo>
                      <a:lnTo>
                        <a:pt x="135" y="478"/>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34" name="Freeform 63"/>
                <p:cNvSpPr>
                  <a:spLocks/>
                </p:cNvSpPr>
                <p:nvPr>
                  <p:custDataLst>
                    <p:tags r:id="rId52"/>
                  </p:custDataLst>
                </p:nvPr>
              </p:nvSpPr>
              <p:spPr bwMode="auto">
                <a:xfrm>
                  <a:off x="1321" y="1802"/>
                  <a:ext cx="38" cy="27"/>
                </a:xfrm>
                <a:custGeom>
                  <a:avLst/>
                  <a:gdLst/>
                  <a:ahLst/>
                  <a:cxnLst>
                    <a:cxn ang="0">
                      <a:pos x="20" y="0"/>
                    </a:cxn>
                    <a:cxn ang="0">
                      <a:pos x="36" y="2"/>
                    </a:cxn>
                    <a:cxn ang="0">
                      <a:pos x="38" y="12"/>
                    </a:cxn>
                    <a:cxn ang="0">
                      <a:pos x="21" y="23"/>
                    </a:cxn>
                    <a:cxn ang="0">
                      <a:pos x="2" y="27"/>
                    </a:cxn>
                    <a:cxn ang="0">
                      <a:pos x="0" y="15"/>
                    </a:cxn>
                    <a:cxn ang="0">
                      <a:pos x="20" y="0"/>
                    </a:cxn>
                  </a:cxnLst>
                  <a:rect l="0" t="0" r="r" b="b"/>
                  <a:pathLst>
                    <a:path w="38" h="27">
                      <a:moveTo>
                        <a:pt x="20" y="0"/>
                      </a:moveTo>
                      <a:lnTo>
                        <a:pt x="36" y="2"/>
                      </a:lnTo>
                      <a:lnTo>
                        <a:pt x="38" y="12"/>
                      </a:lnTo>
                      <a:lnTo>
                        <a:pt x="21" y="23"/>
                      </a:lnTo>
                      <a:lnTo>
                        <a:pt x="2" y="27"/>
                      </a:lnTo>
                      <a:lnTo>
                        <a:pt x="0" y="15"/>
                      </a:lnTo>
                      <a:lnTo>
                        <a:pt x="20"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35" name="Freeform 64"/>
                <p:cNvSpPr>
                  <a:spLocks/>
                </p:cNvSpPr>
                <p:nvPr>
                  <p:custDataLst>
                    <p:tags r:id="rId53"/>
                  </p:custDataLst>
                </p:nvPr>
              </p:nvSpPr>
              <p:spPr bwMode="auto">
                <a:xfrm>
                  <a:off x="1295" y="1627"/>
                  <a:ext cx="37" cy="27"/>
                </a:xfrm>
                <a:custGeom>
                  <a:avLst/>
                  <a:gdLst/>
                  <a:ahLst/>
                  <a:cxnLst>
                    <a:cxn ang="0">
                      <a:pos x="31" y="0"/>
                    </a:cxn>
                    <a:cxn ang="0">
                      <a:pos x="37" y="13"/>
                    </a:cxn>
                    <a:cxn ang="0">
                      <a:pos x="19" y="23"/>
                    </a:cxn>
                    <a:cxn ang="0">
                      <a:pos x="4" y="27"/>
                    </a:cxn>
                    <a:cxn ang="0">
                      <a:pos x="0" y="14"/>
                    </a:cxn>
                    <a:cxn ang="0">
                      <a:pos x="7" y="5"/>
                    </a:cxn>
                    <a:cxn ang="0">
                      <a:pos x="31" y="0"/>
                    </a:cxn>
                  </a:cxnLst>
                  <a:rect l="0" t="0" r="r" b="b"/>
                  <a:pathLst>
                    <a:path w="37" h="27">
                      <a:moveTo>
                        <a:pt x="31" y="0"/>
                      </a:moveTo>
                      <a:lnTo>
                        <a:pt x="37" y="13"/>
                      </a:lnTo>
                      <a:lnTo>
                        <a:pt x="19" y="23"/>
                      </a:lnTo>
                      <a:lnTo>
                        <a:pt x="4" y="27"/>
                      </a:lnTo>
                      <a:lnTo>
                        <a:pt x="0" y="14"/>
                      </a:lnTo>
                      <a:lnTo>
                        <a:pt x="7" y="5"/>
                      </a:lnTo>
                      <a:lnTo>
                        <a:pt x="31"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36" name="Freeform 65"/>
                <p:cNvSpPr>
                  <a:spLocks/>
                </p:cNvSpPr>
                <p:nvPr>
                  <p:custDataLst>
                    <p:tags r:id="rId54"/>
                  </p:custDataLst>
                </p:nvPr>
              </p:nvSpPr>
              <p:spPr bwMode="auto">
                <a:xfrm>
                  <a:off x="1350" y="1491"/>
                  <a:ext cx="20" cy="52"/>
                </a:xfrm>
                <a:custGeom>
                  <a:avLst/>
                  <a:gdLst/>
                  <a:ahLst/>
                  <a:cxnLst>
                    <a:cxn ang="0">
                      <a:pos x="9" y="52"/>
                    </a:cxn>
                    <a:cxn ang="0">
                      <a:pos x="20" y="39"/>
                    </a:cxn>
                    <a:cxn ang="0">
                      <a:pos x="16" y="22"/>
                    </a:cxn>
                    <a:cxn ang="0">
                      <a:pos x="13" y="13"/>
                    </a:cxn>
                    <a:cxn ang="0">
                      <a:pos x="9" y="0"/>
                    </a:cxn>
                    <a:cxn ang="0">
                      <a:pos x="0" y="6"/>
                    </a:cxn>
                    <a:cxn ang="0">
                      <a:pos x="5" y="24"/>
                    </a:cxn>
                    <a:cxn ang="0">
                      <a:pos x="9" y="52"/>
                    </a:cxn>
                  </a:cxnLst>
                  <a:rect l="0" t="0" r="r" b="b"/>
                  <a:pathLst>
                    <a:path w="20" h="52">
                      <a:moveTo>
                        <a:pt x="9" y="52"/>
                      </a:moveTo>
                      <a:lnTo>
                        <a:pt x="20" y="39"/>
                      </a:lnTo>
                      <a:lnTo>
                        <a:pt x="16" y="22"/>
                      </a:lnTo>
                      <a:lnTo>
                        <a:pt x="13" y="13"/>
                      </a:lnTo>
                      <a:lnTo>
                        <a:pt x="9" y="0"/>
                      </a:lnTo>
                      <a:lnTo>
                        <a:pt x="0" y="6"/>
                      </a:lnTo>
                      <a:lnTo>
                        <a:pt x="5" y="24"/>
                      </a:lnTo>
                      <a:lnTo>
                        <a:pt x="9" y="52"/>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37" name="Freeform 66"/>
                <p:cNvSpPr>
                  <a:spLocks/>
                </p:cNvSpPr>
                <p:nvPr>
                  <p:custDataLst>
                    <p:tags r:id="rId55"/>
                  </p:custDataLst>
                </p:nvPr>
              </p:nvSpPr>
              <p:spPr bwMode="auto">
                <a:xfrm>
                  <a:off x="1202" y="1694"/>
                  <a:ext cx="97" cy="99"/>
                </a:xfrm>
                <a:custGeom>
                  <a:avLst/>
                  <a:gdLst/>
                  <a:ahLst/>
                  <a:cxnLst>
                    <a:cxn ang="0">
                      <a:pos x="34" y="0"/>
                    </a:cxn>
                    <a:cxn ang="0">
                      <a:pos x="56" y="0"/>
                    </a:cxn>
                    <a:cxn ang="0">
                      <a:pos x="73" y="4"/>
                    </a:cxn>
                    <a:cxn ang="0">
                      <a:pos x="84" y="20"/>
                    </a:cxn>
                    <a:cxn ang="0">
                      <a:pos x="95" y="46"/>
                    </a:cxn>
                    <a:cxn ang="0">
                      <a:pos x="97" y="68"/>
                    </a:cxn>
                    <a:cxn ang="0">
                      <a:pos x="86" y="79"/>
                    </a:cxn>
                    <a:cxn ang="0">
                      <a:pos x="82" y="94"/>
                    </a:cxn>
                    <a:cxn ang="0">
                      <a:pos x="71" y="99"/>
                    </a:cxn>
                    <a:cxn ang="0">
                      <a:pos x="60" y="86"/>
                    </a:cxn>
                    <a:cxn ang="0">
                      <a:pos x="50" y="62"/>
                    </a:cxn>
                    <a:cxn ang="0">
                      <a:pos x="43" y="53"/>
                    </a:cxn>
                    <a:cxn ang="0">
                      <a:pos x="24" y="51"/>
                    </a:cxn>
                    <a:cxn ang="0">
                      <a:pos x="0" y="26"/>
                    </a:cxn>
                    <a:cxn ang="0">
                      <a:pos x="34" y="0"/>
                    </a:cxn>
                  </a:cxnLst>
                  <a:rect l="0" t="0" r="r" b="b"/>
                  <a:pathLst>
                    <a:path w="97" h="99">
                      <a:moveTo>
                        <a:pt x="34" y="0"/>
                      </a:moveTo>
                      <a:lnTo>
                        <a:pt x="56" y="0"/>
                      </a:lnTo>
                      <a:lnTo>
                        <a:pt x="73" y="4"/>
                      </a:lnTo>
                      <a:lnTo>
                        <a:pt x="84" y="20"/>
                      </a:lnTo>
                      <a:lnTo>
                        <a:pt x="95" y="46"/>
                      </a:lnTo>
                      <a:lnTo>
                        <a:pt x="97" y="68"/>
                      </a:lnTo>
                      <a:lnTo>
                        <a:pt x="86" y="79"/>
                      </a:lnTo>
                      <a:lnTo>
                        <a:pt x="82" y="94"/>
                      </a:lnTo>
                      <a:lnTo>
                        <a:pt x="71" y="99"/>
                      </a:lnTo>
                      <a:lnTo>
                        <a:pt x="60" y="86"/>
                      </a:lnTo>
                      <a:lnTo>
                        <a:pt x="50" y="62"/>
                      </a:lnTo>
                      <a:lnTo>
                        <a:pt x="43" y="53"/>
                      </a:lnTo>
                      <a:lnTo>
                        <a:pt x="24" y="51"/>
                      </a:lnTo>
                      <a:lnTo>
                        <a:pt x="0" y="26"/>
                      </a:lnTo>
                      <a:lnTo>
                        <a:pt x="34"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38" name="Freeform 67"/>
                <p:cNvSpPr>
                  <a:spLocks/>
                </p:cNvSpPr>
                <p:nvPr>
                  <p:custDataLst>
                    <p:tags r:id="rId56"/>
                  </p:custDataLst>
                </p:nvPr>
              </p:nvSpPr>
              <p:spPr bwMode="auto">
                <a:xfrm>
                  <a:off x="1346" y="1432"/>
                  <a:ext cx="50" cy="37"/>
                </a:xfrm>
                <a:custGeom>
                  <a:avLst/>
                  <a:gdLst/>
                  <a:ahLst/>
                  <a:cxnLst>
                    <a:cxn ang="0">
                      <a:pos x="44" y="0"/>
                    </a:cxn>
                    <a:cxn ang="0">
                      <a:pos x="50" y="9"/>
                    </a:cxn>
                    <a:cxn ang="0">
                      <a:pos x="31" y="20"/>
                    </a:cxn>
                    <a:cxn ang="0">
                      <a:pos x="13" y="37"/>
                    </a:cxn>
                    <a:cxn ang="0">
                      <a:pos x="2" y="33"/>
                    </a:cxn>
                    <a:cxn ang="0">
                      <a:pos x="0" y="13"/>
                    </a:cxn>
                    <a:cxn ang="0">
                      <a:pos x="0" y="6"/>
                    </a:cxn>
                    <a:cxn ang="0">
                      <a:pos x="30" y="0"/>
                    </a:cxn>
                    <a:cxn ang="0">
                      <a:pos x="44" y="0"/>
                    </a:cxn>
                  </a:cxnLst>
                  <a:rect l="0" t="0" r="r" b="b"/>
                  <a:pathLst>
                    <a:path w="50" h="37">
                      <a:moveTo>
                        <a:pt x="44" y="0"/>
                      </a:moveTo>
                      <a:lnTo>
                        <a:pt x="50" y="9"/>
                      </a:lnTo>
                      <a:lnTo>
                        <a:pt x="31" y="20"/>
                      </a:lnTo>
                      <a:lnTo>
                        <a:pt x="13" y="37"/>
                      </a:lnTo>
                      <a:lnTo>
                        <a:pt x="2" y="33"/>
                      </a:lnTo>
                      <a:lnTo>
                        <a:pt x="0" y="13"/>
                      </a:lnTo>
                      <a:lnTo>
                        <a:pt x="0" y="6"/>
                      </a:lnTo>
                      <a:lnTo>
                        <a:pt x="30" y="0"/>
                      </a:lnTo>
                      <a:lnTo>
                        <a:pt x="44"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sp>
            <p:nvSpPr>
              <p:cNvPr id="303" name="Freeform 68"/>
              <p:cNvSpPr>
                <a:spLocks/>
              </p:cNvSpPr>
              <p:nvPr>
                <p:custDataLst>
                  <p:tags r:id="rId23"/>
                </p:custDataLst>
              </p:nvPr>
            </p:nvSpPr>
            <p:spPr bwMode="auto">
              <a:xfrm>
                <a:off x="1106318" y="1580747"/>
                <a:ext cx="530974" cy="462730"/>
              </a:xfrm>
              <a:custGeom>
                <a:avLst/>
                <a:gdLst/>
                <a:ahLst/>
                <a:cxnLst>
                  <a:cxn ang="0">
                    <a:pos x="17" y="89"/>
                  </a:cxn>
                  <a:cxn ang="0">
                    <a:pos x="45" y="115"/>
                  </a:cxn>
                  <a:cxn ang="0">
                    <a:pos x="59" y="159"/>
                  </a:cxn>
                  <a:cxn ang="0">
                    <a:pos x="35" y="189"/>
                  </a:cxn>
                  <a:cxn ang="0">
                    <a:pos x="0" y="187"/>
                  </a:cxn>
                  <a:cxn ang="0">
                    <a:pos x="48" y="230"/>
                  </a:cxn>
                  <a:cxn ang="0">
                    <a:pos x="67" y="282"/>
                  </a:cxn>
                  <a:cxn ang="0">
                    <a:pos x="113" y="304"/>
                  </a:cxn>
                  <a:cxn ang="0">
                    <a:pos x="141" y="316"/>
                  </a:cxn>
                  <a:cxn ang="0">
                    <a:pos x="191" y="317"/>
                  </a:cxn>
                  <a:cxn ang="0">
                    <a:pos x="230" y="319"/>
                  </a:cxn>
                  <a:cxn ang="0">
                    <a:pos x="258" y="304"/>
                  </a:cxn>
                  <a:cxn ang="0">
                    <a:pos x="280" y="319"/>
                  </a:cxn>
                  <a:cxn ang="0">
                    <a:pos x="305" y="303"/>
                  </a:cxn>
                  <a:cxn ang="0">
                    <a:pos x="342" y="288"/>
                  </a:cxn>
                  <a:cxn ang="0">
                    <a:pos x="352" y="266"/>
                  </a:cxn>
                  <a:cxn ang="0">
                    <a:pos x="372" y="240"/>
                  </a:cxn>
                  <a:cxn ang="0">
                    <a:pos x="355" y="220"/>
                  </a:cxn>
                  <a:cxn ang="0">
                    <a:pos x="368" y="168"/>
                  </a:cxn>
                  <a:cxn ang="0">
                    <a:pos x="348" y="154"/>
                  </a:cxn>
                  <a:cxn ang="0">
                    <a:pos x="344" y="144"/>
                  </a:cxn>
                  <a:cxn ang="0">
                    <a:pos x="331" y="126"/>
                  </a:cxn>
                  <a:cxn ang="0">
                    <a:pos x="303" y="146"/>
                  </a:cxn>
                  <a:cxn ang="0">
                    <a:pos x="284" y="139"/>
                  </a:cxn>
                  <a:cxn ang="0">
                    <a:pos x="254" y="126"/>
                  </a:cxn>
                  <a:cxn ang="0">
                    <a:pos x="237" y="124"/>
                  </a:cxn>
                  <a:cxn ang="0">
                    <a:pos x="228" y="111"/>
                  </a:cxn>
                  <a:cxn ang="0">
                    <a:pos x="197" y="113"/>
                  </a:cxn>
                  <a:cxn ang="0">
                    <a:pos x="191" y="96"/>
                  </a:cxn>
                  <a:cxn ang="0">
                    <a:pos x="174" y="104"/>
                  </a:cxn>
                  <a:cxn ang="0">
                    <a:pos x="163" y="104"/>
                  </a:cxn>
                  <a:cxn ang="0">
                    <a:pos x="141" y="117"/>
                  </a:cxn>
                  <a:cxn ang="0">
                    <a:pos x="135" y="81"/>
                  </a:cxn>
                  <a:cxn ang="0">
                    <a:pos x="152" y="59"/>
                  </a:cxn>
                  <a:cxn ang="0">
                    <a:pos x="152" y="22"/>
                  </a:cxn>
                  <a:cxn ang="0">
                    <a:pos x="141" y="0"/>
                  </a:cxn>
                  <a:cxn ang="0">
                    <a:pos x="130" y="28"/>
                  </a:cxn>
                  <a:cxn ang="0">
                    <a:pos x="115" y="30"/>
                  </a:cxn>
                  <a:cxn ang="0">
                    <a:pos x="111" y="6"/>
                  </a:cxn>
                  <a:cxn ang="0">
                    <a:pos x="89" y="19"/>
                  </a:cxn>
                  <a:cxn ang="0">
                    <a:pos x="87" y="37"/>
                  </a:cxn>
                  <a:cxn ang="0">
                    <a:pos x="70" y="26"/>
                  </a:cxn>
                  <a:cxn ang="0">
                    <a:pos x="56" y="37"/>
                  </a:cxn>
                  <a:cxn ang="0">
                    <a:pos x="78" y="54"/>
                  </a:cxn>
                  <a:cxn ang="0">
                    <a:pos x="102" y="74"/>
                  </a:cxn>
                  <a:cxn ang="0">
                    <a:pos x="87" y="87"/>
                  </a:cxn>
                  <a:cxn ang="0">
                    <a:pos x="95" y="109"/>
                  </a:cxn>
                  <a:cxn ang="0">
                    <a:pos x="76" y="115"/>
                  </a:cxn>
                  <a:cxn ang="0">
                    <a:pos x="45" y="83"/>
                  </a:cxn>
                </a:cxnLst>
                <a:rect l="0" t="0" r="r" b="b"/>
                <a:pathLst>
                  <a:path w="372" h="323">
                    <a:moveTo>
                      <a:pt x="28" y="76"/>
                    </a:moveTo>
                    <a:lnTo>
                      <a:pt x="17" y="89"/>
                    </a:lnTo>
                    <a:lnTo>
                      <a:pt x="30" y="111"/>
                    </a:lnTo>
                    <a:lnTo>
                      <a:pt x="45" y="115"/>
                    </a:lnTo>
                    <a:lnTo>
                      <a:pt x="58" y="124"/>
                    </a:lnTo>
                    <a:lnTo>
                      <a:pt x="59" y="159"/>
                    </a:lnTo>
                    <a:lnTo>
                      <a:pt x="46" y="183"/>
                    </a:lnTo>
                    <a:lnTo>
                      <a:pt x="35" y="189"/>
                    </a:lnTo>
                    <a:lnTo>
                      <a:pt x="4" y="183"/>
                    </a:lnTo>
                    <a:lnTo>
                      <a:pt x="0" y="187"/>
                    </a:lnTo>
                    <a:lnTo>
                      <a:pt x="37" y="224"/>
                    </a:lnTo>
                    <a:lnTo>
                      <a:pt x="48" y="230"/>
                    </a:lnTo>
                    <a:lnTo>
                      <a:pt x="54" y="256"/>
                    </a:lnTo>
                    <a:lnTo>
                      <a:pt x="67" y="282"/>
                    </a:lnTo>
                    <a:lnTo>
                      <a:pt x="89" y="301"/>
                    </a:lnTo>
                    <a:lnTo>
                      <a:pt x="113" y="304"/>
                    </a:lnTo>
                    <a:lnTo>
                      <a:pt x="128" y="316"/>
                    </a:lnTo>
                    <a:lnTo>
                      <a:pt x="141" y="316"/>
                    </a:lnTo>
                    <a:lnTo>
                      <a:pt x="158" y="308"/>
                    </a:lnTo>
                    <a:lnTo>
                      <a:pt x="191" y="317"/>
                    </a:lnTo>
                    <a:lnTo>
                      <a:pt x="208" y="323"/>
                    </a:lnTo>
                    <a:lnTo>
                      <a:pt x="230" y="319"/>
                    </a:lnTo>
                    <a:lnTo>
                      <a:pt x="245" y="316"/>
                    </a:lnTo>
                    <a:lnTo>
                      <a:pt x="258" y="304"/>
                    </a:lnTo>
                    <a:lnTo>
                      <a:pt x="267" y="308"/>
                    </a:lnTo>
                    <a:lnTo>
                      <a:pt x="280" y="319"/>
                    </a:lnTo>
                    <a:lnTo>
                      <a:pt x="293" y="312"/>
                    </a:lnTo>
                    <a:lnTo>
                      <a:pt x="305" y="303"/>
                    </a:lnTo>
                    <a:lnTo>
                      <a:pt x="313" y="295"/>
                    </a:lnTo>
                    <a:lnTo>
                      <a:pt x="342" y="288"/>
                    </a:lnTo>
                    <a:lnTo>
                      <a:pt x="348" y="279"/>
                    </a:lnTo>
                    <a:lnTo>
                      <a:pt x="352" y="266"/>
                    </a:lnTo>
                    <a:lnTo>
                      <a:pt x="370" y="251"/>
                    </a:lnTo>
                    <a:lnTo>
                      <a:pt x="372" y="240"/>
                    </a:lnTo>
                    <a:lnTo>
                      <a:pt x="365" y="233"/>
                    </a:lnTo>
                    <a:lnTo>
                      <a:pt x="355" y="220"/>
                    </a:lnTo>
                    <a:lnTo>
                      <a:pt x="353" y="174"/>
                    </a:lnTo>
                    <a:lnTo>
                      <a:pt x="368" y="168"/>
                    </a:lnTo>
                    <a:lnTo>
                      <a:pt x="359" y="152"/>
                    </a:lnTo>
                    <a:lnTo>
                      <a:pt x="348" y="154"/>
                    </a:lnTo>
                    <a:lnTo>
                      <a:pt x="340" y="152"/>
                    </a:lnTo>
                    <a:lnTo>
                      <a:pt x="344" y="144"/>
                    </a:lnTo>
                    <a:lnTo>
                      <a:pt x="340" y="130"/>
                    </a:lnTo>
                    <a:lnTo>
                      <a:pt x="331" y="126"/>
                    </a:lnTo>
                    <a:lnTo>
                      <a:pt x="316" y="135"/>
                    </a:lnTo>
                    <a:lnTo>
                      <a:pt x="303" y="146"/>
                    </a:lnTo>
                    <a:lnTo>
                      <a:pt x="293" y="144"/>
                    </a:lnTo>
                    <a:lnTo>
                      <a:pt x="284" y="139"/>
                    </a:lnTo>
                    <a:lnTo>
                      <a:pt x="269" y="130"/>
                    </a:lnTo>
                    <a:lnTo>
                      <a:pt x="254" y="126"/>
                    </a:lnTo>
                    <a:lnTo>
                      <a:pt x="245" y="130"/>
                    </a:lnTo>
                    <a:lnTo>
                      <a:pt x="237" y="124"/>
                    </a:lnTo>
                    <a:lnTo>
                      <a:pt x="236" y="113"/>
                    </a:lnTo>
                    <a:lnTo>
                      <a:pt x="228" y="111"/>
                    </a:lnTo>
                    <a:lnTo>
                      <a:pt x="213" y="115"/>
                    </a:lnTo>
                    <a:lnTo>
                      <a:pt x="197" y="113"/>
                    </a:lnTo>
                    <a:lnTo>
                      <a:pt x="197" y="104"/>
                    </a:lnTo>
                    <a:lnTo>
                      <a:pt x="191" y="96"/>
                    </a:lnTo>
                    <a:lnTo>
                      <a:pt x="180" y="94"/>
                    </a:lnTo>
                    <a:lnTo>
                      <a:pt x="174" y="104"/>
                    </a:lnTo>
                    <a:lnTo>
                      <a:pt x="171" y="109"/>
                    </a:lnTo>
                    <a:lnTo>
                      <a:pt x="163" y="104"/>
                    </a:lnTo>
                    <a:lnTo>
                      <a:pt x="152" y="107"/>
                    </a:lnTo>
                    <a:lnTo>
                      <a:pt x="141" y="117"/>
                    </a:lnTo>
                    <a:lnTo>
                      <a:pt x="134" y="109"/>
                    </a:lnTo>
                    <a:lnTo>
                      <a:pt x="135" y="81"/>
                    </a:lnTo>
                    <a:lnTo>
                      <a:pt x="143" y="67"/>
                    </a:lnTo>
                    <a:lnTo>
                      <a:pt x="152" y="59"/>
                    </a:lnTo>
                    <a:lnTo>
                      <a:pt x="150" y="41"/>
                    </a:lnTo>
                    <a:lnTo>
                      <a:pt x="152" y="22"/>
                    </a:lnTo>
                    <a:lnTo>
                      <a:pt x="148" y="0"/>
                    </a:lnTo>
                    <a:lnTo>
                      <a:pt x="141" y="0"/>
                    </a:lnTo>
                    <a:lnTo>
                      <a:pt x="134" y="9"/>
                    </a:lnTo>
                    <a:lnTo>
                      <a:pt x="130" y="28"/>
                    </a:lnTo>
                    <a:lnTo>
                      <a:pt x="124" y="41"/>
                    </a:lnTo>
                    <a:lnTo>
                      <a:pt x="115" y="30"/>
                    </a:lnTo>
                    <a:lnTo>
                      <a:pt x="121" y="15"/>
                    </a:lnTo>
                    <a:lnTo>
                      <a:pt x="111" y="6"/>
                    </a:lnTo>
                    <a:lnTo>
                      <a:pt x="96" y="9"/>
                    </a:lnTo>
                    <a:lnTo>
                      <a:pt x="89" y="19"/>
                    </a:lnTo>
                    <a:lnTo>
                      <a:pt x="93" y="28"/>
                    </a:lnTo>
                    <a:lnTo>
                      <a:pt x="87" y="37"/>
                    </a:lnTo>
                    <a:lnTo>
                      <a:pt x="80" y="33"/>
                    </a:lnTo>
                    <a:lnTo>
                      <a:pt x="70" y="26"/>
                    </a:lnTo>
                    <a:lnTo>
                      <a:pt x="63" y="28"/>
                    </a:lnTo>
                    <a:lnTo>
                      <a:pt x="56" y="37"/>
                    </a:lnTo>
                    <a:lnTo>
                      <a:pt x="65" y="52"/>
                    </a:lnTo>
                    <a:lnTo>
                      <a:pt x="78" y="54"/>
                    </a:lnTo>
                    <a:lnTo>
                      <a:pt x="95" y="69"/>
                    </a:lnTo>
                    <a:lnTo>
                      <a:pt x="102" y="74"/>
                    </a:lnTo>
                    <a:lnTo>
                      <a:pt x="102" y="83"/>
                    </a:lnTo>
                    <a:lnTo>
                      <a:pt x="87" y="87"/>
                    </a:lnTo>
                    <a:lnTo>
                      <a:pt x="89" y="100"/>
                    </a:lnTo>
                    <a:lnTo>
                      <a:pt x="95" y="109"/>
                    </a:lnTo>
                    <a:lnTo>
                      <a:pt x="89" y="117"/>
                    </a:lnTo>
                    <a:lnTo>
                      <a:pt x="76" y="115"/>
                    </a:lnTo>
                    <a:lnTo>
                      <a:pt x="58" y="96"/>
                    </a:lnTo>
                    <a:lnTo>
                      <a:pt x="45" y="83"/>
                    </a:lnTo>
                    <a:lnTo>
                      <a:pt x="28" y="76"/>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04" name="Freeform 69"/>
              <p:cNvSpPr>
                <a:spLocks/>
              </p:cNvSpPr>
              <p:nvPr>
                <p:custDataLst>
                  <p:tags r:id="rId24"/>
                </p:custDataLst>
              </p:nvPr>
            </p:nvSpPr>
            <p:spPr bwMode="auto">
              <a:xfrm>
                <a:off x="3920982" y="5312547"/>
                <a:ext cx="284629" cy="243016"/>
              </a:xfrm>
              <a:custGeom>
                <a:avLst/>
                <a:gdLst/>
                <a:ahLst/>
                <a:cxnLst>
                  <a:cxn ang="0">
                    <a:pos x="35" y="28"/>
                  </a:cxn>
                  <a:cxn ang="0">
                    <a:pos x="32" y="71"/>
                  </a:cxn>
                  <a:cxn ang="0">
                    <a:pos x="0" y="117"/>
                  </a:cxn>
                  <a:cxn ang="0">
                    <a:pos x="7" y="126"/>
                  </a:cxn>
                  <a:cxn ang="0">
                    <a:pos x="43" y="123"/>
                  </a:cxn>
                  <a:cxn ang="0">
                    <a:pos x="26" y="143"/>
                  </a:cxn>
                  <a:cxn ang="0">
                    <a:pos x="19" y="151"/>
                  </a:cxn>
                  <a:cxn ang="0">
                    <a:pos x="22" y="171"/>
                  </a:cxn>
                  <a:cxn ang="0">
                    <a:pos x="50" y="139"/>
                  </a:cxn>
                  <a:cxn ang="0">
                    <a:pos x="67" y="130"/>
                  </a:cxn>
                  <a:cxn ang="0">
                    <a:pos x="97" y="91"/>
                  </a:cxn>
                  <a:cxn ang="0">
                    <a:pos x="132" y="71"/>
                  </a:cxn>
                  <a:cxn ang="0">
                    <a:pos x="186" y="69"/>
                  </a:cxn>
                  <a:cxn ang="0">
                    <a:pos x="199" y="63"/>
                  </a:cxn>
                  <a:cxn ang="0">
                    <a:pos x="197" y="52"/>
                  </a:cxn>
                  <a:cxn ang="0">
                    <a:pos x="171" y="30"/>
                  </a:cxn>
                  <a:cxn ang="0">
                    <a:pos x="158" y="32"/>
                  </a:cxn>
                  <a:cxn ang="0">
                    <a:pos x="154" y="26"/>
                  </a:cxn>
                  <a:cxn ang="0">
                    <a:pos x="139" y="26"/>
                  </a:cxn>
                  <a:cxn ang="0">
                    <a:pos x="117" y="2"/>
                  </a:cxn>
                  <a:cxn ang="0">
                    <a:pos x="93" y="0"/>
                  </a:cxn>
                  <a:cxn ang="0">
                    <a:pos x="71" y="6"/>
                  </a:cxn>
                  <a:cxn ang="0">
                    <a:pos x="52" y="15"/>
                  </a:cxn>
                  <a:cxn ang="0">
                    <a:pos x="35" y="28"/>
                  </a:cxn>
                </a:cxnLst>
                <a:rect l="0" t="0" r="r" b="b"/>
                <a:pathLst>
                  <a:path w="199" h="171">
                    <a:moveTo>
                      <a:pt x="35" y="28"/>
                    </a:moveTo>
                    <a:lnTo>
                      <a:pt x="32" y="71"/>
                    </a:lnTo>
                    <a:lnTo>
                      <a:pt x="0" y="117"/>
                    </a:lnTo>
                    <a:lnTo>
                      <a:pt x="7" y="126"/>
                    </a:lnTo>
                    <a:lnTo>
                      <a:pt x="43" y="123"/>
                    </a:lnTo>
                    <a:lnTo>
                      <a:pt x="26" y="143"/>
                    </a:lnTo>
                    <a:lnTo>
                      <a:pt x="19" y="151"/>
                    </a:lnTo>
                    <a:lnTo>
                      <a:pt x="22" y="171"/>
                    </a:lnTo>
                    <a:lnTo>
                      <a:pt x="50" y="139"/>
                    </a:lnTo>
                    <a:lnTo>
                      <a:pt x="67" y="130"/>
                    </a:lnTo>
                    <a:lnTo>
                      <a:pt x="97" y="91"/>
                    </a:lnTo>
                    <a:lnTo>
                      <a:pt x="132" y="71"/>
                    </a:lnTo>
                    <a:lnTo>
                      <a:pt x="186" y="69"/>
                    </a:lnTo>
                    <a:lnTo>
                      <a:pt x="199" y="63"/>
                    </a:lnTo>
                    <a:lnTo>
                      <a:pt x="197" y="52"/>
                    </a:lnTo>
                    <a:lnTo>
                      <a:pt x="171" y="30"/>
                    </a:lnTo>
                    <a:lnTo>
                      <a:pt x="158" y="32"/>
                    </a:lnTo>
                    <a:lnTo>
                      <a:pt x="154" y="26"/>
                    </a:lnTo>
                    <a:lnTo>
                      <a:pt x="139" y="26"/>
                    </a:lnTo>
                    <a:lnTo>
                      <a:pt x="117" y="2"/>
                    </a:lnTo>
                    <a:lnTo>
                      <a:pt x="93" y="0"/>
                    </a:lnTo>
                    <a:lnTo>
                      <a:pt x="71" y="6"/>
                    </a:lnTo>
                    <a:lnTo>
                      <a:pt x="52" y="15"/>
                    </a:lnTo>
                    <a:lnTo>
                      <a:pt x="35" y="28"/>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05" name="Freeform 70"/>
              <p:cNvSpPr>
                <a:spLocks/>
              </p:cNvSpPr>
              <p:nvPr>
                <p:custDataLst>
                  <p:tags r:id="rId25"/>
                </p:custDataLst>
              </p:nvPr>
            </p:nvSpPr>
            <p:spPr bwMode="auto">
              <a:xfrm>
                <a:off x="3964259" y="5081182"/>
                <a:ext cx="1904184" cy="955421"/>
              </a:xfrm>
              <a:custGeom>
                <a:avLst/>
                <a:gdLst/>
                <a:ahLst/>
                <a:cxnLst>
                  <a:cxn ang="0">
                    <a:pos x="219" y="255"/>
                  </a:cxn>
                  <a:cxn ang="0">
                    <a:pos x="185" y="233"/>
                  </a:cxn>
                  <a:cxn ang="0">
                    <a:pos x="283" y="199"/>
                  </a:cxn>
                  <a:cxn ang="0">
                    <a:pos x="346" y="170"/>
                  </a:cxn>
                  <a:cxn ang="0">
                    <a:pos x="421" y="110"/>
                  </a:cxn>
                  <a:cxn ang="0">
                    <a:pos x="540" y="82"/>
                  </a:cxn>
                  <a:cxn ang="0">
                    <a:pos x="581" y="108"/>
                  </a:cxn>
                  <a:cxn ang="0">
                    <a:pos x="640" y="118"/>
                  </a:cxn>
                  <a:cxn ang="0">
                    <a:pos x="681" y="114"/>
                  </a:cxn>
                  <a:cxn ang="0">
                    <a:pos x="818" y="121"/>
                  </a:cxn>
                  <a:cxn ang="0">
                    <a:pos x="866" y="93"/>
                  </a:cxn>
                  <a:cxn ang="0">
                    <a:pos x="938" y="78"/>
                  </a:cxn>
                  <a:cxn ang="0">
                    <a:pos x="978" y="26"/>
                  </a:cxn>
                  <a:cxn ang="0">
                    <a:pos x="1045" y="26"/>
                  </a:cxn>
                  <a:cxn ang="0">
                    <a:pos x="1086" y="4"/>
                  </a:cxn>
                  <a:cxn ang="0">
                    <a:pos x="1160" y="85"/>
                  </a:cxn>
                  <a:cxn ang="0">
                    <a:pos x="1230" y="170"/>
                  </a:cxn>
                  <a:cxn ang="0">
                    <a:pos x="1275" y="229"/>
                  </a:cxn>
                  <a:cxn ang="0">
                    <a:pos x="1308" y="284"/>
                  </a:cxn>
                  <a:cxn ang="0">
                    <a:pos x="1334" y="344"/>
                  </a:cxn>
                  <a:cxn ang="0">
                    <a:pos x="1264" y="362"/>
                  </a:cxn>
                  <a:cxn ang="0">
                    <a:pos x="1230" y="366"/>
                  </a:cxn>
                  <a:cxn ang="0">
                    <a:pos x="1186" y="359"/>
                  </a:cxn>
                  <a:cxn ang="0">
                    <a:pos x="1152" y="385"/>
                  </a:cxn>
                  <a:cxn ang="0">
                    <a:pos x="1097" y="396"/>
                  </a:cxn>
                  <a:cxn ang="0">
                    <a:pos x="1060" y="433"/>
                  </a:cxn>
                  <a:cxn ang="0">
                    <a:pos x="978" y="477"/>
                  </a:cxn>
                  <a:cxn ang="0">
                    <a:pos x="923" y="492"/>
                  </a:cxn>
                  <a:cxn ang="0">
                    <a:pos x="875" y="492"/>
                  </a:cxn>
                  <a:cxn ang="0">
                    <a:pos x="777" y="499"/>
                  </a:cxn>
                  <a:cxn ang="0">
                    <a:pos x="762" y="548"/>
                  </a:cxn>
                  <a:cxn ang="0">
                    <a:pos x="707" y="570"/>
                  </a:cxn>
                  <a:cxn ang="0">
                    <a:pos x="714" y="529"/>
                  </a:cxn>
                  <a:cxn ang="0">
                    <a:pos x="685" y="540"/>
                  </a:cxn>
                  <a:cxn ang="0">
                    <a:pos x="610" y="548"/>
                  </a:cxn>
                  <a:cxn ang="0">
                    <a:pos x="562" y="611"/>
                  </a:cxn>
                  <a:cxn ang="0">
                    <a:pos x="418" y="600"/>
                  </a:cxn>
                  <a:cxn ang="0">
                    <a:pos x="332" y="585"/>
                  </a:cxn>
                  <a:cxn ang="0">
                    <a:pos x="317" y="637"/>
                  </a:cxn>
                  <a:cxn ang="0">
                    <a:pos x="265" y="670"/>
                  </a:cxn>
                  <a:cxn ang="0">
                    <a:pos x="232" y="648"/>
                  </a:cxn>
                  <a:cxn ang="0">
                    <a:pos x="185" y="618"/>
                  </a:cxn>
                  <a:cxn ang="0">
                    <a:pos x="148" y="603"/>
                  </a:cxn>
                  <a:cxn ang="0">
                    <a:pos x="115" y="588"/>
                  </a:cxn>
                  <a:cxn ang="0">
                    <a:pos x="96" y="566"/>
                  </a:cxn>
                  <a:cxn ang="0">
                    <a:pos x="85" y="533"/>
                  </a:cxn>
                  <a:cxn ang="0">
                    <a:pos x="15" y="474"/>
                  </a:cxn>
                  <a:cxn ang="0">
                    <a:pos x="37" y="466"/>
                  </a:cxn>
                  <a:cxn ang="0">
                    <a:pos x="37" y="414"/>
                  </a:cxn>
                  <a:cxn ang="0">
                    <a:pos x="7" y="385"/>
                  </a:cxn>
                  <a:cxn ang="0">
                    <a:pos x="30" y="299"/>
                  </a:cxn>
                  <a:cxn ang="0">
                    <a:pos x="74" y="307"/>
                  </a:cxn>
                  <a:cxn ang="0">
                    <a:pos x="107" y="288"/>
                  </a:cxn>
                </a:cxnLst>
                <a:rect l="0" t="0" r="r" b="b"/>
                <a:pathLst>
                  <a:path w="1334" h="670">
                    <a:moveTo>
                      <a:pt x="178" y="284"/>
                    </a:moveTo>
                    <a:lnTo>
                      <a:pt x="182" y="259"/>
                    </a:lnTo>
                    <a:lnTo>
                      <a:pt x="219" y="255"/>
                    </a:lnTo>
                    <a:lnTo>
                      <a:pt x="229" y="255"/>
                    </a:lnTo>
                    <a:lnTo>
                      <a:pt x="211" y="240"/>
                    </a:lnTo>
                    <a:lnTo>
                      <a:pt x="185" y="233"/>
                    </a:lnTo>
                    <a:lnTo>
                      <a:pt x="185" y="218"/>
                    </a:lnTo>
                    <a:lnTo>
                      <a:pt x="239" y="203"/>
                    </a:lnTo>
                    <a:lnTo>
                      <a:pt x="283" y="199"/>
                    </a:lnTo>
                    <a:lnTo>
                      <a:pt x="313" y="184"/>
                    </a:lnTo>
                    <a:lnTo>
                      <a:pt x="332" y="192"/>
                    </a:lnTo>
                    <a:lnTo>
                      <a:pt x="346" y="170"/>
                    </a:lnTo>
                    <a:lnTo>
                      <a:pt x="381" y="140"/>
                    </a:lnTo>
                    <a:lnTo>
                      <a:pt x="403" y="121"/>
                    </a:lnTo>
                    <a:lnTo>
                      <a:pt x="421" y="110"/>
                    </a:lnTo>
                    <a:lnTo>
                      <a:pt x="455" y="110"/>
                    </a:lnTo>
                    <a:lnTo>
                      <a:pt x="488" y="100"/>
                    </a:lnTo>
                    <a:lnTo>
                      <a:pt x="540" y="82"/>
                    </a:lnTo>
                    <a:lnTo>
                      <a:pt x="551" y="82"/>
                    </a:lnTo>
                    <a:lnTo>
                      <a:pt x="566" y="96"/>
                    </a:lnTo>
                    <a:lnTo>
                      <a:pt x="581" y="108"/>
                    </a:lnTo>
                    <a:lnTo>
                      <a:pt x="603" y="96"/>
                    </a:lnTo>
                    <a:lnTo>
                      <a:pt x="625" y="108"/>
                    </a:lnTo>
                    <a:lnTo>
                      <a:pt x="640" y="118"/>
                    </a:lnTo>
                    <a:lnTo>
                      <a:pt x="659" y="121"/>
                    </a:lnTo>
                    <a:lnTo>
                      <a:pt x="670" y="129"/>
                    </a:lnTo>
                    <a:lnTo>
                      <a:pt x="681" y="114"/>
                    </a:lnTo>
                    <a:lnTo>
                      <a:pt x="714" y="125"/>
                    </a:lnTo>
                    <a:lnTo>
                      <a:pt x="770" y="129"/>
                    </a:lnTo>
                    <a:lnTo>
                      <a:pt x="818" y="121"/>
                    </a:lnTo>
                    <a:lnTo>
                      <a:pt x="840" y="110"/>
                    </a:lnTo>
                    <a:lnTo>
                      <a:pt x="851" y="104"/>
                    </a:lnTo>
                    <a:lnTo>
                      <a:pt x="866" y="93"/>
                    </a:lnTo>
                    <a:lnTo>
                      <a:pt x="893" y="100"/>
                    </a:lnTo>
                    <a:lnTo>
                      <a:pt x="915" y="96"/>
                    </a:lnTo>
                    <a:lnTo>
                      <a:pt x="938" y="78"/>
                    </a:lnTo>
                    <a:lnTo>
                      <a:pt x="971" y="56"/>
                    </a:lnTo>
                    <a:lnTo>
                      <a:pt x="975" y="41"/>
                    </a:lnTo>
                    <a:lnTo>
                      <a:pt x="978" y="26"/>
                    </a:lnTo>
                    <a:lnTo>
                      <a:pt x="997" y="22"/>
                    </a:lnTo>
                    <a:lnTo>
                      <a:pt x="1015" y="26"/>
                    </a:lnTo>
                    <a:lnTo>
                      <a:pt x="1045" y="26"/>
                    </a:lnTo>
                    <a:lnTo>
                      <a:pt x="1056" y="15"/>
                    </a:lnTo>
                    <a:lnTo>
                      <a:pt x="1071" y="0"/>
                    </a:lnTo>
                    <a:lnTo>
                      <a:pt x="1086" y="4"/>
                    </a:lnTo>
                    <a:lnTo>
                      <a:pt x="1093" y="19"/>
                    </a:lnTo>
                    <a:lnTo>
                      <a:pt x="1134" y="26"/>
                    </a:lnTo>
                    <a:lnTo>
                      <a:pt x="1160" y="85"/>
                    </a:lnTo>
                    <a:lnTo>
                      <a:pt x="1241" y="89"/>
                    </a:lnTo>
                    <a:lnTo>
                      <a:pt x="1267" y="121"/>
                    </a:lnTo>
                    <a:lnTo>
                      <a:pt x="1230" y="170"/>
                    </a:lnTo>
                    <a:lnTo>
                      <a:pt x="1249" y="184"/>
                    </a:lnTo>
                    <a:lnTo>
                      <a:pt x="1245" y="218"/>
                    </a:lnTo>
                    <a:lnTo>
                      <a:pt x="1275" y="229"/>
                    </a:lnTo>
                    <a:lnTo>
                      <a:pt x="1260" y="277"/>
                    </a:lnTo>
                    <a:lnTo>
                      <a:pt x="1282" y="277"/>
                    </a:lnTo>
                    <a:lnTo>
                      <a:pt x="1308" y="284"/>
                    </a:lnTo>
                    <a:lnTo>
                      <a:pt x="1304" y="299"/>
                    </a:lnTo>
                    <a:lnTo>
                      <a:pt x="1312" y="322"/>
                    </a:lnTo>
                    <a:lnTo>
                      <a:pt x="1334" y="344"/>
                    </a:lnTo>
                    <a:lnTo>
                      <a:pt x="1319" y="351"/>
                    </a:lnTo>
                    <a:lnTo>
                      <a:pt x="1301" y="355"/>
                    </a:lnTo>
                    <a:lnTo>
                      <a:pt x="1264" y="362"/>
                    </a:lnTo>
                    <a:lnTo>
                      <a:pt x="1249" y="370"/>
                    </a:lnTo>
                    <a:lnTo>
                      <a:pt x="1230" y="355"/>
                    </a:lnTo>
                    <a:lnTo>
                      <a:pt x="1230" y="366"/>
                    </a:lnTo>
                    <a:lnTo>
                      <a:pt x="1219" y="373"/>
                    </a:lnTo>
                    <a:lnTo>
                      <a:pt x="1201" y="377"/>
                    </a:lnTo>
                    <a:lnTo>
                      <a:pt x="1186" y="359"/>
                    </a:lnTo>
                    <a:lnTo>
                      <a:pt x="1164" y="370"/>
                    </a:lnTo>
                    <a:lnTo>
                      <a:pt x="1171" y="385"/>
                    </a:lnTo>
                    <a:lnTo>
                      <a:pt x="1152" y="385"/>
                    </a:lnTo>
                    <a:lnTo>
                      <a:pt x="1123" y="385"/>
                    </a:lnTo>
                    <a:lnTo>
                      <a:pt x="1112" y="399"/>
                    </a:lnTo>
                    <a:lnTo>
                      <a:pt x="1097" y="396"/>
                    </a:lnTo>
                    <a:lnTo>
                      <a:pt x="1082" y="399"/>
                    </a:lnTo>
                    <a:lnTo>
                      <a:pt x="1082" y="410"/>
                    </a:lnTo>
                    <a:lnTo>
                      <a:pt x="1060" y="433"/>
                    </a:lnTo>
                    <a:lnTo>
                      <a:pt x="1030" y="459"/>
                    </a:lnTo>
                    <a:lnTo>
                      <a:pt x="982" y="462"/>
                    </a:lnTo>
                    <a:lnTo>
                      <a:pt x="978" y="477"/>
                    </a:lnTo>
                    <a:lnTo>
                      <a:pt x="975" y="485"/>
                    </a:lnTo>
                    <a:lnTo>
                      <a:pt x="949" y="485"/>
                    </a:lnTo>
                    <a:lnTo>
                      <a:pt x="923" y="492"/>
                    </a:lnTo>
                    <a:lnTo>
                      <a:pt x="900" y="485"/>
                    </a:lnTo>
                    <a:lnTo>
                      <a:pt x="889" y="477"/>
                    </a:lnTo>
                    <a:lnTo>
                      <a:pt x="875" y="492"/>
                    </a:lnTo>
                    <a:lnTo>
                      <a:pt x="840" y="507"/>
                    </a:lnTo>
                    <a:lnTo>
                      <a:pt x="799" y="507"/>
                    </a:lnTo>
                    <a:lnTo>
                      <a:pt x="777" y="499"/>
                    </a:lnTo>
                    <a:lnTo>
                      <a:pt x="759" y="518"/>
                    </a:lnTo>
                    <a:lnTo>
                      <a:pt x="762" y="548"/>
                    </a:lnTo>
                    <a:lnTo>
                      <a:pt x="762" y="548"/>
                    </a:lnTo>
                    <a:lnTo>
                      <a:pt x="740" y="588"/>
                    </a:lnTo>
                    <a:lnTo>
                      <a:pt x="722" y="596"/>
                    </a:lnTo>
                    <a:lnTo>
                      <a:pt x="707" y="570"/>
                    </a:lnTo>
                    <a:lnTo>
                      <a:pt x="699" y="559"/>
                    </a:lnTo>
                    <a:lnTo>
                      <a:pt x="707" y="540"/>
                    </a:lnTo>
                    <a:lnTo>
                      <a:pt x="714" y="529"/>
                    </a:lnTo>
                    <a:lnTo>
                      <a:pt x="707" y="522"/>
                    </a:lnTo>
                    <a:lnTo>
                      <a:pt x="696" y="522"/>
                    </a:lnTo>
                    <a:lnTo>
                      <a:pt x="685" y="540"/>
                    </a:lnTo>
                    <a:lnTo>
                      <a:pt x="662" y="559"/>
                    </a:lnTo>
                    <a:lnTo>
                      <a:pt x="640" y="551"/>
                    </a:lnTo>
                    <a:lnTo>
                      <a:pt x="610" y="548"/>
                    </a:lnTo>
                    <a:lnTo>
                      <a:pt x="577" y="592"/>
                    </a:lnTo>
                    <a:lnTo>
                      <a:pt x="566" y="600"/>
                    </a:lnTo>
                    <a:lnTo>
                      <a:pt x="562" y="611"/>
                    </a:lnTo>
                    <a:lnTo>
                      <a:pt x="514" y="626"/>
                    </a:lnTo>
                    <a:lnTo>
                      <a:pt x="503" y="626"/>
                    </a:lnTo>
                    <a:lnTo>
                      <a:pt x="418" y="600"/>
                    </a:lnTo>
                    <a:lnTo>
                      <a:pt x="392" y="596"/>
                    </a:lnTo>
                    <a:lnTo>
                      <a:pt x="362" y="588"/>
                    </a:lnTo>
                    <a:lnTo>
                      <a:pt x="332" y="585"/>
                    </a:lnTo>
                    <a:lnTo>
                      <a:pt x="324" y="603"/>
                    </a:lnTo>
                    <a:lnTo>
                      <a:pt x="320" y="629"/>
                    </a:lnTo>
                    <a:lnTo>
                      <a:pt x="317" y="637"/>
                    </a:lnTo>
                    <a:lnTo>
                      <a:pt x="294" y="644"/>
                    </a:lnTo>
                    <a:lnTo>
                      <a:pt x="291" y="644"/>
                    </a:lnTo>
                    <a:lnTo>
                      <a:pt x="265" y="670"/>
                    </a:lnTo>
                    <a:lnTo>
                      <a:pt x="250" y="670"/>
                    </a:lnTo>
                    <a:lnTo>
                      <a:pt x="243" y="651"/>
                    </a:lnTo>
                    <a:lnTo>
                      <a:pt x="232" y="648"/>
                    </a:lnTo>
                    <a:lnTo>
                      <a:pt x="219" y="637"/>
                    </a:lnTo>
                    <a:lnTo>
                      <a:pt x="215" y="622"/>
                    </a:lnTo>
                    <a:lnTo>
                      <a:pt x="185" y="618"/>
                    </a:lnTo>
                    <a:lnTo>
                      <a:pt x="170" y="611"/>
                    </a:lnTo>
                    <a:lnTo>
                      <a:pt x="167" y="603"/>
                    </a:lnTo>
                    <a:lnTo>
                      <a:pt x="148" y="603"/>
                    </a:lnTo>
                    <a:lnTo>
                      <a:pt x="133" y="588"/>
                    </a:lnTo>
                    <a:lnTo>
                      <a:pt x="130" y="581"/>
                    </a:lnTo>
                    <a:lnTo>
                      <a:pt x="115" y="588"/>
                    </a:lnTo>
                    <a:lnTo>
                      <a:pt x="100" y="585"/>
                    </a:lnTo>
                    <a:lnTo>
                      <a:pt x="93" y="581"/>
                    </a:lnTo>
                    <a:lnTo>
                      <a:pt x="96" y="566"/>
                    </a:lnTo>
                    <a:lnTo>
                      <a:pt x="74" y="551"/>
                    </a:lnTo>
                    <a:lnTo>
                      <a:pt x="78" y="540"/>
                    </a:lnTo>
                    <a:lnTo>
                      <a:pt x="85" y="533"/>
                    </a:lnTo>
                    <a:lnTo>
                      <a:pt x="63" y="518"/>
                    </a:lnTo>
                    <a:lnTo>
                      <a:pt x="7" y="496"/>
                    </a:lnTo>
                    <a:lnTo>
                      <a:pt x="15" y="474"/>
                    </a:lnTo>
                    <a:lnTo>
                      <a:pt x="33" y="474"/>
                    </a:lnTo>
                    <a:lnTo>
                      <a:pt x="41" y="488"/>
                    </a:lnTo>
                    <a:lnTo>
                      <a:pt x="37" y="466"/>
                    </a:lnTo>
                    <a:lnTo>
                      <a:pt x="48" y="448"/>
                    </a:lnTo>
                    <a:lnTo>
                      <a:pt x="56" y="429"/>
                    </a:lnTo>
                    <a:lnTo>
                      <a:pt x="37" y="414"/>
                    </a:lnTo>
                    <a:lnTo>
                      <a:pt x="22" y="399"/>
                    </a:lnTo>
                    <a:lnTo>
                      <a:pt x="22" y="385"/>
                    </a:lnTo>
                    <a:lnTo>
                      <a:pt x="7" y="385"/>
                    </a:lnTo>
                    <a:lnTo>
                      <a:pt x="0" y="381"/>
                    </a:lnTo>
                    <a:lnTo>
                      <a:pt x="4" y="347"/>
                    </a:lnTo>
                    <a:lnTo>
                      <a:pt x="30" y="299"/>
                    </a:lnTo>
                    <a:lnTo>
                      <a:pt x="33" y="299"/>
                    </a:lnTo>
                    <a:lnTo>
                      <a:pt x="56" y="299"/>
                    </a:lnTo>
                    <a:lnTo>
                      <a:pt x="74" y="307"/>
                    </a:lnTo>
                    <a:lnTo>
                      <a:pt x="85" y="307"/>
                    </a:lnTo>
                    <a:lnTo>
                      <a:pt x="85" y="292"/>
                    </a:lnTo>
                    <a:lnTo>
                      <a:pt x="107" y="288"/>
                    </a:lnTo>
                    <a:lnTo>
                      <a:pt x="148" y="288"/>
                    </a:lnTo>
                    <a:lnTo>
                      <a:pt x="178" y="284"/>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06" name="Freeform 71"/>
              <p:cNvSpPr>
                <a:spLocks/>
              </p:cNvSpPr>
              <p:nvPr>
                <p:custDataLst>
                  <p:tags r:id="rId26"/>
                </p:custDataLst>
              </p:nvPr>
            </p:nvSpPr>
            <p:spPr bwMode="auto">
              <a:xfrm>
                <a:off x="3077082" y="3403370"/>
                <a:ext cx="53264" cy="133160"/>
              </a:xfrm>
              <a:custGeom>
                <a:avLst/>
                <a:gdLst/>
                <a:ahLst/>
                <a:cxnLst>
                  <a:cxn ang="0">
                    <a:pos x="37" y="0"/>
                  </a:cxn>
                  <a:cxn ang="0">
                    <a:pos x="35" y="31"/>
                  </a:cxn>
                  <a:cxn ang="0">
                    <a:pos x="24" y="55"/>
                  </a:cxn>
                  <a:cxn ang="0">
                    <a:pos x="7" y="70"/>
                  </a:cxn>
                  <a:cxn ang="0">
                    <a:pos x="11" y="86"/>
                  </a:cxn>
                  <a:cxn ang="0">
                    <a:pos x="4" y="92"/>
                  </a:cxn>
                  <a:cxn ang="0">
                    <a:pos x="0" y="72"/>
                  </a:cxn>
                  <a:cxn ang="0">
                    <a:pos x="6" y="57"/>
                  </a:cxn>
                  <a:cxn ang="0">
                    <a:pos x="11" y="40"/>
                  </a:cxn>
                  <a:cxn ang="0">
                    <a:pos x="37" y="0"/>
                  </a:cxn>
                </a:cxnLst>
                <a:rect l="0" t="0" r="r" b="b"/>
                <a:pathLst>
                  <a:path w="37" h="92">
                    <a:moveTo>
                      <a:pt x="37" y="0"/>
                    </a:moveTo>
                    <a:lnTo>
                      <a:pt x="35" y="31"/>
                    </a:lnTo>
                    <a:lnTo>
                      <a:pt x="24" y="55"/>
                    </a:lnTo>
                    <a:lnTo>
                      <a:pt x="7" y="70"/>
                    </a:lnTo>
                    <a:lnTo>
                      <a:pt x="11" y="86"/>
                    </a:lnTo>
                    <a:lnTo>
                      <a:pt x="4" y="92"/>
                    </a:lnTo>
                    <a:lnTo>
                      <a:pt x="0" y="72"/>
                    </a:lnTo>
                    <a:lnTo>
                      <a:pt x="6" y="57"/>
                    </a:lnTo>
                    <a:lnTo>
                      <a:pt x="11" y="40"/>
                    </a:lnTo>
                    <a:lnTo>
                      <a:pt x="37" y="0"/>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07" name="Freeform 72"/>
              <p:cNvSpPr>
                <a:spLocks/>
              </p:cNvSpPr>
              <p:nvPr>
                <p:custDataLst>
                  <p:tags r:id="rId27"/>
                </p:custDataLst>
              </p:nvPr>
            </p:nvSpPr>
            <p:spPr bwMode="auto">
              <a:xfrm>
                <a:off x="3193597" y="3343448"/>
                <a:ext cx="73238" cy="104863"/>
              </a:xfrm>
              <a:custGeom>
                <a:avLst/>
                <a:gdLst/>
                <a:ahLst/>
                <a:cxnLst>
                  <a:cxn ang="0">
                    <a:pos x="39" y="0"/>
                  </a:cxn>
                  <a:cxn ang="0">
                    <a:pos x="50" y="0"/>
                  </a:cxn>
                  <a:cxn ang="0">
                    <a:pos x="37" y="15"/>
                  </a:cxn>
                  <a:cxn ang="0">
                    <a:pos x="35" y="26"/>
                  </a:cxn>
                  <a:cxn ang="0">
                    <a:pos x="39" y="41"/>
                  </a:cxn>
                  <a:cxn ang="0">
                    <a:pos x="26" y="56"/>
                  </a:cxn>
                  <a:cxn ang="0">
                    <a:pos x="9" y="73"/>
                  </a:cxn>
                  <a:cxn ang="0">
                    <a:pos x="6" y="56"/>
                  </a:cxn>
                  <a:cxn ang="0">
                    <a:pos x="0" y="49"/>
                  </a:cxn>
                  <a:cxn ang="0">
                    <a:pos x="0" y="36"/>
                  </a:cxn>
                  <a:cxn ang="0">
                    <a:pos x="15" y="22"/>
                  </a:cxn>
                  <a:cxn ang="0">
                    <a:pos x="39" y="0"/>
                  </a:cxn>
                </a:cxnLst>
                <a:rect l="0" t="0" r="r" b="b"/>
                <a:pathLst>
                  <a:path w="50" h="73">
                    <a:moveTo>
                      <a:pt x="39" y="0"/>
                    </a:moveTo>
                    <a:lnTo>
                      <a:pt x="50" y="0"/>
                    </a:lnTo>
                    <a:lnTo>
                      <a:pt x="37" y="15"/>
                    </a:lnTo>
                    <a:lnTo>
                      <a:pt x="35" y="26"/>
                    </a:lnTo>
                    <a:lnTo>
                      <a:pt x="39" y="41"/>
                    </a:lnTo>
                    <a:lnTo>
                      <a:pt x="26" y="56"/>
                    </a:lnTo>
                    <a:lnTo>
                      <a:pt x="9" y="73"/>
                    </a:lnTo>
                    <a:lnTo>
                      <a:pt x="6" y="56"/>
                    </a:lnTo>
                    <a:lnTo>
                      <a:pt x="0" y="49"/>
                    </a:lnTo>
                    <a:lnTo>
                      <a:pt x="0" y="36"/>
                    </a:lnTo>
                    <a:lnTo>
                      <a:pt x="15" y="22"/>
                    </a:lnTo>
                    <a:lnTo>
                      <a:pt x="39" y="0"/>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08" name="Freeform 73"/>
              <p:cNvSpPr>
                <a:spLocks/>
              </p:cNvSpPr>
              <p:nvPr>
                <p:custDataLst>
                  <p:tags r:id="rId28"/>
                </p:custDataLst>
              </p:nvPr>
            </p:nvSpPr>
            <p:spPr bwMode="auto">
              <a:xfrm>
                <a:off x="2760828" y="1933620"/>
                <a:ext cx="795629" cy="1699451"/>
              </a:xfrm>
              <a:custGeom>
                <a:avLst/>
                <a:gdLst/>
                <a:ahLst/>
                <a:cxnLst>
                  <a:cxn ang="0">
                    <a:pos x="436" y="21"/>
                  </a:cxn>
                  <a:cxn ang="0">
                    <a:pos x="511" y="73"/>
                  </a:cxn>
                  <a:cxn ang="0">
                    <a:pos x="518" y="118"/>
                  </a:cxn>
                  <a:cxn ang="0">
                    <a:pos x="536" y="158"/>
                  </a:cxn>
                  <a:cxn ang="0">
                    <a:pos x="533" y="210"/>
                  </a:cxn>
                  <a:cxn ang="0">
                    <a:pos x="548" y="247"/>
                  </a:cxn>
                  <a:cxn ang="0">
                    <a:pos x="544" y="277"/>
                  </a:cxn>
                  <a:cxn ang="0">
                    <a:pos x="477" y="284"/>
                  </a:cxn>
                  <a:cxn ang="0">
                    <a:pos x="448" y="329"/>
                  </a:cxn>
                  <a:cxn ang="0">
                    <a:pos x="440" y="362"/>
                  </a:cxn>
                  <a:cxn ang="0">
                    <a:pos x="444" y="410"/>
                  </a:cxn>
                  <a:cxn ang="0">
                    <a:pos x="422" y="455"/>
                  </a:cxn>
                  <a:cxn ang="0">
                    <a:pos x="359" y="492"/>
                  </a:cxn>
                  <a:cxn ang="0">
                    <a:pos x="336" y="514"/>
                  </a:cxn>
                  <a:cxn ang="0">
                    <a:pos x="307" y="570"/>
                  </a:cxn>
                  <a:cxn ang="0">
                    <a:pos x="298" y="613"/>
                  </a:cxn>
                  <a:cxn ang="0">
                    <a:pos x="272" y="673"/>
                  </a:cxn>
                  <a:cxn ang="0">
                    <a:pos x="310" y="751"/>
                  </a:cxn>
                  <a:cxn ang="0">
                    <a:pos x="340" y="810"/>
                  </a:cxn>
                  <a:cxn ang="0">
                    <a:pos x="307" y="832"/>
                  </a:cxn>
                  <a:cxn ang="0">
                    <a:pos x="279" y="836"/>
                  </a:cxn>
                  <a:cxn ang="0">
                    <a:pos x="216" y="840"/>
                  </a:cxn>
                  <a:cxn ang="0">
                    <a:pos x="275" y="854"/>
                  </a:cxn>
                  <a:cxn ang="0">
                    <a:pos x="307" y="873"/>
                  </a:cxn>
                  <a:cxn ang="0">
                    <a:pos x="286" y="888"/>
                  </a:cxn>
                  <a:cxn ang="0">
                    <a:pos x="249" y="921"/>
                  </a:cxn>
                  <a:cxn ang="0">
                    <a:pos x="238" y="954"/>
                  </a:cxn>
                  <a:cxn ang="0">
                    <a:pos x="223" y="1032"/>
                  </a:cxn>
                  <a:cxn ang="0">
                    <a:pos x="205" y="1084"/>
                  </a:cxn>
                  <a:cxn ang="0">
                    <a:pos x="159" y="1125"/>
                  </a:cxn>
                  <a:cxn ang="0">
                    <a:pos x="115" y="1140"/>
                  </a:cxn>
                  <a:cxn ang="0">
                    <a:pos x="107" y="1176"/>
                  </a:cxn>
                  <a:cxn ang="0">
                    <a:pos x="63" y="1187"/>
                  </a:cxn>
                  <a:cxn ang="0">
                    <a:pos x="44" y="1168"/>
                  </a:cxn>
                  <a:cxn ang="0">
                    <a:pos x="26" y="1103"/>
                  </a:cxn>
                  <a:cxn ang="0">
                    <a:pos x="41" y="1088"/>
                  </a:cxn>
                  <a:cxn ang="0">
                    <a:pos x="44" y="1066"/>
                  </a:cxn>
                  <a:cxn ang="0">
                    <a:pos x="26" y="1006"/>
                  </a:cxn>
                  <a:cxn ang="0">
                    <a:pos x="11" y="958"/>
                  </a:cxn>
                  <a:cxn ang="0">
                    <a:pos x="0" y="884"/>
                  </a:cxn>
                  <a:cxn ang="0">
                    <a:pos x="19" y="854"/>
                  </a:cxn>
                  <a:cxn ang="0">
                    <a:pos x="33" y="780"/>
                  </a:cxn>
                  <a:cxn ang="0">
                    <a:pos x="70" y="736"/>
                  </a:cxn>
                  <a:cxn ang="0">
                    <a:pos x="59" y="658"/>
                  </a:cxn>
                  <a:cxn ang="0">
                    <a:pos x="74" y="621"/>
                  </a:cxn>
                  <a:cxn ang="0">
                    <a:pos x="67" y="555"/>
                  </a:cxn>
                  <a:cxn ang="0">
                    <a:pos x="82" y="477"/>
                  </a:cxn>
                  <a:cxn ang="0">
                    <a:pos x="130" y="425"/>
                  </a:cxn>
                  <a:cxn ang="0">
                    <a:pos x="175" y="410"/>
                  </a:cxn>
                  <a:cxn ang="0">
                    <a:pos x="156" y="362"/>
                  </a:cxn>
                  <a:cxn ang="0">
                    <a:pos x="175" y="322"/>
                  </a:cxn>
                  <a:cxn ang="0">
                    <a:pos x="186" y="262"/>
                  </a:cxn>
                  <a:cxn ang="0">
                    <a:pos x="235" y="225"/>
                  </a:cxn>
                  <a:cxn ang="0">
                    <a:pos x="257" y="177"/>
                  </a:cxn>
                  <a:cxn ang="0">
                    <a:pos x="292" y="103"/>
                  </a:cxn>
                  <a:cxn ang="0">
                    <a:pos x="331" y="69"/>
                  </a:cxn>
                  <a:cxn ang="0">
                    <a:pos x="368" y="42"/>
                  </a:cxn>
                  <a:cxn ang="0">
                    <a:pos x="414" y="0"/>
                  </a:cxn>
                </a:cxnLst>
                <a:rect l="0" t="0" r="r" b="b"/>
                <a:pathLst>
                  <a:path w="555" h="1187">
                    <a:moveTo>
                      <a:pt x="418" y="0"/>
                    </a:moveTo>
                    <a:lnTo>
                      <a:pt x="425" y="3"/>
                    </a:lnTo>
                    <a:lnTo>
                      <a:pt x="436" y="21"/>
                    </a:lnTo>
                    <a:lnTo>
                      <a:pt x="485" y="69"/>
                    </a:lnTo>
                    <a:lnTo>
                      <a:pt x="492" y="58"/>
                    </a:lnTo>
                    <a:lnTo>
                      <a:pt x="511" y="73"/>
                    </a:lnTo>
                    <a:lnTo>
                      <a:pt x="518" y="88"/>
                    </a:lnTo>
                    <a:lnTo>
                      <a:pt x="518" y="99"/>
                    </a:lnTo>
                    <a:lnTo>
                      <a:pt x="518" y="118"/>
                    </a:lnTo>
                    <a:lnTo>
                      <a:pt x="511" y="129"/>
                    </a:lnTo>
                    <a:lnTo>
                      <a:pt x="525" y="144"/>
                    </a:lnTo>
                    <a:lnTo>
                      <a:pt x="536" y="158"/>
                    </a:lnTo>
                    <a:lnTo>
                      <a:pt x="536" y="170"/>
                    </a:lnTo>
                    <a:lnTo>
                      <a:pt x="536" y="188"/>
                    </a:lnTo>
                    <a:lnTo>
                      <a:pt x="533" y="210"/>
                    </a:lnTo>
                    <a:lnTo>
                      <a:pt x="525" y="218"/>
                    </a:lnTo>
                    <a:lnTo>
                      <a:pt x="536" y="229"/>
                    </a:lnTo>
                    <a:lnTo>
                      <a:pt x="548" y="247"/>
                    </a:lnTo>
                    <a:lnTo>
                      <a:pt x="555" y="266"/>
                    </a:lnTo>
                    <a:lnTo>
                      <a:pt x="555" y="273"/>
                    </a:lnTo>
                    <a:lnTo>
                      <a:pt x="544" y="277"/>
                    </a:lnTo>
                    <a:lnTo>
                      <a:pt x="496" y="277"/>
                    </a:lnTo>
                    <a:lnTo>
                      <a:pt x="485" y="277"/>
                    </a:lnTo>
                    <a:lnTo>
                      <a:pt x="477" y="284"/>
                    </a:lnTo>
                    <a:lnTo>
                      <a:pt x="477" y="299"/>
                    </a:lnTo>
                    <a:lnTo>
                      <a:pt x="470" y="310"/>
                    </a:lnTo>
                    <a:lnTo>
                      <a:pt x="448" y="329"/>
                    </a:lnTo>
                    <a:lnTo>
                      <a:pt x="451" y="344"/>
                    </a:lnTo>
                    <a:lnTo>
                      <a:pt x="448" y="355"/>
                    </a:lnTo>
                    <a:lnTo>
                      <a:pt x="440" y="362"/>
                    </a:lnTo>
                    <a:lnTo>
                      <a:pt x="448" y="385"/>
                    </a:lnTo>
                    <a:lnTo>
                      <a:pt x="451" y="399"/>
                    </a:lnTo>
                    <a:lnTo>
                      <a:pt x="444" y="410"/>
                    </a:lnTo>
                    <a:lnTo>
                      <a:pt x="429" y="422"/>
                    </a:lnTo>
                    <a:lnTo>
                      <a:pt x="425" y="436"/>
                    </a:lnTo>
                    <a:lnTo>
                      <a:pt x="422" y="455"/>
                    </a:lnTo>
                    <a:lnTo>
                      <a:pt x="396" y="466"/>
                    </a:lnTo>
                    <a:lnTo>
                      <a:pt x="381" y="477"/>
                    </a:lnTo>
                    <a:lnTo>
                      <a:pt x="359" y="492"/>
                    </a:lnTo>
                    <a:lnTo>
                      <a:pt x="362" y="503"/>
                    </a:lnTo>
                    <a:lnTo>
                      <a:pt x="344" y="507"/>
                    </a:lnTo>
                    <a:lnTo>
                      <a:pt x="336" y="514"/>
                    </a:lnTo>
                    <a:lnTo>
                      <a:pt x="318" y="540"/>
                    </a:lnTo>
                    <a:lnTo>
                      <a:pt x="303" y="551"/>
                    </a:lnTo>
                    <a:lnTo>
                      <a:pt x="307" y="570"/>
                    </a:lnTo>
                    <a:lnTo>
                      <a:pt x="298" y="576"/>
                    </a:lnTo>
                    <a:lnTo>
                      <a:pt x="290" y="584"/>
                    </a:lnTo>
                    <a:lnTo>
                      <a:pt x="298" y="613"/>
                    </a:lnTo>
                    <a:lnTo>
                      <a:pt x="294" y="632"/>
                    </a:lnTo>
                    <a:lnTo>
                      <a:pt x="275" y="643"/>
                    </a:lnTo>
                    <a:lnTo>
                      <a:pt x="272" y="673"/>
                    </a:lnTo>
                    <a:lnTo>
                      <a:pt x="275" y="710"/>
                    </a:lnTo>
                    <a:lnTo>
                      <a:pt x="283" y="728"/>
                    </a:lnTo>
                    <a:lnTo>
                      <a:pt x="310" y="751"/>
                    </a:lnTo>
                    <a:lnTo>
                      <a:pt x="321" y="773"/>
                    </a:lnTo>
                    <a:lnTo>
                      <a:pt x="333" y="795"/>
                    </a:lnTo>
                    <a:lnTo>
                      <a:pt x="340" y="810"/>
                    </a:lnTo>
                    <a:lnTo>
                      <a:pt x="333" y="825"/>
                    </a:lnTo>
                    <a:lnTo>
                      <a:pt x="318" y="836"/>
                    </a:lnTo>
                    <a:lnTo>
                      <a:pt x="307" y="832"/>
                    </a:lnTo>
                    <a:lnTo>
                      <a:pt x="298" y="821"/>
                    </a:lnTo>
                    <a:lnTo>
                      <a:pt x="283" y="825"/>
                    </a:lnTo>
                    <a:lnTo>
                      <a:pt x="279" y="836"/>
                    </a:lnTo>
                    <a:lnTo>
                      <a:pt x="257" y="836"/>
                    </a:lnTo>
                    <a:lnTo>
                      <a:pt x="223" y="832"/>
                    </a:lnTo>
                    <a:lnTo>
                      <a:pt x="216" y="840"/>
                    </a:lnTo>
                    <a:lnTo>
                      <a:pt x="238" y="851"/>
                    </a:lnTo>
                    <a:lnTo>
                      <a:pt x="268" y="840"/>
                    </a:lnTo>
                    <a:lnTo>
                      <a:pt x="275" y="854"/>
                    </a:lnTo>
                    <a:lnTo>
                      <a:pt x="298" y="858"/>
                    </a:lnTo>
                    <a:lnTo>
                      <a:pt x="314" y="865"/>
                    </a:lnTo>
                    <a:lnTo>
                      <a:pt x="307" y="873"/>
                    </a:lnTo>
                    <a:lnTo>
                      <a:pt x="286" y="869"/>
                    </a:lnTo>
                    <a:lnTo>
                      <a:pt x="283" y="877"/>
                    </a:lnTo>
                    <a:lnTo>
                      <a:pt x="286" y="888"/>
                    </a:lnTo>
                    <a:lnTo>
                      <a:pt x="275" y="903"/>
                    </a:lnTo>
                    <a:lnTo>
                      <a:pt x="257" y="917"/>
                    </a:lnTo>
                    <a:lnTo>
                      <a:pt x="249" y="921"/>
                    </a:lnTo>
                    <a:lnTo>
                      <a:pt x="242" y="925"/>
                    </a:lnTo>
                    <a:lnTo>
                      <a:pt x="246" y="943"/>
                    </a:lnTo>
                    <a:lnTo>
                      <a:pt x="238" y="954"/>
                    </a:lnTo>
                    <a:lnTo>
                      <a:pt x="227" y="977"/>
                    </a:lnTo>
                    <a:lnTo>
                      <a:pt x="231" y="999"/>
                    </a:lnTo>
                    <a:lnTo>
                      <a:pt x="223" y="1032"/>
                    </a:lnTo>
                    <a:lnTo>
                      <a:pt x="216" y="1047"/>
                    </a:lnTo>
                    <a:lnTo>
                      <a:pt x="216" y="1069"/>
                    </a:lnTo>
                    <a:lnTo>
                      <a:pt x="205" y="1084"/>
                    </a:lnTo>
                    <a:lnTo>
                      <a:pt x="190" y="1110"/>
                    </a:lnTo>
                    <a:lnTo>
                      <a:pt x="186" y="1129"/>
                    </a:lnTo>
                    <a:lnTo>
                      <a:pt x="159" y="1125"/>
                    </a:lnTo>
                    <a:lnTo>
                      <a:pt x="133" y="1125"/>
                    </a:lnTo>
                    <a:lnTo>
                      <a:pt x="130" y="1136"/>
                    </a:lnTo>
                    <a:lnTo>
                      <a:pt x="115" y="1140"/>
                    </a:lnTo>
                    <a:lnTo>
                      <a:pt x="107" y="1144"/>
                    </a:lnTo>
                    <a:lnTo>
                      <a:pt x="111" y="1157"/>
                    </a:lnTo>
                    <a:lnTo>
                      <a:pt x="107" y="1176"/>
                    </a:lnTo>
                    <a:lnTo>
                      <a:pt x="89" y="1187"/>
                    </a:lnTo>
                    <a:lnTo>
                      <a:pt x="78" y="1176"/>
                    </a:lnTo>
                    <a:lnTo>
                      <a:pt x="63" y="1187"/>
                    </a:lnTo>
                    <a:lnTo>
                      <a:pt x="44" y="1187"/>
                    </a:lnTo>
                    <a:lnTo>
                      <a:pt x="37" y="1176"/>
                    </a:lnTo>
                    <a:lnTo>
                      <a:pt x="44" y="1168"/>
                    </a:lnTo>
                    <a:lnTo>
                      <a:pt x="48" y="1147"/>
                    </a:lnTo>
                    <a:lnTo>
                      <a:pt x="33" y="1118"/>
                    </a:lnTo>
                    <a:lnTo>
                      <a:pt x="26" y="1103"/>
                    </a:lnTo>
                    <a:lnTo>
                      <a:pt x="30" y="1095"/>
                    </a:lnTo>
                    <a:lnTo>
                      <a:pt x="37" y="1095"/>
                    </a:lnTo>
                    <a:lnTo>
                      <a:pt x="41" y="1088"/>
                    </a:lnTo>
                    <a:lnTo>
                      <a:pt x="44" y="1080"/>
                    </a:lnTo>
                    <a:lnTo>
                      <a:pt x="48" y="1073"/>
                    </a:lnTo>
                    <a:lnTo>
                      <a:pt x="44" y="1066"/>
                    </a:lnTo>
                    <a:lnTo>
                      <a:pt x="37" y="1051"/>
                    </a:lnTo>
                    <a:lnTo>
                      <a:pt x="22" y="1029"/>
                    </a:lnTo>
                    <a:lnTo>
                      <a:pt x="26" y="1006"/>
                    </a:lnTo>
                    <a:lnTo>
                      <a:pt x="15" y="988"/>
                    </a:lnTo>
                    <a:lnTo>
                      <a:pt x="4" y="977"/>
                    </a:lnTo>
                    <a:lnTo>
                      <a:pt x="11" y="958"/>
                    </a:lnTo>
                    <a:lnTo>
                      <a:pt x="19" y="921"/>
                    </a:lnTo>
                    <a:lnTo>
                      <a:pt x="4" y="903"/>
                    </a:lnTo>
                    <a:lnTo>
                      <a:pt x="0" y="884"/>
                    </a:lnTo>
                    <a:lnTo>
                      <a:pt x="0" y="873"/>
                    </a:lnTo>
                    <a:lnTo>
                      <a:pt x="7" y="851"/>
                    </a:lnTo>
                    <a:lnTo>
                      <a:pt x="19" y="854"/>
                    </a:lnTo>
                    <a:lnTo>
                      <a:pt x="30" y="825"/>
                    </a:lnTo>
                    <a:lnTo>
                      <a:pt x="30" y="791"/>
                    </a:lnTo>
                    <a:lnTo>
                      <a:pt x="33" y="780"/>
                    </a:lnTo>
                    <a:lnTo>
                      <a:pt x="48" y="769"/>
                    </a:lnTo>
                    <a:lnTo>
                      <a:pt x="70" y="754"/>
                    </a:lnTo>
                    <a:lnTo>
                      <a:pt x="70" y="736"/>
                    </a:lnTo>
                    <a:lnTo>
                      <a:pt x="67" y="680"/>
                    </a:lnTo>
                    <a:lnTo>
                      <a:pt x="59" y="673"/>
                    </a:lnTo>
                    <a:lnTo>
                      <a:pt x="59" y="658"/>
                    </a:lnTo>
                    <a:lnTo>
                      <a:pt x="78" y="650"/>
                    </a:lnTo>
                    <a:lnTo>
                      <a:pt x="85" y="643"/>
                    </a:lnTo>
                    <a:lnTo>
                      <a:pt x="74" y="621"/>
                    </a:lnTo>
                    <a:lnTo>
                      <a:pt x="59" y="599"/>
                    </a:lnTo>
                    <a:lnTo>
                      <a:pt x="63" y="573"/>
                    </a:lnTo>
                    <a:lnTo>
                      <a:pt x="67" y="555"/>
                    </a:lnTo>
                    <a:lnTo>
                      <a:pt x="82" y="522"/>
                    </a:lnTo>
                    <a:lnTo>
                      <a:pt x="82" y="507"/>
                    </a:lnTo>
                    <a:lnTo>
                      <a:pt x="82" y="477"/>
                    </a:lnTo>
                    <a:lnTo>
                      <a:pt x="93" y="451"/>
                    </a:lnTo>
                    <a:lnTo>
                      <a:pt x="111" y="436"/>
                    </a:lnTo>
                    <a:lnTo>
                      <a:pt x="130" y="425"/>
                    </a:lnTo>
                    <a:lnTo>
                      <a:pt x="148" y="429"/>
                    </a:lnTo>
                    <a:lnTo>
                      <a:pt x="167" y="436"/>
                    </a:lnTo>
                    <a:lnTo>
                      <a:pt x="175" y="410"/>
                    </a:lnTo>
                    <a:lnTo>
                      <a:pt x="167" y="388"/>
                    </a:lnTo>
                    <a:lnTo>
                      <a:pt x="159" y="373"/>
                    </a:lnTo>
                    <a:lnTo>
                      <a:pt x="156" y="362"/>
                    </a:lnTo>
                    <a:lnTo>
                      <a:pt x="159" y="351"/>
                    </a:lnTo>
                    <a:lnTo>
                      <a:pt x="172" y="347"/>
                    </a:lnTo>
                    <a:lnTo>
                      <a:pt x="175" y="322"/>
                    </a:lnTo>
                    <a:lnTo>
                      <a:pt x="183" y="299"/>
                    </a:lnTo>
                    <a:lnTo>
                      <a:pt x="186" y="281"/>
                    </a:lnTo>
                    <a:lnTo>
                      <a:pt x="186" y="262"/>
                    </a:lnTo>
                    <a:lnTo>
                      <a:pt x="197" y="244"/>
                    </a:lnTo>
                    <a:lnTo>
                      <a:pt x="220" y="229"/>
                    </a:lnTo>
                    <a:lnTo>
                      <a:pt x="235" y="225"/>
                    </a:lnTo>
                    <a:lnTo>
                      <a:pt x="235" y="207"/>
                    </a:lnTo>
                    <a:lnTo>
                      <a:pt x="242" y="195"/>
                    </a:lnTo>
                    <a:lnTo>
                      <a:pt x="257" y="177"/>
                    </a:lnTo>
                    <a:lnTo>
                      <a:pt x="272" y="166"/>
                    </a:lnTo>
                    <a:lnTo>
                      <a:pt x="264" y="134"/>
                    </a:lnTo>
                    <a:lnTo>
                      <a:pt x="292" y="103"/>
                    </a:lnTo>
                    <a:lnTo>
                      <a:pt x="298" y="90"/>
                    </a:lnTo>
                    <a:lnTo>
                      <a:pt x="318" y="86"/>
                    </a:lnTo>
                    <a:lnTo>
                      <a:pt x="331" y="69"/>
                    </a:lnTo>
                    <a:lnTo>
                      <a:pt x="331" y="58"/>
                    </a:lnTo>
                    <a:lnTo>
                      <a:pt x="344" y="45"/>
                    </a:lnTo>
                    <a:lnTo>
                      <a:pt x="368" y="42"/>
                    </a:lnTo>
                    <a:lnTo>
                      <a:pt x="396" y="42"/>
                    </a:lnTo>
                    <a:lnTo>
                      <a:pt x="418" y="21"/>
                    </a:lnTo>
                    <a:lnTo>
                      <a:pt x="414" y="0"/>
                    </a:lnTo>
                    <a:lnTo>
                      <a:pt x="418" y="0"/>
                    </a:lnTo>
                    <a:close/>
                  </a:path>
                </a:pathLst>
              </a:custGeom>
              <a:solidFill>
                <a:schemeClr val="accent6"/>
              </a:solidFill>
              <a:ln w="9525">
                <a:solidFill>
                  <a:srgbClr val="FFFFFF"/>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09" name="Freeform 74"/>
              <p:cNvSpPr>
                <a:spLocks/>
              </p:cNvSpPr>
              <p:nvPr>
                <p:custDataLst>
                  <p:tags r:id="rId29"/>
                </p:custDataLst>
              </p:nvPr>
            </p:nvSpPr>
            <p:spPr bwMode="auto">
              <a:xfrm>
                <a:off x="2374665" y="1657314"/>
                <a:ext cx="1446448" cy="1589594"/>
              </a:xfrm>
              <a:custGeom>
                <a:avLst/>
                <a:gdLst/>
                <a:ahLst/>
                <a:cxnLst>
                  <a:cxn ang="0">
                    <a:pos x="297" y="1014"/>
                  </a:cxn>
                  <a:cxn ang="0">
                    <a:pos x="337" y="951"/>
                  </a:cxn>
                  <a:cxn ang="0">
                    <a:pos x="326" y="865"/>
                  </a:cxn>
                  <a:cxn ang="0">
                    <a:pos x="334" y="791"/>
                  </a:cxn>
                  <a:cxn ang="0">
                    <a:pos x="352" y="688"/>
                  </a:cxn>
                  <a:cxn ang="0">
                    <a:pos x="404" y="618"/>
                  </a:cxn>
                  <a:cxn ang="0">
                    <a:pos x="430" y="562"/>
                  </a:cxn>
                  <a:cxn ang="0">
                    <a:pos x="450" y="507"/>
                  </a:cxn>
                  <a:cxn ang="0">
                    <a:pos x="505" y="414"/>
                  </a:cxn>
                  <a:cxn ang="0">
                    <a:pos x="535" y="340"/>
                  </a:cxn>
                  <a:cxn ang="0">
                    <a:pos x="603" y="266"/>
                  </a:cxn>
                  <a:cxn ang="0">
                    <a:pos x="659" y="240"/>
                  </a:cxn>
                  <a:cxn ang="0">
                    <a:pos x="696" y="174"/>
                  </a:cxn>
                  <a:cxn ang="0">
                    <a:pos x="785" y="210"/>
                  </a:cxn>
                  <a:cxn ang="0">
                    <a:pos x="833" y="221"/>
                  </a:cxn>
                  <a:cxn ang="0">
                    <a:pos x="859" y="133"/>
                  </a:cxn>
                  <a:cxn ang="0">
                    <a:pos x="933" y="126"/>
                  </a:cxn>
                  <a:cxn ang="0">
                    <a:pos x="960" y="159"/>
                  </a:cxn>
                  <a:cxn ang="0">
                    <a:pos x="982" y="115"/>
                  </a:cxn>
                  <a:cxn ang="0">
                    <a:pos x="1008" y="63"/>
                  </a:cxn>
                  <a:cxn ang="0">
                    <a:pos x="960" y="19"/>
                  </a:cxn>
                  <a:cxn ang="0">
                    <a:pos x="915" y="22"/>
                  </a:cxn>
                  <a:cxn ang="0">
                    <a:pos x="889" y="19"/>
                  </a:cxn>
                  <a:cxn ang="0">
                    <a:pos x="852" y="44"/>
                  </a:cxn>
                  <a:cxn ang="0">
                    <a:pos x="837" y="30"/>
                  </a:cxn>
                  <a:cxn ang="0">
                    <a:pos x="781" y="96"/>
                  </a:cxn>
                  <a:cxn ang="0">
                    <a:pos x="726" y="115"/>
                  </a:cxn>
                  <a:cxn ang="0">
                    <a:pos x="666" y="133"/>
                  </a:cxn>
                  <a:cxn ang="0">
                    <a:pos x="596" y="148"/>
                  </a:cxn>
                  <a:cxn ang="0">
                    <a:pos x="588" y="203"/>
                  </a:cxn>
                  <a:cxn ang="0">
                    <a:pos x="581" y="251"/>
                  </a:cxn>
                  <a:cxn ang="0">
                    <a:pos x="524" y="262"/>
                  </a:cxn>
                  <a:cxn ang="0">
                    <a:pos x="505" y="303"/>
                  </a:cxn>
                  <a:cxn ang="0">
                    <a:pos x="461" y="362"/>
                  </a:cxn>
                  <a:cxn ang="0">
                    <a:pos x="415" y="436"/>
                  </a:cxn>
                  <a:cxn ang="0">
                    <a:pos x="378" y="511"/>
                  </a:cxn>
                  <a:cxn ang="0">
                    <a:pos x="356" y="555"/>
                  </a:cxn>
                  <a:cxn ang="0">
                    <a:pos x="285" y="618"/>
                  </a:cxn>
                  <a:cxn ang="0">
                    <a:pos x="326" y="625"/>
                  </a:cxn>
                  <a:cxn ang="0">
                    <a:pos x="263" y="637"/>
                  </a:cxn>
                  <a:cxn ang="0">
                    <a:pos x="204" y="674"/>
                  </a:cxn>
                  <a:cxn ang="0">
                    <a:pos x="154" y="677"/>
                  </a:cxn>
                  <a:cxn ang="0">
                    <a:pos x="113" y="705"/>
                  </a:cxn>
                  <a:cxn ang="0">
                    <a:pos x="87" y="733"/>
                  </a:cxn>
                  <a:cxn ang="0">
                    <a:pos x="35" y="767"/>
                  </a:cxn>
                  <a:cxn ang="0">
                    <a:pos x="20" y="889"/>
                  </a:cxn>
                  <a:cxn ang="0">
                    <a:pos x="41" y="917"/>
                  </a:cxn>
                  <a:cxn ang="0">
                    <a:pos x="20" y="971"/>
                  </a:cxn>
                  <a:cxn ang="0">
                    <a:pos x="33" y="1003"/>
                  </a:cxn>
                  <a:cxn ang="0">
                    <a:pos x="0" y="1030"/>
                  </a:cxn>
                  <a:cxn ang="0">
                    <a:pos x="85" y="1110"/>
                  </a:cxn>
                  <a:cxn ang="0">
                    <a:pos x="209" y="1019"/>
                  </a:cxn>
                  <a:cxn ang="0">
                    <a:pos x="254" y="967"/>
                  </a:cxn>
                  <a:cxn ang="0">
                    <a:pos x="263" y="1045"/>
                  </a:cxn>
                </a:cxnLst>
                <a:rect l="0" t="0" r="r" b="b"/>
                <a:pathLst>
                  <a:path w="1012" h="1110">
                    <a:moveTo>
                      <a:pt x="271" y="1045"/>
                    </a:moveTo>
                    <a:lnTo>
                      <a:pt x="274" y="1043"/>
                    </a:lnTo>
                    <a:lnTo>
                      <a:pt x="285" y="1040"/>
                    </a:lnTo>
                    <a:lnTo>
                      <a:pt x="293" y="1028"/>
                    </a:lnTo>
                    <a:lnTo>
                      <a:pt x="297" y="1014"/>
                    </a:lnTo>
                    <a:lnTo>
                      <a:pt x="300" y="1006"/>
                    </a:lnTo>
                    <a:lnTo>
                      <a:pt x="297" y="984"/>
                    </a:lnTo>
                    <a:lnTo>
                      <a:pt x="300" y="969"/>
                    </a:lnTo>
                    <a:lnTo>
                      <a:pt x="311" y="962"/>
                    </a:lnTo>
                    <a:lnTo>
                      <a:pt x="337" y="951"/>
                    </a:lnTo>
                    <a:lnTo>
                      <a:pt x="341" y="939"/>
                    </a:lnTo>
                    <a:lnTo>
                      <a:pt x="337" y="902"/>
                    </a:lnTo>
                    <a:lnTo>
                      <a:pt x="334" y="895"/>
                    </a:lnTo>
                    <a:lnTo>
                      <a:pt x="334" y="873"/>
                    </a:lnTo>
                    <a:lnTo>
                      <a:pt x="326" y="865"/>
                    </a:lnTo>
                    <a:lnTo>
                      <a:pt x="330" y="847"/>
                    </a:lnTo>
                    <a:lnTo>
                      <a:pt x="337" y="847"/>
                    </a:lnTo>
                    <a:lnTo>
                      <a:pt x="356" y="836"/>
                    </a:lnTo>
                    <a:lnTo>
                      <a:pt x="341" y="802"/>
                    </a:lnTo>
                    <a:lnTo>
                      <a:pt x="334" y="791"/>
                    </a:lnTo>
                    <a:lnTo>
                      <a:pt x="334" y="788"/>
                    </a:lnTo>
                    <a:lnTo>
                      <a:pt x="334" y="759"/>
                    </a:lnTo>
                    <a:lnTo>
                      <a:pt x="345" y="737"/>
                    </a:lnTo>
                    <a:lnTo>
                      <a:pt x="348" y="714"/>
                    </a:lnTo>
                    <a:lnTo>
                      <a:pt x="352" y="688"/>
                    </a:lnTo>
                    <a:lnTo>
                      <a:pt x="348" y="666"/>
                    </a:lnTo>
                    <a:lnTo>
                      <a:pt x="356" y="651"/>
                    </a:lnTo>
                    <a:lnTo>
                      <a:pt x="360" y="640"/>
                    </a:lnTo>
                    <a:lnTo>
                      <a:pt x="382" y="625"/>
                    </a:lnTo>
                    <a:lnTo>
                      <a:pt x="404" y="618"/>
                    </a:lnTo>
                    <a:lnTo>
                      <a:pt x="423" y="625"/>
                    </a:lnTo>
                    <a:lnTo>
                      <a:pt x="430" y="629"/>
                    </a:lnTo>
                    <a:lnTo>
                      <a:pt x="442" y="614"/>
                    </a:lnTo>
                    <a:lnTo>
                      <a:pt x="442" y="596"/>
                    </a:lnTo>
                    <a:lnTo>
                      <a:pt x="430" y="562"/>
                    </a:lnTo>
                    <a:lnTo>
                      <a:pt x="426" y="548"/>
                    </a:lnTo>
                    <a:lnTo>
                      <a:pt x="430" y="540"/>
                    </a:lnTo>
                    <a:lnTo>
                      <a:pt x="437" y="540"/>
                    </a:lnTo>
                    <a:lnTo>
                      <a:pt x="446" y="529"/>
                    </a:lnTo>
                    <a:lnTo>
                      <a:pt x="450" y="507"/>
                    </a:lnTo>
                    <a:lnTo>
                      <a:pt x="453" y="477"/>
                    </a:lnTo>
                    <a:lnTo>
                      <a:pt x="457" y="448"/>
                    </a:lnTo>
                    <a:lnTo>
                      <a:pt x="468" y="436"/>
                    </a:lnTo>
                    <a:lnTo>
                      <a:pt x="490" y="422"/>
                    </a:lnTo>
                    <a:lnTo>
                      <a:pt x="505" y="414"/>
                    </a:lnTo>
                    <a:lnTo>
                      <a:pt x="509" y="392"/>
                    </a:lnTo>
                    <a:lnTo>
                      <a:pt x="516" y="377"/>
                    </a:lnTo>
                    <a:lnTo>
                      <a:pt x="535" y="362"/>
                    </a:lnTo>
                    <a:lnTo>
                      <a:pt x="539" y="351"/>
                    </a:lnTo>
                    <a:lnTo>
                      <a:pt x="535" y="340"/>
                    </a:lnTo>
                    <a:lnTo>
                      <a:pt x="535" y="325"/>
                    </a:lnTo>
                    <a:lnTo>
                      <a:pt x="550" y="314"/>
                    </a:lnTo>
                    <a:lnTo>
                      <a:pt x="568" y="281"/>
                    </a:lnTo>
                    <a:lnTo>
                      <a:pt x="581" y="284"/>
                    </a:lnTo>
                    <a:lnTo>
                      <a:pt x="603" y="266"/>
                    </a:lnTo>
                    <a:lnTo>
                      <a:pt x="600" y="251"/>
                    </a:lnTo>
                    <a:lnTo>
                      <a:pt x="614" y="236"/>
                    </a:lnTo>
                    <a:lnTo>
                      <a:pt x="622" y="240"/>
                    </a:lnTo>
                    <a:lnTo>
                      <a:pt x="637" y="236"/>
                    </a:lnTo>
                    <a:lnTo>
                      <a:pt x="659" y="240"/>
                    </a:lnTo>
                    <a:lnTo>
                      <a:pt x="688" y="214"/>
                    </a:lnTo>
                    <a:lnTo>
                      <a:pt x="685" y="199"/>
                    </a:lnTo>
                    <a:lnTo>
                      <a:pt x="688" y="192"/>
                    </a:lnTo>
                    <a:lnTo>
                      <a:pt x="681" y="188"/>
                    </a:lnTo>
                    <a:lnTo>
                      <a:pt x="696" y="174"/>
                    </a:lnTo>
                    <a:lnTo>
                      <a:pt x="718" y="171"/>
                    </a:lnTo>
                    <a:lnTo>
                      <a:pt x="733" y="192"/>
                    </a:lnTo>
                    <a:lnTo>
                      <a:pt x="759" y="221"/>
                    </a:lnTo>
                    <a:lnTo>
                      <a:pt x="770" y="221"/>
                    </a:lnTo>
                    <a:lnTo>
                      <a:pt x="785" y="210"/>
                    </a:lnTo>
                    <a:lnTo>
                      <a:pt x="796" y="207"/>
                    </a:lnTo>
                    <a:lnTo>
                      <a:pt x="803" y="210"/>
                    </a:lnTo>
                    <a:lnTo>
                      <a:pt x="815" y="221"/>
                    </a:lnTo>
                    <a:lnTo>
                      <a:pt x="829" y="225"/>
                    </a:lnTo>
                    <a:lnTo>
                      <a:pt x="833" y="221"/>
                    </a:lnTo>
                    <a:lnTo>
                      <a:pt x="840" y="207"/>
                    </a:lnTo>
                    <a:lnTo>
                      <a:pt x="844" y="199"/>
                    </a:lnTo>
                    <a:lnTo>
                      <a:pt x="859" y="174"/>
                    </a:lnTo>
                    <a:lnTo>
                      <a:pt x="863" y="171"/>
                    </a:lnTo>
                    <a:lnTo>
                      <a:pt x="859" y="133"/>
                    </a:lnTo>
                    <a:lnTo>
                      <a:pt x="878" y="115"/>
                    </a:lnTo>
                    <a:lnTo>
                      <a:pt x="885" y="119"/>
                    </a:lnTo>
                    <a:lnTo>
                      <a:pt x="907" y="96"/>
                    </a:lnTo>
                    <a:lnTo>
                      <a:pt x="926" y="119"/>
                    </a:lnTo>
                    <a:lnTo>
                      <a:pt x="933" y="126"/>
                    </a:lnTo>
                    <a:lnTo>
                      <a:pt x="944" y="122"/>
                    </a:lnTo>
                    <a:lnTo>
                      <a:pt x="952" y="133"/>
                    </a:lnTo>
                    <a:lnTo>
                      <a:pt x="952" y="141"/>
                    </a:lnTo>
                    <a:lnTo>
                      <a:pt x="960" y="148"/>
                    </a:lnTo>
                    <a:lnTo>
                      <a:pt x="960" y="159"/>
                    </a:lnTo>
                    <a:lnTo>
                      <a:pt x="971" y="145"/>
                    </a:lnTo>
                    <a:lnTo>
                      <a:pt x="990" y="130"/>
                    </a:lnTo>
                    <a:lnTo>
                      <a:pt x="1001" y="107"/>
                    </a:lnTo>
                    <a:lnTo>
                      <a:pt x="993" y="104"/>
                    </a:lnTo>
                    <a:lnTo>
                      <a:pt x="982" y="115"/>
                    </a:lnTo>
                    <a:lnTo>
                      <a:pt x="979" y="96"/>
                    </a:lnTo>
                    <a:lnTo>
                      <a:pt x="971" y="93"/>
                    </a:lnTo>
                    <a:lnTo>
                      <a:pt x="968" y="82"/>
                    </a:lnTo>
                    <a:lnTo>
                      <a:pt x="997" y="59"/>
                    </a:lnTo>
                    <a:lnTo>
                      <a:pt x="1008" y="63"/>
                    </a:lnTo>
                    <a:lnTo>
                      <a:pt x="1012" y="48"/>
                    </a:lnTo>
                    <a:lnTo>
                      <a:pt x="1005" y="44"/>
                    </a:lnTo>
                    <a:lnTo>
                      <a:pt x="986" y="37"/>
                    </a:lnTo>
                    <a:lnTo>
                      <a:pt x="975" y="33"/>
                    </a:lnTo>
                    <a:lnTo>
                      <a:pt x="960" y="19"/>
                    </a:lnTo>
                    <a:lnTo>
                      <a:pt x="944" y="15"/>
                    </a:lnTo>
                    <a:lnTo>
                      <a:pt x="929" y="30"/>
                    </a:lnTo>
                    <a:lnTo>
                      <a:pt x="922" y="41"/>
                    </a:lnTo>
                    <a:lnTo>
                      <a:pt x="907" y="30"/>
                    </a:lnTo>
                    <a:lnTo>
                      <a:pt x="915" y="22"/>
                    </a:lnTo>
                    <a:lnTo>
                      <a:pt x="918" y="4"/>
                    </a:lnTo>
                    <a:lnTo>
                      <a:pt x="915" y="0"/>
                    </a:lnTo>
                    <a:lnTo>
                      <a:pt x="896" y="0"/>
                    </a:lnTo>
                    <a:lnTo>
                      <a:pt x="892" y="7"/>
                    </a:lnTo>
                    <a:lnTo>
                      <a:pt x="889" y="19"/>
                    </a:lnTo>
                    <a:lnTo>
                      <a:pt x="892" y="30"/>
                    </a:lnTo>
                    <a:lnTo>
                      <a:pt x="878" y="44"/>
                    </a:lnTo>
                    <a:lnTo>
                      <a:pt x="866" y="22"/>
                    </a:lnTo>
                    <a:lnTo>
                      <a:pt x="855" y="26"/>
                    </a:lnTo>
                    <a:lnTo>
                      <a:pt x="852" y="44"/>
                    </a:lnTo>
                    <a:lnTo>
                      <a:pt x="844" y="70"/>
                    </a:lnTo>
                    <a:lnTo>
                      <a:pt x="826" y="89"/>
                    </a:lnTo>
                    <a:lnTo>
                      <a:pt x="815" y="67"/>
                    </a:lnTo>
                    <a:lnTo>
                      <a:pt x="833" y="52"/>
                    </a:lnTo>
                    <a:lnTo>
                      <a:pt x="837" y="30"/>
                    </a:lnTo>
                    <a:lnTo>
                      <a:pt x="826" y="30"/>
                    </a:lnTo>
                    <a:lnTo>
                      <a:pt x="807" y="30"/>
                    </a:lnTo>
                    <a:lnTo>
                      <a:pt x="792" y="52"/>
                    </a:lnTo>
                    <a:lnTo>
                      <a:pt x="774" y="82"/>
                    </a:lnTo>
                    <a:lnTo>
                      <a:pt x="781" y="96"/>
                    </a:lnTo>
                    <a:lnTo>
                      <a:pt x="770" y="104"/>
                    </a:lnTo>
                    <a:lnTo>
                      <a:pt x="755" y="93"/>
                    </a:lnTo>
                    <a:lnTo>
                      <a:pt x="740" y="100"/>
                    </a:lnTo>
                    <a:lnTo>
                      <a:pt x="744" y="115"/>
                    </a:lnTo>
                    <a:lnTo>
                      <a:pt x="726" y="115"/>
                    </a:lnTo>
                    <a:lnTo>
                      <a:pt x="714" y="119"/>
                    </a:lnTo>
                    <a:lnTo>
                      <a:pt x="700" y="137"/>
                    </a:lnTo>
                    <a:lnTo>
                      <a:pt x="681" y="133"/>
                    </a:lnTo>
                    <a:lnTo>
                      <a:pt x="681" y="145"/>
                    </a:lnTo>
                    <a:lnTo>
                      <a:pt x="666" y="133"/>
                    </a:lnTo>
                    <a:lnTo>
                      <a:pt x="648" y="141"/>
                    </a:lnTo>
                    <a:lnTo>
                      <a:pt x="644" y="156"/>
                    </a:lnTo>
                    <a:lnTo>
                      <a:pt x="629" y="159"/>
                    </a:lnTo>
                    <a:lnTo>
                      <a:pt x="618" y="145"/>
                    </a:lnTo>
                    <a:lnTo>
                      <a:pt x="596" y="148"/>
                    </a:lnTo>
                    <a:lnTo>
                      <a:pt x="574" y="156"/>
                    </a:lnTo>
                    <a:lnTo>
                      <a:pt x="574" y="178"/>
                    </a:lnTo>
                    <a:lnTo>
                      <a:pt x="588" y="182"/>
                    </a:lnTo>
                    <a:lnTo>
                      <a:pt x="588" y="188"/>
                    </a:lnTo>
                    <a:lnTo>
                      <a:pt x="588" y="203"/>
                    </a:lnTo>
                    <a:lnTo>
                      <a:pt x="577" y="199"/>
                    </a:lnTo>
                    <a:lnTo>
                      <a:pt x="564" y="207"/>
                    </a:lnTo>
                    <a:lnTo>
                      <a:pt x="568" y="221"/>
                    </a:lnTo>
                    <a:lnTo>
                      <a:pt x="581" y="233"/>
                    </a:lnTo>
                    <a:lnTo>
                      <a:pt x="581" y="251"/>
                    </a:lnTo>
                    <a:lnTo>
                      <a:pt x="568" y="244"/>
                    </a:lnTo>
                    <a:lnTo>
                      <a:pt x="557" y="247"/>
                    </a:lnTo>
                    <a:lnTo>
                      <a:pt x="557" y="262"/>
                    </a:lnTo>
                    <a:lnTo>
                      <a:pt x="539" y="262"/>
                    </a:lnTo>
                    <a:lnTo>
                      <a:pt x="524" y="262"/>
                    </a:lnTo>
                    <a:lnTo>
                      <a:pt x="520" y="273"/>
                    </a:lnTo>
                    <a:lnTo>
                      <a:pt x="516" y="281"/>
                    </a:lnTo>
                    <a:lnTo>
                      <a:pt x="505" y="284"/>
                    </a:lnTo>
                    <a:lnTo>
                      <a:pt x="501" y="292"/>
                    </a:lnTo>
                    <a:lnTo>
                      <a:pt x="505" y="303"/>
                    </a:lnTo>
                    <a:lnTo>
                      <a:pt x="483" y="310"/>
                    </a:lnTo>
                    <a:lnTo>
                      <a:pt x="498" y="325"/>
                    </a:lnTo>
                    <a:lnTo>
                      <a:pt x="501" y="333"/>
                    </a:lnTo>
                    <a:lnTo>
                      <a:pt x="487" y="344"/>
                    </a:lnTo>
                    <a:lnTo>
                      <a:pt x="461" y="362"/>
                    </a:lnTo>
                    <a:lnTo>
                      <a:pt x="442" y="377"/>
                    </a:lnTo>
                    <a:lnTo>
                      <a:pt x="430" y="399"/>
                    </a:lnTo>
                    <a:lnTo>
                      <a:pt x="411" y="414"/>
                    </a:lnTo>
                    <a:lnTo>
                      <a:pt x="411" y="425"/>
                    </a:lnTo>
                    <a:lnTo>
                      <a:pt x="415" y="436"/>
                    </a:lnTo>
                    <a:lnTo>
                      <a:pt x="400" y="448"/>
                    </a:lnTo>
                    <a:lnTo>
                      <a:pt x="404" y="462"/>
                    </a:lnTo>
                    <a:lnTo>
                      <a:pt x="389" y="488"/>
                    </a:lnTo>
                    <a:lnTo>
                      <a:pt x="378" y="492"/>
                    </a:lnTo>
                    <a:lnTo>
                      <a:pt x="378" y="511"/>
                    </a:lnTo>
                    <a:lnTo>
                      <a:pt x="386" y="522"/>
                    </a:lnTo>
                    <a:lnTo>
                      <a:pt x="374" y="533"/>
                    </a:lnTo>
                    <a:lnTo>
                      <a:pt x="367" y="525"/>
                    </a:lnTo>
                    <a:lnTo>
                      <a:pt x="352" y="533"/>
                    </a:lnTo>
                    <a:lnTo>
                      <a:pt x="356" y="555"/>
                    </a:lnTo>
                    <a:lnTo>
                      <a:pt x="341" y="562"/>
                    </a:lnTo>
                    <a:lnTo>
                      <a:pt x="319" y="566"/>
                    </a:lnTo>
                    <a:lnTo>
                      <a:pt x="304" y="585"/>
                    </a:lnTo>
                    <a:lnTo>
                      <a:pt x="300" y="603"/>
                    </a:lnTo>
                    <a:lnTo>
                      <a:pt x="285" y="618"/>
                    </a:lnTo>
                    <a:lnTo>
                      <a:pt x="285" y="629"/>
                    </a:lnTo>
                    <a:lnTo>
                      <a:pt x="304" y="614"/>
                    </a:lnTo>
                    <a:lnTo>
                      <a:pt x="326" y="599"/>
                    </a:lnTo>
                    <a:lnTo>
                      <a:pt x="334" y="603"/>
                    </a:lnTo>
                    <a:lnTo>
                      <a:pt x="326" y="625"/>
                    </a:lnTo>
                    <a:lnTo>
                      <a:pt x="308" y="637"/>
                    </a:lnTo>
                    <a:lnTo>
                      <a:pt x="289" y="633"/>
                    </a:lnTo>
                    <a:lnTo>
                      <a:pt x="293" y="648"/>
                    </a:lnTo>
                    <a:lnTo>
                      <a:pt x="267" y="659"/>
                    </a:lnTo>
                    <a:lnTo>
                      <a:pt x="263" y="637"/>
                    </a:lnTo>
                    <a:lnTo>
                      <a:pt x="252" y="629"/>
                    </a:lnTo>
                    <a:lnTo>
                      <a:pt x="237" y="651"/>
                    </a:lnTo>
                    <a:lnTo>
                      <a:pt x="222" y="651"/>
                    </a:lnTo>
                    <a:lnTo>
                      <a:pt x="206" y="655"/>
                    </a:lnTo>
                    <a:lnTo>
                      <a:pt x="204" y="674"/>
                    </a:lnTo>
                    <a:lnTo>
                      <a:pt x="196" y="677"/>
                    </a:lnTo>
                    <a:lnTo>
                      <a:pt x="196" y="687"/>
                    </a:lnTo>
                    <a:lnTo>
                      <a:pt x="187" y="683"/>
                    </a:lnTo>
                    <a:lnTo>
                      <a:pt x="174" y="675"/>
                    </a:lnTo>
                    <a:lnTo>
                      <a:pt x="154" y="677"/>
                    </a:lnTo>
                    <a:lnTo>
                      <a:pt x="154" y="688"/>
                    </a:lnTo>
                    <a:lnTo>
                      <a:pt x="156" y="698"/>
                    </a:lnTo>
                    <a:lnTo>
                      <a:pt x="148" y="701"/>
                    </a:lnTo>
                    <a:lnTo>
                      <a:pt x="130" y="692"/>
                    </a:lnTo>
                    <a:lnTo>
                      <a:pt x="113" y="705"/>
                    </a:lnTo>
                    <a:lnTo>
                      <a:pt x="117" y="716"/>
                    </a:lnTo>
                    <a:lnTo>
                      <a:pt x="115" y="724"/>
                    </a:lnTo>
                    <a:lnTo>
                      <a:pt x="98" y="716"/>
                    </a:lnTo>
                    <a:lnTo>
                      <a:pt x="93" y="726"/>
                    </a:lnTo>
                    <a:lnTo>
                      <a:pt x="87" y="733"/>
                    </a:lnTo>
                    <a:lnTo>
                      <a:pt x="67" y="729"/>
                    </a:lnTo>
                    <a:lnTo>
                      <a:pt x="56" y="731"/>
                    </a:lnTo>
                    <a:lnTo>
                      <a:pt x="54" y="746"/>
                    </a:lnTo>
                    <a:lnTo>
                      <a:pt x="46" y="750"/>
                    </a:lnTo>
                    <a:lnTo>
                      <a:pt x="35" y="767"/>
                    </a:lnTo>
                    <a:lnTo>
                      <a:pt x="37" y="788"/>
                    </a:lnTo>
                    <a:lnTo>
                      <a:pt x="33" y="817"/>
                    </a:lnTo>
                    <a:lnTo>
                      <a:pt x="28" y="847"/>
                    </a:lnTo>
                    <a:lnTo>
                      <a:pt x="24" y="875"/>
                    </a:lnTo>
                    <a:lnTo>
                      <a:pt x="20" y="889"/>
                    </a:lnTo>
                    <a:lnTo>
                      <a:pt x="30" y="902"/>
                    </a:lnTo>
                    <a:lnTo>
                      <a:pt x="46" y="891"/>
                    </a:lnTo>
                    <a:lnTo>
                      <a:pt x="57" y="897"/>
                    </a:lnTo>
                    <a:lnTo>
                      <a:pt x="57" y="908"/>
                    </a:lnTo>
                    <a:lnTo>
                      <a:pt x="41" y="917"/>
                    </a:lnTo>
                    <a:lnTo>
                      <a:pt x="39" y="936"/>
                    </a:lnTo>
                    <a:lnTo>
                      <a:pt x="35" y="945"/>
                    </a:lnTo>
                    <a:lnTo>
                      <a:pt x="19" y="943"/>
                    </a:lnTo>
                    <a:lnTo>
                      <a:pt x="13" y="965"/>
                    </a:lnTo>
                    <a:lnTo>
                      <a:pt x="20" y="971"/>
                    </a:lnTo>
                    <a:lnTo>
                      <a:pt x="35" y="967"/>
                    </a:lnTo>
                    <a:lnTo>
                      <a:pt x="43" y="977"/>
                    </a:lnTo>
                    <a:lnTo>
                      <a:pt x="44" y="982"/>
                    </a:lnTo>
                    <a:lnTo>
                      <a:pt x="32" y="990"/>
                    </a:lnTo>
                    <a:lnTo>
                      <a:pt x="33" y="1003"/>
                    </a:lnTo>
                    <a:lnTo>
                      <a:pt x="19" y="1006"/>
                    </a:lnTo>
                    <a:lnTo>
                      <a:pt x="9" y="999"/>
                    </a:lnTo>
                    <a:lnTo>
                      <a:pt x="11" y="1017"/>
                    </a:lnTo>
                    <a:lnTo>
                      <a:pt x="9" y="1030"/>
                    </a:lnTo>
                    <a:lnTo>
                      <a:pt x="0" y="1030"/>
                    </a:lnTo>
                    <a:lnTo>
                      <a:pt x="22" y="1053"/>
                    </a:lnTo>
                    <a:lnTo>
                      <a:pt x="33" y="1066"/>
                    </a:lnTo>
                    <a:lnTo>
                      <a:pt x="39" y="1084"/>
                    </a:lnTo>
                    <a:lnTo>
                      <a:pt x="61" y="1097"/>
                    </a:lnTo>
                    <a:lnTo>
                      <a:pt x="85" y="1110"/>
                    </a:lnTo>
                    <a:lnTo>
                      <a:pt x="108" y="1110"/>
                    </a:lnTo>
                    <a:lnTo>
                      <a:pt x="141" y="1088"/>
                    </a:lnTo>
                    <a:lnTo>
                      <a:pt x="174" y="1064"/>
                    </a:lnTo>
                    <a:lnTo>
                      <a:pt x="204" y="1023"/>
                    </a:lnTo>
                    <a:lnTo>
                      <a:pt x="209" y="1019"/>
                    </a:lnTo>
                    <a:lnTo>
                      <a:pt x="217" y="1032"/>
                    </a:lnTo>
                    <a:lnTo>
                      <a:pt x="232" y="1023"/>
                    </a:lnTo>
                    <a:lnTo>
                      <a:pt x="237" y="1008"/>
                    </a:lnTo>
                    <a:lnTo>
                      <a:pt x="239" y="990"/>
                    </a:lnTo>
                    <a:lnTo>
                      <a:pt x="254" y="967"/>
                    </a:lnTo>
                    <a:lnTo>
                      <a:pt x="248" y="993"/>
                    </a:lnTo>
                    <a:lnTo>
                      <a:pt x="256" y="997"/>
                    </a:lnTo>
                    <a:lnTo>
                      <a:pt x="252" y="1008"/>
                    </a:lnTo>
                    <a:lnTo>
                      <a:pt x="256" y="1028"/>
                    </a:lnTo>
                    <a:lnTo>
                      <a:pt x="263" y="1045"/>
                    </a:lnTo>
                    <a:lnTo>
                      <a:pt x="272" y="1040"/>
                    </a:lnTo>
                    <a:lnTo>
                      <a:pt x="271" y="1045"/>
                    </a:lnTo>
                    <a:close/>
                  </a:path>
                </a:pathLst>
              </a:custGeom>
              <a:solidFill>
                <a:schemeClr val="accent6"/>
              </a:solidFill>
              <a:ln w="9525">
                <a:solidFill>
                  <a:srgbClr val="FFFFFF"/>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nvGrpSpPr>
              <p:cNvPr id="310" name="Group 75"/>
              <p:cNvGrpSpPr>
                <a:grpSpLocks/>
              </p:cNvGrpSpPr>
              <p:nvPr/>
            </p:nvGrpSpPr>
            <p:grpSpPr bwMode="auto">
              <a:xfrm>
                <a:off x="2667616" y="1657314"/>
                <a:ext cx="915473" cy="912144"/>
                <a:chOff x="2129" y="532"/>
                <a:chExt cx="641" cy="635"/>
              </a:xfrm>
              <a:solidFill>
                <a:schemeClr val="accent6"/>
              </a:solidFill>
            </p:grpSpPr>
            <p:sp>
              <p:nvSpPr>
                <p:cNvPr id="323" name="Freeform 76"/>
                <p:cNvSpPr>
                  <a:spLocks/>
                </p:cNvSpPr>
                <p:nvPr>
                  <p:custDataLst>
                    <p:tags r:id="rId41"/>
                  </p:custDataLst>
                </p:nvPr>
              </p:nvSpPr>
              <p:spPr bwMode="auto">
                <a:xfrm>
                  <a:off x="2433" y="726"/>
                  <a:ext cx="30" cy="39"/>
                </a:xfrm>
                <a:custGeom>
                  <a:avLst/>
                  <a:gdLst/>
                  <a:ahLst/>
                  <a:cxnLst>
                    <a:cxn ang="0">
                      <a:pos x="30" y="6"/>
                    </a:cxn>
                    <a:cxn ang="0">
                      <a:pos x="27" y="15"/>
                    </a:cxn>
                    <a:cxn ang="0">
                      <a:pos x="30" y="33"/>
                    </a:cxn>
                    <a:cxn ang="0">
                      <a:pos x="9" y="39"/>
                    </a:cxn>
                    <a:cxn ang="0">
                      <a:pos x="0" y="30"/>
                    </a:cxn>
                    <a:cxn ang="0">
                      <a:pos x="0" y="15"/>
                    </a:cxn>
                    <a:cxn ang="0">
                      <a:pos x="6" y="0"/>
                    </a:cxn>
                    <a:cxn ang="0">
                      <a:pos x="30" y="6"/>
                    </a:cxn>
                  </a:cxnLst>
                  <a:rect l="0" t="0" r="r" b="b"/>
                  <a:pathLst>
                    <a:path w="30" h="39">
                      <a:moveTo>
                        <a:pt x="30" y="6"/>
                      </a:moveTo>
                      <a:lnTo>
                        <a:pt x="27" y="15"/>
                      </a:lnTo>
                      <a:lnTo>
                        <a:pt x="30" y="33"/>
                      </a:lnTo>
                      <a:lnTo>
                        <a:pt x="9" y="39"/>
                      </a:lnTo>
                      <a:lnTo>
                        <a:pt x="0" y="30"/>
                      </a:lnTo>
                      <a:lnTo>
                        <a:pt x="0" y="15"/>
                      </a:lnTo>
                      <a:lnTo>
                        <a:pt x="6" y="0"/>
                      </a:lnTo>
                      <a:lnTo>
                        <a:pt x="30" y="6"/>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24" name="Freeform 77"/>
                <p:cNvSpPr>
                  <a:spLocks/>
                </p:cNvSpPr>
                <p:nvPr>
                  <p:custDataLst>
                    <p:tags r:id="rId42"/>
                  </p:custDataLst>
                </p:nvPr>
              </p:nvSpPr>
              <p:spPr bwMode="auto">
                <a:xfrm>
                  <a:off x="2385" y="753"/>
                  <a:ext cx="27" cy="21"/>
                </a:xfrm>
                <a:custGeom>
                  <a:avLst/>
                  <a:gdLst/>
                  <a:ahLst/>
                  <a:cxnLst>
                    <a:cxn ang="0">
                      <a:pos x="24" y="0"/>
                    </a:cxn>
                    <a:cxn ang="0">
                      <a:pos x="27" y="15"/>
                    </a:cxn>
                    <a:cxn ang="0">
                      <a:pos x="6" y="21"/>
                    </a:cxn>
                    <a:cxn ang="0">
                      <a:pos x="0" y="6"/>
                    </a:cxn>
                    <a:cxn ang="0">
                      <a:pos x="24" y="0"/>
                    </a:cxn>
                  </a:cxnLst>
                  <a:rect l="0" t="0" r="r" b="b"/>
                  <a:pathLst>
                    <a:path w="27" h="21">
                      <a:moveTo>
                        <a:pt x="24" y="0"/>
                      </a:moveTo>
                      <a:lnTo>
                        <a:pt x="27" y="15"/>
                      </a:lnTo>
                      <a:lnTo>
                        <a:pt x="6" y="21"/>
                      </a:lnTo>
                      <a:lnTo>
                        <a:pt x="0" y="6"/>
                      </a:lnTo>
                      <a:lnTo>
                        <a:pt x="24"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25" name="Freeform 78"/>
                <p:cNvSpPr>
                  <a:spLocks/>
                </p:cNvSpPr>
                <p:nvPr>
                  <p:custDataLst>
                    <p:tags r:id="rId43"/>
                  </p:custDataLst>
                </p:nvPr>
              </p:nvSpPr>
              <p:spPr bwMode="auto">
                <a:xfrm>
                  <a:off x="2394" y="709"/>
                  <a:ext cx="33" cy="26"/>
                </a:xfrm>
                <a:custGeom>
                  <a:avLst/>
                  <a:gdLst/>
                  <a:ahLst/>
                  <a:cxnLst>
                    <a:cxn ang="0">
                      <a:pos x="0" y="17"/>
                    </a:cxn>
                    <a:cxn ang="0">
                      <a:pos x="24" y="26"/>
                    </a:cxn>
                    <a:cxn ang="0">
                      <a:pos x="33" y="6"/>
                    </a:cxn>
                    <a:cxn ang="0">
                      <a:pos x="18" y="0"/>
                    </a:cxn>
                    <a:cxn ang="0">
                      <a:pos x="9" y="6"/>
                    </a:cxn>
                    <a:cxn ang="0">
                      <a:pos x="0" y="11"/>
                    </a:cxn>
                    <a:cxn ang="0">
                      <a:pos x="0" y="17"/>
                    </a:cxn>
                  </a:cxnLst>
                  <a:rect l="0" t="0" r="r" b="b"/>
                  <a:pathLst>
                    <a:path w="33" h="26">
                      <a:moveTo>
                        <a:pt x="0" y="17"/>
                      </a:moveTo>
                      <a:lnTo>
                        <a:pt x="24" y="26"/>
                      </a:lnTo>
                      <a:lnTo>
                        <a:pt x="33" y="6"/>
                      </a:lnTo>
                      <a:lnTo>
                        <a:pt x="18" y="0"/>
                      </a:lnTo>
                      <a:lnTo>
                        <a:pt x="9" y="6"/>
                      </a:lnTo>
                      <a:lnTo>
                        <a:pt x="0" y="11"/>
                      </a:lnTo>
                      <a:lnTo>
                        <a:pt x="0" y="17"/>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26" name="Freeform 79"/>
                <p:cNvSpPr>
                  <a:spLocks/>
                </p:cNvSpPr>
                <p:nvPr>
                  <p:custDataLst>
                    <p:tags r:id="rId44"/>
                  </p:custDataLst>
                </p:nvPr>
              </p:nvSpPr>
              <p:spPr bwMode="auto">
                <a:xfrm>
                  <a:off x="2433" y="686"/>
                  <a:ext cx="24" cy="16"/>
                </a:xfrm>
                <a:custGeom>
                  <a:avLst/>
                  <a:gdLst/>
                  <a:ahLst/>
                  <a:cxnLst>
                    <a:cxn ang="0">
                      <a:pos x="0" y="16"/>
                    </a:cxn>
                    <a:cxn ang="0">
                      <a:pos x="18" y="0"/>
                    </a:cxn>
                    <a:cxn ang="0">
                      <a:pos x="24" y="6"/>
                    </a:cxn>
                    <a:cxn ang="0">
                      <a:pos x="0" y="16"/>
                    </a:cxn>
                  </a:cxnLst>
                  <a:rect l="0" t="0" r="r" b="b"/>
                  <a:pathLst>
                    <a:path w="24" h="16">
                      <a:moveTo>
                        <a:pt x="0" y="16"/>
                      </a:moveTo>
                      <a:lnTo>
                        <a:pt x="18" y="0"/>
                      </a:lnTo>
                      <a:lnTo>
                        <a:pt x="24" y="6"/>
                      </a:lnTo>
                      <a:lnTo>
                        <a:pt x="0" y="16"/>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27" name="Freeform 80"/>
                <p:cNvSpPr>
                  <a:spLocks/>
                </p:cNvSpPr>
                <p:nvPr>
                  <p:custDataLst>
                    <p:tags r:id="rId45"/>
                  </p:custDataLst>
                </p:nvPr>
              </p:nvSpPr>
              <p:spPr bwMode="auto">
                <a:xfrm>
                  <a:off x="2345" y="762"/>
                  <a:ext cx="18" cy="18"/>
                </a:xfrm>
                <a:custGeom>
                  <a:avLst/>
                  <a:gdLst/>
                  <a:ahLst/>
                  <a:cxnLst>
                    <a:cxn ang="0">
                      <a:pos x="15" y="0"/>
                    </a:cxn>
                    <a:cxn ang="0">
                      <a:pos x="18" y="15"/>
                    </a:cxn>
                    <a:cxn ang="0">
                      <a:pos x="0" y="18"/>
                    </a:cxn>
                    <a:cxn ang="0">
                      <a:pos x="15" y="0"/>
                    </a:cxn>
                  </a:cxnLst>
                  <a:rect l="0" t="0" r="r" b="b"/>
                  <a:pathLst>
                    <a:path w="18" h="18">
                      <a:moveTo>
                        <a:pt x="15" y="0"/>
                      </a:moveTo>
                      <a:lnTo>
                        <a:pt x="18" y="15"/>
                      </a:lnTo>
                      <a:lnTo>
                        <a:pt x="0" y="18"/>
                      </a:lnTo>
                      <a:lnTo>
                        <a:pt x="15"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28" name="Freeform 81"/>
                <p:cNvSpPr>
                  <a:spLocks/>
                </p:cNvSpPr>
                <p:nvPr>
                  <p:custDataLst>
                    <p:tags r:id="rId46"/>
                  </p:custDataLst>
                </p:nvPr>
              </p:nvSpPr>
              <p:spPr bwMode="auto">
                <a:xfrm>
                  <a:off x="2536" y="637"/>
                  <a:ext cx="33" cy="27"/>
                </a:xfrm>
                <a:custGeom>
                  <a:avLst/>
                  <a:gdLst/>
                  <a:ahLst/>
                  <a:cxnLst>
                    <a:cxn ang="0">
                      <a:pos x="15" y="0"/>
                    </a:cxn>
                    <a:cxn ang="0">
                      <a:pos x="0" y="12"/>
                    </a:cxn>
                    <a:cxn ang="0">
                      <a:pos x="21" y="27"/>
                    </a:cxn>
                    <a:cxn ang="0">
                      <a:pos x="33" y="12"/>
                    </a:cxn>
                    <a:cxn ang="0">
                      <a:pos x="15" y="0"/>
                    </a:cxn>
                  </a:cxnLst>
                  <a:rect l="0" t="0" r="r" b="b"/>
                  <a:pathLst>
                    <a:path w="33" h="27">
                      <a:moveTo>
                        <a:pt x="15" y="0"/>
                      </a:moveTo>
                      <a:lnTo>
                        <a:pt x="0" y="12"/>
                      </a:lnTo>
                      <a:lnTo>
                        <a:pt x="21" y="27"/>
                      </a:lnTo>
                      <a:lnTo>
                        <a:pt x="33" y="12"/>
                      </a:lnTo>
                      <a:lnTo>
                        <a:pt x="15"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29" name="Freeform 82"/>
                <p:cNvSpPr>
                  <a:spLocks/>
                </p:cNvSpPr>
                <p:nvPr>
                  <p:custDataLst>
                    <p:tags r:id="rId47"/>
                  </p:custDataLst>
                </p:nvPr>
              </p:nvSpPr>
              <p:spPr bwMode="auto">
                <a:xfrm>
                  <a:off x="2566" y="613"/>
                  <a:ext cx="33" cy="27"/>
                </a:xfrm>
                <a:custGeom>
                  <a:avLst/>
                  <a:gdLst/>
                  <a:ahLst/>
                  <a:cxnLst>
                    <a:cxn ang="0">
                      <a:pos x="0" y="9"/>
                    </a:cxn>
                    <a:cxn ang="0">
                      <a:pos x="15" y="27"/>
                    </a:cxn>
                    <a:cxn ang="0">
                      <a:pos x="33" y="15"/>
                    </a:cxn>
                    <a:cxn ang="0">
                      <a:pos x="18" y="0"/>
                    </a:cxn>
                    <a:cxn ang="0">
                      <a:pos x="0" y="9"/>
                    </a:cxn>
                  </a:cxnLst>
                  <a:rect l="0" t="0" r="r" b="b"/>
                  <a:pathLst>
                    <a:path w="33" h="27">
                      <a:moveTo>
                        <a:pt x="0" y="9"/>
                      </a:moveTo>
                      <a:lnTo>
                        <a:pt x="15" y="27"/>
                      </a:lnTo>
                      <a:lnTo>
                        <a:pt x="33" y="15"/>
                      </a:lnTo>
                      <a:lnTo>
                        <a:pt x="18" y="0"/>
                      </a:lnTo>
                      <a:lnTo>
                        <a:pt x="0" y="9"/>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30" name="Freeform 83"/>
                <p:cNvSpPr>
                  <a:spLocks/>
                </p:cNvSpPr>
                <p:nvPr>
                  <p:custDataLst>
                    <p:tags r:id="rId48"/>
                  </p:custDataLst>
                </p:nvPr>
              </p:nvSpPr>
              <p:spPr bwMode="auto">
                <a:xfrm>
                  <a:off x="2653" y="562"/>
                  <a:ext cx="48" cy="33"/>
                </a:xfrm>
                <a:custGeom>
                  <a:avLst/>
                  <a:gdLst/>
                  <a:ahLst/>
                  <a:cxnLst>
                    <a:cxn ang="0">
                      <a:pos x="21" y="9"/>
                    </a:cxn>
                    <a:cxn ang="0">
                      <a:pos x="30" y="15"/>
                    </a:cxn>
                    <a:cxn ang="0">
                      <a:pos x="48" y="0"/>
                    </a:cxn>
                    <a:cxn ang="0">
                      <a:pos x="39" y="30"/>
                    </a:cxn>
                    <a:cxn ang="0">
                      <a:pos x="21" y="33"/>
                    </a:cxn>
                    <a:cxn ang="0">
                      <a:pos x="0" y="12"/>
                    </a:cxn>
                    <a:cxn ang="0">
                      <a:pos x="21" y="9"/>
                    </a:cxn>
                  </a:cxnLst>
                  <a:rect l="0" t="0" r="r" b="b"/>
                  <a:pathLst>
                    <a:path w="48" h="33">
                      <a:moveTo>
                        <a:pt x="21" y="9"/>
                      </a:moveTo>
                      <a:lnTo>
                        <a:pt x="30" y="15"/>
                      </a:lnTo>
                      <a:lnTo>
                        <a:pt x="48" y="0"/>
                      </a:lnTo>
                      <a:lnTo>
                        <a:pt x="39" y="30"/>
                      </a:lnTo>
                      <a:lnTo>
                        <a:pt x="21" y="33"/>
                      </a:lnTo>
                      <a:lnTo>
                        <a:pt x="0" y="12"/>
                      </a:lnTo>
                      <a:lnTo>
                        <a:pt x="21" y="9"/>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31" name="Freeform 84"/>
                <p:cNvSpPr>
                  <a:spLocks/>
                </p:cNvSpPr>
                <p:nvPr>
                  <p:custDataLst>
                    <p:tags r:id="rId49"/>
                  </p:custDataLst>
                </p:nvPr>
              </p:nvSpPr>
              <p:spPr bwMode="auto">
                <a:xfrm>
                  <a:off x="2746" y="532"/>
                  <a:ext cx="24" cy="18"/>
                </a:xfrm>
                <a:custGeom>
                  <a:avLst/>
                  <a:gdLst/>
                  <a:ahLst/>
                  <a:cxnLst>
                    <a:cxn ang="0">
                      <a:pos x="12" y="0"/>
                    </a:cxn>
                    <a:cxn ang="0">
                      <a:pos x="21" y="6"/>
                    </a:cxn>
                    <a:cxn ang="0">
                      <a:pos x="24" y="18"/>
                    </a:cxn>
                    <a:cxn ang="0">
                      <a:pos x="0" y="18"/>
                    </a:cxn>
                    <a:cxn ang="0">
                      <a:pos x="12" y="0"/>
                    </a:cxn>
                  </a:cxnLst>
                  <a:rect l="0" t="0" r="r" b="b"/>
                  <a:pathLst>
                    <a:path w="24" h="18">
                      <a:moveTo>
                        <a:pt x="12" y="0"/>
                      </a:moveTo>
                      <a:lnTo>
                        <a:pt x="21" y="6"/>
                      </a:lnTo>
                      <a:lnTo>
                        <a:pt x="24" y="18"/>
                      </a:lnTo>
                      <a:lnTo>
                        <a:pt x="0" y="18"/>
                      </a:lnTo>
                      <a:lnTo>
                        <a:pt x="12"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32" name="Freeform 85"/>
                <p:cNvSpPr>
                  <a:spLocks/>
                </p:cNvSpPr>
                <p:nvPr>
                  <p:custDataLst>
                    <p:tags r:id="rId50"/>
                  </p:custDataLst>
                </p:nvPr>
              </p:nvSpPr>
              <p:spPr bwMode="auto">
                <a:xfrm>
                  <a:off x="2129" y="1146"/>
                  <a:ext cx="36" cy="21"/>
                </a:xfrm>
                <a:custGeom>
                  <a:avLst/>
                  <a:gdLst/>
                  <a:ahLst/>
                  <a:cxnLst>
                    <a:cxn ang="0">
                      <a:pos x="36" y="12"/>
                    </a:cxn>
                    <a:cxn ang="0">
                      <a:pos x="9" y="0"/>
                    </a:cxn>
                    <a:cxn ang="0">
                      <a:pos x="0" y="9"/>
                    </a:cxn>
                    <a:cxn ang="0">
                      <a:pos x="3" y="21"/>
                    </a:cxn>
                    <a:cxn ang="0">
                      <a:pos x="36" y="12"/>
                    </a:cxn>
                  </a:cxnLst>
                  <a:rect l="0" t="0" r="r" b="b"/>
                  <a:pathLst>
                    <a:path w="36" h="21">
                      <a:moveTo>
                        <a:pt x="36" y="12"/>
                      </a:moveTo>
                      <a:lnTo>
                        <a:pt x="9" y="0"/>
                      </a:lnTo>
                      <a:lnTo>
                        <a:pt x="0" y="9"/>
                      </a:lnTo>
                      <a:lnTo>
                        <a:pt x="3" y="21"/>
                      </a:lnTo>
                      <a:lnTo>
                        <a:pt x="36" y="12"/>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sp>
            <p:nvSpPr>
              <p:cNvPr id="311" name="Freeform 86"/>
              <p:cNvSpPr>
                <a:spLocks/>
              </p:cNvSpPr>
              <p:nvPr>
                <p:custDataLst>
                  <p:tags r:id="rId30"/>
                </p:custDataLst>
              </p:nvPr>
            </p:nvSpPr>
            <p:spPr bwMode="auto">
              <a:xfrm>
                <a:off x="3065431" y="4370442"/>
                <a:ext cx="506007" cy="226371"/>
              </a:xfrm>
              <a:custGeom>
                <a:avLst/>
                <a:gdLst/>
                <a:ahLst/>
                <a:cxnLst>
                  <a:cxn ang="0">
                    <a:pos x="120" y="8"/>
                  </a:cxn>
                  <a:cxn ang="0">
                    <a:pos x="132" y="0"/>
                  </a:cxn>
                  <a:cxn ang="0">
                    <a:pos x="146" y="0"/>
                  </a:cxn>
                  <a:cxn ang="0">
                    <a:pos x="152" y="11"/>
                  </a:cxn>
                  <a:cxn ang="0">
                    <a:pos x="165" y="2"/>
                  </a:cxn>
                  <a:cxn ang="0">
                    <a:pos x="178" y="6"/>
                  </a:cxn>
                  <a:cxn ang="0">
                    <a:pos x="198" y="27"/>
                  </a:cxn>
                  <a:cxn ang="0">
                    <a:pos x="220" y="36"/>
                  </a:cxn>
                  <a:cxn ang="0">
                    <a:pos x="228" y="38"/>
                  </a:cxn>
                  <a:cxn ang="0">
                    <a:pos x="239" y="29"/>
                  </a:cxn>
                  <a:cxn ang="0">
                    <a:pos x="250" y="25"/>
                  </a:cxn>
                  <a:cxn ang="0">
                    <a:pos x="280" y="33"/>
                  </a:cxn>
                  <a:cxn ang="0">
                    <a:pos x="320" y="42"/>
                  </a:cxn>
                  <a:cxn ang="0">
                    <a:pos x="352" y="51"/>
                  </a:cxn>
                  <a:cxn ang="0">
                    <a:pos x="341" y="64"/>
                  </a:cxn>
                  <a:cxn ang="0">
                    <a:pos x="320" y="85"/>
                  </a:cxn>
                  <a:cxn ang="0">
                    <a:pos x="315" y="92"/>
                  </a:cxn>
                  <a:cxn ang="0">
                    <a:pos x="317" y="107"/>
                  </a:cxn>
                  <a:cxn ang="0">
                    <a:pos x="302" y="107"/>
                  </a:cxn>
                  <a:cxn ang="0">
                    <a:pos x="287" y="96"/>
                  </a:cxn>
                  <a:cxn ang="0">
                    <a:pos x="272" y="92"/>
                  </a:cxn>
                  <a:cxn ang="0">
                    <a:pos x="233" y="101"/>
                  </a:cxn>
                  <a:cxn ang="0">
                    <a:pos x="223" y="110"/>
                  </a:cxn>
                  <a:cxn ang="0">
                    <a:pos x="212" y="124"/>
                  </a:cxn>
                  <a:cxn ang="0">
                    <a:pos x="191" y="137"/>
                  </a:cxn>
                  <a:cxn ang="0">
                    <a:pos x="179" y="137"/>
                  </a:cxn>
                  <a:cxn ang="0">
                    <a:pos x="166" y="126"/>
                  </a:cxn>
                  <a:cxn ang="0">
                    <a:pos x="155" y="126"/>
                  </a:cxn>
                  <a:cxn ang="0">
                    <a:pos x="115" y="145"/>
                  </a:cxn>
                  <a:cxn ang="0">
                    <a:pos x="96" y="155"/>
                  </a:cxn>
                  <a:cxn ang="0">
                    <a:pos x="82" y="157"/>
                  </a:cxn>
                  <a:cxn ang="0">
                    <a:pos x="50" y="155"/>
                  </a:cxn>
                  <a:cxn ang="0">
                    <a:pos x="37" y="155"/>
                  </a:cxn>
                  <a:cxn ang="0">
                    <a:pos x="27" y="140"/>
                  </a:cxn>
                  <a:cxn ang="0">
                    <a:pos x="22" y="135"/>
                  </a:cxn>
                  <a:cxn ang="0">
                    <a:pos x="11" y="129"/>
                  </a:cxn>
                  <a:cxn ang="0">
                    <a:pos x="5" y="122"/>
                  </a:cxn>
                  <a:cxn ang="0">
                    <a:pos x="0" y="107"/>
                  </a:cxn>
                  <a:cxn ang="0">
                    <a:pos x="0" y="90"/>
                  </a:cxn>
                  <a:cxn ang="0">
                    <a:pos x="34" y="76"/>
                  </a:cxn>
                  <a:cxn ang="0">
                    <a:pos x="72" y="76"/>
                  </a:cxn>
                  <a:cxn ang="0">
                    <a:pos x="95" y="55"/>
                  </a:cxn>
                  <a:cxn ang="0">
                    <a:pos x="98" y="19"/>
                  </a:cxn>
                  <a:cxn ang="0">
                    <a:pos x="120" y="8"/>
                  </a:cxn>
                </a:cxnLst>
                <a:rect l="0" t="0" r="r" b="b"/>
                <a:pathLst>
                  <a:path w="352" h="157">
                    <a:moveTo>
                      <a:pt x="120" y="8"/>
                    </a:moveTo>
                    <a:lnTo>
                      <a:pt x="132" y="0"/>
                    </a:lnTo>
                    <a:lnTo>
                      <a:pt x="146" y="0"/>
                    </a:lnTo>
                    <a:lnTo>
                      <a:pt x="152" y="11"/>
                    </a:lnTo>
                    <a:lnTo>
                      <a:pt x="165" y="2"/>
                    </a:lnTo>
                    <a:lnTo>
                      <a:pt x="178" y="6"/>
                    </a:lnTo>
                    <a:lnTo>
                      <a:pt x="198" y="27"/>
                    </a:lnTo>
                    <a:lnTo>
                      <a:pt x="220" y="36"/>
                    </a:lnTo>
                    <a:lnTo>
                      <a:pt x="228" y="38"/>
                    </a:lnTo>
                    <a:lnTo>
                      <a:pt x="239" y="29"/>
                    </a:lnTo>
                    <a:lnTo>
                      <a:pt x="250" y="25"/>
                    </a:lnTo>
                    <a:lnTo>
                      <a:pt x="280" y="33"/>
                    </a:lnTo>
                    <a:lnTo>
                      <a:pt x="320" y="42"/>
                    </a:lnTo>
                    <a:lnTo>
                      <a:pt x="352" y="51"/>
                    </a:lnTo>
                    <a:lnTo>
                      <a:pt x="341" y="64"/>
                    </a:lnTo>
                    <a:lnTo>
                      <a:pt x="320" y="85"/>
                    </a:lnTo>
                    <a:lnTo>
                      <a:pt x="315" y="92"/>
                    </a:lnTo>
                    <a:lnTo>
                      <a:pt x="317" y="107"/>
                    </a:lnTo>
                    <a:lnTo>
                      <a:pt x="302" y="107"/>
                    </a:lnTo>
                    <a:lnTo>
                      <a:pt x="287" y="96"/>
                    </a:lnTo>
                    <a:lnTo>
                      <a:pt x="272" y="92"/>
                    </a:lnTo>
                    <a:lnTo>
                      <a:pt x="233" y="101"/>
                    </a:lnTo>
                    <a:lnTo>
                      <a:pt x="223" y="110"/>
                    </a:lnTo>
                    <a:lnTo>
                      <a:pt x="212" y="124"/>
                    </a:lnTo>
                    <a:lnTo>
                      <a:pt x="191" y="137"/>
                    </a:lnTo>
                    <a:lnTo>
                      <a:pt x="179" y="137"/>
                    </a:lnTo>
                    <a:lnTo>
                      <a:pt x="166" y="126"/>
                    </a:lnTo>
                    <a:lnTo>
                      <a:pt x="155" y="126"/>
                    </a:lnTo>
                    <a:lnTo>
                      <a:pt x="115" y="145"/>
                    </a:lnTo>
                    <a:lnTo>
                      <a:pt x="96" y="155"/>
                    </a:lnTo>
                    <a:lnTo>
                      <a:pt x="82" y="157"/>
                    </a:lnTo>
                    <a:lnTo>
                      <a:pt x="50" y="155"/>
                    </a:lnTo>
                    <a:lnTo>
                      <a:pt x="37" y="155"/>
                    </a:lnTo>
                    <a:lnTo>
                      <a:pt x="27" y="140"/>
                    </a:lnTo>
                    <a:lnTo>
                      <a:pt x="22" y="135"/>
                    </a:lnTo>
                    <a:lnTo>
                      <a:pt x="11" y="129"/>
                    </a:lnTo>
                    <a:lnTo>
                      <a:pt x="5" y="122"/>
                    </a:lnTo>
                    <a:lnTo>
                      <a:pt x="0" y="107"/>
                    </a:lnTo>
                    <a:lnTo>
                      <a:pt x="0" y="90"/>
                    </a:lnTo>
                    <a:lnTo>
                      <a:pt x="34" y="76"/>
                    </a:lnTo>
                    <a:lnTo>
                      <a:pt x="72" y="76"/>
                    </a:lnTo>
                    <a:lnTo>
                      <a:pt x="95" y="55"/>
                    </a:lnTo>
                    <a:lnTo>
                      <a:pt x="98" y="19"/>
                    </a:lnTo>
                    <a:lnTo>
                      <a:pt x="120" y="8"/>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12" name="Freeform 87"/>
              <p:cNvSpPr>
                <a:spLocks/>
              </p:cNvSpPr>
              <p:nvPr>
                <p:custDataLst>
                  <p:tags r:id="rId31"/>
                </p:custDataLst>
              </p:nvPr>
            </p:nvSpPr>
            <p:spPr bwMode="auto">
              <a:xfrm>
                <a:off x="2940594" y="4921391"/>
                <a:ext cx="341222" cy="312925"/>
              </a:xfrm>
              <a:custGeom>
                <a:avLst/>
                <a:gdLst/>
                <a:ahLst/>
                <a:cxnLst>
                  <a:cxn ang="0">
                    <a:pos x="220" y="31"/>
                  </a:cxn>
                  <a:cxn ang="0">
                    <a:pos x="208" y="31"/>
                  </a:cxn>
                  <a:cxn ang="0">
                    <a:pos x="195" y="22"/>
                  </a:cxn>
                  <a:cxn ang="0">
                    <a:pos x="178" y="13"/>
                  </a:cxn>
                  <a:cxn ang="0">
                    <a:pos x="157" y="24"/>
                  </a:cxn>
                  <a:cxn ang="0">
                    <a:pos x="138" y="19"/>
                  </a:cxn>
                  <a:cxn ang="0">
                    <a:pos x="121" y="27"/>
                  </a:cxn>
                  <a:cxn ang="0">
                    <a:pos x="120" y="19"/>
                  </a:cxn>
                  <a:cxn ang="0">
                    <a:pos x="105" y="18"/>
                  </a:cxn>
                  <a:cxn ang="0">
                    <a:pos x="87" y="0"/>
                  </a:cxn>
                  <a:cxn ang="0">
                    <a:pos x="60" y="30"/>
                  </a:cxn>
                  <a:cxn ang="0">
                    <a:pos x="17" y="16"/>
                  </a:cxn>
                  <a:cxn ang="0">
                    <a:pos x="0" y="21"/>
                  </a:cxn>
                  <a:cxn ang="0">
                    <a:pos x="0" y="31"/>
                  </a:cxn>
                  <a:cxn ang="0">
                    <a:pos x="46" y="78"/>
                  </a:cxn>
                  <a:cxn ang="0">
                    <a:pos x="57" y="109"/>
                  </a:cxn>
                  <a:cxn ang="0">
                    <a:pos x="81" y="127"/>
                  </a:cxn>
                  <a:cxn ang="0">
                    <a:pos x="91" y="124"/>
                  </a:cxn>
                  <a:cxn ang="0">
                    <a:pos x="150" y="187"/>
                  </a:cxn>
                  <a:cxn ang="0">
                    <a:pos x="154" y="201"/>
                  </a:cxn>
                  <a:cxn ang="0">
                    <a:pos x="150" y="211"/>
                  </a:cxn>
                  <a:cxn ang="0">
                    <a:pos x="154" y="221"/>
                  </a:cxn>
                  <a:cxn ang="0">
                    <a:pos x="171" y="212"/>
                  </a:cxn>
                  <a:cxn ang="0">
                    <a:pos x="184" y="207"/>
                  </a:cxn>
                  <a:cxn ang="0">
                    <a:pos x="184" y="186"/>
                  </a:cxn>
                  <a:cxn ang="0">
                    <a:pos x="201" y="172"/>
                  </a:cxn>
                  <a:cxn ang="0">
                    <a:pos x="208" y="157"/>
                  </a:cxn>
                  <a:cxn ang="0">
                    <a:pos x="226" y="150"/>
                  </a:cxn>
                  <a:cxn ang="0">
                    <a:pos x="229" y="132"/>
                  </a:cxn>
                  <a:cxn ang="0">
                    <a:pos x="226" y="115"/>
                  </a:cxn>
                  <a:cxn ang="0">
                    <a:pos x="235" y="108"/>
                  </a:cxn>
                  <a:cxn ang="0">
                    <a:pos x="219" y="85"/>
                  </a:cxn>
                  <a:cxn ang="0">
                    <a:pos x="238" y="52"/>
                  </a:cxn>
                  <a:cxn ang="0">
                    <a:pos x="220" y="31"/>
                  </a:cxn>
                </a:cxnLst>
                <a:rect l="0" t="0" r="r" b="b"/>
                <a:pathLst>
                  <a:path w="238" h="221">
                    <a:moveTo>
                      <a:pt x="220" y="31"/>
                    </a:moveTo>
                    <a:lnTo>
                      <a:pt x="208" y="31"/>
                    </a:lnTo>
                    <a:lnTo>
                      <a:pt x="195" y="22"/>
                    </a:lnTo>
                    <a:lnTo>
                      <a:pt x="178" y="13"/>
                    </a:lnTo>
                    <a:lnTo>
                      <a:pt x="157" y="24"/>
                    </a:lnTo>
                    <a:lnTo>
                      <a:pt x="138" y="19"/>
                    </a:lnTo>
                    <a:lnTo>
                      <a:pt x="121" y="27"/>
                    </a:lnTo>
                    <a:lnTo>
                      <a:pt x="120" y="19"/>
                    </a:lnTo>
                    <a:lnTo>
                      <a:pt x="105" y="18"/>
                    </a:lnTo>
                    <a:lnTo>
                      <a:pt x="87" y="0"/>
                    </a:lnTo>
                    <a:lnTo>
                      <a:pt x="60" y="30"/>
                    </a:lnTo>
                    <a:lnTo>
                      <a:pt x="17" y="16"/>
                    </a:lnTo>
                    <a:lnTo>
                      <a:pt x="0" y="21"/>
                    </a:lnTo>
                    <a:lnTo>
                      <a:pt x="0" y="31"/>
                    </a:lnTo>
                    <a:lnTo>
                      <a:pt x="46" y="78"/>
                    </a:lnTo>
                    <a:lnTo>
                      <a:pt x="57" y="109"/>
                    </a:lnTo>
                    <a:lnTo>
                      <a:pt x="81" y="127"/>
                    </a:lnTo>
                    <a:lnTo>
                      <a:pt x="91" y="124"/>
                    </a:lnTo>
                    <a:lnTo>
                      <a:pt x="150" y="187"/>
                    </a:lnTo>
                    <a:lnTo>
                      <a:pt x="154" y="201"/>
                    </a:lnTo>
                    <a:lnTo>
                      <a:pt x="150" y="211"/>
                    </a:lnTo>
                    <a:lnTo>
                      <a:pt x="154" y="221"/>
                    </a:lnTo>
                    <a:lnTo>
                      <a:pt x="171" y="212"/>
                    </a:lnTo>
                    <a:lnTo>
                      <a:pt x="184" y="207"/>
                    </a:lnTo>
                    <a:lnTo>
                      <a:pt x="184" y="186"/>
                    </a:lnTo>
                    <a:lnTo>
                      <a:pt x="201" y="172"/>
                    </a:lnTo>
                    <a:lnTo>
                      <a:pt x="208" y="157"/>
                    </a:lnTo>
                    <a:lnTo>
                      <a:pt x="226" y="150"/>
                    </a:lnTo>
                    <a:lnTo>
                      <a:pt x="229" y="132"/>
                    </a:lnTo>
                    <a:lnTo>
                      <a:pt x="226" y="115"/>
                    </a:lnTo>
                    <a:lnTo>
                      <a:pt x="235" y="108"/>
                    </a:lnTo>
                    <a:lnTo>
                      <a:pt x="219" y="85"/>
                    </a:lnTo>
                    <a:lnTo>
                      <a:pt x="238" y="52"/>
                    </a:lnTo>
                    <a:lnTo>
                      <a:pt x="220" y="31"/>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13" name="Freeform 88"/>
              <p:cNvSpPr>
                <a:spLocks/>
              </p:cNvSpPr>
              <p:nvPr>
                <p:custDataLst>
                  <p:tags r:id="rId32"/>
                </p:custDataLst>
              </p:nvPr>
            </p:nvSpPr>
            <p:spPr bwMode="auto">
              <a:xfrm>
                <a:off x="3406653" y="5330857"/>
                <a:ext cx="233030" cy="156463"/>
              </a:xfrm>
              <a:custGeom>
                <a:avLst/>
                <a:gdLst/>
                <a:ahLst/>
                <a:cxnLst>
                  <a:cxn ang="0">
                    <a:pos x="6" y="33"/>
                  </a:cxn>
                  <a:cxn ang="0">
                    <a:pos x="34" y="14"/>
                  </a:cxn>
                  <a:cxn ang="0">
                    <a:pos x="52" y="11"/>
                  </a:cxn>
                  <a:cxn ang="0">
                    <a:pos x="70" y="6"/>
                  </a:cxn>
                  <a:cxn ang="0">
                    <a:pos x="85" y="6"/>
                  </a:cxn>
                  <a:cxn ang="0">
                    <a:pos x="100" y="0"/>
                  </a:cxn>
                  <a:cxn ang="0">
                    <a:pos x="126" y="6"/>
                  </a:cxn>
                  <a:cxn ang="0">
                    <a:pos x="141" y="5"/>
                  </a:cxn>
                  <a:cxn ang="0">
                    <a:pos x="156" y="20"/>
                  </a:cxn>
                  <a:cxn ang="0">
                    <a:pos x="154" y="63"/>
                  </a:cxn>
                  <a:cxn ang="0">
                    <a:pos x="162" y="68"/>
                  </a:cxn>
                  <a:cxn ang="0">
                    <a:pos x="151" y="86"/>
                  </a:cxn>
                  <a:cxn ang="0">
                    <a:pos x="115" y="93"/>
                  </a:cxn>
                  <a:cxn ang="0">
                    <a:pos x="100" y="89"/>
                  </a:cxn>
                  <a:cxn ang="0">
                    <a:pos x="90" y="110"/>
                  </a:cxn>
                  <a:cxn ang="0">
                    <a:pos x="63" y="108"/>
                  </a:cxn>
                  <a:cxn ang="0">
                    <a:pos x="52" y="105"/>
                  </a:cxn>
                  <a:cxn ang="0">
                    <a:pos x="36" y="104"/>
                  </a:cxn>
                  <a:cxn ang="0">
                    <a:pos x="27" y="95"/>
                  </a:cxn>
                  <a:cxn ang="0">
                    <a:pos x="21" y="98"/>
                  </a:cxn>
                  <a:cxn ang="0">
                    <a:pos x="9" y="89"/>
                  </a:cxn>
                  <a:cxn ang="0">
                    <a:pos x="0" y="63"/>
                  </a:cxn>
                  <a:cxn ang="0">
                    <a:pos x="7" y="50"/>
                  </a:cxn>
                  <a:cxn ang="0">
                    <a:pos x="6" y="33"/>
                  </a:cxn>
                </a:cxnLst>
                <a:rect l="0" t="0" r="r" b="b"/>
                <a:pathLst>
                  <a:path w="162" h="110">
                    <a:moveTo>
                      <a:pt x="6" y="33"/>
                    </a:moveTo>
                    <a:lnTo>
                      <a:pt x="34" y="14"/>
                    </a:lnTo>
                    <a:lnTo>
                      <a:pt x="52" y="11"/>
                    </a:lnTo>
                    <a:lnTo>
                      <a:pt x="70" y="6"/>
                    </a:lnTo>
                    <a:lnTo>
                      <a:pt x="85" y="6"/>
                    </a:lnTo>
                    <a:lnTo>
                      <a:pt x="100" y="0"/>
                    </a:lnTo>
                    <a:lnTo>
                      <a:pt x="126" y="6"/>
                    </a:lnTo>
                    <a:lnTo>
                      <a:pt x="141" y="5"/>
                    </a:lnTo>
                    <a:lnTo>
                      <a:pt x="156" y="20"/>
                    </a:lnTo>
                    <a:lnTo>
                      <a:pt x="154" y="63"/>
                    </a:lnTo>
                    <a:lnTo>
                      <a:pt x="162" y="68"/>
                    </a:lnTo>
                    <a:lnTo>
                      <a:pt x="151" y="86"/>
                    </a:lnTo>
                    <a:lnTo>
                      <a:pt x="115" y="93"/>
                    </a:lnTo>
                    <a:lnTo>
                      <a:pt x="100" y="89"/>
                    </a:lnTo>
                    <a:lnTo>
                      <a:pt x="90" y="110"/>
                    </a:lnTo>
                    <a:lnTo>
                      <a:pt x="63" y="108"/>
                    </a:lnTo>
                    <a:lnTo>
                      <a:pt x="52" y="105"/>
                    </a:lnTo>
                    <a:lnTo>
                      <a:pt x="36" y="104"/>
                    </a:lnTo>
                    <a:lnTo>
                      <a:pt x="27" y="95"/>
                    </a:lnTo>
                    <a:lnTo>
                      <a:pt x="21" y="98"/>
                    </a:lnTo>
                    <a:lnTo>
                      <a:pt x="9" y="89"/>
                    </a:lnTo>
                    <a:lnTo>
                      <a:pt x="0" y="63"/>
                    </a:lnTo>
                    <a:lnTo>
                      <a:pt x="7" y="50"/>
                    </a:lnTo>
                    <a:lnTo>
                      <a:pt x="6" y="33"/>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14" name="Freeform 89"/>
              <p:cNvSpPr>
                <a:spLocks/>
              </p:cNvSpPr>
              <p:nvPr>
                <p:custDataLst>
                  <p:tags r:id="rId33"/>
                </p:custDataLst>
              </p:nvPr>
            </p:nvSpPr>
            <p:spPr bwMode="auto">
              <a:xfrm>
                <a:off x="3158643" y="4821521"/>
                <a:ext cx="469388" cy="552613"/>
              </a:xfrm>
              <a:custGeom>
                <a:avLst/>
                <a:gdLst/>
                <a:ahLst/>
                <a:cxnLst>
                  <a:cxn ang="0">
                    <a:pos x="120" y="3"/>
                  </a:cxn>
                  <a:cxn ang="0">
                    <a:pos x="168" y="1"/>
                  </a:cxn>
                  <a:cxn ang="0">
                    <a:pos x="180" y="12"/>
                  </a:cxn>
                  <a:cxn ang="0">
                    <a:pos x="187" y="21"/>
                  </a:cxn>
                  <a:cxn ang="0">
                    <a:pos x="196" y="58"/>
                  </a:cxn>
                  <a:cxn ang="0">
                    <a:pos x="223" y="66"/>
                  </a:cxn>
                  <a:cxn ang="0">
                    <a:pos x="235" y="118"/>
                  </a:cxn>
                  <a:cxn ang="0">
                    <a:pos x="252" y="132"/>
                  </a:cxn>
                  <a:cxn ang="0">
                    <a:pos x="282" y="127"/>
                  </a:cxn>
                  <a:cxn ang="0">
                    <a:pos x="303" y="156"/>
                  </a:cxn>
                  <a:cxn ang="0">
                    <a:pos x="301" y="180"/>
                  </a:cxn>
                  <a:cxn ang="0">
                    <a:pos x="297" y="193"/>
                  </a:cxn>
                  <a:cxn ang="0">
                    <a:pos x="306" y="229"/>
                  </a:cxn>
                  <a:cxn ang="0">
                    <a:pos x="327" y="244"/>
                  </a:cxn>
                  <a:cxn ang="0">
                    <a:pos x="298" y="290"/>
                  </a:cxn>
                  <a:cxn ang="0">
                    <a:pos x="295" y="344"/>
                  </a:cxn>
                  <a:cxn ang="0">
                    <a:pos x="271" y="356"/>
                  </a:cxn>
                  <a:cxn ang="0">
                    <a:pos x="241" y="362"/>
                  </a:cxn>
                  <a:cxn ang="0">
                    <a:pos x="205" y="370"/>
                  </a:cxn>
                  <a:cxn ang="0">
                    <a:pos x="178" y="353"/>
                  </a:cxn>
                  <a:cxn ang="0">
                    <a:pos x="153" y="341"/>
                  </a:cxn>
                  <a:cxn ang="0">
                    <a:pos x="135" y="325"/>
                  </a:cxn>
                  <a:cxn ang="0">
                    <a:pos x="105" y="325"/>
                  </a:cxn>
                  <a:cxn ang="0">
                    <a:pos x="91" y="359"/>
                  </a:cxn>
                  <a:cxn ang="0">
                    <a:pos x="13" y="320"/>
                  </a:cxn>
                  <a:cxn ang="0">
                    <a:pos x="18" y="284"/>
                  </a:cxn>
                  <a:cxn ang="0">
                    <a:pos x="33" y="253"/>
                  </a:cxn>
                  <a:cxn ang="0">
                    <a:pos x="55" y="228"/>
                  </a:cxn>
                  <a:cxn ang="0">
                    <a:pos x="75" y="202"/>
                  </a:cxn>
                  <a:cxn ang="0">
                    <a:pos x="84" y="177"/>
                  </a:cxn>
                  <a:cxn ang="0">
                    <a:pos x="85" y="123"/>
                  </a:cxn>
                  <a:cxn ang="0">
                    <a:pos x="72" y="79"/>
                  </a:cxn>
                  <a:cxn ang="0">
                    <a:pos x="55" y="27"/>
                  </a:cxn>
                </a:cxnLst>
                <a:rect l="0" t="0" r="r" b="b"/>
                <a:pathLst>
                  <a:path w="327" h="388">
                    <a:moveTo>
                      <a:pt x="55" y="27"/>
                    </a:moveTo>
                    <a:lnTo>
                      <a:pt x="120" y="3"/>
                    </a:lnTo>
                    <a:lnTo>
                      <a:pt x="150" y="0"/>
                    </a:lnTo>
                    <a:lnTo>
                      <a:pt x="168" y="1"/>
                    </a:lnTo>
                    <a:lnTo>
                      <a:pt x="175" y="6"/>
                    </a:lnTo>
                    <a:lnTo>
                      <a:pt x="180" y="12"/>
                    </a:lnTo>
                    <a:lnTo>
                      <a:pt x="181" y="19"/>
                    </a:lnTo>
                    <a:lnTo>
                      <a:pt x="187" y="21"/>
                    </a:lnTo>
                    <a:lnTo>
                      <a:pt x="195" y="36"/>
                    </a:lnTo>
                    <a:lnTo>
                      <a:pt x="196" y="58"/>
                    </a:lnTo>
                    <a:lnTo>
                      <a:pt x="204" y="66"/>
                    </a:lnTo>
                    <a:lnTo>
                      <a:pt x="223" y="66"/>
                    </a:lnTo>
                    <a:lnTo>
                      <a:pt x="235" y="97"/>
                    </a:lnTo>
                    <a:lnTo>
                      <a:pt x="235" y="118"/>
                    </a:lnTo>
                    <a:lnTo>
                      <a:pt x="243" y="132"/>
                    </a:lnTo>
                    <a:lnTo>
                      <a:pt x="252" y="132"/>
                    </a:lnTo>
                    <a:lnTo>
                      <a:pt x="271" y="118"/>
                    </a:lnTo>
                    <a:lnTo>
                      <a:pt x="282" y="127"/>
                    </a:lnTo>
                    <a:lnTo>
                      <a:pt x="283" y="145"/>
                    </a:lnTo>
                    <a:lnTo>
                      <a:pt x="303" y="156"/>
                    </a:lnTo>
                    <a:lnTo>
                      <a:pt x="300" y="175"/>
                    </a:lnTo>
                    <a:lnTo>
                      <a:pt x="301" y="180"/>
                    </a:lnTo>
                    <a:lnTo>
                      <a:pt x="304" y="183"/>
                    </a:lnTo>
                    <a:lnTo>
                      <a:pt x="297" y="193"/>
                    </a:lnTo>
                    <a:lnTo>
                      <a:pt x="295" y="205"/>
                    </a:lnTo>
                    <a:lnTo>
                      <a:pt x="306" y="229"/>
                    </a:lnTo>
                    <a:lnTo>
                      <a:pt x="322" y="232"/>
                    </a:lnTo>
                    <a:lnTo>
                      <a:pt x="327" y="244"/>
                    </a:lnTo>
                    <a:lnTo>
                      <a:pt x="322" y="268"/>
                    </a:lnTo>
                    <a:lnTo>
                      <a:pt x="298" y="290"/>
                    </a:lnTo>
                    <a:lnTo>
                      <a:pt x="304" y="328"/>
                    </a:lnTo>
                    <a:lnTo>
                      <a:pt x="295" y="344"/>
                    </a:lnTo>
                    <a:lnTo>
                      <a:pt x="301" y="362"/>
                    </a:lnTo>
                    <a:lnTo>
                      <a:pt x="271" y="356"/>
                    </a:lnTo>
                    <a:lnTo>
                      <a:pt x="256" y="362"/>
                    </a:lnTo>
                    <a:lnTo>
                      <a:pt x="241" y="362"/>
                    </a:lnTo>
                    <a:lnTo>
                      <a:pt x="223" y="367"/>
                    </a:lnTo>
                    <a:lnTo>
                      <a:pt x="205" y="370"/>
                    </a:lnTo>
                    <a:lnTo>
                      <a:pt x="177" y="388"/>
                    </a:lnTo>
                    <a:lnTo>
                      <a:pt x="178" y="353"/>
                    </a:lnTo>
                    <a:lnTo>
                      <a:pt x="172" y="344"/>
                    </a:lnTo>
                    <a:lnTo>
                      <a:pt x="153" y="341"/>
                    </a:lnTo>
                    <a:lnTo>
                      <a:pt x="147" y="326"/>
                    </a:lnTo>
                    <a:lnTo>
                      <a:pt x="135" y="325"/>
                    </a:lnTo>
                    <a:lnTo>
                      <a:pt x="130" y="329"/>
                    </a:lnTo>
                    <a:lnTo>
                      <a:pt x="105" y="325"/>
                    </a:lnTo>
                    <a:lnTo>
                      <a:pt x="96" y="332"/>
                    </a:lnTo>
                    <a:lnTo>
                      <a:pt x="91" y="359"/>
                    </a:lnTo>
                    <a:lnTo>
                      <a:pt x="81" y="380"/>
                    </a:lnTo>
                    <a:lnTo>
                      <a:pt x="13" y="320"/>
                    </a:lnTo>
                    <a:lnTo>
                      <a:pt x="0" y="292"/>
                    </a:lnTo>
                    <a:lnTo>
                      <a:pt x="18" y="284"/>
                    </a:lnTo>
                    <a:lnTo>
                      <a:pt x="33" y="276"/>
                    </a:lnTo>
                    <a:lnTo>
                      <a:pt x="33" y="253"/>
                    </a:lnTo>
                    <a:lnTo>
                      <a:pt x="48" y="244"/>
                    </a:lnTo>
                    <a:lnTo>
                      <a:pt x="55" y="228"/>
                    </a:lnTo>
                    <a:lnTo>
                      <a:pt x="72" y="217"/>
                    </a:lnTo>
                    <a:lnTo>
                      <a:pt x="75" y="202"/>
                    </a:lnTo>
                    <a:lnTo>
                      <a:pt x="73" y="186"/>
                    </a:lnTo>
                    <a:lnTo>
                      <a:pt x="84" y="177"/>
                    </a:lnTo>
                    <a:lnTo>
                      <a:pt x="69" y="154"/>
                    </a:lnTo>
                    <a:lnTo>
                      <a:pt x="85" y="123"/>
                    </a:lnTo>
                    <a:lnTo>
                      <a:pt x="67" y="102"/>
                    </a:lnTo>
                    <a:lnTo>
                      <a:pt x="72" y="79"/>
                    </a:lnTo>
                    <a:lnTo>
                      <a:pt x="55" y="58"/>
                    </a:lnTo>
                    <a:lnTo>
                      <a:pt x="55" y="27"/>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15" name="Freeform 90"/>
              <p:cNvSpPr>
                <a:spLocks/>
              </p:cNvSpPr>
              <p:nvPr>
                <p:custDataLst>
                  <p:tags r:id="rId34"/>
                </p:custDataLst>
              </p:nvPr>
            </p:nvSpPr>
            <p:spPr bwMode="auto">
              <a:xfrm>
                <a:off x="3912660" y="4515253"/>
                <a:ext cx="321248" cy="354538"/>
              </a:xfrm>
              <a:custGeom>
                <a:avLst/>
                <a:gdLst/>
                <a:ahLst/>
                <a:cxnLst>
                  <a:cxn ang="0">
                    <a:pos x="121" y="249"/>
                  </a:cxn>
                  <a:cxn ang="0">
                    <a:pos x="108" y="235"/>
                  </a:cxn>
                  <a:cxn ang="0">
                    <a:pos x="105" y="202"/>
                  </a:cxn>
                  <a:cxn ang="0">
                    <a:pos x="91" y="178"/>
                  </a:cxn>
                  <a:cxn ang="0">
                    <a:pos x="90" y="157"/>
                  </a:cxn>
                  <a:cxn ang="0">
                    <a:pos x="94" y="142"/>
                  </a:cxn>
                  <a:cxn ang="0">
                    <a:pos x="82" y="120"/>
                  </a:cxn>
                  <a:cxn ang="0">
                    <a:pos x="67" y="103"/>
                  </a:cxn>
                  <a:cxn ang="0">
                    <a:pos x="61" y="85"/>
                  </a:cxn>
                  <a:cxn ang="0">
                    <a:pos x="58" y="73"/>
                  </a:cxn>
                  <a:cxn ang="0">
                    <a:pos x="40" y="61"/>
                  </a:cxn>
                  <a:cxn ang="0">
                    <a:pos x="30" y="45"/>
                  </a:cxn>
                  <a:cxn ang="0">
                    <a:pos x="19" y="27"/>
                  </a:cxn>
                  <a:cxn ang="0">
                    <a:pos x="0" y="15"/>
                  </a:cxn>
                  <a:cxn ang="0">
                    <a:pos x="30" y="0"/>
                  </a:cxn>
                  <a:cxn ang="0">
                    <a:pos x="54" y="3"/>
                  </a:cxn>
                  <a:cxn ang="0">
                    <a:pos x="69" y="6"/>
                  </a:cxn>
                  <a:cxn ang="0">
                    <a:pos x="108" y="34"/>
                  </a:cxn>
                  <a:cxn ang="0">
                    <a:pos x="117" y="39"/>
                  </a:cxn>
                  <a:cxn ang="0">
                    <a:pos x="145" y="45"/>
                  </a:cxn>
                  <a:cxn ang="0">
                    <a:pos x="162" y="69"/>
                  </a:cxn>
                  <a:cxn ang="0">
                    <a:pos x="154" y="87"/>
                  </a:cxn>
                  <a:cxn ang="0">
                    <a:pos x="165" y="111"/>
                  </a:cxn>
                  <a:cxn ang="0">
                    <a:pos x="192" y="129"/>
                  </a:cxn>
                  <a:cxn ang="0">
                    <a:pos x="202" y="144"/>
                  </a:cxn>
                  <a:cxn ang="0">
                    <a:pos x="219" y="150"/>
                  </a:cxn>
                  <a:cxn ang="0">
                    <a:pos x="225" y="151"/>
                  </a:cxn>
                  <a:cxn ang="0">
                    <a:pos x="214" y="159"/>
                  </a:cxn>
                  <a:cxn ang="0">
                    <a:pos x="186" y="159"/>
                  </a:cxn>
                  <a:cxn ang="0">
                    <a:pos x="162" y="157"/>
                  </a:cxn>
                  <a:cxn ang="0">
                    <a:pos x="151" y="162"/>
                  </a:cxn>
                  <a:cxn ang="0">
                    <a:pos x="154" y="189"/>
                  </a:cxn>
                  <a:cxn ang="0">
                    <a:pos x="150" y="210"/>
                  </a:cxn>
                  <a:cxn ang="0">
                    <a:pos x="126" y="235"/>
                  </a:cxn>
                  <a:cxn ang="0">
                    <a:pos x="121" y="249"/>
                  </a:cxn>
                </a:cxnLst>
                <a:rect l="0" t="0" r="r" b="b"/>
                <a:pathLst>
                  <a:path w="225" h="249">
                    <a:moveTo>
                      <a:pt x="121" y="249"/>
                    </a:moveTo>
                    <a:lnTo>
                      <a:pt x="108" y="235"/>
                    </a:lnTo>
                    <a:lnTo>
                      <a:pt x="105" y="202"/>
                    </a:lnTo>
                    <a:lnTo>
                      <a:pt x="91" y="178"/>
                    </a:lnTo>
                    <a:lnTo>
                      <a:pt x="90" y="157"/>
                    </a:lnTo>
                    <a:lnTo>
                      <a:pt x="94" y="142"/>
                    </a:lnTo>
                    <a:lnTo>
                      <a:pt x="82" y="120"/>
                    </a:lnTo>
                    <a:lnTo>
                      <a:pt x="67" y="103"/>
                    </a:lnTo>
                    <a:lnTo>
                      <a:pt x="61" y="85"/>
                    </a:lnTo>
                    <a:lnTo>
                      <a:pt x="58" y="73"/>
                    </a:lnTo>
                    <a:lnTo>
                      <a:pt x="40" y="61"/>
                    </a:lnTo>
                    <a:lnTo>
                      <a:pt x="30" y="45"/>
                    </a:lnTo>
                    <a:lnTo>
                      <a:pt x="19" y="27"/>
                    </a:lnTo>
                    <a:lnTo>
                      <a:pt x="0" y="15"/>
                    </a:lnTo>
                    <a:lnTo>
                      <a:pt x="30" y="0"/>
                    </a:lnTo>
                    <a:lnTo>
                      <a:pt x="54" y="3"/>
                    </a:lnTo>
                    <a:lnTo>
                      <a:pt x="69" y="6"/>
                    </a:lnTo>
                    <a:lnTo>
                      <a:pt x="108" y="34"/>
                    </a:lnTo>
                    <a:lnTo>
                      <a:pt x="117" y="39"/>
                    </a:lnTo>
                    <a:lnTo>
                      <a:pt x="145" y="45"/>
                    </a:lnTo>
                    <a:lnTo>
                      <a:pt x="162" y="69"/>
                    </a:lnTo>
                    <a:lnTo>
                      <a:pt x="154" y="87"/>
                    </a:lnTo>
                    <a:lnTo>
                      <a:pt x="165" y="111"/>
                    </a:lnTo>
                    <a:lnTo>
                      <a:pt x="192" y="129"/>
                    </a:lnTo>
                    <a:lnTo>
                      <a:pt x="202" y="144"/>
                    </a:lnTo>
                    <a:lnTo>
                      <a:pt x="219" y="150"/>
                    </a:lnTo>
                    <a:lnTo>
                      <a:pt x="225" y="151"/>
                    </a:lnTo>
                    <a:lnTo>
                      <a:pt x="214" y="159"/>
                    </a:lnTo>
                    <a:lnTo>
                      <a:pt x="186" y="159"/>
                    </a:lnTo>
                    <a:lnTo>
                      <a:pt x="162" y="157"/>
                    </a:lnTo>
                    <a:lnTo>
                      <a:pt x="151" y="162"/>
                    </a:lnTo>
                    <a:lnTo>
                      <a:pt x="154" y="189"/>
                    </a:lnTo>
                    <a:lnTo>
                      <a:pt x="150" y="210"/>
                    </a:lnTo>
                    <a:lnTo>
                      <a:pt x="126" y="235"/>
                    </a:lnTo>
                    <a:lnTo>
                      <a:pt x="121" y="249"/>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16" name="Freeform 91"/>
              <p:cNvSpPr>
                <a:spLocks/>
              </p:cNvSpPr>
              <p:nvPr>
                <p:custDataLst>
                  <p:tags r:id="rId35"/>
                </p:custDataLst>
              </p:nvPr>
            </p:nvSpPr>
            <p:spPr bwMode="auto">
              <a:xfrm>
                <a:off x="3583089" y="3516556"/>
                <a:ext cx="767333" cy="622522"/>
              </a:xfrm>
              <a:custGeom>
                <a:avLst/>
                <a:gdLst/>
                <a:ahLst/>
                <a:cxnLst>
                  <a:cxn ang="0">
                    <a:pos x="203" y="28"/>
                  </a:cxn>
                  <a:cxn ang="0">
                    <a:pos x="175" y="47"/>
                  </a:cxn>
                  <a:cxn ang="0">
                    <a:pos x="165" y="65"/>
                  </a:cxn>
                  <a:cxn ang="0">
                    <a:pos x="165" y="95"/>
                  </a:cxn>
                  <a:cxn ang="0">
                    <a:pos x="133" y="113"/>
                  </a:cxn>
                  <a:cxn ang="0">
                    <a:pos x="131" y="139"/>
                  </a:cxn>
                  <a:cxn ang="0">
                    <a:pos x="125" y="197"/>
                  </a:cxn>
                  <a:cxn ang="0">
                    <a:pos x="100" y="195"/>
                  </a:cxn>
                  <a:cxn ang="0">
                    <a:pos x="56" y="233"/>
                  </a:cxn>
                  <a:cxn ang="0">
                    <a:pos x="30" y="221"/>
                  </a:cxn>
                  <a:cxn ang="0">
                    <a:pos x="18" y="251"/>
                  </a:cxn>
                  <a:cxn ang="0">
                    <a:pos x="30" y="295"/>
                  </a:cxn>
                  <a:cxn ang="0">
                    <a:pos x="18" y="339"/>
                  </a:cxn>
                  <a:cxn ang="0">
                    <a:pos x="6" y="363"/>
                  </a:cxn>
                  <a:cxn ang="0">
                    <a:pos x="10" y="391"/>
                  </a:cxn>
                  <a:cxn ang="0">
                    <a:pos x="38" y="425"/>
                  </a:cxn>
                  <a:cxn ang="0">
                    <a:pos x="111" y="409"/>
                  </a:cxn>
                  <a:cxn ang="0">
                    <a:pos x="213" y="419"/>
                  </a:cxn>
                  <a:cxn ang="0">
                    <a:pos x="301" y="425"/>
                  </a:cxn>
                  <a:cxn ang="0">
                    <a:pos x="341" y="417"/>
                  </a:cxn>
                  <a:cxn ang="0">
                    <a:pos x="407" y="419"/>
                  </a:cxn>
                  <a:cxn ang="0">
                    <a:pos x="429" y="417"/>
                  </a:cxn>
                  <a:cxn ang="0">
                    <a:pos x="461" y="367"/>
                  </a:cxn>
                  <a:cxn ang="0">
                    <a:pos x="487" y="357"/>
                  </a:cxn>
                  <a:cxn ang="0">
                    <a:pos x="461" y="293"/>
                  </a:cxn>
                  <a:cxn ang="0">
                    <a:pos x="501" y="289"/>
                  </a:cxn>
                  <a:cxn ang="0">
                    <a:pos x="535" y="237"/>
                  </a:cxn>
                  <a:cxn ang="0">
                    <a:pos x="467" y="219"/>
                  </a:cxn>
                  <a:cxn ang="0">
                    <a:pos x="451" y="155"/>
                  </a:cxn>
                  <a:cxn ang="0">
                    <a:pos x="401" y="99"/>
                  </a:cxn>
                  <a:cxn ang="0">
                    <a:pos x="403" y="63"/>
                  </a:cxn>
                  <a:cxn ang="0">
                    <a:pos x="371" y="12"/>
                  </a:cxn>
                  <a:cxn ang="0">
                    <a:pos x="303" y="18"/>
                  </a:cxn>
                  <a:cxn ang="0">
                    <a:pos x="251" y="0"/>
                  </a:cxn>
                </a:cxnLst>
                <a:rect l="0" t="0" r="r" b="b"/>
                <a:pathLst>
                  <a:path w="535" h="437">
                    <a:moveTo>
                      <a:pt x="217" y="10"/>
                    </a:moveTo>
                    <a:lnTo>
                      <a:pt x="203" y="28"/>
                    </a:lnTo>
                    <a:lnTo>
                      <a:pt x="193" y="45"/>
                    </a:lnTo>
                    <a:lnTo>
                      <a:pt x="175" y="47"/>
                    </a:lnTo>
                    <a:lnTo>
                      <a:pt x="157" y="53"/>
                    </a:lnTo>
                    <a:lnTo>
                      <a:pt x="165" y="65"/>
                    </a:lnTo>
                    <a:lnTo>
                      <a:pt x="165" y="71"/>
                    </a:lnTo>
                    <a:lnTo>
                      <a:pt x="165" y="95"/>
                    </a:lnTo>
                    <a:lnTo>
                      <a:pt x="149" y="97"/>
                    </a:lnTo>
                    <a:lnTo>
                      <a:pt x="133" y="113"/>
                    </a:lnTo>
                    <a:lnTo>
                      <a:pt x="133" y="131"/>
                    </a:lnTo>
                    <a:lnTo>
                      <a:pt x="131" y="139"/>
                    </a:lnTo>
                    <a:lnTo>
                      <a:pt x="125" y="149"/>
                    </a:lnTo>
                    <a:lnTo>
                      <a:pt x="125" y="197"/>
                    </a:lnTo>
                    <a:lnTo>
                      <a:pt x="115" y="203"/>
                    </a:lnTo>
                    <a:lnTo>
                      <a:pt x="100" y="195"/>
                    </a:lnTo>
                    <a:lnTo>
                      <a:pt x="74" y="215"/>
                    </a:lnTo>
                    <a:lnTo>
                      <a:pt x="56" y="233"/>
                    </a:lnTo>
                    <a:lnTo>
                      <a:pt x="38" y="221"/>
                    </a:lnTo>
                    <a:lnTo>
                      <a:pt x="30" y="221"/>
                    </a:lnTo>
                    <a:lnTo>
                      <a:pt x="14" y="225"/>
                    </a:lnTo>
                    <a:lnTo>
                      <a:pt x="18" y="251"/>
                    </a:lnTo>
                    <a:lnTo>
                      <a:pt x="26" y="277"/>
                    </a:lnTo>
                    <a:lnTo>
                      <a:pt x="30" y="295"/>
                    </a:lnTo>
                    <a:lnTo>
                      <a:pt x="28" y="319"/>
                    </a:lnTo>
                    <a:lnTo>
                      <a:pt x="18" y="339"/>
                    </a:lnTo>
                    <a:lnTo>
                      <a:pt x="0" y="355"/>
                    </a:lnTo>
                    <a:lnTo>
                      <a:pt x="6" y="363"/>
                    </a:lnTo>
                    <a:lnTo>
                      <a:pt x="20" y="373"/>
                    </a:lnTo>
                    <a:lnTo>
                      <a:pt x="10" y="391"/>
                    </a:lnTo>
                    <a:lnTo>
                      <a:pt x="12" y="425"/>
                    </a:lnTo>
                    <a:lnTo>
                      <a:pt x="38" y="425"/>
                    </a:lnTo>
                    <a:lnTo>
                      <a:pt x="50" y="413"/>
                    </a:lnTo>
                    <a:lnTo>
                      <a:pt x="111" y="409"/>
                    </a:lnTo>
                    <a:lnTo>
                      <a:pt x="163" y="411"/>
                    </a:lnTo>
                    <a:lnTo>
                      <a:pt x="213" y="419"/>
                    </a:lnTo>
                    <a:lnTo>
                      <a:pt x="257" y="427"/>
                    </a:lnTo>
                    <a:lnTo>
                      <a:pt x="301" y="425"/>
                    </a:lnTo>
                    <a:lnTo>
                      <a:pt x="321" y="419"/>
                    </a:lnTo>
                    <a:lnTo>
                      <a:pt x="341" y="417"/>
                    </a:lnTo>
                    <a:lnTo>
                      <a:pt x="365" y="429"/>
                    </a:lnTo>
                    <a:lnTo>
                      <a:pt x="407" y="419"/>
                    </a:lnTo>
                    <a:lnTo>
                      <a:pt x="417" y="437"/>
                    </a:lnTo>
                    <a:lnTo>
                      <a:pt x="429" y="417"/>
                    </a:lnTo>
                    <a:lnTo>
                      <a:pt x="431" y="383"/>
                    </a:lnTo>
                    <a:lnTo>
                      <a:pt x="461" y="367"/>
                    </a:lnTo>
                    <a:lnTo>
                      <a:pt x="487" y="363"/>
                    </a:lnTo>
                    <a:lnTo>
                      <a:pt x="487" y="357"/>
                    </a:lnTo>
                    <a:lnTo>
                      <a:pt x="469" y="317"/>
                    </a:lnTo>
                    <a:lnTo>
                      <a:pt x="461" y="293"/>
                    </a:lnTo>
                    <a:lnTo>
                      <a:pt x="477" y="285"/>
                    </a:lnTo>
                    <a:lnTo>
                      <a:pt x="501" y="289"/>
                    </a:lnTo>
                    <a:lnTo>
                      <a:pt x="535" y="275"/>
                    </a:lnTo>
                    <a:lnTo>
                      <a:pt x="535" y="237"/>
                    </a:lnTo>
                    <a:lnTo>
                      <a:pt x="499" y="225"/>
                    </a:lnTo>
                    <a:lnTo>
                      <a:pt x="467" y="219"/>
                    </a:lnTo>
                    <a:lnTo>
                      <a:pt x="449" y="187"/>
                    </a:lnTo>
                    <a:lnTo>
                      <a:pt x="451" y="155"/>
                    </a:lnTo>
                    <a:lnTo>
                      <a:pt x="419" y="123"/>
                    </a:lnTo>
                    <a:lnTo>
                      <a:pt x="401" y="99"/>
                    </a:lnTo>
                    <a:lnTo>
                      <a:pt x="399" y="77"/>
                    </a:lnTo>
                    <a:lnTo>
                      <a:pt x="403" y="63"/>
                    </a:lnTo>
                    <a:lnTo>
                      <a:pt x="403" y="34"/>
                    </a:lnTo>
                    <a:lnTo>
                      <a:pt x="371" y="12"/>
                    </a:lnTo>
                    <a:lnTo>
                      <a:pt x="335" y="12"/>
                    </a:lnTo>
                    <a:lnTo>
                      <a:pt x="303" y="18"/>
                    </a:lnTo>
                    <a:lnTo>
                      <a:pt x="289" y="6"/>
                    </a:lnTo>
                    <a:lnTo>
                      <a:pt x="251" y="0"/>
                    </a:lnTo>
                    <a:lnTo>
                      <a:pt x="217" y="10"/>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17" name="Freeform 92"/>
              <p:cNvSpPr>
                <a:spLocks/>
              </p:cNvSpPr>
              <p:nvPr>
                <p:custDataLst>
                  <p:tags r:id="rId36"/>
                </p:custDataLst>
              </p:nvPr>
            </p:nvSpPr>
            <p:spPr bwMode="auto">
              <a:xfrm>
                <a:off x="3511516" y="4005918"/>
                <a:ext cx="1478073" cy="967072"/>
              </a:xfrm>
              <a:custGeom>
                <a:avLst/>
                <a:gdLst/>
                <a:ahLst/>
                <a:cxnLst>
                  <a:cxn ang="0">
                    <a:pos x="597" y="6"/>
                  </a:cxn>
                  <a:cxn ang="0">
                    <a:pos x="682" y="36"/>
                  </a:cxn>
                  <a:cxn ang="0">
                    <a:pos x="782" y="112"/>
                  </a:cxn>
                  <a:cxn ang="0">
                    <a:pos x="892" y="154"/>
                  </a:cxn>
                  <a:cxn ang="0">
                    <a:pos x="1012" y="182"/>
                  </a:cxn>
                  <a:cxn ang="0">
                    <a:pos x="1000" y="321"/>
                  </a:cxn>
                  <a:cxn ang="0">
                    <a:pos x="948" y="367"/>
                  </a:cxn>
                  <a:cxn ang="0">
                    <a:pos x="750" y="451"/>
                  </a:cxn>
                  <a:cxn ang="0">
                    <a:pos x="696" y="503"/>
                  </a:cxn>
                  <a:cxn ang="0">
                    <a:pos x="766" y="567"/>
                  </a:cxn>
                  <a:cxn ang="0">
                    <a:pos x="810" y="559"/>
                  </a:cxn>
                  <a:cxn ang="0">
                    <a:pos x="856" y="561"/>
                  </a:cxn>
                  <a:cxn ang="0">
                    <a:pos x="796" y="595"/>
                  </a:cxn>
                  <a:cxn ang="0">
                    <a:pos x="738" y="637"/>
                  </a:cxn>
                  <a:cxn ang="0">
                    <a:pos x="684" y="669"/>
                  </a:cxn>
                  <a:cxn ang="0">
                    <a:pos x="678" y="601"/>
                  </a:cxn>
                  <a:cxn ang="0">
                    <a:pos x="617" y="591"/>
                  </a:cxn>
                  <a:cxn ang="0">
                    <a:pos x="641" y="531"/>
                  </a:cxn>
                  <a:cxn ang="0">
                    <a:pos x="631" y="503"/>
                  </a:cxn>
                  <a:cxn ang="0">
                    <a:pos x="593" y="515"/>
                  </a:cxn>
                  <a:cxn ang="0">
                    <a:pos x="591" y="485"/>
                  </a:cxn>
                  <a:cxn ang="0">
                    <a:pos x="545" y="487"/>
                  </a:cxn>
                  <a:cxn ang="0">
                    <a:pos x="517" y="513"/>
                  </a:cxn>
                  <a:cxn ang="0">
                    <a:pos x="515" y="559"/>
                  </a:cxn>
                  <a:cxn ang="0">
                    <a:pos x="501" y="575"/>
                  </a:cxn>
                  <a:cxn ang="0">
                    <a:pos x="501" y="595"/>
                  </a:cxn>
                  <a:cxn ang="0">
                    <a:pos x="455" y="601"/>
                  </a:cxn>
                  <a:cxn ang="0">
                    <a:pos x="403" y="591"/>
                  </a:cxn>
                  <a:cxn ang="0">
                    <a:pos x="435" y="517"/>
                  </a:cxn>
                  <a:cxn ang="0">
                    <a:pos x="503" y="507"/>
                  </a:cxn>
                  <a:cxn ang="0">
                    <a:pos x="443" y="469"/>
                  </a:cxn>
                  <a:cxn ang="0">
                    <a:pos x="423" y="399"/>
                  </a:cxn>
                  <a:cxn ang="0">
                    <a:pos x="309" y="359"/>
                  </a:cxn>
                  <a:cxn ang="0">
                    <a:pos x="261" y="389"/>
                  </a:cxn>
                  <a:cxn ang="0">
                    <a:pos x="187" y="405"/>
                  </a:cxn>
                  <a:cxn ang="0">
                    <a:pos x="136" y="399"/>
                  </a:cxn>
                  <a:cxn ang="0">
                    <a:pos x="80" y="393"/>
                  </a:cxn>
                  <a:cxn ang="0">
                    <a:pos x="24" y="401"/>
                  </a:cxn>
                  <a:cxn ang="0">
                    <a:pos x="50" y="301"/>
                  </a:cxn>
                  <a:cxn ang="0">
                    <a:pos x="106" y="182"/>
                  </a:cxn>
                  <a:cxn ang="0">
                    <a:pos x="78" y="96"/>
                  </a:cxn>
                  <a:cxn ang="0">
                    <a:pos x="102" y="70"/>
                  </a:cxn>
                  <a:cxn ang="0">
                    <a:pos x="227" y="68"/>
                  </a:cxn>
                  <a:cxn ang="0">
                    <a:pos x="373" y="76"/>
                  </a:cxn>
                  <a:cxn ang="0">
                    <a:pos x="459" y="78"/>
                  </a:cxn>
                  <a:cxn ang="0">
                    <a:pos x="481" y="42"/>
                  </a:cxn>
                </a:cxnLst>
                <a:rect l="0" t="0" r="r" b="b"/>
                <a:pathLst>
                  <a:path w="1032" h="677">
                    <a:moveTo>
                      <a:pt x="537" y="20"/>
                    </a:moveTo>
                    <a:lnTo>
                      <a:pt x="563" y="16"/>
                    </a:lnTo>
                    <a:lnTo>
                      <a:pt x="597" y="6"/>
                    </a:lnTo>
                    <a:lnTo>
                      <a:pt x="631" y="0"/>
                    </a:lnTo>
                    <a:lnTo>
                      <a:pt x="665" y="6"/>
                    </a:lnTo>
                    <a:lnTo>
                      <a:pt x="682" y="36"/>
                    </a:lnTo>
                    <a:lnTo>
                      <a:pt x="706" y="62"/>
                    </a:lnTo>
                    <a:lnTo>
                      <a:pt x="752" y="86"/>
                    </a:lnTo>
                    <a:lnTo>
                      <a:pt x="782" y="112"/>
                    </a:lnTo>
                    <a:lnTo>
                      <a:pt x="808" y="140"/>
                    </a:lnTo>
                    <a:lnTo>
                      <a:pt x="872" y="140"/>
                    </a:lnTo>
                    <a:lnTo>
                      <a:pt x="892" y="154"/>
                    </a:lnTo>
                    <a:lnTo>
                      <a:pt x="928" y="168"/>
                    </a:lnTo>
                    <a:lnTo>
                      <a:pt x="968" y="170"/>
                    </a:lnTo>
                    <a:lnTo>
                      <a:pt x="1012" y="182"/>
                    </a:lnTo>
                    <a:lnTo>
                      <a:pt x="1032" y="234"/>
                    </a:lnTo>
                    <a:lnTo>
                      <a:pt x="1022" y="293"/>
                    </a:lnTo>
                    <a:lnTo>
                      <a:pt x="1000" y="321"/>
                    </a:lnTo>
                    <a:lnTo>
                      <a:pt x="964" y="333"/>
                    </a:lnTo>
                    <a:lnTo>
                      <a:pt x="952" y="349"/>
                    </a:lnTo>
                    <a:lnTo>
                      <a:pt x="948" y="367"/>
                    </a:lnTo>
                    <a:lnTo>
                      <a:pt x="866" y="391"/>
                    </a:lnTo>
                    <a:lnTo>
                      <a:pt x="820" y="423"/>
                    </a:lnTo>
                    <a:lnTo>
                      <a:pt x="750" y="451"/>
                    </a:lnTo>
                    <a:lnTo>
                      <a:pt x="730" y="473"/>
                    </a:lnTo>
                    <a:lnTo>
                      <a:pt x="676" y="481"/>
                    </a:lnTo>
                    <a:lnTo>
                      <a:pt x="696" y="503"/>
                    </a:lnTo>
                    <a:lnTo>
                      <a:pt x="722" y="503"/>
                    </a:lnTo>
                    <a:lnTo>
                      <a:pt x="762" y="541"/>
                    </a:lnTo>
                    <a:lnTo>
                      <a:pt x="766" y="567"/>
                    </a:lnTo>
                    <a:lnTo>
                      <a:pt x="788" y="571"/>
                    </a:lnTo>
                    <a:lnTo>
                      <a:pt x="800" y="571"/>
                    </a:lnTo>
                    <a:lnTo>
                      <a:pt x="810" y="559"/>
                    </a:lnTo>
                    <a:lnTo>
                      <a:pt x="824" y="571"/>
                    </a:lnTo>
                    <a:lnTo>
                      <a:pt x="838" y="559"/>
                    </a:lnTo>
                    <a:lnTo>
                      <a:pt x="856" y="561"/>
                    </a:lnTo>
                    <a:lnTo>
                      <a:pt x="840" y="593"/>
                    </a:lnTo>
                    <a:lnTo>
                      <a:pt x="820" y="605"/>
                    </a:lnTo>
                    <a:lnTo>
                      <a:pt x="796" y="595"/>
                    </a:lnTo>
                    <a:lnTo>
                      <a:pt x="784" y="589"/>
                    </a:lnTo>
                    <a:lnTo>
                      <a:pt x="778" y="609"/>
                    </a:lnTo>
                    <a:lnTo>
                      <a:pt x="738" y="637"/>
                    </a:lnTo>
                    <a:lnTo>
                      <a:pt x="726" y="655"/>
                    </a:lnTo>
                    <a:lnTo>
                      <a:pt x="714" y="677"/>
                    </a:lnTo>
                    <a:lnTo>
                      <a:pt x="684" y="669"/>
                    </a:lnTo>
                    <a:lnTo>
                      <a:pt x="684" y="657"/>
                    </a:lnTo>
                    <a:lnTo>
                      <a:pt x="690" y="637"/>
                    </a:lnTo>
                    <a:lnTo>
                      <a:pt x="678" y="601"/>
                    </a:lnTo>
                    <a:lnTo>
                      <a:pt x="661" y="599"/>
                    </a:lnTo>
                    <a:lnTo>
                      <a:pt x="645" y="599"/>
                    </a:lnTo>
                    <a:lnTo>
                      <a:pt x="617" y="591"/>
                    </a:lnTo>
                    <a:lnTo>
                      <a:pt x="623" y="571"/>
                    </a:lnTo>
                    <a:lnTo>
                      <a:pt x="637" y="551"/>
                    </a:lnTo>
                    <a:lnTo>
                      <a:pt x="641" y="531"/>
                    </a:lnTo>
                    <a:lnTo>
                      <a:pt x="667" y="513"/>
                    </a:lnTo>
                    <a:lnTo>
                      <a:pt x="661" y="495"/>
                    </a:lnTo>
                    <a:lnTo>
                      <a:pt x="631" y="503"/>
                    </a:lnTo>
                    <a:lnTo>
                      <a:pt x="613" y="511"/>
                    </a:lnTo>
                    <a:lnTo>
                      <a:pt x="593" y="507"/>
                    </a:lnTo>
                    <a:lnTo>
                      <a:pt x="593" y="515"/>
                    </a:lnTo>
                    <a:lnTo>
                      <a:pt x="567" y="501"/>
                    </a:lnTo>
                    <a:lnTo>
                      <a:pt x="569" y="493"/>
                    </a:lnTo>
                    <a:lnTo>
                      <a:pt x="591" y="485"/>
                    </a:lnTo>
                    <a:lnTo>
                      <a:pt x="579" y="469"/>
                    </a:lnTo>
                    <a:lnTo>
                      <a:pt x="559" y="473"/>
                    </a:lnTo>
                    <a:lnTo>
                      <a:pt x="545" y="487"/>
                    </a:lnTo>
                    <a:lnTo>
                      <a:pt x="533" y="493"/>
                    </a:lnTo>
                    <a:lnTo>
                      <a:pt x="531" y="511"/>
                    </a:lnTo>
                    <a:lnTo>
                      <a:pt x="517" y="513"/>
                    </a:lnTo>
                    <a:lnTo>
                      <a:pt x="531" y="527"/>
                    </a:lnTo>
                    <a:lnTo>
                      <a:pt x="531" y="541"/>
                    </a:lnTo>
                    <a:lnTo>
                      <a:pt x="515" y="559"/>
                    </a:lnTo>
                    <a:lnTo>
                      <a:pt x="495" y="551"/>
                    </a:lnTo>
                    <a:lnTo>
                      <a:pt x="509" y="571"/>
                    </a:lnTo>
                    <a:lnTo>
                      <a:pt x="501" y="575"/>
                    </a:lnTo>
                    <a:lnTo>
                      <a:pt x="475" y="551"/>
                    </a:lnTo>
                    <a:lnTo>
                      <a:pt x="483" y="583"/>
                    </a:lnTo>
                    <a:lnTo>
                      <a:pt x="501" y="595"/>
                    </a:lnTo>
                    <a:lnTo>
                      <a:pt x="483" y="613"/>
                    </a:lnTo>
                    <a:lnTo>
                      <a:pt x="475" y="603"/>
                    </a:lnTo>
                    <a:lnTo>
                      <a:pt x="455" y="601"/>
                    </a:lnTo>
                    <a:lnTo>
                      <a:pt x="443" y="607"/>
                    </a:lnTo>
                    <a:lnTo>
                      <a:pt x="401" y="609"/>
                    </a:lnTo>
                    <a:lnTo>
                      <a:pt x="403" y="591"/>
                    </a:lnTo>
                    <a:lnTo>
                      <a:pt x="431" y="563"/>
                    </a:lnTo>
                    <a:lnTo>
                      <a:pt x="433" y="537"/>
                    </a:lnTo>
                    <a:lnTo>
                      <a:pt x="435" y="517"/>
                    </a:lnTo>
                    <a:lnTo>
                      <a:pt x="459" y="513"/>
                    </a:lnTo>
                    <a:lnTo>
                      <a:pt x="495" y="515"/>
                    </a:lnTo>
                    <a:lnTo>
                      <a:pt x="503" y="507"/>
                    </a:lnTo>
                    <a:lnTo>
                      <a:pt x="479" y="499"/>
                    </a:lnTo>
                    <a:lnTo>
                      <a:pt x="471" y="485"/>
                    </a:lnTo>
                    <a:lnTo>
                      <a:pt x="443" y="469"/>
                    </a:lnTo>
                    <a:lnTo>
                      <a:pt x="433" y="441"/>
                    </a:lnTo>
                    <a:lnTo>
                      <a:pt x="439" y="427"/>
                    </a:lnTo>
                    <a:lnTo>
                      <a:pt x="423" y="399"/>
                    </a:lnTo>
                    <a:lnTo>
                      <a:pt x="385" y="393"/>
                    </a:lnTo>
                    <a:lnTo>
                      <a:pt x="345" y="361"/>
                    </a:lnTo>
                    <a:lnTo>
                      <a:pt x="309" y="359"/>
                    </a:lnTo>
                    <a:lnTo>
                      <a:pt x="283" y="367"/>
                    </a:lnTo>
                    <a:lnTo>
                      <a:pt x="273" y="381"/>
                    </a:lnTo>
                    <a:lnTo>
                      <a:pt x="261" y="389"/>
                    </a:lnTo>
                    <a:lnTo>
                      <a:pt x="231" y="391"/>
                    </a:lnTo>
                    <a:lnTo>
                      <a:pt x="215" y="405"/>
                    </a:lnTo>
                    <a:lnTo>
                      <a:pt x="187" y="405"/>
                    </a:lnTo>
                    <a:lnTo>
                      <a:pt x="177" y="393"/>
                    </a:lnTo>
                    <a:lnTo>
                      <a:pt x="165" y="389"/>
                    </a:lnTo>
                    <a:lnTo>
                      <a:pt x="136" y="399"/>
                    </a:lnTo>
                    <a:lnTo>
                      <a:pt x="116" y="401"/>
                    </a:lnTo>
                    <a:lnTo>
                      <a:pt x="102" y="389"/>
                    </a:lnTo>
                    <a:lnTo>
                      <a:pt x="80" y="393"/>
                    </a:lnTo>
                    <a:lnTo>
                      <a:pt x="60" y="405"/>
                    </a:lnTo>
                    <a:lnTo>
                      <a:pt x="50" y="401"/>
                    </a:lnTo>
                    <a:lnTo>
                      <a:pt x="24" y="401"/>
                    </a:lnTo>
                    <a:lnTo>
                      <a:pt x="0" y="361"/>
                    </a:lnTo>
                    <a:lnTo>
                      <a:pt x="4" y="343"/>
                    </a:lnTo>
                    <a:lnTo>
                      <a:pt x="50" y="301"/>
                    </a:lnTo>
                    <a:lnTo>
                      <a:pt x="36" y="252"/>
                    </a:lnTo>
                    <a:lnTo>
                      <a:pt x="90" y="208"/>
                    </a:lnTo>
                    <a:lnTo>
                      <a:pt x="106" y="182"/>
                    </a:lnTo>
                    <a:lnTo>
                      <a:pt x="104" y="156"/>
                    </a:lnTo>
                    <a:lnTo>
                      <a:pt x="92" y="124"/>
                    </a:lnTo>
                    <a:lnTo>
                      <a:pt x="78" y="96"/>
                    </a:lnTo>
                    <a:lnTo>
                      <a:pt x="60" y="82"/>
                    </a:lnTo>
                    <a:lnTo>
                      <a:pt x="90" y="84"/>
                    </a:lnTo>
                    <a:lnTo>
                      <a:pt x="102" y="70"/>
                    </a:lnTo>
                    <a:lnTo>
                      <a:pt x="158" y="68"/>
                    </a:lnTo>
                    <a:lnTo>
                      <a:pt x="213" y="68"/>
                    </a:lnTo>
                    <a:lnTo>
                      <a:pt x="227" y="68"/>
                    </a:lnTo>
                    <a:lnTo>
                      <a:pt x="299" y="84"/>
                    </a:lnTo>
                    <a:lnTo>
                      <a:pt x="351" y="84"/>
                    </a:lnTo>
                    <a:lnTo>
                      <a:pt x="373" y="76"/>
                    </a:lnTo>
                    <a:lnTo>
                      <a:pt x="393" y="76"/>
                    </a:lnTo>
                    <a:lnTo>
                      <a:pt x="415" y="84"/>
                    </a:lnTo>
                    <a:lnTo>
                      <a:pt x="459" y="78"/>
                    </a:lnTo>
                    <a:lnTo>
                      <a:pt x="467" y="92"/>
                    </a:lnTo>
                    <a:lnTo>
                      <a:pt x="483" y="74"/>
                    </a:lnTo>
                    <a:lnTo>
                      <a:pt x="481" y="42"/>
                    </a:lnTo>
                    <a:lnTo>
                      <a:pt x="517" y="22"/>
                    </a:lnTo>
                    <a:lnTo>
                      <a:pt x="537" y="20"/>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18" name="Freeform 93"/>
              <p:cNvSpPr>
                <a:spLocks/>
              </p:cNvSpPr>
              <p:nvPr>
                <p:custDataLst>
                  <p:tags r:id="rId37"/>
                </p:custDataLst>
              </p:nvPr>
            </p:nvSpPr>
            <p:spPr bwMode="auto">
              <a:xfrm>
                <a:off x="5121084" y="4904746"/>
                <a:ext cx="858880" cy="224707"/>
              </a:xfrm>
              <a:custGeom>
                <a:avLst/>
                <a:gdLst/>
                <a:ahLst/>
                <a:cxnLst>
                  <a:cxn ang="0">
                    <a:pos x="0" y="30"/>
                  </a:cxn>
                  <a:cxn ang="0">
                    <a:pos x="58" y="42"/>
                  </a:cxn>
                  <a:cxn ang="0">
                    <a:pos x="105" y="54"/>
                  </a:cxn>
                  <a:cxn ang="0">
                    <a:pos x="149" y="64"/>
                  </a:cxn>
                  <a:cxn ang="0">
                    <a:pos x="175" y="94"/>
                  </a:cxn>
                  <a:cxn ang="0">
                    <a:pos x="181" y="122"/>
                  </a:cxn>
                  <a:cxn ang="0">
                    <a:pos x="185" y="148"/>
                  </a:cxn>
                  <a:cxn ang="0">
                    <a:pos x="238" y="150"/>
                  </a:cxn>
                  <a:cxn ang="0">
                    <a:pos x="260" y="124"/>
                  </a:cxn>
                  <a:cxn ang="0">
                    <a:pos x="276" y="128"/>
                  </a:cxn>
                  <a:cxn ang="0">
                    <a:pos x="288" y="144"/>
                  </a:cxn>
                  <a:cxn ang="0">
                    <a:pos x="326" y="150"/>
                  </a:cxn>
                  <a:cxn ang="0">
                    <a:pos x="350" y="158"/>
                  </a:cxn>
                  <a:cxn ang="0">
                    <a:pos x="392" y="138"/>
                  </a:cxn>
                  <a:cxn ang="0">
                    <a:pos x="432" y="136"/>
                  </a:cxn>
                  <a:cxn ang="0">
                    <a:pos x="466" y="112"/>
                  </a:cxn>
                  <a:cxn ang="0">
                    <a:pos x="492" y="102"/>
                  </a:cxn>
                  <a:cxn ang="0">
                    <a:pos x="524" y="118"/>
                  </a:cxn>
                  <a:cxn ang="0">
                    <a:pos x="576" y="122"/>
                  </a:cxn>
                  <a:cxn ang="0">
                    <a:pos x="601" y="114"/>
                  </a:cxn>
                  <a:cxn ang="0">
                    <a:pos x="585" y="96"/>
                  </a:cxn>
                  <a:cxn ang="0">
                    <a:pos x="542" y="84"/>
                  </a:cxn>
                  <a:cxn ang="0">
                    <a:pos x="526" y="52"/>
                  </a:cxn>
                  <a:cxn ang="0">
                    <a:pos x="502" y="42"/>
                  </a:cxn>
                  <a:cxn ang="0">
                    <a:pos x="442" y="34"/>
                  </a:cxn>
                  <a:cxn ang="0">
                    <a:pos x="408" y="8"/>
                  </a:cxn>
                  <a:cxn ang="0">
                    <a:pos x="380" y="0"/>
                  </a:cxn>
                  <a:cxn ang="0">
                    <a:pos x="330" y="2"/>
                  </a:cxn>
                  <a:cxn ang="0">
                    <a:pos x="294" y="24"/>
                  </a:cxn>
                  <a:cxn ang="0">
                    <a:pos x="256" y="28"/>
                  </a:cxn>
                  <a:cxn ang="0">
                    <a:pos x="208" y="10"/>
                  </a:cxn>
                  <a:cxn ang="0">
                    <a:pos x="155" y="2"/>
                  </a:cxn>
                  <a:cxn ang="0">
                    <a:pos x="91" y="10"/>
                  </a:cxn>
                  <a:cxn ang="0">
                    <a:pos x="44" y="12"/>
                  </a:cxn>
                  <a:cxn ang="0">
                    <a:pos x="12" y="18"/>
                  </a:cxn>
                  <a:cxn ang="0">
                    <a:pos x="0" y="30"/>
                  </a:cxn>
                </a:cxnLst>
                <a:rect l="0" t="0" r="r" b="b"/>
                <a:pathLst>
                  <a:path w="601" h="158">
                    <a:moveTo>
                      <a:pt x="0" y="30"/>
                    </a:moveTo>
                    <a:lnTo>
                      <a:pt x="58" y="42"/>
                    </a:lnTo>
                    <a:lnTo>
                      <a:pt x="105" y="54"/>
                    </a:lnTo>
                    <a:lnTo>
                      <a:pt x="149" y="64"/>
                    </a:lnTo>
                    <a:lnTo>
                      <a:pt x="175" y="94"/>
                    </a:lnTo>
                    <a:lnTo>
                      <a:pt x="181" y="122"/>
                    </a:lnTo>
                    <a:lnTo>
                      <a:pt x="185" y="148"/>
                    </a:lnTo>
                    <a:lnTo>
                      <a:pt x="238" y="150"/>
                    </a:lnTo>
                    <a:lnTo>
                      <a:pt x="260" y="124"/>
                    </a:lnTo>
                    <a:lnTo>
                      <a:pt x="276" y="128"/>
                    </a:lnTo>
                    <a:lnTo>
                      <a:pt x="288" y="144"/>
                    </a:lnTo>
                    <a:lnTo>
                      <a:pt x="326" y="150"/>
                    </a:lnTo>
                    <a:lnTo>
                      <a:pt x="350" y="158"/>
                    </a:lnTo>
                    <a:lnTo>
                      <a:pt x="392" y="138"/>
                    </a:lnTo>
                    <a:lnTo>
                      <a:pt x="432" y="136"/>
                    </a:lnTo>
                    <a:lnTo>
                      <a:pt x="466" y="112"/>
                    </a:lnTo>
                    <a:lnTo>
                      <a:pt x="492" y="102"/>
                    </a:lnTo>
                    <a:lnTo>
                      <a:pt x="524" y="118"/>
                    </a:lnTo>
                    <a:lnTo>
                      <a:pt x="576" y="122"/>
                    </a:lnTo>
                    <a:lnTo>
                      <a:pt x="601" y="114"/>
                    </a:lnTo>
                    <a:lnTo>
                      <a:pt x="585" y="96"/>
                    </a:lnTo>
                    <a:lnTo>
                      <a:pt x="542" y="84"/>
                    </a:lnTo>
                    <a:lnTo>
                      <a:pt x="526" y="52"/>
                    </a:lnTo>
                    <a:lnTo>
                      <a:pt x="502" y="42"/>
                    </a:lnTo>
                    <a:lnTo>
                      <a:pt x="442" y="34"/>
                    </a:lnTo>
                    <a:lnTo>
                      <a:pt x="408" y="8"/>
                    </a:lnTo>
                    <a:lnTo>
                      <a:pt x="380" y="0"/>
                    </a:lnTo>
                    <a:lnTo>
                      <a:pt x="330" y="2"/>
                    </a:lnTo>
                    <a:lnTo>
                      <a:pt x="294" y="24"/>
                    </a:lnTo>
                    <a:lnTo>
                      <a:pt x="256" y="28"/>
                    </a:lnTo>
                    <a:lnTo>
                      <a:pt x="208" y="10"/>
                    </a:lnTo>
                    <a:lnTo>
                      <a:pt x="155" y="2"/>
                    </a:lnTo>
                    <a:lnTo>
                      <a:pt x="91" y="10"/>
                    </a:lnTo>
                    <a:lnTo>
                      <a:pt x="44" y="12"/>
                    </a:lnTo>
                    <a:lnTo>
                      <a:pt x="12" y="18"/>
                    </a:lnTo>
                    <a:lnTo>
                      <a:pt x="0" y="30"/>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19" name="Freeform 94"/>
              <p:cNvSpPr>
                <a:spLocks/>
              </p:cNvSpPr>
              <p:nvPr>
                <p:custDataLst>
                  <p:tags r:id="rId38"/>
                </p:custDataLst>
              </p:nvPr>
            </p:nvSpPr>
            <p:spPr bwMode="auto">
              <a:xfrm>
                <a:off x="5583814" y="5086176"/>
                <a:ext cx="364525" cy="219713"/>
              </a:xfrm>
              <a:custGeom>
                <a:avLst/>
                <a:gdLst/>
                <a:ahLst/>
                <a:cxnLst>
                  <a:cxn ang="0">
                    <a:pos x="0" y="26"/>
                  </a:cxn>
                  <a:cxn ang="0">
                    <a:pos x="24" y="84"/>
                  </a:cxn>
                  <a:cxn ang="0">
                    <a:pos x="108" y="84"/>
                  </a:cxn>
                  <a:cxn ang="0">
                    <a:pos x="138" y="125"/>
                  </a:cxn>
                  <a:cxn ang="0">
                    <a:pos x="148" y="129"/>
                  </a:cxn>
                  <a:cxn ang="0">
                    <a:pos x="174" y="117"/>
                  </a:cxn>
                  <a:cxn ang="0">
                    <a:pos x="196" y="121"/>
                  </a:cxn>
                  <a:cxn ang="0">
                    <a:pos x="220" y="129"/>
                  </a:cxn>
                  <a:cxn ang="0">
                    <a:pos x="234" y="155"/>
                  </a:cxn>
                  <a:cxn ang="0">
                    <a:pos x="255" y="149"/>
                  </a:cxn>
                  <a:cxn ang="0">
                    <a:pos x="250" y="123"/>
                  </a:cxn>
                  <a:cxn ang="0">
                    <a:pos x="242" y="88"/>
                  </a:cxn>
                  <a:cxn ang="0">
                    <a:pos x="196" y="74"/>
                  </a:cxn>
                  <a:cxn ang="0">
                    <a:pos x="180" y="66"/>
                  </a:cxn>
                  <a:cxn ang="0">
                    <a:pos x="192" y="52"/>
                  </a:cxn>
                  <a:cxn ang="0">
                    <a:pos x="182" y="34"/>
                  </a:cxn>
                  <a:cxn ang="0">
                    <a:pos x="160" y="34"/>
                  </a:cxn>
                  <a:cxn ang="0">
                    <a:pos x="160" y="16"/>
                  </a:cxn>
                  <a:cxn ang="0">
                    <a:pos x="148" y="6"/>
                  </a:cxn>
                  <a:cxn ang="0">
                    <a:pos x="124" y="0"/>
                  </a:cxn>
                  <a:cxn ang="0">
                    <a:pos x="104" y="12"/>
                  </a:cxn>
                  <a:cxn ang="0">
                    <a:pos x="70" y="12"/>
                  </a:cxn>
                  <a:cxn ang="0">
                    <a:pos x="22" y="34"/>
                  </a:cxn>
                  <a:cxn ang="0">
                    <a:pos x="0" y="26"/>
                  </a:cxn>
                </a:cxnLst>
                <a:rect l="0" t="0" r="r" b="b"/>
                <a:pathLst>
                  <a:path w="255" h="155">
                    <a:moveTo>
                      <a:pt x="0" y="26"/>
                    </a:moveTo>
                    <a:lnTo>
                      <a:pt x="24" y="84"/>
                    </a:lnTo>
                    <a:lnTo>
                      <a:pt x="108" y="84"/>
                    </a:lnTo>
                    <a:lnTo>
                      <a:pt x="138" y="125"/>
                    </a:lnTo>
                    <a:lnTo>
                      <a:pt x="148" y="129"/>
                    </a:lnTo>
                    <a:lnTo>
                      <a:pt x="174" y="117"/>
                    </a:lnTo>
                    <a:lnTo>
                      <a:pt x="196" y="121"/>
                    </a:lnTo>
                    <a:lnTo>
                      <a:pt x="220" y="129"/>
                    </a:lnTo>
                    <a:lnTo>
                      <a:pt x="234" y="155"/>
                    </a:lnTo>
                    <a:lnTo>
                      <a:pt x="255" y="149"/>
                    </a:lnTo>
                    <a:lnTo>
                      <a:pt x="250" y="123"/>
                    </a:lnTo>
                    <a:lnTo>
                      <a:pt x="242" y="88"/>
                    </a:lnTo>
                    <a:lnTo>
                      <a:pt x="196" y="74"/>
                    </a:lnTo>
                    <a:lnTo>
                      <a:pt x="180" y="66"/>
                    </a:lnTo>
                    <a:lnTo>
                      <a:pt x="192" y="52"/>
                    </a:lnTo>
                    <a:lnTo>
                      <a:pt x="182" y="34"/>
                    </a:lnTo>
                    <a:lnTo>
                      <a:pt x="160" y="34"/>
                    </a:lnTo>
                    <a:lnTo>
                      <a:pt x="160" y="16"/>
                    </a:lnTo>
                    <a:lnTo>
                      <a:pt x="148" y="6"/>
                    </a:lnTo>
                    <a:lnTo>
                      <a:pt x="124" y="0"/>
                    </a:lnTo>
                    <a:lnTo>
                      <a:pt x="104" y="12"/>
                    </a:lnTo>
                    <a:lnTo>
                      <a:pt x="70" y="12"/>
                    </a:lnTo>
                    <a:lnTo>
                      <a:pt x="22" y="34"/>
                    </a:lnTo>
                    <a:lnTo>
                      <a:pt x="0" y="26"/>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nvGrpSpPr>
              <p:cNvPr id="320" name="Group 95"/>
              <p:cNvGrpSpPr>
                <a:grpSpLocks/>
              </p:cNvGrpSpPr>
              <p:nvPr/>
            </p:nvGrpSpPr>
            <p:grpSpPr bwMode="auto">
              <a:xfrm>
                <a:off x="5760251" y="4981312"/>
                <a:ext cx="489362" cy="389492"/>
                <a:chOff x="4295" y="2856"/>
                <a:chExt cx="341" cy="271"/>
              </a:xfrm>
              <a:solidFill>
                <a:schemeClr val="accent6"/>
              </a:solidFill>
            </p:grpSpPr>
            <p:sp>
              <p:nvSpPr>
                <p:cNvPr id="321" name="Freeform 96"/>
                <p:cNvSpPr>
                  <a:spLocks/>
                </p:cNvSpPr>
                <p:nvPr>
                  <p:custDataLst>
                    <p:tags r:id="rId39"/>
                  </p:custDataLst>
                </p:nvPr>
              </p:nvSpPr>
              <p:spPr bwMode="auto">
                <a:xfrm>
                  <a:off x="4319" y="3045"/>
                  <a:ext cx="88" cy="46"/>
                </a:xfrm>
                <a:custGeom>
                  <a:avLst/>
                  <a:gdLst/>
                  <a:ahLst/>
                  <a:cxnLst>
                    <a:cxn ang="0">
                      <a:pos x="0" y="12"/>
                    </a:cxn>
                    <a:cxn ang="0">
                      <a:pos x="26" y="0"/>
                    </a:cxn>
                    <a:cxn ang="0">
                      <a:pos x="52" y="4"/>
                    </a:cxn>
                    <a:cxn ang="0">
                      <a:pos x="76" y="12"/>
                    </a:cxn>
                    <a:cxn ang="0">
                      <a:pos x="88" y="38"/>
                    </a:cxn>
                    <a:cxn ang="0">
                      <a:pos x="68" y="46"/>
                    </a:cxn>
                    <a:cxn ang="0">
                      <a:pos x="34" y="22"/>
                    </a:cxn>
                    <a:cxn ang="0">
                      <a:pos x="10" y="24"/>
                    </a:cxn>
                    <a:cxn ang="0">
                      <a:pos x="0" y="12"/>
                    </a:cxn>
                  </a:cxnLst>
                  <a:rect l="0" t="0" r="r" b="b"/>
                  <a:pathLst>
                    <a:path w="88" h="46">
                      <a:moveTo>
                        <a:pt x="0" y="12"/>
                      </a:moveTo>
                      <a:lnTo>
                        <a:pt x="26" y="0"/>
                      </a:lnTo>
                      <a:lnTo>
                        <a:pt x="52" y="4"/>
                      </a:lnTo>
                      <a:lnTo>
                        <a:pt x="76" y="12"/>
                      </a:lnTo>
                      <a:lnTo>
                        <a:pt x="88" y="38"/>
                      </a:lnTo>
                      <a:lnTo>
                        <a:pt x="68" y="46"/>
                      </a:lnTo>
                      <a:lnTo>
                        <a:pt x="34" y="22"/>
                      </a:lnTo>
                      <a:lnTo>
                        <a:pt x="10" y="24"/>
                      </a:lnTo>
                      <a:lnTo>
                        <a:pt x="0" y="12"/>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22" name="Freeform 97"/>
                <p:cNvSpPr>
                  <a:spLocks/>
                </p:cNvSpPr>
                <p:nvPr>
                  <p:custDataLst>
                    <p:tags r:id="rId40"/>
                  </p:custDataLst>
                </p:nvPr>
              </p:nvSpPr>
              <p:spPr bwMode="auto">
                <a:xfrm>
                  <a:off x="4295" y="2856"/>
                  <a:ext cx="341" cy="271"/>
                </a:xfrm>
                <a:custGeom>
                  <a:avLst/>
                  <a:gdLst/>
                  <a:ahLst/>
                  <a:cxnLst>
                    <a:cxn ang="0">
                      <a:pos x="80" y="0"/>
                    </a:cxn>
                    <a:cxn ang="0">
                      <a:pos x="122" y="8"/>
                    </a:cxn>
                    <a:cxn ang="0">
                      <a:pos x="161" y="18"/>
                    </a:cxn>
                    <a:cxn ang="0">
                      <a:pos x="185" y="36"/>
                    </a:cxn>
                    <a:cxn ang="0">
                      <a:pos x="205" y="30"/>
                    </a:cxn>
                    <a:cxn ang="0">
                      <a:pos x="207" y="4"/>
                    </a:cxn>
                    <a:cxn ang="0">
                      <a:pos x="259" y="52"/>
                    </a:cxn>
                    <a:cxn ang="0">
                      <a:pos x="293" y="48"/>
                    </a:cxn>
                    <a:cxn ang="0">
                      <a:pos x="341" y="60"/>
                    </a:cxn>
                    <a:cxn ang="0">
                      <a:pos x="309" y="84"/>
                    </a:cxn>
                    <a:cxn ang="0">
                      <a:pos x="297" y="98"/>
                    </a:cxn>
                    <a:cxn ang="0">
                      <a:pos x="281" y="136"/>
                    </a:cxn>
                    <a:cxn ang="0">
                      <a:pos x="293" y="217"/>
                    </a:cxn>
                    <a:cxn ang="0">
                      <a:pos x="273" y="189"/>
                    </a:cxn>
                    <a:cxn ang="0">
                      <a:pos x="259" y="201"/>
                    </a:cxn>
                    <a:cxn ang="0">
                      <a:pos x="261" y="271"/>
                    </a:cxn>
                    <a:cxn ang="0">
                      <a:pos x="201" y="231"/>
                    </a:cxn>
                    <a:cxn ang="0">
                      <a:pos x="213" y="193"/>
                    </a:cxn>
                    <a:cxn ang="0">
                      <a:pos x="197" y="175"/>
                    </a:cxn>
                    <a:cxn ang="0">
                      <a:pos x="163" y="173"/>
                    </a:cxn>
                    <a:cxn ang="0">
                      <a:pos x="135" y="219"/>
                    </a:cxn>
                    <a:cxn ang="0">
                      <a:pos x="135" y="213"/>
                    </a:cxn>
                    <a:cxn ang="0">
                      <a:pos x="118" y="160"/>
                    </a:cxn>
                    <a:cxn ang="0">
                      <a:pos x="70" y="146"/>
                    </a:cxn>
                    <a:cxn ang="0">
                      <a:pos x="54" y="138"/>
                    </a:cxn>
                    <a:cxn ang="0">
                      <a:pos x="68" y="128"/>
                    </a:cxn>
                    <a:cxn ang="0">
                      <a:pos x="58" y="106"/>
                    </a:cxn>
                    <a:cxn ang="0">
                      <a:pos x="34" y="106"/>
                    </a:cxn>
                    <a:cxn ang="0">
                      <a:pos x="34" y="88"/>
                    </a:cxn>
                    <a:cxn ang="0">
                      <a:pos x="20" y="76"/>
                    </a:cxn>
                    <a:cxn ang="0">
                      <a:pos x="0" y="74"/>
                    </a:cxn>
                    <a:cxn ang="0">
                      <a:pos x="18" y="60"/>
                    </a:cxn>
                    <a:cxn ang="0">
                      <a:pos x="44" y="50"/>
                    </a:cxn>
                    <a:cxn ang="0">
                      <a:pos x="74" y="64"/>
                    </a:cxn>
                    <a:cxn ang="0">
                      <a:pos x="104" y="68"/>
                    </a:cxn>
                    <a:cxn ang="0">
                      <a:pos x="128" y="70"/>
                    </a:cxn>
                    <a:cxn ang="0">
                      <a:pos x="151" y="58"/>
                    </a:cxn>
                    <a:cxn ang="0">
                      <a:pos x="131" y="40"/>
                    </a:cxn>
                    <a:cxn ang="0">
                      <a:pos x="94" y="30"/>
                    </a:cxn>
                    <a:cxn ang="0">
                      <a:pos x="80" y="0"/>
                    </a:cxn>
                  </a:cxnLst>
                  <a:rect l="0" t="0" r="r" b="b"/>
                  <a:pathLst>
                    <a:path w="341" h="271">
                      <a:moveTo>
                        <a:pt x="80" y="0"/>
                      </a:moveTo>
                      <a:lnTo>
                        <a:pt x="122" y="8"/>
                      </a:lnTo>
                      <a:lnTo>
                        <a:pt x="161" y="18"/>
                      </a:lnTo>
                      <a:lnTo>
                        <a:pt x="185" y="36"/>
                      </a:lnTo>
                      <a:lnTo>
                        <a:pt x="205" y="30"/>
                      </a:lnTo>
                      <a:lnTo>
                        <a:pt x="207" y="4"/>
                      </a:lnTo>
                      <a:lnTo>
                        <a:pt x="259" y="52"/>
                      </a:lnTo>
                      <a:lnTo>
                        <a:pt x="293" y="48"/>
                      </a:lnTo>
                      <a:lnTo>
                        <a:pt x="341" y="60"/>
                      </a:lnTo>
                      <a:lnTo>
                        <a:pt x="309" y="84"/>
                      </a:lnTo>
                      <a:lnTo>
                        <a:pt x="297" y="98"/>
                      </a:lnTo>
                      <a:lnTo>
                        <a:pt x="281" y="136"/>
                      </a:lnTo>
                      <a:lnTo>
                        <a:pt x="293" y="217"/>
                      </a:lnTo>
                      <a:lnTo>
                        <a:pt x="273" y="189"/>
                      </a:lnTo>
                      <a:lnTo>
                        <a:pt x="259" y="201"/>
                      </a:lnTo>
                      <a:lnTo>
                        <a:pt x="261" y="271"/>
                      </a:lnTo>
                      <a:lnTo>
                        <a:pt x="201" y="231"/>
                      </a:lnTo>
                      <a:lnTo>
                        <a:pt x="213" y="193"/>
                      </a:lnTo>
                      <a:lnTo>
                        <a:pt x="197" y="175"/>
                      </a:lnTo>
                      <a:lnTo>
                        <a:pt x="163" y="173"/>
                      </a:lnTo>
                      <a:lnTo>
                        <a:pt x="135" y="219"/>
                      </a:lnTo>
                      <a:lnTo>
                        <a:pt x="135" y="213"/>
                      </a:lnTo>
                      <a:lnTo>
                        <a:pt x="118" y="160"/>
                      </a:lnTo>
                      <a:lnTo>
                        <a:pt x="70" y="146"/>
                      </a:lnTo>
                      <a:lnTo>
                        <a:pt x="54" y="138"/>
                      </a:lnTo>
                      <a:lnTo>
                        <a:pt x="68" y="128"/>
                      </a:lnTo>
                      <a:lnTo>
                        <a:pt x="58" y="106"/>
                      </a:lnTo>
                      <a:lnTo>
                        <a:pt x="34" y="106"/>
                      </a:lnTo>
                      <a:lnTo>
                        <a:pt x="34" y="88"/>
                      </a:lnTo>
                      <a:lnTo>
                        <a:pt x="20" y="76"/>
                      </a:lnTo>
                      <a:lnTo>
                        <a:pt x="0" y="74"/>
                      </a:lnTo>
                      <a:lnTo>
                        <a:pt x="18" y="60"/>
                      </a:lnTo>
                      <a:lnTo>
                        <a:pt x="44" y="50"/>
                      </a:lnTo>
                      <a:lnTo>
                        <a:pt x="74" y="64"/>
                      </a:lnTo>
                      <a:lnTo>
                        <a:pt x="104" y="68"/>
                      </a:lnTo>
                      <a:lnTo>
                        <a:pt x="128" y="70"/>
                      </a:lnTo>
                      <a:lnTo>
                        <a:pt x="151" y="58"/>
                      </a:lnTo>
                      <a:lnTo>
                        <a:pt x="131" y="40"/>
                      </a:lnTo>
                      <a:lnTo>
                        <a:pt x="94" y="30"/>
                      </a:lnTo>
                      <a:lnTo>
                        <a:pt x="80"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grpSp>
        <p:grpSp>
          <p:nvGrpSpPr>
            <p:cNvPr id="8" name="Group 7"/>
            <p:cNvGrpSpPr>
              <a:grpSpLocks noChangeAspect="1"/>
            </p:cNvGrpSpPr>
            <p:nvPr/>
          </p:nvGrpSpPr>
          <p:grpSpPr>
            <a:xfrm>
              <a:off x="7361339" y="1617184"/>
              <a:ext cx="2180735" cy="1470610"/>
              <a:chOff x="1342157" y="910206"/>
              <a:chExt cx="1627597" cy="1097594"/>
            </a:xfrm>
          </p:grpSpPr>
          <p:sp>
            <p:nvSpPr>
              <p:cNvPr id="88" name="TextBox 87"/>
              <p:cNvSpPr txBox="1"/>
              <p:nvPr/>
            </p:nvSpPr>
            <p:spPr>
              <a:xfrm>
                <a:off x="1342157" y="1869974"/>
                <a:ext cx="1627597" cy="137826"/>
              </a:xfrm>
              <a:prstGeom prst="rect">
                <a:avLst/>
              </a:prstGeom>
              <a:noFill/>
            </p:spPr>
            <p:txBody>
              <a:bodyPr wrap="square" lIns="0" tIns="0" rIns="0" bIns="0" rtlCol="0">
                <a:spAutoFit/>
              </a:bodyPr>
              <a:lstStyle/>
              <a:p>
                <a:pPr algn="ctr"/>
                <a:r>
                  <a:rPr lang="en-GB" sz="1200" b="1" dirty="0" smtClean="0">
                    <a:solidFill>
                      <a:srgbClr val="003755"/>
                    </a:solidFill>
                  </a:rPr>
                  <a:t>Nordics</a:t>
                </a:r>
                <a:endParaRPr lang="en-GB" sz="1400" b="1" dirty="0" smtClean="0">
                  <a:solidFill>
                    <a:srgbClr val="003755"/>
                  </a:solidFill>
                </a:endParaRPr>
              </a:p>
            </p:txBody>
          </p:sp>
          <p:graphicFrame>
            <p:nvGraphicFramePr>
              <p:cNvPr id="56" name="Chart 55"/>
              <p:cNvGraphicFramePr/>
              <p:nvPr>
                <p:extLst>
                  <p:ext uri="{D42A27DB-BD31-4B8C-83A1-F6EECF244321}">
                    <p14:modId xmlns:p14="http://schemas.microsoft.com/office/powerpoint/2010/main" val="3959059053"/>
                  </p:ext>
                </p:extLst>
              </p:nvPr>
            </p:nvGraphicFramePr>
            <p:xfrm>
              <a:off x="1522710" y="910206"/>
              <a:ext cx="1266492" cy="863212"/>
            </p:xfrm>
            <a:graphic>
              <a:graphicData uri="http://schemas.openxmlformats.org/drawingml/2006/chart">
                <c:chart xmlns:c="http://schemas.openxmlformats.org/drawingml/2006/chart" xmlns:r="http://schemas.openxmlformats.org/officeDocument/2006/relationships" r:id="rId92"/>
              </a:graphicData>
            </a:graphic>
          </p:graphicFrame>
        </p:grpSp>
        <p:grpSp>
          <p:nvGrpSpPr>
            <p:cNvPr id="5" name="Group 4"/>
            <p:cNvGrpSpPr>
              <a:grpSpLocks noChangeAspect="1"/>
            </p:cNvGrpSpPr>
            <p:nvPr/>
          </p:nvGrpSpPr>
          <p:grpSpPr>
            <a:xfrm>
              <a:off x="8711576" y="3583914"/>
              <a:ext cx="2180735" cy="1404012"/>
              <a:chOff x="2969754" y="2315191"/>
              <a:chExt cx="1627597" cy="1047888"/>
            </a:xfrm>
          </p:grpSpPr>
          <p:sp>
            <p:nvSpPr>
              <p:cNvPr id="87" name="TextBox 86"/>
              <p:cNvSpPr txBox="1"/>
              <p:nvPr/>
            </p:nvSpPr>
            <p:spPr>
              <a:xfrm>
                <a:off x="2969754" y="3225253"/>
                <a:ext cx="1627597" cy="137826"/>
              </a:xfrm>
              <a:prstGeom prst="rect">
                <a:avLst/>
              </a:prstGeom>
              <a:noFill/>
            </p:spPr>
            <p:txBody>
              <a:bodyPr wrap="square" lIns="0" tIns="0" rIns="0" bIns="0" rtlCol="0">
                <a:spAutoFit/>
              </a:bodyPr>
              <a:lstStyle/>
              <a:p>
                <a:pPr algn="ctr"/>
                <a:r>
                  <a:rPr lang="en-GB" sz="1200" b="1" dirty="0" smtClean="0">
                    <a:solidFill>
                      <a:srgbClr val="003755"/>
                    </a:solidFill>
                  </a:rPr>
                  <a:t>Eastern Europe</a:t>
                </a:r>
              </a:p>
            </p:txBody>
          </p:sp>
          <p:graphicFrame>
            <p:nvGraphicFramePr>
              <p:cNvPr id="62" name="Chart 61"/>
              <p:cNvGraphicFramePr/>
              <p:nvPr>
                <p:extLst>
                  <p:ext uri="{D42A27DB-BD31-4B8C-83A1-F6EECF244321}">
                    <p14:modId xmlns:p14="http://schemas.microsoft.com/office/powerpoint/2010/main" val="1580664723"/>
                  </p:ext>
                </p:extLst>
              </p:nvPr>
            </p:nvGraphicFramePr>
            <p:xfrm>
              <a:off x="3109738" y="2315191"/>
              <a:ext cx="1266492" cy="863212"/>
            </p:xfrm>
            <a:graphic>
              <a:graphicData uri="http://schemas.openxmlformats.org/drawingml/2006/chart">
                <c:chart xmlns:c="http://schemas.openxmlformats.org/drawingml/2006/chart" xmlns:r="http://schemas.openxmlformats.org/officeDocument/2006/relationships" r:id="rId93"/>
              </a:graphicData>
            </a:graphic>
          </p:graphicFrame>
        </p:grpSp>
        <p:grpSp>
          <p:nvGrpSpPr>
            <p:cNvPr id="2" name="Group 1"/>
            <p:cNvGrpSpPr>
              <a:grpSpLocks noChangeAspect="1"/>
            </p:cNvGrpSpPr>
            <p:nvPr/>
          </p:nvGrpSpPr>
          <p:grpSpPr>
            <a:xfrm>
              <a:off x="5857077" y="4050644"/>
              <a:ext cx="2180735" cy="1444290"/>
              <a:chOff x="3282345" y="4356865"/>
              <a:chExt cx="1627597" cy="1077949"/>
            </a:xfrm>
          </p:grpSpPr>
          <p:sp>
            <p:nvSpPr>
              <p:cNvPr id="86" name="TextBox 85"/>
              <p:cNvSpPr txBox="1"/>
              <p:nvPr/>
            </p:nvSpPr>
            <p:spPr>
              <a:xfrm>
                <a:off x="3282345" y="5296988"/>
                <a:ext cx="1627597" cy="137826"/>
              </a:xfrm>
              <a:prstGeom prst="rect">
                <a:avLst/>
              </a:prstGeom>
              <a:noFill/>
            </p:spPr>
            <p:txBody>
              <a:bodyPr wrap="square" lIns="0" tIns="0" rIns="0" bIns="0" rtlCol="0">
                <a:spAutoFit/>
              </a:bodyPr>
              <a:lstStyle/>
              <a:p>
                <a:pPr algn="ctr"/>
                <a:r>
                  <a:rPr lang="en-GB" sz="1200" b="1" dirty="0" smtClean="0">
                    <a:solidFill>
                      <a:srgbClr val="003755"/>
                    </a:solidFill>
                  </a:rPr>
                  <a:t>Western &amp; Southern Europe</a:t>
                </a:r>
              </a:p>
            </p:txBody>
          </p:sp>
          <p:graphicFrame>
            <p:nvGraphicFramePr>
              <p:cNvPr id="63" name="Chart 62"/>
              <p:cNvGraphicFramePr/>
              <p:nvPr>
                <p:extLst>
                  <p:ext uri="{D42A27DB-BD31-4B8C-83A1-F6EECF244321}">
                    <p14:modId xmlns:p14="http://schemas.microsoft.com/office/powerpoint/2010/main" val="639553752"/>
                  </p:ext>
                </p:extLst>
              </p:nvPr>
            </p:nvGraphicFramePr>
            <p:xfrm>
              <a:off x="3462897" y="4356865"/>
              <a:ext cx="1266492" cy="863212"/>
            </p:xfrm>
            <a:graphic>
              <a:graphicData uri="http://schemas.openxmlformats.org/drawingml/2006/chart">
                <c:chart xmlns:c="http://schemas.openxmlformats.org/drawingml/2006/chart" xmlns:r="http://schemas.openxmlformats.org/officeDocument/2006/relationships" r:id="rId94"/>
              </a:graphicData>
            </a:graphic>
          </p:graphicFrame>
        </p:grpSp>
      </p:grpSp>
      <p:grpSp>
        <p:nvGrpSpPr>
          <p:cNvPr id="253" name="Group 252"/>
          <p:cNvGrpSpPr/>
          <p:nvPr/>
        </p:nvGrpSpPr>
        <p:grpSpPr>
          <a:xfrm>
            <a:off x="431900" y="192024"/>
            <a:ext cx="3003820" cy="429768"/>
            <a:chOff x="430039" y="1689276"/>
            <a:chExt cx="3003820" cy="420908"/>
          </a:xfrm>
        </p:grpSpPr>
        <p:grpSp>
          <p:nvGrpSpPr>
            <p:cNvPr id="267" name="Group 266"/>
            <p:cNvGrpSpPr>
              <a:grpSpLocks noChangeAspect="1"/>
            </p:cNvGrpSpPr>
            <p:nvPr/>
          </p:nvGrpSpPr>
          <p:grpSpPr>
            <a:xfrm>
              <a:off x="430039" y="1689276"/>
              <a:ext cx="3003820" cy="420908"/>
              <a:chOff x="456953" y="3890814"/>
              <a:chExt cx="7707433" cy="1080000"/>
            </a:xfrm>
          </p:grpSpPr>
          <p:sp>
            <p:nvSpPr>
              <p:cNvPr id="269" name="Rectangle 268"/>
              <p:cNvSpPr/>
              <p:nvPr/>
            </p:nvSpPr>
            <p:spPr>
              <a:xfrm>
                <a:off x="456953" y="3890814"/>
                <a:ext cx="7707433" cy="1080000"/>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270" name="Rectangle 269"/>
              <p:cNvSpPr/>
              <p:nvPr/>
            </p:nvSpPr>
            <p:spPr>
              <a:xfrm>
                <a:off x="977532" y="3890814"/>
                <a:ext cx="6373676" cy="10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a:solidFill>
                    <a:srgbClr val="000000"/>
                  </a:solidFill>
                </a:endParaRPr>
              </a:p>
            </p:txBody>
          </p:sp>
          <p:sp>
            <p:nvSpPr>
              <p:cNvPr id="271" name="Oval 270"/>
              <p:cNvSpPr/>
              <p:nvPr/>
            </p:nvSpPr>
            <p:spPr>
              <a:xfrm>
                <a:off x="475491" y="4097596"/>
                <a:ext cx="666435"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chemeClr val="tx1"/>
                  </a:solidFill>
                </a:endParaRPr>
              </a:p>
            </p:txBody>
          </p:sp>
          <p:sp>
            <p:nvSpPr>
              <p:cNvPr id="272" name="TextBox 271"/>
              <p:cNvSpPr txBox="1"/>
              <p:nvPr/>
            </p:nvSpPr>
            <p:spPr>
              <a:xfrm>
                <a:off x="1487368" y="4233382"/>
                <a:ext cx="3557258" cy="394858"/>
              </a:xfrm>
              <a:prstGeom prst="rect">
                <a:avLst/>
              </a:prstGeom>
              <a:noFill/>
            </p:spPr>
            <p:txBody>
              <a:bodyPr wrap="square" lIns="0" tIns="0" rIns="0" bIns="0" rtlCol="0">
                <a:spAutoFit/>
              </a:bodyPr>
              <a:lstStyle/>
              <a:p>
                <a:r>
                  <a:rPr lang="en-US" sz="1000" b="1" dirty="0">
                    <a:solidFill>
                      <a:srgbClr val="003755"/>
                    </a:solidFill>
                  </a:rPr>
                  <a:t>ESG engagement topics</a:t>
                </a:r>
              </a:p>
            </p:txBody>
          </p:sp>
          <p:sp>
            <p:nvSpPr>
              <p:cNvPr id="273" name="Magnifiying glass"/>
              <p:cNvSpPr>
                <a:spLocks noChangeAspect="1"/>
              </p:cNvSpPr>
              <p:nvPr>
                <p:custDataLst>
                  <p:tags r:id="rId3"/>
                </p:custDataLst>
              </p:nvPr>
            </p:nvSpPr>
            <p:spPr bwMode="auto">
              <a:xfrm>
                <a:off x="661290" y="4250814"/>
                <a:ext cx="360630" cy="360000"/>
              </a:xfrm>
              <a:custGeom>
                <a:avLst/>
                <a:gdLst>
                  <a:gd name="connsiteX0" fmla="*/ 464226 w 1478978"/>
                  <a:gd name="connsiteY0" fmla="*/ 57150 h 1476375"/>
                  <a:gd name="connsiteX1" fmla="*/ 176915 w 1478978"/>
                  <a:gd name="connsiteY1" fmla="*/ 177916 h 1476375"/>
                  <a:gd name="connsiteX2" fmla="*/ 176915 w 1478978"/>
                  <a:gd name="connsiteY2" fmla="*/ 751552 h 1476375"/>
                  <a:gd name="connsiteX3" fmla="*/ 237402 w 1478978"/>
                  <a:gd name="connsiteY3" fmla="*/ 800613 h 1476375"/>
                  <a:gd name="connsiteX4" fmla="*/ 305449 w 1478978"/>
                  <a:gd name="connsiteY4" fmla="*/ 838352 h 1476375"/>
                  <a:gd name="connsiteX5" fmla="*/ 626783 w 1478978"/>
                  <a:gd name="connsiteY5" fmla="*/ 842126 h 1476375"/>
                  <a:gd name="connsiteX6" fmla="*/ 694830 w 1478978"/>
                  <a:gd name="connsiteY6" fmla="*/ 800613 h 1476375"/>
                  <a:gd name="connsiteX7" fmla="*/ 777999 w 1478978"/>
                  <a:gd name="connsiteY7" fmla="*/ 725134 h 1476375"/>
                  <a:gd name="connsiteX8" fmla="*/ 751536 w 1478978"/>
                  <a:gd name="connsiteY8" fmla="*/ 177916 h 1476375"/>
                  <a:gd name="connsiteX9" fmla="*/ 464226 w 1478978"/>
                  <a:gd name="connsiteY9" fmla="*/ 57150 h 1476375"/>
                  <a:gd name="connsiteX10" fmla="*/ 464957 w 1478978"/>
                  <a:gd name="connsiteY10" fmla="*/ 0 h 1476375"/>
                  <a:gd name="connsiteX11" fmla="*/ 793828 w 1478978"/>
                  <a:gd name="connsiteY11" fmla="*/ 135932 h 1476375"/>
                  <a:gd name="connsiteX12" fmla="*/ 835410 w 1478978"/>
                  <a:gd name="connsiteY12" fmla="*/ 743851 h 1476375"/>
                  <a:gd name="connsiteX13" fmla="*/ 884552 w 1478978"/>
                  <a:gd name="connsiteY13" fmla="*/ 792938 h 1476375"/>
                  <a:gd name="connsiteX14" fmla="*/ 911013 w 1478978"/>
                  <a:gd name="connsiteY14" fmla="*/ 766507 h 1476375"/>
                  <a:gd name="connsiteX15" fmla="*/ 929913 w 1478978"/>
                  <a:gd name="connsiteY15" fmla="*/ 758955 h 1476375"/>
                  <a:gd name="connsiteX16" fmla="*/ 948814 w 1478978"/>
                  <a:gd name="connsiteY16" fmla="*/ 766507 h 1476375"/>
                  <a:gd name="connsiteX17" fmla="*/ 1470473 w 1478978"/>
                  <a:gd name="connsiteY17" fmla="*/ 1291356 h 1476375"/>
                  <a:gd name="connsiteX18" fmla="*/ 1470473 w 1478978"/>
                  <a:gd name="connsiteY18" fmla="*/ 1325339 h 1476375"/>
                  <a:gd name="connsiteX19" fmla="*/ 1326828 w 1478978"/>
                  <a:gd name="connsiteY19" fmla="*/ 1468823 h 1476375"/>
                  <a:gd name="connsiteX20" fmla="*/ 1311707 w 1478978"/>
                  <a:gd name="connsiteY20" fmla="*/ 1476375 h 1476375"/>
                  <a:gd name="connsiteX21" fmla="*/ 1292806 w 1478978"/>
                  <a:gd name="connsiteY21" fmla="*/ 1468823 h 1476375"/>
                  <a:gd name="connsiteX22" fmla="*/ 767367 w 1478978"/>
                  <a:gd name="connsiteY22" fmla="*/ 947750 h 1476375"/>
                  <a:gd name="connsiteX23" fmla="*/ 759807 w 1478978"/>
                  <a:gd name="connsiteY23" fmla="*/ 928870 h 1476375"/>
                  <a:gd name="connsiteX24" fmla="*/ 767367 w 1478978"/>
                  <a:gd name="connsiteY24" fmla="*/ 909991 h 1476375"/>
                  <a:gd name="connsiteX25" fmla="*/ 793828 w 1478978"/>
                  <a:gd name="connsiteY25" fmla="*/ 883560 h 1476375"/>
                  <a:gd name="connsiteX26" fmla="*/ 744687 w 1478978"/>
                  <a:gd name="connsiteY26" fmla="*/ 834473 h 1476375"/>
                  <a:gd name="connsiteX27" fmla="*/ 729566 w 1478978"/>
                  <a:gd name="connsiteY27" fmla="*/ 845801 h 1476375"/>
                  <a:gd name="connsiteX28" fmla="*/ 650183 w 1478978"/>
                  <a:gd name="connsiteY28" fmla="*/ 891111 h 1476375"/>
                  <a:gd name="connsiteX29" fmla="*/ 283510 w 1478978"/>
                  <a:gd name="connsiteY29" fmla="*/ 891111 h 1476375"/>
                  <a:gd name="connsiteX30" fmla="*/ 204127 w 1478978"/>
                  <a:gd name="connsiteY30" fmla="*/ 849577 h 1476375"/>
                  <a:gd name="connsiteX31" fmla="*/ 136085 w 1478978"/>
                  <a:gd name="connsiteY31" fmla="*/ 792938 h 1476375"/>
                  <a:gd name="connsiteX32" fmla="*/ 136085 w 1478978"/>
                  <a:gd name="connsiteY32" fmla="*/ 135932 h 1476375"/>
                  <a:gd name="connsiteX33" fmla="*/ 464957 w 1478978"/>
                  <a:gd name="connsiteY33" fmla="*/ 0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78978" h="1476375">
                    <a:moveTo>
                      <a:pt x="464226" y="57150"/>
                    </a:moveTo>
                    <a:cubicBezTo>
                      <a:pt x="354594" y="57150"/>
                      <a:pt x="252523" y="98663"/>
                      <a:pt x="176915" y="177916"/>
                    </a:cubicBezTo>
                    <a:cubicBezTo>
                      <a:pt x="18138" y="336420"/>
                      <a:pt x="18138" y="593047"/>
                      <a:pt x="176915" y="751552"/>
                    </a:cubicBezTo>
                    <a:cubicBezTo>
                      <a:pt x="195817" y="770422"/>
                      <a:pt x="214719" y="785517"/>
                      <a:pt x="237402" y="800613"/>
                    </a:cubicBezTo>
                    <a:cubicBezTo>
                      <a:pt x="256304" y="815709"/>
                      <a:pt x="278986" y="827030"/>
                      <a:pt x="305449" y="838352"/>
                    </a:cubicBezTo>
                    <a:cubicBezTo>
                      <a:pt x="407520" y="883639"/>
                      <a:pt x="524712" y="887413"/>
                      <a:pt x="626783" y="842126"/>
                    </a:cubicBezTo>
                    <a:cubicBezTo>
                      <a:pt x="653246" y="830804"/>
                      <a:pt x="672148" y="815709"/>
                      <a:pt x="694830" y="800613"/>
                    </a:cubicBezTo>
                    <a:cubicBezTo>
                      <a:pt x="747756" y="766648"/>
                      <a:pt x="777999" y="725134"/>
                      <a:pt x="777999" y="725134"/>
                    </a:cubicBezTo>
                    <a:cubicBezTo>
                      <a:pt x="910313" y="566630"/>
                      <a:pt x="902752" y="325099"/>
                      <a:pt x="751536" y="177916"/>
                    </a:cubicBezTo>
                    <a:cubicBezTo>
                      <a:pt x="675928" y="98663"/>
                      <a:pt x="573857" y="57150"/>
                      <a:pt x="464226" y="57150"/>
                    </a:cubicBezTo>
                    <a:close/>
                    <a:moveTo>
                      <a:pt x="464957" y="0"/>
                    </a:moveTo>
                    <a:cubicBezTo>
                      <a:pt x="589701" y="0"/>
                      <a:pt x="706885" y="49087"/>
                      <a:pt x="793828" y="135932"/>
                    </a:cubicBezTo>
                    <a:cubicBezTo>
                      <a:pt x="956374" y="298296"/>
                      <a:pt x="975275" y="562609"/>
                      <a:pt x="835410" y="743851"/>
                    </a:cubicBezTo>
                    <a:cubicBezTo>
                      <a:pt x="884552" y="792938"/>
                      <a:pt x="884552" y="792938"/>
                      <a:pt x="884552" y="792938"/>
                    </a:cubicBezTo>
                    <a:cubicBezTo>
                      <a:pt x="911013" y="766507"/>
                      <a:pt x="911013" y="766507"/>
                      <a:pt x="911013" y="766507"/>
                    </a:cubicBezTo>
                    <a:cubicBezTo>
                      <a:pt x="914793" y="762731"/>
                      <a:pt x="922353" y="758955"/>
                      <a:pt x="929913" y="758955"/>
                    </a:cubicBezTo>
                    <a:cubicBezTo>
                      <a:pt x="937474" y="758955"/>
                      <a:pt x="941254" y="762731"/>
                      <a:pt x="948814" y="766507"/>
                    </a:cubicBezTo>
                    <a:cubicBezTo>
                      <a:pt x="1470473" y="1291356"/>
                      <a:pt x="1470473" y="1291356"/>
                      <a:pt x="1470473" y="1291356"/>
                    </a:cubicBezTo>
                    <a:cubicBezTo>
                      <a:pt x="1481813" y="1298908"/>
                      <a:pt x="1481813" y="1317788"/>
                      <a:pt x="1470473" y="1325339"/>
                    </a:cubicBezTo>
                    <a:cubicBezTo>
                      <a:pt x="1326828" y="1468823"/>
                      <a:pt x="1326828" y="1468823"/>
                      <a:pt x="1326828" y="1468823"/>
                    </a:cubicBezTo>
                    <a:cubicBezTo>
                      <a:pt x="1323047" y="1472599"/>
                      <a:pt x="1315487" y="1476375"/>
                      <a:pt x="1311707" y="1476375"/>
                    </a:cubicBezTo>
                    <a:cubicBezTo>
                      <a:pt x="1304147" y="1476375"/>
                      <a:pt x="1296587" y="1472599"/>
                      <a:pt x="1292806" y="1468823"/>
                    </a:cubicBezTo>
                    <a:cubicBezTo>
                      <a:pt x="767367" y="947750"/>
                      <a:pt x="767367" y="947750"/>
                      <a:pt x="767367" y="947750"/>
                    </a:cubicBezTo>
                    <a:cubicBezTo>
                      <a:pt x="763587" y="940198"/>
                      <a:pt x="759807" y="932646"/>
                      <a:pt x="759807" y="928870"/>
                    </a:cubicBezTo>
                    <a:cubicBezTo>
                      <a:pt x="759807" y="921319"/>
                      <a:pt x="763587" y="913767"/>
                      <a:pt x="767367" y="909991"/>
                    </a:cubicBezTo>
                    <a:cubicBezTo>
                      <a:pt x="793828" y="883560"/>
                      <a:pt x="793828" y="883560"/>
                      <a:pt x="793828" y="883560"/>
                    </a:cubicBezTo>
                    <a:cubicBezTo>
                      <a:pt x="744687" y="834473"/>
                      <a:pt x="744687" y="834473"/>
                      <a:pt x="744687" y="834473"/>
                    </a:cubicBezTo>
                    <a:cubicBezTo>
                      <a:pt x="740907" y="838249"/>
                      <a:pt x="733346" y="842025"/>
                      <a:pt x="729566" y="845801"/>
                    </a:cubicBezTo>
                    <a:cubicBezTo>
                      <a:pt x="703105" y="864680"/>
                      <a:pt x="676644" y="879784"/>
                      <a:pt x="650183" y="891111"/>
                    </a:cubicBezTo>
                    <a:cubicBezTo>
                      <a:pt x="532999" y="940198"/>
                      <a:pt x="400694" y="940198"/>
                      <a:pt x="283510" y="891111"/>
                    </a:cubicBezTo>
                    <a:cubicBezTo>
                      <a:pt x="257049" y="879784"/>
                      <a:pt x="230588" y="864680"/>
                      <a:pt x="204127" y="849577"/>
                    </a:cubicBezTo>
                    <a:cubicBezTo>
                      <a:pt x="181446" y="830697"/>
                      <a:pt x="158766" y="811818"/>
                      <a:pt x="136085" y="792938"/>
                    </a:cubicBezTo>
                    <a:cubicBezTo>
                      <a:pt x="-45362" y="611695"/>
                      <a:pt x="-45362" y="317175"/>
                      <a:pt x="136085" y="135932"/>
                    </a:cubicBezTo>
                    <a:cubicBezTo>
                      <a:pt x="226808" y="49087"/>
                      <a:pt x="340212" y="0"/>
                      <a:pt x="464957" y="0"/>
                    </a:cubicBezTo>
                    <a:close/>
                  </a:path>
                </a:pathLst>
              </a:custGeom>
              <a:solidFill>
                <a:schemeClr val="bg1"/>
              </a:solidFill>
              <a:ln>
                <a:noFill/>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t" anchorCtr="0" compatLnSpc="1">
                <a:prstTxWarp prst="textNoShape">
                  <a:avLst/>
                </a:prstTxWarp>
                <a:noAutofit/>
              </a:bodyPr>
              <a:lstStyle/>
              <a:p>
                <a:endParaRPr lang="en-GB" sz="1600" dirty="0">
                  <a:solidFill>
                    <a:srgbClr val="000000"/>
                  </a:solidFill>
                </a:endParaRPr>
              </a:p>
            </p:txBody>
          </p:sp>
          <p:sp>
            <p:nvSpPr>
              <p:cNvPr id="274" name="Rectangle 273"/>
              <p:cNvSpPr/>
              <p:nvPr/>
            </p:nvSpPr>
            <p:spPr>
              <a:xfrm>
                <a:off x="1337960" y="4191274"/>
                <a:ext cx="38327"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rgbClr val="000000"/>
                  </a:solidFill>
                </a:endParaRPr>
              </a:p>
            </p:txBody>
          </p:sp>
        </p:grpSp>
        <p:sp>
          <p:nvSpPr>
            <p:cNvPr id="268" name="TextBox 267"/>
            <p:cNvSpPr txBox="1"/>
            <p:nvPr/>
          </p:nvSpPr>
          <p:spPr>
            <a:xfrm>
              <a:off x="2463448" y="1785081"/>
              <a:ext cx="789990" cy="229294"/>
            </a:xfrm>
            <a:prstGeom prst="rect">
              <a:avLst/>
            </a:prstGeom>
            <a:noFill/>
          </p:spPr>
          <p:txBody>
            <a:bodyPr wrap="square" rtlCol="0" anchor="ctr" anchorCtr="0">
              <a:spAutoFit/>
            </a:bodyPr>
            <a:lstStyle/>
            <a:p>
              <a:pPr algn="ctr">
                <a:lnSpc>
                  <a:spcPct val="89000"/>
                </a:lnSpc>
              </a:pPr>
              <a:r>
                <a:rPr lang="en-US" sz="1000" b="1" dirty="0" smtClean="0">
                  <a:solidFill>
                    <a:schemeClr val="tx2"/>
                  </a:solidFill>
                  <a:ea typeface="Open Sans" panose="020B0606030504020204" pitchFamily="34" charset="0"/>
                  <a:cs typeface="Open Sans" panose="020B0606030504020204" pitchFamily="34" charset="0"/>
                </a:rPr>
                <a:t>90</a:t>
              </a:r>
              <a:endParaRPr lang="en-US" sz="1000" b="1" dirty="0">
                <a:solidFill>
                  <a:srgbClr val="003755"/>
                </a:solidFill>
                <a:ea typeface="Open Sans" panose="020B0606030504020204" pitchFamily="34" charset="0"/>
                <a:cs typeface="Open Sans" panose="020B0606030504020204" pitchFamily="34" charset="0"/>
              </a:endParaRPr>
            </a:p>
          </p:txBody>
        </p:sp>
      </p:grpSp>
      <p:grpSp>
        <p:nvGrpSpPr>
          <p:cNvPr id="127" name="Group 126"/>
          <p:cNvGrpSpPr/>
          <p:nvPr/>
        </p:nvGrpSpPr>
        <p:grpSpPr>
          <a:xfrm>
            <a:off x="10903964" y="834294"/>
            <a:ext cx="868234" cy="253070"/>
            <a:chOff x="480956" y="1231257"/>
            <a:chExt cx="868234" cy="253070"/>
          </a:xfrm>
        </p:grpSpPr>
        <p:sp>
          <p:nvSpPr>
            <p:cNvPr id="128" name="Rounded Rectangle 127"/>
            <p:cNvSpPr/>
            <p:nvPr/>
          </p:nvSpPr>
          <p:spPr>
            <a:xfrm>
              <a:off x="480956" y="1231257"/>
              <a:ext cx="247186" cy="247695"/>
            </a:xfrm>
            <a:prstGeom prst="roundRect">
              <a:avLst/>
            </a:prstGeom>
            <a:solidFill>
              <a:srgbClr val="09B8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smtClean="0">
                <a:solidFill>
                  <a:schemeClr val="tx1"/>
                </a:solidFill>
              </a:endParaRPr>
            </a:p>
          </p:txBody>
        </p:sp>
        <p:sp>
          <p:nvSpPr>
            <p:cNvPr id="129" name="Rounded Rectangle 128"/>
            <p:cNvSpPr/>
            <p:nvPr/>
          </p:nvSpPr>
          <p:spPr>
            <a:xfrm>
              <a:off x="789519" y="1235945"/>
              <a:ext cx="247186" cy="247695"/>
            </a:xfrm>
            <a:prstGeom prst="roundRect">
              <a:avLst/>
            </a:prstGeom>
            <a:solidFill>
              <a:srgbClr val="6DBAC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smtClean="0">
                <a:solidFill>
                  <a:schemeClr val="tx1"/>
                </a:solidFill>
              </a:endParaRPr>
            </a:p>
          </p:txBody>
        </p:sp>
        <p:sp>
          <p:nvSpPr>
            <p:cNvPr id="130" name="Rounded Rectangle 129"/>
            <p:cNvSpPr/>
            <p:nvPr/>
          </p:nvSpPr>
          <p:spPr>
            <a:xfrm>
              <a:off x="1102004" y="1236632"/>
              <a:ext cx="247186" cy="247695"/>
            </a:xfrm>
            <a:prstGeom prst="roundRect">
              <a:avLst/>
            </a:prstGeom>
            <a:solidFill>
              <a:srgbClr val="00375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smtClean="0">
                <a:solidFill>
                  <a:schemeClr val="tx1"/>
                </a:solidFill>
              </a:endParaRPr>
            </a:p>
          </p:txBody>
        </p:sp>
        <p:sp>
          <p:nvSpPr>
            <p:cNvPr id="131" name="TextBox 130"/>
            <p:cNvSpPr txBox="1"/>
            <p:nvPr/>
          </p:nvSpPr>
          <p:spPr>
            <a:xfrm>
              <a:off x="543160" y="1262771"/>
              <a:ext cx="122778" cy="184666"/>
            </a:xfrm>
            <a:prstGeom prst="rect">
              <a:avLst/>
            </a:prstGeom>
            <a:noFill/>
          </p:spPr>
          <p:txBody>
            <a:bodyPr wrap="square" lIns="0" tIns="0" rIns="0" bIns="0" rtlCol="0">
              <a:spAutoFit/>
            </a:bodyPr>
            <a:lstStyle/>
            <a:p>
              <a:pPr algn="ctr"/>
              <a:r>
                <a:rPr lang="en-US" sz="1200" b="1" dirty="0" smtClean="0">
                  <a:solidFill>
                    <a:schemeClr val="bg1"/>
                  </a:solidFill>
                </a:rPr>
                <a:t>E</a:t>
              </a:r>
            </a:p>
          </p:txBody>
        </p:sp>
        <p:sp>
          <p:nvSpPr>
            <p:cNvPr id="132" name="TextBox 131"/>
            <p:cNvSpPr txBox="1"/>
            <p:nvPr/>
          </p:nvSpPr>
          <p:spPr>
            <a:xfrm>
              <a:off x="839726" y="1267459"/>
              <a:ext cx="146773" cy="184666"/>
            </a:xfrm>
            <a:prstGeom prst="rect">
              <a:avLst/>
            </a:prstGeom>
            <a:noFill/>
          </p:spPr>
          <p:txBody>
            <a:bodyPr wrap="square" lIns="0" tIns="0" rIns="0" bIns="0" rtlCol="0">
              <a:spAutoFit/>
            </a:bodyPr>
            <a:lstStyle/>
            <a:p>
              <a:pPr algn="ctr"/>
              <a:r>
                <a:rPr lang="en-US" sz="1200" b="1" dirty="0" smtClean="0">
                  <a:solidFill>
                    <a:schemeClr val="bg1"/>
                  </a:solidFill>
                </a:rPr>
                <a:t>S</a:t>
              </a:r>
            </a:p>
          </p:txBody>
        </p:sp>
        <p:sp>
          <p:nvSpPr>
            <p:cNvPr id="133" name="TextBox 132"/>
            <p:cNvSpPr txBox="1"/>
            <p:nvPr/>
          </p:nvSpPr>
          <p:spPr>
            <a:xfrm>
              <a:off x="1166854" y="1268146"/>
              <a:ext cx="117486" cy="184666"/>
            </a:xfrm>
            <a:prstGeom prst="rect">
              <a:avLst/>
            </a:prstGeom>
            <a:noFill/>
          </p:spPr>
          <p:txBody>
            <a:bodyPr wrap="square" lIns="0" tIns="0" rIns="0" bIns="0" rtlCol="0">
              <a:spAutoFit/>
            </a:bodyPr>
            <a:lstStyle/>
            <a:p>
              <a:r>
                <a:rPr lang="en-US" sz="1200" b="1" dirty="0" smtClean="0">
                  <a:solidFill>
                    <a:schemeClr val="bg1"/>
                  </a:solidFill>
                </a:rPr>
                <a:t>G</a:t>
              </a:r>
            </a:p>
          </p:txBody>
        </p:sp>
      </p:grpSp>
    </p:spTree>
    <p:extLst>
      <p:ext uri="{BB962C8B-B14F-4D97-AF65-F5344CB8AC3E}">
        <p14:creationId xmlns:p14="http://schemas.microsoft.com/office/powerpoint/2010/main" val="30037292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Title 114"/>
          <p:cNvSpPr>
            <a:spLocks noGrp="1"/>
          </p:cNvSpPr>
          <p:nvPr>
            <p:ph type="title"/>
          </p:nvPr>
        </p:nvSpPr>
        <p:spPr/>
        <p:txBody>
          <a:bodyPr/>
          <a:lstStyle/>
          <a:p>
            <a:r>
              <a:rPr lang="en-US" dirty="0" smtClean="0"/>
              <a:t>90 </a:t>
            </a:r>
            <a:r>
              <a:rPr lang="en-US" dirty="0"/>
              <a:t>ESG engagements topics have been addressed and </a:t>
            </a:r>
            <a:r>
              <a:rPr lang="en-US" dirty="0" smtClean="0"/>
              <a:t>discussed</a:t>
            </a:r>
            <a:endParaRPr lang="en-GB" dirty="0"/>
          </a:p>
        </p:txBody>
      </p:sp>
      <p:grpSp>
        <p:nvGrpSpPr>
          <p:cNvPr id="111" name="Group 110"/>
          <p:cNvGrpSpPr/>
          <p:nvPr/>
        </p:nvGrpSpPr>
        <p:grpSpPr>
          <a:xfrm>
            <a:off x="431900" y="192024"/>
            <a:ext cx="3003820" cy="429768"/>
            <a:chOff x="430039" y="1689276"/>
            <a:chExt cx="3003820" cy="420908"/>
          </a:xfrm>
        </p:grpSpPr>
        <p:grpSp>
          <p:nvGrpSpPr>
            <p:cNvPr id="112" name="Group 111"/>
            <p:cNvGrpSpPr>
              <a:grpSpLocks noChangeAspect="1"/>
            </p:cNvGrpSpPr>
            <p:nvPr/>
          </p:nvGrpSpPr>
          <p:grpSpPr>
            <a:xfrm>
              <a:off x="430039" y="1689276"/>
              <a:ext cx="3003820" cy="420908"/>
              <a:chOff x="456953" y="3890814"/>
              <a:chExt cx="7707433" cy="1080000"/>
            </a:xfrm>
          </p:grpSpPr>
          <p:sp>
            <p:nvSpPr>
              <p:cNvPr id="114" name="Rectangle 113"/>
              <p:cNvSpPr/>
              <p:nvPr/>
            </p:nvSpPr>
            <p:spPr>
              <a:xfrm>
                <a:off x="456953" y="3890814"/>
                <a:ext cx="7707433" cy="1080000"/>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116" name="Rectangle 115"/>
              <p:cNvSpPr/>
              <p:nvPr/>
            </p:nvSpPr>
            <p:spPr>
              <a:xfrm>
                <a:off x="977532" y="3890814"/>
                <a:ext cx="6373676" cy="10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a:solidFill>
                    <a:srgbClr val="000000"/>
                  </a:solidFill>
                </a:endParaRPr>
              </a:p>
            </p:txBody>
          </p:sp>
          <p:sp>
            <p:nvSpPr>
              <p:cNvPr id="117" name="Oval 116"/>
              <p:cNvSpPr/>
              <p:nvPr/>
            </p:nvSpPr>
            <p:spPr>
              <a:xfrm>
                <a:off x="475491" y="4097596"/>
                <a:ext cx="666435"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chemeClr val="tx1"/>
                  </a:solidFill>
                </a:endParaRPr>
              </a:p>
            </p:txBody>
          </p:sp>
          <p:sp>
            <p:nvSpPr>
              <p:cNvPr id="118" name="TextBox 117"/>
              <p:cNvSpPr txBox="1"/>
              <p:nvPr/>
            </p:nvSpPr>
            <p:spPr>
              <a:xfrm>
                <a:off x="1487368" y="4233382"/>
                <a:ext cx="3557258" cy="394858"/>
              </a:xfrm>
              <a:prstGeom prst="rect">
                <a:avLst/>
              </a:prstGeom>
              <a:noFill/>
            </p:spPr>
            <p:txBody>
              <a:bodyPr wrap="square" lIns="0" tIns="0" rIns="0" bIns="0" rtlCol="0">
                <a:spAutoFit/>
              </a:bodyPr>
              <a:lstStyle/>
              <a:p>
                <a:r>
                  <a:rPr lang="en-US" sz="1000" b="1" dirty="0">
                    <a:solidFill>
                      <a:srgbClr val="003755"/>
                    </a:solidFill>
                  </a:rPr>
                  <a:t>ESG engagement topics</a:t>
                </a:r>
              </a:p>
            </p:txBody>
          </p:sp>
          <p:sp>
            <p:nvSpPr>
              <p:cNvPr id="119" name="Magnifiying glass"/>
              <p:cNvSpPr>
                <a:spLocks noChangeAspect="1"/>
              </p:cNvSpPr>
              <p:nvPr>
                <p:custDataLst>
                  <p:tags r:id="rId1"/>
                </p:custDataLst>
              </p:nvPr>
            </p:nvSpPr>
            <p:spPr bwMode="auto">
              <a:xfrm>
                <a:off x="661290" y="4250814"/>
                <a:ext cx="360630" cy="360000"/>
              </a:xfrm>
              <a:custGeom>
                <a:avLst/>
                <a:gdLst>
                  <a:gd name="connsiteX0" fmla="*/ 464226 w 1478978"/>
                  <a:gd name="connsiteY0" fmla="*/ 57150 h 1476375"/>
                  <a:gd name="connsiteX1" fmla="*/ 176915 w 1478978"/>
                  <a:gd name="connsiteY1" fmla="*/ 177916 h 1476375"/>
                  <a:gd name="connsiteX2" fmla="*/ 176915 w 1478978"/>
                  <a:gd name="connsiteY2" fmla="*/ 751552 h 1476375"/>
                  <a:gd name="connsiteX3" fmla="*/ 237402 w 1478978"/>
                  <a:gd name="connsiteY3" fmla="*/ 800613 h 1476375"/>
                  <a:gd name="connsiteX4" fmla="*/ 305449 w 1478978"/>
                  <a:gd name="connsiteY4" fmla="*/ 838352 h 1476375"/>
                  <a:gd name="connsiteX5" fmla="*/ 626783 w 1478978"/>
                  <a:gd name="connsiteY5" fmla="*/ 842126 h 1476375"/>
                  <a:gd name="connsiteX6" fmla="*/ 694830 w 1478978"/>
                  <a:gd name="connsiteY6" fmla="*/ 800613 h 1476375"/>
                  <a:gd name="connsiteX7" fmla="*/ 777999 w 1478978"/>
                  <a:gd name="connsiteY7" fmla="*/ 725134 h 1476375"/>
                  <a:gd name="connsiteX8" fmla="*/ 751536 w 1478978"/>
                  <a:gd name="connsiteY8" fmla="*/ 177916 h 1476375"/>
                  <a:gd name="connsiteX9" fmla="*/ 464226 w 1478978"/>
                  <a:gd name="connsiteY9" fmla="*/ 57150 h 1476375"/>
                  <a:gd name="connsiteX10" fmla="*/ 464957 w 1478978"/>
                  <a:gd name="connsiteY10" fmla="*/ 0 h 1476375"/>
                  <a:gd name="connsiteX11" fmla="*/ 793828 w 1478978"/>
                  <a:gd name="connsiteY11" fmla="*/ 135932 h 1476375"/>
                  <a:gd name="connsiteX12" fmla="*/ 835410 w 1478978"/>
                  <a:gd name="connsiteY12" fmla="*/ 743851 h 1476375"/>
                  <a:gd name="connsiteX13" fmla="*/ 884552 w 1478978"/>
                  <a:gd name="connsiteY13" fmla="*/ 792938 h 1476375"/>
                  <a:gd name="connsiteX14" fmla="*/ 911013 w 1478978"/>
                  <a:gd name="connsiteY14" fmla="*/ 766507 h 1476375"/>
                  <a:gd name="connsiteX15" fmla="*/ 929913 w 1478978"/>
                  <a:gd name="connsiteY15" fmla="*/ 758955 h 1476375"/>
                  <a:gd name="connsiteX16" fmla="*/ 948814 w 1478978"/>
                  <a:gd name="connsiteY16" fmla="*/ 766507 h 1476375"/>
                  <a:gd name="connsiteX17" fmla="*/ 1470473 w 1478978"/>
                  <a:gd name="connsiteY17" fmla="*/ 1291356 h 1476375"/>
                  <a:gd name="connsiteX18" fmla="*/ 1470473 w 1478978"/>
                  <a:gd name="connsiteY18" fmla="*/ 1325339 h 1476375"/>
                  <a:gd name="connsiteX19" fmla="*/ 1326828 w 1478978"/>
                  <a:gd name="connsiteY19" fmla="*/ 1468823 h 1476375"/>
                  <a:gd name="connsiteX20" fmla="*/ 1311707 w 1478978"/>
                  <a:gd name="connsiteY20" fmla="*/ 1476375 h 1476375"/>
                  <a:gd name="connsiteX21" fmla="*/ 1292806 w 1478978"/>
                  <a:gd name="connsiteY21" fmla="*/ 1468823 h 1476375"/>
                  <a:gd name="connsiteX22" fmla="*/ 767367 w 1478978"/>
                  <a:gd name="connsiteY22" fmla="*/ 947750 h 1476375"/>
                  <a:gd name="connsiteX23" fmla="*/ 759807 w 1478978"/>
                  <a:gd name="connsiteY23" fmla="*/ 928870 h 1476375"/>
                  <a:gd name="connsiteX24" fmla="*/ 767367 w 1478978"/>
                  <a:gd name="connsiteY24" fmla="*/ 909991 h 1476375"/>
                  <a:gd name="connsiteX25" fmla="*/ 793828 w 1478978"/>
                  <a:gd name="connsiteY25" fmla="*/ 883560 h 1476375"/>
                  <a:gd name="connsiteX26" fmla="*/ 744687 w 1478978"/>
                  <a:gd name="connsiteY26" fmla="*/ 834473 h 1476375"/>
                  <a:gd name="connsiteX27" fmla="*/ 729566 w 1478978"/>
                  <a:gd name="connsiteY27" fmla="*/ 845801 h 1476375"/>
                  <a:gd name="connsiteX28" fmla="*/ 650183 w 1478978"/>
                  <a:gd name="connsiteY28" fmla="*/ 891111 h 1476375"/>
                  <a:gd name="connsiteX29" fmla="*/ 283510 w 1478978"/>
                  <a:gd name="connsiteY29" fmla="*/ 891111 h 1476375"/>
                  <a:gd name="connsiteX30" fmla="*/ 204127 w 1478978"/>
                  <a:gd name="connsiteY30" fmla="*/ 849577 h 1476375"/>
                  <a:gd name="connsiteX31" fmla="*/ 136085 w 1478978"/>
                  <a:gd name="connsiteY31" fmla="*/ 792938 h 1476375"/>
                  <a:gd name="connsiteX32" fmla="*/ 136085 w 1478978"/>
                  <a:gd name="connsiteY32" fmla="*/ 135932 h 1476375"/>
                  <a:gd name="connsiteX33" fmla="*/ 464957 w 1478978"/>
                  <a:gd name="connsiteY33" fmla="*/ 0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78978" h="1476375">
                    <a:moveTo>
                      <a:pt x="464226" y="57150"/>
                    </a:moveTo>
                    <a:cubicBezTo>
                      <a:pt x="354594" y="57150"/>
                      <a:pt x="252523" y="98663"/>
                      <a:pt x="176915" y="177916"/>
                    </a:cubicBezTo>
                    <a:cubicBezTo>
                      <a:pt x="18138" y="336420"/>
                      <a:pt x="18138" y="593047"/>
                      <a:pt x="176915" y="751552"/>
                    </a:cubicBezTo>
                    <a:cubicBezTo>
                      <a:pt x="195817" y="770422"/>
                      <a:pt x="214719" y="785517"/>
                      <a:pt x="237402" y="800613"/>
                    </a:cubicBezTo>
                    <a:cubicBezTo>
                      <a:pt x="256304" y="815709"/>
                      <a:pt x="278986" y="827030"/>
                      <a:pt x="305449" y="838352"/>
                    </a:cubicBezTo>
                    <a:cubicBezTo>
                      <a:pt x="407520" y="883639"/>
                      <a:pt x="524712" y="887413"/>
                      <a:pt x="626783" y="842126"/>
                    </a:cubicBezTo>
                    <a:cubicBezTo>
                      <a:pt x="653246" y="830804"/>
                      <a:pt x="672148" y="815709"/>
                      <a:pt x="694830" y="800613"/>
                    </a:cubicBezTo>
                    <a:cubicBezTo>
                      <a:pt x="747756" y="766648"/>
                      <a:pt x="777999" y="725134"/>
                      <a:pt x="777999" y="725134"/>
                    </a:cubicBezTo>
                    <a:cubicBezTo>
                      <a:pt x="910313" y="566630"/>
                      <a:pt x="902752" y="325099"/>
                      <a:pt x="751536" y="177916"/>
                    </a:cubicBezTo>
                    <a:cubicBezTo>
                      <a:pt x="675928" y="98663"/>
                      <a:pt x="573857" y="57150"/>
                      <a:pt x="464226" y="57150"/>
                    </a:cubicBezTo>
                    <a:close/>
                    <a:moveTo>
                      <a:pt x="464957" y="0"/>
                    </a:moveTo>
                    <a:cubicBezTo>
                      <a:pt x="589701" y="0"/>
                      <a:pt x="706885" y="49087"/>
                      <a:pt x="793828" y="135932"/>
                    </a:cubicBezTo>
                    <a:cubicBezTo>
                      <a:pt x="956374" y="298296"/>
                      <a:pt x="975275" y="562609"/>
                      <a:pt x="835410" y="743851"/>
                    </a:cubicBezTo>
                    <a:cubicBezTo>
                      <a:pt x="884552" y="792938"/>
                      <a:pt x="884552" y="792938"/>
                      <a:pt x="884552" y="792938"/>
                    </a:cubicBezTo>
                    <a:cubicBezTo>
                      <a:pt x="911013" y="766507"/>
                      <a:pt x="911013" y="766507"/>
                      <a:pt x="911013" y="766507"/>
                    </a:cubicBezTo>
                    <a:cubicBezTo>
                      <a:pt x="914793" y="762731"/>
                      <a:pt x="922353" y="758955"/>
                      <a:pt x="929913" y="758955"/>
                    </a:cubicBezTo>
                    <a:cubicBezTo>
                      <a:pt x="937474" y="758955"/>
                      <a:pt x="941254" y="762731"/>
                      <a:pt x="948814" y="766507"/>
                    </a:cubicBezTo>
                    <a:cubicBezTo>
                      <a:pt x="1470473" y="1291356"/>
                      <a:pt x="1470473" y="1291356"/>
                      <a:pt x="1470473" y="1291356"/>
                    </a:cubicBezTo>
                    <a:cubicBezTo>
                      <a:pt x="1481813" y="1298908"/>
                      <a:pt x="1481813" y="1317788"/>
                      <a:pt x="1470473" y="1325339"/>
                    </a:cubicBezTo>
                    <a:cubicBezTo>
                      <a:pt x="1326828" y="1468823"/>
                      <a:pt x="1326828" y="1468823"/>
                      <a:pt x="1326828" y="1468823"/>
                    </a:cubicBezTo>
                    <a:cubicBezTo>
                      <a:pt x="1323047" y="1472599"/>
                      <a:pt x="1315487" y="1476375"/>
                      <a:pt x="1311707" y="1476375"/>
                    </a:cubicBezTo>
                    <a:cubicBezTo>
                      <a:pt x="1304147" y="1476375"/>
                      <a:pt x="1296587" y="1472599"/>
                      <a:pt x="1292806" y="1468823"/>
                    </a:cubicBezTo>
                    <a:cubicBezTo>
                      <a:pt x="767367" y="947750"/>
                      <a:pt x="767367" y="947750"/>
                      <a:pt x="767367" y="947750"/>
                    </a:cubicBezTo>
                    <a:cubicBezTo>
                      <a:pt x="763587" y="940198"/>
                      <a:pt x="759807" y="932646"/>
                      <a:pt x="759807" y="928870"/>
                    </a:cubicBezTo>
                    <a:cubicBezTo>
                      <a:pt x="759807" y="921319"/>
                      <a:pt x="763587" y="913767"/>
                      <a:pt x="767367" y="909991"/>
                    </a:cubicBezTo>
                    <a:cubicBezTo>
                      <a:pt x="793828" y="883560"/>
                      <a:pt x="793828" y="883560"/>
                      <a:pt x="793828" y="883560"/>
                    </a:cubicBezTo>
                    <a:cubicBezTo>
                      <a:pt x="744687" y="834473"/>
                      <a:pt x="744687" y="834473"/>
                      <a:pt x="744687" y="834473"/>
                    </a:cubicBezTo>
                    <a:cubicBezTo>
                      <a:pt x="740907" y="838249"/>
                      <a:pt x="733346" y="842025"/>
                      <a:pt x="729566" y="845801"/>
                    </a:cubicBezTo>
                    <a:cubicBezTo>
                      <a:pt x="703105" y="864680"/>
                      <a:pt x="676644" y="879784"/>
                      <a:pt x="650183" y="891111"/>
                    </a:cubicBezTo>
                    <a:cubicBezTo>
                      <a:pt x="532999" y="940198"/>
                      <a:pt x="400694" y="940198"/>
                      <a:pt x="283510" y="891111"/>
                    </a:cubicBezTo>
                    <a:cubicBezTo>
                      <a:pt x="257049" y="879784"/>
                      <a:pt x="230588" y="864680"/>
                      <a:pt x="204127" y="849577"/>
                    </a:cubicBezTo>
                    <a:cubicBezTo>
                      <a:pt x="181446" y="830697"/>
                      <a:pt x="158766" y="811818"/>
                      <a:pt x="136085" y="792938"/>
                    </a:cubicBezTo>
                    <a:cubicBezTo>
                      <a:pt x="-45362" y="611695"/>
                      <a:pt x="-45362" y="317175"/>
                      <a:pt x="136085" y="135932"/>
                    </a:cubicBezTo>
                    <a:cubicBezTo>
                      <a:pt x="226808" y="49087"/>
                      <a:pt x="340212" y="0"/>
                      <a:pt x="464957" y="0"/>
                    </a:cubicBezTo>
                    <a:close/>
                  </a:path>
                </a:pathLst>
              </a:custGeom>
              <a:solidFill>
                <a:schemeClr val="bg1"/>
              </a:solidFill>
              <a:ln>
                <a:noFill/>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t" anchorCtr="0" compatLnSpc="1">
                <a:prstTxWarp prst="textNoShape">
                  <a:avLst/>
                </a:prstTxWarp>
                <a:noAutofit/>
              </a:bodyPr>
              <a:lstStyle/>
              <a:p>
                <a:endParaRPr lang="en-GB" sz="1600" dirty="0">
                  <a:solidFill>
                    <a:srgbClr val="000000"/>
                  </a:solidFill>
                </a:endParaRPr>
              </a:p>
            </p:txBody>
          </p:sp>
          <p:sp>
            <p:nvSpPr>
              <p:cNvPr id="120" name="Rectangle 119"/>
              <p:cNvSpPr/>
              <p:nvPr/>
            </p:nvSpPr>
            <p:spPr>
              <a:xfrm>
                <a:off x="1337960" y="4191274"/>
                <a:ext cx="38327"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rgbClr val="000000"/>
                  </a:solidFill>
                </a:endParaRPr>
              </a:p>
            </p:txBody>
          </p:sp>
        </p:grpSp>
        <p:sp>
          <p:nvSpPr>
            <p:cNvPr id="113" name="TextBox 112"/>
            <p:cNvSpPr txBox="1"/>
            <p:nvPr/>
          </p:nvSpPr>
          <p:spPr>
            <a:xfrm>
              <a:off x="2463448" y="1785081"/>
              <a:ext cx="789990" cy="229294"/>
            </a:xfrm>
            <a:prstGeom prst="rect">
              <a:avLst/>
            </a:prstGeom>
            <a:noFill/>
          </p:spPr>
          <p:txBody>
            <a:bodyPr wrap="square" rtlCol="0" anchor="ctr" anchorCtr="0">
              <a:spAutoFit/>
            </a:bodyPr>
            <a:lstStyle/>
            <a:p>
              <a:pPr algn="ctr">
                <a:lnSpc>
                  <a:spcPct val="89000"/>
                </a:lnSpc>
              </a:pPr>
              <a:r>
                <a:rPr lang="en-US" sz="1000" b="1" dirty="0" smtClean="0">
                  <a:solidFill>
                    <a:schemeClr val="tx2"/>
                  </a:solidFill>
                  <a:ea typeface="Open Sans" panose="020B0606030504020204" pitchFamily="34" charset="0"/>
                  <a:cs typeface="Open Sans" panose="020B0606030504020204" pitchFamily="34" charset="0"/>
                </a:rPr>
                <a:t>90</a:t>
              </a:r>
              <a:endParaRPr lang="en-US" sz="1000" b="1" dirty="0">
                <a:solidFill>
                  <a:srgbClr val="003755"/>
                </a:solidFill>
                <a:ea typeface="Open Sans" panose="020B0606030504020204" pitchFamily="34" charset="0"/>
                <a:cs typeface="Open Sans" panose="020B0606030504020204" pitchFamily="34" charset="0"/>
              </a:endParaRPr>
            </a:p>
          </p:txBody>
        </p:sp>
      </p:grpSp>
      <p:sp>
        <p:nvSpPr>
          <p:cNvPr id="2" name="Rectangle 1"/>
          <p:cNvSpPr/>
          <p:nvPr/>
        </p:nvSpPr>
        <p:spPr>
          <a:xfrm>
            <a:off x="5215953" y="1074400"/>
            <a:ext cx="1085554" cy="315471"/>
          </a:xfrm>
          <a:prstGeom prst="rect">
            <a:avLst/>
          </a:prstGeom>
        </p:spPr>
        <p:txBody>
          <a:bodyPr wrap="none">
            <a:spAutoFit/>
          </a:bodyPr>
          <a:lstStyle/>
          <a:p>
            <a:pPr>
              <a:spcBef>
                <a:spcPts val="300"/>
              </a:spcBef>
              <a:spcAft>
                <a:spcPts val="300"/>
              </a:spcAft>
            </a:pPr>
            <a:r>
              <a:rPr lang="en-GB" sz="1450" dirty="0">
                <a:solidFill>
                  <a:srgbClr val="09B89D"/>
                </a:solidFill>
                <a:latin typeface="Danske Human Medium Italic" panose="02000603050000020003" pitchFamily="2" charset="0"/>
              </a:rPr>
              <a:t>Agriculture</a:t>
            </a:r>
            <a:endParaRPr lang="en-GB" sz="1450" dirty="0"/>
          </a:p>
        </p:txBody>
      </p:sp>
      <p:sp>
        <p:nvSpPr>
          <p:cNvPr id="3" name="Rectangle 2"/>
          <p:cNvSpPr/>
          <p:nvPr/>
        </p:nvSpPr>
        <p:spPr>
          <a:xfrm>
            <a:off x="3680754" y="1926558"/>
            <a:ext cx="1079142" cy="315471"/>
          </a:xfrm>
          <a:prstGeom prst="rect">
            <a:avLst/>
          </a:prstGeom>
        </p:spPr>
        <p:txBody>
          <a:bodyPr wrap="none">
            <a:spAutoFit/>
          </a:bodyPr>
          <a:lstStyle/>
          <a:p>
            <a:pPr fontAlgn="b">
              <a:spcBef>
                <a:spcPts val="300"/>
              </a:spcBef>
              <a:spcAft>
                <a:spcPts val="300"/>
              </a:spcAft>
            </a:pPr>
            <a:r>
              <a:rPr lang="en-GB" sz="1450" dirty="0">
                <a:solidFill>
                  <a:srgbClr val="09B89D"/>
                </a:solidFill>
                <a:latin typeface="Danske Human Medium Italic" panose="02000603050000020003" pitchFamily="2" charset="0"/>
              </a:rPr>
              <a:t>Air Quality</a:t>
            </a:r>
          </a:p>
        </p:txBody>
      </p:sp>
      <p:sp>
        <p:nvSpPr>
          <p:cNvPr id="5" name="Rectangle 4"/>
          <p:cNvSpPr/>
          <p:nvPr/>
        </p:nvSpPr>
        <p:spPr>
          <a:xfrm>
            <a:off x="3813015" y="3792588"/>
            <a:ext cx="1612942" cy="315471"/>
          </a:xfrm>
          <a:prstGeom prst="rect">
            <a:avLst/>
          </a:prstGeom>
        </p:spPr>
        <p:txBody>
          <a:bodyPr wrap="none">
            <a:spAutoFit/>
          </a:bodyPr>
          <a:lstStyle/>
          <a:p>
            <a:pPr fontAlgn="b">
              <a:spcBef>
                <a:spcPts val="300"/>
              </a:spcBef>
              <a:spcAft>
                <a:spcPts val="300"/>
              </a:spcAft>
            </a:pPr>
            <a:r>
              <a:rPr lang="en-GB" sz="1450" dirty="0">
                <a:solidFill>
                  <a:srgbClr val="09B89D"/>
                </a:solidFill>
                <a:latin typeface="Danske Human Medium Italic" panose="02000603050000020003" pitchFamily="2" charset="0"/>
              </a:rPr>
              <a:t>Circular Economy</a:t>
            </a:r>
          </a:p>
        </p:txBody>
      </p:sp>
      <p:sp>
        <p:nvSpPr>
          <p:cNvPr id="6" name="Rectangle 5"/>
          <p:cNvSpPr/>
          <p:nvPr/>
        </p:nvSpPr>
        <p:spPr>
          <a:xfrm>
            <a:off x="6054818" y="4394759"/>
            <a:ext cx="1675459" cy="315471"/>
          </a:xfrm>
          <a:prstGeom prst="rect">
            <a:avLst/>
          </a:prstGeom>
        </p:spPr>
        <p:txBody>
          <a:bodyPr wrap="none">
            <a:spAutoFit/>
          </a:bodyPr>
          <a:lstStyle/>
          <a:p>
            <a:pPr fontAlgn="b">
              <a:spcBef>
                <a:spcPts val="300"/>
              </a:spcBef>
              <a:spcAft>
                <a:spcPts val="300"/>
              </a:spcAft>
            </a:pPr>
            <a:r>
              <a:rPr lang="en-GB" sz="1450" dirty="0">
                <a:solidFill>
                  <a:srgbClr val="09B89D"/>
                </a:solidFill>
                <a:latin typeface="Danske Human Medium Italic" panose="02000603050000020003" pitchFamily="2" charset="0"/>
              </a:rPr>
              <a:t>Climate Neutrality</a:t>
            </a:r>
          </a:p>
        </p:txBody>
      </p:sp>
      <p:sp>
        <p:nvSpPr>
          <p:cNvPr id="7" name="Rectangle 6"/>
          <p:cNvSpPr/>
          <p:nvPr/>
        </p:nvSpPr>
        <p:spPr>
          <a:xfrm>
            <a:off x="8826570" y="1614612"/>
            <a:ext cx="1263487" cy="315471"/>
          </a:xfrm>
          <a:prstGeom prst="rect">
            <a:avLst/>
          </a:prstGeom>
        </p:spPr>
        <p:txBody>
          <a:bodyPr wrap="none">
            <a:spAutoFit/>
          </a:bodyPr>
          <a:lstStyle/>
          <a:p>
            <a:pPr>
              <a:spcBef>
                <a:spcPts val="300"/>
              </a:spcBef>
              <a:spcAft>
                <a:spcPts val="300"/>
              </a:spcAft>
            </a:pPr>
            <a:r>
              <a:rPr lang="en-GB" sz="1450" dirty="0">
                <a:solidFill>
                  <a:srgbClr val="09B89D"/>
                </a:solidFill>
                <a:latin typeface="Danske Human Medium Italic" panose="02000603050000020003" pitchFamily="2" charset="0"/>
              </a:rPr>
              <a:t>Digitalisation</a:t>
            </a:r>
            <a:endParaRPr lang="en-GB" sz="1450" dirty="0"/>
          </a:p>
        </p:txBody>
      </p:sp>
      <p:sp>
        <p:nvSpPr>
          <p:cNvPr id="8" name="Rectangle 7"/>
          <p:cNvSpPr/>
          <p:nvPr/>
        </p:nvSpPr>
        <p:spPr>
          <a:xfrm>
            <a:off x="7623871" y="2022016"/>
            <a:ext cx="1646605" cy="315471"/>
          </a:xfrm>
          <a:prstGeom prst="rect">
            <a:avLst/>
          </a:prstGeom>
        </p:spPr>
        <p:txBody>
          <a:bodyPr wrap="none">
            <a:spAutoFit/>
          </a:bodyPr>
          <a:lstStyle/>
          <a:p>
            <a:pPr fontAlgn="b">
              <a:spcBef>
                <a:spcPts val="300"/>
              </a:spcBef>
              <a:spcAft>
                <a:spcPts val="300"/>
              </a:spcAft>
            </a:pPr>
            <a:r>
              <a:rPr lang="en-GB" sz="1450" dirty="0">
                <a:solidFill>
                  <a:srgbClr val="09B89D"/>
                </a:solidFill>
                <a:latin typeface="Danske Human Medium Italic" panose="02000603050000020003" pitchFamily="2" charset="0"/>
              </a:rPr>
              <a:t>Ecological Impacts</a:t>
            </a:r>
          </a:p>
        </p:txBody>
      </p:sp>
      <p:sp>
        <p:nvSpPr>
          <p:cNvPr id="9" name="Rectangle 8"/>
          <p:cNvSpPr/>
          <p:nvPr/>
        </p:nvSpPr>
        <p:spPr>
          <a:xfrm>
            <a:off x="5376251" y="2174273"/>
            <a:ext cx="1840568" cy="315471"/>
          </a:xfrm>
          <a:prstGeom prst="rect">
            <a:avLst/>
          </a:prstGeom>
        </p:spPr>
        <p:txBody>
          <a:bodyPr wrap="none">
            <a:spAutoFit/>
          </a:bodyPr>
          <a:lstStyle/>
          <a:p>
            <a:pPr fontAlgn="b">
              <a:spcBef>
                <a:spcPts val="300"/>
              </a:spcBef>
              <a:spcAft>
                <a:spcPts val="300"/>
              </a:spcAft>
            </a:pPr>
            <a:r>
              <a:rPr lang="en-GB" sz="1450" dirty="0">
                <a:solidFill>
                  <a:srgbClr val="09B89D"/>
                </a:solidFill>
                <a:latin typeface="Danske Human Medium Italic" panose="02000603050000020003" pitchFamily="2" charset="0"/>
              </a:rPr>
              <a:t>Energy Consumption</a:t>
            </a:r>
          </a:p>
        </p:txBody>
      </p:sp>
      <p:sp>
        <p:nvSpPr>
          <p:cNvPr id="10" name="Rectangle 9"/>
          <p:cNvSpPr/>
          <p:nvPr/>
        </p:nvSpPr>
        <p:spPr>
          <a:xfrm>
            <a:off x="5515522" y="1586144"/>
            <a:ext cx="1571264" cy="315471"/>
          </a:xfrm>
          <a:prstGeom prst="rect">
            <a:avLst/>
          </a:prstGeom>
        </p:spPr>
        <p:txBody>
          <a:bodyPr wrap="none">
            <a:spAutoFit/>
          </a:bodyPr>
          <a:lstStyle/>
          <a:p>
            <a:pPr fontAlgn="b">
              <a:spcBef>
                <a:spcPts val="300"/>
              </a:spcBef>
              <a:spcAft>
                <a:spcPts val="300"/>
              </a:spcAft>
            </a:pPr>
            <a:r>
              <a:rPr lang="en-GB" sz="1450" dirty="0">
                <a:solidFill>
                  <a:srgbClr val="09B89D"/>
                </a:solidFill>
                <a:latin typeface="Danske Human Medium Italic" panose="02000603050000020003" pitchFamily="2" charset="0"/>
              </a:rPr>
              <a:t>Energy Efficiency</a:t>
            </a:r>
          </a:p>
        </p:txBody>
      </p:sp>
      <p:sp>
        <p:nvSpPr>
          <p:cNvPr id="11" name="Rectangle 10"/>
          <p:cNvSpPr/>
          <p:nvPr/>
        </p:nvSpPr>
        <p:spPr>
          <a:xfrm>
            <a:off x="5078667" y="5363367"/>
            <a:ext cx="1853392" cy="315471"/>
          </a:xfrm>
          <a:prstGeom prst="rect">
            <a:avLst/>
          </a:prstGeom>
        </p:spPr>
        <p:txBody>
          <a:bodyPr wrap="none">
            <a:spAutoFit/>
          </a:bodyPr>
          <a:lstStyle/>
          <a:p>
            <a:pPr fontAlgn="b">
              <a:spcBef>
                <a:spcPts val="300"/>
              </a:spcBef>
              <a:spcAft>
                <a:spcPts val="300"/>
              </a:spcAft>
            </a:pPr>
            <a:r>
              <a:rPr lang="en-GB" sz="1450" dirty="0">
                <a:solidFill>
                  <a:srgbClr val="09B89D"/>
                </a:solidFill>
                <a:latin typeface="Danske Human Medium Italic" panose="02000603050000020003" pitchFamily="2" charset="0"/>
              </a:rPr>
              <a:t>Energy Management</a:t>
            </a:r>
          </a:p>
        </p:txBody>
      </p:sp>
      <p:sp>
        <p:nvSpPr>
          <p:cNvPr id="12" name="Rectangle 11"/>
          <p:cNvSpPr/>
          <p:nvPr/>
        </p:nvSpPr>
        <p:spPr>
          <a:xfrm>
            <a:off x="8015891" y="2873180"/>
            <a:ext cx="2058577" cy="315471"/>
          </a:xfrm>
          <a:prstGeom prst="rect">
            <a:avLst/>
          </a:prstGeom>
        </p:spPr>
        <p:txBody>
          <a:bodyPr wrap="none">
            <a:spAutoFit/>
          </a:bodyPr>
          <a:lstStyle/>
          <a:p>
            <a:pPr fontAlgn="b">
              <a:spcBef>
                <a:spcPts val="300"/>
              </a:spcBef>
              <a:spcAft>
                <a:spcPts val="300"/>
              </a:spcAft>
            </a:pPr>
            <a:r>
              <a:rPr lang="en-GB" sz="1450" dirty="0">
                <a:solidFill>
                  <a:srgbClr val="09B89D"/>
                </a:solidFill>
                <a:latin typeface="Danske Human Medium Italic" panose="02000603050000020003" pitchFamily="2" charset="0"/>
              </a:rPr>
              <a:t>Energy Transformation</a:t>
            </a:r>
          </a:p>
        </p:txBody>
      </p:sp>
      <p:sp>
        <p:nvSpPr>
          <p:cNvPr id="15" name="Rectangle 14"/>
          <p:cNvSpPr/>
          <p:nvPr/>
        </p:nvSpPr>
        <p:spPr>
          <a:xfrm>
            <a:off x="5612514" y="3082266"/>
            <a:ext cx="2146742" cy="315471"/>
          </a:xfrm>
          <a:prstGeom prst="rect">
            <a:avLst/>
          </a:prstGeom>
        </p:spPr>
        <p:txBody>
          <a:bodyPr wrap="none">
            <a:spAutoFit/>
          </a:bodyPr>
          <a:lstStyle/>
          <a:p>
            <a:pPr fontAlgn="b">
              <a:spcBef>
                <a:spcPts val="300"/>
              </a:spcBef>
              <a:spcAft>
                <a:spcPts val="300"/>
              </a:spcAft>
            </a:pPr>
            <a:r>
              <a:rPr lang="en-GB" sz="1450" dirty="0">
                <a:solidFill>
                  <a:srgbClr val="09B89D"/>
                </a:solidFill>
                <a:latin typeface="Danske Human Medium Italic" panose="02000603050000020003" pitchFamily="2" charset="0"/>
              </a:rPr>
              <a:t>Environmental Incidents</a:t>
            </a:r>
          </a:p>
        </p:txBody>
      </p:sp>
      <p:sp>
        <p:nvSpPr>
          <p:cNvPr id="16" name="Rectangle 15"/>
          <p:cNvSpPr/>
          <p:nvPr/>
        </p:nvSpPr>
        <p:spPr>
          <a:xfrm>
            <a:off x="8260444" y="3834528"/>
            <a:ext cx="1883849" cy="315471"/>
          </a:xfrm>
          <a:prstGeom prst="rect">
            <a:avLst/>
          </a:prstGeom>
        </p:spPr>
        <p:txBody>
          <a:bodyPr wrap="none">
            <a:spAutoFit/>
          </a:bodyPr>
          <a:lstStyle/>
          <a:p>
            <a:pPr fontAlgn="b">
              <a:spcBef>
                <a:spcPts val="300"/>
              </a:spcBef>
              <a:spcAft>
                <a:spcPts val="300"/>
              </a:spcAft>
            </a:pPr>
            <a:r>
              <a:rPr lang="en-GB" sz="1450" dirty="0">
                <a:solidFill>
                  <a:srgbClr val="09B89D"/>
                </a:solidFill>
                <a:latin typeface="Danske Human Medium Italic" panose="02000603050000020003" pitchFamily="2" charset="0"/>
              </a:rPr>
              <a:t>Environmental Issues</a:t>
            </a:r>
          </a:p>
        </p:txBody>
      </p:sp>
      <p:sp>
        <p:nvSpPr>
          <p:cNvPr id="17" name="Rectangle 16"/>
          <p:cNvSpPr/>
          <p:nvPr/>
        </p:nvSpPr>
        <p:spPr>
          <a:xfrm>
            <a:off x="2554091" y="3343289"/>
            <a:ext cx="2292615" cy="315471"/>
          </a:xfrm>
          <a:prstGeom prst="rect">
            <a:avLst/>
          </a:prstGeom>
        </p:spPr>
        <p:txBody>
          <a:bodyPr wrap="none">
            <a:spAutoFit/>
          </a:bodyPr>
          <a:lstStyle/>
          <a:p>
            <a:pPr fontAlgn="b">
              <a:spcBef>
                <a:spcPts val="300"/>
              </a:spcBef>
              <a:spcAft>
                <a:spcPts val="300"/>
              </a:spcAft>
            </a:pPr>
            <a:r>
              <a:rPr lang="en-GB" sz="1450" dirty="0">
                <a:solidFill>
                  <a:srgbClr val="09B89D"/>
                </a:solidFill>
                <a:latin typeface="Danske Human Medium Italic" panose="02000603050000020003" pitchFamily="2" charset="0"/>
              </a:rPr>
              <a:t>Environmental Regulation</a:t>
            </a:r>
          </a:p>
        </p:txBody>
      </p:sp>
      <p:sp>
        <p:nvSpPr>
          <p:cNvPr id="18" name="Rectangle 17"/>
          <p:cNvSpPr/>
          <p:nvPr/>
        </p:nvSpPr>
        <p:spPr>
          <a:xfrm>
            <a:off x="3999214" y="2657264"/>
            <a:ext cx="2986715" cy="315471"/>
          </a:xfrm>
          <a:prstGeom prst="rect">
            <a:avLst/>
          </a:prstGeom>
        </p:spPr>
        <p:txBody>
          <a:bodyPr wrap="none">
            <a:spAutoFit/>
          </a:bodyPr>
          <a:lstStyle/>
          <a:p>
            <a:pPr fontAlgn="b">
              <a:spcBef>
                <a:spcPts val="300"/>
              </a:spcBef>
              <a:spcAft>
                <a:spcPts val="300"/>
              </a:spcAft>
            </a:pPr>
            <a:r>
              <a:rPr lang="en-GB" sz="1450" dirty="0">
                <a:solidFill>
                  <a:srgbClr val="09B89D"/>
                </a:solidFill>
                <a:latin typeface="Danske Human Medium Italic" panose="02000603050000020003" pitchFamily="2" charset="0"/>
              </a:rPr>
              <a:t>Water &amp; Wastewater Management</a:t>
            </a:r>
          </a:p>
        </p:txBody>
      </p:sp>
      <p:sp>
        <p:nvSpPr>
          <p:cNvPr id="21" name="Rectangle 20"/>
          <p:cNvSpPr/>
          <p:nvPr/>
        </p:nvSpPr>
        <p:spPr>
          <a:xfrm>
            <a:off x="6857821" y="4976947"/>
            <a:ext cx="3740126" cy="315471"/>
          </a:xfrm>
          <a:prstGeom prst="rect">
            <a:avLst/>
          </a:prstGeom>
        </p:spPr>
        <p:txBody>
          <a:bodyPr wrap="none">
            <a:spAutoFit/>
          </a:bodyPr>
          <a:lstStyle/>
          <a:p>
            <a:pPr fontAlgn="b">
              <a:spcBef>
                <a:spcPts val="300"/>
              </a:spcBef>
              <a:spcAft>
                <a:spcPts val="300"/>
              </a:spcAft>
            </a:pPr>
            <a:r>
              <a:rPr lang="en-GB" sz="1450" dirty="0">
                <a:solidFill>
                  <a:srgbClr val="09B89D"/>
                </a:solidFill>
                <a:latin typeface="Danske Human Medium Italic" panose="02000603050000020003" pitchFamily="2" charset="0"/>
              </a:rPr>
              <a:t>Waste &amp; Hazardous Materials Management</a:t>
            </a:r>
          </a:p>
        </p:txBody>
      </p:sp>
      <p:sp>
        <p:nvSpPr>
          <p:cNvPr id="22" name="Rectangle 21"/>
          <p:cNvSpPr/>
          <p:nvPr/>
        </p:nvSpPr>
        <p:spPr>
          <a:xfrm>
            <a:off x="8658027" y="2492638"/>
            <a:ext cx="2020105" cy="315471"/>
          </a:xfrm>
          <a:prstGeom prst="rect">
            <a:avLst/>
          </a:prstGeom>
        </p:spPr>
        <p:txBody>
          <a:bodyPr wrap="none">
            <a:spAutoFit/>
          </a:bodyPr>
          <a:lstStyle/>
          <a:p>
            <a:pPr fontAlgn="b">
              <a:spcBef>
                <a:spcPts val="300"/>
              </a:spcBef>
              <a:spcAft>
                <a:spcPts val="300"/>
              </a:spcAft>
            </a:pPr>
            <a:r>
              <a:rPr lang="en-GB" sz="1450" dirty="0">
                <a:solidFill>
                  <a:srgbClr val="09B89D"/>
                </a:solidFill>
                <a:latin typeface="Danske Human Medium Italic" panose="02000603050000020003" pitchFamily="2" charset="0"/>
              </a:rPr>
              <a:t>Sustainable Transports</a:t>
            </a:r>
          </a:p>
        </p:txBody>
      </p:sp>
      <p:sp>
        <p:nvSpPr>
          <p:cNvPr id="23" name="Rectangle 22"/>
          <p:cNvSpPr/>
          <p:nvPr/>
        </p:nvSpPr>
        <p:spPr>
          <a:xfrm>
            <a:off x="2364670" y="4318916"/>
            <a:ext cx="1840568" cy="315471"/>
          </a:xfrm>
          <a:prstGeom prst="rect">
            <a:avLst/>
          </a:prstGeom>
        </p:spPr>
        <p:txBody>
          <a:bodyPr wrap="none">
            <a:spAutoFit/>
          </a:bodyPr>
          <a:lstStyle/>
          <a:p>
            <a:pPr fontAlgn="b">
              <a:spcBef>
                <a:spcPts val="300"/>
              </a:spcBef>
              <a:spcAft>
                <a:spcPts val="300"/>
              </a:spcAft>
            </a:pPr>
            <a:r>
              <a:rPr lang="en-GB" sz="1450" dirty="0">
                <a:solidFill>
                  <a:srgbClr val="09B89D"/>
                </a:solidFill>
                <a:latin typeface="Danske Human Medium Italic" panose="02000603050000020003" pitchFamily="2" charset="0"/>
              </a:rPr>
              <a:t>Sustainable Shipping</a:t>
            </a:r>
          </a:p>
        </p:txBody>
      </p:sp>
      <p:sp>
        <p:nvSpPr>
          <p:cNvPr id="24" name="Rectangle 23"/>
          <p:cNvSpPr/>
          <p:nvPr/>
        </p:nvSpPr>
        <p:spPr>
          <a:xfrm>
            <a:off x="2107655" y="1701039"/>
            <a:ext cx="1854995" cy="315471"/>
          </a:xfrm>
          <a:prstGeom prst="rect">
            <a:avLst/>
          </a:prstGeom>
        </p:spPr>
        <p:txBody>
          <a:bodyPr wrap="none">
            <a:spAutoFit/>
          </a:bodyPr>
          <a:lstStyle/>
          <a:p>
            <a:pPr fontAlgn="b">
              <a:spcBef>
                <a:spcPts val="300"/>
              </a:spcBef>
              <a:spcAft>
                <a:spcPts val="300"/>
              </a:spcAft>
            </a:pPr>
            <a:r>
              <a:rPr lang="en-GB" sz="1450" dirty="0">
                <a:solidFill>
                  <a:srgbClr val="09B89D"/>
                </a:solidFill>
                <a:latin typeface="Danske Human Medium Italic" panose="02000603050000020003" pitchFamily="2" charset="0"/>
              </a:rPr>
              <a:t>Sustainable Products</a:t>
            </a:r>
          </a:p>
        </p:txBody>
      </p:sp>
      <p:sp>
        <p:nvSpPr>
          <p:cNvPr id="25" name="Rectangle 24"/>
          <p:cNvSpPr/>
          <p:nvPr/>
        </p:nvSpPr>
        <p:spPr>
          <a:xfrm>
            <a:off x="7794060" y="4429782"/>
            <a:ext cx="2226892" cy="315471"/>
          </a:xfrm>
          <a:prstGeom prst="rect">
            <a:avLst/>
          </a:prstGeom>
        </p:spPr>
        <p:txBody>
          <a:bodyPr wrap="none">
            <a:spAutoFit/>
          </a:bodyPr>
          <a:lstStyle/>
          <a:p>
            <a:pPr fontAlgn="b">
              <a:spcBef>
                <a:spcPts val="300"/>
              </a:spcBef>
              <a:spcAft>
                <a:spcPts val="300"/>
              </a:spcAft>
            </a:pPr>
            <a:r>
              <a:rPr lang="en-GB" sz="1450" dirty="0">
                <a:solidFill>
                  <a:srgbClr val="09B89D"/>
                </a:solidFill>
                <a:latin typeface="Danske Human Medium Italic" panose="02000603050000020003" pitchFamily="2" charset="0"/>
              </a:rPr>
              <a:t>Sustainability Certificates</a:t>
            </a:r>
          </a:p>
        </p:txBody>
      </p:sp>
      <p:sp>
        <p:nvSpPr>
          <p:cNvPr id="26" name="Rectangle 25"/>
          <p:cNvSpPr/>
          <p:nvPr/>
        </p:nvSpPr>
        <p:spPr>
          <a:xfrm>
            <a:off x="9998164" y="3861152"/>
            <a:ext cx="2202847" cy="307777"/>
          </a:xfrm>
          <a:prstGeom prst="rect">
            <a:avLst/>
          </a:prstGeom>
        </p:spPr>
        <p:txBody>
          <a:bodyPr wrap="none">
            <a:spAutoFit/>
          </a:bodyPr>
          <a:lstStyle/>
          <a:p>
            <a:pPr fontAlgn="b">
              <a:spcBef>
                <a:spcPts val="300"/>
              </a:spcBef>
              <a:spcAft>
                <a:spcPts val="300"/>
              </a:spcAft>
            </a:pPr>
            <a:r>
              <a:rPr lang="en-GB" sz="1400" dirty="0">
                <a:solidFill>
                  <a:srgbClr val="09B89D"/>
                </a:solidFill>
                <a:latin typeface="Danske Human Medium Italic" panose="02000603050000020003" pitchFamily="2" charset="0"/>
              </a:rPr>
              <a:t>Plastic/Recycling Products</a:t>
            </a:r>
          </a:p>
        </p:txBody>
      </p:sp>
      <p:sp>
        <p:nvSpPr>
          <p:cNvPr id="27" name="Rectangle 26"/>
          <p:cNvSpPr/>
          <p:nvPr/>
        </p:nvSpPr>
        <p:spPr>
          <a:xfrm>
            <a:off x="1205783" y="2147952"/>
            <a:ext cx="3052439" cy="315471"/>
          </a:xfrm>
          <a:prstGeom prst="rect">
            <a:avLst/>
          </a:prstGeom>
        </p:spPr>
        <p:txBody>
          <a:bodyPr wrap="none">
            <a:spAutoFit/>
          </a:bodyPr>
          <a:lstStyle/>
          <a:p>
            <a:pPr fontAlgn="b">
              <a:spcBef>
                <a:spcPts val="300"/>
              </a:spcBef>
              <a:spcAft>
                <a:spcPts val="300"/>
              </a:spcAft>
            </a:pPr>
            <a:r>
              <a:rPr lang="en-GB" sz="1450" dirty="0" smtClean="0">
                <a:solidFill>
                  <a:srgbClr val="09B89D"/>
                </a:solidFill>
                <a:latin typeface="Danske Human Medium Italic" panose="02000603050000020003" pitchFamily="2" charset="0"/>
              </a:rPr>
              <a:t>Physical Impacts Of Climate Change</a:t>
            </a:r>
            <a:endParaRPr lang="en-GB" sz="1450" dirty="0">
              <a:solidFill>
                <a:srgbClr val="09B89D"/>
              </a:solidFill>
              <a:latin typeface="Danske Human Medium Italic" panose="02000603050000020003" pitchFamily="2" charset="0"/>
            </a:endParaRPr>
          </a:p>
        </p:txBody>
      </p:sp>
      <p:sp>
        <p:nvSpPr>
          <p:cNvPr id="28" name="Rectangle 27"/>
          <p:cNvSpPr/>
          <p:nvPr/>
        </p:nvSpPr>
        <p:spPr>
          <a:xfrm>
            <a:off x="2649018" y="5138841"/>
            <a:ext cx="1800493" cy="315471"/>
          </a:xfrm>
          <a:prstGeom prst="rect">
            <a:avLst/>
          </a:prstGeom>
        </p:spPr>
        <p:txBody>
          <a:bodyPr wrap="none">
            <a:spAutoFit/>
          </a:bodyPr>
          <a:lstStyle/>
          <a:p>
            <a:pPr fontAlgn="b">
              <a:spcBef>
                <a:spcPts val="300"/>
              </a:spcBef>
              <a:spcAft>
                <a:spcPts val="300"/>
              </a:spcAft>
            </a:pPr>
            <a:r>
              <a:rPr lang="en-GB" sz="1450" dirty="0">
                <a:solidFill>
                  <a:srgbClr val="09B89D"/>
                </a:solidFill>
                <a:latin typeface="Danske Human Medium Italic" panose="02000603050000020003" pitchFamily="2" charset="0"/>
              </a:rPr>
              <a:t>Palm Oil Production</a:t>
            </a:r>
          </a:p>
        </p:txBody>
      </p:sp>
      <p:sp>
        <p:nvSpPr>
          <p:cNvPr id="29" name="Rectangle 28"/>
          <p:cNvSpPr/>
          <p:nvPr/>
        </p:nvSpPr>
        <p:spPr>
          <a:xfrm>
            <a:off x="3776708" y="1233322"/>
            <a:ext cx="1452642" cy="307777"/>
          </a:xfrm>
          <a:prstGeom prst="rect">
            <a:avLst/>
          </a:prstGeom>
        </p:spPr>
        <p:txBody>
          <a:bodyPr wrap="none">
            <a:spAutoFit/>
          </a:bodyPr>
          <a:lstStyle/>
          <a:p>
            <a:pPr fontAlgn="b"/>
            <a:r>
              <a:rPr lang="en-GB" sz="1400" dirty="0">
                <a:solidFill>
                  <a:srgbClr val="09B89D"/>
                </a:solidFill>
                <a:latin typeface="Danske Human Medium Italic" panose="02000603050000020003" pitchFamily="2" charset="0"/>
              </a:rPr>
              <a:t>Green Financing</a:t>
            </a:r>
          </a:p>
        </p:txBody>
      </p:sp>
      <p:sp>
        <p:nvSpPr>
          <p:cNvPr id="30" name="Rectangle 29"/>
          <p:cNvSpPr/>
          <p:nvPr/>
        </p:nvSpPr>
        <p:spPr>
          <a:xfrm>
            <a:off x="2155624" y="5671144"/>
            <a:ext cx="1452642" cy="315471"/>
          </a:xfrm>
          <a:prstGeom prst="rect">
            <a:avLst/>
          </a:prstGeom>
        </p:spPr>
        <p:txBody>
          <a:bodyPr wrap="none">
            <a:spAutoFit/>
          </a:bodyPr>
          <a:lstStyle/>
          <a:p>
            <a:pPr fontAlgn="b">
              <a:spcBef>
                <a:spcPts val="300"/>
              </a:spcBef>
              <a:spcAft>
                <a:spcPts val="300"/>
              </a:spcAft>
            </a:pPr>
            <a:r>
              <a:rPr lang="en-GB" sz="1450" dirty="0">
                <a:solidFill>
                  <a:srgbClr val="09B89D"/>
                </a:solidFill>
                <a:latin typeface="Danske Human Medium Italic" panose="02000603050000020003" pitchFamily="2" charset="0"/>
              </a:rPr>
              <a:t>Green Buildings</a:t>
            </a:r>
          </a:p>
        </p:txBody>
      </p:sp>
      <p:sp>
        <p:nvSpPr>
          <p:cNvPr id="31" name="Rectangle 30"/>
          <p:cNvSpPr/>
          <p:nvPr/>
        </p:nvSpPr>
        <p:spPr>
          <a:xfrm>
            <a:off x="546780" y="4682243"/>
            <a:ext cx="1406154" cy="315471"/>
          </a:xfrm>
          <a:prstGeom prst="rect">
            <a:avLst/>
          </a:prstGeom>
        </p:spPr>
        <p:txBody>
          <a:bodyPr wrap="none">
            <a:spAutoFit/>
          </a:bodyPr>
          <a:lstStyle/>
          <a:p>
            <a:pPr fontAlgn="b">
              <a:spcBef>
                <a:spcPts val="300"/>
              </a:spcBef>
              <a:spcAft>
                <a:spcPts val="300"/>
              </a:spcAft>
            </a:pPr>
            <a:r>
              <a:rPr lang="en-GB" sz="1450" dirty="0">
                <a:solidFill>
                  <a:srgbClr val="09B89D"/>
                </a:solidFill>
                <a:latin typeface="Danske Human Medium Italic" panose="02000603050000020003" pitchFamily="2" charset="0"/>
              </a:rPr>
              <a:t>GHG Emissions</a:t>
            </a:r>
          </a:p>
        </p:txBody>
      </p:sp>
      <p:sp>
        <p:nvSpPr>
          <p:cNvPr id="97" name="Rectangle 96"/>
          <p:cNvSpPr/>
          <p:nvPr/>
        </p:nvSpPr>
        <p:spPr>
          <a:xfrm>
            <a:off x="6483692" y="5603452"/>
            <a:ext cx="2350323" cy="315471"/>
          </a:xfrm>
          <a:prstGeom prst="rect">
            <a:avLst/>
          </a:prstGeom>
        </p:spPr>
        <p:txBody>
          <a:bodyPr wrap="none">
            <a:spAutoFit/>
          </a:bodyPr>
          <a:lstStyle/>
          <a:p>
            <a:pPr fontAlgn="b">
              <a:spcBef>
                <a:spcPts val="300"/>
              </a:spcBef>
              <a:spcAft>
                <a:spcPts val="300"/>
              </a:spcAft>
            </a:pPr>
            <a:r>
              <a:rPr lang="en-GB" sz="1450" dirty="0" smtClean="0">
                <a:solidFill>
                  <a:srgbClr val="09B89D"/>
                </a:solidFill>
                <a:latin typeface="Danske Human Medium Italic" panose="02000603050000020003" pitchFamily="2" charset="0"/>
              </a:rPr>
              <a:t>ESG Issues In Fish Farming</a:t>
            </a:r>
            <a:endParaRPr lang="en-GB" sz="1450" dirty="0">
              <a:solidFill>
                <a:srgbClr val="09B89D"/>
              </a:solidFill>
              <a:latin typeface="Danske Human Medium Italic" panose="02000603050000020003" pitchFamily="2" charset="0"/>
            </a:endParaRPr>
          </a:p>
        </p:txBody>
      </p:sp>
      <p:sp>
        <p:nvSpPr>
          <p:cNvPr id="98" name="Rectangle 97"/>
          <p:cNvSpPr/>
          <p:nvPr/>
        </p:nvSpPr>
        <p:spPr>
          <a:xfrm>
            <a:off x="41868" y="3443425"/>
            <a:ext cx="2404826" cy="307777"/>
          </a:xfrm>
          <a:prstGeom prst="rect">
            <a:avLst/>
          </a:prstGeom>
        </p:spPr>
        <p:txBody>
          <a:bodyPr wrap="none">
            <a:spAutoFit/>
          </a:bodyPr>
          <a:lstStyle/>
          <a:p>
            <a:pPr fontAlgn="b"/>
            <a:r>
              <a:rPr lang="en-GB" sz="1400" dirty="0">
                <a:solidFill>
                  <a:srgbClr val="09B89D"/>
                </a:solidFill>
                <a:latin typeface="Danske Human Medium Italic" panose="02000603050000020003" pitchFamily="2" charset="0"/>
              </a:rPr>
              <a:t>Environmental Supply Chain</a:t>
            </a:r>
          </a:p>
        </p:txBody>
      </p:sp>
      <p:sp>
        <p:nvSpPr>
          <p:cNvPr id="99" name="Rectangle 98"/>
          <p:cNvSpPr/>
          <p:nvPr/>
        </p:nvSpPr>
        <p:spPr>
          <a:xfrm>
            <a:off x="7157508" y="2278284"/>
            <a:ext cx="1955985" cy="315471"/>
          </a:xfrm>
          <a:prstGeom prst="rect">
            <a:avLst/>
          </a:prstGeom>
        </p:spPr>
        <p:txBody>
          <a:bodyPr wrap="none">
            <a:spAutoFit/>
          </a:bodyPr>
          <a:lstStyle/>
          <a:p>
            <a:pPr fontAlgn="b">
              <a:spcBef>
                <a:spcPts val="300"/>
              </a:spcBef>
              <a:spcAft>
                <a:spcPts val="300"/>
              </a:spcAft>
            </a:pPr>
            <a:r>
              <a:rPr lang="en-GB" sz="1450" dirty="0">
                <a:solidFill>
                  <a:schemeClr val="accent2"/>
                </a:solidFill>
                <a:latin typeface="Danske Human Medium Italic" panose="02000603050000020003" pitchFamily="2" charset="0"/>
              </a:rPr>
              <a:t>Access &amp; Affordability</a:t>
            </a:r>
          </a:p>
        </p:txBody>
      </p:sp>
      <p:sp>
        <p:nvSpPr>
          <p:cNvPr id="100" name="Rectangle 99"/>
          <p:cNvSpPr/>
          <p:nvPr/>
        </p:nvSpPr>
        <p:spPr>
          <a:xfrm>
            <a:off x="6485041" y="4638455"/>
            <a:ext cx="1454244" cy="315471"/>
          </a:xfrm>
          <a:prstGeom prst="rect">
            <a:avLst/>
          </a:prstGeom>
        </p:spPr>
        <p:txBody>
          <a:bodyPr wrap="none">
            <a:spAutoFit/>
          </a:bodyPr>
          <a:lstStyle/>
          <a:p>
            <a:pPr fontAlgn="b">
              <a:spcBef>
                <a:spcPts val="300"/>
              </a:spcBef>
              <a:spcAft>
                <a:spcPts val="300"/>
              </a:spcAft>
            </a:pPr>
            <a:r>
              <a:rPr lang="en-GB" sz="1450" dirty="0">
                <a:solidFill>
                  <a:schemeClr val="accent2"/>
                </a:solidFill>
                <a:latin typeface="Danske Human Medium Italic" panose="02000603050000020003" pitchFamily="2" charset="0"/>
              </a:rPr>
              <a:t>Animal Welfare</a:t>
            </a:r>
          </a:p>
        </p:txBody>
      </p:sp>
      <p:sp>
        <p:nvSpPr>
          <p:cNvPr id="101" name="Rectangle 100"/>
          <p:cNvSpPr/>
          <p:nvPr/>
        </p:nvSpPr>
        <p:spPr>
          <a:xfrm>
            <a:off x="9508256" y="4805264"/>
            <a:ext cx="2236510" cy="315471"/>
          </a:xfrm>
          <a:prstGeom prst="rect">
            <a:avLst/>
          </a:prstGeom>
        </p:spPr>
        <p:txBody>
          <a:bodyPr wrap="none">
            <a:spAutoFit/>
          </a:bodyPr>
          <a:lstStyle/>
          <a:p>
            <a:pPr fontAlgn="b">
              <a:spcBef>
                <a:spcPts val="300"/>
              </a:spcBef>
              <a:spcAft>
                <a:spcPts val="300"/>
              </a:spcAft>
            </a:pPr>
            <a:r>
              <a:rPr lang="en-GB" sz="1450" dirty="0">
                <a:solidFill>
                  <a:schemeClr val="accent2"/>
                </a:solidFill>
                <a:latin typeface="Danske Human Medium Italic" panose="02000603050000020003" pitchFamily="2" charset="0"/>
              </a:rPr>
              <a:t>Business Model Resilience</a:t>
            </a:r>
          </a:p>
        </p:txBody>
      </p:sp>
      <p:sp>
        <p:nvSpPr>
          <p:cNvPr id="102" name="Rectangle 101"/>
          <p:cNvSpPr/>
          <p:nvPr/>
        </p:nvSpPr>
        <p:spPr>
          <a:xfrm>
            <a:off x="10336589" y="4211360"/>
            <a:ext cx="1803699" cy="315471"/>
          </a:xfrm>
          <a:prstGeom prst="rect">
            <a:avLst/>
          </a:prstGeom>
        </p:spPr>
        <p:txBody>
          <a:bodyPr wrap="none">
            <a:spAutoFit/>
          </a:bodyPr>
          <a:lstStyle/>
          <a:p>
            <a:pPr fontAlgn="b">
              <a:spcBef>
                <a:spcPts val="300"/>
              </a:spcBef>
              <a:spcAft>
                <a:spcPts val="300"/>
              </a:spcAft>
            </a:pPr>
            <a:r>
              <a:rPr lang="en-GB" sz="1450" dirty="0">
                <a:solidFill>
                  <a:schemeClr val="accent2"/>
                </a:solidFill>
                <a:latin typeface="Danske Human Medium Italic" panose="02000603050000020003" pitchFamily="2" charset="0"/>
              </a:rPr>
              <a:t>Customer Education</a:t>
            </a:r>
          </a:p>
        </p:txBody>
      </p:sp>
      <p:sp>
        <p:nvSpPr>
          <p:cNvPr id="103" name="Rectangle 102"/>
          <p:cNvSpPr/>
          <p:nvPr/>
        </p:nvSpPr>
        <p:spPr>
          <a:xfrm>
            <a:off x="9037796" y="1899705"/>
            <a:ext cx="1588897" cy="315471"/>
          </a:xfrm>
          <a:prstGeom prst="rect">
            <a:avLst/>
          </a:prstGeom>
        </p:spPr>
        <p:txBody>
          <a:bodyPr wrap="none">
            <a:spAutoFit/>
          </a:bodyPr>
          <a:lstStyle/>
          <a:p>
            <a:pPr fontAlgn="b">
              <a:spcBef>
                <a:spcPts val="300"/>
              </a:spcBef>
              <a:spcAft>
                <a:spcPts val="300"/>
              </a:spcAft>
            </a:pPr>
            <a:r>
              <a:rPr lang="en-GB" sz="1450" dirty="0">
                <a:solidFill>
                  <a:schemeClr val="accent2"/>
                </a:solidFill>
                <a:latin typeface="Danske Human Medium Italic" panose="02000603050000020003" pitchFamily="2" charset="0"/>
              </a:rPr>
              <a:t>Customer Privacy</a:t>
            </a:r>
          </a:p>
        </p:txBody>
      </p:sp>
      <p:sp>
        <p:nvSpPr>
          <p:cNvPr id="104" name="Rectangle 103"/>
          <p:cNvSpPr/>
          <p:nvPr/>
        </p:nvSpPr>
        <p:spPr>
          <a:xfrm>
            <a:off x="169770" y="3139590"/>
            <a:ext cx="1569660" cy="307777"/>
          </a:xfrm>
          <a:prstGeom prst="rect">
            <a:avLst/>
          </a:prstGeom>
        </p:spPr>
        <p:txBody>
          <a:bodyPr wrap="none">
            <a:spAutoFit/>
          </a:bodyPr>
          <a:lstStyle/>
          <a:p>
            <a:pPr fontAlgn="b">
              <a:spcBef>
                <a:spcPts val="300"/>
              </a:spcBef>
              <a:spcAft>
                <a:spcPts val="300"/>
              </a:spcAft>
            </a:pPr>
            <a:r>
              <a:rPr lang="en-GB" sz="1400" dirty="0">
                <a:solidFill>
                  <a:schemeClr val="accent2"/>
                </a:solidFill>
                <a:latin typeface="Danske Human Medium Italic" panose="02000603050000020003" pitchFamily="2" charset="0"/>
              </a:rPr>
              <a:t>Customer Welfare</a:t>
            </a:r>
          </a:p>
        </p:txBody>
      </p:sp>
      <p:sp>
        <p:nvSpPr>
          <p:cNvPr id="105" name="Rectangle 104"/>
          <p:cNvSpPr/>
          <p:nvPr/>
        </p:nvSpPr>
        <p:spPr>
          <a:xfrm>
            <a:off x="6375082" y="1448976"/>
            <a:ext cx="1273105" cy="315471"/>
          </a:xfrm>
          <a:prstGeom prst="rect">
            <a:avLst/>
          </a:prstGeom>
        </p:spPr>
        <p:txBody>
          <a:bodyPr wrap="none">
            <a:spAutoFit/>
          </a:bodyPr>
          <a:lstStyle/>
          <a:p>
            <a:pPr fontAlgn="b">
              <a:spcBef>
                <a:spcPts val="300"/>
              </a:spcBef>
              <a:spcAft>
                <a:spcPts val="300"/>
              </a:spcAft>
            </a:pPr>
            <a:r>
              <a:rPr lang="en-GB" sz="1450" dirty="0">
                <a:solidFill>
                  <a:schemeClr val="accent2"/>
                </a:solidFill>
                <a:latin typeface="Danske Human Medium Italic" panose="02000603050000020003" pitchFamily="2" charset="0"/>
              </a:rPr>
              <a:t>Data Security</a:t>
            </a:r>
          </a:p>
        </p:txBody>
      </p:sp>
      <p:sp>
        <p:nvSpPr>
          <p:cNvPr id="106" name="Rectangle 105"/>
          <p:cNvSpPr/>
          <p:nvPr/>
        </p:nvSpPr>
        <p:spPr>
          <a:xfrm>
            <a:off x="2787881" y="5966623"/>
            <a:ext cx="2845651" cy="315471"/>
          </a:xfrm>
          <a:prstGeom prst="rect">
            <a:avLst/>
          </a:prstGeom>
        </p:spPr>
        <p:txBody>
          <a:bodyPr wrap="none">
            <a:spAutoFit/>
          </a:bodyPr>
          <a:lstStyle/>
          <a:p>
            <a:pPr fontAlgn="b">
              <a:spcBef>
                <a:spcPts val="300"/>
              </a:spcBef>
              <a:spcAft>
                <a:spcPts val="300"/>
              </a:spcAft>
            </a:pPr>
            <a:r>
              <a:rPr lang="en-GB" sz="1450" dirty="0">
                <a:solidFill>
                  <a:schemeClr val="accent2"/>
                </a:solidFill>
                <a:latin typeface="Danske Human Medium Italic" panose="02000603050000020003" pitchFamily="2" charset="0"/>
              </a:rPr>
              <a:t>Decent Work &amp; Economic Growth</a:t>
            </a:r>
          </a:p>
        </p:txBody>
      </p:sp>
      <p:sp>
        <p:nvSpPr>
          <p:cNvPr id="108" name="Rectangle 107"/>
          <p:cNvSpPr/>
          <p:nvPr/>
        </p:nvSpPr>
        <p:spPr>
          <a:xfrm>
            <a:off x="4553121" y="3550437"/>
            <a:ext cx="3716082" cy="315471"/>
          </a:xfrm>
          <a:prstGeom prst="rect">
            <a:avLst/>
          </a:prstGeom>
        </p:spPr>
        <p:txBody>
          <a:bodyPr wrap="none">
            <a:spAutoFit/>
          </a:bodyPr>
          <a:lstStyle/>
          <a:p>
            <a:pPr fontAlgn="b">
              <a:spcBef>
                <a:spcPts val="300"/>
              </a:spcBef>
              <a:spcAft>
                <a:spcPts val="300"/>
              </a:spcAft>
            </a:pPr>
            <a:r>
              <a:rPr lang="en-GB" sz="1450" dirty="0">
                <a:solidFill>
                  <a:schemeClr val="accent2"/>
                </a:solidFill>
                <a:latin typeface="Danske Human Medium Italic" panose="02000603050000020003" pitchFamily="2" charset="0"/>
              </a:rPr>
              <a:t>Employee Engagement, Diversity &amp; Inclusion</a:t>
            </a:r>
          </a:p>
        </p:txBody>
      </p:sp>
      <p:sp>
        <p:nvSpPr>
          <p:cNvPr id="109" name="Rectangle 108"/>
          <p:cNvSpPr/>
          <p:nvPr/>
        </p:nvSpPr>
        <p:spPr>
          <a:xfrm>
            <a:off x="8838593" y="5211159"/>
            <a:ext cx="2266967" cy="315471"/>
          </a:xfrm>
          <a:prstGeom prst="rect">
            <a:avLst/>
          </a:prstGeom>
        </p:spPr>
        <p:txBody>
          <a:bodyPr wrap="none">
            <a:spAutoFit/>
          </a:bodyPr>
          <a:lstStyle/>
          <a:p>
            <a:pPr fontAlgn="b">
              <a:spcBef>
                <a:spcPts val="300"/>
              </a:spcBef>
              <a:spcAft>
                <a:spcPts val="300"/>
              </a:spcAft>
            </a:pPr>
            <a:r>
              <a:rPr lang="en-GB" sz="1450" dirty="0">
                <a:solidFill>
                  <a:schemeClr val="accent2"/>
                </a:solidFill>
                <a:latin typeface="Danske Human Medium Italic" panose="02000603050000020003" pitchFamily="2" charset="0"/>
              </a:rPr>
              <a:t>Employee Health &amp; Safety</a:t>
            </a:r>
          </a:p>
        </p:txBody>
      </p:sp>
      <p:sp>
        <p:nvSpPr>
          <p:cNvPr id="110" name="Rectangle 109"/>
          <p:cNvSpPr/>
          <p:nvPr/>
        </p:nvSpPr>
        <p:spPr>
          <a:xfrm>
            <a:off x="3836885" y="2347085"/>
            <a:ext cx="1755609" cy="315471"/>
          </a:xfrm>
          <a:prstGeom prst="rect">
            <a:avLst/>
          </a:prstGeom>
        </p:spPr>
        <p:txBody>
          <a:bodyPr wrap="none">
            <a:spAutoFit/>
          </a:bodyPr>
          <a:lstStyle/>
          <a:p>
            <a:pPr fontAlgn="b">
              <a:spcBef>
                <a:spcPts val="300"/>
              </a:spcBef>
              <a:spcAft>
                <a:spcPts val="300"/>
              </a:spcAft>
            </a:pPr>
            <a:r>
              <a:rPr lang="en-GB" sz="1450" dirty="0">
                <a:solidFill>
                  <a:schemeClr val="accent2"/>
                </a:solidFill>
                <a:latin typeface="Danske Human Medium Italic" panose="02000603050000020003" pitchFamily="2" charset="0"/>
              </a:rPr>
              <a:t>Employee Retention</a:t>
            </a:r>
          </a:p>
        </p:txBody>
      </p:sp>
      <p:sp>
        <p:nvSpPr>
          <p:cNvPr id="121" name="Rectangle 120"/>
          <p:cNvSpPr/>
          <p:nvPr/>
        </p:nvSpPr>
        <p:spPr>
          <a:xfrm>
            <a:off x="3962650" y="3017475"/>
            <a:ext cx="1124026" cy="315471"/>
          </a:xfrm>
          <a:prstGeom prst="rect">
            <a:avLst/>
          </a:prstGeom>
        </p:spPr>
        <p:txBody>
          <a:bodyPr wrap="none">
            <a:spAutoFit/>
          </a:bodyPr>
          <a:lstStyle/>
          <a:p>
            <a:pPr fontAlgn="b">
              <a:spcBef>
                <a:spcPts val="300"/>
              </a:spcBef>
              <a:spcAft>
                <a:spcPts val="300"/>
              </a:spcAft>
            </a:pPr>
            <a:r>
              <a:rPr lang="en-GB" sz="1450" dirty="0">
                <a:solidFill>
                  <a:schemeClr val="accent2"/>
                </a:solidFill>
                <a:latin typeface="Danske Human Medium Italic" panose="02000603050000020003" pitchFamily="2" charset="0"/>
              </a:rPr>
              <a:t>Food Safety</a:t>
            </a:r>
          </a:p>
        </p:txBody>
      </p:sp>
      <p:sp>
        <p:nvSpPr>
          <p:cNvPr id="122" name="Rectangle 121"/>
          <p:cNvSpPr/>
          <p:nvPr/>
        </p:nvSpPr>
        <p:spPr>
          <a:xfrm>
            <a:off x="8949741" y="3486467"/>
            <a:ext cx="3299301" cy="315471"/>
          </a:xfrm>
          <a:prstGeom prst="rect">
            <a:avLst/>
          </a:prstGeom>
        </p:spPr>
        <p:txBody>
          <a:bodyPr wrap="none">
            <a:spAutoFit/>
          </a:bodyPr>
          <a:lstStyle/>
          <a:p>
            <a:pPr fontAlgn="b">
              <a:spcBef>
                <a:spcPts val="300"/>
              </a:spcBef>
              <a:spcAft>
                <a:spcPts val="300"/>
              </a:spcAft>
            </a:pPr>
            <a:r>
              <a:rPr lang="en-GB" sz="1450" dirty="0">
                <a:solidFill>
                  <a:schemeClr val="accent2"/>
                </a:solidFill>
                <a:latin typeface="Danske Human Medium Italic" panose="02000603050000020003" pitchFamily="2" charset="0"/>
              </a:rPr>
              <a:t>Human Rights &amp; Community Relations</a:t>
            </a:r>
          </a:p>
        </p:txBody>
      </p:sp>
      <p:sp>
        <p:nvSpPr>
          <p:cNvPr id="123" name="Rectangle 122"/>
          <p:cNvSpPr/>
          <p:nvPr/>
        </p:nvSpPr>
        <p:spPr>
          <a:xfrm>
            <a:off x="5063504" y="3995275"/>
            <a:ext cx="1601721" cy="315471"/>
          </a:xfrm>
          <a:prstGeom prst="rect">
            <a:avLst/>
          </a:prstGeom>
        </p:spPr>
        <p:txBody>
          <a:bodyPr wrap="none">
            <a:spAutoFit/>
          </a:bodyPr>
          <a:lstStyle/>
          <a:p>
            <a:pPr fontAlgn="b">
              <a:spcBef>
                <a:spcPts val="300"/>
              </a:spcBef>
              <a:spcAft>
                <a:spcPts val="300"/>
              </a:spcAft>
            </a:pPr>
            <a:r>
              <a:rPr lang="en-GB" sz="1450" dirty="0">
                <a:solidFill>
                  <a:schemeClr val="accent2"/>
                </a:solidFill>
                <a:latin typeface="Danske Human Medium Italic" panose="02000603050000020003" pitchFamily="2" charset="0"/>
              </a:rPr>
              <a:t>Indigenous Rights</a:t>
            </a:r>
          </a:p>
        </p:txBody>
      </p:sp>
      <p:sp>
        <p:nvSpPr>
          <p:cNvPr id="124" name="Rectangle 123"/>
          <p:cNvSpPr/>
          <p:nvPr/>
        </p:nvSpPr>
        <p:spPr>
          <a:xfrm>
            <a:off x="1701313" y="3631809"/>
            <a:ext cx="2305439" cy="315471"/>
          </a:xfrm>
          <a:prstGeom prst="rect">
            <a:avLst/>
          </a:prstGeom>
        </p:spPr>
        <p:txBody>
          <a:bodyPr wrap="none">
            <a:spAutoFit/>
          </a:bodyPr>
          <a:lstStyle/>
          <a:p>
            <a:pPr fontAlgn="b">
              <a:spcBef>
                <a:spcPts val="300"/>
              </a:spcBef>
              <a:spcAft>
                <a:spcPts val="300"/>
              </a:spcAft>
            </a:pPr>
            <a:r>
              <a:rPr lang="en-GB" sz="1450" dirty="0">
                <a:solidFill>
                  <a:schemeClr val="accent2"/>
                </a:solidFill>
                <a:latin typeface="Danske Human Medium Italic" panose="02000603050000020003" pitchFamily="2" charset="0"/>
              </a:rPr>
              <a:t>Labor Standards/Practices</a:t>
            </a:r>
          </a:p>
        </p:txBody>
      </p:sp>
      <p:sp>
        <p:nvSpPr>
          <p:cNvPr id="125" name="Rectangle 124"/>
          <p:cNvSpPr/>
          <p:nvPr/>
        </p:nvSpPr>
        <p:spPr>
          <a:xfrm>
            <a:off x="942141" y="4951427"/>
            <a:ext cx="1747594" cy="315471"/>
          </a:xfrm>
          <a:prstGeom prst="rect">
            <a:avLst/>
          </a:prstGeom>
        </p:spPr>
        <p:txBody>
          <a:bodyPr wrap="none">
            <a:spAutoFit/>
          </a:bodyPr>
          <a:lstStyle/>
          <a:p>
            <a:pPr fontAlgn="b">
              <a:spcBef>
                <a:spcPts val="300"/>
              </a:spcBef>
              <a:spcAft>
                <a:spcPts val="300"/>
              </a:spcAft>
            </a:pPr>
            <a:r>
              <a:rPr lang="en-GB" sz="1450" dirty="0">
                <a:solidFill>
                  <a:schemeClr val="accent2"/>
                </a:solidFill>
                <a:latin typeface="Danske Human Medium Italic" panose="02000603050000020003" pitchFamily="2" charset="0"/>
              </a:rPr>
              <a:t>Personnel Turnover</a:t>
            </a:r>
          </a:p>
        </p:txBody>
      </p:sp>
      <p:sp>
        <p:nvSpPr>
          <p:cNvPr id="126" name="Rectangle 125"/>
          <p:cNvSpPr/>
          <p:nvPr/>
        </p:nvSpPr>
        <p:spPr>
          <a:xfrm>
            <a:off x="3130212" y="4813284"/>
            <a:ext cx="3408305" cy="315471"/>
          </a:xfrm>
          <a:prstGeom prst="rect">
            <a:avLst/>
          </a:prstGeom>
        </p:spPr>
        <p:txBody>
          <a:bodyPr wrap="none">
            <a:spAutoFit/>
          </a:bodyPr>
          <a:lstStyle/>
          <a:p>
            <a:pPr fontAlgn="b">
              <a:spcBef>
                <a:spcPts val="300"/>
              </a:spcBef>
              <a:spcAft>
                <a:spcPts val="300"/>
              </a:spcAft>
            </a:pPr>
            <a:r>
              <a:rPr lang="en-GB" sz="1450" dirty="0">
                <a:solidFill>
                  <a:schemeClr val="accent2"/>
                </a:solidFill>
                <a:latin typeface="Danske Human Medium Italic" panose="02000603050000020003" pitchFamily="2" charset="0"/>
              </a:rPr>
              <a:t>Product Design &amp; Lifecycle Management</a:t>
            </a:r>
          </a:p>
        </p:txBody>
      </p:sp>
      <p:sp>
        <p:nvSpPr>
          <p:cNvPr id="127" name="Rectangle 126"/>
          <p:cNvSpPr/>
          <p:nvPr/>
        </p:nvSpPr>
        <p:spPr>
          <a:xfrm>
            <a:off x="9993698" y="2732395"/>
            <a:ext cx="1879041" cy="315471"/>
          </a:xfrm>
          <a:prstGeom prst="rect">
            <a:avLst/>
          </a:prstGeom>
        </p:spPr>
        <p:txBody>
          <a:bodyPr wrap="none">
            <a:spAutoFit/>
          </a:bodyPr>
          <a:lstStyle/>
          <a:p>
            <a:pPr fontAlgn="b">
              <a:spcBef>
                <a:spcPts val="300"/>
              </a:spcBef>
              <a:spcAft>
                <a:spcPts val="300"/>
              </a:spcAft>
            </a:pPr>
            <a:r>
              <a:rPr lang="en-GB" sz="1450" dirty="0">
                <a:solidFill>
                  <a:schemeClr val="accent2"/>
                </a:solidFill>
                <a:latin typeface="Danske Human Medium Italic" panose="02000603050000020003" pitchFamily="2" charset="0"/>
              </a:rPr>
              <a:t>Product Development</a:t>
            </a:r>
          </a:p>
        </p:txBody>
      </p:sp>
      <p:sp>
        <p:nvSpPr>
          <p:cNvPr id="32" name="Rectangle 31"/>
          <p:cNvSpPr/>
          <p:nvPr/>
        </p:nvSpPr>
        <p:spPr>
          <a:xfrm>
            <a:off x="698855" y="2477423"/>
            <a:ext cx="2188420" cy="315471"/>
          </a:xfrm>
          <a:prstGeom prst="rect">
            <a:avLst/>
          </a:prstGeom>
        </p:spPr>
        <p:txBody>
          <a:bodyPr wrap="none">
            <a:spAutoFit/>
          </a:bodyPr>
          <a:lstStyle/>
          <a:p>
            <a:pPr fontAlgn="b">
              <a:spcBef>
                <a:spcPts val="300"/>
              </a:spcBef>
              <a:spcAft>
                <a:spcPts val="300"/>
              </a:spcAft>
            </a:pPr>
            <a:r>
              <a:rPr lang="en-GB" sz="1450" dirty="0">
                <a:solidFill>
                  <a:schemeClr val="accent2"/>
                </a:solidFill>
                <a:latin typeface="Danske Human Medium Italic" panose="02000603050000020003" pitchFamily="2" charset="0"/>
              </a:rPr>
              <a:t>Product Quality &amp; Safety</a:t>
            </a:r>
          </a:p>
        </p:txBody>
      </p:sp>
      <p:sp>
        <p:nvSpPr>
          <p:cNvPr id="33" name="Rectangle 32"/>
          <p:cNvSpPr/>
          <p:nvPr/>
        </p:nvSpPr>
        <p:spPr>
          <a:xfrm>
            <a:off x="7485615" y="1407970"/>
            <a:ext cx="1853392" cy="315471"/>
          </a:xfrm>
          <a:prstGeom prst="rect">
            <a:avLst/>
          </a:prstGeom>
        </p:spPr>
        <p:txBody>
          <a:bodyPr wrap="none">
            <a:spAutoFit/>
          </a:bodyPr>
          <a:lstStyle/>
          <a:p>
            <a:pPr fontAlgn="b">
              <a:spcBef>
                <a:spcPts val="300"/>
              </a:spcBef>
              <a:spcAft>
                <a:spcPts val="300"/>
              </a:spcAft>
            </a:pPr>
            <a:r>
              <a:rPr lang="en-GB" sz="1450" dirty="0">
                <a:solidFill>
                  <a:schemeClr val="accent2"/>
                </a:solidFill>
                <a:latin typeface="Danske Human Medium Italic" panose="02000603050000020003" pitchFamily="2" charset="0"/>
              </a:rPr>
              <a:t>Responsible Drinking</a:t>
            </a:r>
          </a:p>
        </p:txBody>
      </p:sp>
      <p:sp>
        <p:nvSpPr>
          <p:cNvPr id="35" name="Rectangle 34"/>
          <p:cNvSpPr/>
          <p:nvPr/>
        </p:nvSpPr>
        <p:spPr>
          <a:xfrm>
            <a:off x="60380" y="3979093"/>
            <a:ext cx="595035" cy="307777"/>
          </a:xfrm>
          <a:prstGeom prst="rect">
            <a:avLst/>
          </a:prstGeom>
        </p:spPr>
        <p:txBody>
          <a:bodyPr wrap="none">
            <a:spAutoFit/>
          </a:bodyPr>
          <a:lstStyle/>
          <a:p>
            <a:r>
              <a:rPr lang="en-GB" sz="1400" dirty="0">
                <a:solidFill>
                  <a:schemeClr val="accent2"/>
                </a:solidFill>
                <a:latin typeface="Danske Human Medium Italic" panose="02000603050000020003" pitchFamily="2" charset="0"/>
              </a:rPr>
              <a:t>SDGs</a:t>
            </a:r>
            <a:endParaRPr lang="en-GB" sz="1400" dirty="0"/>
          </a:p>
        </p:txBody>
      </p:sp>
      <p:sp>
        <p:nvSpPr>
          <p:cNvPr id="36" name="Rectangle 35"/>
          <p:cNvSpPr/>
          <p:nvPr/>
        </p:nvSpPr>
        <p:spPr>
          <a:xfrm>
            <a:off x="6963757" y="5831447"/>
            <a:ext cx="3054041" cy="315471"/>
          </a:xfrm>
          <a:prstGeom prst="rect">
            <a:avLst/>
          </a:prstGeom>
        </p:spPr>
        <p:txBody>
          <a:bodyPr wrap="none">
            <a:spAutoFit/>
          </a:bodyPr>
          <a:lstStyle/>
          <a:p>
            <a:pPr fontAlgn="b">
              <a:spcBef>
                <a:spcPts val="300"/>
              </a:spcBef>
              <a:spcAft>
                <a:spcPts val="300"/>
              </a:spcAft>
            </a:pPr>
            <a:r>
              <a:rPr lang="en-GB" sz="1450" dirty="0">
                <a:solidFill>
                  <a:schemeClr val="accent2"/>
                </a:solidFill>
                <a:latin typeface="Danske Human Medium Italic" panose="02000603050000020003" pitchFamily="2" charset="0"/>
              </a:rPr>
              <a:t>Selling Practices &amp; Product Labeling</a:t>
            </a:r>
          </a:p>
        </p:txBody>
      </p:sp>
      <p:sp>
        <p:nvSpPr>
          <p:cNvPr id="37" name="Rectangle 36"/>
          <p:cNvSpPr/>
          <p:nvPr/>
        </p:nvSpPr>
        <p:spPr>
          <a:xfrm>
            <a:off x="5130513" y="6337918"/>
            <a:ext cx="2353529" cy="315471"/>
          </a:xfrm>
          <a:prstGeom prst="rect">
            <a:avLst/>
          </a:prstGeom>
        </p:spPr>
        <p:txBody>
          <a:bodyPr wrap="none">
            <a:spAutoFit/>
          </a:bodyPr>
          <a:lstStyle/>
          <a:p>
            <a:pPr fontAlgn="b">
              <a:spcBef>
                <a:spcPts val="300"/>
              </a:spcBef>
              <a:spcAft>
                <a:spcPts val="300"/>
              </a:spcAft>
            </a:pPr>
            <a:r>
              <a:rPr lang="en-GB" sz="1450" dirty="0">
                <a:solidFill>
                  <a:schemeClr val="accent2"/>
                </a:solidFill>
                <a:latin typeface="Danske Human Medium Italic" panose="02000603050000020003" pitchFamily="2" charset="0"/>
              </a:rPr>
              <a:t>Supply Chain Management</a:t>
            </a:r>
          </a:p>
        </p:txBody>
      </p:sp>
      <p:sp>
        <p:nvSpPr>
          <p:cNvPr id="71" name="Rectangle 70"/>
          <p:cNvSpPr/>
          <p:nvPr/>
        </p:nvSpPr>
        <p:spPr>
          <a:xfrm>
            <a:off x="4106812" y="6197799"/>
            <a:ext cx="609462" cy="315471"/>
          </a:xfrm>
          <a:prstGeom prst="rect">
            <a:avLst/>
          </a:prstGeom>
        </p:spPr>
        <p:txBody>
          <a:bodyPr wrap="none">
            <a:spAutoFit/>
          </a:bodyPr>
          <a:lstStyle/>
          <a:p>
            <a:pPr>
              <a:spcBef>
                <a:spcPts val="300"/>
              </a:spcBef>
              <a:spcAft>
                <a:spcPts val="300"/>
              </a:spcAft>
            </a:pPr>
            <a:r>
              <a:rPr lang="en-GB" sz="1450" dirty="0">
                <a:solidFill>
                  <a:srgbClr val="09B89D"/>
                </a:solidFill>
                <a:latin typeface="Danske Human Medium Italic" panose="02000603050000020003" pitchFamily="2" charset="0"/>
              </a:rPr>
              <a:t>SDGs</a:t>
            </a:r>
            <a:endParaRPr lang="en-GB" sz="1450" dirty="0">
              <a:solidFill>
                <a:srgbClr val="09B89D"/>
              </a:solidFill>
            </a:endParaRPr>
          </a:p>
        </p:txBody>
      </p:sp>
      <p:sp>
        <p:nvSpPr>
          <p:cNvPr id="72" name="Rectangle 71"/>
          <p:cNvSpPr/>
          <p:nvPr/>
        </p:nvSpPr>
        <p:spPr>
          <a:xfrm>
            <a:off x="10502631" y="2154386"/>
            <a:ext cx="609462" cy="315471"/>
          </a:xfrm>
          <a:prstGeom prst="rect">
            <a:avLst/>
          </a:prstGeom>
        </p:spPr>
        <p:txBody>
          <a:bodyPr wrap="none">
            <a:spAutoFit/>
          </a:bodyPr>
          <a:lstStyle/>
          <a:p>
            <a:pPr>
              <a:spcBef>
                <a:spcPts val="300"/>
              </a:spcBef>
              <a:spcAft>
                <a:spcPts val="300"/>
              </a:spcAft>
            </a:pPr>
            <a:r>
              <a:rPr lang="en-GB" sz="1450" dirty="0">
                <a:solidFill>
                  <a:srgbClr val="00304A"/>
                </a:solidFill>
                <a:latin typeface="Danske Human Medium Italic" panose="02000603050000020003" pitchFamily="2" charset="0"/>
              </a:rPr>
              <a:t>SDGs</a:t>
            </a:r>
            <a:endParaRPr lang="en-GB" sz="1450" dirty="0">
              <a:solidFill>
                <a:srgbClr val="00304A"/>
              </a:solidFill>
            </a:endParaRPr>
          </a:p>
        </p:txBody>
      </p:sp>
      <p:sp>
        <p:nvSpPr>
          <p:cNvPr id="73" name="Rectangle 72"/>
          <p:cNvSpPr/>
          <p:nvPr/>
        </p:nvSpPr>
        <p:spPr>
          <a:xfrm>
            <a:off x="4431760" y="1769353"/>
            <a:ext cx="1263487" cy="315471"/>
          </a:xfrm>
          <a:prstGeom prst="rect">
            <a:avLst/>
          </a:prstGeom>
        </p:spPr>
        <p:txBody>
          <a:bodyPr wrap="none">
            <a:spAutoFit/>
          </a:bodyPr>
          <a:lstStyle/>
          <a:p>
            <a:pPr>
              <a:spcBef>
                <a:spcPts val="300"/>
              </a:spcBef>
              <a:spcAft>
                <a:spcPts val="300"/>
              </a:spcAft>
            </a:pPr>
            <a:r>
              <a:rPr lang="en-GB" sz="1450" dirty="0">
                <a:solidFill>
                  <a:srgbClr val="6DBACE"/>
                </a:solidFill>
                <a:latin typeface="Danske Human Medium Italic" panose="02000603050000020003" pitchFamily="2" charset="0"/>
              </a:rPr>
              <a:t>Digitalisation</a:t>
            </a:r>
            <a:endParaRPr lang="en-GB" sz="1450" dirty="0">
              <a:solidFill>
                <a:srgbClr val="6DBACE"/>
              </a:solidFill>
            </a:endParaRPr>
          </a:p>
        </p:txBody>
      </p:sp>
      <p:sp>
        <p:nvSpPr>
          <p:cNvPr id="38" name="Rectangle 37"/>
          <p:cNvSpPr/>
          <p:nvPr/>
        </p:nvSpPr>
        <p:spPr>
          <a:xfrm>
            <a:off x="5513644" y="3788642"/>
            <a:ext cx="1082348" cy="315471"/>
          </a:xfrm>
          <a:prstGeom prst="rect">
            <a:avLst/>
          </a:prstGeom>
        </p:spPr>
        <p:txBody>
          <a:bodyPr wrap="none">
            <a:spAutoFit/>
          </a:bodyPr>
          <a:lstStyle/>
          <a:p>
            <a:pPr>
              <a:spcBef>
                <a:spcPts val="300"/>
              </a:spcBef>
              <a:spcAft>
                <a:spcPts val="300"/>
              </a:spcAft>
            </a:pPr>
            <a:r>
              <a:rPr lang="en-GB" sz="1450" dirty="0">
                <a:solidFill>
                  <a:schemeClr val="dk2"/>
                </a:solidFill>
                <a:latin typeface="Danske Human Medium Italic" panose="02000603050000020003" pitchFamily="2" charset="0"/>
              </a:rPr>
              <a:t>Accounting</a:t>
            </a:r>
            <a:endParaRPr lang="en-GB" sz="1450" dirty="0"/>
          </a:p>
        </p:txBody>
      </p:sp>
      <p:sp>
        <p:nvSpPr>
          <p:cNvPr id="39" name="Rectangle 38"/>
          <p:cNvSpPr/>
          <p:nvPr/>
        </p:nvSpPr>
        <p:spPr>
          <a:xfrm>
            <a:off x="4846706" y="3293195"/>
            <a:ext cx="2098651"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AML Issues &amp; Handling</a:t>
            </a:r>
          </a:p>
        </p:txBody>
      </p:sp>
      <p:sp>
        <p:nvSpPr>
          <p:cNvPr id="40" name="Rectangle 39"/>
          <p:cNvSpPr/>
          <p:nvPr/>
        </p:nvSpPr>
        <p:spPr>
          <a:xfrm>
            <a:off x="256571" y="2813036"/>
            <a:ext cx="2956259"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Anti-Corruption Issues &amp; Handling</a:t>
            </a:r>
          </a:p>
        </p:txBody>
      </p:sp>
      <p:sp>
        <p:nvSpPr>
          <p:cNvPr id="41" name="Rectangle 40"/>
          <p:cNvSpPr/>
          <p:nvPr/>
        </p:nvSpPr>
        <p:spPr>
          <a:xfrm>
            <a:off x="1423278" y="5424000"/>
            <a:ext cx="3454792"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Anti-Trust Issues &amp; Competitive </a:t>
            </a:r>
            <a:r>
              <a:rPr lang="en-US" sz="1450" dirty="0" smtClean="0">
                <a:solidFill>
                  <a:schemeClr val="dk2"/>
                </a:solidFill>
                <a:latin typeface="Danske Human Medium Italic" panose="02000603050000020003" pitchFamily="2" charset="0"/>
              </a:rPr>
              <a:t>Behavior</a:t>
            </a:r>
            <a:endParaRPr lang="en-US" sz="1450" dirty="0">
              <a:solidFill>
                <a:schemeClr val="dk2"/>
              </a:solidFill>
              <a:latin typeface="Danske Human Medium Italic" panose="02000603050000020003" pitchFamily="2" charset="0"/>
            </a:endParaRPr>
          </a:p>
        </p:txBody>
      </p:sp>
      <p:sp>
        <p:nvSpPr>
          <p:cNvPr id="42" name="Rectangle 41"/>
          <p:cNvSpPr/>
          <p:nvPr/>
        </p:nvSpPr>
        <p:spPr>
          <a:xfrm>
            <a:off x="5555800" y="2399013"/>
            <a:ext cx="1710725"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Board Composition</a:t>
            </a:r>
          </a:p>
        </p:txBody>
      </p:sp>
      <p:sp>
        <p:nvSpPr>
          <p:cNvPr id="43" name="Rectangle 42"/>
          <p:cNvSpPr/>
          <p:nvPr/>
        </p:nvSpPr>
        <p:spPr>
          <a:xfrm>
            <a:off x="8106646" y="4727481"/>
            <a:ext cx="1601721"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Board Leadership</a:t>
            </a:r>
          </a:p>
        </p:txBody>
      </p:sp>
      <p:sp>
        <p:nvSpPr>
          <p:cNvPr id="44" name="Rectangle 43"/>
          <p:cNvSpPr/>
          <p:nvPr/>
        </p:nvSpPr>
        <p:spPr>
          <a:xfrm>
            <a:off x="4640448" y="5655176"/>
            <a:ext cx="1396536"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Business Ethics</a:t>
            </a:r>
          </a:p>
        </p:txBody>
      </p:sp>
      <p:sp>
        <p:nvSpPr>
          <p:cNvPr id="45" name="Rectangle 44"/>
          <p:cNvSpPr/>
          <p:nvPr/>
        </p:nvSpPr>
        <p:spPr>
          <a:xfrm>
            <a:off x="7192126" y="3381493"/>
            <a:ext cx="1553630"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Capital Structure</a:t>
            </a:r>
          </a:p>
        </p:txBody>
      </p:sp>
      <p:sp>
        <p:nvSpPr>
          <p:cNvPr id="47" name="Rectangle 46"/>
          <p:cNvSpPr/>
          <p:nvPr/>
        </p:nvSpPr>
        <p:spPr>
          <a:xfrm>
            <a:off x="2693121" y="2399013"/>
            <a:ext cx="1125629" cy="315471"/>
          </a:xfrm>
          <a:prstGeom prst="rect">
            <a:avLst/>
          </a:prstGeom>
        </p:spPr>
        <p:txBody>
          <a:bodyPr wrap="none">
            <a:spAutoFit/>
          </a:bodyPr>
          <a:lstStyle/>
          <a:p>
            <a:pPr>
              <a:spcBef>
                <a:spcPts val="300"/>
              </a:spcBef>
              <a:spcAft>
                <a:spcPts val="300"/>
              </a:spcAft>
            </a:pPr>
            <a:r>
              <a:rPr lang="en-GB" sz="1450" dirty="0">
                <a:solidFill>
                  <a:schemeClr val="dk2"/>
                </a:solidFill>
                <a:latin typeface="Danske Human Medium Italic" panose="02000603050000020003" pitchFamily="2" charset="0"/>
              </a:rPr>
              <a:t>Competence</a:t>
            </a:r>
            <a:endParaRPr lang="en-GB" sz="1450" dirty="0"/>
          </a:p>
        </p:txBody>
      </p:sp>
      <p:sp>
        <p:nvSpPr>
          <p:cNvPr id="48" name="Rectangle 47"/>
          <p:cNvSpPr/>
          <p:nvPr/>
        </p:nvSpPr>
        <p:spPr>
          <a:xfrm>
            <a:off x="6575390" y="3855321"/>
            <a:ext cx="1717137"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Incentive Programs</a:t>
            </a:r>
          </a:p>
        </p:txBody>
      </p:sp>
      <p:sp>
        <p:nvSpPr>
          <p:cNvPr id="49" name="Rectangle 48"/>
          <p:cNvSpPr/>
          <p:nvPr/>
        </p:nvSpPr>
        <p:spPr>
          <a:xfrm>
            <a:off x="6702700" y="4167634"/>
            <a:ext cx="643125" cy="315471"/>
          </a:xfrm>
          <a:prstGeom prst="rect">
            <a:avLst/>
          </a:prstGeom>
        </p:spPr>
        <p:txBody>
          <a:bodyPr wrap="none">
            <a:spAutoFit/>
          </a:bodyPr>
          <a:lstStyle/>
          <a:p>
            <a:pPr>
              <a:spcBef>
                <a:spcPts val="300"/>
              </a:spcBef>
              <a:spcAft>
                <a:spcPts val="300"/>
              </a:spcAft>
            </a:pPr>
            <a:r>
              <a:rPr lang="en-GB" sz="1450" dirty="0">
                <a:solidFill>
                  <a:schemeClr val="dk2"/>
                </a:solidFill>
                <a:latin typeface="Danske Human Medium Italic" panose="02000603050000020003" pitchFamily="2" charset="0"/>
              </a:rPr>
              <a:t>M&amp;A</a:t>
            </a:r>
            <a:endParaRPr lang="en-GB" sz="1450" dirty="0"/>
          </a:p>
        </p:txBody>
      </p:sp>
      <p:sp>
        <p:nvSpPr>
          <p:cNvPr id="50" name="Rectangle 49"/>
          <p:cNvSpPr/>
          <p:nvPr/>
        </p:nvSpPr>
        <p:spPr>
          <a:xfrm>
            <a:off x="3397111" y="4558168"/>
            <a:ext cx="2860078"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International Norms &amp; Principals</a:t>
            </a:r>
          </a:p>
        </p:txBody>
      </p:sp>
      <p:sp>
        <p:nvSpPr>
          <p:cNvPr id="51" name="Rectangle 50"/>
          <p:cNvSpPr/>
          <p:nvPr/>
        </p:nvSpPr>
        <p:spPr>
          <a:xfrm>
            <a:off x="2806642" y="1475878"/>
            <a:ext cx="2714205"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Materials Sourcing &amp; Efficiency</a:t>
            </a:r>
          </a:p>
        </p:txBody>
      </p:sp>
      <p:sp>
        <p:nvSpPr>
          <p:cNvPr id="52" name="Rectangle 51"/>
          <p:cNvSpPr/>
          <p:nvPr/>
        </p:nvSpPr>
        <p:spPr>
          <a:xfrm>
            <a:off x="10570596" y="2500464"/>
            <a:ext cx="992579"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Future Fit</a:t>
            </a:r>
          </a:p>
        </p:txBody>
      </p:sp>
      <p:sp>
        <p:nvSpPr>
          <p:cNvPr id="53" name="Rectangle 52"/>
          <p:cNvSpPr/>
          <p:nvPr/>
        </p:nvSpPr>
        <p:spPr>
          <a:xfrm>
            <a:off x="7796619" y="3125435"/>
            <a:ext cx="1947969"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Financial </a:t>
            </a:r>
            <a:r>
              <a:rPr lang="en-GB" sz="1450" dirty="0" smtClean="0">
                <a:solidFill>
                  <a:schemeClr val="dk2"/>
                </a:solidFill>
                <a:latin typeface="Danske Human Medium Italic" panose="02000603050000020003" pitchFamily="2" charset="0"/>
              </a:rPr>
              <a:t>Accessibility</a:t>
            </a:r>
            <a:endParaRPr lang="en-GB" sz="1450" dirty="0">
              <a:solidFill>
                <a:schemeClr val="dk2"/>
              </a:solidFill>
              <a:latin typeface="Danske Human Medium Italic" panose="02000603050000020003" pitchFamily="2" charset="0"/>
            </a:endParaRPr>
          </a:p>
        </p:txBody>
      </p:sp>
      <p:sp>
        <p:nvSpPr>
          <p:cNvPr id="54" name="Rectangle 53"/>
          <p:cNvSpPr/>
          <p:nvPr/>
        </p:nvSpPr>
        <p:spPr>
          <a:xfrm>
            <a:off x="7058764" y="2605538"/>
            <a:ext cx="1975221"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Executive Composition</a:t>
            </a:r>
          </a:p>
        </p:txBody>
      </p:sp>
      <p:sp>
        <p:nvSpPr>
          <p:cNvPr id="55" name="Rectangle 54"/>
          <p:cNvSpPr/>
          <p:nvPr/>
        </p:nvSpPr>
        <p:spPr>
          <a:xfrm>
            <a:off x="4215667" y="4242345"/>
            <a:ext cx="2124299"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Executive Compensation</a:t>
            </a:r>
          </a:p>
        </p:txBody>
      </p:sp>
      <p:sp>
        <p:nvSpPr>
          <p:cNvPr id="56" name="Rectangle 55"/>
          <p:cNvSpPr/>
          <p:nvPr/>
        </p:nvSpPr>
        <p:spPr>
          <a:xfrm>
            <a:off x="5546950" y="5966623"/>
            <a:ext cx="1460656"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ESG Integration</a:t>
            </a:r>
          </a:p>
        </p:txBody>
      </p:sp>
      <p:sp>
        <p:nvSpPr>
          <p:cNvPr id="57" name="Rectangle 56"/>
          <p:cNvSpPr/>
          <p:nvPr/>
        </p:nvSpPr>
        <p:spPr>
          <a:xfrm>
            <a:off x="3178519" y="2715444"/>
            <a:ext cx="978153" cy="315471"/>
          </a:xfrm>
          <a:prstGeom prst="rect">
            <a:avLst/>
          </a:prstGeom>
        </p:spPr>
        <p:txBody>
          <a:bodyPr wrap="none">
            <a:spAutoFit/>
          </a:bodyPr>
          <a:lstStyle/>
          <a:p>
            <a:pPr>
              <a:spcBef>
                <a:spcPts val="300"/>
              </a:spcBef>
              <a:spcAft>
                <a:spcPts val="300"/>
              </a:spcAft>
            </a:pPr>
            <a:r>
              <a:rPr lang="en-GB" sz="1450" dirty="0">
                <a:solidFill>
                  <a:schemeClr val="dk2"/>
                </a:solidFill>
                <a:latin typeface="Danske Human Medium Italic" panose="02000603050000020003" pitchFamily="2" charset="0"/>
              </a:rPr>
              <a:t>Dividends</a:t>
            </a:r>
            <a:endParaRPr lang="en-GB" sz="1450" dirty="0"/>
          </a:p>
        </p:txBody>
      </p:sp>
      <p:sp>
        <p:nvSpPr>
          <p:cNvPr id="58" name="Rectangle 57"/>
          <p:cNvSpPr/>
          <p:nvPr/>
        </p:nvSpPr>
        <p:spPr>
          <a:xfrm>
            <a:off x="5230217" y="1319773"/>
            <a:ext cx="1239442"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Data Privacy</a:t>
            </a:r>
          </a:p>
        </p:txBody>
      </p:sp>
      <p:sp>
        <p:nvSpPr>
          <p:cNvPr id="59" name="Rectangle 58"/>
          <p:cNvSpPr/>
          <p:nvPr/>
        </p:nvSpPr>
        <p:spPr>
          <a:xfrm>
            <a:off x="4967999" y="2890810"/>
            <a:ext cx="2964273"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Critical Incident Risk Management</a:t>
            </a:r>
          </a:p>
        </p:txBody>
      </p:sp>
      <p:sp>
        <p:nvSpPr>
          <p:cNvPr id="60" name="Rectangle 59"/>
          <p:cNvSpPr/>
          <p:nvPr/>
        </p:nvSpPr>
        <p:spPr>
          <a:xfrm>
            <a:off x="6780428" y="5353839"/>
            <a:ext cx="1960793"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Corporate Governance</a:t>
            </a:r>
          </a:p>
        </p:txBody>
      </p:sp>
      <p:sp>
        <p:nvSpPr>
          <p:cNvPr id="62" name="Rectangle 61"/>
          <p:cNvSpPr/>
          <p:nvPr/>
        </p:nvSpPr>
        <p:spPr>
          <a:xfrm>
            <a:off x="4669750" y="5080617"/>
            <a:ext cx="1747594"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Corporate </a:t>
            </a:r>
            <a:r>
              <a:rPr lang="en-GB" sz="1450" dirty="0" err="1">
                <a:solidFill>
                  <a:schemeClr val="dk2"/>
                </a:solidFill>
                <a:latin typeface="Danske Human Medium Italic" panose="02000603050000020003" pitchFamily="2" charset="0"/>
              </a:rPr>
              <a:t>Behavior</a:t>
            </a:r>
            <a:endParaRPr lang="en-GB" sz="1450" dirty="0">
              <a:solidFill>
                <a:schemeClr val="dk2"/>
              </a:solidFill>
              <a:latin typeface="Danske Human Medium Italic" panose="02000603050000020003" pitchFamily="2" charset="0"/>
            </a:endParaRPr>
          </a:p>
        </p:txBody>
      </p:sp>
      <p:sp>
        <p:nvSpPr>
          <p:cNvPr id="63" name="Rectangle 62"/>
          <p:cNvSpPr/>
          <p:nvPr/>
        </p:nvSpPr>
        <p:spPr>
          <a:xfrm>
            <a:off x="1609950" y="1887464"/>
            <a:ext cx="2026517"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Compliance Procedures</a:t>
            </a:r>
          </a:p>
        </p:txBody>
      </p:sp>
      <p:sp>
        <p:nvSpPr>
          <p:cNvPr id="64" name="Rectangle 63"/>
          <p:cNvSpPr/>
          <p:nvPr/>
        </p:nvSpPr>
        <p:spPr>
          <a:xfrm>
            <a:off x="1875966" y="4606649"/>
            <a:ext cx="1274708" cy="315471"/>
          </a:xfrm>
          <a:prstGeom prst="rect">
            <a:avLst/>
          </a:prstGeom>
        </p:spPr>
        <p:txBody>
          <a:bodyPr wrap="none">
            <a:spAutoFit/>
          </a:bodyPr>
          <a:lstStyle/>
          <a:p>
            <a:pPr>
              <a:spcBef>
                <a:spcPts val="300"/>
              </a:spcBef>
              <a:spcAft>
                <a:spcPts val="300"/>
              </a:spcAft>
            </a:pPr>
            <a:r>
              <a:rPr lang="en-GB" sz="1450" dirty="0">
                <a:solidFill>
                  <a:schemeClr val="dk2"/>
                </a:solidFill>
                <a:latin typeface="Danske Human Medium Italic" panose="02000603050000020003" pitchFamily="2" charset="0"/>
              </a:rPr>
              <a:t>Overboarding</a:t>
            </a:r>
            <a:endParaRPr lang="en-GB" sz="1450" dirty="0"/>
          </a:p>
        </p:txBody>
      </p:sp>
      <p:sp>
        <p:nvSpPr>
          <p:cNvPr id="65" name="Rectangle 64"/>
          <p:cNvSpPr/>
          <p:nvPr/>
        </p:nvSpPr>
        <p:spPr>
          <a:xfrm>
            <a:off x="50735" y="3695957"/>
            <a:ext cx="1752403" cy="307777"/>
          </a:xfrm>
          <a:prstGeom prst="rect">
            <a:avLst/>
          </a:prstGeom>
        </p:spPr>
        <p:txBody>
          <a:bodyPr wrap="none">
            <a:spAutoFit/>
          </a:bodyPr>
          <a:lstStyle/>
          <a:p>
            <a:pPr fontAlgn="b"/>
            <a:r>
              <a:rPr lang="en-GB" sz="1400" dirty="0">
                <a:solidFill>
                  <a:schemeClr val="dk2"/>
                </a:solidFill>
                <a:latin typeface="Danske Human Medium Italic" panose="02000603050000020003" pitchFamily="2" charset="0"/>
              </a:rPr>
              <a:t>Ownership Structure</a:t>
            </a:r>
          </a:p>
        </p:txBody>
      </p:sp>
      <p:sp>
        <p:nvSpPr>
          <p:cNvPr id="66" name="Rectangle 65"/>
          <p:cNvSpPr/>
          <p:nvPr/>
        </p:nvSpPr>
        <p:spPr>
          <a:xfrm>
            <a:off x="9255636" y="2227070"/>
            <a:ext cx="1225015"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Political Risk</a:t>
            </a:r>
          </a:p>
        </p:txBody>
      </p:sp>
      <p:sp>
        <p:nvSpPr>
          <p:cNvPr id="68" name="Rectangle 67"/>
          <p:cNvSpPr/>
          <p:nvPr/>
        </p:nvSpPr>
        <p:spPr>
          <a:xfrm>
            <a:off x="8880255" y="5435839"/>
            <a:ext cx="1885453"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Quality Management</a:t>
            </a:r>
          </a:p>
        </p:txBody>
      </p:sp>
      <p:sp>
        <p:nvSpPr>
          <p:cNvPr id="69" name="Rectangle 68"/>
          <p:cNvSpPr/>
          <p:nvPr/>
        </p:nvSpPr>
        <p:spPr>
          <a:xfrm>
            <a:off x="10502631" y="4489039"/>
            <a:ext cx="1124026" cy="315471"/>
          </a:xfrm>
          <a:prstGeom prst="rect">
            <a:avLst/>
          </a:prstGeom>
        </p:spPr>
        <p:txBody>
          <a:bodyPr wrap="none">
            <a:spAutoFit/>
          </a:bodyPr>
          <a:lstStyle/>
          <a:p>
            <a:pPr>
              <a:spcBef>
                <a:spcPts val="300"/>
              </a:spcBef>
              <a:spcAft>
                <a:spcPts val="300"/>
              </a:spcAft>
            </a:pPr>
            <a:r>
              <a:rPr lang="en-GB" sz="1450" dirty="0">
                <a:solidFill>
                  <a:schemeClr val="dk2"/>
                </a:solidFill>
                <a:latin typeface="Danske Human Medium Italic" panose="02000603050000020003" pitchFamily="2" charset="0"/>
              </a:rPr>
              <a:t>Regulations</a:t>
            </a:r>
            <a:endParaRPr lang="en-GB" sz="1450" dirty="0"/>
          </a:p>
        </p:txBody>
      </p:sp>
      <p:sp>
        <p:nvSpPr>
          <p:cNvPr id="70" name="Rectangle 69"/>
          <p:cNvSpPr/>
          <p:nvPr/>
        </p:nvSpPr>
        <p:spPr>
          <a:xfrm>
            <a:off x="10090057" y="3113564"/>
            <a:ext cx="2029723"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Regulatory Compliance</a:t>
            </a:r>
          </a:p>
        </p:txBody>
      </p:sp>
      <p:sp>
        <p:nvSpPr>
          <p:cNvPr id="75" name="Rectangle 74"/>
          <p:cNvSpPr/>
          <p:nvPr/>
        </p:nvSpPr>
        <p:spPr>
          <a:xfrm>
            <a:off x="6842590" y="1718010"/>
            <a:ext cx="2159566"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Research &amp; Development</a:t>
            </a:r>
          </a:p>
        </p:txBody>
      </p:sp>
      <p:sp>
        <p:nvSpPr>
          <p:cNvPr id="76" name="Rectangle 75"/>
          <p:cNvSpPr/>
          <p:nvPr/>
        </p:nvSpPr>
        <p:spPr>
          <a:xfrm>
            <a:off x="4204269" y="2182988"/>
            <a:ext cx="1274708" cy="315471"/>
          </a:xfrm>
          <a:prstGeom prst="rect">
            <a:avLst/>
          </a:prstGeom>
        </p:spPr>
        <p:txBody>
          <a:bodyPr wrap="none">
            <a:spAutoFit/>
          </a:bodyPr>
          <a:lstStyle/>
          <a:p>
            <a:pPr>
              <a:spcBef>
                <a:spcPts val="300"/>
              </a:spcBef>
              <a:spcAft>
                <a:spcPts val="300"/>
              </a:spcAft>
            </a:pPr>
            <a:r>
              <a:rPr lang="en-GB" sz="1450" dirty="0">
                <a:solidFill>
                  <a:schemeClr val="dk2"/>
                </a:solidFill>
                <a:latin typeface="Danske Human Medium Italic" panose="02000603050000020003" pitchFamily="2" charset="0"/>
              </a:rPr>
              <a:t>Restructuring</a:t>
            </a:r>
            <a:endParaRPr lang="en-GB" sz="1450" dirty="0"/>
          </a:p>
        </p:txBody>
      </p:sp>
      <p:sp>
        <p:nvSpPr>
          <p:cNvPr id="77" name="Rectangle 76"/>
          <p:cNvSpPr/>
          <p:nvPr/>
        </p:nvSpPr>
        <p:spPr>
          <a:xfrm>
            <a:off x="6343885" y="1198113"/>
            <a:ext cx="1454244"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Share Buybacks</a:t>
            </a:r>
          </a:p>
        </p:txBody>
      </p:sp>
      <p:sp>
        <p:nvSpPr>
          <p:cNvPr id="78" name="Rectangle 77"/>
          <p:cNvSpPr/>
          <p:nvPr/>
        </p:nvSpPr>
        <p:spPr>
          <a:xfrm>
            <a:off x="711030" y="3988087"/>
            <a:ext cx="3238387"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Sustainability Integration &amp; Reporting</a:t>
            </a:r>
          </a:p>
        </p:txBody>
      </p:sp>
      <p:sp>
        <p:nvSpPr>
          <p:cNvPr id="79" name="Rectangle 78"/>
          <p:cNvSpPr/>
          <p:nvPr/>
        </p:nvSpPr>
        <p:spPr>
          <a:xfrm>
            <a:off x="6996316" y="6103652"/>
            <a:ext cx="1943161"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Sustainability Ratings</a:t>
            </a:r>
          </a:p>
        </p:txBody>
      </p:sp>
      <p:sp>
        <p:nvSpPr>
          <p:cNvPr id="80" name="Rectangle 79"/>
          <p:cNvSpPr/>
          <p:nvPr/>
        </p:nvSpPr>
        <p:spPr>
          <a:xfrm>
            <a:off x="1999125" y="3113564"/>
            <a:ext cx="1992853"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Sustainability Strategy</a:t>
            </a:r>
          </a:p>
        </p:txBody>
      </p:sp>
      <p:sp>
        <p:nvSpPr>
          <p:cNvPr id="81" name="Rectangle 80"/>
          <p:cNvSpPr/>
          <p:nvPr/>
        </p:nvSpPr>
        <p:spPr>
          <a:xfrm>
            <a:off x="5731723" y="1915806"/>
            <a:ext cx="1927131"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Sustainability Targets</a:t>
            </a:r>
          </a:p>
        </p:txBody>
      </p:sp>
      <p:sp>
        <p:nvSpPr>
          <p:cNvPr id="82" name="Rectangle 81"/>
          <p:cNvSpPr/>
          <p:nvPr/>
        </p:nvSpPr>
        <p:spPr>
          <a:xfrm>
            <a:off x="7509527" y="4106974"/>
            <a:ext cx="2358338" cy="315471"/>
          </a:xfrm>
          <a:prstGeom prst="rect">
            <a:avLst/>
          </a:prstGeom>
        </p:spPr>
        <p:txBody>
          <a:bodyPr wrap="none">
            <a:spAutoFit/>
          </a:bodyPr>
          <a:lstStyle/>
          <a:p>
            <a:pPr fontAlgn="b">
              <a:spcBef>
                <a:spcPts val="300"/>
              </a:spcBef>
              <a:spcAft>
                <a:spcPts val="300"/>
              </a:spcAft>
            </a:pPr>
            <a:r>
              <a:rPr lang="en-GB" sz="1450" dirty="0">
                <a:solidFill>
                  <a:schemeClr val="dk2"/>
                </a:solidFill>
                <a:latin typeface="Danske Human Medium Italic" panose="02000603050000020003" pitchFamily="2" charset="0"/>
              </a:rPr>
              <a:t>Systemic Risk Management</a:t>
            </a:r>
          </a:p>
        </p:txBody>
      </p:sp>
      <p:sp>
        <p:nvSpPr>
          <p:cNvPr id="83" name="Rectangle 82"/>
          <p:cNvSpPr/>
          <p:nvPr/>
        </p:nvSpPr>
        <p:spPr>
          <a:xfrm>
            <a:off x="171147" y="4313665"/>
            <a:ext cx="1901483" cy="307777"/>
          </a:xfrm>
          <a:prstGeom prst="rect">
            <a:avLst/>
          </a:prstGeom>
        </p:spPr>
        <p:txBody>
          <a:bodyPr wrap="none">
            <a:spAutoFit/>
          </a:bodyPr>
          <a:lstStyle/>
          <a:p>
            <a:pPr fontAlgn="b">
              <a:spcBef>
                <a:spcPts val="300"/>
              </a:spcBef>
              <a:spcAft>
                <a:spcPts val="300"/>
              </a:spcAft>
            </a:pPr>
            <a:r>
              <a:rPr lang="en-GB" sz="1400" dirty="0">
                <a:solidFill>
                  <a:schemeClr val="dk2"/>
                </a:solidFill>
                <a:latin typeface="Danske Human Medium Italic" panose="02000603050000020003" pitchFamily="2" charset="0"/>
              </a:rPr>
              <a:t>Technology Disruption</a:t>
            </a:r>
          </a:p>
        </p:txBody>
      </p:sp>
      <p:grpSp>
        <p:nvGrpSpPr>
          <p:cNvPr id="128" name="Group 127"/>
          <p:cNvGrpSpPr/>
          <p:nvPr/>
        </p:nvGrpSpPr>
        <p:grpSpPr>
          <a:xfrm>
            <a:off x="10903964" y="834294"/>
            <a:ext cx="868234" cy="253070"/>
            <a:chOff x="480956" y="1231257"/>
            <a:chExt cx="868234" cy="253070"/>
          </a:xfrm>
        </p:grpSpPr>
        <p:sp>
          <p:nvSpPr>
            <p:cNvPr id="129" name="Rounded Rectangle 128"/>
            <p:cNvSpPr/>
            <p:nvPr/>
          </p:nvSpPr>
          <p:spPr>
            <a:xfrm>
              <a:off x="480956" y="1231257"/>
              <a:ext cx="247186" cy="247695"/>
            </a:xfrm>
            <a:prstGeom prst="roundRect">
              <a:avLst/>
            </a:prstGeom>
            <a:solidFill>
              <a:srgbClr val="09B8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smtClean="0">
                <a:solidFill>
                  <a:schemeClr val="tx1"/>
                </a:solidFill>
              </a:endParaRPr>
            </a:p>
          </p:txBody>
        </p:sp>
        <p:sp>
          <p:nvSpPr>
            <p:cNvPr id="130" name="Rounded Rectangle 129"/>
            <p:cNvSpPr/>
            <p:nvPr/>
          </p:nvSpPr>
          <p:spPr>
            <a:xfrm>
              <a:off x="789519" y="1235945"/>
              <a:ext cx="247186" cy="247695"/>
            </a:xfrm>
            <a:prstGeom prst="roundRect">
              <a:avLst/>
            </a:prstGeom>
            <a:solidFill>
              <a:srgbClr val="6DBAC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smtClean="0">
                <a:solidFill>
                  <a:schemeClr val="tx1"/>
                </a:solidFill>
              </a:endParaRPr>
            </a:p>
          </p:txBody>
        </p:sp>
        <p:sp>
          <p:nvSpPr>
            <p:cNvPr id="131" name="Rounded Rectangle 130"/>
            <p:cNvSpPr/>
            <p:nvPr/>
          </p:nvSpPr>
          <p:spPr>
            <a:xfrm>
              <a:off x="1102004" y="1236632"/>
              <a:ext cx="247186" cy="247695"/>
            </a:xfrm>
            <a:prstGeom prst="roundRect">
              <a:avLst/>
            </a:prstGeom>
            <a:solidFill>
              <a:srgbClr val="00375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smtClean="0">
                <a:solidFill>
                  <a:schemeClr val="tx1"/>
                </a:solidFill>
              </a:endParaRPr>
            </a:p>
          </p:txBody>
        </p:sp>
        <p:sp>
          <p:nvSpPr>
            <p:cNvPr id="132" name="TextBox 131"/>
            <p:cNvSpPr txBox="1"/>
            <p:nvPr/>
          </p:nvSpPr>
          <p:spPr>
            <a:xfrm>
              <a:off x="543160" y="1262771"/>
              <a:ext cx="122778" cy="184666"/>
            </a:xfrm>
            <a:prstGeom prst="rect">
              <a:avLst/>
            </a:prstGeom>
            <a:noFill/>
          </p:spPr>
          <p:txBody>
            <a:bodyPr wrap="square" lIns="0" tIns="0" rIns="0" bIns="0" rtlCol="0">
              <a:spAutoFit/>
            </a:bodyPr>
            <a:lstStyle/>
            <a:p>
              <a:pPr algn="ctr"/>
              <a:r>
                <a:rPr lang="en-US" sz="1200" b="1" dirty="0" smtClean="0">
                  <a:solidFill>
                    <a:schemeClr val="bg1"/>
                  </a:solidFill>
                </a:rPr>
                <a:t>E</a:t>
              </a:r>
            </a:p>
          </p:txBody>
        </p:sp>
        <p:sp>
          <p:nvSpPr>
            <p:cNvPr id="133" name="TextBox 132"/>
            <p:cNvSpPr txBox="1"/>
            <p:nvPr/>
          </p:nvSpPr>
          <p:spPr>
            <a:xfrm>
              <a:off x="839726" y="1267459"/>
              <a:ext cx="146773" cy="184666"/>
            </a:xfrm>
            <a:prstGeom prst="rect">
              <a:avLst/>
            </a:prstGeom>
            <a:noFill/>
          </p:spPr>
          <p:txBody>
            <a:bodyPr wrap="square" lIns="0" tIns="0" rIns="0" bIns="0" rtlCol="0">
              <a:spAutoFit/>
            </a:bodyPr>
            <a:lstStyle/>
            <a:p>
              <a:pPr algn="ctr"/>
              <a:r>
                <a:rPr lang="en-US" sz="1200" b="1" dirty="0" smtClean="0">
                  <a:solidFill>
                    <a:schemeClr val="bg1"/>
                  </a:solidFill>
                </a:rPr>
                <a:t>S</a:t>
              </a:r>
            </a:p>
          </p:txBody>
        </p:sp>
        <p:sp>
          <p:nvSpPr>
            <p:cNvPr id="134" name="TextBox 133"/>
            <p:cNvSpPr txBox="1"/>
            <p:nvPr/>
          </p:nvSpPr>
          <p:spPr>
            <a:xfrm>
              <a:off x="1166854" y="1268146"/>
              <a:ext cx="117486" cy="184666"/>
            </a:xfrm>
            <a:prstGeom prst="rect">
              <a:avLst/>
            </a:prstGeom>
            <a:noFill/>
          </p:spPr>
          <p:txBody>
            <a:bodyPr wrap="square" lIns="0" tIns="0" rIns="0" bIns="0" rtlCol="0">
              <a:spAutoFit/>
            </a:bodyPr>
            <a:lstStyle/>
            <a:p>
              <a:r>
                <a:rPr lang="en-US" sz="1200" b="1" dirty="0" smtClean="0">
                  <a:solidFill>
                    <a:schemeClr val="bg1"/>
                  </a:solidFill>
                </a:rPr>
                <a:t>G</a:t>
              </a:r>
            </a:p>
          </p:txBody>
        </p:sp>
      </p:grpSp>
    </p:spTree>
    <p:extLst>
      <p:ext uri="{BB962C8B-B14F-4D97-AF65-F5344CB8AC3E}">
        <p14:creationId xmlns:p14="http://schemas.microsoft.com/office/powerpoint/2010/main" val="12979340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547"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nvPr>
        </p:nvSpPr>
        <p:spPr>
          <a:xfrm>
            <a:off x="431900" y="728663"/>
            <a:ext cx="11332800" cy="332399"/>
          </a:xfrm>
        </p:spPr>
        <p:txBody>
          <a:bodyPr/>
          <a:lstStyle/>
          <a:p>
            <a:r>
              <a:rPr lang="en-GB" dirty="0" smtClean="0"/>
              <a:t>Top 7 ESG </a:t>
            </a:r>
            <a:r>
              <a:rPr lang="en-GB" dirty="0"/>
              <a:t>engagement </a:t>
            </a:r>
            <a:r>
              <a:rPr lang="en-GB" dirty="0" smtClean="0"/>
              <a:t>topics across the E, S, and G theme</a:t>
            </a:r>
            <a:endParaRPr lang="en-GB" dirty="0"/>
          </a:p>
        </p:txBody>
      </p:sp>
      <p:graphicFrame>
        <p:nvGraphicFramePr>
          <p:cNvPr id="12" name="Table 11"/>
          <p:cNvGraphicFramePr>
            <a:graphicFrameLocks noGrp="1"/>
          </p:cNvGraphicFramePr>
          <p:nvPr>
            <p:extLst>
              <p:ext uri="{D42A27DB-BD31-4B8C-83A1-F6EECF244321}">
                <p14:modId xmlns:p14="http://schemas.microsoft.com/office/powerpoint/2010/main" val="4217184630"/>
              </p:ext>
            </p:extLst>
          </p:nvPr>
        </p:nvGraphicFramePr>
        <p:xfrm>
          <a:off x="433754" y="2228162"/>
          <a:ext cx="3564237" cy="4182130"/>
        </p:xfrm>
        <a:graphic>
          <a:graphicData uri="http://schemas.openxmlformats.org/drawingml/2006/table">
            <a:tbl>
              <a:tblPr firstRow="1" bandRow="1">
                <a:tableStyleId>{5C22544A-7EE6-4342-B048-85BDC9FD1C3A}</a:tableStyleId>
              </a:tblPr>
              <a:tblGrid>
                <a:gridCol w="745822"/>
                <a:gridCol w="2026415"/>
                <a:gridCol w="792000"/>
              </a:tblGrid>
              <a:tr h="402130">
                <a:tc>
                  <a:txBody>
                    <a:bodyPr/>
                    <a:lstStyle/>
                    <a:p>
                      <a:pPr algn="ctr"/>
                      <a:r>
                        <a:rPr lang="en-US" sz="1400" b="1" dirty="0" smtClean="0">
                          <a:solidFill>
                            <a:schemeClr val="dk2"/>
                          </a:solidFill>
                        </a:rPr>
                        <a:t>Rank</a:t>
                      </a:r>
                      <a:endParaRPr lang="en-US" sz="1400" b="1" dirty="0">
                        <a:solidFill>
                          <a:schemeClr val="dk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a:r>
                        <a:rPr lang="en-US" sz="1400" b="1" dirty="0" smtClean="0">
                          <a:solidFill>
                            <a:schemeClr val="dk2"/>
                          </a:solidFill>
                        </a:rPr>
                        <a:t>Topic</a:t>
                      </a:r>
                      <a:endParaRPr lang="en-US" sz="1400" b="1" dirty="0">
                        <a:solidFill>
                          <a:schemeClr val="dk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algn="ctr"/>
                      <a:r>
                        <a:rPr lang="en-US" sz="1400" b="1" dirty="0" smtClean="0">
                          <a:solidFill>
                            <a:schemeClr val="dk2"/>
                          </a:solidFill>
                        </a:rPr>
                        <a:t>Count</a:t>
                      </a:r>
                      <a:endParaRPr lang="en-US" sz="1400" b="1" dirty="0">
                        <a:solidFill>
                          <a:schemeClr val="dk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540000">
                <a:tc>
                  <a:txBody>
                    <a:bodyPr/>
                    <a:lstStyle/>
                    <a:p>
                      <a:pPr marL="0" indent="0" algn="ctr"/>
                      <a:r>
                        <a:rPr lang="en-US" sz="1200" b="1" dirty="0" smtClean="0">
                          <a:solidFill>
                            <a:schemeClr val="dk2"/>
                          </a:solidFill>
                        </a:rPr>
                        <a:t>1</a:t>
                      </a: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GHG Emission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540000">
                <a:tc>
                  <a:txBody>
                    <a:bodyPr/>
                    <a:lstStyle/>
                    <a:p>
                      <a:pPr marL="0" indent="0" algn="ctr"/>
                      <a:r>
                        <a:rPr lang="en-US" sz="1200" b="1" dirty="0" smtClean="0">
                          <a:solidFill>
                            <a:schemeClr val="dk2"/>
                          </a:solidFill>
                        </a:rPr>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Energy Efficienc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540000">
                <a:tc>
                  <a:txBody>
                    <a:bodyPr/>
                    <a:lstStyle/>
                    <a:p>
                      <a:pPr marL="0" indent="0" algn="ctr"/>
                      <a:r>
                        <a:rPr lang="en-US" sz="1200" b="1" dirty="0" smtClean="0">
                          <a:solidFill>
                            <a:schemeClr val="dk2"/>
                          </a:solidFill>
                        </a:rPr>
                        <a:t>3</a:t>
                      </a: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Energy Transformatio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540000">
                <a:tc>
                  <a:txBody>
                    <a:bodyPr/>
                    <a:lstStyle/>
                    <a:p>
                      <a:pPr marL="0" indent="0" algn="ctr"/>
                      <a:r>
                        <a:rPr lang="en-US" sz="1200" b="1" dirty="0" smtClean="0">
                          <a:solidFill>
                            <a:schemeClr val="dk2"/>
                          </a:solidFill>
                        </a:rPr>
                        <a:t>4</a:t>
                      </a: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Green Financing</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540000">
                <a:tc>
                  <a:txBody>
                    <a:bodyPr/>
                    <a:lstStyle/>
                    <a:p>
                      <a:pPr marL="0" indent="0" algn="ctr"/>
                      <a:r>
                        <a:rPr lang="en-US" sz="1200" b="1" dirty="0" smtClean="0">
                          <a:solidFill>
                            <a:schemeClr val="dk2"/>
                          </a:solidFill>
                        </a:rPr>
                        <a:t>5</a:t>
                      </a: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Digitalisatio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540000">
                <a:tc>
                  <a:txBody>
                    <a:bodyPr/>
                    <a:lstStyle/>
                    <a:p>
                      <a:pPr marL="0" indent="0" algn="ctr"/>
                      <a:r>
                        <a:rPr lang="en-US" sz="1200" b="1" dirty="0" smtClean="0">
                          <a:solidFill>
                            <a:schemeClr val="dk2"/>
                          </a:solidFill>
                        </a:rPr>
                        <a:t>6</a:t>
                      </a: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Sustainable Product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540000">
                <a:tc>
                  <a:txBody>
                    <a:bodyPr/>
                    <a:lstStyle/>
                    <a:p>
                      <a:pPr marL="0" indent="0" algn="ctr"/>
                      <a:r>
                        <a:rPr lang="en-US" sz="1200" b="1" dirty="0" smtClean="0">
                          <a:solidFill>
                            <a:schemeClr val="dk2"/>
                          </a:solidFill>
                        </a:rPr>
                        <a:t>7</a:t>
                      </a: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Circular Econom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3000194642"/>
              </p:ext>
            </p:extLst>
          </p:nvPr>
        </p:nvGraphicFramePr>
        <p:xfrm>
          <a:off x="4311810" y="2228161"/>
          <a:ext cx="3564000" cy="4182130"/>
        </p:xfrm>
        <a:graphic>
          <a:graphicData uri="http://schemas.openxmlformats.org/drawingml/2006/table">
            <a:tbl>
              <a:tblPr firstRow="1" bandRow="1">
                <a:tableStyleId>{5C22544A-7EE6-4342-B048-85BDC9FD1C3A}</a:tableStyleId>
              </a:tblPr>
              <a:tblGrid>
                <a:gridCol w="736295"/>
                <a:gridCol w="2028922"/>
                <a:gridCol w="798783"/>
              </a:tblGrid>
              <a:tr h="402130">
                <a:tc>
                  <a:txBody>
                    <a:bodyPr/>
                    <a:lstStyle/>
                    <a:p>
                      <a:pPr algn="ctr"/>
                      <a:r>
                        <a:rPr lang="en-US" sz="1400" dirty="0" smtClean="0">
                          <a:solidFill>
                            <a:schemeClr val="dk2"/>
                          </a:solidFill>
                        </a:rPr>
                        <a:t>Rank</a:t>
                      </a:r>
                      <a:endParaRPr lang="en-US" sz="1400" dirty="0">
                        <a:solidFill>
                          <a:schemeClr val="dk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a:r>
                        <a:rPr lang="en-US" sz="1400" dirty="0" smtClean="0">
                          <a:solidFill>
                            <a:schemeClr val="dk2"/>
                          </a:solidFill>
                        </a:rPr>
                        <a:t>Topic</a:t>
                      </a:r>
                      <a:endParaRPr lang="en-US" sz="1400" dirty="0">
                        <a:solidFill>
                          <a:schemeClr val="dk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algn="ctr"/>
                      <a:r>
                        <a:rPr lang="en-US" sz="1400" dirty="0" smtClean="0">
                          <a:solidFill>
                            <a:schemeClr val="dk2"/>
                          </a:solidFill>
                        </a:rPr>
                        <a:t>Count</a:t>
                      </a:r>
                      <a:endParaRPr lang="en-US" sz="1400" dirty="0">
                        <a:solidFill>
                          <a:schemeClr val="dk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540000">
                <a:tc>
                  <a:txBody>
                    <a:bodyPr/>
                    <a:lstStyle/>
                    <a:p>
                      <a:pPr marL="0" indent="0" algn="ctr"/>
                      <a:r>
                        <a:rPr lang="en-US" sz="1200" b="1" dirty="0" smtClean="0">
                          <a:solidFill>
                            <a:schemeClr val="dk2"/>
                          </a:solidFill>
                        </a:rPr>
                        <a:t>1</a:t>
                      </a: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Employee Health &amp; Safet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540000">
                <a:tc>
                  <a:txBody>
                    <a:bodyPr/>
                    <a:lstStyle/>
                    <a:p>
                      <a:pPr marL="0" indent="0" algn="ctr"/>
                      <a:r>
                        <a:rPr lang="en-US" sz="1200" b="1" dirty="0" smtClean="0">
                          <a:solidFill>
                            <a:schemeClr val="dk2"/>
                          </a:solidFill>
                        </a:rPr>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Supply Chain Managemen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540000">
                <a:tc>
                  <a:txBody>
                    <a:bodyPr/>
                    <a:lstStyle/>
                    <a:p>
                      <a:pPr marL="0" indent="0" algn="ctr"/>
                      <a:r>
                        <a:rPr lang="en-US" sz="1200" b="1" dirty="0" smtClean="0">
                          <a:solidFill>
                            <a:schemeClr val="dk2"/>
                          </a:solidFill>
                        </a:rPr>
                        <a:t>3</a:t>
                      </a: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Business Model Resilienc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540000">
                <a:tc>
                  <a:txBody>
                    <a:bodyPr/>
                    <a:lstStyle/>
                    <a:p>
                      <a:pPr marL="0" indent="0" algn="ct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Access &amp; Affordabilit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540000">
                <a:tc>
                  <a:txBody>
                    <a:bodyPr/>
                    <a:lstStyle/>
                    <a:p>
                      <a:pPr marL="0" indent="0" algn="ct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Customer Welfar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540000">
                <a:tc>
                  <a:txBody>
                    <a:bodyPr/>
                    <a:lstStyle/>
                    <a:p>
                      <a:pPr marL="0" indent="0" algn="ct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Product Quality &amp; Safet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540000">
                <a:tc>
                  <a:txBody>
                    <a:bodyPr/>
                    <a:lstStyle/>
                    <a:p>
                      <a:pPr marL="0" indent="0" algn="ct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Product Design &amp; Lifecycle Managemen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4236509982"/>
              </p:ext>
            </p:extLst>
          </p:nvPr>
        </p:nvGraphicFramePr>
        <p:xfrm>
          <a:off x="8189629" y="2228161"/>
          <a:ext cx="3564000" cy="4183200"/>
        </p:xfrm>
        <a:graphic>
          <a:graphicData uri="http://schemas.openxmlformats.org/drawingml/2006/table">
            <a:tbl>
              <a:tblPr firstRow="1" bandRow="1">
                <a:tableStyleId>{5C22544A-7EE6-4342-B048-85BDC9FD1C3A}</a:tableStyleId>
              </a:tblPr>
              <a:tblGrid>
                <a:gridCol w="736295"/>
                <a:gridCol w="2028922"/>
                <a:gridCol w="798783"/>
              </a:tblGrid>
              <a:tr h="403200">
                <a:tc>
                  <a:txBody>
                    <a:bodyPr/>
                    <a:lstStyle/>
                    <a:p>
                      <a:pPr algn="ctr"/>
                      <a:r>
                        <a:rPr lang="en-US" sz="1400" dirty="0" smtClean="0">
                          <a:solidFill>
                            <a:schemeClr val="dk2"/>
                          </a:solidFill>
                        </a:rPr>
                        <a:t>Rank</a:t>
                      </a:r>
                      <a:endParaRPr lang="en-US" sz="1400" dirty="0">
                        <a:solidFill>
                          <a:schemeClr val="dk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a:r>
                        <a:rPr lang="en-US" sz="1400" dirty="0" smtClean="0">
                          <a:solidFill>
                            <a:schemeClr val="dk2"/>
                          </a:solidFill>
                        </a:rPr>
                        <a:t>Topic</a:t>
                      </a:r>
                      <a:endParaRPr lang="en-US" sz="1400" dirty="0">
                        <a:solidFill>
                          <a:schemeClr val="dk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algn="ctr"/>
                      <a:r>
                        <a:rPr lang="en-US" sz="1400" dirty="0" smtClean="0">
                          <a:solidFill>
                            <a:schemeClr val="dk2"/>
                          </a:solidFill>
                        </a:rPr>
                        <a:t>Count</a:t>
                      </a:r>
                      <a:endParaRPr lang="en-US" sz="1400" dirty="0">
                        <a:solidFill>
                          <a:schemeClr val="dk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540000">
                <a:tc>
                  <a:txBody>
                    <a:bodyPr/>
                    <a:lstStyle/>
                    <a:p>
                      <a:pPr marL="0" indent="0" algn="ctr"/>
                      <a:r>
                        <a:rPr lang="en-US" sz="1200" b="1" dirty="0" smtClean="0">
                          <a:solidFill>
                            <a:schemeClr val="dk2"/>
                          </a:solidFill>
                        </a:rPr>
                        <a:t>1</a:t>
                      </a: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Dividend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540000">
                <a:tc>
                  <a:txBody>
                    <a:bodyPr/>
                    <a:lstStyle/>
                    <a:p>
                      <a:pPr marL="0" indent="0" algn="ctr"/>
                      <a:r>
                        <a:rPr lang="en-US" sz="1200" b="1" dirty="0" smtClean="0">
                          <a:solidFill>
                            <a:schemeClr val="dk2"/>
                          </a:solidFill>
                        </a:rPr>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Capital Structur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540000">
                <a:tc>
                  <a:txBody>
                    <a:bodyPr/>
                    <a:lstStyle/>
                    <a:p>
                      <a:pPr marL="0" indent="0" algn="ctr"/>
                      <a:r>
                        <a:rPr lang="en-US" sz="1200" b="1" dirty="0" smtClean="0">
                          <a:solidFill>
                            <a:schemeClr val="dk2"/>
                          </a:solidFill>
                        </a:rPr>
                        <a:t>3</a:t>
                      </a: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ESG Integratio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540000">
                <a:tc>
                  <a:txBody>
                    <a:bodyPr/>
                    <a:lstStyle/>
                    <a:p>
                      <a:pPr marL="0" indent="0" algn="ctr"/>
                      <a:r>
                        <a:rPr lang="en-US" sz="1200" b="1" dirty="0" smtClean="0">
                          <a:solidFill>
                            <a:schemeClr val="dk2"/>
                          </a:solidFill>
                        </a:rPr>
                        <a:t>4</a:t>
                      </a: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M&amp;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540000">
                <a:tc>
                  <a:txBody>
                    <a:bodyPr/>
                    <a:lstStyle/>
                    <a:p>
                      <a:pPr marL="0" indent="0" algn="ctr"/>
                      <a:r>
                        <a:rPr lang="en-US" sz="1200" b="1" dirty="0" smtClean="0">
                          <a:solidFill>
                            <a:schemeClr val="dk2"/>
                          </a:solidFill>
                        </a:rPr>
                        <a:t>5</a:t>
                      </a: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Restructuring</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540000">
                <a:tc>
                  <a:txBody>
                    <a:bodyPr/>
                    <a:lstStyle/>
                    <a:p>
                      <a:pPr marL="0" indent="0" algn="ctr"/>
                      <a:r>
                        <a:rPr lang="en-US" sz="1200" b="1" dirty="0" smtClean="0">
                          <a:solidFill>
                            <a:schemeClr val="dk2"/>
                          </a:solidFill>
                        </a:rPr>
                        <a:t>6</a:t>
                      </a: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Business Ethic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540000">
                <a:tc>
                  <a:txBody>
                    <a:bodyPr/>
                    <a:lstStyle/>
                    <a:p>
                      <a:pPr marL="0" indent="0" algn="ctr"/>
                      <a:r>
                        <a:rPr lang="en-US" sz="1200" b="1" dirty="0" smtClean="0">
                          <a:solidFill>
                            <a:schemeClr val="dk2"/>
                          </a:solidFill>
                        </a:rPr>
                        <a:t>7</a:t>
                      </a: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Corporate Governanc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bl>
          </a:graphicData>
        </a:graphic>
      </p:graphicFrame>
      <p:sp>
        <p:nvSpPr>
          <p:cNvPr id="2" name="Parallelogram 1"/>
          <p:cNvSpPr/>
          <p:nvPr/>
        </p:nvSpPr>
        <p:spPr>
          <a:xfrm>
            <a:off x="595453" y="2699355"/>
            <a:ext cx="396000" cy="396000"/>
          </a:xfrm>
          <a:prstGeom prst="parallelogram">
            <a:avLst/>
          </a:prstGeom>
          <a:solidFill>
            <a:srgbClr val="09B89D"/>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dirty="0" smtClean="0">
                <a:solidFill>
                  <a:schemeClr val="bg1"/>
                </a:solidFill>
              </a:rPr>
              <a:t>1</a:t>
            </a:r>
          </a:p>
        </p:txBody>
      </p:sp>
      <p:sp>
        <p:nvSpPr>
          <p:cNvPr id="9" name="Parallelogram 8"/>
          <p:cNvSpPr/>
          <p:nvPr/>
        </p:nvSpPr>
        <p:spPr>
          <a:xfrm>
            <a:off x="589284" y="4314212"/>
            <a:ext cx="396000" cy="396000"/>
          </a:xfrm>
          <a:prstGeom prst="parallelogram">
            <a:avLst/>
          </a:prstGeom>
          <a:solidFill>
            <a:srgbClr val="09B89D"/>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dirty="0" smtClean="0">
                <a:solidFill>
                  <a:schemeClr val="bg1"/>
                </a:solidFill>
              </a:rPr>
              <a:t>4</a:t>
            </a:r>
          </a:p>
        </p:txBody>
      </p:sp>
      <p:sp>
        <p:nvSpPr>
          <p:cNvPr id="10" name="Parallelogram 9"/>
          <p:cNvSpPr/>
          <p:nvPr/>
        </p:nvSpPr>
        <p:spPr>
          <a:xfrm>
            <a:off x="589284" y="4852498"/>
            <a:ext cx="396000" cy="396000"/>
          </a:xfrm>
          <a:prstGeom prst="parallelogram">
            <a:avLst/>
          </a:prstGeom>
          <a:solidFill>
            <a:srgbClr val="09B89D"/>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dirty="0" smtClean="0">
                <a:solidFill>
                  <a:schemeClr val="bg1"/>
                </a:solidFill>
              </a:rPr>
              <a:t>5</a:t>
            </a:r>
          </a:p>
        </p:txBody>
      </p:sp>
      <p:sp>
        <p:nvSpPr>
          <p:cNvPr id="11" name="Parallelogram 10"/>
          <p:cNvSpPr/>
          <p:nvPr/>
        </p:nvSpPr>
        <p:spPr>
          <a:xfrm>
            <a:off x="589284" y="5390783"/>
            <a:ext cx="396000" cy="396000"/>
          </a:xfrm>
          <a:prstGeom prst="parallelogram">
            <a:avLst/>
          </a:prstGeom>
          <a:solidFill>
            <a:srgbClr val="09B89D"/>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dirty="0" smtClean="0">
                <a:solidFill>
                  <a:schemeClr val="bg1"/>
                </a:solidFill>
              </a:rPr>
              <a:t>6</a:t>
            </a:r>
          </a:p>
        </p:txBody>
      </p:sp>
      <p:sp>
        <p:nvSpPr>
          <p:cNvPr id="15" name="Parallelogram 14"/>
          <p:cNvSpPr/>
          <p:nvPr/>
        </p:nvSpPr>
        <p:spPr>
          <a:xfrm>
            <a:off x="589284" y="5929068"/>
            <a:ext cx="396000" cy="396000"/>
          </a:xfrm>
          <a:prstGeom prst="parallelogram">
            <a:avLst/>
          </a:prstGeom>
          <a:solidFill>
            <a:srgbClr val="09B89D"/>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dirty="0" smtClean="0">
                <a:solidFill>
                  <a:schemeClr val="bg1"/>
                </a:solidFill>
              </a:rPr>
              <a:t>7</a:t>
            </a:r>
          </a:p>
        </p:txBody>
      </p:sp>
      <p:sp>
        <p:nvSpPr>
          <p:cNvPr id="16" name="Parallelogram 15"/>
          <p:cNvSpPr/>
          <p:nvPr/>
        </p:nvSpPr>
        <p:spPr>
          <a:xfrm>
            <a:off x="589284" y="3237641"/>
            <a:ext cx="396000" cy="396000"/>
          </a:xfrm>
          <a:prstGeom prst="parallelogram">
            <a:avLst/>
          </a:prstGeom>
          <a:solidFill>
            <a:srgbClr val="09B89D"/>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dirty="0" smtClean="0">
                <a:solidFill>
                  <a:schemeClr val="bg1"/>
                </a:solidFill>
              </a:rPr>
              <a:t>2</a:t>
            </a:r>
          </a:p>
        </p:txBody>
      </p:sp>
      <p:sp>
        <p:nvSpPr>
          <p:cNvPr id="17" name="Parallelogram 16"/>
          <p:cNvSpPr/>
          <p:nvPr/>
        </p:nvSpPr>
        <p:spPr>
          <a:xfrm>
            <a:off x="589284" y="3775926"/>
            <a:ext cx="396000" cy="396000"/>
          </a:xfrm>
          <a:prstGeom prst="parallelogram">
            <a:avLst/>
          </a:prstGeom>
          <a:solidFill>
            <a:srgbClr val="09B89D"/>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dirty="0">
                <a:solidFill>
                  <a:schemeClr val="bg1"/>
                </a:solidFill>
              </a:rPr>
              <a:t>3</a:t>
            </a:r>
            <a:endParaRPr lang="en-GB" sz="1600" dirty="0" smtClean="0">
              <a:solidFill>
                <a:schemeClr val="bg1"/>
              </a:solidFill>
            </a:endParaRPr>
          </a:p>
        </p:txBody>
      </p:sp>
      <p:sp>
        <p:nvSpPr>
          <p:cNvPr id="18" name="Parallelogram 17"/>
          <p:cNvSpPr/>
          <p:nvPr/>
        </p:nvSpPr>
        <p:spPr>
          <a:xfrm>
            <a:off x="4462260" y="2699355"/>
            <a:ext cx="396000" cy="396000"/>
          </a:xfrm>
          <a:prstGeom prst="parallelogram">
            <a:avLst/>
          </a:prstGeom>
          <a:solidFill>
            <a:srgbClr val="6DBACE"/>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dirty="0" smtClean="0">
                <a:solidFill>
                  <a:schemeClr val="bg1"/>
                </a:solidFill>
              </a:rPr>
              <a:t>1</a:t>
            </a:r>
          </a:p>
        </p:txBody>
      </p:sp>
      <p:sp>
        <p:nvSpPr>
          <p:cNvPr id="23" name="Parallelogram 22"/>
          <p:cNvSpPr/>
          <p:nvPr/>
        </p:nvSpPr>
        <p:spPr>
          <a:xfrm>
            <a:off x="4462260" y="3234770"/>
            <a:ext cx="396000" cy="396000"/>
          </a:xfrm>
          <a:prstGeom prst="parallelogram">
            <a:avLst/>
          </a:prstGeom>
          <a:solidFill>
            <a:srgbClr val="6DBACE"/>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dirty="0" smtClean="0">
                <a:solidFill>
                  <a:schemeClr val="bg1"/>
                </a:solidFill>
              </a:rPr>
              <a:t>2</a:t>
            </a:r>
          </a:p>
        </p:txBody>
      </p:sp>
      <p:sp>
        <p:nvSpPr>
          <p:cNvPr id="24" name="Parallelogram 23"/>
          <p:cNvSpPr/>
          <p:nvPr/>
        </p:nvSpPr>
        <p:spPr>
          <a:xfrm>
            <a:off x="4462260" y="3770185"/>
            <a:ext cx="396000" cy="396000"/>
          </a:xfrm>
          <a:prstGeom prst="parallelogram">
            <a:avLst/>
          </a:prstGeom>
          <a:solidFill>
            <a:srgbClr val="6DBACE"/>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dirty="0">
                <a:solidFill>
                  <a:schemeClr val="bg1"/>
                </a:solidFill>
              </a:rPr>
              <a:t>3</a:t>
            </a:r>
            <a:endParaRPr lang="en-GB" sz="1600" dirty="0" smtClean="0">
              <a:solidFill>
                <a:schemeClr val="bg1"/>
              </a:solidFill>
            </a:endParaRPr>
          </a:p>
        </p:txBody>
      </p:sp>
      <p:sp>
        <p:nvSpPr>
          <p:cNvPr id="25" name="Parallelogram 24"/>
          <p:cNvSpPr/>
          <p:nvPr/>
        </p:nvSpPr>
        <p:spPr>
          <a:xfrm>
            <a:off x="8344151" y="2699355"/>
            <a:ext cx="396000" cy="396000"/>
          </a:xfrm>
          <a:prstGeom prst="parallelogram">
            <a:avLst/>
          </a:prstGeom>
          <a:solidFill>
            <a:srgbClr val="003755"/>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dirty="0" smtClean="0">
                <a:solidFill>
                  <a:schemeClr val="bg1"/>
                </a:solidFill>
              </a:rPr>
              <a:t>1</a:t>
            </a:r>
          </a:p>
        </p:txBody>
      </p:sp>
      <p:sp>
        <p:nvSpPr>
          <p:cNvPr id="26" name="Parallelogram 25"/>
          <p:cNvSpPr/>
          <p:nvPr/>
        </p:nvSpPr>
        <p:spPr>
          <a:xfrm>
            <a:off x="8344151" y="4316958"/>
            <a:ext cx="396000" cy="396000"/>
          </a:xfrm>
          <a:prstGeom prst="parallelogram">
            <a:avLst/>
          </a:prstGeom>
          <a:solidFill>
            <a:srgbClr val="003755"/>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dirty="0" smtClean="0">
                <a:solidFill>
                  <a:schemeClr val="bg1"/>
                </a:solidFill>
              </a:rPr>
              <a:t>4</a:t>
            </a:r>
          </a:p>
        </p:txBody>
      </p:sp>
      <p:sp>
        <p:nvSpPr>
          <p:cNvPr id="27" name="Parallelogram 26"/>
          <p:cNvSpPr/>
          <p:nvPr/>
        </p:nvSpPr>
        <p:spPr>
          <a:xfrm>
            <a:off x="8344151" y="4856159"/>
            <a:ext cx="396000" cy="396000"/>
          </a:xfrm>
          <a:prstGeom prst="parallelogram">
            <a:avLst/>
          </a:prstGeom>
          <a:solidFill>
            <a:srgbClr val="003755"/>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dirty="0" smtClean="0">
                <a:solidFill>
                  <a:schemeClr val="bg1"/>
                </a:solidFill>
              </a:rPr>
              <a:t>5</a:t>
            </a:r>
          </a:p>
        </p:txBody>
      </p:sp>
      <p:sp>
        <p:nvSpPr>
          <p:cNvPr id="28" name="Parallelogram 27"/>
          <p:cNvSpPr/>
          <p:nvPr/>
        </p:nvSpPr>
        <p:spPr>
          <a:xfrm>
            <a:off x="8344151" y="5395360"/>
            <a:ext cx="396000" cy="396000"/>
          </a:xfrm>
          <a:prstGeom prst="parallelogram">
            <a:avLst/>
          </a:prstGeom>
          <a:solidFill>
            <a:srgbClr val="003755"/>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dirty="0" smtClean="0">
                <a:solidFill>
                  <a:schemeClr val="bg1"/>
                </a:solidFill>
              </a:rPr>
              <a:t>6</a:t>
            </a:r>
          </a:p>
        </p:txBody>
      </p:sp>
      <p:sp>
        <p:nvSpPr>
          <p:cNvPr id="29" name="Parallelogram 28"/>
          <p:cNvSpPr/>
          <p:nvPr/>
        </p:nvSpPr>
        <p:spPr>
          <a:xfrm>
            <a:off x="8344151" y="5934559"/>
            <a:ext cx="396000" cy="396000"/>
          </a:xfrm>
          <a:prstGeom prst="parallelogram">
            <a:avLst/>
          </a:prstGeom>
          <a:solidFill>
            <a:srgbClr val="003755"/>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dirty="0" smtClean="0">
                <a:solidFill>
                  <a:schemeClr val="bg1"/>
                </a:solidFill>
              </a:rPr>
              <a:t>7</a:t>
            </a:r>
          </a:p>
        </p:txBody>
      </p:sp>
      <p:sp>
        <p:nvSpPr>
          <p:cNvPr id="30" name="Parallelogram 29"/>
          <p:cNvSpPr/>
          <p:nvPr/>
        </p:nvSpPr>
        <p:spPr>
          <a:xfrm>
            <a:off x="8344151" y="3238556"/>
            <a:ext cx="396000" cy="396000"/>
          </a:xfrm>
          <a:prstGeom prst="parallelogram">
            <a:avLst/>
          </a:prstGeom>
          <a:solidFill>
            <a:srgbClr val="003755"/>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dirty="0" smtClean="0">
                <a:solidFill>
                  <a:schemeClr val="bg1"/>
                </a:solidFill>
              </a:rPr>
              <a:t>2</a:t>
            </a:r>
          </a:p>
        </p:txBody>
      </p:sp>
      <p:sp>
        <p:nvSpPr>
          <p:cNvPr id="31" name="Parallelogram 30"/>
          <p:cNvSpPr/>
          <p:nvPr/>
        </p:nvSpPr>
        <p:spPr>
          <a:xfrm>
            <a:off x="8344151" y="3777757"/>
            <a:ext cx="396000" cy="396000"/>
          </a:xfrm>
          <a:prstGeom prst="parallelogram">
            <a:avLst/>
          </a:prstGeom>
          <a:solidFill>
            <a:srgbClr val="003755"/>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1600" dirty="0">
                <a:solidFill>
                  <a:schemeClr val="bg1"/>
                </a:solidFill>
              </a:rPr>
              <a:t>3</a:t>
            </a:r>
            <a:endParaRPr lang="en-GB" sz="1600" dirty="0" smtClean="0">
              <a:solidFill>
                <a:schemeClr val="bg1"/>
              </a:solidFill>
            </a:endParaRPr>
          </a:p>
        </p:txBody>
      </p:sp>
      <p:sp>
        <p:nvSpPr>
          <p:cNvPr id="33" name="Parallelogram 32"/>
          <p:cNvSpPr/>
          <p:nvPr/>
        </p:nvSpPr>
        <p:spPr>
          <a:xfrm>
            <a:off x="4462260" y="4305600"/>
            <a:ext cx="396000" cy="396000"/>
          </a:xfrm>
          <a:prstGeom prst="parallelogram">
            <a:avLst/>
          </a:prstGeom>
          <a:solidFill>
            <a:srgbClr val="6DBACE"/>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sv-SE" sz="1600" dirty="0">
                <a:solidFill>
                  <a:schemeClr val="bg1"/>
                </a:solidFill>
              </a:rPr>
              <a:t>4</a:t>
            </a:r>
            <a:endParaRPr lang="en-GB" sz="1600" dirty="0" smtClean="0">
              <a:solidFill>
                <a:schemeClr val="bg1"/>
              </a:solidFill>
            </a:endParaRPr>
          </a:p>
        </p:txBody>
      </p:sp>
      <p:sp>
        <p:nvSpPr>
          <p:cNvPr id="34" name="Parallelogram 33"/>
          <p:cNvSpPr/>
          <p:nvPr/>
        </p:nvSpPr>
        <p:spPr>
          <a:xfrm>
            <a:off x="4462260" y="4841015"/>
            <a:ext cx="396000" cy="396000"/>
          </a:xfrm>
          <a:prstGeom prst="parallelogram">
            <a:avLst/>
          </a:prstGeom>
          <a:solidFill>
            <a:srgbClr val="6DBACE"/>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sv-SE" sz="1600" dirty="0">
                <a:solidFill>
                  <a:schemeClr val="bg1"/>
                </a:solidFill>
              </a:rPr>
              <a:t>5</a:t>
            </a:r>
            <a:endParaRPr lang="en-GB" sz="1600" dirty="0" smtClean="0">
              <a:solidFill>
                <a:schemeClr val="bg1"/>
              </a:solidFill>
            </a:endParaRPr>
          </a:p>
        </p:txBody>
      </p:sp>
      <p:sp>
        <p:nvSpPr>
          <p:cNvPr id="41" name="Parallelogram 40"/>
          <p:cNvSpPr/>
          <p:nvPr/>
        </p:nvSpPr>
        <p:spPr>
          <a:xfrm>
            <a:off x="4462260" y="5376430"/>
            <a:ext cx="396000" cy="396000"/>
          </a:xfrm>
          <a:prstGeom prst="parallelogram">
            <a:avLst/>
          </a:prstGeom>
          <a:solidFill>
            <a:srgbClr val="6DBACE"/>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sv-SE" sz="1600" dirty="0">
                <a:solidFill>
                  <a:schemeClr val="bg1"/>
                </a:solidFill>
              </a:rPr>
              <a:t>6</a:t>
            </a:r>
            <a:endParaRPr lang="en-GB" sz="1600" dirty="0" smtClean="0">
              <a:solidFill>
                <a:schemeClr val="bg1"/>
              </a:solidFill>
            </a:endParaRPr>
          </a:p>
        </p:txBody>
      </p:sp>
      <p:sp>
        <p:nvSpPr>
          <p:cNvPr id="42" name="Parallelogram 41"/>
          <p:cNvSpPr/>
          <p:nvPr/>
        </p:nvSpPr>
        <p:spPr>
          <a:xfrm>
            <a:off x="4462260" y="5911844"/>
            <a:ext cx="396000" cy="396000"/>
          </a:xfrm>
          <a:prstGeom prst="parallelogram">
            <a:avLst/>
          </a:prstGeom>
          <a:solidFill>
            <a:srgbClr val="6DBACE"/>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sv-SE" sz="1600" dirty="0">
                <a:solidFill>
                  <a:schemeClr val="bg1"/>
                </a:solidFill>
              </a:rPr>
              <a:t>7</a:t>
            </a:r>
            <a:endParaRPr lang="en-GB" sz="1600" dirty="0" smtClean="0">
              <a:solidFill>
                <a:schemeClr val="bg1"/>
              </a:solidFill>
            </a:endParaRPr>
          </a:p>
        </p:txBody>
      </p:sp>
      <p:cxnSp>
        <p:nvCxnSpPr>
          <p:cNvPr id="4" name="Straight Connector 3"/>
          <p:cNvCxnSpPr/>
          <p:nvPr/>
        </p:nvCxnSpPr>
        <p:spPr>
          <a:xfrm>
            <a:off x="4205161" y="2172529"/>
            <a:ext cx="16643" cy="4237762"/>
          </a:xfrm>
          <a:prstGeom prst="line">
            <a:avLst/>
          </a:prstGeom>
          <a:ln>
            <a:prstDash val="lgDash"/>
          </a:ln>
        </p:spPr>
        <p:style>
          <a:lnRef idx="1">
            <a:schemeClr val="accent5"/>
          </a:lnRef>
          <a:fillRef idx="0">
            <a:schemeClr val="accent5"/>
          </a:fillRef>
          <a:effectRef idx="0">
            <a:schemeClr val="accent5"/>
          </a:effectRef>
          <a:fontRef idx="minor">
            <a:schemeClr val="tx1"/>
          </a:fontRef>
        </p:style>
      </p:cxnSp>
      <p:cxnSp>
        <p:nvCxnSpPr>
          <p:cNvPr id="44" name="Straight Connector 43"/>
          <p:cNvCxnSpPr/>
          <p:nvPr/>
        </p:nvCxnSpPr>
        <p:spPr>
          <a:xfrm flipV="1">
            <a:off x="471354" y="2538284"/>
            <a:ext cx="3600000" cy="16854"/>
          </a:xfrm>
          <a:prstGeom prst="line">
            <a:avLst/>
          </a:prstGeom>
          <a:ln w="12700"/>
        </p:spPr>
        <p:style>
          <a:lnRef idx="1">
            <a:schemeClr val="accent3"/>
          </a:lnRef>
          <a:fillRef idx="0">
            <a:schemeClr val="accent3"/>
          </a:fillRef>
          <a:effectRef idx="0">
            <a:schemeClr val="accent3"/>
          </a:effectRef>
          <a:fontRef idx="minor">
            <a:schemeClr val="tx1"/>
          </a:fontRef>
        </p:style>
      </p:cxnSp>
      <p:cxnSp>
        <p:nvCxnSpPr>
          <p:cNvPr id="46" name="Straight Connector 45"/>
          <p:cNvCxnSpPr/>
          <p:nvPr/>
        </p:nvCxnSpPr>
        <p:spPr>
          <a:xfrm flipV="1">
            <a:off x="4365816" y="2521430"/>
            <a:ext cx="3600000" cy="16854"/>
          </a:xfrm>
          <a:prstGeom prst="line">
            <a:avLst/>
          </a:prstGeom>
          <a:ln w="12700"/>
        </p:spPr>
        <p:style>
          <a:lnRef idx="1">
            <a:schemeClr val="accent3"/>
          </a:lnRef>
          <a:fillRef idx="0">
            <a:schemeClr val="accent3"/>
          </a:fillRef>
          <a:effectRef idx="0">
            <a:schemeClr val="accent3"/>
          </a:effectRef>
          <a:fontRef idx="minor">
            <a:schemeClr val="tx1"/>
          </a:fontRef>
        </p:style>
      </p:cxnSp>
      <p:cxnSp>
        <p:nvCxnSpPr>
          <p:cNvPr id="50" name="Straight Connector 49"/>
          <p:cNvCxnSpPr/>
          <p:nvPr/>
        </p:nvCxnSpPr>
        <p:spPr>
          <a:xfrm flipV="1">
            <a:off x="8260278" y="2505046"/>
            <a:ext cx="3600000" cy="16854"/>
          </a:xfrm>
          <a:prstGeom prst="line">
            <a:avLst/>
          </a:prstGeom>
          <a:ln w="12700"/>
        </p:spPr>
        <p:style>
          <a:lnRef idx="1">
            <a:schemeClr val="accent3"/>
          </a:lnRef>
          <a:fillRef idx="0">
            <a:schemeClr val="accent3"/>
          </a:fillRef>
          <a:effectRef idx="0">
            <a:schemeClr val="accent3"/>
          </a:effectRef>
          <a:fontRef idx="minor">
            <a:schemeClr val="tx1"/>
          </a:fontRef>
        </p:style>
      </p:cxnSp>
      <p:cxnSp>
        <p:nvCxnSpPr>
          <p:cNvPr id="51" name="Straight Connector 50"/>
          <p:cNvCxnSpPr/>
          <p:nvPr/>
        </p:nvCxnSpPr>
        <p:spPr>
          <a:xfrm>
            <a:off x="8093185" y="2155675"/>
            <a:ext cx="16643" cy="4237762"/>
          </a:xfrm>
          <a:prstGeom prst="line">
            <a:avLst/>
          </a:prstGeom>
          <a:ln>
            <a:prstDash val="lgDash"/>
          </a:ln>
        </p:spPr>
        <p:style>
          <a:lnRef idx="1">
            <a:schemeClr val="accent5"/>
          </a:lnRef>
          <a:fillRef idx="0">
            <a:schemeClr val="accent5"/>
          </a:fillRef>
          <a:effectRef idx="0">
            <a:schemeClr val="accent5"/>
          </a:effectRef>
          <a:fontRef idx="minor">
            <a:schemeClr val="tx1"/>
          </a:fontRef>
        </p:style>
      </p:cxnSp>
      <p:grpSp>
        <p:nvGrpSpPr>
          <p:cNvPr id="54" name="Group 53"/>
          <p:cNvGrpSpPr/>
          <p:nvPr/>
        </p:nvGrpSpPr>
        <p:grpSpPr>
          <a:xfrm>
            <a:off x="431900" y="192024"/>
            <a:ext cx="3003820" cy="429768"/>
            <a:chOff x="430039" y="1689276"/>
            <a:chExt cx="3003820" cy="420908"/>
          </a:xfrm>
        </p:grpSpPr>
        <p:grpSp>
          <p:nvGrpSpPr>
            <p:cNvPr id="55" name="Group 54"/>
            <p:cNvGrpSpPr>
              <a:grpSpLocks noChangeAspect="1"/>
            </p:cNvGrpSpPr>
            <p:nvPr/>
          </p:nvGrpSpPr>
          <p:grpSpPr>
            <a:xfrm>
              <a:off x="430039" y="1689276"/>
              <a:ext cx="3003820" cy="420908"/>
              <a:chOff x="456953" y="3890814"/>
              <a:chExt cx="7707433" cy="1080000"/>
            </a:xfrm>
          </p:grpSpPr>
          <p:sp>
            <p:nvSpPr>
              <p:cNvPr id="57" name="Rectangle 56"/>
              <p:cNvSpPr/>
              <p:nvPr/>
            </p:nvSpPr>
            <p:spPr>
              <a:xfrm>
                <a:off x="456953" y="3890814"/>
                <a:ext cx="7707433" cy="1080000"/>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58" name="Rectangle 57"/>
              <p:cNvSpPr/>
              <p:nvPr/>
            </p:nvSpPr>
            <p:spPr>
              <a:xfrm>
                <a:off x="977532" y="3890814"/>
                <a:ext cx="6373676" cy="10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a:solidFill>
                    <a:srgbClr val="000000"/>
                  </a:solidFill>
                </a:endParaRPr>
              </a:p>
            </p:txBody>
          </p:sp>
          <p:sp>
            <p:nvSpPr>
              <p:cNvPr id="59" name="Oval 58"/>
              <p:cNvSpPr/>
              <p:nvPr/>
            </p:nvSpPr>
            <p:spPr>
              <a:xfrm>
                <a:off x="475491" y="4097596"/>
                <a:ext cx="666435"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chemeClr val="tx1"/>
                  </a:solidFill>
                </a:endParaRPr>
              </a:p>
            </p:txBody>
          </p:sp>
          <p:sp>
            <p:nvSpPr>
              <p:cNvPr id="60" name="TextBox 59"/>
              <p:cNvSpPr txBox="1"/>
              <p:nvPr/>
            </p:nvSpPr>
            <p:spPr>
              <a:xfrm>
                <a:off x="1487368" y="4233382"/>
                <a:ext cx="3557258" cy="394858"/>
              </a:xfrm>
              <a:prstGeom prst="rect">
                <a:avLst/>
              </a:prstGeom>
              <a:noFill/>
            </p:spPr>
            <p:txBody>
              <a:bodyPr wrap="square" lIns="0" tIns="0" rIns="0" bIns="0" rtlCol="0">
                <a:spAutoFit/>
              </a:bodyPr>
              <a:lstStyle/>
              <a:p>
                <a:r>
                  <a:rPr lang="en-US" sz="1000" b="1" dirty="0">
                    <a:solidFill>
                      <a:srgbClr val="003755"/>
                    </a:solidFill>
                  </a:rPr>
                  <a:t>ESG engagement topics</a:t>
                </a:r>
              </a:p>
            </p:txBody>
          </p:sp>
          <p:sp>
            <p:nvSpPr>
              <p:cNvPr id="61" name="Magnifiying glass"/>
              <p:cNvSpPr>
                <a:spLocks noChangeAspect="1"/>
              </p:cNvSpPr>
              <p:nvPr>
                <p:custDataLst>
                  <p:tags r:id="rId3"/>
                </p:custDataLst>
              </p:nvPr>
            </p:nvSpPr>
            <p:spPr bwMode="auto">
              <a:xfrm>
                <a:off x="661290" y="4250814"/>
                <a:ext cx="360630" cy="360000"/>
              </a:xfrm>
              <a:custGeom>
                <a:avLst/>
                <a:gdLst>
                  <a:gd name="connsiteX0" fmla="*/ 464226 w 1478978"/>
                  <a:gd name="connsiteY0" fmla="*/ 57150 h 1476375"/>
                  <a:gd name="connsiteX1" fmla="*/ 176915 w 1478978"/>
                  <a:gd name="connsiteY1" fmla="*/ 177916 h 1476375"/>
                  <a:gd name="connsiteX2" fmla="*/ 176915 w 1478978"/>
                  <a:gd name="connsiteY2" fmla="*/ 751552 h 1476375"/>
                  <a:gd name="connsiteX3" fmla="*/ 237402 w 1478978"/>
                  <a:gd name="connsiteY3" fmla="*/ 800613 h 1476375"/>
                  <a:gd name="connsiteX4" fmla="*/ 305449 w 1478978"/>
                  <a:gd name="connsiteY4" fmla="*/ 838352 h 1476375"/>
                  <a:gd name="connsiteX5" fmla="*/ 626783 w 1478978"/>
                  <a:gd name="connsiteY5" fmla="*/ 842126 h 1476375"/>
                  <a:gd name="connsiteX6" fmla="*/ 694830 w 1478978"/>
                  <a:gd name="connsiteY6" fmla="*/ 800613 h 1476375"/>
                  <a:gd name="connsiteX7" fmla="*/ 777999 w 1478978"/>
                  <a:gd name="connsiteY7" fmla="*/ 725134 h 1476375"/>
                  <a:gd name="connsiteX8" fmla="*/ 751536 w 1478978"/>
                  <a:gd name="connsiteY8" fmla="*/ 177916 h 1476375"/>
                  <a:gd name="connsiteX9" fmla="*/ 464226 w 1478978"/>
                  <a:gd name="connsiteY9" fmla="*/ 57150 h 1476375"/>
                  <a:gd name="connsiteX10" fmla="*/ 464957 w 1478978"/>
                  <a:gd name="connsiteY10" fmla="*/ 0 h 1476375"/>
                  <a:gd name="connsiteX11" fmla="*/ 793828 w 1478978"/>
                  <a:gd name="connsiteY11" fmla="*/ 135932 h 1476375"/>
                  <a:gd name="connsiteX12" fmla="*/ 835410 w 1478978"/>
                  <a:gd name="connsiteY12" fmla="*/ 743851 h 1476375"/>
                  <a:gd name="connsiteX13" fmla="*/ 884552 w 1478978"/>
                  <a:gd name="connsiteY13" fmla="*/ 792938 h 1476375"/>
                  <a:gd name="connsiteX14" fmla="*/ 911013 w 1478978"/>
                  <a:gd name="connsiteY14" fmla="*/ 766507 h 1476375"/>
                  <a:gd name="connsiteX15" fmla="*/ 929913 w 1478978"/>
                  <a:gd name="connsiteY15" fmla="*/ 758955 h 1476375"/>
                  <a:gd name="connsiteX16" fmla="*/ 948814 w 1478978"/>
                  <a:gd name="connsiteY16" fmla="*/ 766507 h 1476375"/>
                  <a:gd name="connsiteX17" fmla="*/ 1470473 w 1478978"/>
                  <a:gd name="connsiteY17" fmla="*/ 1291356 h 1476375"/>
                  <a:gd name="connsiteX18" fmla="*/ 1470473 w 1478978"/>
                  <a:gd name="connsiteY18" fmla="*/ 1325339 h 1476375"/>
                  <a:gd name="connsiteX19" fmla="*/ 1326828 w 1478978"/>
                  <a:gd name="connsiteY19" fmla="*/ 1468823 h 1476375"/>
                  <a:gd name="connsiteX20" fmla="*/ 1311707 w 1478978"/>
                  <a:gd name="connsiteY20" fmla="*/ 1476375 h 1476375"/>
                  <a:gd name="connsiteX21" fmla="*/ 1292806 w 1478978"/>
                  <a:gd name="connsiteY21" fmla="*/ 1468823 h 1476375"/>
                  <a:gd name="connsiteX22" fmla="*/ 767367 w 1478978"/>
                  <a:gd name="connsiteY22" fmla="*/ 947750 h 1476375"/>
                  <a:gd name="connsiteX23" fmla="*/ 759807 w 1478978"/>
                  <a:gd name="connsiteY23" fmla="*/ 928870 h 1476375"/>
                  <a:gd name="connsiteX24" fmla="*/ 767367 w 1478978"/>
                  <a:gd name="connsiteY24" fmla="*/ 909991 h 1476375"/>
                  <a:gd name="connsiteX25" fmla="*/ 793828 w 1478978"/>
                  <a:gd name="connsiteY25" fmla="*/ 883560 h 1476375"/>
                  <a:gd name="connsiteX26" fmla="*/ 744687 w 1478978"/>
                  <a:gd name="connsiteY26" fmla="*/ 834473 h 1476375"/>
                  <a:gd name="connsiteX27" fmla="*/ 729566 w 1478978"/>
                  <a:gd name="connsiteY27" fmla="*/ 845801 h 1476375"/>
                  <a:gd name="connsiteX28" fmla="*/ 650183 w 1478978"/>
                  <a:gd name="connsiteY28" fmla="*/ 891111 h 1476375"/>
                  <a:gd name="connsiteX29" fmla="*/ 283510 w 1478978"/>
                  <a:gd name="connsiteY29" fmla="*/ 891111 h 1476375"/>
                  <a:gd name="connsiteX30" fmla="*/ 204127 w 1478978"/>
                  <a:gd name="connsiteY30" fmla="*/ 849577 h 1476375"/>
                  <a:gd name="connsiteX31" fmla="*/ 136085 w 1478978"/>
                  <a:gd name="connsiteY31" fmla="*/ 792938 h 1476375"/>
                  <a:gd name="connsiteX32" fmla="*/ 136085 w 1478978"/>
                  <a:gd name="connsiteY32" fmla="*/ 135932 h 1476375"/>
                  <a:gd name="connsiteX33" fmla="*/ 464957 w 1478978"/>
                  <a:gd name="connsiteY33" fmla="*/ 0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78978" h="1476375">
                    <a:moveTo>
                      <a:pt x="464226" y="57150"/>
                    </a:moveTo>
                    <a:cubicBezTo>
                      <a:pt x="354594" y="57150"/>
                      <a:pt x="252523" y="98663"/>
                      <a:pt x="176915" y="177916"/>
                    </a:cubicBezTo>
                    <a:cubicBezTo>
                      <a:pt x="18138" y="336420"/>
                      <a:pt x="18138" y="593047"/>
                      <a:pt x="176915" y="751552"/>
                    </a:cubicBezTo>
                    <a:cubicBezTo>
                      <a:pt x="195817" y="770422"/>
                      <a:pt x="214719" y="785517"/>
                      <a:pt x="237402" y="800613"/>
                    </a:cubicBezTo>
                    <a:cubicBezTo>
                      <a:pt x="256304" y="815709"/>
                      <a:pt x="278986" y="827030"/>
                      <a:pt x="305449" y="838352"/>
                    </a:cubicBezTo>
                    <a:cubicBezTo>
                      <a:pt x="407520" y="883639"/>
                      <a:pt x="524712" y="887413"/>
                      <a:pt x="626783" y="842126"/>
                    </a:cubicBezTo>
                    <a:cubicBezTo>
                      <a:pt x="653246" y="830804"/>
                      <a:pt x="672148" y="815709"/>
                      <a:pt x="694830" y="800613"/>
                    </a:cubicBezTo>
                    <a:cubicBezTo>
                      <a:pt x="747756" y="766648"/>
                      <a:pt x="777999" y="725134"/>
                      <a:pt x="777999" y="725134"/>
                    </a:cubicBezTo>
                    <a:cubicBezTo>
                      <a:pt x="910313" y="566630"/>
                      <a:pt x="902752" y="325099"/>
                      <a:pt x="751536" y="177916"/>
                    </a:cubicBezTo>
                    <a:cubicBezTo>
                      <a:pt x="675928" y="98663"/>
                      <a:pt x="573857" y="57150"/>
                      <a:pt x="464226" y="57150"/>
                    </a:cubicBezTo>
                    <a:close/>
                    <a:moveTo>
                      <a:pt x="464957" y="0"/>
                    </a:moveTo>
                    <a:cubicBezTo>
                      <a:pt x="589701" y="0"/>
                      <a:pt x="706885" y="49087"/>
                      <a:pt x="793828" y="135932"/>
                    </a:cubicBezTo>
                    <a:cubicBezTo>
                      <a:pt x="956374" y="298296"/>
                      <a:pt x="975275" y="562609"/>
                      <a:pt x="835410" y="743851"/>
                    </a:cubicBezTo>
                    <a:cubicBezTo>
                      <a:pt x="884552" y="792938"/>
                      <a:pt x="884552" y="792938"/>
                      <a:pt x="884552" y="792938"/>
                    </a:cubicBezTo>
                    <a:cubicBezTo>
                      <a:pt x="911013" y="766507"/>
                      <a:pt x="911013" y="766507"/>
                      <a:pt x="911013" y="766507"/>
                    </a:cubicBezTo>
                    <a:cubicBezTo>
                      <a:pt x="914793" y="762731"/>
                      <a:pt x="922353" y="758955"/>
                      <a:pt x="929913" y="758955"/>
                    </a:cubicBezTo>
                    <a:cubicBezTo>
                      <a:pt x="937474" y="758955"/>
                      <a:pt x="941254" y="762731"/>
                      <a:pt x="948814" y="766507"/>
                    </a:cubicBezTo>
                    <a:cubicBezTo>
                      <a:pt x="1470473" y="1291356"/>
                      <a:pt x="1470473" y="1291356"/>
                      <a:pt x="1470473" y="1291356"/>
                    </a:cubicBezTo>
                    <a:cubicBezTo>
                      <a:pt x="1481813" y="1298908"/>
                      <a:pt x="1481813" y="1317788"/>
                      <a:pt x="1470473" y="1325339"/>
                    </a:cubicBezTo>
                    <a:cubicBezTo>
                      <a:pt x="1326828" y="1468823"/>
                      <a:pt x="1326828" y="1468823"/>
                      <a:pt x="1326828" y="1468823"/>
                    </a:cubicBezTo>
                    <a:cubicBezTo>
                      <a:pt x="1323047" y="1472599"/>
                      <a:pt x="1315487" y="1476375"/>
                      <a:pt x="1311707" y="1476375"/>
                    </a:cubicBezTo>
                    <a:cubicBezTo>
                      <a:pt x="1304147" y="1476375"/>
                      <a:pt x="1296587" y="1472599"/>
                      <a:pt x="1292806" y="1468823"/>
                    </a:cubicBezTo>
                    <a:cubicBezTo>
                      <a:pt x="767367" y="947750"/>
                      <a:pt x="767367" y="947750"/>
                      <a:pt x="767367" y="947750"/>
                    </a:cubicBezTo>
                    <a:cubicBezTo>
                      <a:pt x="763587" y="940198"/>
                      <a:pt x="759807" y="932646"/>
                      <a:pt x="759807" y="928870"/>
                    </a:cubicBezTo>
                    <a:cubicBezTo>
                      <a:pt x="759807" y="921319"/>
                      <a:pt x="763587" y="913767"/>
                      <a:pt x="767367" y="909991"/>
                    </a:cubicBezTo>
                    <a:cubicBezTo>
                      <a:pt x="793828" y="883560"/>
                      <a:pt x="793828" y="883560"/>
                      <a:pt x="793828" y="883560"/>
                    </a:cubicBezTo>
                    <a:cubicBezTo>
                      <a:pt x="744687" y="834473"/>
                      <a:pt x="744687" y="834473"/>
                      <a:pt x="744687" y="834473"/>
                    </a:cubicBezTo>
                    <a:cubicBezTo>
                      <a:pt x="740907" y="838249"/>
                      <a:pt x="733346" y="842025"/>
                      <a:pt x="729566" y="845801"/>
                    </a:cubicBezTo>
                    <a:cubicBezTo>
                      <a:pt x="703105" y="864680"/>
                      <a:pt x="676644" y="879784"/>
                      <a:pt x="650183" y="891111"/>
                    </a:cubicBezTo>
                    <a:cubicBezTo>
                      <a:pt x="532999" y="940198"/>
                      <a:pt x="400694" y="940198"/>
                      <a:pt x="283510" y="891111"/>
                    </a:cubicBezTo>
                    <a:cubicBezTo>
                      <a:pt x="257049" y="879784"/>
                      <a:pt x="230588" y="864680"/>
                      <a:pt x="204127" y="849577"/>
                    </a:cubicBezTo>
                    <a:cubicBezTo>
                      <a:pt x="181446" y="830697"/>
                      <a:pt x="158766" y="811818"/>
                      <a:pt x="136085" y="792938"/>
                    </a:cubicBezTo>
                    <a:cubicBezTo>
                      <a:pt x="-45362" y="611695"/>
                      <a:pt x="-45362" y="317175"/>
                      <a:pt x="136085" y="135932"/>
                    </a:cubicBezTo>
                    <a:cubicBezTo>
                      <a:pt x="226808" y="49087"/>
                      <a:pt x="340212" y="0"/>
                      <a:pt x="464957" y="0"/>
                    </a:cubicBezTo>
                    <a:close/>
                  </a:path>
                </a:pathLst>
              </a:custGeom>
              <a:solidFill>
                <a:schemeClr val="bg1"/>
              </a:solidFill>
              <a:ln>
                <a:noFill/>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t" anchorCtr="0" compatLnSpc="1">
                <a:prstTxWarp prst="textNoShape">
                  <a:avLst/>
                </a:prstTxWarp>
                <a:noAutofit/>
              </a:bodyPr>
              <a:lstStyle/>
              <a:p>
                <a:endParaRPr lang="en-GB" sz="1600" dirty="0">
                  <a:solidFill>
                    <a:srgbClr val="000000"/>
                  </a:solidFill>
                </a:endParaRPr>
              </a:p>
            </p:txBody>
          </p:sp>
          <p:sp>
            <p:nvSpPr>
              <p:cNvPr id="62" name="Rectangle 61"/>
              <p:cNvSpPr/>
              <p:nvPr/>
            </p:nvSpPr>
            <p:spPr>
              <a:xfrm>
                <a:off x="1337960" y="4191274"/>
                <a:ext cx="38327"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rgbClr val="000000"/>
                  </a:solidFill>
                </a:endParaRPr>
              </a:p>
            </p:txBody>
          </p:sp>
        </p:grpSp>
        <p:sp>
          <p:nvSpPr>
            <p:cNvPr id="56" name="TextBox 55"/>
            <p:cNvSpPr txBox="1"/>
            <p:nvPr/>
          </p:nvSpPr>
          <p:spPr>
            <a:xfrm>
              <a:off x="2463448" y="1785081"/>
              <a:ext cx="789990" cy="229294"/>
            </a:xfrm>
            <a:prstGeom prst="rect">
              <a:avLst/>
            </a:prstGeom>
            <a:noFill/>
          </p:spPr>
          <p:txBody>
            <a:bodyPr wrap="square" rtlCol="0" anchor="ctr" anchorCtr="0">
              <a:spAutoFit/>
            </a:bodyPr>
            <a:lstStyle/>
            <a:p>
              <a:pPr algn="ctr">
                <a:lnSpc>
                  <a:spcPct val="89000"/>
                </a:lnSpc>
              </a:pPr>
              <a:r>
                <a:rPr lang="en-US" sz="1000" b="1" dirty="0" smtClean="0">
                  <a:solidFill>
                    <a:schemeClr val="tx2"/>
                  </a:solidFill>
                  <a:ea typeface="Open Sans" panose="020B0606030504020204" pitchFamily="34" charset="0"/>
                  <a:cs typeface="Open Sans" panose="020B0606030504020204" pitchFamily="34" charset="0"/>
                </a:rPr>
                <a:t>90</a:t>
              </a:r>
              <a:endParaRPr lang="en-US" sz="1000" b="1" dirty="0">
                <a:solidFill>
                  <a:srgbClr val="003755"/>
                </a:solidFill>
                <a:ea typeface="Open Sans" panose="020B0606030504020204" pitchFamily="34" charset="0"/>
                <a:cs typeface="Open Sans" panose="020B0606030504020204" pitchFamily="34" charset="0"/>
              </a:endParaRPr>
            </a:p>
          </p:txBody>
        </p:sp>
      </p:grpSp>
      <p:grpSp>
        <p:nvGrpSpPr>
          <p:cNvPr id="20" name="Group 19"/>
          <p:cNvGrpSpPr/>
          <p:nvPr/>
        </p:nvGrpSpPr>
        <p:grpSpPr>
          <a:xfrm>
            <a:off x="486560" y="1535987"/>
            <a:ext cx="623758" cy="619688"/>
            <a:chOff x="486560" y="1535987"/>
            <a:chExt cx="623758" cy="619688"/>
          </a:xfrm>
        </p:grpSpPr>
        <p:sp>
          <p:nvSpPr>
            <p:cNvPr id="8" name="Rounded Rectangle 7"/>
            <p:cNvSpPr/>
            <p:nvPr/>
          </p:nvSpPr>
          <p:spPr>
            <a:xfrm>
              <a:off x="486560" y="1535987"/>
              <a:ext cx="623758" cy="619688"/>
            </a:xfrm>
            <a:prstGeom prst="roundRect">
              <a:avLst/>
            </a:prstGeom>
            <a:solidFill>
              <a:srgbClr val="09B89D"/>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19" name="TextBox 18"/>
            <p:cNvSpPr txBox="1"/>
            <p:nvPr/>
          </p:nvSpPr>
          <p:spPr>
            <a:xfrm>
              <a:off x="675079" y="1599725"/>
              <a:ext cx="246719" cy="492443"/>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GB" sz="3200" b="1" kern="1200" dirty="0" smtClean="0">
                  <a:solidFill>
                    <a:schemeClr val="bg1"/>
                  </a:solidFill>
                  <a:latin typeface="+mn-lt"/>
                  <a:ea typeface="+mn-ea"/>
                  <a:cs typeface="+mn-cs"/>
                </a:rPr>
                <a:t>E</a:t>
              </a:r>
            </a:p>
          </p:txBody>
        </p:sp>
      </p:grpSp>
      <p:grpSp>
        <p:nvGrpSpPr>
          <p:cNvPr id="21" name="Group 20"/>
          <p:cNvGrpSpPr/>
          <p:nvPr/>
        </p:nvGrpSpPr>
        <p:grpSpPr>
          <a:xfrm>
            <a:off x="4342133" y="1535987"/>
            <a:ext cx="623758" cy="619688"/>
            <a:chOff x="4342133" y="1535987"/>
            <a:chExt cx="623758" cy="619688"/>
          </a:xfrm>
        </p:grpSpPr>
        <p:sp>
          <p:nvSpPr>
            <p:cNvPr id="68" name="Rounded Rectangle 67"/>
            <p:cNvSpPr/>
            <p:nvPr/>
          </p:nvSpPr>
          <p:spPr>
            <a:xfrm>
              <a:off x="4342133" y="1535987"/>
              <a:ext cx="623758" cy="619688"/>
            </a:xfrm>
            <a:prstGeom prst="roundRect">
              <a:avLst/>
            </a:prstGeom>
            <a:solidFill>
              <a:srgbClr val="6DBACE"/>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70" name="TextBox 69"/>
            <p:cNvSpPr txBox="1"/>
            <p:nvPr/>
          </p:nvSpPr>
          <p:spPr>
            <a:xfrm>
              <a:off x="4530652" y="1596303"/>
              <a:ext cx="246719" cy="492443"/>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GB" sz="3200" b="1" kern="1200" dirty="0" smtClean="0">
                  <a:solidFill>
                    <a:schemeClr val="bg1"/>
                  </a:solidFill>
                  <a:latin typeface="+mn-lt"/>
                  <a:ea typeface="+mn-ea"/>
                  <a:cs typeface="+mn-cs"/>
                </a:rPr>
                <a:t>S</a:t>
              </a:r>
            </a:p>
          </p:txBody>
        </p:sp>
      </p:grpSp>
      <p:grpSp>
        <p:nvGrpSpPr>
          <p:cNvPr id="22" name="Group 21"/>
          <p:cNvGrpSpPr/>
          <p:nvPr/>
        </p:nvGrpSpPr>
        <p:grpSpPr>
          <a:xfrm>
            <a:off x="8230272" y="1535987"/>
            <a:ext cx="623758" cy="619688"/>
            <a:chOff x="8230272" y="1535987"/>
            <a:chExt cx="623758" cy="619688"/>
          </a:xfrm>
        </p:grpSpPr>
        <p:sp>
          <p:nvSpPr>
            <p:cNvPr id="69" name="Rounded Rectangle 68"/>
            <p:cNvSpPr/>
            <p:nvPr/>
          </p:nvSpPr>
          <p:spPr>
            <a:xfrm>
              <a:off x="8230272" y="1535987"/>
              <a:ext cx="623758" cy="619688"/>
            </a:xfrm>
            <a:prstGeom prst="roundRect">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71" name="TextBox 70"/>
            <p:cNvSpPr txBox="1"/>
            <p:nvPr/>
          </p:nvSpPr>
          <p:spPr>
            <a:xfrm>
              <a:off x="8418791" y="1596302"/>
              <a:ext cx="246719" cy="492443"/>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GB" sz="3200" b="1" kern="1200" dirty="0" smtClean="0">
                  <a:solidFill>
                    <a:schemeClr val="bg1"/>
                  </a:solidFill>
                  <a:latin typeface="+mn-lt"/>
                  <a:ea typeface="+mn-ea"/>
                  <a:cs typeface="+mn-cs"/>
                </a:rPr>
                <a:t>G</a:t>
              </a:r>
            </a:p>
          </p:txBody>
        </p:sp>
      </p:grpSp>
    </p:spTree>
    <p:extLst>
      <p:ext uri="{BB962C8B-B14F-4D97-AF65-F5344CB8AC3E}">
        <p14:creationId xmlns:p14="http://schemas.microsoft.com/office/powerpoint/2010/main" val="258455353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1900" y="728663"/>
            <a:ext cx="10024264" cy="664797"/>
          </a:xfrm>
        </p:spPr>
        <p:txBody>
          <a:bodyPr/>
          <a:lstStyle/>
          <a:p>
            <a:r>
              <a:rPr lang="en-GB" dirty="0" smtClean="0"/>
              <a:t>Top 3 among ESG engagement topics: </a:t>
            </a:r>
            <a:r>
              <a:rPr lang="en-US" dirty="0" smtClean="0"/>
              <a:t>GHG Emissions</a:t>
            </a:r>
            <a:r>
              <a:rPr lang="en-GB" dirty="0" smtClean="0"/>
              <a:t>; </a:t>
            </a:r>
            <a:r>
              <a:rPr lang="en-US" dirty="0"/>
              <a:t>Employee Health &amp; Safety; </a:t>
            </a:r>
            <a:r>
              <a:rPr lang="en-US" dirty="0" smtClean="0"/>
              <a:t>and Energy Efficiency</a:t>
            </a:r>
            <a:endParaRPr lang="en-US" dirty="0"/>
          </a:p>
        </p:txBody>
      </p:sp>
      <p:grpSp>
        <p:nvGrpSpPr>
          <p:cNvPr id="13" name="Group 12"/>
          <p:cNvGrpSpPr/>
          <p:nvPr/>
        </p:nvGrpSpPr>
        <p:grpSpPr>
          <a:xfrm>
            <a:off x="431900" y="192024"/>
            <a:ext cx="3003820" cy="429768"/>
            <a:chOff x="430039" y="1689276"/>
            <a:chExt cx="3003820" cy="420908"/>
          </a:xfrm>
        </p:grpSpPr>
        <p:grpSp>
          <p:nvGrpSpPr>
            <p:cNvPr id="17" name="Group 16"/>
            <p:cNvGrpSpPr>
              <a:grpSpLocks noChangeAspect="1"/>
            </p:cNvGrpSpPr>
            <p:nvPr/>
          </p:nvGrpSpPr>
          <p:grpSpPr>
            <a:xfrm>
              <a:off x="430039" y="1689276"/>
              <a:ext cx="3003820" cy="420908"/>
              <a:chOff x="456953" y="3890814"/>
              <a:chExt cx="7707433" cy="1080000"/>
            </a:xfrm>
          </p:grpSpPr>
          <p:sp>
            <p:nvSpPr>
              <p:cNvPr id="23" name="Rectangle 22"/>
              <p:cNvSpPr/>
              <p:nvPr/>
            </p:nvSpPr>
            <p:spPr>
              <a:xfrm>
                <a:off x="456953" y="3890814"/>
                <a:ext cx="7707433" cy="1080000"/>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24" name="Rectangle 23"/>
              <p:cNvSpPr/>
              <p:nvPr/>
            </p:nvSpPr>
            <p:spPr>
              <a:xfrm>
                <a:off x="977532" y="3890814"/>
                <a:ext cx="6373676" cy="10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a:solidFill>
                    <a:srgbClr val="000000"/>
                  </a:solidFill>
                </a:endParaRPr>
              </a:p>
            </p:txBody>
          </p:sp>
          <p:sp>
            <p:nvSpPr>
              <p:cNvPr id="25" name="Oval 24"/>
              <p:cNvSpPr/>
              <p:nvPr/>
            </p:nvSpPr>
            <p:spPr>
              <a:xfrm>
                <a:off x="475491" y="4097596"/>
                <a:ext cx="666435"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chemeClr val="tx1"/>
                  </a:solidFill>
                </a:endParaRPr>
              </a:p>
            </p:txBody>
          </p:sp>
          <p:sp>
            <p:nvSpPr>
              <p:cNvPr id="26" name="TextBox 25"/>
              <p:cNvSpPr txBox="1"/>
              <p:nvPr/>
            </p:nvSpPr>
            <p:spPr>
              <a:xfrm>
                <a:off x="1487368" y="4233382"/>
                <a:ext cx="3557258" cy="394858"/>
              </a:xfrm>
              <a:prstGeom prst="rect">
                <a:avLst/>
              </a:prstGeom>
              <a:noFill/>
            </p:spPr>
            <p:txBody>
              <a:bodyPr wrap="square" lIns="0" tIns="0" rIns="0" bIns="0" rtlCol="0">
                <a:spAutoFit/>
              </a:bodyPr>
              <a:lstStyle/>
              <a:p>
                <a:r>
                  <a:rPr lang="en-US" sz="1000" b="1" dirty="0">
                    <a:solidFill>
                      <a:srgbClr val="003755"/>
                    </a:solidFill>
                  </a:rPr>
                  <a:t>ESG engagement topics</a:t>
                </a:r>
              </a:p>
            </p:txBody>
          </p:sp>
          <p:sp>
            <p:nvSpPr>
              <p:cNvPr id="27" name="Magnifiying glass"/>
              <p:cNvSpPr>
                <a:spLocks noChangeAspect="1"/>
              </p:cNvSpPr>
              <p:nvPr>
                <p:custDataLst>
                  <p:tags r:id="rId1"/>
                </p:custDataLst>
              </p:nvPr>
            </p:nvSpPr>
            <p:spPr bwMode="auto">
              <a:xfrm>
                <a:off x="661290" y="4250814"/>
                <a:ext cx="360630" cy="360000"/>
              </a:xfrm>
              <a:custGeom>
                <a:avLst/>
                <a:gdLst>
                  <a:gd name="connsiteX0" fmla="*/ 464226 w 1478978"/>
                  <a:gd name="connsiteY0" fmla="*/ 57150 h 1476375"/>
                  <a:gd name="connsiteX1" fmla="*/ 176915 w 1478978"/>
                  <a:gd name="connsiteY1" fmla="*/ 177916 h 1476375"/>
                  <a:gd name="connsiteX2" fmla="*/ 176915 w 1478978"/>
                  <a:gd name="connsiteY2" fmla="*/ 751552 h 1476375"/>
                  <a:gd name="connsiteX3" fmla="*/ 237402 w 1478978"/>
                  <a:gd name="connsiteY3" fmla="*/ 800613 h 1476375"/>
                  <a:gd name="connsiteX4" fmla="*/ 305449 w 1478978"/>
                  <a:gd name="connsiteY4" fmla="*/ 838352 h 1476375"/>
                  <a:gd name="connsiteX5" fmla="*/ 626783 w 1478978"/>
                  <a:gd name="connsiteY5" fmla="*/ 842126 h 1476375"/>
                  <a:gd name="connsiteX6" fmla="*/ 694830 w 1478978"/>
                  <a:gd name="connsiteY6" fmla="*/ 800613 h 1476375"/>
                  <a:gd name="connsiteX7" fmla="*/ 777999 w 1478978"/>
                  <a:gd name="connsiteY7" fmla="*/ 725134 h 1476375"/>
                  <a:gd name="connsiteX8" fmla="*/ 751536 w 1478978"/>
                  <a:gd name="connsiteY8" fmla="*/ 177916 h 1476375"/>
                  <a:gd name="connsiteX9" fmla="*/ 464226 w 1478978"/>
                  <a:gd name="connsiteY9" fmla="*/ 57150 h 1476375"/>
                  <a:gd name="connsiteX10" fmla="*/ 464957 w 1478978"/>
                  <a:gd name="connsiteY10" fmla="*/ 0 h 1476375"/>
                  <a:gd name="connsiteX11" fmla="*/ 793828 w 1478978"/>
                  <a:gd name="connsiteY11" fmla="*/ 135932 h 1476375"/>
                  <a:gd name="connsiteX12" fmla="*/ 835410 w 1478978"/>
                  <a:gd name="connsiteY12" fmla="*/ 743851 h 1476375"/>
                  <a:gd name="connsiteX13" fmla="*/ 884552 w 1478978"/>
                  <a:gd name="connsiteY13" fmla="*/ 792938 h 1476375"/>
                  <a:gd name="connsiteX14" fmla="*/ 911013 w 1478978"/>
                  <a:gd name="connsiteY14" fmla="*/ 766507 h 1476375"/>
                  <a:gd name="connsiteX15" fmla="*/ 929913 w 1478978"/>
                  <a:gd name="connsiteY15" fmla="*/ 758955 h 1476375"/>
                  <a:gd name="connsiteX16" fmla="*/ 948814 w 1478978"/>
                  <a:gd name="connsiteY16" fmla="*/ 766507 h 1476375"/>
                  <a:gd name="connsiteX17" fmla="*/ 1470473 w 1478978"/>
                  <a:gd name="connsiteY17" fmla="*/ 1291356 h 1476375"/>
                  <a:gd name="connsiteX18" fmla="*/ 1470473 w 1478978"/>
                  <a:gd name="connsiteY18" fmla="*/ 1325339 h 1476375"/>
                  <a:gd name="connsiteX19" fmla="*/ 1326828 w 1478978"/>
                  <a:gd name="connsiteY19" fmla="*/ 1468823 h 1476375"/>
                  <a:gd name="connsiteX20" fmla="*/ 1311707 w 1478978"/>
                  <a:gd name="connsiteY20" fmla="*/ 1476375 h 1476375"/>
                  <a:gd name="connsiteX21" fmla="*/ 1292806 w 1478978"/>
                  <a:gd name="connsiteY21" fmla="*/ 1468823 h 1476375"/>
                  <a:gd name="connsiteX22" fmla="*/ 767367 w 1478978"/>
                  <a:gd name="connsiteY22" fmla="*/ 947750 h 1476375"/>
                  <a:gd name="connsiteX23" fmla="*/ 759807 w 1478978"/>
                  <a:gd name="connsiteY23" fmla="*/ 928870 h 1476375"/>
                  <a:gd name="connsiteX24" fmla="*/ 767367 w 1478978"/>
                  <a:gd name="connsiteY24" fmla="*/ 909991 h 1476375"/>
                  <a:gd name="connsiteX25" fmla="*/ 793828 w 1478978"/>
                  <a:gd name="connsiteY25" fmla="*/ 883560 h 1476375"/>
                  <a:gd name="connsiteX26" fmla="*/ 744687 w 1478978"/>
                  <a:gd name="connsiteY26" fmla="*/ 834473 h 1476375"/>
                  <a:gd name="connsiteX27" fmla="*/ 729566 w 1478978"/>
                  <a:gd name="connsiteY27" fmla="*/ 845801 h 1476375"/>
                  <a:gd name="connsiteX28" fmla="*/ 650183 w 1478978"/>
                  <a:gd name="connsiteY28" fmla="*/ 891111 h 1476375"/>
                  <a:gd name="connsiteX29" fmla="*/ 283510 w 1478978"/>
                  <a:gd name="connsiteY29" fmla="*/ 891111 h 1476375"/>
                  <a:gd name="connsiteX30" fmla="*/ 204127 w 1478978"/>
                  <a:gd name="connsiteY30" fmla="*/ 849577 h 1476375"/>
                  <a:gd name="connsiteX31" fmla="*/ 136085 w 1478978"/>
                  <a:gd name="connsiteY31" fmla="*/ 792938 h 1476375"/>
                  <a:gd name="connsiteX32" fmla="*/ 136085 w 1478978"/>
                  <a:gd name="connsiteY32" fmla="*/ 135932 h 1476375"/>
                  <a:gd name="connsiteX33" fmla="*/ 464957 w 1478978"/>
                  <a:gd name="connsiteY33" fmla="*/ 0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78978" h="1476375">
                    <a:moveTo>
                      <a:pt x="464226" y="57150"/>
                    </a:moveTo>
                    <a:cubicBezTo>
                      <a:pt x="354594" y="57150"/>
                      <a:pt x="252523" y="98663"/>
                      <a:pt x="176915" y="177916"/>
                    </a:cubicBezTo>
                    <a:cubicBezTo>
                      <a:pt x="18138" y="336420"/>
                      <a:pt x="18138" y="593047"/>
                      <a:pt x="176915" y="751552"/>
                    </a:cubicBezTo>
                    <a:cubicBezTo>
                      <a:pt x="195817" y="770422"/>
                      <a:pt x="214719" y="785517"/>
                      <a:pt x="237402" y="800613"/>
                    </a:cubicBezTo>
                    <a:cubicBezTo>
                      <a:pt x="256304" y="815709"/>
                      <a:pt x="278986" y="827030"/>
                      <a:pt x="305449" y="838352"/>
                    </a:cubicBezTo>
                    <a:cubicBezTo>
                      <a:pt x="407520" y="883639"/>
                      <a:pt x="524712" y="887413"/>
                      <a:pt x="626783" y="842126"/>
                    </a:cubicBezTo>
                    <a:cubicBezTo>
                      <a:pt x="653246" y="830804"/>
                      <a:pt x="672148" y="815709"/>
                      <a:pt x="694830" y="800613"/>
                    </a:cubicBezTo>
                    <a:cubicBezTo>
                      <a:pt x="747756" y="766648"/>
                      <a:pt x="777999" y="725134"/>
                      <a:pt x="777999" y="725134"/>
                    </a:cubicBezTo>
                    <a:cubicBezTo>
                      <a:pt x="910313" y="566630"/>
                      <a:pt x="902752" y="325099"/>
                      <a:pt x="751536" y="177916"/>
                    </a:cubicBezTo>
                    <a:cubicBezTo>
                      <a:pt x="675928" y="98663"/>
                      <a:pt x="573857" y="57150"/>
                      <a:pt x="464226" y="57150"/>
                    </a:cubicBezTo>
                    <a:close/>
                    <a:moveTo>
                      <a:pt x="464957" y="0"/>
                    </a:moveTo>
                    <a:cubicBezTo>
                      <a:pt x="589701" y="0"/>
                      <a:pt x="706885" y="49087"/>
                      <a:pt x="793828" y="135932"/>
                    </a:cubicBezTo>
                    <a:cubicBezTo>
                      <a:pt x="956374" y="298296"/>
                      <a:pt x="975275" y="562609"/>
                      <a:pt x="835410" y="743851"/>
                    </a:cubicBezTo>
                    <a:cubicBezTo>
                      <a:pt x="884552" y="792938"/>
                      <a:pt x="884552" y="792938"/>
                      <a:pt x="884552" y="792938"/>
                    </a:cubicBezTo>
                    <a:cubicBezTo>
                      <a:pt x="911013" y="766507"/>
                      <a:pt x="911013" y="766507"/>
                      <a:pt x="911013" y="766507"/>
                    </a:cubicBezTo>
                    <a:cubicBezTo>
                      <a:pt x="914793" y="762731"/>
                      <a:pt x="922353" y="758955"/>
                      <a:pt x="929913" y="758955"/>
                    </a:cubicBezTo>
                    <a:cubicBezTo>
                      <a:pt x="937474" y="758955"/>
                      <a:pt x="941254" y="762731"/>
                      <a:pt x="948814" y="766507"/>
                    </a:cubicBezTo>
                    <a:cubicBezTo>
                      <a:pt x="1470473" y="1291356"/>
                      <a:pt x="1470473" y="1291356"/>
                      <a:pt x="1470473" y="1291356"/>
                    </a:cubicBezTo>
                    <a:cubicBezTo>
                      <a:pt x="1481813" y="1298908"/>
                      <a:pt x="1481813" y="1317788"/>
                      <a:pt x="1470473" y="1325339"/>
                    </a:cubicBezTo>
                    <a:cubicBezTo>
                      <a:pt x="1326828" y="1468823"/>
                      <a:pt x="1326828" y="1468823"/>
                      <a:pt x="1326828" y="1468823"/>
                    </a:cubicBezTo>
                    <a:cubicBezTo>
                      <a:pt x="1323047" y="1472599"/>
                      <a:pt x="1315487" y="1476375"/>
                      <a:pt x="1311707" y="1476375"/>
                    </a:cubicBezTo>
                    <a:cubicBezTo>
                      <a:pt x="1304147" y="1476375"/>
                      <a:pt x="1296587" y="1472599"/>
                      <a:pt x="1292806" y="1468823"/>
                    </a:cubicBezTo>
                    <a:cubicBezTo>
                      <a:pt x="767367" y="947750"/>
                      <a:pt x="767367" y="947750"/>
                      <a:pt x="767367" y="947750"/>
                    </a:cubicBezTo>
                    <a:cubicBezTo>
                      <a:pt x="763587" y="940198"/>
                      <a:pt x="759807" y="932646"/>
                      <a:pt x="759807" y="928870"/>
                    </a:cubicBezTo>
                    <a:cubicBezTo>
                      <a:pt x="759807" y="921319"/>
                      <a:pt x="763587" y="913767"/>
                      <a:pt x="767367" y="909991"/>
                    </a:cubicBezTo>
                    <a:cubicBezTo>
                      <a:pt x="793828" y="883560"/>
                      <a:pt x="793828" y="883560"/>
                      <a:pt x="793828" y="883560"/>
                    </a:cubicBezTo>
                    <a:cubicBezTo>
                      <a:pt x="744687" y="834473"/>
                      <a:pt x="744687" y="834473"/>
                      <a:pt x="744687" y="834473"/>
                    </a:cubicBezTo>
                    <a:cubicBezTo>
                      <a:pt x="740907" y="838249"/>
                      <a:pt x="733346" y="842025"/>
                      <a:pt x="729566" y="845801"/>
                    </a:cubicBezTo>
                    <a:cubicBezTo>
                      <a:pt x="703105" y="864680"/>
                      <a:pt x="676644" y="879784"/>
                      <a:pt x="650183" y="891111"/>
                    </a:cubicBezTo>
                    <a:cubicBezTo>
                      <a:pt x="532999" y="940198"/>
                      <a:pt x="400694" y="940198"/>
                      <a:pt x="283510" y="891111"/>
                    </a:cubicBezTo>
                    <a:cubicBezTo>
                      <a:pt x="257049" y="879784"/>
                      <a:pt x="230588" y="864680"/>
                      <a:pt x="204127" y="849577"/>
                    </a:cubicBezTo>
                    <a:cubicBezTo>
                      <a:pt x="181446" y="830697"/>
                      <a:pt x="158766" y="811818"/>
                      <a:pt x="136085" y="792938"/>
                    </a:cubicBezTo>
                    <a:cubicBezTo>
                      <a:pt x="-45362" y="611695"/>
                      <a:pt x="-45362" y="317175"/>
                      <a:pt x="136085" y="135932"/>
                    </a:cubicBezTo>
                    <a:cubicBezTo>
                      <a:pt x="226808" y="49087"/>
                      <a:pt x="340212" y="0"/>
                      <a:pt x="464957" y="0"/>
                    </a:cubicBezTo>
                    <a:close/>
                  </a:path>
                </a:pathLst>
              </a:custGeom>
              <a:solidFill>
                <a:schemeClr val="bg1"/>
              </a:solidFill>
              <a:ln>
                <a:noFill/>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t" anchorCtr="0" compatLnSpc="1">
                <a:prstTxWarp prst="textNoShape">
                  <a:avLst/>
                </a:prstTxWarp>
                <a:noAutofit/>
              </a:bodyPr>
              <a:lstStyle/>
              <a:p>
                <a:endParaRPr lang="en-GB" sz="1600" dirty="0">
                  <a:solidFill>
                    <a:srgbClr val="000000"/>
                  </a:solidFill>
                </a:endParaRPr>
              </a:p>
            </p:txBody>
          </p:sp>
          <p:sp>
            <p:nvSpPr>
              <p:cNvPr id="28" name="Rectangle 27"/>
              <p:cNvSpPr/>
              <p:nvPr/>
            </p:nvSpPr>
            <p:spPr>
              <a:xfrm>
                <a:off x="1337960" y="4191274"/>
                <a:ext cx="38327"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rgbClr val="000000"/>
                  </a:solidFill>
                </a:endParaRPr>
              </a:p>
            </p:txBody>
          </p:sp>
        </p:grpSp>
        <p:sp>
          <p:nvSpPr>
            <p:cNvPr id="22" name="TextBox 21"/>
            <p:cNvSpPr txBox="1"/>
            <p:nvPr/>
          </p:nvSpPr>
          <p:spPr>
            <a:xfrm>
              <a:off x="2463448" y="1785081"/>
              <a:ext cx="789990" cy="229294"/>
            </a:xfrm>
            <a:prstGeom prst="rect">
              <a:avLst/>
            </a:prstGeom>
            <a:noFill/>
          </p:spPr>
          <p:txBody>
            <a:bodyPr wrap="square" rtlCol="0" anchor="ctr" anchorCtr="0">
              <a:spAutoFit/>
            </a:bodyPr>
            <a:lstStyle/>
            <a:p>
              <a:pPr algn="ctr">
                <a:lnSpc>
                  <a:spcPct val="89000"/>
                </a:lnSpc>
              </a:pPr>
              <a:r>
                <a:rPr lang="en-US" sz="1000" b="1" dirty="0" smtClean="0">
                  <a:solidFill>
                    <a:schemeClr val="tx2"/>
                  </a:solidFill>
                  <a:ea typeface="Open Sans" panose="020B0606030504020204" pitchFamily="34" charset="0"/>
                  <a:cs typeface="Open Sans" panose="020B0606030504020204" pitchFamily="34" charset="0"/>
                </a:rPr>
                <a:t>90</a:t>
              </a:r>
              <a:endParaRPr lang="en-US" sz="1000" b="1" dirty="0">
                <a:solidFill>
                  <a:srgbClr val="003755"/>
                </a:solidFill>
                <a:ea typeface="Open Sans" panose="020B0606030504020204" pitchFamily="34" charset="0"/>
                <a:cs typeface="Open Sans" panose="020B0606030504020204" pitchFamily="34" charset="0"/>
              </a:endParaRPr>
            </a:p>
          </p:txBody>
        </p:sp>
      </p:grpSp>
      <p:grpSp>
        <p:nvGrpSpPr>
          <p:cNvPr id="4" name="Group 3"/>
          <p:cNvGrpSpPr/>
          <p:nvPr/>
        </p:nvGrpSpPr>
        <p:grpSpPr>
          <a:xfrm>
            <a:off x="313782" y="2000116"/>
            <a:ext cx="11527633" cy="4915903"/>
            <a:chOff x="385958" y="1942097"/>
            <a:chExt cx="11527633" cy="4915903"/>
          </a:xfrm>
        </p:grpSpPr>
        <p:graphicFrame>
          <p:nvGraphicFramePr>
            <p:cNvPr id="6" name="Chart 5"/>
            <p:cNvGraphicFramePr/>
            <p:nvPr>
              <p:extLst>
                <p:ext uri="{D42A27DB-BD31-4B8C-83A1-F6EECF244321}">
                  <p14:modId xmlns:p14="http://schemas.microsoft.com/office/powerpoint/2010/main" val="1159082884"/>
                </p:ext>
              </p:extLst>
            </p:nvPr>
          </p:nvGraphicFramePr>
          <p:xfrm>
            <a:off x="385958" y="1942097"/>
            <a:ext cx="11527633" cy="4915903"/>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angle 1"/>
            <p:cNvSpPr/>
            <p:nvPr/>
          </p:nvSpPr>
          <p:spPr>
            <a:xfrm>
              <a:off x="4121893" y="4055561"/>
              <a:ext cx="391814" cy="344487"/>
            </a:xfrm>
            <a:prstGeom prst="rect">
              <a:avLst/>
            </a:prstGeom>
            <a:solidFill>
              <a:srgbClr val="6DBACE"/>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grpSp>
      <p:grpSp>
        <p:nvGrpSpPr>
          <p:cNvPr id="43" name="Group 42"/>
          <p:cNvGrpSpPr/>
          <p:nvPr/>
        </p:nvGrpSpPr>
        <p:grpSpPr>
          <a:xfrm>
            <a:off x="10903964" y="834294"/>
            <a:ext cx="868234" cy="253070"/>
            <a:chOff x="480956" y="1231257"/>
            <a:chExt cx="868234" cy="253070"/>
          </a:xfrm>
        </p:grpSpPr>
        <p:sp>
          <p:nvSpPr>
            <p:cNvPr id="44" name="Rounded Rectangle 43"/>
            <p:cNvSpPr/>
            <p:nvPr/>
          </p:nvSpPr>
          <p:spPr>
            <a:xfrm>
              <a:off x="480956" y="1231257"/>
              <a:ext cx="247186" cy="247695"/>
            </a:xfrm>
            <a:prstGeom prst="roundRect">
              <a:avLst/>
            </a:prstGeom>
            <a:solidFill>
              <a:srgbClr val="09B8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smtClean="0">
                <a:solidFill>
                  <a:schemeClr val="tx1"/>
                </a:solidFill>
              </a:endParaRPr>
            </a:p>
          </p:txBody>
        </p:sp>
        <p:sp>
          <p:nvSpPr>
            <p:cNvPr id="45" name="Rounded Rectangle 44"/>
            <p:cNvSpPr/>
            <p:nvPr/>
          </p:nvSpPr>
          <p:spPr>
            <a:xfrm>
              <a:off x="789519" y="1235945"/>
              <a:ext cx="247186" cy="247695"/>
            </a:xfrm>
            <a:prstGeom prst="roundRect">
              <a:avLst/>
            </a:prstGeom>
            <a:solidFill>
              <a:srgbClr val="6DBAC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smtClean="0">
                <a:solidFill>
                  <a:schemeClr val="tx1"/>
                </a:solidFill>
              </a:endParaRPr>
            </a:p>
          </p:txBody>
        </p:sp>
        <p:sp>
          <p:nvSpPr>
            <p:cNvPr id="46" name="Rounded Rectangle 45"/>
            <p:cNvSpPr/>
            <p:nvPr/>
          </p:nvSpPr>
          <p:spPr>
            <a:xfrm>
              <a:off x="1102004" y="1236632"/>
              <a:ext cx="247186" cy="247695"/>
            </a:xfrm>
            <a:prstGeom prst="roundRect">
              <a:avLst/>
            </a:prstGeom>
            <a:solidFill>
              <a:srgbClr val="00375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smtClean="0">
                <a:solidFill>
                  <a:schemeClr val="tx1"/>
                </a:solidFill>
              </a:endParaRPr>
            </a:p>
          </p:txBody>
        </p:sp>
        <p:sp>
          <p:nvSpPr>
            <p:cNvPr id="47" name="TextBox 46"/>
            <p:cNvSpPr txBox="1"/>
            <p:nvPr/>
          </p:nvSpPr>
          <p:spPr>
            <a:xfrm>
              <a:off x="543160" y="1262771"/>
              <a:ext cx="122778" cy="184666"/>
            </a:xfrm>
            <a:prstGeom prst="rect">
              <a:avLst/>
            </a:prstGeom>
            <a:noFill/>
          </p:spPr>
          <p:txBody>
            <a:bodyPr wrap="square" lIns="0" tIns="0" rIns="0" bIns="0" rtlCol="0">
              <a:spAutoFit/>
            </a:bodyPr>
            <a:lstStyle/>
            <a:p>
              <a:pPr algn="ctr"/>
              <a:r>
                <a:rPr lang="en-US" sz="1200" b="1" dirty="0" smtClean="0">
                  <a:solidFill>
                    <a:schemeClr val="bg1"/>
                  </a:solidFill>
                </a:rPr>
                <a:t>E</a:t>
              </a:r>
            </a:p>
          </p:txBody>
        </p:sp>
        <p:sp>
          <p:nvSpPr>
            <p:cNvPr id="48" name="TextBox 47"/>
            <p:cNvSpPr txBox="1"/>
            <p:nvPr/>
          </p:nvSpPr>
          <p:spPr>
            <a:xfrm>
              <a:off x="839726" y="1267459"/>
              <a:ext cx="146773" cy="184666"/>
            </a:xfrm>
            <a:prstGeom prst="rect">
              <a:avLst/>
            </a:prstGeom>
            <a:noFill/>
          </p:spPr>
          <p:txBody>
            <a:bodyPr wrap="square" lIns="0" tIns="0" rIns="0" bIns="0" rtlCol="0">
              <a:spAutoFit/>
            </a:bodyPr>
            <a:lstStyle/>
            <a:p>
              <a:pPr algn="ctr"/>
              <a:r>
                <a:rPr lang="en-US" sz="1200" b="1" dirty="0" smtClean="0">
                  <a:solidFill>
                    <a:schemeClr val="bg1"/>
                  </a:solidFill>
                </a:rPr>
                <a:t>S</a:t>
              </a:r>
            </a:p>
          </p:txBody>
        </p:sp>
        <p:sp>
          <p:nvSpPr>
            <p:cNvPr id="49" name="TextBox 48"/>
            <p:cNvSpPr txBox="1"/>
            <p:nvPr/>
          </p:nvSpPr>
          <p:spPr>
            <a:xfrm>
              <a:off x="1166854" y="1268146"/>
              <a:ext cx="117486" cy="184666"/>
            </a:xfrm>
            <a:prstGeom prst="rect">
              <a:avLst/>
            </a:prstGeom>
            <a:noFill/>
          </p:spPr>
          <p:txBody>
            <a:bodyPr wrap="square" lIns="0" tIns="0" rIns="0" bIns="0" rtlCol="0">
              <a:spAutoFit/>
            </a:bodyPr>
            <a:lstStyle/>
            <a:p>
              <a:r>
                <a:rPr lang="en-US" sz="1200" b="1" dirty="0" smtClean="0">
                  <a:solidFill>
                    <a:schemeClr val="bg1"/>
                  </a:solidFill>
                </a:rPr>
                <a:t>G</a:t>
              </a:r>
            </a:p>
          </p:txBody>
        </p:sp>
      </p:grpSp>
    </p:spTree>
    <p:extLst>
      <p:ext uri="{BB962C8B-B14F-4D97-AF65-F5344CB8AC3E}">
        <p14:creationId xmlns:p14="http://schemas.microsoft.com/office/powerpoint/2010/main" val="79934247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417" name="think-cell Slide" r:id="rId14" imgW="216" imgH="216" progId="TCLayout.ActiveDocument.1">
                  <p:embed/>
                </p:oleObj>
              </mc:Choice>
              <mc:Fallback>
                <p:oleObj name="think-cell Slide" r:id="rId14" imgW="216" imgH="216"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grpSp>
        <p:nvGrpSpPr>
          <p:cNvPr id="4" name="Group 3"/>
          <p:cNvGrpSpPr/>
          <p:nvPr/>
        </p:nvGrpSpPr>
        <p:grpSpPr>
          <a:xfrm>
            <a:off x="4871758" y="1208672"/>
            <a:ext cx="4578097" cy="5379184"/>
            <a:chOff x="427121" y="1061261"/>
            <a:chExt cx="4578097" cy="5379184"/>
          </a:xfrm>
        </p:grpSpPr>
        <p:grpSp>
          <p:nvGrpSpPr>
            <p:cNvPr id="5" name="Nordic Region"/>
            <p:cNvGrpSpPr>
              <a:grpSpLocks noChangeAspect="1"/>
            </p:cNvGrpSpPr>
            <p:nvPr>
              <p:custDataLst>
                <p:tags r:id="rId4"/>
              </p:custDataLst>
            </p:nvPr>
          </p:nvGrpSpPr>
          <p:grpSpPr>
            <a:xfrm>
              <a:off x="427121" y="1061261"/>
              <a:ext cx="4578097" cy="5379184"/>
              <a:chOff x="460130" y="1173042"/>
              <a:chExt cx="3270070" cy="3988481"/>
            </a:xfrm>
            <a:solidFill>
              <a:srgbClr val="A8D2E0"/>
            </a:solidFill>
          </p:grpSpPr>
          <p:sp>
            <p:nvSpPr>
              <p:cNvPr id="268" name="Norway"/>
              <p:cNvSpPr>
                <a:spLocks noEditPoints="1"/>
              </p:cNvSpPr>
              <p:nvPr>
                <p:custDataLst>
                  <p:tags r:id="rId9"/>
                </p:custDataLst>
              </p:nvPr>
            </p:nvSpPr>
            <p:spPr bwMode="gray">
              <a:xfrm>
                <a:off x="460130" y="1173042"/>
                <a:ext cx="2758272" cy="3047505"/>
              </a:xfrm>
              <a:custGeom>
                <a:avLst/>
                <a:gdLst/>
                <a:ahLst/>
                <a:cxnLst>
                  <a:cxn ang="0">
                    <a:pos x="6014" y="2826"/>
                  </a:cxn>
                  <a:cxn ang="0">
                    <a:pos x="5207" y="3081"/>
                  </a:cxn>
                  <a:cxn ang="0">
                    <a:pos x="11117" y="1179"/>
                  </a:cxn>
                  <a:cxn ang="0">
                    <a:pos x="10461" y="841"/>
                  </a:cxn>
                  <a:cxn ang="0">
                    <a:pos x="10548" y="299"/>
                  </a:cxn>
                  <a:cxn ang="0">
                    <a:pos x="10084" y="444"/>
                  </a:cxn>
                  <a:cxn ang="0">
                    <a:pos x="9794" y="497"/>
                  </a:cxn>
                  <a:cxn ang="0">
                    <a:pos x="9129" y="1154"/>
                  </a:cxn>
                  <a:cxn ang="0">
                    <a:pos x="8852" y="303"/>
                  </a:cxn>
                  <a:cxn ang="0">
                    <a:pos x="8444" y="1192"/>
                  </a:cxn>
                  <a:cxn ang="0">
                    <a:pos x="7993" y="1241"/>
                  </a:cxn>
                  <a:cxn ang="0">
                    <a:pos x="7585" y="1585"/>
                  </a:cxn>
                  <a:cxn ang="0">
                    <a:pos x="6970" y="1765"/>
                  </a:cxn>
                  <a:cxn ang="0">
                    <a:pos x="6715" y="1944"/>
                  </a:cxn>
                  <a:cxn ang="0">
                    <a:pos x="6329" y="2688"/>
                  </a:cxn>
                  <a:cxn ang="0">
                    <a:pos x="6077" y="2971"/>
                  </a:cxn>
                  <a:cxn ang="0">
                    <a:pos x="5638" y="3505"/>
                  </a:cxn>
                  <a:cxn ang="0">
                    <a:pos x="5189" y="4081"/>
                  </a:cxn>
                  <a:cxn ang="0">
                    <a:pos x="4774" y="4887"/>
                  </a:cxn>
                  <a:cxn ang="0">
                    <a:pos x="4471" y="5462"/>
                  </a:cxn>
                  <a:cxn ang="0">
                    <a:pos x="4215" y="6096"/>
                  </a:cxn>
                  <a:cxn ang="0">
                    <a:pos x="3799" y="6730"/>
                  </a:cxn>
                  <a:cxn ang="0">
                    <a:pos x="2958" y="7623"/>
                  </a:cxn>
                  <a:cxn ang="0">
                    <a:pos x="3076" y="8006"/>
                  </a:cxn>
                  <a:cxn ang="0">
                    <a:pos x="2220" y="8099"/>
                  </a:cxn>
                  <a:cxn ang="0">
                    <a:pos x="1687" y="8561"/>
                  </a:cxn>
                  <a:cxn ang="0">
                    <a:pos x="1191" y="9109"/>
                  </a:cxn>
                  <a:cxn ang="0">
                    <a:pos x="735" y="9336"/>
                  </a:cxn>
                  <a:cxn ang="0">
                    <a:pos x="376" y="9773"/>
                  </a:cxn>
                  <a:cxn ang="0">
                    <a:pos x="1460" y="9877"/>
                  </a:cxn>
                  <a:cxn ang="0">
                    <a:pos x="669" y="10221"/>
                  </a:cxn>
                  <a:cxn ang="0">
                    <a:pos x="355" y="10832"/>
                  </a:cxn>
                  <a:cxn ang="0">
                    <a:pos x="939" y="10729"/>
                  </a:cxn>
                  <a:cxn ang="0">
                    <a:pos x="531" y="11603"/>
                  </a:cxn>
                  <a:cxn ang="0">
                    <a:pos x="683" y="11872"/>
                  </a:cxn>
                  <a:cxn ang="0">
                    <a:pos x="669" y="13385"/>
                  </a:cxn>
                  <a:cxn ang="0">
                    <a:pos x="2665" y="12559"/>
                  </a:cxn>
                  <a:cxn ang="0">
                    <a:pos x="3037" y="11659"/>
                  </a:cxn>
                  <a:cxn ang="0">
                    <a:pos x="3677" y="11817"/>
                  </a:cxn>
                  <a:cxn ang="0">
                    <a:pos x="3949" y="8877"/>
                  </a:cxn>
                  <a:cxn ang="0">
                    <a:pos x="4871" y="6844"/>
                  </a:cxn>
                  <a:cxn ang="0">
                    <a:pos x="5582" y="5115"/>
                  </a:cxn>
                  <a:cxn ang="0">
                    <a:pos x="6619" y="3423"/>
                  </a:cxn>
                  <a:cxn ang="0">
                    <a:pos x="7420" y="2291"/>
                  </a:cxn>
                  <a:cxn ang="0">
                    <a:pos x="9049" y="2367"/>
                  </a:cxn>
                  <a:cxn ang="0">
                    <a:pos x="10475" y="1141"/>
                  </a:cxn>
                  <a:cxn ang="0">
                    <a:pos x="11404" y="1157"/>
                  </a:cxn>
                  <a:cxn ang="0">
                    <a:pos x="335" y="9457"/>
                  </a:cxn>
                  <a:cxn ang="0">
                    <a:pos x="2427" y="7727"/>
                  </a:cxn>
                  <a:cxn ang="0">
                    <a:pos x="9173" y="169"/>
                  </a:cxn>
                  <a:cxn ang="0">
                    <a:pos x="8493" y="920"/>
                  </a:cxn>
                  <a:cxn ang="0">
                    <a:pos x="8145" y="624"/>
                  </a:cxn>
                  <a:cxn ang="0">
                    <a:pos x="8089" y="847"/>
                  </a:cxn>
                  <a:cxn ang="0">
                    <a:pos x="7543" y="1299"/>
                  </a:cxn>
                  <a:cxn ang="0">
                    <a:pos x="6891" y="1355"/>
                  </a:cxn>
                  <a:cxn ang="0">
                    <a:pos x="6891" y="1355"/>
                  </a:cxn>
                  <a:cxn ang="0">
                    <a:pos x="6159" y="2168"/>
                  </a:cxn>
                  <a:cxn ang="0">
                    <a:pos x="6594" y="2019"/>
                  </a:cxn>
                  <a:cxn ang="0">
                    <a:pos x="5575" y="3591"/>
                  </a:cxn>
                  <a:cxn ang="0">
                    <a:pos x="5658" y="2374"/>
                  </a:cxn>
                  <a:cxn ang="0">
                    <a:pos x="5479" y="2808"/>
                  </a:cxn>
                </a:cxnLst>
                <a:rect l="0" t="0" r="r" b="b"/>
                <a:pathLst>
                  <a:path w="11404" h="13502">
                    <a:moveTo>
                      <a:pt x="5703" y="2471"/>
                    </a:moveTo>
                    <a:lnTo>
                      <a:pt x="5758" y="2454"/>
                    </a:lnTo>
                    <a:lnTo>
                      <a:pt x="5783" y="2505"/>
                    </a:lnTo>
                    <a:lnTo>
                      <a:pt x="5790" y="2565"/>
                    </a:lnTo>
                    <a:lnTo>
                      <a:pt x="5776" y="2623"/>
                    </a:lnTo>
                    <a:lnTo>
                      <a:pt x="5793" y="2605"/>
                    </a:lnTo>
                    <a:lnTo>
                      <a:pt x="5814" y="2661"/>
                    </a:lnTo>
                    <a:lnTo>
                      <a:pt x="5793" y="2737"/>
                    </a:lnTo>
                    <a:lnTo>
                      <a:pt x="5754" y="2815"/>
                    </a:lnTo>
                    <a:lnTo>
                      <a:pt x="5772" y="2788"/>
                    </a:lnTo>
                    <a:lnTo>
                      <a:pt x="5825" y="2757"/>
                    </a:lnTo>
                    <a:lnTo>
                      <a:pt x="5852" y="2661"/>
                    </a:lnTo>
                    <a:lnTo>
                      <a:pt x="5917" y="2643"/>
                    </a:lnTo>
                    <a:lnTo>
                      <a:pt x="5903" y="2599"/>
                    </a:lnTo>
                    <a:lnTo>
                      <a:pt x="5928" y="2530"/>
                    </a:lnTo>
                    <a:lnTo>
                      <a:pt x="5997" y="2561"/>
                    </a:lnTo>
                    <a:lnTo>
                      <a:pt x="6059" y="2623"/>
                    </a:lnTo>
                    <a:lnTo>
                      <a:pt x="6069" y="2708"/>
                    </a:lnTo>
                    <a:lnTo>
                      <a:pt x="6052" y="2774"/>
                    </a:lnTo>
                    <a:lnTo>
                      <a:pt x="6014" y="2826"/>
                    </a:lnTo>
                    <a:lnTo>
                      <a:pt x="5938" y="2846"/>
                    </a:lnTo>
                    <a:lnTo>
                      <a:pt x="5883" y="2898"/>
                    </a:lnTo>
                    <a:lnTo>
                      <a:pt x="5856" y="2971"/>
                    </a:lnTo>
                    <a:lnTo>
                      <a:pt x="5817" y="2909"/>
                    </a:lnTo>
                    <a:lnTo>
                      <a:pt x="5731" y="3005"/>
                    </a:lnTo>
                    <a:lnTo>
                      <a:pt x="5731" y="3049"/>
                    </a:lnTo>
                    <a:lnTo>
                      <a:pt x="5696" y="3091"/>
                    </a:lnTo>
                    <a:lnTo>
                      <a:pt x="5665" y="3036"/>
                    </a:lnTo>
                    <a:lnTo>
                      <a:pt x="5651" y="2971"/>
                    </a:lnTo>
                    <a:lnTo>
                      <a:pt x="5665" y="2933"/>
                    </a:lnTo>
                    <a:lnTo>
                      <a:pt x="5600" y="3029"/>
                    </a:lnTo>
                    <a:lnTo>
                      <a:pt x="5527" y="3095"/>
                    </a:lnTo>
                    <a:lnTo>
                      <a:pt x="5386" y="3191"/>
                    </a:lnTo>
                    <a:lnTo>
                      <a:pt x="5396" y="3122"/>
                    </a:lnTo>
                    <a:lnTo>
                      <a:pt x="5341" y="3118"/>
                    </a:lnTo>
                    <a:lnTo>
                      <a:pt x="5296" y="3181"/>
                    </a:lnTo>
                    <a:lnTo>
                      <a:pt x="5172" y="3222"/>
                    </a:lnTo>
                    <a:lnTo>
                      <a:pt x="5158" y="3191"/>
                    </a:lnTo>
                    <a:lnTo>
                      <a:pt x="5165" y="3102"/>
                    </a:lnTo>
                    <a:lnTo>
                      <a:pt x="5207" y="3081"/>
                    </a:lnTo>
                    <a:lnTo>
                      <a:pt x="5234" y="3033"/>
                    </a:lnTo>
                    <a:lnTo>
                      <a:pt x="5283" y="3036"/>
                    </a:lnTo>
                    <a:lnTo>
                      <a:pt x="5344" y="2998"/>
                    </a:lnTo>
                    <a:lnTo>
                      <a:pt x="5379" y="3005"/>
                    </a:lnTo>
                    <a:lnTo>
                      <a:pt x="5413" y="2960"/>
                    </a:lnTo>
                    <a:lnTo>
                      <a:pt x="5555" y="2912"/>
                    </a:lnTo>
                    <a:lnTo>
                      <a:pt x="5541" y="2864"/>
                    </a:lnTo>
                    <a:lnTo>
                      <a:pt x="5631" y="2771"/>
                    </a:lnTo>
                    <a:lnTo>
                      <a:pt x="5631" y="2699"/>
                    </a:lnTo>
                    <a:lnTo>
                      <a:pt x="5662" y="2681"/>
                    </a:lnTo>
                    <a:lnTo>
                      <a:pt x="5662" y="2623"/>
                    </a:lnTo>
                    <a:lnTo>
                      <a:pt x="5672" y="2540"/>
                    </a:lnTo>
                    <a:lnTo>
                      <a:pt x="5703" y="2471"/>
                    </a:lnTo>
                    <a:close/>
                    <a:moveTo>
                      <a:pt x="11386" y="1092"/>
                    </a:moveTo>
                    <a:lnTo>
                      <a:pt x="11362" y="1068"/>
                    </a:lnTo>
                    <a:lnTo>
                      <a:pt x="11204" y="1068"/>
                    </a:lnTo>
                    <a:lnTo>
                      <a:pt x="11224" y="1199"/>
                    </a:lnTo>
                    <a:lnTo>
                      <a:pt x="11186" y="1206"/>
                    </a:lnTo>
                    <a:lnTo>
                      <a:pt x="11186" y="1186"/>
                    </a:lnTo>
                    <a:lnTo>
                      <a:pt x="11117" y="1179"/>
                    </a:lnTo>
                    <a:lnTo>
                      <a:pt x="11079" y="1144"/>
                    </a:lnTo>
                    <a:lnTo>
                      <a:pt x="11103" y="1220"/>
                    </a:lnTo>
                    <a:lnTo>
                      <a:pt x="11093" y="1237"/>
                    </a:lnTo>
                    <a:lnTo>
                      <a:pt x="11048" y="1182"/>
                    </a:lnTo>
                    <a:lnTo>
                      <a:pt x="10965" y="1210"/>
                    </a:lnTo>
                    <a:lnTo>
                      <a:pt x="10903" y="1264"/>
                    </a:lnTo>
                    <a:lnTo>
                      <a:pt x="10910" y="1182"/>
                    </a:lnTo>
                    <a:lnTo>
                      <a:pt x="10948" y="1137"/>
                    </a:lnTo>
                    <a:lnTo>
                      <a:pt x="10992" y="1117"/>
                    </a:lnTo>
                    <a:lnTo>
                      <a:pt x="11003" y="1075"/>
                    </a:lnTo>
                    <a:lnTo>
                      <a:pt x="10983" y="1045"/>
                    </a:lnTo>
                    <a:lnTo>
                      <a:pt x="10938" y="1007"/>
                    </a:lnTo>
                    <a:lnTo>
                      <a:pt x="10806" y="1045"/>
                    </a:lnTo>
                    <a:lnTo>
                      <a:pt x="10824" y="1007"/>
                    </a:lnTo>
                    <a:lnTo>
                      <a:pt x="10771" y="979"/>
                    </a:lnTo>
                    <a:lnTo>
                      <a:pt x="10679" y="951"/>
                    </a:lnTo>
                    <a:lnTo>
                      <a:pt x="10588" y="900"/>
                    </a:lnTo>
                    <a:lnTo>
                      <a:pt x="10492" y="892"/>
                    </a:lnTo>
                    <a:lnTo>
                      <a:pt x="10458" y="865"/>
                    </a:lnTo>
                    <a:lnTo>
                      <a:pt x="10461" y="841"/>
                    </a:lnTo>
                    <a:lnTo>
                      <a:pt x="10458" y="816"/>
                    </a:lnTo>
                    <a:lnTo>
                      <a:pt x="10620" y="838"/>
                    </a:lnTo>
                    <a:lnTo>
                      <a:pt x="10958" y="831"/>
                    </a:lnTo>
                    <a:lnTo>
                      <a:pt x="11141" y="613"/>
                    </a:lnTo>
                    <a:lnTo>
                      <a:pt x="11213" y="568"/>
                    </a:lnTo>
                    <a:lnTo>
                      <a:pt x="11248" y="517"/>
                    </a:lnTo>
                    <a:lnTo>
                      <a:pt x="11206" y="441"/>
                    </a:lnTo>
                    <a:lnTo>
                      <a:pt x="11124" y="424"/>
                    </a:lnTo>
                    <a:lnTo>
                      <a:pt x="11048" y="352"/>
                    </a:lnTo>
                    <a:lnTo>
                      <a:pt x="10945" y="368"/>
                    </a:lnTo>
                    <a:lnTo>
                      <a:pt x="10885" y="355"/>
                    </a:lnTo>
                    <a:lnTo>
                      <a:pt x="10934" y="307"/>
                    </a:lnTo>
                    <a:lnTo>
                      <a:pt x="10824" y="279"/>
                    </a:lnTo>
                    <a:lnTo>
                      <a:pt x="10771" y="227"/>
                    </a:lnTo>
                    <a:lnTo>
                      <a:pt x="10744" y="290"/>
                    </a:lnTo>
                    <a:lnTo>
                      <a:pt x="10709" y="317"/>
                    </a:lnTo>
                    <a:lnTo>
                      <a:pt x="10695" y="272"/>
                    </a:lnTo>
                    <a:lnTo>
                      <a:pt x="10675" y="245"/>
                    </a:lnTo>
                    <a:lnTo>
                      <a:pt x="10564" y="314"/>
                    </a:lnTo>
                    <a:lnTo>
                      <a:pt x="10548" y="299"/>
                    </a:lnTo>
                    <a:lnTo>
                      <a:pt x="10537" y="276"/>
                    </a:lnTo>
                    <a:lnTo>
                      <a:pt x="10537" y="248"/>
                    </a:lnTo>
                    <a:lnTo>
                      <a:pt x="10519" y="193"/>
                    </a:lnTo>
                    <a:lnTo>
                      <a:pt x="10485" y="179"/>
                    </a:lnTo>
                    <a:lnTo>
                      <a:pt x="10461" y="141"/>
                    </a:lnTo>
                    <a:lnTo>
                      <a:pt x="10409" y="172"/>
                    </a:lnTo>
                    <a:lnTo>
                      <a:pt x="10361" y="154"/>
                    </a:lnTo>
                    <a:lnTo>
                      <a:pt x="10316" y="179"/>
                    </a:lnTo>
                    <a:lnTo>
                      <a:pt x="10282" y="276"/>
                    </a:lnTo>
                    <a:lnTo>
                      <a:pt x="10289" y="359"/>
                    </a:lnTo>
                    <a:lnTo>
                      <a:pt x="10313" y="468"/>
                    </a:lnTo>
                    <a:lnTo>
                      <a:pt x="10351" y="551"/>
                    </a:lnTo>
                    <a:lnTo>
                      <a:pt x="10278" y="600"/>
                    </a:lnTo>
                    <a:lnTo>
                      <a:pt x="10209" y="572"/>
                    </a:lnTo>
                    <a:lnTo>
                      <a:pt x="10140" y="600"/>
                    </a:lnTo>
                    <a:lnTo>
                      <a:pt x="10115" y="575"/>
                    </a:lnTo>
                    <a:lnTo>
                      <a:pt x="10171" y="506"/>
                    </a:lnTo>
                    <a:lnTo>
                      <a:pt x="10209" y="414"/>
                    </a:lnTo>
                    <a:lnTo>
                      <a:pt x="10168" y="361"/>
                    </a:lnTo>
                    <a:lnTo>
                      <a:pt x="10084" y="444"/>
                    </a:lnTo>
                    <a:lnTo>
                      <a:pt x="10026" y="452"/>
                    </a:lnTo>
                    <a:lnTo>
                      <a:pt x="10102" y="368"/>
                    </a:lnTo>
                    <a:lnTo>
                      <a:pt x="10033" y="314"/>
                    </a:lnTo>
                    <a:lnTo>
                      <a:pt x="10057" y="259"/>
                    </a:lnTo>
                    <a:lnTo>
                      <a:pt x="10175" y="256"/>
                    </a:lnTo>
                    <a:lnTo>
                      <a:pt x="10198" y="165"/>
                    </a:lnTo>
                    <a:lnTo>
                      <a:pt x="10185" y="72"/>
                    </a:lnTo>
                    <a:lnTo>
                      <a:pt x="10109" y="86"/>
                    </a:lnTo>
                    <a:lnTo>
                      <a:pt x="10106" y="27"/>
                    </a:lnTo>
                    <a:lnTo>
                      <a:pt x="10053" y="0"/>
                    </a:lnTo>
                    <a:lnTo>
                      <a:pt x="10012" y="7"/>
                    </a:lnTo>
                    <a:lnTo>
                      <a:pt x="9946" y="76"/>
                    </a:lnTo>
                    <a:lnTo>
                      <a:pt x="9860" y="14"/>
                    </a:lnTo>
                    <a:lnTo>
                      <a:pt x="9874" y="118"/>
                    </a:lnTo>
                    <a:lnTo>
                      <a:pt x="9863" y="227"/>
                    </a:lnTo>
                    <a:lnTo>
                      <a:pt x="9850" y="310"/>
                    </a:lnTo>
                    <a:lnTo>
                      <a:pt x="9823" y="368"/>
                    </a:lnTo>
                    <a:lnTo>
                      <a:pt x="9816" y="421"/>
                    </a:lnTo>
                    <a:lnTo>
                      <a:pt x="9839" y="482"/>
                    </a:lnTo>
                    <a:lnTo>
                      <a:pt x="9794" y="497"/>
                    </a:lnTo>
                    <a:lnTo>
                      <a:pt x="9781" y="555"/>
                    </a:lnTo>
                    <a:lnTo>
                      <a:pt x="9805" y="641"/>
                    </a:lnTo>
                    <a:lnTo>
                      <a:pt x="9729" y="655"/>
                    </a:lnTo>
                    <a:lnTo>
                      <a:pt x="9656" y="755"/>
                    </a:lnTo>
                    <a:lnTo>
                      <a:pt x="9642" y="658"/>
                    </a:lnTo>
                    <a:lnTo>
                      <a:pt x="9653" y="551"/>
                    </a:lnTo>
                    <a:lnTo>
                      <a:pt x="9570" y="479"/>
                    </a:lnTo>
                    <a:lnTo>
                      <a:pt x="9618" y="417"/>
                    </a:lnTo>
                    <a:lnTo>
                      <a:pt x="9598" y="292"/>
                    </a:lnTo>
                    <a:lnTo>
                      <a:pt x="9570" y="223"/>
                    </a:lnTo>
                    <a:lnTo>
                      <a:pt x="9539" y="221"/>
                    </a:lnTo>
                    <a:lnTo>
                      <a:pt x="9504" y="248"/>
                    </a:lnTo>
                    <a:lnTo>
                      <a:pt x="9352" y="624"/>
                    </a:lnTo>
                    <a:lnTo>
                      <a:pt x="9325" y="665"/>
                    </a:lnTo>
                    <a:lnTo>
                      <a:pt x="9301" y="755"/>
                    </a:lnTo>
                    <a:lnTo>
                      <a:pt x="9256" y="831"/>
                    </a:lnTo>
                    <a:lnTo>
                      <a:pt x="9236" y="945"/>
                    </a:lnTo>
                    <a:lnTo>
                      <a:pt x="9280" y="885"/>
                    </a:lnTo>
                    <a:lnTo>
                      <a:pt x="9176" y="1119"/>
                    </a:lnTo>
                    <a:lnTo>
                      <a:pt x="9129" y="1154"/>
                    </a:lnTo>
                    <a:lnTo>
                      <a:pt x="9104" y="1079"/>
                    </a:lnTo>
                    <a:lnTo>
                      <a:pt x="9100" y="1007"/>
                    </a:lnTo>
                    <a:lnTo>
                      <a:pt x="9129" y="954"/>
                    </a:lnTo>
                    <a:lnTo>
                      <a:pt x="9160" y="930"/>
                    </a:lnTo>
                    <a:lnTo>
                      <a:pt x="9149" y="889"/>
                    </a:lnTo>
                    <a:lnTo>
                      <a:pt x="9149" y="778"/>
                    </a:lnTo>
                    <a:lnTo>
                      <a:pt x="9132" y="738"/>
                    </a:lnTo>
                    <a:lnTo>
                      <a:pt x="9156" y="631"/>
                    </a:lnTo>
                    <a:lnTo>
                      <a:pt x="9263" y="441"/>
                    </a:lnTo>
                    <a:lnTo>
                      <a:pt x="9294" y="345"/>
                    </a:lnTo>
                    <a:lnTo>
                      <a:pt x="9225" y="321"/>
                    </a:lnTo>
                    <a:lnTo>
                      <a:pt x="9145" y="399"/>
                    </a:lnTo>
                    <a:lnTo>
                      <a:pt x="9087" y="421"/>
                    </a:lnTo>
                    <a:lnTo>
                      <a:pt x="9066" y="348"/>
                    </a:lnTo>
                    <a:lnTo>
                      <a:pt x="9022" y="327"/>
                    </a:lnTo>
                    <a:lnTo>
                      <a:pt x="8990" y="292"/>
                    </a:lnTo>
                    <a:lnTo>
                      <a:pt x="8973" y="252"/>
                    </a:lnTo>
                    <a:lnTo>
                      <a:pt x="8924" y="334"/>
                    </a:lnTo>
                    <a:lnTo>
                      <a:pt x="8901" y="299"/>
                    </a:lnTo>
                    <a:lnTo>
                      <a:pt x="8852" y="303"/>
                    </a:lnTo>
                    <a:lnTo>
                      <a:pt x="8866" y="452"/>
                    </a:lnTo>
                    <a:lnTo>
                      <a:pt x="8772" y="430"/>
                    </a:lnTo>
                    <a:lnTo>
                      <a:pt x="8824" y="506"/>
                    </a:lnTo>
                    <a:lnTo>
                      <a:pt x="8883" y="544"/>
                    </a:lnTo>
                    <a:lnTo>
                      <a:pt x="8901" y="572"/>
                    </a:lnTo>
                    <a:lnTo>
                      <a:pt x="8817" y="627"/>
                    </a:lnTo>
                    <a:lnTo>
                      <a:pt x="8783" y="704"/>
                    </a:lnTo>
                    <a:lnTo>
                      <a:pt x="8817" y="775"/>
                    </a:lnTo>
                    <a:lnTo>
                      <a:pt x="8656" y="796"/>
                    </a:lnTo>
                    <a:lnTo>
                      <a:pt x="8587" y="885"/>
                    </a:lnTo>
                    <a:lnTo>
                      <a:pt x="8565" y="954"/>
                    </a:lnTo>
                    <a:lnTo>
                      <a:pt x="8493" y="1054"/>
                    </a:lnTo>
                    <a:lnTo>
                      <a:pt x="8493" y="1092"/>
                    </a:lnTo>
                    <a:lnTo>
                      <a:pt x="8517" y="1141"/>
                    </a:lnTo>
                    <a:lnTo>
                      <a:pt x="8511" y="1206"/>
                    </a:lnTo>
                    <a:lnTo>
                      <a:pt x="8514" y="1295"/>
                    </a:lnTo>
                    <a:lnTo>
                      <a:pt x="8462" y="1310"/>
                    </a:lnTo>
                    <a:lnTo>
                      <a:pt x="8420" y="1275"/>
                    </a:lnTo>
                    <a:lnTo>
                      <a:pt x="8413" y="1220"/>
                    </a:lnTo>
                    <a:lnTo>
                      <a:pt x="8444" y="1192"/>
                    </a:lnTo>
                    <a:lnTo>
                      <a:pt x="8355" y="1179"/>
                    </a:lnTo>
                    <a:lnTo>
                      <a:pt x="8389" y="1114"/>
                    </a:lnTo>
                    <a:lnTo>
                      <a:pt x="8379" y="1099"/>
                    </a:lnTo>
                    <a:lnTo>
                      <a:pt x="8172" y="1096"/>
                    </a:lnTo>
                    <a:lnTo>
                      <a:pt x="8203" y="1172"/>
                    </a:lnTo>
                    <a:lnTo>
                      <a:pt x="8172" y="1182"/>
                    </a:lnTo>
                    <a:lnTo>
                      <a:pt x="8116" y="1168"/>
                    </a:lnTo>
                    <a:lnTo>
                      <a:pt x="8114" y="1123"/>
                    </a:lnTo>
                    <a:lnTo>
                      <a:pt x="8085" y="1068"/>
                    </a:lnTo>
                    <a:lnTo>
                      <a:pt x="8061" y="1089"/>
                    </a:lnTo>
                    <a:lnTo>
                      <a:pt x="8044" y="1027"/>
                    </a:lnTo>
                    <a:lnTo>
                      <a:pt x="8003" y="1061"/>
                    </a:lnTo>
                    <a:lnTo>
                      <a:pt x="7982" y="1034"/>
                    </a:lnTo>
                    <a:lnTo>
                      <a:pt x="7954" y="1068"/>
                    </a:lnTo>
                    <a:lnTo>
                      <a:pt x="7962" y="1172"/>
                    </a:lnTo>
                    <a:lnTo>
                      <a:pt x="7916" y="1119"/>
                    </a:lnTo>
                    <a:lnTo>
                      <a:pt x="7878" y="1058"/>
                    </a:lnTo>
                    <a:lnTo>
                      <a:pt x="7851" y="1037"/>
                    </a:lnTo>
                    <a:lnTo>
                      <a:pt x="7871" y="1192"/>
                    </a:lnTo>
                    <a:lnTo>
                      <a:pt x="7993" y="1241"/>
                    </a:lnTo>
                    <a:lnTo>
                      <a:pt x="8038" y="1237"/>
                    </a:lnTo>
                    <a:lnTo>
                      <a:pt x="8047" y="1310"/>
                    </a:lnTo>
                    <a:lnTo>
                      <a:pt x="8038" y="1371"/>
                    </a:lnTo>
                    <a:lnTo>
                      <a:pt x="8044" y="1437"/>
                    </a:lnTo>
                    <a:lnTo>
                      <a:pt x="8082" y="1506"/>
                    </a:lnTo>
                    <a:lnTo>
                      <a:pt x="8092" y="1596"/>
                    </a:lnTo>
                    <a:lnTo>
                      <a:pt x="8044" y="1562"/>
                    </a:lnTo>
                    <a:lnTo>
                      <a:pt x="7896" y="1395"/>
                    </a:lnTo>
                    <a:lnTo>
                      <a:pt x="7779" y="1310"/>
                    </a:lnTo>
                    <a:lnTo>
                      <a:pt x="7817" y="1430"/>
                    </a:lnTo>
                    <a:lnTo>
                      <a:pt x="7779" y="1430"/>
                    </a:lnTo>
                    <a:lnTo>
                      <a:pt x="7764" y="1496"/>
                    </a:lnTo>
                    <a:lnTo>
                      <a:pt x="7733" y="1496"/>
                    </a:lnTo>
                    <a:lnTo>
                      <a:pt x="7713" y="1540"/>
                    </a:lnTo>
                    <a:lnTo>
                      <a:pt x="7681" y="1520"/>
                    </a:lnTo>
                    <a:lnTo>
                      <a:pt x="7675" y="1482"/>
                    </a:lnTo>
                    <a:lnTo>
                      <a:pt x="7695" y="1409"/>
                    </a:lnTo>
                    <a:lnTo>
                      <a:pt x="7644" y="1444"/>
                    </a:lnTo>
                    <a:lnTo>
                      <a:pt x="7603" y="1506"/>
                    </a:lnTo>
                    <a:lnTo>
                      <a:pt x="7585" y="1585"/>
                    </a:lnTo>
                    <a:lnTo>
                      <a:pt x="7550" y="1602"/>
                    </a:lnTo>
                    <a:lnTo>
                      <a:pt x="7571" y="1699"/>
                    </a:lnTo>
                    <a:lnTo>
                      <a:pt x="7588" y="1737"/>
                    </a:lnTo>
                    <a:lnTo>
                      <a:pt x="7489" y="1834"/>
                    </a:lnTo>
                    <a:lnTo>
                      <a:pt x="7454" y="1961"/>
                    </a:lnTo>
                    <a:lnTo>
                      <a:pt x="7405" y="2023"/>
                    </a:lnTo>
                    <a:lnTo>
                      <a:pt x="7464" y="1888"/>
                    </a:lnTo>
                    <a:lnTo>
                      <a:pt x="7467" y="1816"/>
                    </a:lnTo>
                    <a:lnTo>
                      <a:pt x="7461" y="1668"/>
                    </a:lnTo>
                    <a:lnTo>
                      <a:pt x="7461" y="1554"/>
                    </a:lnTo>
                    <a:lnTo>
                      <a:pt x="7433" y="1430"/>
                    </a:lnTo>
                    <a:lnTo>
                      <a:pt x="7360" y="1462"/>
                    </a:lnTo>
                    <a:lnTo>
                      <a:pt x="7326" y="1544"/>
                    </a:lnTo>
                    <a:lnTo>
                      <a:pt x="7271" y="1640"/>
                    </a:lnTo>
                    <a:lnTo>
                      <a:pt x="7257" y="1789"/>
                    </a:lnTo>
                    <a:lnTo>
                      <a:pt x="7233" y="1916"/>
                    </a:lnTo>
                    <a:lnTo>
                      <a:pt x="7199" y="1589"/>
                    </a:lnTo>
                    <a:lnTo>
                      <a:pt x="7026" y="1620"/>
                    </a:lnTo>
                    <a:lnTo>
                      <a:pt x="6970" y="1734"/>
                    </a:lnTo>
                    <a:lnTo>
                      <a:pt x="6970" y="1765"/>
                    </a:lnTo>
                    <a:lnTo>
                      <a:pt x="6991" y="1892"/>
                    </a:lnTo>
                    <a:lnTo>
                      <a:pt x="7063" y="1979"/>
                    </a:lnTo>
                    <a:lnTo>
                      <a:pt x="7126" y="1995"/>
                    </a:lnTo>
                    <a:lnTo>
                      <a:pt x="7184" y="2078"/>
                    </a:lnTo>
                    <a:lnTo>
                      <a:pt x="7181" y="2144"/>
                    </a:lnTo>
                    <a:lnTo>
                      <a:pt x="7126" y="2140"/>
                    </a:lnTo>
                    <a:lnTo>
                      <a:pt x="7070" y="2040"/>
                    </a:lnTo>
                    <a:lnTo>
                      <a:pt x="6991" y="1999"/>
                    </a:lnTo>
                    <a:lnTo>
                      <a:pt x="6922" y="1899"/>
                    </a:lnTo>
                    <a:lnTo>
                      <a:pt x="6863" y="1847"/>
                    </a:lnTo>
                    <a:lnTo>
                      <a:pt x="6780" y="1865"/>
                    </a:lnTo>
                    <a:lnTo>
                      <a:pt x="6832" y="1972"/>
                    </a:lnTo>
                    <a:lnTo>
                      <a:pt x="6932" y="2048"/>
                    </a:lnTo>
                    <a:lnTo>
                      <a:pt x="6867" y="2109"/>
                    </a:lnTo>
                    <a:lnTo>
                      <a:pt x="6809" y="2068"/>
                    </a:lnTo>
                    <a:lnTo>
                      <a:pt x="6780" y="2109"/>
                    </a:lnTo>
                    <a:lnTo>
                      <a:pt x="6760" y="2026"/>
                    </a:lnTo>
                    <a:lnTo>
                      <a:pt x="6708" y="2064"/>
                    </a:lnTo>
                    <a:lnTo>
                      <a:pt x="6701" y="2033"/>
                    </a:lnTo>
                    <a:lnTo>
                      <a:pt x="6715" y="1944"/>
                    </a:lnTo>
                    <a:lnTo>
                      <a:pt x="6677" y="1910"/>
                    </a:lnTo>
                    <a:lnTo>
                      <a:pt x="6660" y="1944"/>
                    </a:lnTo>
                    <a:lnTo>
                      <a:pt x="6619" y="2099"/>
                    </a:lnTo>
                    <a:lnTo>
                      <a:pt x="6632" y="2153"/>
                    </a:lnTo>
                    <a:lnTo>
                      <a:pt x="6666" y="2202"/>
                    </a:lnTo>
                    <a:lnTo>
                      <a:pt x="6508" y="2289"/>
                    </a:lnTo>
                    <a:lnTo>
                      <a:pt x="6466" y="2323"/>
                    </a:lnTo>
                    <a:lnTo>
                      <a:pt x="6449" y="2378"/>
                    </a:lnTo>
                    <a:lnTo>
                      <a:pt x="6443" y="2447"/>
                    </a:lnTo>
                    <a:lnTo>
                      <a:pt x="6463" y="2496"/>
                    </a:lnTo>
                    <a:lnTo>
                      <a:pt x="6525" y="2471"/>
                    </a:lnTo>
                    <a:lnTo>
                      <a:pt x="6570" y="2526"/>
                    </a:lnTo>
                    <a:lnTo>
                      <a:pt x="6487" y="2526"/>
                    </a:lnTo>
                    <a:lnTo>
                      <a:pt x="6512" y="2592"/>
                    </a:lnTo>
                    <a:lnTo>
                      <a:pt x="6518" y="2636"/>
                    </a:lnTo>
                    <a:lnTo>
                      <a:pt x="6425" y="2608"/>
                    </a:lnTo>
                    <a:lnTo>
                      <a:pt x="6390" y="2623"/>
                    </a:lnTo>
                    <a:lnTo>
                      <a:pt x="6445" y="2674"/>
                    </a:lnTo>
                    <a:lnTo>
                      <a:pt x="6408" y="2712"/>
                    </a:lnTo>
                    <a:lnTo>
                      <a:pt x="6329" y="2688"/>
                    </a:lnTo>
                    <a:lnTo>
                      <a:pt x="6314" y="2733"/>
                    </a:lnTo>
                    <a:lnTo>
                      <a:pt x="6256" y="2719"/>
                    </a:lnTo>
                    <a:lnTo>
                      <a:pt x="6146" y="2761"/>
                    </a:lnTo>
                    <a:lnTo>
                      <a:pt x="6111" y="2822"/>
                    </a:lnTo>
                    <a:lnTo>
                      <a:pt x="6066" y="2850"/>
                    </a:lnTo>
                    <a:lnTo>
                      <a:pt x="6059" y="2875"/>
                    </a:lnTo>
                    <a:lnTo>
                      <a:pt x="6135" y="2922"/>
                    </a:lnTo>
                    <a:lnTo>
                      <a:pt x="6204" y="2895"/>
                    </a:lnTo>
                    <a:lnTo>
                      <a:pt x="6242" y="2853"/>
                    </a:lnTo>
                    <a:lnTo>
                      <a:pt x="6359" y="2919"/>
                    </a:lnTo>
                    <a:lnTo>
                      <a:pt x="6443" y="2860"/>
                    </a:lnTo>
                    <a:lnTo>
                      <a:pt x="6470" y="2881"/>
                    </a:lnTo>
                    <a:lnTo>
                      <a:pt x="6494" y="2940"/>
                    </a:lnTo>
                    <a:lnTo>
                      <a:pt x="6418" y="2940"/>
                    </a:lnTo>
                    <a:lnTo>
                      <a:pt x="6387" y="2988"/>
                    </a:lnTo>
                    <a:lnTo>
                      <a:pt x="6376" y="3081"/>
                    </a:lnTo>
                    <a:lnTo>
                      <a:pt x="6263" y="3029"/>
                    </a:lnTo>
                    <a:lnTo>
                      <a:pt x="6184" y="3026"/>
                    </a:lnTo>
                    <a:lnTo>
                      <a:pt x="6162" y="2991"/>
                    </a:lnTo>
                    <a:lnTo>
                      <a:pt x="6077" y="2971"/>
                    </a:lnTo>
                    <a:lnTo>
                      <a:pt x="5979" y="3029"/>
                    </a:lnTo>
                    <a:lnTo>
                      <a:pt x="5948" y="3084"/>
                    </a:lnTo>
                    <a:lnTo>
                      <a:pt x="6024" y="3191"/>
                    </a:lnTo>
                    <a:lnTo>
                      <a:pt x="6028" y="3247"/>
                    </a:lnTo>
                    <a:lnTo>
                      <a:pt x="5979" y="3243"/>
                    </a:lnTo>
                    <a:lnTo>
                      <a:pt x="6024" y="3339"/>
                    </a:lnTo>
                    <a:lnTo>
                      <a:pt x="6028" y="3412"/>
                    </a:lnTo>
                    <a:lnTo>
                      <a:pt x="5970" y="3394"/>
                    </a:lnTo>
                    <a:lnTo>
                      <a:pt x="5972" y="3466"/>
                    </a:lnTo>
                    <a:lnTo>
                      <a:pt x="5917" y="3481"/>
                    </a:lnTo>
                    <a:lnTo>
                      <a:pt x="5869" y="3222"/>
                    </a:lnTo>
                    <a:lnTo>
                      <a:pt x="5814" y="3236"/>
                    </a:lnTo>
                    <a:lnTo>
                      <a:pt x="5790" y="3329"/>
                    </a:lnTo>
                    <a:lnTo>
                      <a:pt x="5734" y="3312"/>
                    </a:lnTo>
                    <a:lnTo>
                      <a:pt x="5714" y="3339"/>
                    </a:lnTo>
                    <a:lnTo>
                      <a:pt x="5790" y="3370"/>
                    </a:lnTo>
                    <a:lnTo>
                      <a:pt x="5772" y="3398"/>
                    </a:lnTo>
                    <a:lnTo>
                      <a:pt x="5711" y="3412"/>
                    </a:lnTo>
                    <a:lnTo>
                      <a:pt x="5658" y="3446"/>
                    </a:lnTo>
                    <a:lnTo>
                      <a:pt x="5638" y="3505"/>
                    </a:lnTo>
                    <a:lnTo>
                      <a:pt x="5648" y="3577"/>
                    </a:lnTo>
                    <a:lnTo>
                      <a:pt x="5714" y="3619"/>
                    </a:lnTo>
                    <a:lnTo>
                      <a:pt x="5658" y="3646"/>
                    </a:lnTo>
                    <a:lnTo>
                      <a:pt x="5696" y="3684"/>
                    </a:lnTo>
                    <a:lnTo>
                      <a:pt x="5651" y="3704"/>
                    </a:lnTo>
                    <a:lnTo>
                      <a:pt x="5617" y="3787"/>
                    </a:lnTo>
                    <a:lnTo>
                      <a:pt x="5589" y="3805"/>
                    </a:lnTo>
                    <a:lnTo>
                      <a:pt x="5548" y="3802"/>
                    </a:lnTo>
                    <a:lnTo>
                      <a:pt x="5558" y="3829"/>
                    </a:lnTo>
                    <a:lnTo>
                      <a:pt x="5631" y="3853"/>
                    </a:lnTo>
                    <a:lnTo>
                      <a:pt x="5779" y="3805"/>
                    </a:lnTo>
                    <a:lnTo>
                      <a:pt x="5680" y="3911"/>
                    </a:lnTo>
                    <a:lnTo>
                      <a:pt x="5627" y="3943"/>
                    </a:lnTo>
                    <a:lnTo>
                      <a:pt x="5489" y="3911"/>
                    </a:lnTo>
                    <a:lnTo>
                      <a:pt x="5459" y="3880"/>
                    </a:lnTo>
                    <a:lnTo>
                      <a:pt x="5448" y="3833"/>
                    </a:lnTo>
                    <a:lnTo>
                      <a:pt x="5390" y="3840"/>
                    </a:lnTo>
                    <a:lnTo>
                      <a:pt x="5306" y="3909"/>
                    </a:lnTo>
                    <a:lnTo>
                      <a:pt x="5265" y="4025"/>
                    </a:lnTo>
                    <a:lnTo>
                      <a:pt x="5189" y="4081"/>
                    </a:lnTo>
                    <a:lnTo>
                      <a:pt x="5185" y="4146"/>
                    </a:lnTo>
                    <a:lnTo>
                      <a:pt x="5234" y="4146"/>
                    </a:lnTo>
                    <a:lnTo>
                      <a:pt x="5223" y="4204"/>
                    </a:lnTo>
                    <a:lnTo>
                      <a:pt x="5216" y="4239"/>
                    </a:lnTo>
                    <a:lnTo>
                      <a:pt x="5151" y="4259"/>
                    </a:lnTo>
                    <a:lnTo>
                      <a:pt x="5116" y="4397"/>
                    </a:lnTo>
                    <a:lnTo>
                      <a:pt x="5058" y="4384"/>
                    </a:lnTo>
                    <a:lnTo>
                      <a:pt x="5013" y="4408"/>
                    </a:lnTo>
                    <a:lnTo>
                      <a:pt x="4961" y="4415"/>
                    </a:lnTo>
                    <a:lnTo>
                      <a:pt x="4892" y="4494"/>
                    </a:lnTo>
                    <a:lnTo>
                      <a:pt x="4940" y="4563"/>
                    </a:lnTo>
                    <a:lnTo>
                      <a:pt x="4909" y="4600"/>
                    </a:lnTo>
                    <a:lnTo>
                      <a:pt x="4823" y="4611"/>
                    </a:lnTo>
                    <a:lnTo>
                      <a:pt x="4823" y="4680"/>
                    </a:lnTo>
                    <a:lnTo>
                      <a:pt x="4734" y="4694"/>
                    </a:lnTo>
                    <a:lnTo>
                      <a:pt x="4750" y="4736"/>
                    </a:lnTo>
                    <a:lnTo>
                      <a:pt x="4709" y="4759"/>
                    </a:lnTo>
                    <a:lnTo>
                      <a:pt x="4699" y="4821"/>
                    </a:lnTo>
                    <a:lnTo>
                      <a:pt x="4799" y="4845"/>
                    </a:lnTo>
                    <a:lnTo>
                      <a:pt x="4774" y="4887"/>
                    </a:lnTo>
                    <a:lnTo>
                      <a:pt x="4705" y="4921"/>
                    </a:lnTo>
                    <a:lnTo>
                      <a:pt x="4657" y="4890"/>
                    </a:lnTo>
                    <a:lnTo>
                      <a:pt x="4654" y="4901"/>
                    </a:lnTo>
                    <a:lnTo>
                      <a:pt x="4661" y="5011"/>
                    </a:lnTo>
                    <a:lnTo>
                      <a:pt x="4705" y="5073"/>
                    </a:lnTo>
                    <a:lnTo>
                      <a:pt x="4747" y="5021"/>
                    </a:lnTo>
                    <a:lnTo>
                      <a:pt x="4778" y="5055"/>
                    </a:lnTo>
                    <a:lnTo>
                      <a:pt x="4757" y="5121"/>
                    </a:lnTo>
                    <a:lnTo>
                      <a:pt x="4594" y="5142"/>
                    </a:lnTo>
                    <a:lnTo>
                      <a:pt x="4556" y="5173"/>
                    </a:lnTo>
                    <a:lnTo>
                      <a:pt x="4543" y="5284"/>
                    </a:lnTo>
                    <a:lnTo>
                      <a:pt x="4474" y="5327"/>
                    </a:lnTo>
                    <a:lnTo>
                      <a:pt x="4406" y="5349"/>
                    </a:lnTo>
                    <a:lnTo>
                      <a:pt x="4357" y="5452"/>
                    </a:lnTo>
                    <a:lnTo>
                      <a:pt x="4426" y="5445"/>
                    </a:lnTo>
                    <a:lnTo>
                      <a:pt x="4491" y="5383"/>
                    </a:lnTo>
                    <a:lnTo>
                      <a:pt x="4581" y="5349"/>
                    </a:lnTo>
                    <a:lnTo>
                      <a:pt x="4578" y="5421"/>
                    </a:lnTo>
                    <a:lnTo>
                      <a:pt x="4629" y="5521"/>
                    </a:lnTo>
                    <a:lnTo>
                      <a:pt x="4471" y="5462"/>
                    </a:lnTo>
                    <a:lnTo>
                      <a:pt x="4457" y="5534"/>
                    </a:lnTo>
                    <a:lnTo>
                      <a:pt x="4488" y="5559"/>
                    </a:lnTo>
                    <a:lnTo>
                      <a:pt x="4436" y="5600"/>
                    </a:lnTo>
                    <a:lnTo>
                      <a:pt x="4415" y="5645"/>
                    </a:lnTo>
                    <a:lnTo>
                      <a:pt x="4429" y="5717"/>
                    </a:lnTo>
                    <a:lnTo>
                      <a:pt x="4402" y="5732"/>
                    </a:lnTo>
                    <a:lnTo>
                      <a:pt x="4353" y="5703"/>
                    </a:lnTo>
                    <a:lnTo>
                      <a:pt x="4315" y="5748"/>
                    </a:lnTo>
                    <a:lnTo>
                      <a:pt x="4337" y="5828"/>
                    </a:lnTo>
                    <a:lnTo>
                      <a:pt x="4384" y="5866"/>
                    </a:lnTo>
                    <a:lnTo>
                      <a:pt x="4398" y="6017"/>
                    </a:lnTo>
                    <a:lnTo>
                      <a:pt x="4343" y="5948"/>
                    </a:lnTo>
                    <a:lnTo>
                      <a:pt x="4284" y="5928"/>
                    </a:lnTo>
                    <a:lnTo>
                      <a:pt x="4239" y="5831"/>
                    </a:lnTo>
                    <a:lnTo>
                      <a:pt x="4243" y="5959"/>
                    </a:lnTo>
                    <a:lnTo>
                      <a:pt x="4212" y="6000"/>
                    </a:lnTo>
                    <a:lnTo>
                      <a:pt x="4154" y="6020"/>
                    </a:lnTo>
                    <a:lnTo>
                      <a:pt x="4125" y="6093"/>
                    </a:lnTo>
                    <a:lnTo>
                      <a:pt x="4163" y="6120"/>
                    </a:lnTo>
                    <a:lnTo>
                      <a:pt x="4215" y="6096"/>
                    </a:lnTo>
                    <a:lnTo>
                      <a:pt x="4253" y="6035"/>
                    </a:lnTo>
                    <a:lnTo>
                      <a:pt x="4266" y="6065"/>
                    </a:lnTo>
                    <a:lnTo>
                      <a:pt x="4257" y="6100"/>
                    </a:lnTo>
                    <a:lnTo>
                      <a:pt x="4253" y="6158"/>
                    </a:lnTo>
                    <a:lnTo>
                      <a:pt x="4266" y="6214"/>
                    </a:lnTo>
                    <a:lnTo>
                      <a:pt x="4208" y="6262"/>
                    </a:lnTo>
                    <a:lnTo>
                      <a:pt x="4119" y="6218"/>
                    </a:lnTo>
                    <a:lnTo>
                      <a:pt x="4070" y="6276"/>
                    </a:lnTo>
                    <a:lnTo>
                      <a:pt x="4018" y="6245"/>
                    </a:lnTo>
                    <a:lnTo>
                      <a:pt x="3953" y="6323"/>
                    </a:lnTo>
                    <a:lnTo>
                      <a:pt x="3938" y="6396"/>
                    </a:lnTo>
                    <a:lnTo>
                      <a:pt x="3873" y="6441"/>
                    </a:lnTo>
                    <a:lnTo>
                      <a:pt x="3801" y="6461"/>
                    </a:lnTo>
                    <a:lnTo>
                      <a:pt x="3757" y="6620"/>
                    </a:lnTo>
                    <a:lnTo>
                      <a:pt x="3839" y="6603"/>
                    </a:lnTo>
                    <a:lnTo>
                      <a:pt x="3918" y="6559"/>
                    </a:lnTo>
                    <a:lnTo>
                      <a:pt x="3949" y="6586"/>
                    </a:lnTo>
                    <a:lnTo>
                      <a:pt x="3808" y="6641"/>
                    </a:lnTo>
                    <a:lnTo>
                      <a:pt x="3797" y="6720"/>
                    </a:lnTo>
                    <a:lnTo>
                      <a:pt x="3799" y="6730"/>
                    </a:lnTo>
                    <a:lnTo>
                      <a:pt x="3804" y="6751"/>
                    </a:lnTo>
                    <a:lnTo>
                      <a:pt x="3809" y="6771"/>
                    </a:lnTo>
                    <a:lnTo>
                      <a:pt x="3814" y="6790"/>
                    </a:lnTo>
                    <a:lnTo>
                      <a:pt x="3817" y="6805"/>
                    </a:lnTo>
                    <a:lnTo>
                      <a:pt x="3818" y="6809"/>
                    </a:lnTo>
                    <a:lnTo>
                      <a:pt x="3777" y="6862"/>
                    </a:lnTo>
                    <a:lnTo>
                      <a:pt x="3684" y="6889"/>
                    </a:lnTo>
                    <a:lnTo>
                      <a:pt x="3576" y="6789"/>
                    </a:lnTo>
                    <a:lnTo>
                      <a:pt x="3549" y="6786"/>
                    </a:lnTo>
                    <a:lnTo>
                      <a:pt x="3465" y="6903"/>
                    </a:lnTo>
                    <a:lnTo>
                      <a:pt x="3376" y="6958"/>
                    </a:lnTo>
                    <a:lnTo>
                      <a:pt x="3358" y="7003"/>
                    </a:lnTo>
                    <a:lnTo>
                      <a:pt x="3300" y="7051"/>
                    </a:lnTo>
                    <a:lnTo>
                      <a:pt x="3135" y="7248"/>
                    </a:lnTo>
                    <a:lnTo>
                      <a:pt x="3106" y="7292"/>
                    </a:lnTo>
                    <a:lnTo>
                      <a:pt x="3135" y="7379"/>
                    </a:lnTo>
                    <a:lnTo>
                      <a:pt x="3131" y="7410"/>
                    </a:lnTo>
                    <a:lnTo>
                      <a:pt x="2927" y="7499"/>
                    </a:lnTo>
                    <a:lnTo>
                      <a:pt x="2914" y="7582"/>
                    </a:lnTo>
                    <a:lnTo>
                      <a:pt x="2958" y="7623"/>
                    </a:lnTo>
                    <a:lnTo>
                      <a:pt x="3062" y="7593"/>
                    </a:lnTo>
                    <a:lnTo>
                      <a:pt x="3010" y="7713"/>
                    </a:lnTo>
                    <a:lnTo>
                      <a:pt x="3062" y="7816"/>
                    </a:lnTo>
                    <a:lnTo>
                      <a:pt x="3114" y="7847"/>
                    </a:lnTo>
                    <a:lnTo>
                      <a:pt x="3456" y="7644"/>
                    </a:lnTo>
                    <a:lnTo>
                      <a:pt x="3652" y="7571"/>
                    </a:lnTo>
                    <a:lnTo>
                      <a:pt x="3701" y="7513"/>
                    </a:lnTo>
                    <a:lnTo>
                      <a:pt x="3739" y="7540"/>
                    </a:lnTo>
                    <a:lnTo>
                      <a:pt x="3704" y="7589"/>
                    </a:lnTo>
                    <a:lnTo>
                      <a:pt x="3583" y="7647"/>
                    </a:lnTo>
                    <a:lnTo>
                      <a:pt x="3518" y="7651"/>
                    </a:lnTo>
                    <a:lnTo>
                      <a:pt x="3418" y="7705"/>
                    </a:lnTo>
                    <a:lnTo>
                      <a:pt x="3338" y="7771"/>
                    </a:lnTo>
                    <a:lnTo>
                      <a:pt x="3383" y="7837"/>
                    </a:lnTo>
                    <a:lnTo>
                      <a:pt x="3376" y="7865"/>
                    </a:lnTo>
                    <a:lnTo>
                      <a:pt x="3217" y="7912"/>
                    </a:lnTo>
                    <a:lnTo>
                      <a:pt x="3128" y="7906"/>
                    </a:lnTo>
                    <a:lnTo>
                      <a:pt x="3097" y="7934"/>
                    </a:lnTo>
                    <a:lnTo>
                      <a:pt x="3114" y="7992"/>
                    </a:lnTo>
                    <a:lnTo>
                      <a:pt x="3076" y="8006"/>
                    </a:lnTo>
                    <a:lnTo>
                      <a:pt x="2996" y="7985"/>
                    </a:lnTo>
                    <a:lnTo>
                      <a:pt x="3003" y="7906"/>
                    </a:lnTo>
                    <a:lnTo>
                      <a:pt x="2941" y="7774"/>
                    </a:lnTo>
                    <a:lnTo>
                      <a:pt x="2907" y="7734"/>
                    </a:lnTo>
                    <a:lnTo>
                      <a:pt x="2858" y="7734"/>
                    </a:lnTo>
                    <a:lnTo>
                      <a:pt x="2831" y="7771"/>
                    </a:lnTo>
                    <a:lnTo>
                      <a:pt x="2765" y="7778"/>
                    </a:lnTo>
                    <a:lnTo>
                      <a:pt x="2700" y="7830"/>
                    </a:lnTo>
                    <a:lnTo>
                      <a:pt x="2689" y="7888"/>
                    </a:lnTo>
                    <a:lnTo>
                      <a:pt x="2734" y="7934"/>
                    </a:lnTo>
                    <a:lnTo>
                      <a:pt x="2747" y="7975"/>
                    </a:lnTo>
                    <a:lnTo>
                      <a:pt x="2641" y="8023"/>
                    </a:lnTo>
                    <a:lnTo>
                      <a:pt x="2606" y="7964"/>
                    </a:lnTo>
                    <a:lnTo>
                      <a:pt x="2613" y="7892"/>
                    </a:lnTo>
                    <a:lnTo>
                      <a:pt x="2602" y="7840"/>
                    </a:lnTo>
                    <a:lnTo>
                      <a:pt x="2354" y="7919"/>
                    </a:lnTo>
                    <a:lnTo>
                      <a:pt x="2316" y="7957"/>
                    </a:lnTo>
                    <a:lnTo>
                      <a:pt x="2271" y="8046"/>
                    </a:lnTo>
                    <a:lnTo>
                      <a:pt x="2213" y="8033"/>
                    </a:lnTo>
                    <a:lnTo>
                      <a:pt x="2220" y="8099"/>
                    </a:lnTo>
                    <a:lnTo>
                      <a:pt x="2202" y="8126"/>
                    </a:lnTo>
                    <a:lnTo>
                      <a:pt x="2120" y="8126"/>
                    </a:lnTo>
                    <a:lnTo>
                      <a:pt x="2129" y="8095"/>
                    </a:lnTo>
                    <a:lnTo>
                      <a:pt x="2116" y="8054"/>
                    </a:lnTo>
                    <a:lnTo>
                      <a:pt x="2078" y="8061"/>
                    </a:lnTo>
                    <a:lnTo>
                      <a:pt x="2053" y="8095"/>
                    </a:lnTo>
                    <a:lnTo>
                      <a:pt x="2053" y="8133"/>
                    </a:lnTo>
                    <a:lnTo>
                      <a:pt x="2040" y="8153"/>
                    </a:lnTo>
                    <a:lnTo>
                      <a:pt x="1961" y="8147"/>
                    </a:lnTo>
                    <a:lnTo>
                      <a:pt x="1826" y="8191"/>
                    </a:lnTo>
                    <a:lnTo>
                      <a:pt x="1788" y="8309"/>
                    </a:lnTo>
                    <a:lnTo>
                      <a:pt x="1740" y="8398"/>
                    </a:lnTo>
                    <a:lnTo>
                      <a:pt x="1674" y="8351"/>
                    </a:lnTo>
                    <a:lnTo>
                      <a:pt x="1587" y="8333"/>
                    </a:lnTo>
                    <a:lnTo>
                      <a:pt x="1502" y="8385"/>
                    </a:lnTo>
                    <a:lnTo>
                      <a:pt x="1473" y="8443"/>
                    </a:lnTo>
                    <a:lnTo>
                      <a:pt x="1557" y="8505"/>
                    </a:lnTo>
                    <a:lnTo>
                      <a:pt x="1498" y="8554"/>
                    </a:lnTo>
                    <a:lnTo>
                      <a:pt x="1584" y="8581"/>
                    </a:lnTo>
                    <a:lnTo>
                      <a:pt x="1687" y="8561"/>
                    </a:lnTo>
                    <a:lnTo>
                      <a:pt x="1716" y="8623"/>
                    </a:lnTo>
                    <a:lnTo>
                      <a:pt x="1763" y="8650"/>
                    </a:lnTo>
                    <a:lnTo>
                      <a:pt x="1694" y="8716"/>
                    </a:lnTo>
                    <a:lnTo>
                      <a:pt x="1716" y="8774"/>
                    </a:lnTo>
                    <a:lnTo>
                      <a:pt x="1647" y="8733"/>
                    </a:lnTo>
                    <a:lnTo>
                      <a:pt x="1571" y="8730"/>
                    </a:lnTo>
                    <a:lnTo>
                      <a:pt x="1359" y="8678"/>
                    </a:lnTo>
                    <a:lnTo>
                      <a:pt x="1301" y="8678"/>
                    </a:lnTo>
                    <a:lnTo>
                      <a:pt x="1252" y="8708"/>
                    </a:lnTo>
                    <a:lnTo>
                      <a:pt x="1194" y="8692"/>
                    </a:lnTo>
                    <a:lnTo>
                      <a:pt x="1132" y="8730"/>
                    </a:lnTo>
                    <a:lnTo>
                      <a:pt x="1142" y="8750"/>
                    </a:lnTo>
                    <a:lnTo>
                      <a:pt x="1194" y="8777"/>
                    </a:lnTo>
                    <a:lnTo>
                      <a:pt x="1136" y="8792"/>
                    </a:lnTo>
                    <a:lnTo>
                      <a:pt x="1132" y="8839"/>
                    </a:lnTo>
                    <a:lnTo>
                      <a:pt x="1201" y="8839"/>
                    </a:lnTo>
                    <a:lnTo>
                      <a:pt x="1252" y="8819"/>
                    </a:lnTo>
                    <a:lnTo>
                      <a:pt x="1177" y="8902"/>
                    </a:lnTo>
                    <a:lnTo>
                      <a:pt x="1170" y="8967"/>
                    </a:lnTo>
                    <a:lnTo>
                      <a:pt x="1191" y="9109"/>
                    </a:lnTo>
                    <a:lnTo>
                      <a:pt x="1156" y="9115"/>
                    </a:lnTo>
                    <a:lnTo>
                      <a:pt x="1136" y="8991"/>
                    </a:lnTo>
                    <a:lnTo>
                      <a:pt x="1098" y="8933"/>
                    </a:lnTo>
                    <a:lnTo>
                      <a:pt x="1007" y="8977"/>
                    </a:lnTo>
                    <a:lnTo>
                      <a:pt x="949" y="9040"/>
                    </a:lnTo>
                    <a:lnTo>
                      <a:pt x="904" y="9118"/>
                    </a:lnTo>
                    <a:lnTo>
                      <a:pt x="946" y="9171"/>
                    </a:lnTo>
                    <a:lnTo>
                      <a:pt x="949" y="9232"/>
                    </a:lnTo>
                    <a:lnTo>
                      <a:pt x="873" y="9171"/>
                    </a:lnTo>
                    <a:lnTo>
                      <a:pt x="852" y="9098"/>
                    </a:lnTo>
                    <a:lnTo>
                      <a:pt x="773" y="9115"/>
                    </a:lnTo>
                    <a:lnTo>
                      <a:pt x="656" y="9095"/>
                    </a:lnTo>
                    <a:lnTo>
                      <a:pt x="638" y="9149"/>
                    </a:lnTo>
                    <a:lnTo>
                      <a:pt x="641" y="9198"/>
                    </a:lnTo>
                    <a:lnTo>
                      <a:pt x="518" y="9071"/>
                    </a:lnTo>
                    <a:lnTo>
                      <a:pt x="473" y="9098"/>
                    </a:lnTo>
                    <a:lnTo>
                      <a:pt x="514" y="9240"/>
                    </a:lnTo>
                    <a:lnTo>
                      <a:pt x="469" y="9281"/>
                    </a:lnTo>
                    <a:lnTo>
                      <a:pt x="480" y="9309"/>
                    </a:lnTo>
                    <a:lnTo>
                      <a:pt x="735" y="9336"/>
                    </a:lnTo>
                    <a:lnTo>
                      <a:pt x="980" y="9305"/>
                    </a:lnTo>
                    <a:lnTo>
                      <a:pt x="821" y="9363"/>
                    </a:lnTo>
                    <a:lnTo>
                      <a:pt x="846" y="9398"/>
                    </a:lnTo>
                    <a:lnTo>
                      <a:pt x="953" y="9401"/>
                    </a:lnTo>
                    <a:lnTo>
                      <a:pt x="1042" y="9385"/>
                    </a:lnTo>
                    <a:lnTo>
                      <a:pt x="1060" y="9408"/>
                    </a:lnTo>
                    <a:lnTo>
                      <a:pt x="962" y="9454"/>
                    </a:lnTo>
                    <a:lnTo>
                      <a:pt x="821" y="9454"/>
                    </a:lnTo>
                    <a:lnTo>
                      <a:pt x="676" y="9436"/>
                    </a:lnTo>
                    <a:lnTo>
                      <a:pt x="625" y="9391"/>
                    </a:lnTo>
                    <a:lnTo>
                      <a:pt x="569" y="9385"/>
                    </a:lnTo>
                    <a:lnTo>
                      <a:pt x="451" y="9454"/>
                    </a:lnTo>
                    <a:lnTo>
                      <a:pt x="438" y="9501"/>
                    </a:lnTo>
                    <a:lnTo>
                      <a:pt x="369" y="9488"/>
                    </a:lnTo>
                    <a:lnTo>
                      <a:pt x="344" y="9501"/>
                    </a:lnTo>
                    <a:lnTo>
                      <a:pt x="324" y="9563"/>
                    </a:lnTo>
                    <a:lnTo>
                      <a:pt x="458" y="9626"/>
                    </a:lnTo>
                    <a:lnTo>
                      <a:pt x="438" y="9681"/>
                    </a:lnTo>
                    <a:lnTo>
                      <a:pt x="435" y="9742"/>
                    </a:lnTo>
                    <a:lnTo>
                      <a:pt x="376" y="9773"/>
                    </a:lnTo>
                    <a:lnTo>
                      <a:pt x="300" y="9849"/>
                    </a:lnTo>
                    <a:lnTo>
                      <a:pt x="313" y="9911"/>
                    </a:lnTo>
                    <a:lnTo>
                      <a:pt x="286" y="9946"/>
                    </a:lnTo>
                    <a:lnTo>
                      <a:pt x="269" y="10011"/>
                    </a:lnTo>
                    <a:lnTo>
                      <a:pt x="304" y="10049"/>
                    </a:lnTo>
                    <a:lnTo>
                      <a:pt x="293" y="10114"/>
                    </a:lnTo>
                    <a:lnTo>
                      <a:pt x="438" y="10159"/>
                    </a:lnTo>
                    <a:lnTo>
                      <a:pt x="739" y="10083"/>
                    </a:lnTo>
                    <a:lnTo>
                      <a:pt x="797" y="10136"/>
                    </a:lnTo>
                    <a:lnTo>
                      <a:pt x="908" y="10146"/>
                    </a:lnTo>
                    <a:lnTo>
                      <a:pt x="956" y="10043"/>
                    </a:lnTo>
                    <a:lnTo>
                      <a:pt x="1053" y="9911"/>
                    </a:lnTo>
                    <a:lnTo>
                      <a:pt x="1060" y="10001"/>
                    </a:lnTo>
                    <a:lnTo>
                      <a:pt x="1015" y="10121"/>
                    </a:lnTo>
                    <a:lnTo>
                      <a:pt x="1060" y="10152"/>
                    </a:lnTo>
                    <a:lnTo>
                      <a:pt x="1170" y="10163"/>
                    </a:lnTo>
                    <a:lnTo>
                      <a:pt x="1239" y="10143"/>
                    </a:lnTo>
                    <a:lnTo>
                      <a:pt x="1284" y="10181"/>
                    </a:lnTo>
                    <a:lnTo>
                      <a:pt x="1401" y="10080"/>
                    </a:lnTo>
                    <a:lnTo>
                      <a:pt x="1460" y="9877"/>
                    </a:lnTo>
                    <a:lnTo>
                      <a:pt x="1587" y="9822"/>
                    </a:lnTo>
                    <a:lnTo>
                      <a:pt x="1595" y="9864"/>
                    </a:lnTo>
                    <a:lnTo>
                      <a:pt x="1498" y="9994"/>
                    </a:lnTo>
                    <a:lnTo>
                      <a:pt x="1467" y="10098"/>
                    </a:lnTo>
                    <a:lnTo>
                      <a:pt x="1446" y="10139"/>
                    </a:lnTo>
                    <a:lnTo>
                      <a:pt x="1504" y="10136"/>
                    </a:lnTo>
                    <a:lnTo>
                      <a:pt x="1574" y="10101"/>
                    </a:lnTo>
                    <a:lnTo>
                      <a:pt x="1618" y="10132"/>
                    </a:lnTo>
                    <a:lnTo>
                      <a:pt x="1470" y="10225"/>
                    </a:lnTo>
                    <a:lnTo>
                      <a:pt x="1297" y="10259"/>
                    </a:lnTo>
                    <a:lnTo>
                      <a:pt x="1267" y="10346"/>
                    </a:lnTo>
                    <a:lnTo>
                      <a:pt x="1325" y="10418"/>
                    </a:lnTo>
                    <a:lnTo>
                      <a:pt x="1180" y="10484"/>
                    </a:lnTo>
                    <a:lnTo>
                      <a:pt x="1194" y="10388"/>
                    </a:lnTo>
                    <a:lnTo>
                      <a:pt x="1174" y="10315"/>
                    </a:lnTo>
                    <a:lnTo>
                      <a:pt x="1091" y="10239"/>
                    </a:lnTo>
                    <a:lnTo>
                      <a:pt x="994" y="10228"/>
                    </a:lnTo>
                    <a:lnTo>
                      <a:pt x="862" y="10250"/>
                    </a:lnTo>
                    <a:lnTo>
                      <a:pt x="763" y="10215"/>
                    </a:lnTo>
                    <a:lnTo>
                      <a:pt x="669" y="10221"/>
                    </a:lnTo>
                    <a:lnTo>
                      <a:pt x="576" y="10197"/>
                    </a:lnTo>
                    <a:lnTo>
                      <a:pt x="487" y="10263"/>
                    </a:lnTo>
                    <a:lnTo>
                      <a:pt x="317" y="10201"/>
                    </a:lnTo>
                    <a:lnTo>
                      <a:pt x="248" y="10308"/>
                    </a:lnTo>
                    <a:lnTo>
                      <a:pt x="221" y="10401"/>
                    </a:lnTo>
                    <a:lnTo>
                      <a:pt x="310" y="10422"/>
                    </a:lnTo>
                    <a:lnTo>
                      <a:pt x="348" y="10408"/>
                    </a:lnTo>
                    <a:lnTo>
                      <a:pt x="335" y="10546"/>
                    </a:lnTo>
                    <a:lnTo>
                      <a:pt x="255" y="10500"/>
                    </a:lnTo>
                    <a:lnTo>
                      <a:pt x="206" y="10442"/>
                    </a:lnTo>
                    <a:lnTo>
                      <a:pt x="193" y="10462"/>
                    </a:lnTo>
                    <a:lnTo>
                      <a:pt x="176" y="10462"/>
                    </a:lnTo>
                    <a:lnTo>
                      <a:pt x="168" y="10491"/>
                    </a:lnTo>
                    <a:lnTo>
                      <a:pt x="237" y="10673"/>
                    </a:lnTo>
                    <a:lnTo>
                      <a:pt x="300" y="10694"/>
                    </a:lnTo>
                    <a:lnTo>
                      <a:pt x="438" y="10625"/>
                    </a:lnTo>
                    <a:lnTo>
                      <a:pt x="521" y="10618"/>
                    </a:lnTo>
                    <a:lnTo>
                      <a:pt x="376" y="10729"/>
                    </a:lnTo>
                    <a:lnTo>
                      <a:pt x="324" y="10787"/>
                    </a:lnTo>
                    <a:lnTo>
                      <a:pt x="355" y="10832"/>
                    </a:lnTo>
                    <a:lnTo>
                      <a:pt x="241" y="10876"/>
                    </a:lnTo>
                    <a:lnTo>
                      <a:pt x="186" y="10925"/>
                    </a:lnTo>
                    <a:lnTo>
                      <a:pt x="190" y="11004"/>
                    </a:lnTo>
                    <a:lnTo>
                      <a:pt x="231" y="11059"/>
                    </a:lnTo>
                    <a:lnTo>
                      <a:pt x="244" y="11124"/>
                    </a:lnTo>
                    <a:lnTo>
                      <a:pt x="317" y="11086"/>
                    </a:lnTo>
                    <a:lnTo>
                      <a:pt x="386" y="11028"/>
                    </a:lnTo>
                    <a:lnTo>
                      <a:pt x="373" y="11111"/>
                    </a:lnTo>
                    <a:lnTo>
                      <a:pt x="435" y="11249"/>
                    </a:lnTo>
                    <a:lnTo>
                      <a:pt x="359" y="11249"/>
                    </a:lnTo>
                    <a:lnTo>
                      <a:pt x="266" y="11300"/>
                    </a:lnTo>
                    <a:lnTo>
                      <a:pt x="259" y="11349"/>
                    </a:lnTo>
                    <a:lnTo>
                      <a:pt x="300" y="11393"/>
                    </a:lnTo>
                    <a:lnTo>
                      <a:pt x="411" y="11342"/>
                    </a:lnTo>
                    <a:lnTo>
                      <a:pt x="483" y="11238"/>
                    </a:lnTo>
                    <a:lnTo>
                      <a:pt x="507" y="11128"/>
                    </a:lnTo>
                    <a:lnTo>
                      <a:pt x="596" y="11077"/>
                    </a:lnTo>
                    <a:lnTo>
                      <a:pt x="707" y="10970"/>
                    </a:lnTo>
                    <a:lnTo>
                      <a:pt x="835" y="10798"/>
                    </a:lnTo>
                    <a:lnTo>
                      <a:pt x="939" y="10729"/>
                    </a:lnTo>
                    <a:lnTo>
                      <a:pt x="977" y="10780"/>
                    </a:lnTo>
                    <a:lnTo>
                      <a:pt x="980" y="10821"/>
                    </a:lnTo>
                    <a:lnTo>
                      <a:pt x="1098" y="10801"/>
                    </a:lnTo>
                    <a:lnTo>
                      <a:pt x="1187" y="10825"/>
                    </a:lnTo>
                    <a:lnTo>
                      <a:pt x="1022" y="10883"/>
                    </a:lnTo>
                    <a:lnTo>
                      <a:pt x="994" y="10976"/>
                    </a:lnTo>
                    <a:lnTo>
                      <a:pt x="962" y="11039"/>
                    </a:lnTo>
                    <a:lnTo>
                      <a:pt x="956" y="10928"/>
                    </a:lnTo>
                    <a:lnTo>
                      <a:pt x="915" y="10910"/>
                    </a:lnTo>
                    <a:lnTo>
                      <a:pt x="808" y="11039"/>
                    </a:lnTo>
                    <a:lnTo>
                      <a:pt x="697" y="11128"/>
                    </a:lnTo>
                    <a:lnTo>
                      <a:pt x="752" y="11183"/>
                    </a:lnTo>
                    <a:lnTo>
                      <a:pt x="752" y="11211"/>
                    </a:lnTo>
                    <a:lnTo>
                      <a:pt x="638" y="11255"/>
                    </a:lnTo>
                    <a:lnTo>
                      <a:pt x="407" y="11476"/>
                    </a:lnTo>
                    <a:lnTo>
                      <a:pt x="473" y="11531"/>
                    </a:lnTo>
                    <a:lnTo>
                      <a:pt x="666" y="11549"/>
                    </a:lnTo>
                    <a:lnTo>
                      <a:pt x="725" y="11507"/>
                    </a:lnTo>
                    <a:lnTo>
                      <a:pt x="739" y="11541"/>
                    </a:lnTo>
                    <a:lnTo>
                      <a:pt x="531" y="11603"/>
                    </a:lnTo>
                    <a:lnTo>
                      <a:pt x="469" y="11656"/>
                    </a:lnTo>
                    <a:lnTo>
                      <a:pt x="451" y="11694"/>
                    </a:lnTo>
                    <a:lnTo>
                      <a:pt x="355" y="11679"/>
                    </a:lnTo>
                    <a:lnTo>
                      <a:pt x="304" y="11700"/>
                    </a:lnTo>
                    <a:lnTo>
                      <a:pt x="252" y="11665"/>
                    </a:lnTo>
                    <a:lnTo>
                      <a:pt x="141" y="11768"/>
                    </a:lnTo>
                    <a:lnTo>
                      <a:pt x="86" y="11852"/>
                    </a:lnTo>
                    <a:lnTo>
                      <a:pt x="72" y="11935"/>
                    </a:lnTo>
                    <a:lnTo>
                      <a:pt x="103" y="11969"/>
                    </a:lnTo>
                    <a:lnTo>
                      <a:pt x="110" y="12010"/>
                    </a:lnTo>
                    <a:lnTo>
                      <a:pt x="203" y="12004"/>
                    </a:lnTo>
                    <a:lnTo>
                      <a:pt x="252" y="11917"/>
                    </a:lnTo>
                    <a:lnTo>
                      <a:pt x="266" y="12010"/>
                    </a:lnTo>
                    <a:lnTo>
                      <a:pt x="338" y="12013"/>
                    </a:lnTo>
                    <a:lnTo>
                      <a:pt x="362" y="11962"/>
                    </a:lnTo>
                    <a:lnTo>
                      <a:pt x="359" y="11904"/>
                    </a:lnTo>
                    <a:lnTo>
                      <a:pt x="427" y="11951"/>
                    </a:lnTo>
                    <a:lnTo>
                      <a:pt x="580" y="11893"/>
                    </a:lnTo>
                    <a:lnTo>
                      <a:pt x="641" y="11835"/>
                    </a:lnTo>
                    <a:lnTo>
                      <a:pt x="683" y="11872"/>
                    </a:lnTo>
                    <a:lnTo>
                      <a:pt x="521" y="12028"/>
                    </a:lnTo>
                    <a:lnTo>
                      <a:pt x="580" y="12031"/>
                    </a:lnTo>
                    <a:lnTo>
                      <a:pt x="565" y="12127"/>
                    </a:lnTo>
                    <a:lnTo>
                      <a:pt x="493" y="12211"/>
                    </a:lnTo>
                    <a:lnTo>
                      <a:pt x="462" y="12272"/>
                    </a:lnTo>
                    <a:lnTo>
                      <a:pt x="389" y="12323"/>
                    </a:lnTo>
                    <a:lnTo>
                      <a:pt x="393" y="12396"/>
                    </a:lnTo>
                    <a:lnTo>
                      <a:pt x="379" y="12438"/>
                    </a:lnTo>
                    <a:lnTo>
                      <a:pt x="328" y="12427"/>
                    </a:lnTo>
                    <a:lnTo>
                      <a:pt x="275" y="12441"/>
                    </a:lnTo>
                    <a:lnTo>
                      <a:pt x="252" y="12361"/>
                    </a:lnTo>
                    <a:lnTo>
                      <a:pt x="214" y="12358"/>
                    </a:lnTo>
                    <a:lnTo>
                      <a:pt x="92" y="12665"/>
                    </a:lnTo>
                    <a:lnTo>
                      <a:pt x="199" y="12851"/>
                    </a:lnTo>
                    <a:lnTo>
                      <a:pt x="389" y="13061"/>
                    </a:lnTo>
                    <a:lnTo>
                      <a:pt x="521" y="13168"/>
                    </a:lnTo>
                    <a:lnTo>
                      <a:pt x="641" y="13199"/>
                    </a:lnTo>
                    <a:lnTo>
                      <a:pt x="735" y="13078"/>
                    </a:lnTo>
                    <a:lnTo>
                      <a:pt x="710" y="13258"/>
                    </a:lnTo>
                    <a:lnTo>
                      <a:pt x="669" y="13385"/>
                    </a:lnTo>
                    <a:lnTo>
                      <a:pt x="739" y="13341"/>
                    </a:lnTo>
                    <a:lnTo>
                      <a:pt x="832" y="13402"/>
                    </a:lnTo>
                    <a:lnTo>
                      <a:pt x="880" y="13316"/>
                    </a:lnTo>
                    <a:lnTo>
                      <a:pt x="1035" y="13344"/>
                    </a:lnTo>
                    <a:lnTo>
                      <a:pt x="949" y="13423"/>
                    </a:lnTo>
                    <a:lnTo>
                      <a:pt x="1114" y="13502"/>
                    </a:lnTo>
                    <a:lnTo>
                      <a:pt x="1246" y="13464"/>
                    </a:lnTo>
                    <a:lnTo>
                      <a:pt x="1381" y="13372"/>
                    </a:lnTo>
                    <a:lnTo>
                      <a:pt x="1446" y="13241"/>
                    </a:lnTo>
                    <a:lnTo>
                      <a:pt x="1511" y="13354"/>
                    </a:lnTo>
                    <a:lnTo>
                      <a:pt x="1732" y="13241"/>
                    </a:lnTo>
                    <a:lnTo>
                      <a:pt x="1964" y="12982"/>
                    </a:lnTo>
                    <a:lnTo>
                      <a:pt x="2091" y="12931"/>
                    </a:lnTo>
                    <a:lnTo>
                      <a:pt x="2137" y="12827"/>
                    </a:lnTo>
                    <a:lnTo>
                      <a:pt x="2209" y="12775"/>
                    </a:lnTo>
                    <a:lnTo>
                      <a:pt x="2236" y="12717"/>
                    </a:lnTo>
                    <a:lnTo>
                      <a:pt x="2419" y="12555"/>
                    </a:lnTo>
                    <a:lnTo>
                      <a:pt x="2403" y="12468"/>
                    </a:lnTo>
                    <a:lnTo>
                      <a:pt x="2523" y="12552"/>
                    </a:lnTo>
                    <a:lnTo>
                      <a:pt x="2665" y="12559"/>
                    </a:lnTo>
                    <a:lnTo>
                      <a:pt x="2740" y="12527"/>
                    </a:lnTo>
                    <a:lnTo>
                      <a:pt x="2789" y="12417"/>
                    </a:lnTo>
                    <a:lnTo>
                      <a:pt x="2800" y="12341"/>
                    </a:lnTo>
                    <a:lnTo>
                      <a:pt x="2883" y="12279"/>
                    </a:lnTo>
                    <a:lnTo>
                      <a:pt x="2885" y="12173"/>
                    </a:lnTo>
                    <a:lnTo>
                      <a:pt x="2824" y="12096"/>
                    </a:lnTo>
                    <a:lnTo>
                      <a:pt x="2789" y="12013"/>
                    </a:lnTo>
                    <a:lnTo>
                      <a:pt x="2820" y="11997"/>
                    </a:lnTo>
                    <a:lnTo>
                      <a:pt x="2834" y="11951"/>
                    </a:lnTo>
                    <a:lnTo>
                      <a:pt x="2820" y="11835"/>
                    </a:lnTo>
                    <a:lnTo>
                      <a:pt x="2858" y="11872"/>
                    </a:lnTo>
                    <a:lnTo>
                      <a:pt x="2892" y="11948"/>
                    </a:lnTo>
                    <a:lnTo>
                      <a:pt x="2889" y="12024"/>
                    </a:lnTo>
                    <a:lnTo>
                      <a:pt x="2952" y="12010"/>
                    </a:lnTo>
                    <a:lnTo>
                      <a:pt x="2972" y="11948"/>
                    </a:lnTo>
                    <a:lnTo>
                      <a:pt x="2931" y="11862"/>
                    </a:lnTo>
                    <a:lnTo>
                      <a:pt x="2931" y="11714"/>
                    </a:lnTo>
                    <a:lnTo>
                      <a:pt x="2952" y="11683"/>
                    </a:lnTo>
                    <a:lnTo>
                      <a:pt x="2976" y="11694"/>
                    </a:lnTo>
                    <a:lnTo>
                      <a:pt x="3037" y="11659"/>
                    </a:lnTo>
                    <a:lnTo>
                      <a:pt x="3090" y="11690"/>
                    </a:lnTo>
                    <a:lnTo>
                      <a:pt x="3083" y="11763"/>
                    </a:lnTo>
                    <a:lnTo>
                      <a:pt x="3007" y="11790"/>
                    </a:lnTo>
                    <a:lnTo>
                      <a:pt x="2999" y="11848"/>
                    </a:lnTo>
                    <a:lnTo>
                      <a:pt x="3017" y="11962"/>
                    </a:lnTo>
                    <a:lnTo>
                      <a:pt x="3017" y="12245"/>
                    </a:lnTo>
                    <a:lnTo>
                      <a:pt x="3041" y="12361"/>
                    </a:lnTo>
                    <a:lnTo>
                      <a:pt x="3121" y="12345"/>
                    </a:lnTo>
                    <a:lnTo>
                      <a:pt x="3211" y="12434"/>
                    </a:lnTo>
                    <a:lnTo>
                      <a:pt x="3276" y="12430"/>
                    </a:lnTo>
                    <a:lnTo>
                      <a:pt x="3311" y="12503"/>
                    </a:lnTo>
                    <a:lnTo>
                      <a:pt x="3331" y="12544"/>
                    </a:lnTo>
                    <a:lnTo>
                      <a:pt x="3320" y="12768"/>
                    </a:lnTo>
                    <a:lnTo>
                      <a:pt x="3358" y="12637"/>
                    </a:lnTo>
                    <a:lnTo>
                      <a:pt x="3396" y="12724"/>
                    </a:lnTo>
                    <a:lnTo>
                      <a:pt x="3480" y="12672"/>
                    </a:lnTo>
                    <a:lnTo>
                      <a:pt x="3579" y="12303"/>
                    </a:lnTo>
                    <a:lnTo>
                      <a:pt x="3545" y="12180"/>
                    </a:lnTo>
                    <a:lnTo>
                      <a:pt x="3539" y="12024"/>
                    </a:lnTo>
                    <a:lnTo>
                      <a:pt x="3677" y="11817"/>
                    </a:lnTo>
                    <a:lnTo>
                      <a:pt x="3684" y="11690"/>
                    </a:lnTo>
                    <a:lnTo>
                      <a:pt x="3960" y="11596"/>
                    </a:lnTo>
                    <a:lnTo>
                      <a:pt x="4022" y="11493"/>
                    </a:lnTo>
                    <a:lnTo>
                      <a:pt x="4047" y="11349"/>
                    </a:lnTo>
                    <a:lnTo>
                      <a:pt x="4005" y="11266"/>
                    </a:lnTo>
                    <a:lnTo>
                      <a:pt x="4091" y="10990"/>
                    </a:lnTo>
                    <a:lnTo>
                      <a:pt x="4022" y="10680"/>
                    </a:lnTo>
                    <a:lnTo>
                      <a:pt x="3929" y="10556"/>
                    </a:lnTo>
                    <a:lnTo>
                      <a:pt x="3960" y="10497"/>
                    </a:lnTo>
                    <a:lnTo>
                      <a:pt x="4101" y="10446"/>
                    </a:lnTo>
                    <a:lnTo>
                      <a:pt x="4205" y="10346"/>
                    </a:lnTo>
                    <a:lnTo>
                      <a:pt x="4266" y="10181"/>
                    </a:lnTo>
                    <a:lnTo>
                      <a:pt x="4246" y="9987"/>
                    </a:lnTo>
                    <a:lnTo>
                      <a:pt x="4056" y="9842"/>
                    </a:lnTo>
                    <a:lnTo>
                      <a:pt x="3980" y="9704"/>
                    </a:lnTo>
                    <a:lnTo>
                      <a:pt x="3976" y="9519"/>
                    </a:lnTo>
                    <a:lnTo>
                      <a:pt x="4005" y="9143"/>
                    </a:lnTo>
                    <a:lnTo>
                      <a:pt x="3974" y="9009"/>
                    </a:lnTo>
                    <a:lnTo>
                      <a:pt x="3946" y="8981"/>
                    </a:lnTo>
                    <a:lnTo>
                      <a:pt x="3949" y="8877"/>
                    </a:lnTo>
                    <a:lnTo>
                      <a:pt x="3984" y="8799"/>
                    </a:lnTo>
                    <a:lnTo>
                      <a:pt x="3991" y="8632"/>
                    </a:lnTo>
                    <a:lnTo>
                      <a:pt x="4022" y="8550"/>
                    </a:lnTo>
                    <a:lnTo>
                      <a:pt x="4043" y="8443"/>
                    </a:lnTo>
                    <a:lnTo>
                      <a:pt x="4101" y="8364"/>
                    </a:lnTo>
                    <a:lnTo>
                      <a:pt x="4060" y="8316"/>
                    </a:lnTo>
                    <a:lnTo>
                      <a:pt x="4009" y="8195"/>
                    </a:lnTo>
                    <a:lnTo>
                      <a:pt x="3987" y="8046"/>
                    </a:lnTo>
                    <a:lnTo>
                      <a:pt x="4032" y="7885"/>
                    </a:lnTo>
                    <a:lnTo>
                      <a:pt x="4094" y="7754"/>
                    </a:lnTo>
                    <a:lnTo>
                      <a:pt x="4319" y="7506"/>
                    </a:lnTo>
                    <a:lnTo>
                      <a:pt x="4471" y="7420"/>
                    </a:lnTo>
                    <a:lnTo>
                      <a:pt x="4657" y="7375"/>
                    </a:lnTo>
                    <a:lnTo>
                      <a:pt x="4810" y="7413"/>
                    </a:lnTo>
                    <a:lnTo>
                      <a:pt x="4933" y="7420"/>
                    </a:lnTo>
                    <a:lnTo>
                      <a:pt x="5020" y="7320"/>
                    </a:lnTo>
                    <a:lnTo>
                      <a:pt x="5040" y="7227"/>
                    </a:lnTo>
                    <a:lnTo>
                      <a:pt x="5047" y="7061"/>
                    </a:lnTo>
                    <a:lnTo>
                      <a:pt x="4991" y="6972"/>
                    </a:lnTo>
                    <a:lnTo>
                      <a:pt x="4871" y="6844"/>
                    </a:lnTo>
                    <a:lnTo>
                      <a:pt x="4864" y="6765"/>
                    </a:lnTo>
                    <a:lnTo>
                      <a:pt x="4867" y="6762"/>
                    </a:lnTo>
                    <a:lnTo>
                      <a:pt x="4874" y="6751"/>
                    </a:lnTo>
                    <a:lnTo>
                      <a:pt x="4892" y="6726"/>
                    </a:lnTo>
                    <a:lnTo>
                      <a:pt x="4914" y="6692"/>
                    </a:lnTo>
                    <a:lnTo>
                      <a:pt x="4942" y="6653"/>
                    </a:lnTo>
                    <a:lnTo>
                      <a:pt x="4969" y="6612"/>
                    </a:lnTo>
                    <a:lnTo>
                      <a:pt x="4995" y="6575"/>
                    </a:lnTo>
                    <a:lnTo>
                      <a:pt x="5016" y="6543"/>
                    </a:lnTo>
                    <a:lnTo>
                      <a:pt x="5032" y="6522"/>
                    </a:lnTo>
                    <a:lnTo>
                      <a:pt x="5037" y="6513"/>
                    </a:lnTo>
                    <a:lnTo>
                      <a:pt x="5174" y="6227"/>
                    </a:lnTo>
                    <a:lnTo>
                      <a:pt x="5254" y="5835"/>
                    </a:lnTo>
                    <a:lnTo>
                      <a:pt x="5265" y="5614"/>
                    </a:lnTo>
                    <a:lnTo>
                      <a:pt x="5268" y="5449"/>
                    </a:lnTo>
                    <a:lnTo>
                      <a:pt x="5258" y="5342"/>
                    </a:lnTo>
                    <a:lnTo>
                      <a:pt x="5314" y="5307"/>
                    </a:lnTo>
                    <a:lnTo>
                      <a:pt x="5406" y="5307"/>
                    </a:lnTo>
                    <a:lnTo>
                      <a:pt x="5544" y="5207"/>
                    </a:lnTo>
                    <a:lnTo>
                      <a:pt x="5582" y="5115"/>
                    </a:lnTo>
                    <a:lnTo>
                      <a:pt x="5604" y="4966"/>
                    </a:lnTo>
                    <a:lnTo>
                      <a:pt x="5648" y="4845"/>
                    </a:lnTo>
                    <a:lnTo>
                      <a:pt x="5831" y="4625"/>
                    </a:lnTo>
                    <a:lnTo>
                      <a:pt x="5883" y="4522"/>
                    </a:lnTo>
                    <a:lnTo>
                      <a:pt x="5983" y="4422"/>
                    </a:lnTo>
                    <a:lnTo>
                      <a:pt x="6028" y="4332"/>
                    </a:lnTo>
                    <a:lnTo>
                      <a:pt x="6046" y="4273"/>
                    </a:lnTo>
                    <a:lnTo>
                      <a:pt x="6031" y="4181"/>
                    </a:lnTo>
                    <a:lnTo>
                      <a:pt x="5928" y="4021"/>
                    </a:lnTo>
                    <a:lnTo>
                      <a:pt x="5948" y="3925"/>
                    </a:lnTo>
                    <a:lnTo>
                      <a:pt x="6052" y="3805"/>
                    </a:lnTo>
                    <a:lnTo>
                      <a:pt x="6097" y="3729"/>
                    </a:lnTo>
                    <a:lnTo>
                      <a:pt x="6107" y="3639"/>
                    </a:lnTo>
                    <a:lnTo>
                      <a:pt x="6135" y="3522"/>
                    </a:lnTo>
                    <a:lnTo>
                      <a:pt x="6197" y="3446"/>
                    </a:lnTo>
                    <a:lnTo>
                      <a:pt x="6332" y="3308"/>
                    </a:lnTo>
                    <a:lnTo>
                      <a:pt x="6418" y="3288"/>
                    </a:lnTo>
                    <a:lnTo>
                      <a:pt x="6512" y="3329"/>
                    </a:lnTo>
                    <a:lnTo>
                      <a:pt x="6588" y="3412"/>
                    </a:lnTo>
                    <a:lnTo>
                      <a:pt x="6619" y="3423"/>
                    </a:lnTo>
                    <a:lnTo>
                      <a:pt x="6680" y="3308"/>
                    </a:lnTo>
                    <a:lnTo>
                      <a:pt x="6711" y="3163"/>
                    </a:lnTo>
                    <a:lnTo>
                      <a:pt x="6722" y="3098"/>
                    </a:lnTo>
                    <a:lnTo>
                      <a:pt x="6701" y="2940"/>
                    </a:lnTo>
                    <a:lnTo>
                      <a:pt x="6733" y="2875"/>
                    </a:lnTo>
                    <a:lnTo>
                      <a:pt x="6771" y="2843"/>
                    </a:lnTo>
                    <a:lnTo>
                      <a:pt x="6836" y="2830"/>
                    </a:lnTo>
                    <a:lnTo>
                      <a:pt x="7061" y="2846"/>
                    </a:lnTo>
                    <a:lnTo>
                      <a:pt x="7385" y="2929"/>
                    </a:lnTo>
                    <a:lnTo>
                      <a:pt x="7447" y="2909"/>
                    </a:lnTo>
                    <a:lnTo>
                      <a:pt x="7489" y="2853"/>
                    </a:lnTo>
                    <a:lnTo>
                      <a:pt x="7412" y="2795"/>
                    </a:lnTo>
                    <a:lnTo>
                      <a:pt x="7398" y="2726"/>
                    </a:lnTo>
                    <a:lnTo>
                      <a:pt x="7436" y="2654"/>
                    </a:lnTo>
                    <a:lnTo>
                      <a:pt x="7454" y="2550"/>
                    </a:lnTo>
                    <a:lnTo>
                      <a:pt x="7478" y="2516"/>
                    </a:lnTo>
                    <a:lnTo>
                      <a:pt x="7489" y="2454"/>
                    </a:lnTo>
                    <a:lnTo>
                      <a:pt x="7471" y="2385"/>
                    </a:lnTo>
                    <a:lnTo>
                      <a:pt x="7433" y="2354"/>
                    </a:lnTo>
                    <a:lnTo>
                      <a:pt x="7420" y="2291"/>
                    </a:lnTo>
                    <a:lnTo>
                      <a:pt x="7458" y="2271"/>
                    </a:lnTo>
                    <a:lnTo>
                      <a:pt x="7619" y="2264"/>
                    </a:lnTo>
                    <a:lnTo>
                      <a:pt x="7637" y="2213"/>
                    </a:lnTo>
                    <a:lnTo>
                      <a:pt x="7692" y="2188"/>
                    </a:lnTo>
                    <a:lnTo>
                      <a:pt x="7751" y="2209"/>
                    </a:lnTo>
                    <a:lnTo>
                      <a:pt x="7817" y="2182"/>
                    </a:lnTo>
                    <a:lnTo>
                      <a:pt x="7789" y="2109"/>
                    </a:lnTo>
                    <a:lnTo>
                      <a:pt x="7771" y="2030"/>
                    </a:lnTo>
                    <a:lnTo>
                      <a:pt x="7855" y="1981"/>
                    </a:lnTo>
                    <a:lnTo>
                      <a:pt x="7954" y="2010"/>
                    </a:lnTo>
                    <a:lnTo>
                      <a:pt x="8047" y="2078"/>
                    </a:lnTo>
                    <a:lnTo>
                      <a:pt x="8293" y="2340"/>
                    </a:lnTo>
                    <a:lnTo>
                      <a:pt x="8344" y="2461"/>
                    </a:lnTo>
                    <a:lnTo>
                      <a:pt x="8389" y="2509"/>
                    </a:lnTo>
                    <a:lnTo>
                      <a:pt x="8573" y="2519"/>
                    </a:lnTo>
                    <a:lnTo>
                      <a:pt x="8690" y="2561"/>
                    </a:lnTo>
                    <a:lnTo>
                      <a:pt x="8772" y="2543"/>
                    </a:lnTo>
                    <a:lnTo>
                      <a:pt x="8870" y="2474"/>
                    </a:lnTo>
                    <a:lnTo>
                      <a:pt x="8977" y="2333"/>
                    </a:lnTo>
                    <a:lnTo>
                      <a:pt x="9049" y="2367"/>
                    </a:lnTo>
                    <a:lnTo>
                      <a:pt x="9129" y="2447"/>
                    </a:lnTo>
                    <a:lnTo>
                      <a:pt x="9160" y="2498"/>
                    </a:lnTo>
                    <a:lnTo>
                      <a:pt x="9239" y="2509"/>
                    </a:lnTo>
                    <a:lnTo>
                      <a:pt x="9339" y="2454"/>
                    </a:lnTo>
                    <a:lnTo>
                      <a:pt x="9415" y="2374"/>
                    </a:lnTo>
                    <a:lnTo>
                      <a:pt x="9459" y="2278"/>
                    </a:lnTo>
                    <a:lnTo>
                      <a:pt x="9615" y="2133"/>
                    </a:lnTo>
                    <a:lnTo>
                      <a:pt x="9615" y="2050"/>
                    </a:lnTo>
                    <a:lnTo>
                      <a:pt x="9570" y="1903"/>
                    </a:lnTo>
                    <a:lnTo>
                      <a:pt x="9553" y="1819"/>
                    </a:lnTo>
                    <a:lnTo>
                      <a:pt x="9533" y="1554"/>
                    </a:lnTo>
                    <a:lnTo>
                      <a:pt x="9580" y="1348"/>
                    </a:lnTo>
                    <a:lnTo>
                      <a:pt x="9636" y="1257"/>
                    </a:lnTo>
                    <a:lnTo>
                      <a:pt x="9712" y="1199"/>
                    </a:lnTo>
                    <a:lnTo>
                      <a:pt x="9874" y="1165"/>
                    </a:lnTo>
                    <a:lnTo>
                      <a:pt x="10102" y="1016"/>
                    </a:lnTo>
                    <a:lnTo>
                      <a:pt x="10254" y="965"/>
                    </a:lnTo>
                    <a:lnTo>
                      <a:pt x="10296" y="985"/>
                    </a:lnTo>
                    <a:lnTo>
                      <a:pt x="10392" y="1103"/>
                    </a:lnTo>
                    <a:lnTo>
                      <a:pt x="10475" y="1141"/>
                    </a:lnTo>
                    <a:lnTo>
                      <a:pt x="10603" y="1161"/>
                    </a:lnTo>
                    <a:lnTo>
                      <a:pt x="10751" y="1248"/>
                    </a:lnTo>
                    <a:lnTo>
                      <a:pt x="10844" y="1406"/>
                    </a:lnTo>
                    <a:lnTo>
                      <a:pt x="10878" y="1506"/>
                    </a:lnTo>
                    <a:lnTo>
                      <a:pt x="10778" y="1682"/>
                    </a:lnTo>
                    <a:lnTo>
                      <a:pt x="10775" y="1761"/>
                    </a:lnTo>
                    <a:lnTo>
                      <a:pt x="10796" y="1834"/>
                    </a:lnTo>
                    <a:lnTo>
                      <a:pt x="10876" y="1868"/>
                    </a:lnTo>
                    <a:lnTo>
                      <a:pt x="10896" y="1857"/>
                    </a:lnTo>
                    <a:lnTo>
                      <a:pt x="10938" y="1792"/>
                    </a:lnTo>
                    <a:lnTo>
                      <a:pt x="10945" y="1768"/>
                    </a:lnTo>
                    <a:lnTo>
                      <a:pt x="10931" y="1696"/>
                    </a:lnTo>
                    <a:lnTo>
                      <a:pt x="10938" y="1661"/>
                    </a:lnTo>
                    <a:lnTo>
                      <a:pt x="11124" y="1502"/>
                    </a:lnTo>
                    <a:lnTo>
                      <a:pt x="11155" y="1451"/>
                    </a:lnTo>
                    <a:lnTo>
                      <a:pt x="11148" y="1255"/>
                    </a:lnTo>
                    <a:lnTo>
                      <a:pt x="11317" y="1313"/>
                    </a:lnTo>
                    <a:lnTo>
                      <a:pt x="11389" y="1279"/>
                    </a:lnTo>
                    <a:lnTo>
                      <a:pt x="11400" y="1244"/>
                    </a:lnTo>
                    <a:lnTo>
                      <a:pt x="11404" y="1157"/>
                    </a:lnTo>
                    <a:lnTo>
                      <a:pt x="11386" y="1092"/>
                    </a:lnTo>
                    <a:close/>
                    <a:moveTo>
                      <a:pt x="54" y="12173"/>
                    </a:moveTo>
                    <a:lnTo>
                      <a:pt x="76" y="11997"/>
                    </a:lnTo>
                    <a:lnTo>
                      <a:pt x="61" y="11962"/>
                    </a:lnTo>
                    <a:lnTo>
                      <a:pt x="34" y="11990"/>
                    </a:lnTo>
                    <a:lnTo>
                      <a:pt x="0" y="12158"/>
                    </a:lnTo>
                    <a:lnTo>
                      <a:pt x="54" y="12173"/>
                    </a:lnTo>
                    <a:close/>
                    <a:moveTo>
                      <a:pt x="241" y="11572"/>
                    </a:moveTo>
                    <a:lnTo>
                      <a:pt x="272" y="11421"/>
                    </a:lnTo>
                    <a:lnTo>
                      <a:pt x="234" y="11353"/>
                    </a:lnTo>
                    <a:lnTo>
                      <a:pt x="197" y="11353"/>
                    </a:lnTo>
                    <a:lnTo>
                      <a:pt x="168" y="11469"/>
                    </a:lnTo>
                    <a:lnTo>
                      <a:pt x="165" y="11507"/>
                    </a:lnTo>
                    <a:lnTo>
                      <a:pt x="241" y="11572"/>
                    </a:lnTo>
                    <a:close/>
                    <a:moveTo>
                      <a:pt x="335" y="9457"/>
                    </a:moveTo>
                    <a:lnTo>
                      <a:pt x="359" y="9419"/>
                    </a:lnTo>
                    <a:lnTo>
                      <a:pt x="414" y="9398"/>
                    </a:lnTo>
                    <a:lnTo>
                      <a:pt x="424" y="9374"/>
                    </a:lnTo>
                    <a:lnTo>
                      <a:pt x="355" y="9332"/>
                    </a:lnTo>
                    <a:lnTo>
                      <a:pt x="335" y="9457"/>
                    </a:lnTo>
                    <a:close/>
                    <a:moveTo>
                      <a:pt x="862" y="9019"/>
                    </a:moveTo>
                    <a:lnTo>
                      <a:pt x="939" y="8908"/>
                    </a:lnTo>
                    <a:lnTo>
                      <a:pt x="928" y="8874"/>
                    </a:lnTo>
                    <a:lnTo>
                      <a:pt x="870" y="8853"/>
                    </a:lnTo>
                    <a:lnTo>
                      <a:pt x="842" y="8881"/>
                    </a:lnTo>
                    <a:lnTo>
                      <a:pt x="828" y="9015"/>
                    </a:lnTo>
                    <a:lnTo>
                      <a:pt x="862" y="9019"/>
                    </a:lnTo>
                    <a:close/>
                    <a:moveTo>
                      <a:pt x="197" y="10101"/>
                    </a:moveTo>
                    <a:lnTo>
                      <a:pt x="206" y="10080"/>
                    </a:lnTo>
                    <a:lnTo>
                      <a:pt x="107" y="10163"/>
                    </a:lnTo>
                    <a:lnTo>
                      <a:pt x="86" y="10221"/>
                    </a:lnTo>
                    <a:lnTo>
                      <a:pt x="86" y="10239"/>
                    </a:lnTo>
                    <a:lnTo>
                      <a:pt x="155" y="10225"/>
                    </a:lnTo>
                    <a:lnTo>
                      <a:pt x="193" y="10139"/>
                    </a:lnTo>
                    <a:lnTo>
                      <a:pt x="197" y="10101"/>
                    </a:lnTo>
                    <a:close/>
                    <a:moveTo>
                      <a:pt x="2292" y="7771"/>
                    </a:moveTo>
                    <a:lnTo>
                      <a:pt x="2330" y="7768"/>
                    </a:lnTo>
                    <a:lnTo>
                      <a:pt x="2340" y="7747"/>
                    </a:lnTo>
                    <a:lnTo>
                      <a:pt x="2392" y="7754"/>
                    </a:lnTo>
                    <a:lnTo>
                      <a:pt x="2427" y="7727"/>
                    </a:lnTo>
                    <a:lnTo>
                      <a:pt x="2441" y="7692"/>
                    </a:lnTo>
                    <a:lnTo>
                      <a:pt x="2551" y="7654"/>
                    </a:lnTo>
                    <a:lnTo>
                      <a:pt x="2631" y="7661"/>
                    </a:lnTo>
                    <a:lnTo>
                      <a:pt x="2613" y="7696"/>
                    </a:lnTo>
                    <a:lnTo>
                      <a:pt x="2644" y="7727"/>
                    </a:lnTo>
                    <a:lnTo>
                      <a:pt x="2655" y="7785"/>
                    </a:lnTo>
                    <a:lnTo>
                      <a:pt x="2461" y="7823"/>
                    </a:lnTo>
                    <a:lnTo>
                      <a:pt x="2351" y="7872"/>
                    </a:lnTo>
                    <a:lnTo>
                      <a:pt x="2309" y="7820"/>
                    </a:lnTo>
                    <a:lnTo>
                      <a:pt x="2292" y="7771"/>
                    </a:lnTo>
                    <a:close/>
                    <a:moveTo>
                      <a:pt x="9259" y="114"/>
                    </a:moveTo>
                    <a:lnTo>
                      <a:pt x="9321" y="179"/>
                    </a:lnTo>
                    <a:lnTo>
                      <a:pt x="9339" y="223"/>
                    </a:lnTo>
                    <a:lnTo>
                      <a:pt x="9280" y="214"/>
                    </a:lnTo>
                    <a:lnTo>
                      <a:pt x="9249" y="261"/>
                    </a:lnTo>
                    <a:lnTo>
                      <a:pt x="9214" y="248"/>
                    </a:lnTo>
                    <a:lnTo>
                      <a:pt x="9142" y="261"/>
                    </a:lnTo>
                    <a:lnTo>
                      <a:pt x="9125" y="238"/>
                    </a:lnTo>
                    <a:lnTo>
                      <a:pt x="9167" y="207"/>
                    </a:lnTo>
                    <a:lnTo>
                      <a:pt x="9173" y="169"/>
                    </a:lnTo>
                    <a:lnTo>
                      <a:pt x="9076" y="193"/>
                    </a:lnTo>
                    <a:lnTo>
                      <a:pt x="9080" y="158"/>
                    </a:lnTo>
                    <a:lnTo>
                      <a:pt x="9129" y="141"/>
                    </a:lnTo>
                    <a:lnTo>
                      <a:pt x="9187" y="149"/>
                    </a:lnTo>
                    <a:lnTo>
                      <a:pt x="9194" y="107"/>
                    </a:lnTo>
                    <a:lnTo>
                      <a:pt x="9180" y="80"/>
                    </a:lnTo>
                    <a:lnTo>
                      <a:pt x="9259" y="114"/>
                    </a:lnTo>
                    <a:close/>
                    <a:moveTo>
                      <a:pt x="8687" y="724"/>
                    </a:moveTo>
                    <a:lnTo>
                      <a:pt x="8659" y="755"/>
                    </a:lnTo>
                    <a:lnTo>
                      <a:pt x="8607" y="648"/>
                    </a:lnTo>
                    <a:lnTo>
                      <a:pt x="8569" y="559"/>
                    </a:lnTo>
                    <a:lnTo>
                      <a:pt x="8583" y="528"/>
                    </a:lnTo>
                    <a:lnTo>
                      <a:pt x="8607" y="572"/>
                    </a:lnTo>
                    <a:lnTo>
                      <a:pt x="8638" y="559"/>
                    </a:lnTo>
                    <a:lnTo>
                      <a:pt x="8687" y="589"/>
                    </a:lnTo>
                    <a:lnTo>
                      <a:pt x="8721" y="665"/>
                    </a:lnTo>
                    <a:lnTo>
                      <a:pt x="8725" y="713"/>
                    </a:lnTo>
                    <a:lnTo>
                      <a:pt x="8687" y="724"/>
                    </a:lnTo>
                    <a:close/>
                    <a:moveTo>
                      <a:pt x="8517" y="930"/>
                    </a:moveTo>
                    <a:lnTo>
                      <a:pt x="8493" y="920"/>
                    </a:lnTo>
                    <a:lnTo>
                      <a:pt x="8500" y="951"/>
                    </a:lnTo>
                    <a:lnTo>
                      <a:pt x="8473" y="982"/>
                    </a:lnTo>
                    <a:lnTo>
                      <a:pt x="8406" y="976"/>
                    </a:lnTo>
                    <a:lnTo>
                      <a:pt x="8372" y="941"/>
                    </a:lnTo>
                    <a:lnTo>
                      <a:pt x="8359" y="907"/>
                    </a:lnTo>
                    <a:lnTo>
                      <a:pt x="8362" y="876"/>
                    </a:lnTo>
                    <a:lnTo>
                      <a:pt x="8334" y="827"/>
                    </a:lnTo>
                    <a:lnTo>
                      <a:pt x="8359" y="789"/>
                    </a:lnTo>
                    <a:lnTo>
                      <a:pt x="8397" y="807"/>
                    </a:lnTo>
                    <a:lnTo>
                      <a:pt x="8406" y="740"/>
                    </a:lnTo>
                    <a:lnTo>
                      <a:pt x="8469" y="755"/>
                    </a:lnTo>
                    <a:lnTo>
                      <a:pt x="8493" y="706"/>
                    </a:lnTo>
                    <a:lnTo>
                      <a:pt x="8555" y="758"/>
                    </a:lnTo>
                    <a:lnTo>
                      <a:pt x="8569" y="803"/>
                    </a:lnTo>
                    <a:lnTo>
                      <a:pt x="8552" y="869"/>
                    </a:lnTo>
                    <a:lnTo>
                      <a:pt x="8517" y="930"/>
                    </a:lnTo>
                    <a:close/>
                    <a:moveTo>
                      <a:pt x="8103" y="655"/>
                    </a:moveTo>
                    <a:lnTo>
                      <a:pt x="8120" y="644"/>
                    </a:lnTo>
                    <a:lnTo>
                      <a:pt x="8116" y="620"/>
                    </a:lnTo>
                    <a:lnTo>
                      <a:pt x="8145" y="624"/>
                    </a:lnTo>
                    <a:lnTo>
                      <a:pt x="8154" y="600"/>
                    </a:lnTo>
                    <a:lnTo>
                      <a:pt x="8168" y="606"/>
                    </a:lnTo>
                    <a:lnTo>
                      <a:pt x="8179" y="671"/>
                    </a:lnTo>
                    <a:lnTo>
                      <a:pt x="8248" y="641"/>
                    </a:lnTo>
                    <a:lnTo>
                      <a:pt x="8237" y="579"/>
                    </a:lnTo>
                    <a:lnTo>
                      <a:pt x="8279" y="575"/>
                    </a:lnTo>
                    <a:lnTo>
                      <a:pt x="8299" y="613"/>
                    </a:lnTo>
                    <a:lnTo>
                      <a:pt x="8344" y="624"/>
                    </a:lnTo>
                    <a:lnTo>
                      <a:pt x="8369" y="651"/>
                    </a:lnTo>
                    <a:lnTo>
                      <a:pt x="8372" y="693"/>
                    </a:lnTo>
                    <a:lnTo>
                      <a:pt x="8337" y="696"/>
                    </a:lnTo>
                    <a:lnTo>
                      <a:pt x="8334" y="744"/>
                    </a:lnTo>
                    <a:lnTo>
                      <a:pt x="8310" y="775"/>
                    </a:lnTo>
                    <a:lnTo>
                      <a:pt x="8259" y="751"/>
                    </a:lnTo>
                    <a:lnTo>
                      <a:pt x="8234" y="796"/>
                    </a:lnTo>
                    <a:lnTo>
                      <a:pt x="8199" y="807"/>
                    </a:lnTo>
                    <a:lnTo>
                      <a:pt x="8172" y="782"/>
                    </a:lnTo>
                    <a:lnTo>
                      <a:pt x="8123" y="816"/>
                    </a:lnTo>
                    <a:lnTo>
                      <a:pt x="8099" y="778"/>
                    </a:lnTo>
                    <a:lnTo>
                      <a:pt x="8089" y="847"/>
                    </a:lnTo>
                    <a:lnTo>
                      <a:pt x="8047" y="734"/>
                    </a:lnTo>
                    <a:lnTo>
                      <a:pt x="8000" y="720"/>
                    </a:lnTo>
                    <a:lnTo>
                      <a:pt x="8038" y="679"/>
                    </a:lnTo>
                    <a:lnTo>
                      <a:pt x="8085" y="682"/>
                    </a:lnTo>
                    <a:lnTo>
                      <a:pt x="8103" y="655"/>
                    </a:lnTo>
                    <a:close/>
                    <a:moveTo>
                      <a:pt x="8293" y="1051"/>
                    </a:moveTo>
                    <a:lnTo>
                      <a:pt x="8189" y="1007"/>
                    </a:lnTo>
                    <a:lnTo>
                      <a:pt x="8176" y="969"/>
                    </a:lnTo>
                    <a:lnTo>
                      <a:pt x="8192" y="934"/>
                    </a:lnTo>
                    <a:lnTo>
                      <a:pt x="8313" y="951"/>
                    </a:lnTo>
                    <a:lnTo>
                      <a:pt x="8355" y="985"/>
                    </a:lnTo>
                    <a:lnTo>
                      <a:pt x="8366" y="1034"/>
                    </a:lnTo>
                    <a:lnTo>
                      <a:pt x="8293" y="1051"/>
                    </a:lnTo>
                    <a:close/>
                    <a:moveTo>
                      <a:pt x="7543" y="1127"/>
                    </a:moveTo>
                    <a:lnTo>
                      <a:pt x="7565" y="1123"/>
                    </a:lnTo>
                    <a:lnTo>
                      <a:pt x="7588" y="1165"/>
                    </a:lnTo>
                    <a:lnTo>
                      <a:pt x="7581" y="1206"/>
                    </a:lnTo>
                    <a:lnTo>
                      <a:pt x="7588" y="1292"/>
                    </a:lnTo>
                    <a:lnTo>
                      <a:pt x="7571" y="1310"/>
                    </a:lnTo>
                    <a:lnTo>
                      <a:pt x="7543" y="1299"/>
                    </a:lnTo>
                    <a:lnTo>
                      <a:pt x="7536" y="1241"/>
                    </a:lnTo>
                    <a:lnTo>
                      <a:pt x="7516" y="1279"/>
                    </a:lnTo>
                    <a:lnTo>
                      <a:pt x="7481" y="1257"/>
                    </a:lnTo>
                    <a:lnTo>
                      <a:pt x="7474" y="1196"/>
                    </a:lnTo>
                    <a:lnTo>
                      <a:pt x="7492" y="1148"/>
                    </a:lnTo>
                    <a:lnTo>
                      <a:pt x="7543" y="1127"/>
                    </a:lnTo>
                    <a:close/>
                    <a:moveTo>
                      <a:pt x="7237" y="1203"/>
                    </a:moveTo>
                    <a:lnTo>
                      <a:pt x="7246" y="1192"/>
                    </a:lnTo>
                    <a:lnTo>
                      <a:pt x="7257" y="1217"/>
                    </a:lnTo>
                    <a:lnTo>
                      <a:pt x="7281" y="1223"/>
                    </a:lnTo>
                    <a:lnTo>
                      <a:pt x="7329" y="1282"/>
                    </a:lnTo>
                    <a:lnTo>
                      <a:pt x="7309" y="1333"/>
                    </a:lnTo>
                    <a:lnTo>
                      <a:pt x="7206" y="1299"/>
                    </a:lnTo>
                    <a:lnTo>
                      <a:pt x="7161" y="1192"/>
                    </a:lnTo>
                    <a:lnTo>
                      <a:pt x="7126" y="1137"/>
                    </a:lnTo>
                    <a:lnTo>
                      <a:pt x="7146" y="1130"/>
                    </a:lnTo>
                    <a:lnTo>
                      <a:pt x="7181" y="1148"/>
                    </a:lnTo>
                    <a:lnTo>
                      <a:pt x="7208" y="1220"/>
                    </a:lnTo>
                    <a:lnTo>
                      <a:pt x="7237" y="1203"/>
                    </a:lnTo>
                    <a:close/>
                    <a:moveTo>
                      <a:pt x="6891" y="1355"/>
                    </a:moveTo>
                    <a:lnTo>
                      <a:pt x="6863" y="1389"/>
                    </a:lnTo>
                    <a:lnTo>
                      <a:pt x="6843" y="1375"/>
                    </a:lnTo>
                    <a:lnTo>
                      <a:pt x="6822" y="1326"/>
                    </a:lnTo>
                    <a:lnTo>
                      <a:pt x="6843" y="1299"/>
                    </a:lnTo>
                    <a:lnTo>
                      <a:pt x="6884" y="1317"/>
                    </a:lnTo>
                    <a:lnTo>
                      <a:pt x="6954" y="1313"/>
                    </a:lnTo>
                    <a:lnTo>
                      <a:pt x="6985" y="1320"/>
                    </a:lnTo>
                    <a:lnTo>
                      <a:pt x="6998" y="1340"/>
                    </a:lnTo>
                    <a:lnTo>
                      <a:pt x="6994" y="1420"/>
                    </a:lnTo>
                    <a:lnTo>
                      <a:pt x="7019" y="1420"/>
                    </a:lnTo>
                    <a:lnTo>
                      <a:pt x="7026" y="1386"/>
                    </a:lnTo>
                    <a:lnTo>
                      <a:pt x="7074" y="1361"/>
                    </a:lnTo>
                    <a:lnTo>
                      <a:pt x="7157" y="1386"/>
                    </a:lnTo>
                    <a:lnTo>
                      <a:pt x="7088" y="1537"/>
                    </a:lnTo>
                    <a:lnTo>
                      <a:pt x="7039" y="1567"/>
                    </a:lnTo>
                    <a:lnTo>
                      <a:pt x="6891" y="1475"/>
                    </a:lnTo>
                    <a:lnTo>
                      <a:pt x="6871" y="1427"/>
                    </a:lnTo>
                    <a:lnTo>
                      <a:pt x="6901" y="1447"/>
                    </a:lnTo>
                    <a:lnTo>
                      <a:pt x="6912" y="1358"/>
                    </a:lnTo>
                    <a:lnTo>
                      <a:pt x="6891" y="1355"/>
                    </a:lnTo>
                    <a:close/>
                    <a:moveTo>
                      <a:pt x="6680" y="1689"/>
                    </a:moveTo>
                    <a:lnTo>
                      <a:pt x="6764" y="1689"/>
                    </a:lnTo>
                    <a:lnTo>
                      <a:pt x="6780" y="1668"/>
                    </a:lnTo>
                    <a:lnTo>
                      <a:pt x="6787" y="1596"/>
                    </a:lnTo>
                    <a:lnTo>
                      <a:pt x="6825" y="1647"/>
                    </a:lnTo>
                    <a:lnTo>
                      <a:pt x="6846" y="1647"/>
                    </a:lnTo>
                    <a:lnTo>
                      <a:pt x="6860" y="1578"/>
                    </a:lnTo>
                    <a:lnTo>
                      <a:pt x="6856" y="1523"/>
                    </a:lnTo>
                    <a:lnTo>
                      <a:pt x="6925" y="1554"/>
                    </a:lnTo>
                    <a:lnTo>
                      <a:pt x="6954" y="1602"/>
                    </a:lnTo>
                    <a:lnTo>
                      <a:pt x="6905" y="1716"/>
                    </a:lnTo>
                    <a:lnTo>
                      <a:pt x="6905" y="1768"/>
                    </a:lnTo>
                    <a:lnTo>
                      <a:pt x="6735" y="1837"/>
                    </a:lnTo>
                    <a:lnTo>
                      <a:pt x="6626" y="1816"/>
                    </a:lnTo>
                    <a:lnTo>
                      <a:pt x="6628" y="1785"/>
                    </a:lnTo>
                    <a:lnTo>
                      <a:pt x="6677" y="1785"/>
                    </a:lnTo>
                    <a:lnTo>
                      <a:pt x="6695" y="1758"/>
                    </a:lnTo>
                    <a:lnTo>
                      <a:pt x="6680" y="1689"/>
                    </a:lnTo>
                    <a:close/>
                    <a:moveTo>
                      <a:pt x="6207" y="2198"/>
                    </a:moveTo>
                    <a:lnTo>
                      <a:pt x="6159" y="2168"/>
                    </a:lnTo>
                    <a:lnTo>
                      <a:pt x="6207" y="2171"/>
                    </a:lnTo>
                    <a:lnTo>
                      <a:pt x="6222" y="2147"/>
                    </a:lnTo>
                    <a:lnTo>
                      <a:pt x="6231" y="2109"/>
                    </a:lnTo>
                    <a:lnTo>
                      <a:pt x="6184" y="2092"/>
                    </a:lnTo>
                    <a:lnTo>
                      <a:pt x="6225" y="2075"/>
                    </a:lnTo>
                    <a:lnTo>
                      <a:pt x="6197" y="2048"/>
                    </a:lnTo>
                    <a:lnTo>
                      <a:pt x="6249" y="1995"/>
                    </a:lnTo>
                    <a:lnTo>
                      <a:pt x="6304" y="2026"/>
                    </a:lnTo>
                    <a:lnTo>
                      <a:pt x="6342" y="1975"/>
                    </a:lnTo>
                    <a:lnTo>
                      <a:pt x="6304" y="1933"/>
                    </a:lnTo>
                    <a:lnTo>
                      <a:pt x="6338" y="1912"/>
                    </a:lnTo>
                    <a:lnTo>
                      <a:pt x="6397" y="1937"/>
                    </a:lnTo>
                    <a:lnTo>
                      <a:pt x="6421" y="1906"/>
                    </a:lnTo>
                    <a:lnTo>
                      <a:pt x="6387" y="1823"/>
                    </a:lnTo>
                    <a:lnTo>
                      <a:pt x="6436" y="1885"/>
                    </a:lnTo>
                    <a:lnTo>
                      <a:pt x="6443" y="1830"/>
                    </a:lnTo>
                    <a:lnTo>
                      <a:pt x="6490" y="1823"/>
                    </a:lnTo>
                    <a:lnTo>
                      <a:pt x="6539" y="1906"/>
                    </a:lnTo>
                    <a:lnTo>
                      <a:pt x="6570" y="1941"/>
                    </a:lnTo>
                    <a:lnTo>
                      <a:pt x="6594" y="2019"/>
                    </a:lnTo>
                    <a:lnTo>
                      <a:pt x="6559" y="2092"/>
                    </a:lnTo>
                    <a:lnTo>
                      <a:pt x="6566" y="2220"/>
                    </a:lnTo>
                    <a:lnTo>
                      <a:pt x="6449" y="2240"/>
                    </a:lnTo>
                    <a:lnTo>
                      <a:pt x="6443" y="2195"/>
                    </a:lnTo>
                    <a:lnTo>
                      <a:pt x="6390" y="2213"/>
                    </a:lnTo>
                    <a:lnTo>
                      <a:pt x="6352" y="2305"/>
                    </a:lnTo>
                    <a:lnTo>
                      <a:pt x="6231" y="2323"/>
                    </a:lnTo>
                    <a:lnTo>
                      <a:pt x="6184" y="2358"/>
                    </a:lnTo>
                    <a:lnTo>
                      <a:pt x="6153" y="2309"/>
                    </a:lnTo>
                    <a:lnTo>
                      <a:pt x="6222" y="2257"/>
                    </a:lnTo>
                    <a:lnTo>
                      <a:pt x="6242" y="2220"/>
                    </a:lnTo>
                    <a:lnTo>
                      <a:pt x="6207" y="2198"/>
                    </a:lnTo>
                    <a:close/>
                    <a:moveTo>
                      <a:pt x="5428" y="3604"/>
                    </a:moveTo>
                    <a:lnTo>
                      <a:pt x="5413" y="3601"/>
                    </a:lnTo>
                    <a:lnTo>
                      <a:pt x="5386" y="3529"/>
                    </a:lnTo>
                    <a:lnTo>
                      <a:pt x="5448" y="3553"/>
                    </a:lnTo>
                    <a:lnTo>
                      <a:pt x="5500" y="3553"/>
                    </a:lnTo>
                    <a:lnTo>
                      <a:pt x="5573" y="3488"/>
                    </a:lnTo>
                    <a:lnTo>
                      <a:pt x="5589" y="3539"/>
                    </a:lnTo>
                    <a:lnTo>
                      <a:pt x="5575" y="3591"/>
                    </a:lnTo>
                    <a:lnTo>
                      <a:pt x="5520" y="3615"/>
                    </a:lnTo>
                    <a:lnTo>
                      <a:pt x="5486" y="3673"/>
                    </a:lnTo>
                    <a:lnTo>
                      <a:pt x="5417" y="3715"/>
                    </a:lnTo>
                    <a:lnTo>
                      <a:pt x="5375" y="3726"/>
                    </a:lnTo>
                    <a:lnTo>
                      <a:pt x="5341" y="3702"/>
                    </a:lnTo>
                    <a:lnTo>
                      <a:pt x="5386" y="3633"/>
                    </a:lnTo>
                    <a:lnTo>
                      <a:pt x="5430" y="3629"/>
                    </a:lnTo>
                    <a:lnTo>
                      <a:pt x="5428" y="3604"/>
                    </a:lnTo>
                    <a:close/>
                    <a:moveTo>
                      <a:pt x="5754" y="2206"/>
                    </a:moveTo>
                    <a:lnTo>
                      <a:pt x="5787" y="2202"/>
                    </a:lnTo>
                    <a:lnTo>
                      <a:pt x="5807" y="2099"/>
                    </a:lnTo>
                    <a:lnTo>
                      <a:pt x="5848" y="2095"/>
                    </a:lnTo>
                    <a:lnTo>
                      <a:pt x="5910" y="2130"/>
                    </a:lnTo>
                    <a:lnTo>
                      <a:pt x="5894" y="2175"/>
                    </a:lnTo>
                    <a:lnTo>
                      <a:pt x="5879" y="2254"/>
                    </a:lnTo>
                    <a:lnTo>
                      <a:pt x="5838" y="2347"/>
                    </a:lnTo>
                    <a:lnTo>
                      <a:pt x="5765" y="2398"/>
                    </a:lnTo>
                    <a:lnTo>
                      <a:pt x="5720" y="2420"/>
                    </a:lnTo>
                    <a:lnTo>
                      <a:pt x="5676" y="2416"/>
                    </a:lnTo>
                    <a:lnTo>
                      <a:pt x="5658" y="2374"/>
                    </a:lnTo>
                    <a:lnTo>
                      <a:pt x="5672" y="2291"/>
                    </a:lnTo>
                    <a:lnTo>
                      <a:pt x="5752" y="2244"/>
                    </a:lnTo>
                    <a:lnTo>
                      <a:pt x="5754" y="2206"/>
                    </a:lnTo>
                    <a:close/>
                    <a:moveTo>
                      <a:pt x="5237" y="2719"/>
                    </a:moveTo>
                    <a:lnTo>
                      <a:pt x="5261" y="2702"/>
                    </a:lnTo>
                    <a:lnTo>
                      <a:pt x="5254" y="2670"/>
                    </a:lnTo>
                    <a:lnTo>
                      <a:pt x="5258" y="2636"/>
                    </a:lnTo>
                    <a:lnTo>
                      <a:pt x="5285" y="2661"/>
                    </a:lnTo>
                    <a:lnTo>
                      <a:pt x="5306" y="2623"/>
                    </a:lnTo>
                    <a:lnTo>
                      <a:pt x="5348" y="2639"/>
                    </a:lnTo>
                    <a:lnTo>
                      <a:pt x="5368" y="2601"/>
                    </a:lnTo>
                    <a:lnTo>
                      <a:pt x="5390" y="2519"/>
                    </a:lnTo>
                    <a:lnTo>
                      <a:pt x="5424" y="2585"/>
                    </a:lnTo>
                    <a:lnTo>
                      <a:pt x="5479" y="2581"/>
                    </a:lnTo>
                    <a:lnTo>
                      <a:pt x="5479" y="2440"/>
                    </a:lnTo>
                    <a:lnTo>
                      <a:pt x="5566" y="2581"/>
                    </a:lnTo>
                    <a:lnTo>
                      <a:pt x="5566" y="2647"/>
                    </a:lnTo>
                    <a:lnTo>
                      <a:pt x="5579" y="2761"/>
                    </a:lnTo>
                    <a:lnTo>
                      <a:pt x="5524" y="2771"/>
                    </a:lnTo>
                    <a:lnTo>
                      <a:pt x="5479" y="2808"/>
                    </a:lnTo>
                    <a:lnTo>
                      <a:pt x="5424" y="2826"/>
                    </a:lnTo>
                    <a:lnTo>
                      <a:pt x="5399" y="2771"/>
                    </a:lnTo>
                    <a:lnTo>
                      <a:pt x="5448" y="2726"/>
                    </a:lnTo>
                    <a:lnTo>
                      <a:pt x="5475" y="2670"/>
                    </a:lnTo>
                    <a:lnTo>
                      <a:pt x="5428" y="2730"/>
                    </a:lnTo>
                    <a:lnTo>
                      <a:pt x="5386" y="2726"/>
                    </a:lnTo>
                    <a:lnTo>
                      <a:pt x="5251" y="2808"/>
                    </a:lnTo>
                    <a:lnTo>
                      <a:pt x="5227" y="2771"/>
                    </a:lnTo>
                    <a:lnTo>
                      <a:pt x="5237" y="2719"/>
                    </a:lnTo>
                    <a:close/>
                  </a:path>
                </a:pathLst>
              </a:custGeom>
              <a:grpFill/>
              <a:ln w="6350">
                <a:solidFill>
                  <a:srgbClr val="FFFFFF"/>
                </a:solidFill>
              </a:ln>
            </p:spPr>
            <p:txBody>
              <a:bodyPr vert="eaVert" wrap="none" anchor="ctr"/>
              <a:lstStyle/>
              <a:p>
                <a:pPr defTabSz="858500" eaLnBrk="1" fontAlgn="auto" hangingPunct="1">
                  <a:lnSpc>
                    <a:spcPct val="100000"/>
                  </a:lnSpc>
                  <a:spcBef>
                    <a:spcPts val="0"/>
                  </a:spcBef>
                  <a:spcAft>
                    <a:spcPts val="0"/>
                  </a:spcAft>
                  <a:buClrTx/>
                  <a:buSzTx/>
                  <a:defRPr/>
                </a:pPr>
                <a:endParaRPr lang="en-GB" sz="600" b="1" dirty="0">
                  <a:latin typeface="+mn-lt"/>
                </a:endParaRPr>
              </a:p>
            </p:txBody>
          </p:sp>
          <p:sp>
            <p:nvSpPr>
              <p:cNvPr id="269" name="Finland"/>
              <p:cNvSpPr>
                <a:spLocks noEditPoints="1"/>
              </p:cNvSpPr>
              <p:nvPr>
                <p:custDataLst>
                  <p:tags r:id="rId10"/>
                </p:custDataLst>
              </p:nvPr>
            </p:nvSpPr>
            <p:spPr bwMode="gray">
              <a:xfrm>
                <a:off x="2303507" y="1390191"/>
                <a:ext cx="1426693" cy="2390491"/>
              </a:xfrm>
              <a:custGeom>
                <a:avLst/>
                <a:gdLst/>
                <a:ahLst/>
                <a:cxnLst>
                  <a:cxn ang="0">
                    <a:pos x="608" y="1785"/>
                  </a:cxn>
                  <a:cxn ang="0">
                    <a:pos x="1316" y="2429"/>
                  </a:cxn>
                  <a:cxn ang="0">
                    <a:pos x="1441" y="2929"/>
                  </a:cxn>
                  <a:cxn ang="0">
                    <a:pos x="1682" y="3664"/>
                  </a:cxn>
                  <a:cxn ang="0">
                    <a:pos x="1900" y="4342"/>
                  </a:cxn>
                  <a:cxn ang="0">
                    <a:pos x="2099" y="4391"/>
                  </a:cxn>
                  <a:cxn ang="0">
                    <a:pos x="2531" y="5052"/>
                  </a:cxn>
                  <a:cxn ang="0">
                    <a:pos x="2503" y="5289"/>
                  </a:cxn>
                  <a:cxn ang="0">
                    <a:pos x="2021" y="6031"/>
                  </a:cxn>
                  <a:cxn ang="0">
                    <a:pos x="1450" y="6985"/>
                  </a:cxn>
                  <a:cxn ang="0">
                    <a:pos x="1068" y="7251"/>
                  </a:cxn>
                  <a:cxn ang="0">
                    <a:pos x="954" y="7493"/>
                  </a:cxn>
                  <a:cxn ang="0">
                    <a:pos x="850" y="7934"/>
                  </a:cxn>
                  <a:cxn ang="0">
                    <a:pos x="1002" y="8467"/>
                  </a:cxn>
                  <a:cxn ang="0">
                    <a:pos x="1251" y="8888"/>
                  </a:cxn>
                  <a:cxn ang="0">
                    <a:pos x="1147" y="8975"/>
                  </a:cxn>
                  <a:cxn ang="0">
                    <a:pos x="1113" y="9377"/>
                  </a:cxn>
                  <a:cxn ang="0">
                    <a:pos x="1151" y="9670"/>
                  </a:cxn>
                  <a:cxn ang="0">
                    <a:pos x="1320" y="9811"/>
                  </a:cxn>
                  <a:cxn ang="0">
                    <a:pos x="1806" y="10036"/>
                  </a:cxn>
                  <a:cxn ang="0">
                    <a:pos x="2037" y="10218"/>
                  </a:cxn>
                  <a:cxn ang="0">
                    <a:pos x="2110" y="10573"/>
                  </a:cxn>
                  <a:cxn ang="0">
                    <a:pos x="2369" y="10432"/>
                  </a:cxn>
                  <a:cxn ang="0">
                    <a:pos x="2831" y="10287"/>
                  </a:cxn>
                  <a:cxn ang="0">
                    <a:pos x="3149" y="10112"/>
                  </a:cxn>
                  <a:cxn ang="0">
                    <a:pos x="3654" y="9833"/>
                  </a:cxn>
                  <a:cxn ang="0">
                    <a:pos x="3830" y="9715"/>
                  </a:cxn>
                  <a:cxn ang="0">
                    <a:pos x="4461" y="9584"/>
                  </a:cxn>
                  <a:cxn ang="0">
                    <a:pos x="5189" y="8670"/>
                  </a:cxn>
                  <a:cxn ang="0">
                    <a:pos x="5818" y="6666"/>
                  </a:cxn>
                  <a:cxn ang="0">
                    <a:pos x="5186" y="6234"/>
                  </a:cxn>
                  <a:cxn ang="0">
                    <a:pos x="5117" y="5510"/>
                  </a:cxn>
                  <a:cxn ang="0">
                    <a:pos x="4593" y="5011"/>
                  </a:cxn>
                  <a:cxn ang="0">
                    <a:pos x="4489" y="4425"/>
                  </a:cxn>
                  <a:cxn ang="0">
                    <a:pos x="4299" y="3667"/>
                  </a:cxn>
                  <a:cxn ang="0">
                    <a:pos x="3839" y="2978"/>
                  </a:cxn>
                  <a:cxn ang="0">
                    <a:pos x="3830" y="2048"/>
                  </a:cxn>
                  <a:cxn ang="0">
                    <a:pos x="3274" y="1712"/>
                  </a:cxn>
                  <a:cxn ang="0">
                    <a:pos x="3167" y="1137"/>
                  </a:cxn>
                  <a:cxn ang="0">
                    <a:pos x="3159" y="717"/>
                  </a:cxn>
                  <a:cxn ang="0">
                    <a:pos x="2856" y="176"/>
                  </a:cxn>
                  <a:cxn ang="0">
                    <a:pos x="2255" y="200"/>
                  </a:cxn>
                  <a:cxn ang="0">
                    <a:pos x="1934" y="854"/>
                  </a:cxn>
                  <a:cxn ang="0">
                    <a:pos x="1796" y="1409"/>
                  </a:cxn>
                  <a:cxn ang="0">
                    <a:pos x="1430" y="1402"/>
                  </a:cxn>
                  <a:cxn ang="0">
                    <a:pos x="954" y="1554"/>
                  </a:cxn>
                  <a:cxn ang="0">
                    <a:pos x="335" y="1045"/>
                  </a:cxn>
                  <a:cxn ang="0">
                    <a:pos x="132" y="1244"/>
                  </a:cxn>
                  <a:cxn ang="0">
                    <a:pos x="432" y="10139"/>
                  </a:cxn>
                  <a:cxn ang="0">
                    <a:pos x="321" y="10256"/>
                  </a:cxn>
                  <a:cxn ang="0">
                    <a:pos x="577" y="10466"/>
                  </a:cxn>
                  <a:cxn ang="0">
                    <a:pos x="557" y="10218"/>
                  </a:cxn>
                  <a:cxn ang="0">
                    <a:pos x="1396" y="10308"/>
                  </a:cxn>
                  <a:cxn ang="0">
                    <a:pos x="1961" y="10359"/>
                  </a:cxn>
                  <a:cxn ang="0">
                    <a:pos x="1827" y="10311"/>
                  </a:cxn>
                </a:cxnLst>
                <a:rect l="0" t="0" r="r" b="b"/>
                <a:pathLst>
                  <a:path w="5898" h="10584">
                    <a:moveTo>
                      <a:pt x="0" y="1299"/>
                    </a:moveTo>
                    <a:lnTo>
                      <a:pt x="18" y="1295"/>
                    </a:lnTo>
                    <a:lnTo>
                      <a:pt x="38" y="1326"/>
                    </a:lnTo>
                    <a:lnTo>
                      <a:pt x="363" y="1602"/>
                    </a:lnTo>
                    <a:lnTo>
                      <a:pt x="608" y="1785"/>
                    </a:lnTo>
                    <a:lnTo>
                      <a:pt x="870" y="1834"/>
                    </a:lnTo>
                    <a:lnTo>
                      <a:pt x="1019" y="1933"/>
                    </a:lnTo>
                    <a:lnTo>
                      <a:pt x="1312" y="2291"/>
                    </a:lnTo>
                    <a:lnTo>
                      <a:pt x="1336" y="2336"/>
                    </a:lnTo>
                    <a:lnTo>
                      <a:pt x="1316" y="2429"/>
                    </a:lnTo>
                    <a:lnTo>
                      <a:pt x="1316" y="2536"/>
                    </a:lnTo>
                    <a:lnTo>
                      <a:pt x="1340" y="2681"/>
                    </a:lnTo>
                    <a:lnTo>
                      <a:pt x="1368" y="2781"/>
                    </a:lnTo>
                    <a:lnTo>
                      <a:pt x="1409" y="2826"/>
                    </a:lnTo>
                    <a:lnTo>
                      <a:pt x="1441" y="2929"/>
                    </a:lnTo>
                    <a:lnTo>
                      <a:pt x="1416" y="3078"/>
                    </a:lnTo>
                    <a:lnTo>
                      <a:pt x="1454" y="3194"/>
                    </a:lnTo>
                    <a:lnTo>
                      <a:pt x="1664" y="3501"/>
                    </a:lnTo>
                    <a:lnTo>
                      <a:pt x="1679" y="3595"/>
                    </a:lnTo>
                    <a:lnTo>
                      <a:pt x="1682" y="3664"/>
                    </a:lnTo>
                    <a:lnTo>
                      <a:pt x="1630" y="3773"/>
                    </a:lnTo>
                    <a:lnTo>
                      <a:pt x="1617" y="3905"/>
                    </a:lnTo>
                    <a:lnTo>
                      <a:pt x="1668" y="4052"/>
                    </a:lnTo>
                    <a:lnTo>
                      <a:pt x="1827" y="4288"/>
                    </a:lnTo>
                    <a:lnTo>
                      <a:pt x="1900" y="4342"/>
                    </a:lnTo>
                    <a:lnTo>
                      <a:pt x="1938" y="4349"/>
                    </a:lnTo>
                    <a:lnTo>
                      <a:pt x="1972" y="4397"/>
                    </a:lnTo>
                    <a:lnTo>
                      <a:pt x="2030" y="4418"/>
                    </a:lnTo>
                    <a:lnTo>
                      <a:pt x="2065" y="4370"/>
                    </a:lnTo>
                    <a:lnTo>
                      <a:pt x="2099" y="4391"/>
                    </a:lnTo>
                    <a:lnTo>
                      <a:pt x="2141" y="4494"/>
                    </a:lnTo>
                    <a:lnTo>
                      <a:pt x="2282" y="4560"/>
                    </a:lnTo>
                    <a:lnTo>
                      <a:pt x="2456" y="4721"/>
                    </a:lnTo>
                    <a:lnTo>
                      <a:pt x="2514" y="4821"/>
                    </a:lnTo>
                    <a:lnTo>
                      <a:pt x="2531" y="5052"/>
                    </a:lnTo>
                    <a:lnTo>
                      <a:pt x="2645" y="5190"/>
                    </a:lnTo>
                    <a:lnTo>
                      <a:pt x="2576" y="5190"/>
                    </a:lnTo>
                    <a:lnTo>
                      <a:pt x="2559" y="5253"/>
                    </a:lnTo>
                    <a:lnTo>
                      <a:pt x="2597" y="5327"/>
                    </a:lnTo>
                    <a:lnTo>
                      <a:pt x="2503" y="5289"/>
                    </a:lnTo>
                    <a:lnTo>
                      <a:pt x="2418" y="5311"/>
                    </a:lnTo>
                    <a:lnTo>
                      <a:pt x="2282" y="5390"/>
                    </a:lnTo>
                    <a:lnTo>
                      <a:pt x="2248" y="5676"/>
                    </a:lnTo>
                    <a:lnTo>
                      <a:pt x="2155" y="5793"/>
                    </a:lnTo>
                    <a:lnTo>
                      <a:pt x="2021" y="6031"/>
                    </a:lnTo>
                    <a:lnTo>
                      <a:pt x="1844" y="6276"/>
                    </a:lnTo>
                    <a:lnTo>
                      <a:pt x="1731" y="6483"/>
                    </a:lnTo>
                    <a:lnTo>
                      <a:pt x="1579" y="6827"/>
                    </a:lnTo>
                    <a:lnTo>
                      <a:pt x="1503" y="6889"/>
                    </a:lnTo>
                    <a:lnTo>
                      <a:pt x="1450" y="6985"/>
                    </a:lnTo>
                    <a:lnTo>
                      <a:pt x="1416" y="7023"/>
                    </a:lnTo>
                    <a:lnTo>
                      <a:pt x="1365" y="7110"/>
                    </a:lnTo>
                    <a:lnTo>
                      <a:pt x="1191" y="7148"/>
                    </a:lnTo>
                    <a:lnTo>
                      <a:pt x="1113" y="7123"/>
                    </a:lnTo>
                    <a:lnTo>
                      <a:pt x="1068" y="7251"/>
                    </a:lnTo>
                    <a:lnTo>
                      <a:pt x="1151" y="7320"/>
                    </a:lnTo>
                    <a:lnTo>
                      <a:pt x="1115" y="7344"/>
                    </a:lnTo>
                    <a:lnTo>
                      <a:pt x="964" y="7375"/>
                    </a:lnTo>
                    <a:lnTo>
                      <a:pt x="974" y="7420"/>
                    </a:lnTo>
                    <a:lnTo>
                      <a:pt x="954" y="7493"/>
                    </a:lnTo>
                    <a:lnTo>
                      <a:pt x="895" y="7506"/>
                    </a:lnTo>
                    <a:lnTo>
                      <a:pt x="870" y="7527"/>
                    </a:lnTo>
                    <a:lnTo>
                      <a:pt x="843" y="7592"/>
                    </a:lnTo>
                    <a:lnTo>
                      <a:pt x="809" y="7758"/>
                    </a:lnTo>
                    <a:lnTo>
                      <a:pt x="850" y="7934"/>
                    </a:lnTo>
                    <a:lnTo>
                      <a:pt x="877" y="7995"/>
                    </a:lnTo>
                    <a:lnTo>
                      <a:pt x="923" y="8044"/>
                    </a:lnTo>
                    <a:lnTo>
                      <a:pt x="968" y="8150"/>
                    </a:lnTo>
                    <a:lnTo>
                      <a:pt x="954" y="8378"/>
                    </a:lnTo>
                    <a:lnTo>
                      <a:pt x="1002" y="8467"/>
                    </a:lnTo>
                    <a:lnTo>
                      <a:pt x="1084" y="8543"/>
                    </a:lnTo>
                    <a:lnTo>
                      <a:pt x="1099" y="8636"/>
                    </a:lnTo>
                    <a:lnTo>
                      <a:pt x="1147" y="8770"/>
                    </a:lnTo>
                    <a:lnTo>
                      <a:pt x="1195" y="8843"/>
                    </a:lnTo>
                    <a:lnTo>
                      <a:pt x="1251" y="8888"/>
                    </a:lnTo>
                    <a:lnTo>
                      <a:pt x="1260" y="8915"/>
                    </a:lnTo>
                    <a:lnTo>
                      <a:pt x="1209" y="8871"/>
                    </a:lnTo>
                    <a:lnTo>
                      <a:pt x="1160" y="8877"/>
                    </a:lnTo>
                    <a:lnTo>
                      <a:pt x="1133" y="8919"/>
                    </a:lnTo>
                    <a:lnTo>
                      <a:pt x="1147" y="8975"/>
                    </a:lnTo>
                    <a:lnTo>
                      <a:pt x="1140" y="9036"/>
                    </a:lnTo>
                    <a:lnTo>
                      <a:pt x="1164" y="9112"/>
                    </a:lnTo>
                    <a:lnTo>
                      <a:pt x="1175" y="9243"/>
                    </a:lnTo>
                    <a:lnTo>
                      <a:pt x="1140" y="9374"/>
                    </a:lnTo>
                    <a:lnTo>
                      <a:pt x="1113" y="9377"/>
                    </a:lnTo>
                    <a:lnTo>
                      <a:pt x="1091" y="9470"/>
                    </a:lnTo>
                    <a:lnTo>
                      <a:pt x="1129" y="9522"/>
                    </a:lnTo>
                    <a:lnTo>
                      <a:pt x="1140" y="9574"/>
                    </a:lnTo>
                    <a:lnTo>
                      <a:pt x="1129" y="9622"/>
                    </a:lnTo>
                    <a:lnTo>
                      <a:pt x="1151" y="9670"/>
                    </a:lnTo>
                    <a:lnTo>
                      <a:pt x="1223" y="9695"/>
                    </a:lnTo>
                    <a:lnTo>
                      <a:pt x="1216" y="9739"/>
                    </a:lnTo>
                    <a:lnTo>
                      <a:pt x="1164" y="9749"/>
                    </a:lnTo>
                    <a:lnTo>
                      <a:pt x="1185" y="9815"/>
                    </a:lnTo>
                    <a:lnTo>
                      <a:pt x="1320" y="9811"/>
                    </a:lnTo>
                    <a:lnTo>
                      <a:pt x="1430" y="9871"/>
                    </a:lnTo>
                    <a:lnTo>
                      <a:pt x="1492" y="9925"/>
                    </a:lnTo>
                    <a:lnTo>
                      <a:pt x="1602" y="9970"/>
                    </a:lnTo>
                    <a:lnTo>
                      <a:pt x="1775" y="9994"/>
                    </a:lnTo>
                    <a:lnTo>
                      <a:pt x="1806" y="10036"/>
                    </a:lnTo>
                    <a:lnTo>
                      <a:pt x="1789" y="10108"/>
                    </a:lnTo>
                    <a:lnTo>
                      <a:pt x="1872" y="10152"/>
                    </a:lnTo>
                    <a:lnTo>
                      <a:pt x="2010" y="10052"/>
                    </a:lnTo>
                    <a:lnTo>
                      <a:pt x="2027" y="10101"/>
                    </a:lnTo>
                    <a:lnTo>
                      <a:pt x="2037" y="10218"/>
                    </a:lnTo>
                    <a:lnTo>
                      <a:pt x="2141" y="10342"/>
                    </a:lnTo>
                    <a:lnTo>
                      <a:pt x="2141" y="10408"/>
                    </a:lnTo>
                    <a:lnTo>
                      <a:pt x="2220" y="10435"/>
                    </a:lnTo>
                    <a:lnTo>
                      <a:pt x="2197" y="10497"/>
                    </a:lnTo>
                    <a:lnTo>
                      <a:pt x="2110" y="10573"/>
                    </a:lnTo>
                    <a:lnTo>
                      <a:pt x="2159" y="10584"/>
                    </a:lnTo>
                    <a:lnTo>
                      <a:pt x="2255" y="10522"/>
                    </a:lnTo>
                    <a:lnTo>
                      <a:pt x="2335" y="10321"/>
                    </a:lnTo>
                    <a:lnTo>
                      <a:pt x="2362" y="10339"/>
                    </a:lnTo>
                    <a:lnTo>
                      <a:pt x="2369" y="10432"/>
                    </a:lnTo>
                    <a:lnTo>
                      <a:pt x="2424" y="10442"/>
                    </a:lnTo>
                    <a:lnTo>
                      <a:pt x="2639" y="10297"/>
                    </a:lnTo>
                    <a:lnTo>
                      <a:pt x="2717" y="10290"/>
                    </a:lnTo>
                    <a:lnTo>
                      <a:pt x="2784" y="10252"/>
                    </a:lnTo>
                    <a:lnTo>
                      <a:pt x="2831" y="10287"/>
                    </a:lnTo>
                    <a:lnTo>
                      <a:pt x="2859" y="10290"/>
                    </a:lnTo>
                    <a:lnTo>
                      <a:pt x="2938" y="10177"/>
                    </a:lnTo>
                    <a:lnTo>
                      <a:pt x="3007" y="10114"/>
                    </a:lnTo>
                    <a:lnTo>
                      <a:pt x="3080" y="10090"/>
                    </a:lnTo>
                    <a:lnTo>
                      <a:pt x="3149" y="10112"/>
                    </a:lnTo>
                    <a:lnTo>
                      <a:pt x="3291" y="10001"/>
                    </a:lnTo>
                    <a:lnTo>
                      <a:pt x="3377" y="9980"/>
                    </a:lnTo>
                    <a:lnTo>
                      <a:pt x="3429" y="9839"/>
                    </a:lnTo>
                    <a:lnTo>
                      <a:pt x="3484" y="9925"/>
                    </a:lnTo>
                    <a:lnTo>
                      <a:pt x="3654" y="9833"/>
                    </a:lnTo>
                    <a:lnTo>
                      <a:pt x="3612" y="9746"/>
                    </a:lnTo>
                    <a:lnTo>
                      <a:pt x="3640" y="9770"/>
                    </a:lnTo>
                    <a:lnTo>
                      <a:pt x="3723" y="9787"/>
                    </a:lnTo>
                    <a:lnTo>
                      <a:pt x="3777" y="9773"/>
                    </a:lnTo>
                    <a:lnTo>
                      <a:pt x="3830" y="9715"/>
                    </a:lnTo>
                    <a:lnTo>
                      <a:pt x="4002" y="9677"/>
                    </a:lnTo>
                    <a:lnTo>
                      <a:pt x="4109" y="9608"/>
                    </a:lnTo>
                    <a:lnTo>
                      <a:pt x="4192" y="9553"/>
                    </a:lnTo>
                    <a:lnTo>
                      <a:pt x="4281" y="9591"/>
                    </a:lnTo>
                    <a:lnTo>
                      <a:pt x="4461" y="9584"/>
                    </a:lnTo>
                    <a:lnTo>
                      <a:pt x="4499" y="9546"/>
                    </a:lnTo>
                    <a:lnTo>
                      <a:pt x="4524" y="9492"/>
                    </a:lnTo>
                    <a:lnTo>
                      <a:pt x="4533" y="9505"/>
                    </a:lnTo>
                    <a:lnTo>
                      <a:pt x="4823" y="9194"/>
                    </a:lnTo>
                    <a:lnTo>
                      <a:pt x="5189" y="8670"/>
                    </a:lnTo>
                    <a:lnTo>
                      <a:pt x="5452" y="8222"/>
                    </a:lnTo>
                    <a:lnTo>
                      <a:pt x="5769" y="7530"/>
                    </a:lnTo>
                    <a:lnTo>
                      <a:pt x="5838" y="7341"/>
                    </a:lnTo>
                    <a:lnTo>
                      <a:pt x="5898" y="6989"/>
                    </a:lnTo>
                    <a:lnTo>
                      <a:pt x="5818" y="6666"/>
                    </a:lnTo>
                    <a:lnTo>
                      <a:pt x="5791" y="6713"/>
                    </a:lnTo>
                    <a:lnTo>
                      <a:pt x="5662" y="6589"/>
                    </a:lnTo>
                    <a:lnTo>
                      <a:pt x="5590" y="6455"/>
                    </a:lnTo>
                    <a:lnTo>
                      <a:pt x="5283" y="6317"/>
                    </a:lnTo>
                    <a:lnTo>
                      <a:pt x="5186" y="6234"/>
                    </a:lnTo>
                    <a:lnTo>
                      <a:pt x="5093" y="6089"/>
                    </a:lnTo>
                    <a:lnTo>
                      <a:pt x="5100" y="5955"/>
                    </a:lnTo>
                    <a:lnTo>
                      <a:pt x="5155" y="5813"/>
                    </a:lnTo>
                    <a:lnTo>
                      <a:pt x="5166" y="5659"/>
                    </a:lnTo>
                    <a:lnTo>
                      <a:pt x="5117" y="5510"/>
                    </a:lnTo>
                    <a:lnTo>
                      <a:pt x="4952" y="5421"/>
                    </a:lnTo>
                    <a:lnTo>
                      <a:pt x="4858" y="5300"/>
                    </a:lnTo>
                    <a:lnTo>
                      <a:pt x="4834" y="5142"/>
                    </a:lnTo>
                    <a:lnTo>
                      <a:pt x="4731" y="5017"/>
                    </a:lnTo>
                    <a:lnTo>
                      <a:pt x="4593" y="5011"/>
                    </a:lnTo>
                    <a:lnTo>
                      <a:pt x="4548" y="4852"/>
                    </a:lnTo>
                    <a:lnTo>
                      <a:pt x="4571" y="4756"/>
                    </a:lnTo>
                    <a:lnTo>
                      <a:pt x="4527" y="4618"/>
                    </a:lnTo>
                    <a:lnTo>
                      <a:pt x="4482" y="4549"/>
                    </a:lnTo>
                    <a:lnTo>
                      <a:pt x="4489" y="4425"/>
                    </a:lnTo>
                    <a:lnTo>
                      <a:pt x="4457" y="4250"/>
                    </a:lnTo>
                    <a:lnTo>
                      <a:pt x="4548" y="4136"/>
                    </a:lnTo>
                    <a:lnTo>
                      <a:pt x="4510" y="4025"/>
                    </a:lnTo>
                    <a:lnTo>
                      <a:pt x="4455" y="3909"/>
                    </a:lnTo>
                    <a:lnTo>
                      <a:pt x="4299" y="3667"/>
                    </a:lnTo>
                    <a:lnTo>
                      <a:pt x="4140" y="3497"/>
                    </a:lnTo>
                    <a:lnTo>
                      <a:pt x="4082" y="3370"/>
                    </a:lnTo>
                    <a:lnTo>
                      <a:pt x="3999" y="3254"/>
                    </a:lnTo>
                    <a:lnTo>
                      <a:pt x="3888" y="3125"/>
                    </a:lnTo>
                    <a:lnTo>
                      <a:pt x="3839" y="2978"/>
                    </a:lnTo>
                    <a:lnTo>
                      <a:pt x="3868" y="2881"/>
                    </a:lnTo>
                    <a:lnTo>
                      <a:pt x="3922" y="2550"/>
                    </a:lnTo>
                    <a:lnTo>
                      <a:pt x="3991" y="2278"/>
                    </a:lnTo>
                    <a:lnTo>
                      <a:pt x="3930" y="2130"/>
                    </a:lnTo>
                    <a:lnTo>
                      <a:pt x="3830" y="2048"/>
                    </a:lnTo>
                    <a:lnTo>
                      <a:pt x="3625" y="1819"/>
                    </a:lnTo>
                    <a:lnTo>
                      <a:pt x="3505" y="1785"/>
                    </a:lnTo>
                    <a:lnTo>
                      <a:pt x="3402" y="1788"/>
                    </a:lnTo>
                    <a:lnTo>
                      <a:pt x="3322" y="1754"/>
                    </a:lnTo>
                    <a:lnTo>
                      <a:pt x="3274" y="1712"/>
                    </a:lnTo>
                    <a:lnTo>
                      <a:pt x="3208" y="1589"/>
                    </a:lnTo>
                    <a:lnTo>
                      <a:pt x="3149" y="1427"/>
                    </a:lnTo>
                    <a:lnTo>
                      <a:pt x="3143" y="1361"/>
                    </a:lnTo>
                    <a:lnTo>
                      <a:pt x="3177" y="1161"/>
                    </a:lnTo>
                    <a:lnTo>
                      <a:pt x="3167" y="1137"/>
                    </a:lnTo>
                    <a:lnTo>
                      <a:pt x="3094" y="1113"/>
                    </a:lnTo>
                    <a:lnTo>
                      <a:pt x="3257" y="903"/>
                    </a:lnTo>
                    <a:lnTo>
                      <a:pt x="3177" y="869"/>
                    </a:lnTo>
                    <a:lnTo>
                      <a:pt x="3156" y="796"/>
                    </a:lnTo>
                    <a:lnTo>
                      <a:pt x="3159" y="717"/>
                    </a:lnTo>
                    <a:lnTo>
                      <a:pt x="3259" y="541"/>
                    </a:lnTo>
                    <a:lnTo>
                      <a:pt x="3225" y="441"/>
                    </a:lnTo>
                    <a:lnTo>
                      <a:pt x="3132" y="283"/>
                    </a:lnTo>
                    <a:lnTo>
                      <a:pt x="2984" y="196"/>
                    </a:lnTo>
                    <a:lnTo>
                      <a:pt x="2856" y="176"/>
                    </a:lnTo>
                    <a:lnTo>
                      <a:pt x="2773" y="138"/>
                    </a:lnTo>
                    <a:lnTo>
                      <a:pt x="2677" y="20"/>
                    </a:lnTo>
                    <a:lnTo>
                      <a:pt x="2635" y="0"/>
                    </a:lnTo>
                    <a:lnTo>
                      <a:pt x="2483" y="51"/>
                    </a:lnTo>
                    <a:lnTo>
                      <a:pt x="2255" y="200"/>
                    </a:lnTo>
                    <a:lnTo>
                      <a:pt x="2093" y="234"/>
                    </a:lnTo>
                    <a:lnTo>
                      <a:pt x="2017" y="292"/>
                    </a:lnTo>
                    <a:lnTo>
                      <a:pt x="1961" y="383"/>
                    </a:lnTo>
                    <a:lnTo>
                      <a:pt x="1914" y="589"/>
                    </a:lnTo>
                    <a:lnTo>
                      <a:pt x="1934" y="854"/>
                    </a:lnTo>
                    <a:lnTo>
                      <a:pt x="1951" y="938"/>
                    </a:lnTo>
                    <a:lnTo>
                      <a:pt x="1996" y="1085"/>
                    </a:lnTo>
                    <a:lnTo>
                      <a:pt x="1996" y="1168"/>
                    </a:lnTo>
                    <a:lnTo>
                      <a:pt x="1840" y="1313"/>
                    </a:lnTo>
                    <a:lnTo>
                      <a:pt x="1796" y="1409"/>
                    </a:lnTo>
                    <a:lnTo>
                      <a:pt x="1720" y="1489"/>
                    </a:lnTo>
                    <a:lnTo>
                      <a:pt x="1620" y="1544"/>
                    </a:lnTo>
                    <a:lnTo>
                      <a:pt x="1541" y="1533"/>
                    </a:lnTo>
                    <a:lnTo>
                      <a:pt x="1510" y="1482"/>
                    </a:lnTo>
                    <a:lnTo>
                      <a:pt x="1430" y="1402"/>
                    </a:lnTo>
                    <a:lnTo>
                      <a:pt x="1358" y="1368"/>
                    </a:lnTo>
                    <a:lnTo>
                      <a:pt x="1251" y="1509"/>
                    </a:lnTo>
                    <a:lnTo>
                      <a:pt x="1153" y="1578"/>
                    </a:lnTo>
                    <a:lnTo>
                      <a:pt x="1071" y="1596"/>
                    </a:lnTo>
                    <a:lnTo>
                      <a:pt x="954" y="1554"/>
                    </a:lnTo>
                    <a:lnTo>
                      <a:pt x="770" y="1544"/>
                    </a:lnTo>
                    <a:lnTo>
                      <a:pt x="725" y="1496"/>
                    </a:lnTo>
                    <a:lnTo>
                      <a:pt x="674" y="1375"/>
                    </a:lnTo>
                    <a:lnTo>
                      <a:pt x="428" y="1113"/>
                    </a:lnTo>
                    <a:lnTo>
                      <a:pt x="335" y="1045"/>
                    </a:lnTo>
                    <a:lnTo>
                      <a:pt x="236" y="1016"/>
                    </a:lnTo>
                    <a:lnTo>
                      <a:pt x="152" y="1065"/>
                    </a:lnTo>
                    <a:lnTo>
                      <a:pt x="170" y="1144"/>
                    </a:lnTo>
                    <a:lnTo>
                      <a:pt x="198" y="1217"/>
                    </a:lnTo>
                    <a:lnTo>
                      <a:pt x="132" y="1244"/>
                    </a:lnTo>
                    <a:lnTo>
                      <a:pt x="73" y="1223"/>
                    </a:lnTo>
                    <a:lnTo>
                      <a:pt x="18" y="1248"/>
                    </a:lnTo>
                    <a:lnTo>
                      <a:pt x="0" y="1299"/>
                    </a:lnTo>
                    <a:close/>
                    <a:moveTo>
                      <a:pt x="504" y="10156"/>
                    </a:moveTo>
                    <a:lnTo>
                      <a:pt x="432" y="10139"/>
                    </a:lnTo>
                    <a:lnTo>
                      <a:pt x="401" y="10114"/>
                    </a:lnTo>
                    <a:lnTo>
                      <a:pt x="346" y="10163"/>
                    </a:lnTo>
                    <a:lnTo>
                      <a:pt x="384" y="10205"/>
                    </a:lnTo>
                    <a:lnTo>
                      <a:pt x="384" y="10270"/>
                    </a:lnTo>
                    <a:lnTo>
                      <a:pt x="321" y="10256"/>
                    </a:lnTo>
                    <a:lnTo>
                      <a:pt x="318" y="10342"/>
                    </a:lnTo>
                    <a:lnTo>
                      <a:pt x="335" y="10428"/>
                    </a:lnTo>
                    <a:lnTo>
                      <a:pt x="470" y="10459"/>
                    </a:lnTo>
                    <a:lnTo>
                      <a:pt x="546" y="10535"/>
                    </a:lnTo>
                    <a:lnTo>
                      <a:pt x="577" y="10466"/>
                    </a:lnTo>
                    <a:lnTo>
                      <a:pt x="508" y="10435"/>
                    </a:lnTo>
                    <a:lnTo>
                      <a:pt x="480" y="10355"/>
                    </a:lnTo>
                    <a:lnTo>
                      <a:pt x="533" y="10328"/>
                    </a:lnTo>
                    <a:lnTo>
                      <a:pt x="557" y="10263"/>
                    </a:lnTo>
                    <a:lnTo>
                      <a:pt x="557" y="10218"/>
                    </a:lnTo>
                    <a:lnTo>
                      <a:pt x="504" y="10156"/>
                    </a:lnTo>
                    <a:close/>
                    <a:moveTo>
                      <a:pt x="1492" y="10270"/>
                    </a:moveTo>
                    <a:lnTo>
                      <a:pt x="1465" y="10228"/>
                    </a:lnTo>
                    <a:lnTo>
                      <a:pt x="1405" y="10243"/>
                    </a:lnTo>
                    <a:lnTo>
                      <a:pt x="1396" y="10308"/>
                    </a:lnTo>
                    <a:lnTo>
                      <a:pt x="1441" y="10350"/>
                    </a:lnTo>
                    <a:lnTo>
                      <a:pt x="1492" y="10346"/>
                    </a:lnTo>
                    <a:lnTo>
                      <a:pt x="1492" y="10270"/>
                    </a:lnTo>
                    <a:close/>
                    <a:moveTo>
                      <a:pt x="1934" y="10401"/>
                    </a:moveTo>
                    <a:lnTo>
                      <a:pt x="1961" y="10359"/>
                    </a:lnTo>
                    <a:lnTo>
                      <a:pt x="1983" y="10270"/>
                    </a:lnTo>
                    <a:lnTo>
                      <a:pt x="1983" y="10128"/>
                    </a:lnTo>
                    <a:lnTo>
                      <a:pt x="1951" y="10167"/>
                    </a:lnTo>
                    <a:lnTo>
                      <a:pt x="1824" y="10235"/>
                    </a:lnTo>
                    <a:lnTo>
                      <a:pt x="1827" y="10311"/>
                    </a:lnTo>
                    <a:lnTo>
                      <a:pt x="1789" y="10342"/>
                    </a:lnTo>
                    <a:lnTo>
                      <a:pt x="1768" y="10393"/>
                    </a:lnTo>
                    <a:lnTo>
                      <a:pt x="1858" y="10370"/>
                    </a:lnTo>
                    <a:lnTo>
                      <a:pt x="1934" y="10401"/>
                    </a:lnTo>
                    <a:close/>
                  </a:path>
                </a:pathLst>
              </a:custGeom>
              <a:grpFill/>
              <a:ln w="6350">
                <a:solidFill>
                  <a:srgbClr val="FFFFFF"/>
                </a:solidFill>
              </a:ln>
            </p:spPr>
            <p:txBody>
              <a:bodyPr vert="eaVert" wrap="none" anchor="ctr"/>
              <a:lstStyle/>
              <a:p>
                <a:pPr defTabSz="858500" eaLnBrk="1" fontAlgn="auto" hangingPunct="1">
                  <a:lnSpc>
                    <a:spcPct val="100000"/>
                  </a:lnSpc>
                  <a:spcBef>
                    <a:spcPts val="0"/>
                  </a:spcBef>
                  <a:spcAft>
                    <a:spcPts val="0"/>
                  </a:spcAft>
                  <a:buClrTx/>
                  <a:buSzTx/>
                  <a:defRPr/>
                </a:pPr>
                <a:endParaRPr lang="en-GB" sz="600" b="1" dirty="0">
                  <a:latin typeface="+mn-lt"/>
                </a:endParaRPr>
              </a:p>
            </p:txBody>
          </p:sp>
          <p:sp>
            <p:nvSpPr>
              <p:cNvPr id="270" name="Denmark"/>
              <p:cNvSpPr>
                <a:spLocks noEditPoints="1"/>
              </p:cNvSpPr>
              <p:nvPr>
                <p:custDataLst>
                  <p:tags r:id="rId11"/>
                </p:custDataLst>
              </p:nvPr>
            </p:nvSpPr>
            <p:spPr bwMode="gray">
              <a:xfrm>
                <a:off x="754527" y="4320769"/>
                <a:ext cx="1023595" cy="840754"/>
              </a:xfrm>
              <a:custGeom>
                <a:avLst/>
                <a:gdLst/>
                <a:ahLst/>
                <a:cxnLst>
                  <a:cxn ang="0">
                    <a:pos x="3981" y="2858"/>
                  </a:cxn>
                  <a:cxn ang="0">
                    <a:pos x="3308" y="3606"/>
                  </a:cxn>
                  <a:cxn ang="0">
                    <a:pos x="3170" y="3726"/>
                  </a:cxn>
                  <a:cxn ang="0">
                    <a:pos x="3018" y="3446"/>
                  </a:cxn>
                  <a:cxn ang="0">
                    <a:pos x="3084" y="3347"/>
                  </a:cxn>
                  <a:cxn ang="0">
                    <a:pos x="3333" y="3412"/>
                  </a:cxn>
                  <a:cxn ang="0">
                    <a:pos x="739" y="2967"/>
                  </a:cxn>
                  <a:cxn ang="0">
                    <a:pos x="895" y="2971"/>
                  </a:cxn>
                  <a:cxn ang="0">
                    <a:pos x="753" y="2764"/>
                  </a:cxn>
                  <a:cxn ang="0">
                    <a:pos x="853" y="2475"/>
                  </a:cxn>
                  <a:cxn ang="0">
                    <a:pos x="904" y="2089"/>
                  </a:cxn>
                  <a:cxn ang="0">
                    <a:pos x="1136" y="1899"/>
                  </a:cxn>
                  <a:cxn ang="0">
                    <a:pos x="1433" y="1569"/>
                  </a:cxn>
                  <a:cxn ang="0">
                    <a:pos x="1713" y="1520"/>
                  </a:cxn>
                  <a:cxn ang="0">
                    <a:pos x="1475" y="1331"/>
                  </a:cxn>
                  <a:cxn ang="0">
                    <a:pos x="1299" y="1206"/>
                  </a:cxn>
                  <a:cxn ang="0">
                    <a:pos x="1350" y="1055"/>
                  </a:cxn>
                  <a:cxn ang="0">
                    <a:pos x="1554" y="493"/>
                  </a:cxn>
                  <a:cxn ang="0">
                    <a:pos x="1560" y="0"/>
                  </a:cxn>
                  <a:cxn ang="0">
                    <a:pos x="902" y="517"/>
                  </a:cxn>
                  <a:cxn ang="0">
                    <a:pos x="132" y="1159"/>
                  </a:cxn>
                  <a:cxn ang="0">
                    <a:pos x="45" y="2013"/>
                  </a:cxn>
                  <a:cxn ang="0">
                    <a:pos x="266" y="2338"/>
                  </a:cxn>
                  <a:cxn ang="0">
                    <a:pos x="2158" y="1886"/>
                  </a:cxn>
                  <a:cxn ang="0">
                    <a:pos x="2238" y="2062"/>
                  </a:cxn>
                  <a:cxn ang="0">
                    <a:pos x="2331" y="2155"/>
                  </a:cxn>
                  <a:cxn ang="0">
                    <a:pos x="2379" y="1955"/>
                  </a:cxn>
                  <a:cxn ang="0">
                    <a:pos x="2400" y="2175"/>
                  </a:cxn>
                  <a:cxn ang="0">
                    <a:pos x="2448" y="1913"/>
                  </a:cxn>
                  <a:cxn ang="0">
                    <a:pos x="2586" y="1723"/>
                  </a:cxn>
                  <a:cxn ang="0">
                    <a:pos x="2776" y="1997"/>
                  </a:cxn>
                  <a:cxn ang="0">
                    <a:pos x="2758" y="2227"/>
                  </a:cxn>
                  <a:cxn ang="0">
                    <a:pos x="2562" y="2472"/>
                  </a:cxn>
                  <a:cxn ang="0">
                    <a:pos x="2486" y="2733"/>
                  </a:cxn>
                  <a:cxn ang="0">
                    <a:pos x="2490" y="2860"/>
                  </a:cxn>
                  <a:cxn ang="0">
                    <a:pos x="2178" y="2844"/>
                  </a:cxn>
                  <a:cxn ang="0">
                    <a:pos x="2251" y="2737"/>
                  </a:cxn>
                  <a:cxn ang="0">
                    <a:pos x="1868" y="2537"/>
                  </a:cxn>
                  <a:cxn ang="0">
                    <a:pos x="1888" y="2234"/>
                  </a:cxn>
                  <a:cxn ang="0">
                    <a:pos x="1768" y="2127"/>
                  </a:cxn>
                  <a:cxn ang="0">
                    <a:pos x="2113" y="2017"/>
                  </a:cxn>
                  <a:cxn ang="0">
                    <a:pos x="1689" y="2755"/>
                  </a:cxn>
                  <a:cxn ang="0">
                    <a:pos x="1665" y="3058"/>
                  </a:cxn>
                  <a:cxn ang="0">
                    <a:pos x="1540" y="3033"/>
                  </a:cxn>
                  <a:cxn ang="0">
                    <a:pos x="1198" y="2296"/>
                  </a:cxn>
                  <a:cxn ang="0">
                    <a:pos x="1516" y="2247"/>
                  </a:cxn>
                  <a:cxn ang="0">
                    <a:pos x="1647" y="2568"/>
                  </a:cxn>
                  <a:cxn ang="0">
                    <a:pos x="1631" y="2806"/>
                  </a:cxn>
                  <a:cxn ang="0">
                    <a:pos x="1212" y="2799"/>
                  </a:cxn>
                  <a:cxn ang="0">
                    <a:pos x="1087" y="2557"/>
                  </a:cxn>
                  <a:cxn ang="0">
                    <a:pos x="1036" y="2378"/>
                  </a:cxn>
                  <a:cxn ang="0">
                    <a:pos x="1198" y="2296"/>
                  </a:cxn>
                  <a:cxn ang="0">
                    <a:pos x="2048" y="3074"/>
                  </a:cxn>
                  <a:cxn ang="0">
                    <a:pos x="2169" y="3036"/>
                  </a:cxn>
                  <a:cxn ang="0">
                    <a:pos x="2096" y="3265"/>
                  </a:cxn>
                  <a:cxn ang="0">
                    <a:pos x="1761" y="3099"/>
                  </a:cxn>
                  <a:cxn ang="0">
                    <a:pos x="1827" y="2964"/>
                  </a:cxn>
                  <a:cxn ang="0">
                    <a:pos x="2341" y="2985"/>
                  </a:cxn>
                  <a:cxn ang="0">
                    <a:pos x="2379" y="3227"/>
                  </a:cxn>
                  <a:cxn ang="0">
                    <a:pos x="2279" y="3089"/>
                  </a:cxn>
                </a:cxnLst>
                <a:rect l="0" t="0" r="r" b="b"/>
                <a:pathLst>
                  <a:path w="4230" h="3726">
                    <a:moveTo>
                      <a:pt x="4230" y="2951"/>
                    </a:moveTo>
                    <a:lnTo>
                      <a:pt x="4195" y="2782"/>
                    </a:lnTo>
                    <a:lnTo>
                      <a:pt x="4099" y="2699"/>
                    </a:lnTo>
                    <a:lnTo>
                      <a:pt x="4016" y="2668"/>
                    </a:lnTo>
                    <a:lnTo>
                      <a:pt x="3981" y="2858"/>
                    </a:lnTo>
                    <a:lnTo>
                      <a:pt x="4036" y="2916"/>
                    </a:lnTo>
                    <a:lnTo>
                      <a:pt x="4112" y="2944"/>
                    </a:lnTo>
                    <a:lnTo>
                      <a:pt x="4230" y="2951"/>
                    </a:lnTo>
                    <a:close/>
                    <a:moveTo>
                      <a:pt x="3302" y="3533"/>
                    </a:moveTo>
                    <a:lnTo>
                      <a:pt x="3308" y="3606"/>
                    </a:lnTo>
                    <a:lnTo>
                      <a:pt x="3342" y="3667"/>
                    </a:lnTo>
                    <a:lnTo>
                      <a:pt x="3333" y="3716"/>
                    </a:lnTo>
                    <a:lnTo>
                      <a:pt x="3277" y="3675"/>
                    </a:lnTo>
                    <a:lnTo>
                      <a:pt x="3208" y="3691"/>
                    </a:lnTo>
                    <a:lnTo>
                      <a:pt x="3170" y="3726"/>
                    </a:lnTo>
                    <a:lnTo>
                      <a:pt x="3073" y="3702"/>
                    </a:lnTo>
                    <a:lnTo>
                      <a:pt x="3008" y="3640"/>
                    </a:lnTo>
                    <a:lnTo>
                      <a:pt x="3035" y="3595"/>
                    </a:lnTo>
                    <a:lnTo>
                      <a:pt x="3043" y="3537"/>
                    </a:lnTo>
                    <a:lnTo>
                      <a:pt x="3018" y="3446"/>
                    </a:lnTo>
                    <a:lnTo>
                      <a:pt x="3066" y="3433"/>
                    </a:lnTo>
                    <a:lnTo>
                      <a:pt x="3211" y="3506"/>
                    </a:lnTo>
                    <a:lnTo>
                      <a:pt x="3191" y="3450"/>
                    </a:lnTo>
                    <a:lnTo>
                      <a:pt x="3125" y="3402"/>
                    </a:lnTo>
                    <a:lnTo>
                      <a:pt x="3084" y="3347"/>
                    </a:lnTo>
                    <a:lnTo>
                      <a:pt x="3115" y="3306"/>
                    </a:lnTo>
                    <a:lnTo>
                      <a:pt x="3173" y="3323"/>
                    </a:lnTo>
                    <a:lnTo>
                      <a:pt x="3188" y="3375"/>
                    </a:lnTo>
                    <a:lnTo>
                      <a:pt x="3277" y="3385"/>
                    </a:lnTo>
                    <a:lnTo>
                      <a:pt x="3333" y="3412"/>
                    </a:lnTo>
                    <a:lnTo>
                      <a:pt x="3302" y="3533"/>
                    </a:lnTo>
                    <a:close/>
                    <a:moveTo>
                      <a:pt x="286" y="2920"/>
                    </a:moveTo>
                    <a:lnTo>
                      <a:pt x="380" y="2920"/>
                    </a:lnTo>
                    <a:lnTo>
                      <a:pt x="639" y="3009"/>
                    </a:lnTo>
                    <a:lnTo>
                      <a:pt x="739" y="2967"/>
                    </a:lnTo>
                    <a:lnTo>
                      <a:pt x="781" y="2958"/>
                    </a:lnTo>
                    <a:lnTo>
                      <a:pt x="795" y="2937"/>
                    </a:lnTo>
                    <a:lnTo>
                      <a:pt x="822" y="2933"/>
                    </a:lnTo>
                    <a:lnTo>
                      <a:pt x="843" y="2962"/>
                    </a:lnTo>
                    <a:lnTo>
                      <a:pt x="895" y="2971"/>
                    </a:lnTo>
                    <a:lnTo>
                      <a:pt x="902" y="2923"/>
                    </a:lnTo>
                    <a:lnTo>
                      <a:pt x="877" y="2875"/>
                    </a:lnTo>
                    <a:lnTo>
                      <a:pt x="832" y="2830"/>
                    </a:lnTo>
                    <a:lnTo>
                      <a:pt x="757" y="2826"/>
                    </a:lnTo>
                    <a:lnTo>
                      <a:pt x="753" y="2764"/>
                    </a:lnTo>
                    <a:lnTo>
                      <a:pt x="759" y="2675"/>
                    </a:lnTo>
                    <a:lnTo>
                      <a:pt x="877" y="2610"/>
                    </a:lnTo>
                    <a:lnTo>
                      <a:pt x="881" y="2568"/>
                    </a:lnTo>
                    <a:lnTo>
                      <a:pt x="853" y="2568"/>
                    </a:lnTo>
                    <a:lnTo>
                      <a:pt x="853" y="2475"/>
                    </a:lnTo>
                    <a:lnTo>
                      <a:pt x="888" y="2354"/>
                    </a:lnTo>
                    <a:lnTo>
                      <a:pt x="867" y="2313"/>
                    </a:lnTo>
                    <a:lnTo>
                      <a:pt x="977" y="2209"/>
                    </a:lnTo>
                    <a:lnTo>
                      <a:pt x="974" y="2169"/>
                    </a:lnTo>
                    <a:lnTo>
                      <a:pt x="904" y="2089"/>
                    </a:lnTo>
                    <a:lnTo>
                      <a:pt x="974" y="2068"/>
                    </a:lnTo>
                    <a:lnTo>
                      <a:pt x="1116" y="2100"/>
                    </a:lnTo>
                    <a:lnTo>
                      <a:pt x="1133" y="2024"/>
                    </a:lnTo>
                    <a:lnTo>
                      <a:pt x="1085" y="1937"/>
                    </a:lnTo>
                    <a:lnTo>
                      <a:pt x="1136" y="1899"/>
                    </a:lnTo>
                    <a:lnTo>
                      <a:pt x="1274" y="1920"/>
                    </a:lnTo>
                    <a:lnTo>
                      <a:pt x="1333" y="1852"/>
                    </a:lnTo>
                    <a:lnTo>
                      <a:pt x="1316" y="1714"/>
                    </a:lnTo>
                    <a:lnTo>
                      <a:pt x="1371" y="1585"/>
                    </a:lnTo>
                    <a:lnTo>
                      <a:pt x="1433" y="1569"/>
                    </a:lnTo>
                    <a:lnTo>
                      <a:pt x="1430" y="1620"/>
                    </a:lnTo>
                    <a:lnTo>
                      <a:pt x="1464" y="1696"/>
                    </a:lnTo>
                    <a:lnTo>
                      <a:pt x="1537" y="1614"/>
                    </a:lnTo>
                    <a:lnTo>
                      <a:pt x="1547" y="1652"/>
                    </a:lnTo>
                    <a:lnTo>
                      <a:pt x="1713" y="1520"/>
                    </a:lnTo>
                    <a:lnTo>
                      <a:pt x="1730" y="1400"/>
                    </a:lnTo>
                    <a:lnTo>
                      <a:pt x="1716" y="1324"/>
                    </a:lnTo>
                    <a:lnTo>
                      <a:pt x="1665" y="1293"/>
                    </a:lnTo>
                    <a:lnTo>
                      <a:pt x="1558" y="1300"/>
                    </a:lnTo>
                    <a:lnTo>
                      <a:pt x="1475" y="1331"/>
                    </a:lnTo>
                    <a:lnTo>
                      <a:pt x="1433" y="1262"/>
                    </a:lnTo>
                    <a:lnTo>
                      <a:pt x="1361" y="1259"/>
                    </a:lnTo>
                    <a:lnTo>
                      <a:pt x="1312" y="1327"/>
                    </a:lnTo>
                    <a:lnTo>
                      <a:pt x="1288" y="1273"/>
                    </a:lnTo>
                    <a:lnTo>
                      <a:pt x="1299" y="1206"/>
                    </a:lnTo>
                    <a:lnTo>
                      <a:pt x="1377" y="1135"/>
                    </a:lnTo>
                    <a:lnTo>
                      <a:pt x="1361" y="1110"/>
                    </a:lnTo>
                    <a:lnTo>
                      <a:pt x="1261" y="1135"/>
                    </a:lnTo>
                    <a:lnTo>
                      <a:pt x="1264" y="1083"/>
                    </a:lnTo>
                    <a:lnTo>
                      <a:pt x="1350" y="1055"/>
                    </a:lnTo>
                    <a:lnTo>
                      <a:pt x="1361" y="969"/>
                    </a:lnTo>
                    <a:lnTo>
                      <a:pt x="1377" y="956"/>
                    </a:lnTo>
                    <a:lnTo>
                      <a:pt x="1381" y="827"/>
                    </a:lnTo>
                    <a:lnTo>
                      <a:pt x="1430" y="683"/>
                    </a:lnTo>
                    <a:lnTo>
                      <a:pt x="1554" y="493"/>
                    </a:lnTo>
                    <a:lnTo>
                      <a:pt x="1560" y="408"/>
                    </a:lnTo>
                    <a:lnTo>
                      <a:pt x="1516" y="194"/>
                    </a:lnTo>
                    <a:lnTo>
                      <a:pt x="1540" y="94"/>
                    </a:lnTo>
                    <a:lnTo>
                      <a:pt x="1578" y="25"/>
                    </a:lnTo>
                    <a:lnTo>
                      <a:pt x="1560" y="0"/>
                    </a:lnTo>
                    <a:lnTo>
                      <a:pt x="1488" y="56"/>
                    </a:lnTo>
                    <a:lnTo>
                      <a:pt x="1250" y="152"/>
                    </a:lnTo>
                    <a:lnTo>
                      <a:pt x="1067" y="328"/>
                    </a:lnTo>
                    <a:lnTo>
                      <a:pt x="1026" y="435"/>
                    </a:lnTo>
                    <a:lnTo>
                      <a:pt x="902" y="517"/>
                    </a:lnTo>
                    <a:lnTo>
                      <a:pt x="438" y="569"/>
                    </a:lnTo>
                    <a:lnTo>
                      <a:pt x="335" y="662"/>
                    </a:lnTo>
                    <a:lnTo>
                      <a:pt x="270" y="765"/>
                    </a:lnTo>
                    <a:lnTo>
                      <a:pt x="159" y="1028"/>
                    </a:lnTo>
                    <a:lnTo>
                      <a:pt x="132" y="1159"/>
                    </a:lnTo>
                    <a:lnTo>
                      <a:pt x="59" y="1307"/>
                    </a:lnTo>
                    <a:lnTo>
                      <a:pt x="34" y="1442"/>
                    </a:lnTo>
                    <a:lnTo>
                      <a:pt x="32" y="1748"/>
                    </a:lnTo>
                    <a:lnTo>
                      <a:pt x="59" y="1861"/>
                    </a:lnTo>
                    <a:lnTo>
                      <a:pt x="45" y="2013"/>
                    </a:lnTo>
                    <a:lnTo>
                      <a:pt x="0" y="2196"/>
                    </a:lnTo>
                    <a:lnTo>
                      <a:pt x="56" y="2200"/>
                    </a:lnTo>
                    <a:lnTo>
                      <a:pt x="97" y="2175"/>
                    </a:lnTo>
                    <a:lnTo>
                      <a:pt x="197" y="2251"/>
                    </a:lnTo>
                    <a:lnTo>
                      <a:pt x="266" y="2338"/>
                    </a:lnTo>
                    <a:lnTo>
                      <a:pt x="308" y="2447"/>
                    </a:lnTo>
                    <a:lnTo>
                      <a:pt x="273" y="2809"/>
                    </a:lnTo>
                    <a:lnTo>
                      <a:pt x="286" y="2920"/>
                    </a:lnTo>
                    <a:close/>
                    <a:moveTo>
                      <a:pt x="2062" y="1861"/>
                    </a:moveTo>
                    <a:lnTo>
                      <a:pt x="2158" y="1886"/>
                    </a:lnTo>
                    <a:lnTo>
                      <a:pt x="2314" y="1890"/>
                    </a:lnTo>
                    <a:lnTo>
                      <a:pt x="2310" y="1937"/>
                    </a:lnTo>
                    <a:lnTo>
                      <a:pt x="2272" y="1955"/>
                    </a:lnTo>
                    <a:lnTo>
                      <a:pt x="2265" y="2044"/>
                    </a:lnTo>
                    <a:lnTo>
                      <a:pt x="2238" y="2062"/>
                    </a:lnTo>
                    <a:lnTo>
                      <a:pt x="2245" y="2079"/>
                    </a:lnTo>
                    <a:lnTo>
                      <a:pt x="2272" y="2062"/>
                    </a:lnTo>
                    <a:lnTo>
                      <a:pt x="2276" y="2151"/>
                    </a:lnTo>
                    <a:lnTo>
                      <a:pt x="2283" y="2206"/>
                    </a:lnTo>
                    <a:lnTo>
                      <a:pt x="2331" y="2155"/>
                    </a:lnTo>
                    <a:lnTo>
                      <a:pt x="2356" y="2058"/>
                    </a:lnTo>
                    <a:lnTo>
                      <a:pt x="2372" y="2051"/>
                    </a:lnTo>
                    <a:lnTo>
                      <a:pt x="2379" y="1979"/>
                    </a:lnTo>
                    <a:lnTo>
                      <a:pt x="2369" y="1979"/>
                    </a:lnTo>
                    <a:lnTo>
                      <a:pt x="2379" y="1955"/>
                    </a:lnTo>
                    <a:lnTo>
                      <a:pt x="2400" y="1955"/>
                    </a:lnTo>
                    <a:lnTo>
                      <a:pt x="2445" y="2082"/>
                    </a:lnTo>
                    <a:lnTo>
                      <a:pt x="2441" y="2144"/>
                    </a:lnTo>
                    <a:lnTo>
                      <a:pt x="2421" y="2144"/>
                    </a:lnTo>
                    <a:lnTo>
                      <a:pt x="2400" y="2175"/>
                    </a:lnTo>
                    <a:lnTo>
                      <a:pt x="2417" y="2178"/>
                    </a:lnTo>
                    <a:lnTo>
                      <a:pt x="2417" y="2203"/>
                    </a:lnTo>
                    <a:lnTo>
                      <a:pt x="2452" y="2209"/>
                    </a:lnTo>
                    <a:lnTo>
                      <a:pt x="2472" y="1951"/>
                    </a:lnTo>
                    <a:lnTo>
                      <a:pt x="2448" y="1913"/>
                    </a:lnTo>
                    <a:lnTo>
                      <a:pt x="2394" y="1899"/>
                    </a:lnTo>
                    <a:lnTo>
                      <a:pt x="2390" y="1859"/>
                    </a:lnTo>
                    <a:lnTo>
                      <a:pt x="2466" y="1772"/>
                    </a:lnTo>
                    <a:lnTo>
                      <a:pt x="2575" y="1745"/>
                    </a:lnTo>
                    <a:lnTo>
                      <a:pt x="2586" y="1723"/>
                    </a:lnTo>
                    <a:lnTo>
                      <a:pt x="2659" y="1721"/>
                    </a:lnTo>
                    <a:lnTo>
                      <a:pt x="2714" y="1792"/>
                    </a:lnTo>
                    <a:lnTo>
                      <a:pt x="2762" y="1937"/>
                    </a:lnTo>
                    <a:lnTo>
                      <a:pt x="2791" y="1944"/>
                    </a:lnTo>
                    <a:lnTo>
                      <a:pt x="2776" y="1997"/>
                    </a:lnTo>
                    <a:lnTo>
                      <a:pt x="2791" y="2051"/>
                    </a:lnTo>
                    <a:lnTo>
                      <a:pt x="2807" y="2062"/>
                    </a:lnTo>
                    <a:lnTo>
                      <a:pt x="2804" y="2120"/>
                    </a:lnTo>
                    <a:lnTo>
                      <a:pt x="2842" y="2231"/>
                    </a:lnTo>
                    <a:lnTo>
                      <a:pt x="2758" y="2227"/>
                    </a:lnTo>
                    <a:lnTo>
                      <a:pt x="2720" y="2269"/>
                    </a:lnTo>
                    <a:lnTo>
                      <a:pt x="2666" y="2265"/>
                    </a:lnTo>
                    <a:lnTo>
                      <a:pt x="2607" y="2334"/>
                    </a:lnTo>
                    <a:lnTo>
                      <a:pt x="2575" y="2392"/>
                    </a:lnTo>
                    <a:lnTo>
                      <a:pt x="2562" y="2472"/>
                    </a:lnTo>
                    <a:lnTo>
                      <a:pt x="2635" y="2479"/>
                    </a:lnTo>
                    <a:lnTo>
                      <a:pt x="2680" y="2561"/>
                    </a:lnTo>
                    <a:lnTo>
                      <a:pt x="2676" y="2668"/>
                    </a:lnTo>
                    <a:lnTo>
                      <a:pt x="2506" y="2702"/>
                    </a:lnTo>
                    <a:lnTo>
                      <a:pt x="2486" y="2733"/>
                    </a:lnTo>
                    <a:lnTo>
                      <a:pt x="2486" y="2778"/>
                    </a:lnTo>
                    <a:lnTo>
                      <a:pt x="2503" y="2778"/>
                    </a:lnTo>
                    <a:lnTo>
                      <a:pt x="2517" y="2833"/>
                    </a:lnTo>
                    <a:lnTo>
                      <a:pt x="2501" y="2833"/>
                    </a:lnTo>
                    <a:lnTo>
                      <a:pt x="2490" y="2860"/>
                    </a:lnTo>
                    <a:lnTo>
                      <a:pt x="2483" y="2933"/>
                    </a:lnTo>
                    <a:lnTo>
                      <a:pt x="2421" y="2947"/>
                    </a:lnTo>
                    <a:lnTo>
                      <a:pt x="2386" y="2909"/>
                    </a:lnTo>
                    <a:lnTo>
                      <a:pt x="2224" y="2871"/>
                    </a:lnTo>
                    <a:lnTo>
                      <a:pt x="2178" y="2844"/>
                    </a:lnTo>
                    <a:lnTo>
                      <a:pt x="2182" y="2824"/>
                    </a:lnTo>
                    <a:lnTo>
                      <a:pt x="2234" y="2844"/>
                    </a:lnTo>
                    <a:lnTo>
                      <a:pt x="2231" y="2775"/>
                    </a:lnTo>
                    <a:lnTo>
                      <a:pt x="2247" y="2775"/>
                    </a:lnTo>
                    <a:lnTo>
                      <a:pt x="2251" y="2737"/>
                    </a:lnTo>
                    <a:lnTo>
                      <a:pt x="2100" y="2692"/>
                    </a:lnTo>
                    <a:lnTo>
                      <a:pt x="1955" y="2692"/>
                    </a:lnTo>
                    <a:lnTo>
                      <a:pt x="1951" y="2603"/>
                    </a:lnTo>
                    <a:lnTo>
                      <a:pt x="1882" y="2572"/>
                    </a:lnTo>
                    <a:lnTo>
                      <a:pt x="1868" y="2537"/>
                    </a:lnTo>
                    <a:lnTo>
                      <a:pt x="1868" y="2516"/>
                    </a:lnTo>
                    <a:lnTo>
                      <a:pt x="1885" y="2510"/>
                    </a:lnTo>
                    <a:lnTo>
                      <a:pt x="1899" y="2458"/>
                    </a:lnTo>
                    <a:lnTo>
                      <a:pt x="1913" y="2272"/>
                    </a:lnTo>
                    <a:lnTo>
                      <a:pt x="1888" y="2234"/>
                    </a:lnTo>
                    <a:lnTo>
                      <a:pt x="1806" y="2220"/>
                    </a:lnTo>
                    <a:lnTo>
                      <a:pt x="1792" y="2193"/>
                    </a:lnTo>
                    <a:lnTo>
                      <a:pt x="1830" y="2169"/>
                    </a:lnTo>
                    <a:lnTo>
                      <a:pt x="1768" y="2144"/>
                    </a:lnTo>
                    <a:lnTo>
                      <a:pt x="1768" y="2127"/>
                    </a:lnTo>
                    <a:lnTo>
                      <a:pt x="1810" y="2102"/>
                    </a:lnTo>
                    <a:lnTo>
                      <a:pt x="1961" y="2113"/>
                    </a:lnTo>
                    <a:lnTo>
                      <a:pt x="2027" y="2100"/>
                    </a:lnTo>
                    <a:lnTo>
                      <a:pt x="2051" y="2013"/>
                    </a:lnTo>
                    <a:lnTo>
                      <a:pt x="2113" y="2017"/>
                    </a:lnTo>
                    <a:lnTo>
                      <a:pt x="2140" y="1993"/>
                    </a:lnTo>
                    <a:lnTo>
                      <a:pt x="2155" y="1937"/>
                    </a:lnTo>
                    <a:lnTo>
                      <a:pt x="2062" y="1861"/>
                    </a:lnTo>
                    <a:close/>
                    <a:moveTo>
                      <a:pt x="1682" y="2837"/>
                    </a:moveTo>
                    <a:lnTo>
                      <a:pt x="1689" y="2755"/>
                    </a:lnTo>
                    <a:lnTo>
                      <a:pt x="1705" y="2723"/>
                    </a:lnTo>
                    <a:lnTo>
                      <a:pt x="1743" y="2723"/>
                    </a:lnTo>
                    <a:lnTo>
                      <a:pt x="1740" y="2885"/>
                    </a:lnTo>
                    <a:lnTo>
                      <a:pt x="1674" y="2985"/>
                    </a:lnTo>
                    <a:lnTo>
                      <a:pt x="1665" y="3058"/>
                    </a:lnTo>
                    <a:lnTo>
                      <a:pt x="1636" y="3092"/>
                    </a:lnTo>
                    <a:lnTo>
                      <a:pt x="1606" y="3178"/>
                    </a:lnTo>
                    <a:lnTo>
                      <a:pt x="1575" y="3196"/>
                    </a:lnTo>
                    <a:lnTo>
                      <a:pt x="1571" y="3105"/>
                    </a:lnTo>
                    <a:lnTo>
                      <a:pt x="1540" y="3033"/>
                    </a:lnTo>
                    <a:lnTo>
                      <a:pt x="1560" y="3023"/>
                    </a:lnTo>
                    <a:lnTo>
                      <a:pt x="1595" y="2920"/>
                    </a:lnTo>
                    <a:lnTo>
                      <a:pt x="1636" y="2851"/>
                    </a:lnTo>
                    <a:lnTo>
                      <a:pt x="1682" y="2837"/>
                    </a:lnTo>
                    <a:close/>
                    <a:moveTo>
                      <a:pt x="1198" y="2296"/>
                    </a:moveTo>
                    <a:lnTo>
                      <a:pt x="1254" y="2265"/>
                    </a:lnTo>
                    <a:lnTo>
                      <a:pt x="1399" y="2258"/>
                    </a:lnTo>
                    <a:lnTo>
                      <a:pt x="1482" y="2323"/>
                    </a:lnTo>
                    <a:lnTo>
                      <a:pt x="1513" y="2320"/>
                    </a:lnTo>
                    <a:lnTo>
                      <a:pt x="1516" y="2247"/>
                    </a:lnTo>
                    <a:lnTo>
                      <a:pt x="1544" y="2224"/>
                    </a:lnTo>
                    <a:lnTo>
                      <a:pt x="1623" y="2378"/>
                    </a:lnTo>
                    <a:lnTo>
                      <a:pt x="1609" y="2465"/>
                    </a:lnTo>
                    <a:lnTo>
                      <a:pt x="1631" y="2537"/>
                    </a:lnTo>
                    <a:lnTo>
                      <a:pt x="1647" y="2568"/>
                    </a:lnTo>
                    <a:lnTo>
                      <a:pt x="1699" y="2585"/>
                    </a:lnTo>
                    <a:lnTo>
                      <a:pt x="1699" y="2606"/>
                    </a:lnTo>
                    <a:lnTo>
                      <a:pt x="1665" y="2603"/>
                    </a:lnTo>
                    <a:lnTo>
                      <a:pt x="1654" y="2692"/>
                    </a:lnTo>
                    <a:lnTo>
                      <a:pt x="1631" y="2806"/>
                    </a:lnTo>
                    <a:lnTo>
                      <a:pt x="1540" y="2820"/>
                    </a:lnTo>
                    <a:lnTo>
                      <a:pt x="1471" y="2851"/>
                    </a:lnTo>
                    <a:lnTo>
                      <a:pt x="1409" y="2837"/>
                    </a:lnTo>
                    <a:lnTo>
                      <a:pt x="1323" y="2775"/>
                    </a:lnTo>
                    <a:lnTo>
                      <a:pt x="1212" y="2799"/>
                    </a:lnTo>
                    <a:lnTo>
                      <a:pt x="1216" y="2755"/>
                    </a:lnTo>
                    <a:lnTo>
                      <a:pt x="1257" y="2702"/>
                    </a:lnTo>
                    <a:lnTo>
                      <a:pt x="1212" y="2699"/>
                    </a:lnTo>
                    <a:lnTo>
                      <a:pt x="1087" y="2641"/>
                    </a:lnTo>
                    <a:lnTo>
                      <a:pt x="1087" y="2557"/>
                    </a:lnTo>
                    <a:lnTo>
                      <a:pt x="1036" y="2503"/>
                    </a:lnTo>
                    <a:lnTo>
                      <a:pt x="1056" y="2451"/>
                    </a:lnTo>
                    <a:lnTo>
                      <a:pt x="1015" y="2403"/>
                    </a:lnTo>
                    <a:lnTo>
                      <a:pt x="1036" y="2403"/>
                    </a:lnTo>
                    <a:lnTo>
                      <a:pt x="1036" y="2378"/>
                    </a:lnTo>
                    <a:lnTo>
                      <a:pt x="1012" y="2341"/>
                    </a:lnTo>
                    <a:lnTo>
                      <a:pt x="1015" y="2307"/>
                    </a:lnTo>
                    <a:lnTo>
                      <a:pt x="1071" y="2309"/>
                    </a:lnTo>
                    <a:lnTo>
                      <a:pt x="1129" y="2338"/>
                    </a:lnTo>
                    <a:lnTo>
                      <a:pt x="1198" y="2296"/>
                    </a:lnTo>
                    <a:close/>
                    <a:moveTo>
                      <a:pt x="1926" y="2951"/>
                    </a:moveTo>
                    <a:lnTo>
                      <a:pt x="1944" y="2962"/>
                    </a:lnTo>
                    <a:lnTo>
                      <a:pt x="1961" y="3013"/>
                    </a:lnTo>
                    <a:lnTo>
                      <a:pt x="2003" y="3027"/>
                    </a:lnTo>
                    <a:lnTo>
                      <a:pt x="2048" y="3074"/>
                    </a:lnTo>
                    <a:lnTo>
                      <a:pt x="2082" y="3085"/>
                    </a:lnTo>
                    <a:lnTo>
                      <a:pt x="2082" y="3061"/>
                    </a:lnTo>
                    <a:lnTo>
                      <a:pt x="2120" y="3061"/>
                    </a:lnTo>
                    <a:lnTo>
                      <a:pt x="2120" y="3033"/>
                    </a:lnTo>
                    <a:lnTo>
                      <a:pt x="2169" y="3036"/>
                    </a:lnTo>
                    <a:lnTo>
                      <a:pt x="2172" y="3074"/>
                    </a:lnTo>
                    <a:lnTo>
                      <a:pt x="2213" y="3130"/>
                    </a:lnTo>
                    <a:lnTo>
                      <a:pt x="2251" y="3274"/>
                    </a:lnTo>
                    <a:lnTo>
                      <a:pt x="2203" y="3288"/>
                    </a:lnTo>
                    <a:lnTo>
                      <a:pt x="2096" y="3265"/>
                    </a:lnTo>
                    <a:lnTo>
                      <a:pt x="2066" y="3299"/>
                    </a:lnTo>
                    <a:lnTo>
                      <a:pt x="2010" y="3312"/>
                    </a:lnTo>
                    <a:lnTo>
                      <a:pt x="1899" y="3209"/>
                    </a:lnTo>
                    <a:lnTo>
                      <a:pt x="1785" y="3154"/>
                    </a:lnTo>
                    <a:lnTo>
                      <a:pt x="1761" y="3099"/>
                    </a:lnTo>
                    <a:lnTo>
                      <a:pt x="1799" y="3105"/>
                    </a:lnTo>
                    <a:lnTo>
                      <a:pt x="1837" y="3051"/>
                    </a:lnTo>
                    <a:lnTo>
                      <a:pt x="1803" y="3051"/>
                    </a:lnTo>
                    <a:lnTo>
                      <a:pt x="1778" y="2996"/>
                    </a:lnTo>
                    <a:lnTo>
                      <a:pt x="1827" y="2964"/>
                    </a:lnTo>
                    <a:lnTo>
                      <a:pt x="1910" y="2967"/>
                    </a:lnTo>
                    <a:lnTo>
                      <a:pt x="1926" y="2951"/>
                    </a:lnTo>
                    <a:close/>
                    <a:moveTo>
                      <a:pt x="2272" y="2971"/>
                    </a:moveTo>
                    <a:lnTo>
                      <a:pt x="2300" y="2964"/>
                    </a:lnTo>
                    <a:lnTo>
                      <a:pt x="2341" y="2985"/>
                    </a:lnTo>
                    <a:lnTo>
                      <a:pt x="2358" y="3030"/>
                    </a:lnTo>
                    <a:lnTo>
                      <a:pt x="2452" y="3082"/>
                    </a:lnTo>
                    <a:lnTo>
                      <a:pt x="2459" y="3143"/>
                    </a:lnTo>
                    <a:lnTo>
                      <a:pt x="2390" y="3196"/>
                    </a:lnTo>
                    <a:lnTo>
                      <a:pt x="2379" y="3227"/>
                    </a:lnTo>
                    <a:lnTo>
                      <a:pt x="2361" y="3377"/>
                    </a:lnTo>
                    <a:lnTo>
                      <a:pt x="2317" y="3341"/>
                    </a:lnTo>
                    <a:lnTo>
                      <a:pt x="2327" y="3192"/>
                    </a:lnTo>
                    <a:lnTo>
                      <a:pt x="2296" y="3161"/>
                    </a:lnTo>
                    <a:lnTo>
                      <a:pt x="2279" y="3089"/>
                    </a:lnTo>
                    <a:lnTo>
                      <a:pt x="2255" y="3071"/>
                    </a:lnTo>
                    <a:lnTo>
                      <a:pt x="2224" y="2989"/>
                    </a:lnTo>
                    <a:lnTo>
                      <a:pt x="2227" y="2971"/>
                    </a:lnTo>
                    <a:lnTo>
                      <a:pt x="2272" y="2971"/>
                    </a:lnTo>
                    <a:close/>
                  </a:path>
                </a:pathLst>
              </a:custGeom>
              <a:grpFill/>
              <a:ln w="6350">
                <a:solidFill>
                  <a:srgbClr val="FFFFFF"/>
                </a:solidFill>
              </a:ln>
            </p:spPr>
            <p:txBody>
              <a:bodyPr vert="eaVert" wrap="none" anchor="ctr"/>
              <a:lstStyle/>
              <a:p>
                <a:pPr defTabSz="858500" eaLnBrk="1" fontAlgn="auto" hangingPunct="1">
                  <a:lnSpc>
                    <a:spcPct val="100000"/>
                  </a:lnSpc>
                  <a:spcBef>
                    <a:spcPts val="0"/>
                  </a:spcBef>
                  <a:spcAft>
                    <a:spcPts val="0"/>
                  </a:spcAft>
                  <a:buClrTx/>
                  <a:buSzTx/>
                  <a:defRPr/>
                </a:pPr>
                <a:endParaRPr lang="en-GB" sz="600" b="1" dirty="0">
                  <a:latin typeface="+mn-lt"/>
                </a:endParaRPr>
              </a:p>
            </p:txBody>
          </p:sp>
          <p:sp>
            <p:nvSpPr>
              <p:cNvPr id="271" name="Sweden"/>
              <p:cNvSpPr>
                <a:spLocks noEditPoints="1"/>
              </p:cNvSpPr>
              <p:nvPr>
                <p:custDataLst>
                  <p:tags r:id="rId12"/>
                </p:custDataLst>
              </p:nvPr>
            </p:nvSpPr>
            <p:spPr bwMode="gray">
              <a:xfrm>
                <a:off x="1241415" y="1685290"/>
                <a:ext cx="1510482" cy="3208973"/>
              </a:xfrm>
              <a:custGeom>
                <a:avLst/>
                <a:gdLst/>
                <a:ahLst/>
                <a:cxnLst>
                  <a:cxn ang="0">
                    <a:pos x="114" y="11074"/>
                  </a:cxn>
                  <a:cxn ang="0">
                    <a:pos x="210" y="11166"/>
                  </a:cxn>
                  <a:cxn ang="0">
                    <a:pos x="362" y="11949"/>
                  </a:cxn>
                  <a:cxn ang="0">
                    <a:pos x="846" y="12862"/>
                  </a:cxn>
                  <a:cxn ang="0">
                    <a:pos x="666" y="13248"/>
                  </a:cxn>
                  <a:cxn ang="0">
                    <a:pos x="839" y="14186"/>
                  </a:cxn>
                  <a:cxn ang="0">
                    <a:pos x="1691" y="13776"/>
                  </a:cxn>
                  <a:cxn ang="0">
                    <a:pos x="2468" y="13365"/>
                  </a:cxn>
                  <a:cxn ang="0">
                    <a:pos x="3007" y="12256"/>
                  </a:cxn>
                  <a:cxn ang="0">
                    <a:pos x="3021" y="11518"/>
                  </a:cxn>
                  <a:cxn ang="0">
                    <a:pos x="3162" y="11101"/>
                  </a:cxn>
                  <a:cxn ang="0">
                    <a:pos x="3108" y="10809"/>
                  </a:cxn>
                  <a:cxn ang="0">
                    <a:pos x="3539" y="10495"/>
                  </a:cxn>
                  <a:cxn ang="0">
                    <a:pos x="3971" y="10054"/>
                  </a:cxn>
                  <a:cxn ang="0">
                    <a:pos x="3432" y="10088"/>
                  </a:cxn>
                  <a:cxn ang="0">
                    <a:pos x="3063" y="9788"/>
                  </a:cxn>
                  <a:cxn ang="0">
                    <a:pos x="3597" y="9864"/>
                  </a:cxn>
                  <a:cxn ang="0">
                    <a:pos x="4268" y="9385"/>
                  </a:cxn>
                  <a:cxn ang="0">
                    <a:pos x="3763" y="8719"/>
                  </a:cxn>
                  <a:cxn ang="0">
                    <a:pos x="3190" y="9106"/>
                  </a:cxn>
                  <a:cxn ang="0">
                    <a:pos x="3228" y="8957"/>
                  </a:cxn>
                  <a:cxn ang="0">
                    <a:pos x="3287" y="8072"/>
                  </a:cxn>
                  <a:cxn ang="0">
                    <a:pos x="3376" y="7317"/>
                  </a:cxn>
                  <a:cxn ang="0">
                    <a:pos x="3549" y="6711"/>
                  </a:cxn>
                  <a:cxn ang="0">
                    <a:pos x="3681" y="6414"/>
                  </a:cxn>
                  <a:cxn ang="0">
                    <a:pos x="3902" y="6138"/>
                  </a:cxn>
                  <a:cxn ang="0">
                    <a:pos x="4264" y="5773"/>
                  </a:cxn>
                  <a:cxn ang="0">
                    <a:pos x="4741" y="5401"/>
                  </a:cxn>
                  <a:cxn ang="0">
                    <a:pos x="5182" y="4687"/>
                  </a:cxn>
                  <a:cxn ang="0">
                    <a:pos x="5109" y="4419"/>
                  </a:cxn>
                  <a:cxn ang="0">
                    <a:pos x="5158" y="4098"/>
                  </a:cxn>
                  <a:cxn ang="0">
                    <a:pos x="5317" y="3588"/>
                  </a:cxn>
                  <a:cxn ang="0">
                    <a:pos x="5393" y="3347"/>
                  </a:cxn>
                  <a:cxn ang="0">
                    <a:pos x="5538" y="3102"/>
                  </a:cxn>
                  <a:cxn ang="0">
                    <a:pos x="5828" y="3216"/>
                  </a:cxn>
                  <a:cxn ang="0">
                    <a:pos x="6059" y="2757"/>
                  </a:cxn>
                  <a:cxn ang="0">
                    <a:pos x="5832" y="1634"/>
                  </a:cxn>
                  <a:cxn ang="0">
                    <a:pos x="5410" y="638"/>
                  </a:cxn>
                  <a:cxn ang="0">
                    <a:pos x="4192" y="31"/>
                  </a:cxn>
                  <a:cxn ang="0">
                    <a:pos x="4184" y="535"/>
                  </a:cxn>
                  <a:cxn ang="0">
                    <a:pos x="3473" y="680"/>
                  </a:cxn>
                  <a:cxn ang="0">
                    <a:pos x="3104" y="1048"/>
                  </a:cxn>
                  <a:cxn ang="0">
                    <a:pos x="2803" y="1921"/>
                  </a:cxn>
                  <a:cxn ang="0">
                    <a:pos x="2354" y="2855"/>
                  </a:cxn>
                  <a:cxn ang="0">
                    <a:pos x="1946" y="3967"/>
                  </a:cxn>
                  <a:cxn ang="0">
                    <a:pos x="1705" y="5160"/>
                  </a:cxn>
                  <a:cxn ang="0">
                    <a:pos x="781" y="5935"/>
                  </a:cxn>
                  <a:cxn ang="0">
                    <a:pos x="718" y="6721"/>
                  </a:cxn>
                  <a:cxn ang="0">
                    <a:pos x="977" y="8086"/>
                  </a:cxn>
                  <a:cxn ang="0">
                    <a:pos x="794" y="9233"/>
                  </a:cxn>
                  <a:cxn ang="0">
                    <a:pos x="168" y="10464"/>
                  </a:cxn>
                  <a:cxn ang="0">
                    <a:pos x="3148" y="12862"/>
                  </a:cxn>
                  <a:cxn ang="0">
                    <a:pos x="3124" y="12666"/>
                  </a:cxn>
                  <a:cxn ang="0">
                    <a:pos x="4329" y="12104"/>
                  </a:cxn>
                  <a:cxn ang="0">
                    <a:pos x="4353" y="11529"/>
                  </a:cxn>
                  <a:cxn ang="0">
                    <a:pos x="4032" y="12283"/>
                  </a:cxn>
                </a:cxnLst>
                <a:rect l="0" t="0" r="r" b="b"/>
                <a:pathLst>
                  <a:path w="6249" h="14226">
                    <a:moveTo>
                      <a:pt x="83" y="10243"/>
                    </a:moveTo>
                    <a:lnTo>
                      <a:pt x="7" y="10364"/>
                    </a:lnTo>
                    <a:lnTo>
                      <a:pt x="0" y="10467"/>
                    </a:lnTo>
                    <a:lnTo>
                      <a:pt x="31" y="10881"/>
                    </a:lnTo>
                    <a:lnTo>
                      <a:pt x="48" y="10936"/>
                    </a:lnTo>
                    <a:lnTo>
                      <a:pt x="96" y="10954"/>
                    </a:lnTo>
                    <a:lnTo>
                      <a:pt x="114" y="10998"/>
                    </a:lnTo>
                    <a:lnTo>
                      <a:pt x="114" y="11074"/>
                    </a:lnTo>
                    <a:lnTo>
                      <a:pt x="100" y="11112"/>
                    </a:lnTo>
                    <a:lnTo>
                      <a:pt x="168" y="11039"/>
                    </a:lnTo>
                    <a:lnTo>
                      <a:pt x="193" y="10967"/>
                    </a:lnTo>
                    <a:lnTo>
                      <a:pt x="231" y="11012"/>
                    </a:lnTo>
                    <a:lnTo>
                      <a:pt x="197" y="11108"/>
                    </a:lnTo>
                    <a:lnTo>
                      <a:pt x="241" y="11104"/>
                    </a:lnTo>
                    <a:lnTo>
                      <a:pt x="266" y="11132"/>
                    </a:lnTo>
                    <a:lnTo>
                      <a:pt x="210" y="11166"/>
                    </a:lnTo>
                    <a:lnTo>
                      <a:pt x="130" y="11266"/>
                    </a:lnTo>
                    <a:lnTo>
                      <a:pt x="293" y="11331"/>
                    </a:lnTo>
                    <a:lnTo>
                      <a:pt x="317" y="11435"/>
                    </a:lnTo>
                    <a:lnTo>
                      <a:pt x="279" y="11601"/>
                    </a:lnTo>
                    <a:lnTo>
                      <a:pt x="393" y="11580"/>
                    </a:lnTo>
                    <a:lnTo>
                      <a:pt x="414" y="11705"/>
                    </a:lnTo>
                    <a:lnTo>
                      <a:pt x="338" y="11790"/>
                    </a:lnTo>
                    <a:lnTo>
                      <a:pt x="362" y="11949"/>
                    </a:lnTo>
                    <a:lnTo>
                      <a:pt x="346" y="12069"/>
                    </a:lnTo>
                    <a:lnTo>
                      <a:pt x="435" y="12077"/>
                    </a:lnTo>
                    <a:lnTo>
                      <a:pt x="480" y="12218"/>
                    </a:lnTo>
                    <a:lnTo>
                      <a:pt x="500" y="12345"/>
                    </a:lnTo>
                    <a:lnTo>
                      <a:pt x="556" y="12538"/>
                    </a:lnTo>
                    <a:lnTo>
                      <a:pt x="670" y="12652"/>
                    </a:lnTo>
                    <a:lnTo>
                      <a:pt x="725" y="12777"/>
                    </a:lnTo>
                    <a:lnTo>
                      <a:pt x="846" y="12862"/>
                    </a:lnTo>
                    <a:lnTo>
                      <a:pt x="922" y="12976"/>
                    </a:lnTo>
                    <a:lnTo>
                      <a:pt x="922" y="13058"/>
                    </a:lnTo>
                    <a:lnTo>
                      <a:pt x="853" y="13096"/>
                    </a:lnTo>
                    <a:lnTo>
                      <a:pt x="773" y="13083"/>
                    </a:lnTo>
                    <a:lnTo>
                      <a:pt x="752" y="13121"/>
                    </a:lnTo>
                    <a:lnTo>
                      <a:pt x="825" y="13296"/>
                    </a:lnTo>
                    <a:lnTo>
                      <a:pt x="742" y="13290"/>
                    </a:lnTo>
                    <a:lnTo>
                      <a:pt x="666" y="13248"/>
                    </a:lnTo>
                    <a:lnTo>
                      <a:pt x="659" y="13321"/>
                    </a:lnTo>
                    <a:lnTo>
                      <a:pt x="819" y="13700"/>
                    </a:lnTo>
                    <a:lnTo>
                      <a:pt x="901" y="13827"/>
                    </a:lnTo>
                    <a:lnTo>
                      <a:pt x="939" y="13934"/>
                    </a:lnTo>
                    <a:lnTo>
                      <a:pt x="904" y="13992"/>
                    </a:lnTo>
                    <a:lnTo>
                      <a:pt x="888" y="14121"/>
                    </a:lnTo>
                    <a:lnTo>
                      <a:pt x="853" y="14130"/>
                    </a:lnTo>
                    <a:lnTo>
                      <a:pt x="839" y="14186"/>
                    </a:lnTo>
                    <a:lnTo>
                      <a:pt x="980" y="14182"/>
                    </a:lnTo>
                    <a:lnTo>
                      <a:pt x="1109" y="14226"/>
                    </a:lnTo>
                    <a:lnTo>
                      <a:pt x="1315" y="14155"/>
                    </a:lnTo>
                    <a:lnTo>
                      <a:pt x="1506" y="14151"/>
                    </a:lnTo>
                    <a:lnTo>
                      <a:pt x="1618" y="14206"/>
                    </a:lnTo>
                    <a:lnTo>
                      <a:pt x="1674" y="14161"/>
                    </a:lnTo>
                    <a:lnTo>
                      <a:pt x="1723" y="14010"/>
                    </a:lnTo>
                    <a:lnTo>
                      <a:pt x="1691" y="13776"/>
                    </a:lnTo>
                    <a:lnTo>
                      <a:pt x="1750" y="13624"/>
                    </a:lnTo>
                    <a:lnTo>
                      <a:pt x="1819" y="13500"/>
                    </a:lnTo>
                    <a:lnTo>
                      <a:pt x="1923" y="13535"/>
                    </a:lnTo>
                    <a:lnTo>
                      <a:pt x="1971" y="13421"/>
                    </a:lnTo>
                    <a:lnTo>
                      <a:pt x="2086" y="13352"/>
                    </a:lnTo>
                    <a:lnTo>
                      <a:pt x="2247" y="13359"/>
                    </a:lnTo>
                    <a:lnTo>
                      <a:pt x="2345" y="13397"/>
                    </a:lnTo>
                    <a:lnTo>
                      <a:pt x="2468" y="13365"/>
                    </a:lnTo>
                    <a:lnTo>
                      <a:pt x="2599" y="13399"/>
                    </a:lnTo>
                    <a:lnTo>
                      <a:pt x="2727" y="13399"/>
                    </a:lnTo>
                    <a:lnTo>
                      <a:pt x="2776" y="13190"/>
                    </a:lnTo>
                    <a:lnTo>
                      <a:pt x="2872" y="12945"/>
                    </a:lnTo>
                    <a:lnTo>
                      <a:pt x="2969" y="12762"/>
                    </a:lnTo>
                    <a:lnTo>
                      <a:pt x="2976" y="12541"/>
                    </a:lnTo>
                    <a:lnTo>
                      <a:pt x="3021" y="12403"/>
                    </a:lnTo>
                    <a:lnTo>
                      <a:pt x="3007" y="12256"/>
                    </a:lnTo>
                    <a:lnTo>
                      <a:pt x="3048" y="12128"/>
                    </a:lnTo>
                    <a:lnTo>
                      <a:pt x="3104" y="12021"/>
                    </a:lnTo>
                    <a:lnTo>
                      <a:pt x="3093" y="11908"/>
                    </a:lnTo>
                    <a:lnTo>
                      <a:pt x="3048" y="11839"/>
                    </a:lnTo>
                    <a:lnTo>
                      <a:pt x="3110" y="11732"/>
                    </a:lnTo>
                    <a:lnTo>
                      <a:pt x="3090" y="11642"/>
                    </a:lnTo>
                    <a:lnTo>
                      <a:pt x="3035" y="11570"/>
                    </a:lnTo>
                    <a:lnTo>
                      <a:pt x="3021" y="11518"/>
                    </a:lnTo>
                    <a:lnTo>
                      <a:pt x="3035" y="11473"/>
                    </a:lnTo>
                    <a:lnTo>
                      <a:pt x="3097" y="11504"/>
                    </a:lnTo>
                    <a:lnTo>
                      <a:pt x="3148" y="11494"/>
                    </a:lnTo>
                    <a:lnTo>
                      <a:pt x="3114" y="11429"/>
                    </a:lnTo>
                    <a:lnTo>
                      <a:pt x="3121" y="11384"/>
                    </a:lnTo>
                    <a:lnTo>
                      <a:pt x="3152" y="11326"/>
                    </a:lnTo>
                    <a:lnTo>
                      <a:pt x="3142" y="11273"/>
                    </a:lnTo>
                    <a:lnTo>
                      <a:pt x="3162" y="11101"/>
                    </a:lnTo>
                    <a:lnTo>
                      <a:pt x="3148" y="11053"/>
                    </a:lnTo>
                    <a:lnTo>
                      <a:pt x="3066" y="10987"/>
                    </a:lnTo>
                    <a:lnTo>
                      <a:pt x="2965" y="10939"/>
                    </a:lnTo>
                    <a:lnTo>
                      <a:pt x="2990" y="10929"/>
                    </a:lnTo>
                    <a:lnTo>
                      <a:pt x="3086" y="10956"/>
                    </a:lnTo>
                    <a:lnTo>
                      <a:pt x="3183" y="10939"/>
                    </a:lnTo>
                    <a:lnTo>
                      <a:pt x="3208" y="10894"/>
                    </a:lnTo>
                    <a:lnTo>
                      <a:pt x="3108" y="10809"/>
                    </a:lnTo>
                    <a:lnTo>
                      <a:pt x="2820" y="10774"/>
                    </a:lnTo>
                    <a:lnTo>
                      <a:pt x="2838" y="10743"/>
                    </a:lnTo>
                    <a:lnTo>
                      <a:pt x="3070" y="10712"/>
                    </a:lnTo>
                    <a:lnTo>
                      <a:pt x="3200" y="10753"/>
                    </a:lnTo>
                    <a:lnTo>
                      <a:pt x="3273" y="10715"/>
                    </a:lnTo>
                    <a:lnTo>
                      <a:pt x="3290" y="10622"/>
                    </a:lnTo>
                    <a:lnTo>
                      <a:pt x="3425" y="10611"/>
                    </a:lnTo>
                    <a:lnTo>
                      <a:pt x="3539" y="10495"/>
                    </a:lnTo>
                    <a:lnTo>
                      <a:pt x="3594" y="10426"/>
                    </a:lnTo>
                    <a:lnTo>
                      <a:pt x="3587" y="10305"/>
                    </a:lnTo>
                    <a:lnTo>
                      <a:pt x="3670" y="10326"/>
                    </a:lnTo>
                    <a:lnTo>
                      <a:pt x="3673" y="10446"/>
                    </a:lnTo>
                    <a:lnTo>
                      <a:pt x="3798" y="10429"/>
                    </a:lnTo>
                    <a:lnTo>
                      <a:pt x="3867" y="10301"/>
                    </a:lnTo>
                    <a:lnTo>
                      <a:pt x="4009" y="10174"/>
                    </a:lnTo>
                    <a:lnTo>
                      <a:pt x="3971" y="10054"/>
                    </a:lnTo>
                    <a:lnTo>
                      <a:pt x="4022" y="10098"/>
                    </a:lnTo>
                    <a:lnTo>
                      <a:pt x="4088" y="10094"/>
                    </a:lnTo>
                    <a:lnTo>
                      <a:pt x="4088" y="10036"/>
                    </a:lnTo>
                    <a:lnTo>
                      <a:pt x="4146" y="9985"/>
                    </a:lnTo>
                    <a:lnTo>
                      <a:pt x="4129" y="9940"/>
                    </a:lnTo>
                    <a:lnTo>
                      <a:pt x="3604" y="10071"/>
                    </a:lnTo>
                    <a:lnTo>
                      <a:pt x="3480" y="10050"/>
                    </a:lnTo>
                    <a:lnTo>
                      <a:pt x="3432" y="10088"/>
                    </a:lnTo>
                    <a:lnTo>
                      <a:pt x="3404" y="10022"/>
                    </a:lnTo>
                    <a:lnTo>
                      <a:pt x="3345" y="9971"/>
                    </a:lnTo>
                    <a:lnTo>
                      <a:pt x="3097" y="9871"/>
                    </a:lnTo>
                    <a:lnTo>
                      <a:pt x="2959" y="9898"/>
                    </a:lnTo>
                    <a:lnTo>
                      <a:pt x="2900" y="9867"/>
                    </a:lnTo>
                    <a:lnTo>
                      <a:pt x="2956" y="9836"/>
                    </a:lnTo>
                    <a:lnTo>
                      <a:pt x="2997" y="9775"/>
                    </a:lnTo>
                    <a:lnTo>
                      <a:pt x="3063" y="9788"/>
                    </a:lnTo>
                    <a:lnTo>
                      <a:pt x="3142" y="9764"/>
                    </a:lnTo>
                    <a:lnTo>
                      <a:pt x="3266" y="9778"/>
                    </a:lnTo>
                    <a:lnTo>
                      <a:pt x="3276" y="9768"/>
                    </a:lnTo>
                    <a:lnTo>
                      <a:pt x="3376" y="9860"/>
                    </a:lnTo>
                    <a:lnTo>
                      <a:pt x="3442" y="9819"/>
                    </a:lnTo>
                    <a:lnTo>
                      <a:pt x="3445" y="9788"/>
                    </a:lnTo>
                    <a:lnTo>
                      <a:pt x="3514" y="9840"/>
                    </a:lnTo>
                    <a:lnTo>
                      <a:pt x="3597" y="9864"/>
                    </a:lnTo>
                    <a:lnTo>
                      <a:pt x="3625" y="9806"/>
                    </a:lnTo>
                    <a:lnTo>
                      <a:pt x="3656" y="9833"/>
                    </a:lnTo>
                    <a:lnTo>
                      <a:pt x="3704" y="9936"/>
                    </a:lnTo>
                    <a:lnTo>
                      <a:pt x="3784" y="9956"/>
                    </a:lnTo>
                    <a:lnTo>
                      <a:pt x="4098" y="9782"/>
                    </a:lnTo>
                    <a:lnTo>
                      <a:pt x="4195" y="9599"/>
                    </a:lnTo>
                    <a:lnTo>
                      <a:pt x="4243" y="9550"/>
                    </a:lnTo>
                    <a:lnTo>
                      <a:pt x="4268" y="9385"/>
                    </a:lnTo>
                    <a:lnTo>
                      <a:pt x="4198" y="9247"/>
                    </a:lnTo>
                    <a:lnTo>
                      <a:pt x="4070" y="9164"/>
                    </a:lnTo>
                    <a:lnTo>
                      <a:pt x="3974" y="9030"/>
                    </a:lnTo>
                    <a:lnTo>
                      <a:pt x="4050" y="9024"/>
                    </a:lnTo>
                    <a:lnTo>
                      <a:pt x="4043" y="8986"/>
                    </a:lnTo>
                    <a:lnTo>
                      <a:pt x="3826" y="8899"/>
                    </a:lnTo>
                    <a:lnTo>
                      <a:pt x="3808" y="8810"/>
                    </a:lnTo>
                    <a:lnTo>
                      <a:pt x="3763" y="8719"/>
                    </a:lnTo>
                    <a:lnTo>
                      <a:pt x="3597" y="8748"/>
                    </a:lnTo>
                    <a:lnTo>
                      <a:pt x="3549" y="8692"/>
                    </a:lnTo>
                    <a:lnTo>
                      <a:pt x="3532" y="8650"/>
                    </a:lnTo>
                    <a:lnTo>
                      <a:pt x="3494" y="8645"/>
                    </a:lnTo>
                    <a:lnTo>
                      <a:pt x="3498" y="8685"/>
                    </a:lnTo>
                    <a:lnTo>
                      <a:pt x="3438" y="8861"/>
                    </a:lnTo>
                    <a:lnTo>
                      <a:pt x="3366" y="8968"/>
                    </a:lnTo>
                    <a:lnTo>
                      <a:pt x="3190" y="9106"/>
                    </a:lnTo>
                    <a:lnTo>
                      <a:pt x="3124" y="9154"/>
                    </a:lnTo>
                    <a:lnTo>
                      <a:pt x="3035" y="9158"/>
                    </a:lnTo>
                    <a:lnTo>
                      <a:pt x="2918" y="9192"/>
                    </a:lnTo>
                    <a:lnTo>
                      <a:pt x="2845" y="9171"/>
                    </a:lnTo>
                    <a:lnTo>
                      <a:pt x="2927" y="9113"/>
                    </a:lnTo>
                    <a:lnTo>
                      <a:pt x="3045" y="9085"/>
                    </a:lnTo>
                    <a:lnTo>
                      <a:pt x="3135" y="8999"/>
                    </a:lnTo>
                    <a:lnTo>
                      <a:pt x="3228" y="8957"/>
                    </a:lnTo>
                    <a:lnTo>
                      <a:pt x="3387" y="8806"/>
                    </a:lnTo>
                    <a:lnTo>
                      <a:pt x="3414" y="8713"/>
                    </a:lnTo>
                    <a:lnTo>
                      <a:pt x="3411" y="8592"/>
                    </a:lnTo>
                    <a:lnTo>
                      <a:pt x="3328" y="8578"/>
                    </a:lnTo>
                    <a:lnTo>
                      <a:pt x="3362" y="8507"/>
                    </a:lnTo>
                    <a:lnTo>
                      <a:pt x="3362" y="8413"/>
                    </a:lnTo>
                    <a:lnTo>
                      <a:pt x="3325" y="8327"/>
                    </a:lnTo>
                    <a:lnTo>
                      <a:pt x="3287" y="8072"/>
                    </a:lnTo>
                    <a:lnTo>
                      <a:pt x="3293" y="7907"/>
                    </a:lnTo>
                    <a:lnTo>
                      <a:pt x="3253" y="7703"/>
                    </a:lnTo>
                    <a:lnTo>
                      <a:pt x="3262" y="7642"/>
                    </a:lnTo>
                    <a:lnTo>
                      <a:pt x="3287" y="7565"/>
                    </a:lnTo>
                    <a:lnTo>
                      <a:pt x="3276" y="7513"/>
                    </a:lnTo>
                    <a:lnTo>
                      <a:pt x="3421" y="7586"/>
                    </a:lnTo>
                    <a:lnTo>
                      <a:pt x="3425" y="7510"/>
                    </a:lnTo>
                    <a:lnTo>
                      <a:pt x="3376" y="7317"/>
                    </a:lnTo>
                    <a:lnTo>
                      <a:pt x="3407" y="7128"/>
                    </a:lnTo>
                    <a:lnTo>
                      <a:pt x="3452" y="6969"/>
                    </a:lnTo>
                    <a:lnTo>
                      <a:pt x="3383" y="6889"/>
                    </a:lnTo>
                    <a:lnTo>
                      <a:pt x="3353" y="6814"/>
                    </a:lnTo>
                    <a:lnTo>
                      <a:pt x="3356" y="6690"/>
                    </a:lnTo>
                    <a:lnTo>
                      <a:pt x="3505" y="6762"/>
                    </a:lnTo>
                    <a:lnTo>
                      <a:pt x="3511" y="6735"/>
                    </a:lnTo>
                    <a:lnTo>
                      <a:pt x="3549" y="6711"/>
                    </a:lnTo>
                    <a:lnTo>
                      <a:pt x="3601" y="6631"/>
                    </a:lnTo>
                    <a:lnTo>
                      <a:pt x="3604" y="6604"/>
                    </a:lnTo>
                    <a:lnTo>
                      <a:pt x="3590" y="6579"/>
                    </a:lnTo>
                    <a:lnTo>
                      <a:pt x="3608" y="6439"/>
                    </a:lnTo>
                    <a:lnTo>
                      <a:pt x="3566" y="6345"/>
                    </a:lnTo>
                    <a:lnTo>
                      <a:pt x="3566" y="6273"/>
                    </a:lnTo>
                    <a:lnTo>
                      <a:pt x="3594" y="6356"/>
                    </a:lnTo>
                    <a:lnTo>
                      <a:pt x="3681" y="6414"/>
                    </a:lnTo>
                    <a:lnTo>
                      <a:pt x="3711" y="6404"/>
                    </a:lnTo>
                    <a:lnTo>
                      <a:pt x="3757" y="6318"/>
                    </a:lnTo>
                    <a:lnTo>
                      <a:pt x="3818" y="6349"/>
                    </a:lnTo>
                    <a:lnTo>
                      <a:pt x="3826" y="6280"/>
                    </a:lnTo>
                    <a:lnTo>
                      <a:pt x="3860" y="6232"/>
                    </a:lnTo>
                    <a:lnTo>
                      <a:pt x="3753" y="6191"/>
                    </a:lnTo>
                    <a:lnTo>
                      <a:pt x="3826" y="6194"/>
                    </a:lnTo>
                    <a:lnTo>
                      <a:pt x="3902" y="6138"/>
                    </a:lnTo>
                    <a:lnTo>
                      <a:pt x="3894" y="6100"/>
                    </a:lnTo>
                    <a:lnTo>
                      <a:pt x="3963" y="6062"/>
                    </a:lnTo>
                    <a:lnTo>
                      <a:pt x="3963" y="5980"/>
                    </a:lnTo>
                    <a:lnTo>
                      <a:pt x="4016" y="5959"/>
                    </a:lnTo>
                    <a:lnTo>
                      <a:pt x="4016" y="5855"/>
                    </a:lnTo>
                    <a:lnTo>
                      <a:pt x="4074" y="5846"/>
                    </a:lnTo>
                    <a:lnTo>
                      <a:pt x="4167" y="5855"/>
                    </a:lnTo>
                    <a:lnTo>
                      <a:pt x="4264" y="5773"/>
                    </a:lnTo>
                    <a:lnTo>
                      <a:pt x="4288" y="5681"/>
                    </a:lnTo>
                    <a:lnTo>
                      <a:pt x="4406" y="5577"/>
                    </a:lnTo>
                    <a:lnTo>
                      <a:pt x="4471" y="5632"/>
                    </a:lnTo>
                    <a:lnTo>
                      <a:pt x="4558" y="5563"/>
                    </a:lnTo>
                    <a:lnTo>
                      <a:pt x="4578" y="5483"/>
                    </a:lnTo>
                    <a:lnTo>
                      <a:pt x="4643" y="5425"/>
                    </a:lnTo>
                    <a:lnTo>
                      <a:pt x="4709" y="5442"/>
                    </a:lnTo>
                    <a:lnTo>
                      <a:pt x="4741" y="5401"/>
                    </a:lnTo>
                    <a:lnTo>
                      <a:pt x="4844" y="5336"/>
                    </a:lnTo>
                    <a:lnTo>
                      <a:pt x="4882" y="5260"/>
                    </a:lnTo>
                    <a:lnTo>
                      <a:pt x="4937" y="5229"/>
                    </a:lnTo>
                    <a:lnTo>
                      <a:pt x="4993" y="5091"/>
                    </a:lnTo>
                    <a:lnTo>
                      <a:pt x="5006" y="5012"/>
                    </a:lnTo>
                    <a:lnTo>
                      <a:pt x="5096" y="4898"/>
                    </a:lnTo>
                    <a:lnTo>
                      <a:pt x="5131" y="4787"/>
                    </a:lnTo>
                    <a:lnTo>
                      <a:pt x="5182" y="4687"/>
                    </a:lnTo>
                    <a:lnTo>
                      <a:pt x="5214" y="4640"/>
                    </a:lnTo>
                    <a:lnTo>
                      <a:pt x="5230" y="4684"/>
                    </a:lnTo>
                    <a:lnTo>
                      <a:pt x="5227" y="4763"/>
                    </a:lnTo>
                    <a:lnTo>
                      <a:pt x="5292" y="4649"/>
                    </a:lnTo>
                    <a:lnTo>
                      <a:pt x="5303" y="4612"/>
                    </a:lnTo>
                    <a:lnTo>
                      <a:pt x="5254" y="4574"/>
                    </a:lnTo>
                    <a:lnTo>
                      <a:pt x="5245" y="4529"/>
                    </a:lnTo>
                    <a:lnTo>
                      <a:pt x="5109" y="4419"/>
                    </a:lnTo>
                    <a:lnTo>
                      <a:pt x="5089" y="4368"/>
                    </a:lnTo>
                    <a:lnTo>
                      <a:pt x="5106" y="4350"/>
                    </a:lnTo>
                    <a:lnTo>
                      <a:pt x="5093" y="4295"/>
                    </a:lnTo>
                    <a:lnTo>
                      <a:pt x="5044" y="4253"/>
                    </a:lnTo>
                    <a:lnTo>
                      <a:pt x="5047" y="4226"/>
                    </a:lnTo>
                    <a:lnTo>
                      <a:pt x="5078" y="4188"/>
                    </a:lnTo>
                    <a:lnTo>
                      <a:pt x="5085" y="4136"/>
                    </a:lnTo>
                    <a:lnTo>
                      <a:pt x="5158" y="4098"/>
                    </a:lnTo>
                    <a:lnTo>
                      <a:pt x="5216" y="3902"/>
                    </a:lnTo>
                    <a:lnTo>
                      <a:pt x="5220" y="3851"/>
                    </a:lnTo>
                    <a:lnTo>
                      <a:pt x="5120" y="3719"/>
                    </a:lnTo>
                    <a:lnTo>
                      <a:pt x="5127" y="3699"/>
                    </a:lnTo>
                    <a:lnTo>
                      <a:pt x="5214" y="3637"/>
                    </a:lnTo>
                    <a:lnTo>
                      <a:pt x="5210" y="3578"/>
                    </a:lnTo>
                    <a:lnTo>
                      <a:pt x="5245" y="3564"/>
                    </a:lnTo>
                    <a:lnTo>
                      <a:pt x="5317" y="3588"/>
                    </a:lnTo>
                    <a:lnTo>
                      <a:pt x="5341" y="3578"/>
                    </a:lnTo>
                    <a:lnTo>
                      <a:pt x="5345" y="3523"/>
                    </a:lnTo>
                    <a:lnTo>
                      <a:pt x="5314" y="3492"/>
                    </a:lnTo>
                    <a:lnTo>
                      <a:pt x="5393" y="3475"/>
                    </a:lnTo>
                    <a:lnTo>
                      <a:pt x="5396" y="3434"/>
                    </a:lnTo>
                    <a:lnTo>
                      <a:pt x="5296" y="3319"/>
                    </a:lnTo>
                    <a:lnTo>
                      <a:pt x="5292" y="3292"/>
                    </a:lnTo>
                    <a:lnTo>
                      <a:pt x="5393" y="3347"/>
                    </a:lnTo>
                    <a:lnTo>
                      <a:pt x="5437" y="3406"/>
                    </a:lnTo>
                    <a:lnTo>
                      <a:pt x="5472" y="3403"/>
                    </a:lnTo>
                    <a:lnTo>
                      <a:pt x="5448" y="3278"/>
                    </a:lnTo>
                    <a:lnTo>
                      <a:pt x="5455" y="3296"/>
                    </a:lnTo>
                    <a:lnTo>
                      <a:pt x="5482" y="3274"/>
                    </a:lnTo>
                    <a:lnTo>
                      <a:pt x="5475" y="3116"/>
                    </a:lnTo>
                    <a:lnTo>
                      <a:pt x="5506" y="3106"/>
                    </a:lnTo>
                    <a:lnTo>
                      <a:pt x="5538" y="3102"/>
                    </a:lnTo>
                    <a:lnTo>
                      <a:pt x="5544" y="3144"/>
                    </a:lnTo>
                    <a:lnTo>
                      <a:pt x="5579" y="3178"/>
                    </a:lnTo>
                    <a:lnTo>
                      <a:pt x="5617" y="3192"/>
                    </a:lnTo>
                    <a:lnTo>
                      <a:pt x="5642" y="3085"/>
                    </a:lnTo>
                    <a:lnTo>
                      <a:pt x="5689" y="3113"/>
                    </a:lnTo>
                    <a:lnTo>
                      <a:pt x="5749" y="3185"/>
                    </a:lnTo>
                    <a:lnTo>
                      <a:pt x="5776" y="3182"/>
                    </a:lnTo>
                    <a:lnTo>
                      <a:pt x="5828" y="3216"/>
                    </a:lnTo>
                    <a:lnTo>
                      <a:pt x="5852" y="3120"/>
                    </a:lnTo>
                    <a:lnTo>
                      <a:pt x="6059" y="3085"/>
                    </a:lnTo>
                    <a:lnTo>
                      <a:pt x="6138" y="3120"/>
                    </a:lnTo>
                    <a:lnTo>
                      <a:pt x="6197" y="3171"/>
                    </a:lnTo>
                    <a:lnTo>
                      <a:pt x="6222" y="3109"/>
                    </a:lnTo>
                    <a:lnTo>
                      <a:pt x="6249" y="3085"/>
                    </a:lnTo>
                    <a:lnTo>
                      <a:pt x="6218" y="2993"/>
                    </a:lnTo>
                    <a:lnTo>
                      <a:pt x="6059" y="2757"/>
                    </a:lnTo>
                    <a:lnTo>
                      <a:pt x="6008" y="2610"/>
                    </a:lnTo>
                    <a:lnTo>
                      <a:pt x="6021" y="2478"/>
                    </a:lnTo>
                    <a:lnTo>
                      <a:pt x="6073" y="2369"/>
                    </a:lnTo>
                    <a:lnTo>
                      <a:pt x="6070" y="2300"/>
                    </a:lnTo>
                    <a:lnTo>
                      <a:pt x="6055" y="2206"/>
                    </a:lnTo>
                    <a:lnTo>
                      <a:pt x="5845" y="1899"/>
                    </a:lnTo>
                    <a:lnTo>
                      <a:pt x="5807" y="1783"/>
                    </a:lnTo>
                    <a:lnTo>
                      <a:pt x="5832" y="1634"/>
                    </a:lnTo>
                    <a:lnTo>
                      <a:pt x="5800" y="1531"/>
                    </a:lnTo>
                    <a:lnTo>
                      <a:pt x="5759" y="1486"/>
                    </a:lnTo>
                    <a:lnTo>
                      <a:pt x="5731" y="1386"/>
                    </a:lnTo>
                    <a:lnTo>
                      <a:pt x="5707" y="1241"/>
                    </a:lnTo>
                    <a:lnTo>
                      <a:pt x="5707" y="1134"/>
                    </a:lnTo>
                    <a:lnTo>
                      <a:pt x="5727" y="1041"/>
                    </a:lnTo>
                    <a:lnTo>
                      <a:pt x="5703" y="996"/>
                    </a:lnTo>
                    <a:lnTo>
                      <a:pt x="5410" y="638"/>
                    </a:lnTo>
                    <a:lnTo>
                      <a:pt x="5261" y="539"/>
                    </a:lnTo>
                    <a:lnTo>
                      <a:pt x="4999" y="490"/>
                    </a:lnTo>
                    <a:lnTo>
                      <a:pt x="4754" y="307"/>
                    </a:lnTo>
                    <a:lnTo>
                      <a:pt x="4429" y="31"/>
                    </a:lnTo>
                    <a:lnTo>
                      <a:pt x="4409" y="0"/>
                    </a:lnTo>
                    <a:lnTo>
                      <a:pt x="4391" y="4"/>
                    </a:lnTo>
                    <a:lnTo>
                      <a:pt x="4230" y="11"/>
                    </a:lnTo>
                    <a:lnTo>
                      <a:pt x="4192" y="31"/>
                    </a:lnTo>
                    <a:lnTo>
                      <a:pt x="4205" y="94"/>
                    </a:lnTo>
                    <a:lnTo>
                      <a:pt x="4243" y="125"/>
                    </a:lnTo>
                    <a:lnTo>
                      <a:pt x="4261" y="194"/>
                    </a:lnTo>
                    <a:lnTo>
                      <a:pt x="4250" y="256"/>
                    </a:lnTo>
                    <a:lnTo>
                      <a:pt x="4226" y="290"/>
                    </a:lnTo>
                    <a:lnTo>
                      <a:pt x="4208" y="394"/>
                    </a:lnTo>
                    <a:lnTo>
                      <a:pt x="4170" y="466"/>
                    </a:lnTo>
                    <a:lnTo>
                      <a:pt x="4184" y="535"/>
                    </a:lnTo>
                    <a:lnTo>
                      <a:pt x="4261" y="593"/>
                    </a:lnTo>
                    <a:lnTo>
                      <a:pt x="4219" y="649"/>
                    </a:lnTo>
                    <a:lnTo>
                      <a:pt x="4157" y="669"/>
                    </a:lnTo>
                    <a:lnTo>
                      <a:pt x="3833" y="586"/>
                    </a:lnTo>
                    <a:lnTo>
                      <a:pt x="3608" y="570"/>
                    </a:lnTo>
                    <a:lnTo>
                      <a:pt x="3543" y="583"/>
                    </a:lnTo>
                    <a:lnTo>
                      <a:pt x="3505" y="615"/>
                    </a:lnTo>
                    <a:lnTo>
                      <a:pt x="3473" y="680"/>
                    </a:lnTo>
                    <a:lnTo>
                      <a:pt x="3494" y="838"/>
                    </a:lnTo>
                    <a:lnTo>
                      <a:pt x="3483" y="903"/>
                    </a:lnTo>
                    <a:lnTo>
                      <a:pt x="3452" y="1048"/>
                    </a:lnTo>
                    <a:lnTo>
                      <a:pt x="3391" y="1163"/>
                    </a:lnTo>
                    <a:lnTo>
                      <a:pt x="3360" y="1152"/>
                    </a:lnTo>
                    <a:lnTo>
                      <a:pt x="3284" y="1069"/>
                    </a:lnTo>
                    <a:lnTo>
                      <a:pt x="3190" y="1028"/>
                    </a:lnTo>
                    <a:lnTo>
                      <a:pt x="3104" y="1048"/>
                    </a:lnTo>
                    <a:lnTo>
                      <a:pt x="2969" y="1186"/>
                    </a:lnTo>
                    <a:lnTo>
                      <a:pt x="2907" y="1262"/>
                    </a:lnTo>
                    <a:lnTo>
                      <a:pt x="2879" y="1379"/>
                    </a:lnTo>
                    <a:lnTo>
                      <a:pt x="2869" y="1469"/>
                    </a:lnTo>
                    <a:lnTo>
                      <a:pt x="2824" y="1545"/>
                    </a:lnTo>
                    <a:lnTo>
                      <a:pt x="2720" y="1665"/>
                    </a:lnTo>
                    <a:lnTo>
                      <a:pt x="2700" y="1761"/>
                    </a:lnTo>
                    <a:lnTo>
                      <a:pt x="2803" y="1921"/>
                    </a:lnTo>
                    <a:lnTo>
                      <a:pt x="2818" y="2013"/>
                    </a:lnTo>
                    <a:lnTo>
                      <a:pt x="2800" y="2072"/>
                    </a:lnTo>
                    <a:lnTo>
                      <a:pt x="2755" y="2162"/>
                    </a:lnTo>
                    <a:lnTo>
                      <a:pt x="2655" y="2262"/>
                    </a:lnTo>
                    <a:lnTo>
                      <a:pt x="2603" y="2365"/>
                    </a:lnTo>
                    <a:lnTo>
                      <a:pt x="2420" y="2585"/>
                    </a:lnTo>
                    <a:lnTo>
                      <a:pt x="2376" y="2706"/>
                    </a:lnTo>
                    <a:lnTo>
                      <a:pt x="2354" y="2855"/>
                    </a:lnTo>
                    <a:lnTo>
                      <a:pt x="2316" y="2947"/>
                    </a:lnTo>
                    <a:lnTo>
                      <a:pt x="2178" y="3047"/>
                    </a:lnTo>
                    <a:lnTo>
                      <a:pt x="2086" y="3047"/>
                    </a:lnTo>
                    <a:lnTo>
                      <a:pt x="2030" y="3082"/>
                    </a:lnTo>
                    <a:lnTo>
                      <a:pt x="2040" y="3189"/>
                    </a:lnTo>
                    <a:lnTo>
                      <a:pt x="2037" y="3354"/>
                    </a:lnTo>
                    <a:lnTo>
                      <a:pt x="2026" y="3575"/>
                    </a:lnTo>
                    <a:lnTo>
                      <a:pt x="1946" y="3967"/>
                    </a:lnTo>
                    <a:lnTo>
                      <a:pt x="1809" y="4253"/>
                    </a:lnTo>
                    <a:lnTo>
                      <a:pt x="1636" y="4505"/>
                    </a:lnTo>
                    <a:lnTo>
                      <a:pt x="1643" y="4584"/>
                    </a:lnTo>
                    <a:lnTo>
                      <a:pt x="1763" y="4712"/>
                    </a:lnTo>
                    <a:lnTo>
                      <a:pt x="1819" y="4801"/>
                    </a:lnTo>
                    <a:lnTo>
                      <a:pt x="1812" y="4967"/>
                    </a:lnTo>
                    <a:lnTo>
                      <a:pt x="1792" y="5060"/>
                    </a:lnTo>
                    <a:lnTo>
                      <a:pt x="1705" y="5160"/>
                    </a:lnTo>
                    <a:lnTo>
                      <a:pt x="1582" y="5153"/>
                    </a:lnTo>
                    <a:lnTo>
                      <a:pt x="1429" y="5115"/>
                    </a:lnTo>
                    <a:lnTo>
                      <a:pt x="1243" y="5160"/>
                    </a:lnTo>
                    <a:lnTo>
                      <a:pt x="1091" y="5246"/>
                    </a:lnTo>
                    <a:lnTo>
                      <a:pt x="866" y="5494"/>
                    </a:lnTo>
                    <a:lnTo>
                      <a:pt x="804" y="5625"/>
                    </a:lnTo>
                    <a:lnTo>
                      <a:pt x="759" y="5786"/>
                    </a:lnTo>
                    <a:lnTo>
                      <a:pt x="781" y="5935"/>
                    </a:lnTo>
                    <a:lnTo>
                      <a:pt x="832" y="6056"/>
                    </a:lnTo>
                    <a:lnTo>
                      <a:pt x="873" y="6104"/>
                    </a:lnTo>
                    <a:lnTo>
                      <a:pt x="815" y="6183"/>
                    </a:lnTo>
                    <a:lnTo>
                      <a:pt x="794" y="6290"/>
                    </a:lnTo>
                    <a:lnTo>
                      <a:pt x="763" y="6372"/>
                    </a:lnTo>
                    <a:lnTo>
                      <a:pt x="756" y="6539"/>
                    </a:lnTo>
                    <a:lnTo>
                      <a:pt x="721" y="6617"/>
                    </a:lnTo>
                    <a:lnTo>
                      <a:pt x="718" y="6721"/>
                    </a:lnTo>
                    <a:lnTo>
                      <a:pt x="746" y="6749"/>
                    </a:lnTo>
                    <a:lnTo>
                      <a:pt x="777" y="6883"/>
                    </a:lnTo>
                    <a:lnTo>
                      <a:pt x="748" y="7259"/>
                    </a:lnTo>
                    <a:lnTo>
                      <a:pt x="752" y="7444"/>
                    </a:lnTo>
                    <a:lnTo>
                      <a:pt x="828" y="7582"/>
                    </a:lnTo>
                    <a:lnTo>
                      <a:pt x="1018" y="7727"/>
                    </a:lnTo>
                    <a:lnTo>
                      <a:pt x="1038" y="7921"/>
                    </a:lnTo>
                    <a:lnTo>
                      <a:pt x="977" y="8086"/>
                    </a:lnTo>
                    <a:lnTo>
                      <a:pt x="873" y="8186"/>
                    </a:lnTo>
                    <a:lnTo>
                      <a:pt x="732" y="8237"/>
                    </a:lnTo>
                    <a:lnTo>
                      <a:pt x="701" y="8296"/>
                    </a:lnTo>
                    <a:lnTo>
                      <a:pt x="794" y="8420"/>
                    </a:lnTo>
                    <a:lnTo>
                      <a:pt x="863" y="8730"/>
                    </a:lnTo>
                    <a:lnTo>
                      <a:pt x="777" y="9006"/>
                    </a:lnTo>
                    <a:lnTo>
                      <a:pt x="819" y="9089"/>
                    </a:lnTo>
                    <a:lnTo>
                      <a:pt x="794" y="9233"/>
                    </a:lnTo>
                    <a:lnTo>
                      <a:pt x="732" y="9336"/>
                    </a:lnTo>
                    <a:lnTo>
                      <a:pt x="456" y="9430"/>
                    </a:lnTo>
                    <a:lnTo>
                      <a:pt x="449" y="9557"/>
                    </a:lnTo>
                    <a:lnTo>
                      <a:pt x="311" y="9764"/>
                    </a:lnTo>
                    <a:lnTo>
                      <a:pt x="317" y="9920"/>
                    </a:lnTo>
                    <a:lnTo>
                      <a:pt x="351" y="10043"/>
                    </a:lnTo>
                    <a:lnTo>
                      <a:pt x="252" y="10412"/>
                    </a:lnTo>
                    <a:lnTo>
                      <a:pt x="168" y="10464"/>
                    </a:lnTo>
                    <a:lnTo>
                      <a:pt x="130" y="10377"/>
                    </a:lnTo>
                    <a:lnTo>
                      <a:pt x="92" y="10508"/>
                    </a:lnTo>
                    <a:lnTo>
                      <a:pt x="103" y="10284"/>
                    </a:lnTo>
                    <a:lnTo>
                      <a:pt x="83" y="10243"/>
                    </a:lnTo>
                    <a:close/>
                    <a:moveTo>
                      <a:pt x="2986" y="13276"/>
                    </a:moveTo>
                    <a:lnTo>
                      <a:pt x="3070" y="13176"/>
                    </a:lnTo>
                    <a:lnTo>
                      <a:pt x="3114" y="13049"/>
                    </a:lnTo>
                    <a:lnTo>
                      <a:pt x="3148" y="12862"/>
                    </a:lnTo>
                    <a:lnTo>
                      <a:pt x="3259" y="12525"/>
                    </a:lnTo>
                    <a:lnTo>
                      <a:pt x="3328" y="12197"/>
                    </a:lnTo>
                    <a:lnTo>
                      <a:pt x="3360" y="12145"/>
                    </a:lnTo>
                    <a:lnTo>
                      <a:pt x="3362" y="12104"/>
                    </a:lnTo>
                    <a:lnTo>
                      <a:pt x="3314" y="12156"/>
                    </a:lnTo>
                    <a:lnTo>
                      <a:pt x="3276" y="12231"/>
                    </a:lnTo>
                    <a:lnTo>
                      <a:pt x="3183" y="12579"/>
                    </a:lnTo>
                    <a:lnTo>
                      <a:pt x="3124" y="12666"/>
                    </a:lnTo>
                    <a:lnTo>
                      <a:pt x="3038" y="12866"/>
                    </a:lnTo>
                    <a:lnTo>
                      <a:pt x="3007" y="13020"/>
                    </a:lnTo>
                    <a:lnTo>
                      <a:pt x="2986" y="13276"/>
                    </a:lnTo>
                    <a:close/>
                    <a:moveTo>
                      <a:pt x="4022" y="12521"/>
                    </a:moveTo>
                    <a:lnTo>
                      <a:pt x="4091" y="12472"/>
                    </a:lnTo>
                    <a:lnTo>
                      <a:pt x="4177" y="12304"/>
                    </a:lnTo>
                    <a:lnTo>
                      <a:pt x="4329" y="12145"/>
                    </a:lnTo>
                    <a:lnTo>
                      <a:pt x="4329" y="12104"/>
                    </a:lnTo>
                    <a:lnTo>
                      <a:pt x="4440" y="12008"/>
                    </a:lnTo>
                    <a:lnTo>
                      <a:pt x="4409" y="11915"/>
                    </a:lnTo>
                    <a:lnTo>
                      <a:pt x="4388" y="11697"/>
                    </a:lnTo>
                    <a:lnTo>
                      <a:pt x="4413" y="11652"/>
                    </a:lnTo>
                    <a:lnTo>
                      <a:pt x="4475" y="11611"/>
                    </a:lnTo>
                    <a:lnTo>
                      <a:pt x="4475" y="11487"/>
                    </a:lnTo>
                    <a:lnTo>
                      <a:pt x="4416" y="11467"/>
                    </a:lnTo>
                    <a:lnTo>
                      <a:pt x="4353" y="11529"/>
                    </a:lnTo>
                    <a:lnTo>
                      <a:pt x="4270" y="11498"/>
                    </a:lnTo>
                    <a:lnTo>
                      <a:pt x="4070" y="11752"/>
                    </a:lnTo>
                    <a:lnTo>
                      <a:pt x="4018" y="11870"/>
                    </a:lnTo>
                    <a:lnTo>
                      <a:pt x="4005" y="11977"/>
                    </a:lnTo>
                    <a:lnTo>
                      <a:pt x="4016" y="12066"/>
                    </a:lnTo>
                    <a:lnTo>
                      <a:pt x="3994" y="12166"/>
                    </a:lnTo>
                    <a:lnTo>
                      <a:pt x="3998" y="12235"/>
                    </a:lnTo>
                    <a:lnTo>
                      <a:pt x="4032" y="12283"/>
                    </a:lnTo>
                    <a:lnTo>
                      <a:pt x="4029" y="12369"/>
                    </a:lnTo>
                    <a:lnTo>
                      <a:pt x="4088" y="12359"/>
                    </a:lnTo>
                    <a:lnTo>
                      <a:pt x="4078" y="12425"/>
                    </a:lnTo>
                    <a:lnTo>
                      <a:pt x="4022" y="12521"/>
                    </a:lnTo>
                    <a:close/>
                  </a:path>
                </a:pathLst>
              </a:custGeom>
              <a:solidFill>
                <a:srgbClr val="A8D2E0"/>
              </a:solidFill>
              <a:ln w="6350">
                <a:solidFill>
                  <a:srgbClr val="FFFFFF"/>
                </a:solidFill>
              </a:ln>
            </p:spPr>
            <p:txBody>
              <a:bodyPr vert="eaVert" wrap="none" anchor="ctr"/>
              <a:lstStyle/>
              <a:p>
                <a:pPr defTabSz="858500" eaLnBrk="1" fontAlgn="auto" hangingPunct="1">
                  <a:lnSpc>
                    <a:spcPct val="100000"/>
                  </a:lnSpc>
                  <a:spcBef>
                    <a:spcPts val="0"/>
                  </a:spcBef>
                  <a:spcAft>
                    <a:spcPts val="0"/>
                  </a:spcAft>
                  <a:buClrTx/>
                  <a:buSzTx/>
                  <a:defRPr/>
                </a:pPr>
                <a:endParaRPr lang="en-GB" sz="600" b="1" dirty="0">
                  <a:latin typeface="+mn-lt"/>
                </a:endParaRPr>
              </a:p>
            </p:txBody>
          </p:sp>
        </p:grpSp>
        <p:grpSp>
          <p:nvGrpSpPr>
            <p:cNvPr id="94" name="Group 93"/>
            <p:cNvGrpSpPr/>
            <p:nvPr/>
          </p:nvGrpSpPr>
          <p:grpSpPr>
            <a:xfrm>
              <a:off x="924267" y="3680520"/>
              <a:ext cx="719759" cy="646760"/>
              <a:chOff x="6823521" y="2555937"/>
              <a:chExt cx="719759" cy="646760"/>
            </a:xfrm>
            <a:solidFill>
              <a:srgbClr val="A8D2E0"/>
            </a:solidFill>
          </p:grpSpPr>
          <p:pic>
            <p:nvPicPr>
              <p:cNvPr id="95" name="Norway_NO"/>
              <p:cNvPicPr>
                <a:picLocks noChangeAspect="1"/>
              </p:cNvPicPr>
              <p:nvPr>
                <p:custDataLst>
                  <p:tags r:id="rId8"/>
                </p:custDataLst>
              </p:nvPr>
            </p:nvPicPr>
            <p:blipFill>
              <a:blip r:embed="rId16" cstate="print">
                <a:extLst>
                  <a:ext uri="{28A0092B-C50C-407E-A947-70E740481C1C}">
                    <a14:useLocalDpi xmlns:a14="http://schemas.microsoft.com/office/drawing/2010/main" val="0"/>
                  </a:ext>
                </a:extLst>
              </a:blip>
              <a:stretch>
                <a:fillRect/>
              </a:stretch>
            </p:blipFill>
            <p:spPr>
              <a:xfrm>
                <a:off x="7000720" y="2555937"/>
                <a:ext cx="457200" cy="457200"/>
              </a:xfrm>
              <a:prstGeom prst="rect">
                <a:avLst/>
              </a:prstGeom>
              <a:noFill/>
            </p:spPr>
          </p:pic>
          <p:sp>
            <p:nvSpPr>
              <p:cNvPr id="96" name="TextBox 95"/>
              <p:cNvSpPr txBox="1"/>
              <p:nvPr/>
            </p:nvSpPr>
            <p:spPr>
              <a:xfrm>
                <a:off x="6823521" y="2987253"/>
                <a:ext cx="719759" cy="215444"/>
              </a:xfrm>
              <a:prstGeom prst="rect">
                <a:avLst/>
              </a:prstGeom>
              <a:noFill/>
            </p:spPr>
            <p:txBody>
              <a:bodyPr wrap="square" lIns="0" tIns="0" rIns="0" bIns="0" rtlCol="0">
                <a:spAutoFit/>
              </a:bodyPr>
              <a:lstStyle/>
              <a:p>
                <a:pPr algn="ctr"/>
                <a:r>
                  <a:rPr lang="nb-NO" sz="1400" b="1" dirty="0" smtClean="0">
                    <a:solidFill>
                      <a:srgbClr val="003755"/>
                    </a:solidFill>
                  </a:rPr>
                  <a:t>50</a:t>
                </a:r>
                <a:endParaRPr lang="en-GB" sz="1400" b="1" dirty="0" smtClean="0">
                  <a:solidFill>
                    <a:srgbClr val="003755"/>
                  </a:solidFill>
                </a:endParaRPr>
              </a:p>
            </p:txBody>
          </p:sp>
        </p:grpSp>
        <p:grpSp>
          <p:nvGrpSpPr>
            <p:cNvPr id="97" name="Group 96"/>
            <p:cNvGrpSpPr/>
            <p:nvPr/>
          </p:nvGrpSpPr>
          <p:grpSpPr>
            <a:xfrm>
              <a:off x="1874313" y="4744709"/>
              <a:ext cx="719759" cy="651400"/>
              <a:chOff x="7685088" y="2896906"/>
              <a:chExt cx="719759" cy="651400"/>
            </a:xfrm>
            <a:solidFill>
              <a:srgbClr val="A8D2E0"/>
            </a:solidFill>
          </p:grpSpPr>
          <p:pic>
            <p:nvPicPr>
              <p:cNvPr id="98" name="Sweden_SE"/>
              <p:cNvPicPr>
                <a:picLocks noChangeAspect="1"/>
              </p:cNvPicPr>
              <p:nvPr>
                <p:custDataLst>
                  <p:tags r:id="rId7"/>
                </p:custDataLst>
              </p:nvPr>
            </p:nvPicPr>
            <p:blipFill>
              <a:blip r:embed="rId17" cstate="print">
                <a:extLst>
                  <a:ext uri="{28A0092B-C50C-407E-A947-70E740481C1C}">
                    <a14:useLocalDpi xmlns:a14="http://schemas.microsoft.com/office/drawing/2010/main" val="0"/>
                  </a:ext>
                </a:extLst>
              </a:blip>
              <a:stretch>
                <a:fillRect/>
              </a:stretch>
            </p:blipFill>
            <p:spPr>
              <a:xfrm>
                <a:off x="7861827" y="2896906"/>
                <a:ext cx="457200" cy="457200"/>
              </a:xfrm>
              <a:prstGeom prst="rect">
                <a:avLst/>
              </a:prstGeom>
              <a:noFill/>
            </p:spPr>
          </p:pic>
          <p:sp>
            <p:nvSpPr>
              <p:cNvPr id="99" name="TextBox 98"/>
              <p:cNvSpPr txBox="1"/>
              <p:nvPr/>
            </p:nvSpPr>
            <p:spPr>
              <a:xfrm>
                <a:off x="7685088" y="3332862"/>
                <a:ext cx="719759" cy="215444"/>
              </a:xfrm>
              <a:prstGeom prst="rect">
                <a:avLst/>
              </a:prstGeom>
              <a:noFill/>
            </p:spPr>
            <p:txBody>
              <a:bodyPr wrap="square" lIns="0" tIns="0" rIns="0" bIns="0" rtlCol="0">
                <a:spAutoFit/>
              </a:bodyPr>
              <a:lstStyle/>
              <a:p>
                <a:pPr algn="ctr"/>
                <a:r>
                  <a:rPr lang="nb-NO" sz="1400" b="1" dirty="0" smtClean="0">
                    <a:solidFill>
                      <a:srgbClr val="003755"/>
                    </a:solidFill>
                  </a:rPr>
                  <a:t>91</a:t>
                </a:r>
                <a:endParaRPr lang="en-GB" sz="1400" b="1" dirty="0" smtClean="0">
                  <a:solidFill>
                    <a:srgbClr val="003755"/>
                  </a:solidFill>
                </a:endParaRPr>
              </a:p>
            </p:txBody>
          </p:sp>
        </p:grpSp>
        <p:grpSp>
          <p:nvGrpSpPr>
            <p:cNvPr id="100" name="Group 99"/>
            <p:cNvGrpSpPr/>
            <p:nvPr/>
          </p:nvGrpSpPr>
          <p:grpSpPr>
            <a:xfrm>
              <a:off x="3769974" y="3338714"/>
              <a:ext cx="764576" cy="664202"/>
              <a:chOff x="7968243" y="2650171"/>
              <a:chExt cx="719759" cy="601622"/>
            </a:xfrm>
            <a:solidFill>
              <a:srgbClr val="A8D2E0"/>
            </a:solidFill>
          </p:grpSpPr>
          <p:pic>
            <p:nvPicPr>
              <p:cNvPr id="101" name="Finland_FI"/>
              <p:cNvPicPr>
                <a:picLocks noChangeAspect="1"/>
              </p:cNvPicPr>
              <p:nvPr>
                <p:custDataLst>
                  <p:tags r:id="rId6"/>
                </p:custDataLst>
              </p:nvPr>
            </p:nvPicPr>
            <p:blipFill>
              <a:blip r:embed="rId18" cstate="print">
                <a:extLst>
                  <a:ext uri="{28A0092B-C50C-407E-A947-70E740481C1C}">
                    <a14:useLocalDpi xmlns:a14="http://schemas.microsoft.com/office/drawing/2010/main" val="0"/>
                  </a:ext>
                </a:extLst>
              </a:blip>
              <a:stretch>
                <a:fillRect/>
              </a:stretch>
            </p:blipFill>
            <p:spPr>
              <a:xfrm>
                <a:off x="8159986" y="2650171"/>
                <a:ext cx="414124" cy="414123"/>
              </a:xfrm>
              <a:prstGeom prst="rect">
                <a:avLst/>
              </a:prstGeom>
              <a:noFill/>
            </p:spPr>
          </p:pic>
          <p:sp>
            <p:nvSpPr>
              <p:cNvPr id="102" name="TextBox 101"/>
              <p:cNvSpPr txBox="1"/>
              <p:nvPr/>
            </p:nvSpPr>
            <p:spPr>
              <a:xfrm>
                <a:off x="7968243" y="3056648"/>
                <a:ext cx="719759" cy="195145"/>
              </a:xfrm>
              <a:prstGeom prst="rect">
                <a:avLst/>
              </a:prstGeom>
              <a:noFill/>
            </p:spPr>
            <p:txBody>
              <a:bodyPr wrap="square" lIns="0" tIns="0" rIns="0" bIns="0" rtlCol="0">
                <a:spAutoFit/>
              </a:bodyPr>
              <a:lstStyle/>
              <a:p>
                <a:pPr algn="ctr"/>
                <a:r>
                  <a:rPr lang="nb-NO" sz="1400" b="1" dirty="0" smtClean="0">
                    <a:solidFill>
                      <a:srgbClr val="003755"/>
                    </a:solidFill>
                  </a:rPr>
                  <a:t>20</a:t>
                </a:r>
                <a:endParaRPr lang="en-GB" sz="1400" b="1" dirty="0" smtClean="0">
                  <a:solidFill>
                    <a:srgbClr val="003755"/>
                  </a:solidFill>
                </a:endParaRPr>
              </a:p>
            </p:txBody>
          </p:sp>
        </p:grpSp>
        <p:grpSp>
          <p:nvGrpSpPr>
            <p:cNvPr id="115" name="Group 114"/>
            <p:cNvGrpSpPr/>
            <p:nvPr/>
          </p:nvGrpSpPr>
          <p:grpSpPr>
            <a:xfrm>
              <a:off x="751019" y="5505127"/>
              <a:ext cx="719759" cy="664909"/>
              <a:chOff x="6874035" y="3555766"/>
              <a:chExt cx="719759" cy="664909"/>
            </a:xfrm>
            <a:solidFill>
              <a:srgbClr val="A8D2E0"/>
            </a:solidFill>
          </p:grpSpPr>
          <p:sp>
            <p:nvSpPr>
              <p:cNvPr id="117" name="TextBox 116"/>
              <p:cNvSpPr txBox="1"/>
              <p:nvPr/>
            </p:nvSpPr>
            <p:spPr>
              <a:xfrm>
                <a:off x="6874035" y="4005231"/>
                <a:ext cx="719759" cy="215444"/>
              </a:xfrm>
              <a:prstGeom prst="rect">
                <a:avLst/>
              </a:prstGeom>
              <a:noFill/>
            </p:spPr>
            <p:txBody>
              <a:bodyPr wrap="square" lIns="0" tIns="0" rIns="0" bIns="0" rtlCol="0">
                <a:spAutoFit/>
              </a:bodyPr>
              <a:lstStyle/>
              <a:p>
                <a:pPr algn="ctr"/>
                <a:r>
                  <a:rPr lang="nb-NO" sz="1400" b="1" dirty="0" smtClean="0">
                    <a:solidFill>
                      <a:srgbClr val="003755"/>
                    </a:solidFill>
                  </a:rPr>
                  <a:t>35</a:t>
                </a:r>
                <a:endParaRPr lang="en-GB" sz="1400" b="1" dirty="0" smtClean="0">
                  <a:solidFill>
                    <a:srgbClr val="003755"/>
                  </a:solidFill>
                </a:endParaRPr>
              </a:p>
            </p:txBody>
          </p:sp>
          <p:pic>
            <p:nvPicPr>
              <p:cNvPr id="116" name="Denmark_DK"/>
              <p:cNvPicPr>
                <a:picLocks noChangeAspect="1"/>
              </p:cNvPicPr>
              <p:nvPr>
                <p:custDataLst>
                  <p:tags r:id="rId5"/>
                </p:custDataLst>
              </p:nvPr>
            </p:nvPicPr>
            <p:blipFill>
              <a:blip r:embed="rId19" cstate="print">
                <a:extLst>
                  <a:ext uri="{28A0092B-C50C-407E-A947-70E740481C1C}">
                    <a14:useLocalDpi xmlns:a14="http://schemas.microsoft.com/office/drawing/2010/main" val="0"/>
                  </a:ext>
                </a:extLst>
              </a:blip>
              <a:stretch>
                <a:fillRect/>
              </a:stretch>
            </p:blipFill>
            <p:spPr>
              <a:xfrm>
                <a:off x="7052356" y="3555766"/>
                <a:ext cx="457200" cy="457200"/>
              </a:xfrm>
              <a:prstGeom prst="rect">
                <a:avLst/>
              </a:prstGeom>
              <a:noFill/>
            </p:spPr>
          </p:pic>
        </p:grpSp>
      </p:grpSp>
      <p:sp>
        <p:nvSpPr>
          <p:cNvPr id="20" name="Title 19"/>
          <p:cNvSpPr>
            <a:spLocks noGrp="1"/>
          </p:cNvSpPr>
          <p:nvPr>
            <p:ph type="title"/>
          </p:nvPr>
        </p:nvSpPr>
        <p:spPr/>
        <p:txBody>
          <a:bodyPr/>
          <a:lstStyle/>
          <a:p>
            <a:r>
              <a:rPr lang="en-US" dirty="0" smtClean="0"/>
              <a:t>Top 10 and engagement </a:t>
            </a:r>
            <a:r>
              <a:rPr lang="en-US" dirty="0"/>
              <a:t>interactions across Nordic </a:t>
            </a:r>
            <a:r>
              <a:rPr lang="en-US" dirty="0" smtClean="0"/>
              <a:t>countries</a:t>
            </a:r>
            <a:endParaRPr lang="en-GB" dirty="0"/>
          </a:p>
        </p:txBody>
      </p:sp>
      <p:grpSp>
        <p:nvGrpSpPr>
          <p:cNvPr id="33" name="Group 32"/>
          <p:cNvGrpSpPr/>
          <p:nvPr/>
        </p:nvGrpSpPr>
        <p:grpSpPr>
          <a:xfrm>
            <a:off x="429768" y="192024"/>
            <a:ext cx="3010402" cy="420262"/>
            <a:chOff x="422044" y="2246444"/>
            <a:chExt cx="3010402" cy="420262"/>
          </a:xfrm>
        </p:grpSpPr>
        <p:grpSp>
          <p:nvGrpSpPr>
            <p:cNvPr id="34" name="Group 33"/>
            <p:cNvGrpSpPr>
              <a:grpSpLocks noChangeAspect="1"/>
            </p:cNvGrpSpPr>
            <p:nvPr/>
          </p:nvGrpSpPr>
          <p:grpSpPr>
            <a:xfrm>
              <a:off x="422044" y="2246444"/>
              <a:ext cx="3010402" cy="420262"/>
              <a:chOff x="487321" y="5086833"/>
              <a:chExt cx="7651443" cy="1004907"/>
            </a:xfrm>
          </p:grpSpPr>
          <p:sp>
            <p:nvSpPr>
              <p:cNvPr id="36" name="Rectangle 35"/>
              <p:cNvSpPr/>
              <p:nvPr/>
            </p:nvSpPr>
            <p:spPr>
              <a:xfrm>
                <a:off x="487321" y="5086833"/>
                <a:ext cx="7651443" cy="1004907"/>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37" name="Oval 36"/>
              <p:cNvSpPr/>
              <p:nvPr/>
            </p:nvSpPr>
            <p:spPr>
              <a:xfrm>
                <a:off x="524978" y="5256069"/>
                <a:ext cx="666433" cy="666433"/>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chemeClr val="tx1"/>
                  </a:solidFill>
                </a:endParaRPr>
              </a:p>
            </p:txBody>
          </p:sp>
          <p:sp>
            <p:nvSpPr>
              <p:cNvPr id="38" name="TextBox 37"/>
              <p:cNvSpPr txBox="1"/>
              <p:nvPr/>
            </p:nvSpPr>
            <p:spPr>
              <a:xfrm>
                <a:off x="1538667" y="5409286"/>
                <a:ext cx="2873981" cy="367968"/>
              </a:xfrm>
              <a:prstGeom prst="rect">
                <a:avLst/>
              </a:prstGeom>
              <a:noFill/>
            </p:spPr>
            <p:txBody>
              <a:bodyPr wrap="square" lIns="0" tIns="0" rIns="0" bIns="0" rtlCol="0">
                <a:spAutoFit/>
              </a:bodyPr>
              <a:lstStyle/>
              <a:p>
                <a:r>
                  <a:rPr lang="en-US" sz="1000" b="1" dirty="0">
                    <a:solidFill>
                      <a:srgbClr val="003755"/>
                    </a:solidFill>
                  </a:rPr>
                  <a:t>Interactions</a:t>
                </a:r>
              </a:p>
            </p:txBody>
          </p:sp>
          <p:sp>
            <p:nvSpPr>
              <p:cNvPr id="39" name="Advisory service"/>
              <p:cNvSpPr>
                <a:spLocks noChangeAspect="1"/>
              </p:cNvSpPr>
              <p:nvPr>
                <p:custDataLst>
                  <p:tags r:id="rId3"/>
                </p:custDataLst>
              </p:nvPr>
            </p:nvSpPr>
            <p:spPr bwMode="auto">
              <a:xfrm>
                <a:off x="617072" y="5409286"/>
                <a:ext cx="486420" cy="360000"/>
              </a:xfrm>
              <a:custGeom>
                <a:avLst/>
                <a:gdLst>
                  <a:gd name="connsiteX0" fmla="*/ 395288 w 1282700"/>
                  <a:gd name="connsiteY0" fmla="*/ 706437 h 949325"/>
                  <a:gd name="connsiteX1" fmla="*/ 434976 w 1282700"/>
                  <a:gd name="connsiteY1" fmla="*/ 746125 h 949325"/>
                  <a:gd name="connsiteX2" fmla="*/ 395288 w 1282700"/>
                  <a:gd name="connsiteY2" fmla="*/ 785813 h 949325"/>
                  <a:gd name="connsiteX3" fmla="*/ 355600 w 1282700"/>
                  <a:gd name="connsiteY3" fmla="*/ 746125 h 949325"/>
                  <a:gd name="connsiteX4" fmla="*/ 395288 w 1282700"/>
                  <a:gd name="connsiteY4" fmla="*/ 706437 h 949325"/>
                  <a:gd name="connsiteX5" fmla="*/ 395288 w 1282700"/>
                  <a:gd name="connsiteY5" fmla="*/ 606425 h 949325"/>
                  <a:gd name="connsiteX6" fmla="*/ 434976 w 1282700"/>
                  <a:gd name="connsiteY6" fmla="*/ 644525 h 949325"/>
                  <a:gd name="connsiteX7" fmla="*/ 395288 w 1282700"/>
                  <a:gd name="connsiteY7" fmla="*/ 682625 h 949325"/>
                  <a:gd name="connsiteX8" fmla="*/ 355600 w 1282700"/>
                  <a:gd name="connsiteY8" fmla="*/ 644525 h 949325"/>
                  <a:gd name="connsiteX9" fmla="*/ 395288 w 1282700"/>
                  <a:gd name="connsiteY9" fmla="*/ 606425 h 949325"/>
                  <a:gd name="connsiteX10" fmla="*/ 395288 w 1282700"/>
                  <a:gd name="connsiteY10" fmla="*/ 508000 h 949325"/>
                  <a:gd name="connsiteX11" fmla="*/ 434976 w 1282700"/>
                  <a:gd name="connsiteY11" fmla="*/ 546100 h 949325"/>
                  <a:gd name="connsiteX12" fmla="*/ 395288 w 1282700"/>
                  <a:gd name="connsiteY12" fmla="*/ 584200 h 949325"/>
                  <a:gd name="connsiteX13" fmla="*/ 355600 w 1282700"/>
                  <a:gd name="connsiteY13" fmla="*/ 546100 h 949325"/>
                  <a:gd name="connsiteX14" fmla="*/ 395288 w 1282700"/>
                  <a:gd name="connsiteY14" fmla="*/ 508000 h 949325"/>
                  <a:gd name="connsiteX15" fmla="*/ 865676 w 1282700"/>
                  <a:gd name="connsiteY15" fmla="*/ 496887 h 949325"/>
                  <a:gd name="connsiteX16" fmla="*/ 695325 w 1282700"/>
                  <a:gd name="connsiteY16" fmla="*/ 534787 h 949325"/>
                  <a:gd name="connsiteX17" fmla="*/ 596900 w 1282700"/>
                  <a:gd name="connsiteY17" fmla="*/ 656066 h 949325"/>
                  <a:gd name="connsiteX18" fmla="*/ 596900 w 1282700"/>
                  <a:gd name="connsiteY18" fmla="*/ 917574 h 949325"/>
                  <a:gd name="connsiteX19" fmla="*/ 687754 w 1282700"/>
                  <a:gd name="connsiteY19" fmla="*/ 917574 h 949325"/>
                  <a:gd name="connsiteX20" fmla="*/ 687754 w 1282700"/>
                  <a:gd name="connsiteY20" fmla="*/ 735655 h 949325"/>
                  <a:gd name="connsiteX21" fmla="*/ 702896 w 1282700"/>
                  <a:gd name="connsiteY21" fmla="*/ 720495 h 949325"/>
                  <a:gd name="connsiteX22" fmla="*/ 718039 w 1282700"/>
                  <a:gd name="connsiteY22" fmla="*/ 735655 h 949325"/>
                  <a:gd name="connsiteX23" fmla="*/ 718039 w 1282700"/>
                  <a:gd name="connsiteY23" fmla="*/ 917574 h 949325"/>
                  <a:gd name="connsiteX24" fmla="*/ 1017100 w 1282700"/>
                  <a:gd name="connsiteY24" fmla="*/ 917574 h 949325"/>
                  <a:gd name="connsiteX25" fmla="*/ 1017100 w 1282700"/>
                  <a:gd name="connsiteY25" fmla="*/ 735655 h 949325"/>
                  <a:gd name="connsiteX26" fmla="*/ 1032242 w 1282700"/>
                  <a:gd name="connsiteY26" fmla="*/ 720495 h 949325"/>
                  <a:gd name="connsiteX27" fmla="*/ 1047384 w 1282700"/>
                  <a:gd name="connsiteY27" fmla="*/ 735655 h 949325"/>
                  <a:gd name="connsiteX28" fmla="*/ 1047384 w 1282700"/>
                  <a:gd name="connsiteY28" fmla="*/ 917574 h 949325"/>
                  <a:gd name="connsiteX29" fmla="*/ 1138238 w 1282700"/>
                  <a:gd name="connsiteY29" fmla="*/ 917574 h 949325"/>
                  <a:gd name="connsiteX30" fmla="*/ 1138238 w 1282700"/>
                  <a:gd name="connsiteY30" fmla="*/ 659856 h 949325"/>
                  <a:gd name="connsiteX31" fmla="*/ 1039813 w 1282700"/>
                  <a:gd name="connsiteY31" fmla="*/ 534787 h 949325"/>
                  <a:gd name="connsiteX32" fmla="*/ 865676 w 1282700"/>
                  <a:gd name="connsiteY32" fmla="*/ 496887 h 949325"/>
                  <a:gd name="connsiteX33" fmla="*/ 248807 w 1282700"/>
                  <a:gd name="connsiteY33" fmla="*/ 428625 h 949325"/>
                  <a:gd name="connsiteX34" fmla="*/ 210933 w 1282700"/>
                  <a:gd name="connsiteY34" fmla="*/ 447599 h 949325"/>
                  <a:gd name="connsiteX35" fmla="*/ 123825 w 1282700"/>
                  <a:gd name="connsiteY35" fmla="*/ 565241 h 949325"/>
                  <a:gd name="connsiteX36" fmla="*/ 123825 w 1282700"/>
                  <a:gd name="connsiteY36" fmla="*/ 827087 h 949325"/>
                  <a:gd name="connsiteX37" fmla="*/ 214721 w 1282700"/>
                  <a:gd name="connsiteY37" fmla="*/ 827087 h 949325"/>
                  <a:gd name="connsiteX38" fmla="*/ 214721 w 1282700"/>
                  <a:gd name="connsiteY38" fmla="*/ 641138 h 949325"/>
                  <a:gd name="connsiteX39" fmla="*/ 229870 w 1282700"/>
                  <a:gd name="connsiteY39" fmla="*/ 625959 h 949325"/>
                  <a:gd name="connsiteX40" fmla="*/ 245019 w 1282700"/>
                  <a:gd name="connsiteY40" fmla="*/ 641138 h 949325"/>
                  <a:gd name="connsiteX41" fmla="*/ 245019 w 1282700"/>
                  <a:gd name="connsiteY41" fmla="*/ 827087 h 949325"/>
                  <a:gd name="connsiteX42" fmla="*/ 566942 w 1282700"/>
                  <a:gd name="connsiteY42" fmla="*/ 827087 h 949325"/>
                  <a:gd name="connsiteX43" fmla="*/ 566942 w 1282700"/>
                  <a:gd name="connsiteY43" fmla="*/ 656318 h 949325"/>
                  <a:gd name="connsiteX44" fmla="*/ 654050 w 1282700"/>
                  <a:gd name="connsiteY44" fmla="*/ 523497 h 949325"/>
                  <a:gd name="connsiteX45" fmla="*/ 578304 w 1282700"/>
                  <a:gd name="connsiteY45" fmla="*/ 447599 h 949325"/>
                  <a:gd name="connsiteX46" fmla="*/ 540430 w 1282700"/>
                  <a:gd name="connsiteY46" fmla="*/ 428625 h 949325"/>
                  <a:gd name="connsiteX47" fmla="*/ 248807 w 1282700"/>
                  <a:gd name="connsiteY47" fmla="*/ 428625 h 949325"/>
                  <a:gd name="connsiteX48" fmla="*/ 725488 w 1282700"/>
                  <a:gd name="connsiteY48" fmla="*/ 368300 h 949325"/>
                  <a:gd name="connsiteX49" fmla="*/ 865982 w 1282700"/>
                  <a:gd name="connsiteY49" fmla="*/ 466725 h 949325"/>
                  <a:gd name="connsiteX50" fmla="*/ 1006476 w 1282700"/>
                  <a:gd name="connsiteY50" fmla="*/ 368300 h 949325"/>
                  <a:gd name="connsiteX51" fmla="*/ 865982 w 1282700"/>
                  <a:gd name="connsiteY51" fmla="*/ 425084 h 949325"/>
                  <a:gd name="connsiteX52" fmla="*/ 725488 w 1282700"/>
                  <a:gd name="connsiteY52" fmla="*/ 368300 h 949325"/>
                  <a:gd name="connsiteX53" fmla="*/ 866485 w 1282700"/>
                  <a:gd name="connsiteY53" fmla="*/ 136525 h 949325"/>
                  <a:gd name="connsiteX54" fmla="*/ 1048106 w 1282700"/>
                  <a:gd name="connsiteY54" fmla="*/ 315037 h 949325"/>
                  <a:gd name="connsiteX55" fmla="*/ 953512 w 1282700"/>
                  <a:gd name="connsiteY55" fmla="*/ 474559 h 949325"/>
                  <a:gd name="connsiteX56" fmla="*/ 1055674 w 1282700"/>
                  <a:gd name="connsiteY56" fmla="*/ 508742 h 949325"/>
                  <a:gd name="connsiteX57" fmla="*/ 1169187 w 1282700"/>
                  <a:gd name="connsiteY57" fmla="*/ 660667 h 949325"/>
                  <a:gd name="connsiteX58" fmla="*/ 1169187 w 1282700"/>
                  <a:gd name="connsiteY58" fmla="*/ 827785 h 949325"/>
                  <a:gd name="connsiteX59" fmla="*/ 1267565 w 1282700"/>
                  <a:gd name="connsiteY59" fmla="*/ 827785 h 949325"/>
                  <a:gd name="connsiteX60" fmla="*/ 1282700 w 1282700"/>
                  <a:gd name="connsiteY60" fmla="*/ 839179 h 949325"/>
                  <a:gd name="connsiteX61" fmla="*/ 1267565 w 1282700"/>
                  <a:gd name="connsiteY61" fmla="*/ 854372 h 949325"/>
                  <a:gd name="connsiteX62" fmla="*/ 1169187 w 1282700"/>
                  <a:gd name="connsiteY62" fmla="*/ 854372 h 949325"/>
                  <a:gd name="connsiteX63" fmla="*/ 1169187 w 1282700"/>
                  <a:gd name="connsiteY63" fmla="*/ 934133 h 949325"/>
                  <a:gd name="connsiteX64" fmla="*/ 1154052 w 1282700"/>
                  <a:gd name="connsiteY64" fmla="*/ 949325 h 949325"/>
                  <a:gd name="connsiteX65" fmla="*/ 582701 w 1282700"/>
                  <a:gd name="connsiteY65" fmla="*/ 949325 h 949325"/>
                  <a:gd name="connsiteX66" fmla="*/ 567566 w 1282700"/>
                  <a:gd name="connsiteY66" fmla="*/ 934133 h 949325"/>
                  <a:gd name="connsiteX67" fmla="*/ 567566 w 1282700"/>
                  <a:gd name="connsiteY67" fmla="*/ 854372 h 949325"/>
                  <a:gd name="connsiteX68" fmla="*/ 15135 w 1282700"/>
                  <a:gd name="connsiteY68" fmla="*/ 854372 h 949325"/>
                  <a:gd name="connsiteX69" fmla="*/ 0 w 1282700"/>
                  <a:gd name="connsiteY69" fmla="*/ 839179 h 949325"/>
                  <a:gd name="connsiteX70" fmla="*/ 15135 w 1282700"/>
                  <a:gd name="connsiteY70" fmla="*/ 827785 h 949325"/>
                  <a:gd name="connsiteX71" fmla="*/ 94594 w 1282700"/>
                  <a:gd name="connsiteY71" fmla="*/ 827785 h 949325"/>
                  <a:gd name="connsiteX72" fmla="*/ 94594 w 1282700"/>
                  <a:gd name="connsiteY72" fmla="*/ 565714 h 949325"/>
                  <a:gd name="connsiteX73" fmla="*/ 200540 w 1282700"/>
                  <a:gd name="connsiteY73" fmla="*/ 421385 h 949325"/>
                  <a:gd name="connsiteX74" fmla="*/ 245945 w 1282700"/>
                  <a:gd name="connsiteY74" fmla="*/ 398596 h 949325"/>
                  <a:gd name="connsiteX75" fmla="*/ 261080 w 1282700"/>
                  <a:gd name="connsiteY75" fmla="*/ 402394 h 949325"/>
                  <a:gd name="connsiteX76" fmla="*/ 397296 w 1282700"/>
                  <a:gd name="connsiteY76" fmla="*/ 447972 h 949325"/>
                  <a:gd name="connsiteX77" fmla="*/ 533512 w 1282700"/>
                  <a:gd name="connsiteY77" fmla="*/ 402394 h 949325"/>
                  <a:gd name="connsiteX78" fmla="*/ 544864 w 1282700"/>
                  <a:gd name="connsiteY78" fmla="*/ 398596 h 949325"/>
                  <a:gd name="connsiteX79" fmla="*/ 594053 w 1282700"/>
                  <a:gd name="connsiteY79" fmla="*/ 421385 h 949325"/>
                  <a:gd name="connsiteX80" fmla="*/ 681080 w 1282700"/>
                  <a:gd name="connsiteY80" fmla="*/ 508742 h 949325"/>
                  <a:gd name="connsiteX81" fmla="*/ 779458 w 1282700"/>
                  <a:gd name="connsiteY81" fmla="*/ 474559 h 949325"/>
                  <a:gd name="connsiteX82" fmla="*/ 688647 w 1282700"/>
                  <a:gd name="connsiteY82" fmla="*/ 315037 h 949325"/>
                  <a:gd name="connsiteX83" fmla="*/ 866485 w 1282700"/>
                  <a:gd name="connsiteY83" fmla="*/ 136525 h 949325"/>
                  <a:gd name="connsiteX84" fmla="*/ 394494 w 1282700"/>
                  <a:gd name="connsiteY84" fmla="*/ 73025 h 949325"/>
                  <a:gd name="connsiteX85" fmla="*/ 244475 w 1282700"/>
                  <a:gd name="connsiteY85" fmla="*/ 222250 h 949325"/>
                  <a:gd name="connsiteX86" fmla="*/ 394494 w 1282700"/>
                  <a:gd name="connsiteY86" fmla="*/ 371475 h 949325"/>
                  <a:gd name="connsiteX87" fmla="*/ 544513 w 1282700"/>
                  <a:gd name="connsiteY87" fmla="*/ 222250 h 949325"/>
                  <a:gd name="connsiteX88" fmla="*/ 394494 w 1282700"/>
                  <a:gd name="connsiteY88" fmla="*/ 73025 h 949325"/>
                  <a:gd name="connsiteX89" fmla="*/ 324559 w 1282700"/>
                  <a:gd name="connsiteY89" fmla="*/ 0 h 949325"/>
                  <a:gd name="connsiteX90" fmla="*/ 396385 w 1282700"/>
                  <a:gd name="connsiteY90" fmla="*/ 18945 h 949325"/>
                  <a:gd name="connsiteX91" fmla="*/ 464430 w 1282700"/>
                  <a:gd name="connsiteY91" fmla="*/ 0 h 949325"/>
                  <a:gd name="connsiteX92" fmla="*/ 592961 w 1282700"/>
                  <a:gd name="connsiteY92" fmla="*/ 128827 h 949325"/>
                  <a:gd name="connsiteX93" fmla="*/ 592961 w 1282700"/>
                  <a:gd name="connsiteY93" fmla="*/ 257654 h 949325"/>
                  <a:gd name="connsiteX94" fmla="*/ 642105 w 1282700"/>
                  <a:gd name="connsiteY94" fmla="*/ 306911 h 949325"/>
                  <a:gd name="connsiteX95" fmla="*/ 657226 w 1282700"/>
                  <a:gd name="connsiteY95" fmla="*/ 322067 h 949325"/>
                  <a:gd name="connsiteX96" fmla="*/ 642105 w 1282700"/>
                  <a:gd name="connsiteY96" fmla="*/ 337223 h 949325"/>
                  <a:gd name="connsiteX97" fmla="*/ 532476 w 1282700"/>
                  <a:gd name="connsiteY97" fmla="*/ 337223 h 949325"/>
                  <a:gd name="connsiteX98" fmla="*/ 396385 w 1282700"/>
                  <a:gd name="connsiteY98" fmla="*/ 401637 h 949325"/>
                  <a:gd name="connsiteX99" fmla="*/ 256513 w 1282700"/>
                  <a:gd name="connsiteY99" fmla="*/ 337223 h 949325"/>
                  <a:gd name="connsiteX100" fmla="*/ 146884 w 1282700"/>
                  <a:gd name="connsiteY100" fmla="*/ 337223 h 949325"/>
                  <a:gd name="connsiteX101" fmla="*/ 131763 w 1282700"/>
                  <a:gd name="connsiteY101" fmla="*/ 322067 h 949325"/>
                  <a:gd name="connsiteX102" fmla="*/ 146884 w 1282700"/>
                  <a:gd name="connsiteY102" fmla="*/ 306911 h 949325"/>
                  <a:gd name="connsiteX103" fmla="*/ 196028 w 1282700"/>
                  <a:gd name="connsiteY103" fmla="*/ 257654 h 949325"/>
                  <a:gd name="connsiteX104" fmla="*/ 196028 w 1282700"/>
                  <a:gd name="connsiteY104" fmla="*/ 128827 h 949325"/>
                  <a:gd name="connsiteX105" fmla="*/ 324559 w 1282700"/>
                  <a:gd name="connsiteY105" fmla="*/ 0 h 94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282700" h="949325">
                    <a:moveTo>
                      <a:pt x="395288" y="706437"/>
                    </a:moveTo>
                    <a:cubicBezTo>
                      <a:pt x="417207" y="706437"/>
                      <a:pt x="434976" y="724206"/>
                      <a:pt x="434976" y="746125"/>
                    </a:cubicBezTo>
                    <a:cubicBezTo>
                      <a:pt x="434976" y="768044"/>
                      <a:pt x="417207" y="785813"/>
                      <a:pt x="395288" y="785813"/>
                    </a:cubicBezTo>
                    <a:cubicBezTo>
                      <a:pt x="373369" y="785813"/>
                      <a:pt x="355600" y="768044"/>
                      <a:pt x="355600" y="746125"/>
                    </a:cubicBezTo>
                    <a:cubicBezTo>
                      <a:pt x="355600" y="724206"/>
                      <a:pt x="373369" y="706437"/>
                      <a:pt x="395288" y="706437"/>
                    </a:cubicBezTo>
                    <a:close/>
                    <a:moveTo>
                      <a:pt x="395288" y="606425"/>
                    </a:moveTo>
                    <a:cubicBezTo>
                      <a:pt x="417207" y="606425"/>
                      <a:pt x="434976" y="623483"/>
                      <a:pt x="434976" y="644525"/>
                    </a:cubicBezTo>
                    <a:cubicBezTo>
                      <a:pt x="434976" y="665567"/>
                      <a:pt x="417207" y="682625"/>
                      <a:pt x="395288" y="682625"/>
                    </a:cubicBezTo>
                    <a:cubicBezTo>
                      <a:pt x="373369" y="682625"/>
                      <a:pt x="355600" y="665567"/>
                      <a:pt x="355600" y="644525"/>
                    </a:cubicBezTo>
                    <a:cubicBezTo>
                      <a:pt x="355600" y="623483"/>
                      <a:pt x="373369" y="606425"/>
                      <a:pt x="395288" y="606425"/>
                    </a:cubicBezTo>
                    <a:close/>
                    <a:moveTo>
                      <a:pt x="395288" y="508000"/>
                    </a:moveTo>
                    <a:cubicBezTo>
                      <a:pt x="417207" y="508000"/>
                      <a:pt x="434976" y="525058"/>
                      <a:pt x="434976" y="546100"/>
                    </a:cubicBezTo>
                    <a:cubicBezTo>
                      <a:pt x="434976" y="567142"/>
                      <a:pt x="417207" y="584200"/>
                      <a:pt x="395288" y="584200"/>
                    </a:cubicBezTo>
                    <a:cubicBezTo>
                      <a:pt x="373369" y="584200"/>
                      <a:pt x="355600" y="567142"/>
                      <a:pt x="355600" y="546100"/>
                    </a:cubicBezTo>
                    <a:cubicBezTo>
                      <a:pt x="355600" y="525058"/>
                      <a:pt x="373369" y="508000"/>
                      <a:pt x="395288" y="508000"/>
                    </a:cubicBezTo>
                    <a:close/>
                    <a:moveTo>
                      <a:pt x="865676" y="496887"/>
                    </a:moveTo>
                    <a:cubicBezTo>
                      <a:pt x="797536" y="496887"/>
                      <a:pt x="744538" y="508257"/>
                      <a:pt x="695325" y="534787"/>
                    </a:cubicBezTo>
                    <a:cubicBezTo>
                      <a:pt x="657469" y="553737"/>
                      <a:pt x="596900" y="595426"/>
                      <a:pt x="596900" y="656066"/>
                    </a:cubicBezTo>
                    <a:cubicBezTo>
                      <a:pt x="596900" y="656066"/>
                      <a:pt x="596900" y="656066"/>
                      <a:pt x="596900" y="917574"/>
                    </a:cubicBezTo>
                    <a:cubicBezTo>
                      <a:pt x="596900" y="917574"/>
                      <a:pt x="596900" y="917574"/>
                      <a:pt x="687754" y="917574"/>
                    </a:cubicBezTo>
                    <a:cubicBezTo>
                      <a:pt x="687754" y="917574"/>
                      <a:pt x="687754" y="917574"/>
                      <a:pt x="687754" y="735655"/>
                    </a:cubicBezTo>
                    <a:cubicBezTo>
                      <a:pt x="687754" y="728075"/>
                      <a:pt x="691540" y="720495"/>
                      <a:pt x="702896" y="720495"/>
                    </a:cubicBezTo>
                    <a:cubicBezTo>
                      <a:pt x="710467" y="720495"/>
                      <a:pt x="718039" y="728075"/>
                      <a:pt x="718039" y="735655"/>
                    </a:cubicBezTo>
                    <a:cubicBezTo>
                      <a:pt x="718039" y="735655"/>
                      <a:pt x="718039" y="735655"/>
                      <a:pt x="718039" y="917574"/>
                    </a:cubicBezTo>
                    <a:cubicBezTo>
                      <a:pt x="718039" y="917574"/>
                      <a:pt x="718039" y="917574"/>
                      <a:pt x="1017100" y="917574"/>
                    </a:cubicBezTo>
                    <a:cubicBezTo>
                      <a:pt x="1017100" y="917574"/>
                      <a:pt x="1017100" y="917574"/>
                      <a:pt x="1017100" y="735655"/>
                    </a:cubicBezTo>
                    <a:cubicBezTo>
                      <a:pt x="1017100" y="728075"/>
                      <a:pt x="1024671" y="720495"/>
                      <a:pt x="1032242" y="720495"/>
                    </a:cubicBezTo>
                    <a:cubicBezTo>
                      <a:pt x="1039813" y="720495"/>
                      <a:pt x="1047384" y="728075"/>
                      <a:pt x="1047384" y="735655"/>
                    </a:cubicBezTo>
                    <a:cubicBezTo>
                      <a:pt x="1047384" y="735655"/>
                      <a:pt x="1047384" y="735655"/>
                      <a:pt x="1047384" y="917574"/>
                    </a:cubicBezTo>
                    <a:cubicBezTo>
                      <a:pt x="1047384" y="917574"/>
                      <a:pt x="1047384" y="917574"/>
                      <a:pt x="1138238" y="917574"/>
                    </a:cubicBezTo>
                    <a:lnTo>
                      <a:pt x="1138238" y="659856"/>
                    </a:lnTo>
                    <a:cubicBezTo>
                      <a:pt x="1138238" y="591636"/>
                      <a:pt x="1062526" y="546157"/>
                      <a:pt x="1039813" y="534787"/>
                    </a:cubicBezTo>
                    <a:cubicBezTo>
                      <a:pt x="990600" y="508257"/>
                      <a:pt x="937602" y="496887"/>
                      <a:pt x="865676" y="496887"/>
                    </a:cubicBezTo>
                    <a:close/>
                    <a:moveTo>
                      <a:pt x="248807" y="428625"/>
                    </a:moveTo>
                    <a:cubicBezTo>
                      <a:pt x="237445" y="432420"/>
                      <a:pt x="222295" y="440010"/>
                      <a:pt x="210933" y="447599"/>
                    </a:cubicBezTo>
                    <a:cubicBezTo>
                      <a:pt x="191997" y="458984"/>
                      <a:pt x="123825" y="496933"/>
                      <a:pt x="123825" y="565241"/>
                    </a:cubicBezTo>
                    <a:cubicBezTo>
                      <a:pt x="123825" y="565241"/>
                      <a:pt x="123825" y="565241"/>
                      <a:pt x="123825" y="827087"/>
                    </a:cubicBezTo>
                    <a:cubicBezTo>
                      <a:pt x="123825" y="827087"/>
                      <a:pt x="123825" y="827087"/>
                      <a:pt x="214721" y="827087"/>
                    </a:cubicBezTo>
                    <a:cubicBezTo>
                      <a:pt x="214721" y="827087"/>
                      <a:pt x="214721" y="827087"/>
                      <a:pt x="214721" y="641138"/>
                    </a:cubicBezTo>
                    <a:cubicBezTo>
                      <a:pt x="214721" y="633548"/>
                      <a:pt x="222295" y="625959"/>
                      <a:pt x="229870" y="625959"/>
                    </a:cubicBezTo>
                    <a:cubicBezTo>
                      <a:pt x="237445" y="625959"/>
                      <a:pt x="245019" y="633548"/>
                      <a:pt x="245019" y="641138"/>
                    </a:cubicBezTo>
                    <a:cubicBezTo>
                      <a:pt x="245019" y="641138"/>
                      <a:pt x="245019" y="641138"/>
                      <a:pt x="245019" y="827087"/>
                    </a:cubicBezTo>
                    <a:cubicBezTo>
                      <a:pt x="245019" y="827087"/>
                      <a:pt x="245019" y="827087"/>
                      <a:pt x="566942" y="827087"/>
                    </a:cubicBezTo>
                    <a:cubicBezTo>
                      <a:pt x="566942" y="827087"/>
                      <a:pt x="566942" y="827087"/>
                      <a:pt x="566942" y="656318"/>
                    </a:cubicBezTo>
                    <a:cubicBezTo>
                      <a:pt x="566942" y="595600"/>
                      <a:pt x="616177" y="550061"/>
                      <a:pt x="654050" y="523497"/>
                    </a:cubicBezTo>
                    <a:cubicBezTo>
                      <a:pt x="635113" y="481753"/>
                      <a:pt x="593453" y="455189"/>
                      <a:pt x="578304" y="447599"/>
                    </a:cubicBezTo>
                    <a:cubicBezTo>
                      <a:pt x="566942" y="440010"/>
                      <a:pt x="551792" y="432420"/>
                      <a:pt x="540430" y="428625"/>
                    </a:cubicBezTo>
                    <a:cubicBezTo>
                      <a:pt x="453322" y="489343"/>
                      <a:pt x="335915" y="489343"/>
                      <a:pt x="248807" y="428625"/>
                    </a:cubicBezTo>
                    <a:close/>
                    <a:moveTo>
                      <a:pt x="725488" y="368300"/>
                    </a:moveTo>
                    <a:cubicBezTo>
                      <a:pt x="748271" y="425084"/>
                      <a:pt x="801431" y="466725"/>
                      <a:pt x="865982" y="466725"/>
                    </a:cubicBezTo>
                    <a:cubicBezTo>
                      <a:pt x="930533" y="466725"/>
                      <a:pt x="987490" y="425084"/>
                      <a:pt x="1006476" y="368300"/>
                    </a:cubicBezTo>
                    <a:cubicBezTo>
                      <a:pt x="972302" y="402370"/>
                      <a:pt x="915345" y="425084"/>
                      <a:pt x="865982" y="425084"/>
                    </a:cubicBezTo>
                    <a:cubicBezTo>
                      <a:pt x="816619" y="425084"/>
                      <a:pt x="763459" y="402370"/>
                      <a:pt x="725488" y="368300"/>
                    </a:cubicBezTo>
                    <a:close/>
                    <a:moveTo>
                      <a:pt x="866485" y="136525"/>
                    </a:moveTo>
                    <a:cubicBezTo>
                      <a:pt x="968647" y="136525"/>
                      <a:pt x="1048106" y="216286"/>
                      <a:pt x="1048106" y="315037"/>
                    </a:cubicBezTo>
                    <a:cubicBezTo>
                      <a:pt x="1048106" y="383403"/>
                      <a:pt x="1010268" y="444174"/>
                      <a:pt x="953512" y="474559"/>
                    </a:cubicBezTo>
                    <a:cubicBezTo>
                      <a:pt x="991349" y="482155"/>
                      <a:pt x="1021620" y="493549"/>
                      <a:pt x="1055674" y="508742"/>
                    </a:cubicBezTo>
                    <a:cubicBezTo>
                      <a:pt x="1089727" y="527733"/>
                      <a:pt x="1169187" y="577108"/>
                      <a:pt x="1169187" y="660667"/>
                    </a:cubicBezTo>
                    <a:cubicBezTo>
                      <a:pt x="1169187" y="660667"/>
                      <a:pt x="1169187" y="660667"/>
                      <a:pt x="1169187" y="827785"/>
                    </a:cubicBezTo>
                    <a:cubicBezTo>
                      <a:pt x="1169187" y="827785"/>
                      <a:pt x="1169187" y="827785"/>
                      <a:pt x="1267565" y="827785"/>
                    </a:cubicBezTo>
                    <a:cubicBezTo>
                      <a:pt x="1275133" y="827785"/>
                      <a:pt x="1282700" y="831583"/>
                      <a:pt x="1282700" y="839179"/>
                    </a:cubicBezTo>
                    <a:cubicBezTo>
                      <a:pt x="1282700" y="850574"/>
                      <a:pt x="1275133" y="854372"/>
                      <a:pt x="1267565" y="854372"/>
                    </a:cubicBezTo>
                    <a:cubicBezTo>
                      <a:pt x="1267565" y="854372"/>
                      <a:pt x="1267565" y="854372"/>
                      <a:pt x="1169187" y="854372"/>
                    </a:cubicBezTo>
                    <a:cubicBezTo>
                      <a:pt x="1169187" y="854372"/>
                      <a:pt x="1169187" y="854372"/>
                      <a:pt x="1169187" y="934133"/>
                    </a:cubicBezTo>
                    <a:cubicBezTo>
                      <a:pt x="1169187" y="945527"/>
                      <a:pt x="1161619" y="949325"/>
                      <a:pt x="1154052" y="949325"/>
                    </a:cubicBezTo>
                    <a:cubicBezTo>
                      <a:pt x="1154052" y="949325"/>
                      <a:pt x="1154052" y="949325"/>
                      <a:pt x="582701" y="949325"/>
                    </a:cubicBezTo>
                    <a:cubicBezTo>
                      <a:pt x="575134" y="949325"/>
                      <a:pt x="567566" y="945527"/>
                      <a:pt x="567566" y="934133"/>
                    </a:cubicBezTo>
                    <a:cubicBezTo>
                      <a:pt x="567566" y="934133"/>
                      <a:pt x="567566" y="934133"/>
                      <a:pt x="567566" y="854372"/>
                    </a:cubicBezTo>
                    <a:cubicBezTo>
                      <a:pt x="567566" y="854372"/>
                      <a:pt x="567566" y="854372"/>
                      <a:pt x="15135" y="854372"/>
                    </a:cubicBezTo>
                    <a:cubicBezTo>
                      <a:pt x="7568" y="854372"/>
                      <a:pt x="0" y="850574"/>
                      <a:pt x="0" y="839179"/>
                    </a:cubicBezTo>
                    <a:cubicBezTo>
                      <a:pt x="0" y="831583"/>
                      <a:pt x="7568" y="827785"/>
                      <a:pt x="15135" y="827785"/>
                    </a:cubicBezTo>
                    <a:cubicBezTo>
                      <a:pt x="15135" y="827785"/>
                      <a:pt x="15135" y="827785"/>
                      <a:pt x="94594" y="827785"/>
                    </a:cubicBezTo>
                    <a:cubicBezTo>
                      <a:pt x="94594" y="827785"/>
                      <a:pt x="94594" y="827785"/>
                      <a:pt x="94594" y="565714"/>
                    </a:cubicBezTo>
                    <a:cubicBezTo>
                      <a:pt x="94594" y="482155"/>
                      <a:pt x="174054" y="432779"/>
                      <a:pt x="200540" y="421385"/>
                    </a:cubicBezTo>
                    <a:cubicBezTo>
                      <a:pt x="215675" y="413789"/>
                      <a:pt x="230810" y="406192"/>
                      <a:pt x="245945" y="398596"/>
                    </a:cubicBezTo>
                    <a:cubicBezTo>
                      <a:pt x="249729" y="398596"/>
                      <a:pt x="253513" y="398596"/>
                      <a:pt x="261080" y="402394"/>
                    </a:cubicBezTo>
                    <a:cubicBezTo>
                      <a:pt x="298918" y="428981"/>
                      <a:pt x="348107" y="447972"/>
                      <a:pt x="397296" y="447972"/>
                    </a:cubicBezTo>
                    <a:cubicBezTo>
                      <a:pt x="442702" y="447972"/>
                      <a:pt x="491891" y="428981"/>
                      <a:pt x="533512" y="402394"/>
                    </a:cubicBezTo>
                    <a:cubicBezTo>
                      <a:pt x="537296" y="398596"/>
                      <a:pt x="541080" y="398596"/>
                      <a:pt x="544864" y="398596"/>
                    </a:cubicBezTo>
                    <a:cubicBezTo>
                      <a:pt x="559999" y="406192"/>
                      <a:pt x="575134" y="413789"/>
                      <a:pt x="594053" y="421385"/>
                    </a:cubicBezTo>
                    <a:cubicBezTo>
                      <a:pt x="609188" y="428981"/>
                      <a:pt x="658377" y="459366"/>
                      <a:pt x="681080" y="508742"/>
                    </a:cubicBezTo>
                    <a:cubicBezTo>
                      <a:pt x="711350" y="489751"/>
                      <a:pt x="745404" y="482155"/>
                      <a:pt x="779458" y="474559"/>
                    </a:cubicBezTo>
                    <a:cubicBezTo>
                      <a:pt x="726485" y="444174"/>
                      <a:pt x="688647" y="383403"/>
                      <a:pt x="688647" y="315037"/>
                    </a:cubicBezTo>
                    <a:cubicBezTo>
                      <a:pt x="688647" y="216286"/>
                      <a:pt x="768107" y="136525"/>
                      <a:pt x="866485" y="136525"/>
                    </a:cubicBezTo>
                    <a:close/>
                    <a:moveTo>
                      <a:pt x="394494" y="73025"/>
                    </a:moveTo>
                    <a:cubicBezTo>
                      <a:pt x="311641" y="73025"/>
                      <a:pt x="244475" y="139835"/>
                      <a:pt x="244475" y="222250"/>
                    </a:cubicBezTo>
                    <a:cubicBezTo>
                      <a:pt x="244475" y="304665"/>
                      <a:pt x="311641" y="371475"/>
                      <a:pt x="394494" y="371475"/>
                    </a:cubicBezTo>
                    <a:cubicBezTo>
                      <a:pt x="477347" y="371475"/>
                      <a:pt x="544513" y="304665"/>
                      <a:pt x="544513" y="222250"/>
                    </a:cubicBezTo>
                    <a:cubicBezTo>
                      <a:pt x="544513" y="139835"/>
                      <a:pt x="477347" y="73025"/>
                      <a:pt x="394494" y="73025"/>
                    </a:cubicBezTo>
                    <a:close/>
                    <a:moveTo>
                      <a:pt x="324559" y="0"/>
                    </a:moveTo>
                    <a:cubicBezTo>
                      <a:pt x="351021" y="0"/>
                      <a:pt x="373703" y="7578"/>
                      <a:pt x="396385" y="18945"/>
                    </a:cubicBezTo>
                    <a:cubicBezTo>
                      <a:pt x="415286" y="7578"/>
                      <a:pt x="437968" y="0"/>
                      <a:pt x="464430" y="0"/>
                    </a:cubicBezTo>
                    <a:cubicBezTo>
                      <a:pt x="536256" y="0"/>
                      <a:pt x="592961" y="56835"/>
                      <a:pt x="592961" y="128827"/>
                    </a:cubicBezTo>
                    <a:cubicBezTo>
                      <a:pt x="592961" y="128827"/>
                      <a:pt x="592961" y="128827"/>
                      <a:pt x="592961" y="257654"/>
                    </a:cubicBezTo>
                    <a:cubicBezTo>
                      <a:pt x="592961" y="284177"/>
                      <a:pt x="615643" y="306911"/>
                      <a:pt x="642105" y="306911"/>
                    </a:cubicBezTo>
                    <a:cubicBezTo>
                      <a:pt x="649665" y="306911"/>
                      <a:pt x="657226" y="314489"/>
                      <a:pt x="657226" y="322067"/>
                    </a:cubicBezTo>
                    <a:cubicBezTo>
                      <a:pt x="657226" y="329645"/>
                      <a:pt x="649665" y="337223"/>
                      <a:pt x="642105" y="337223"/>
                    </a:cubicBezTo>
                    <a:cubicBezTo>
                      <a:pt x="642105" y="337223"/>
                      <a:pt x="642105" y="337223"/>
                      <a:pt x="532476" y="337223"/>
                    </a:cubicBezTo>
                    <a:cubicBezTo>
                      <a:pt x="498453" y="375114"/>
                      <a:pt x="449309" y="401637"/>
                      <a:pt x="396385" y="401637"/>
                    </a:cubicBezTo>
                    <a:cubicBezTo>
                      <a:pt x="339680" y="401637"/>
                      <a:pt x="290536" y="375114"/>
                      <a:pt x="256513" y="337223"/>
                    </a:cubicBezTo>
                    <a:cubicBezTo>
                      <a:pt x="256513" y="337223"/>
                      <a:pt x="256513" y="337223"/>
                      <a:pt x="146884" y="337223"/>
                    </a:cubicBezTo>
                    <a:cubicBezTo>
                      <a:pt x="139324" y="337223"/>
                      <a:pt x="131763" y="329645"/>
                      <a:pt x="131763" y="322067"/>
                    </a:cubicBezTo>
                    <a:cubicBezTo>
                      <a:pt x="131763" y="314489"/>
                      <a:pt x="139324" y="306911"/>
                      <a:pt x="146884" y="306911"/>
                    </a:cubicBezTo>
                    <a:cubicBezTo>
                      <a:pt x="173346" y="306911"/>
                      <a:pt x="196028" y="284177"/>
                      <a:pt x="196028" y="257654"/>
                    </a:cubicBezTo>
                    <a:cubicBezTo>
                      <a:pt x="196028" y="257654"/>
                      <a:pt x="196028" y="257654"/>
                      <a:pt x="196028" y="128827"/>
                    </a:cubicBezTo>
                    <a:cubicBezTo>
                      <a:pt x="196028" y="56835"/>
                      <a:pt x="252733" y="0"/>
                      <a:pt x="324559" y="0"/>
                    </a:cubicBezTo>
                    <a:close/>
                  </a:path>
                </a:pathLst>
              </a:custGeom>
              <a:solidFill>
                <a:schemeClr val="bg1"/>
              </a:solidFill>
              <a:ln>
                <a:noFill/>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t" anchorCtr="0" compatLnSpc="1">
                <a:prstTxWarp prst="textNoShape">
                  <a:avLst/>
                </a:prstTxWarp>
                <a:noAutofit/>
              </a:bodyPr>
              <a:lstStyle/>
              <a:p>
                <a:endParaRPr lang="en-GB" sz="1600" dirty="0">
                  <a:solidFill>
                    <a:srgbClr val="000000"/>
                  </a:solidFill>
                </a:endParaRPr>
              </a:p>
            </p:txBody>
          </p:sp>
          <p:sp>
            <p:nvSpPr>
              <p:cNvPr id="40" name="Rectangle 39"/>
              <p:cNvSpPr/>
              <p:nvPr/>
            </p:nvSpPr>
            <p:spPr>
              <a:xfrm>
                <a:off x="1378737" y="5349746"/>
                <a:ext cx="38326" cy="479080"/>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rgbClr val="000000"/>
                  </a:solidFill>
                </a:endParaRPr>
              </a:p>
            </p:txBody>
          </p:sp>
        </p:grpSp>
        <p:sp>
          <p:nvSpPr>
            <p:cNvPr id="35" name="TextBox 34"/>
            <p:cNvSpPr txBox="1"/>
            <p:nvPr/>
          </p:nvSpPr>
          <p:spPr>
            <a:xfrm>
              <a:off x="2463448" y="2347087"/>
              <a:ext cx="789990" cy="229294"/>
            </a:xfrm>
            <a:prstGeom prst="rect">
              <a:avLst/>
            </a:prstGeom>
            <a:noFill/>
          </p:spPr>
          <p:txBody>
            <a:bodyPr wrap="square" rtlCol="0" anchor="ctr" anchorCtr="0">
              <a:spAutoFit/>
            </a:bodyPr>
            <a:lstStyle/>
            <a:p>
              <a:pPr algn="ctr">
                <a:lnSpc>
                  <a:spcPct val="89000"/>
                </a:lnSpc>
              </a:pPr>
              <a:r>
                <a:rPr lang="en-US" sz="1000" b="1" dirty="0" smtClean="0">
                  <a:solidFill>
                    <a:schemeClr val="tx2"/>
                  </a:solidFill>
                  <a:ea typeface="Open Sans" panose="020B0606030504020204" pitchFamily="34" charset="0"/>
                  <a:cs typeface="Open Sans" panose="020B0606030504020204" pitchFamily="34" charset="0"/>
                </a:rPr>
                <a:t>348</a:t>
              </a:r>
              <a:endParaRPr lang="en-US" sz="1000" b="1" dirty="0">
                <a:solidFill>
                  <a:schemeClr val="tx2"/>
                </a:solidFill>
                <a:ea typeface="Open Sans" panose="020B0606030504020204" pitchFamily="34" charset="0"/>
                <a:cs typeface="Open Sans" panose="020B0606030504020204" pitchFamily="34" charset="0"/>
              </a:endParaRPr>
            </a:p>
          </p:txBody>
        </p:sp>
      </p:grpSp>
      <p:graphicFrame>
        <p:nvGraphicFramePr>
          <p:cNvPr id="66" name="Table 65"/>
          <p:cNvGraphicFramePr>
            <a:graphicFrameLocks noGrp="1"/>
          </p:cNvGraphicFramePr>
          <p:nvPr>
            <p:extLst>
              <p:ext uri="{D42A27DB-BD31-4B8C-83A1-F6EECF244321}">
                <p14:modId xmlns:p14="http://schemas.microsoft.com/office/powerpoint/2010/main" val="2271534587"/>
              </p:ext>
            </p:extLst>
          </p:nvPr>
        </p:nvGraphicFramePr>
        <p:xfrm>
          <a:off x="444584" y="1411199"/>
          <a:ext cx="3089191" cy="4974130"/>
        </p:xfrm>
        <a:graphic>
          <a:graphicData uri="http://schemas.openxmlformats.org/drawingml/2006/table">
            <a:tbl>
              <a:tblPr firstRow="1" bandRow="1">
                <a:tableStyleId>{5C22544A-7EE6-4342-B048-85BDC9FD1C3A}</a:tableStyleId>
              </a:tblPr>
              <a:tblGrid>
                <a:gridCol w="789856"/>
                <a:gridCol w="1594485"/>
                <a:gridCol w="704850"/>
              </a:tblGrid>
              <a:tr h="402130">
                <a:tc>
                  <a:txBody>
                    <a:bodyPr/>
                    <a:lstStyle/>
                    <a:p>
                      <a:pPr algn="ctr"/>
                      <a:r>
                        <a:rPr lang="en-US" sz="1400" dirty="0" smtClean="0">
                          <a:solidFill>
                            <a:schemeClr val="dk2"/>
                          </a:solidFill>
                        </a:rPr>
                        <a:t>Rank</a:t>
                      </a:r>
                      <a:endParaRPr lang="en-US" sz="1400" dirty="0">
                        <a:solidFill>
                          <a:schemeClr val="dk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a:r>
                        <a:rPr lang="en-US" sz="1400" dirty="0" smtClean="0">
                          <a:solidFill>
                            <a:schemeClr val="dk2"/>
                          </a:solidFill>
                        </a:rPr>
                        <a:t>Country</a:t>
                      </a:r>
                      <a:endParaRPr lang="en-US" sz="1400" dirty="0">
                        <a:solidFill>
                          <a:schemeClr val="dk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algn="ctr"/>
                      <a:r>
                        <a:rPr lang="en-US" sz="1400" dirty="0" smtClean="0">
                          <a:solidFill>
                            <a:schemeClr val="dk2"/>
                          </a:solidFill>
                        </a:rPr>
                        <a:t>Count</a:t>
                      </a:r>
                      <a:endParaRPr lang="en-US" sz="1400" dirty="0">
                        <a:solidFill>
                          <a:schemeClr val="dk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457200">
                <a:tc>
                  <a:txBody>
                    <a:bodyPr/>
                    <a:lstStyle/>
                    <a:p>
                      <a:pPr marL="0" indent="0" algn="ct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Swede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457200">
                <a:tc>
                  <a:txBody>
                    <a:bodyPr/>
                    <a:lstStyle/>
                    <a:p>
                      <a:pPr marL="0" indent="0" algn="ctr"/>
                      <a:endParaRPr lang="en-US" sz="1200" b="1" dirty="0" smtClean="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Norwa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457200">
                <a:tc>
                  <a:txBody>
                    <a:bodyPr/>
                    <a:lstStyle/>
                    <a:p>
                      <a:pPr marL="0" indent="0" algn="ct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Denmar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457200">
                <a:tc>
                  <a:txBody>
                    <a:bodyPr/>
                    <a:lstStyle/>
                    <a:p>
                      <a:pPr marL="0" indent="0" algn="ct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a:solidFill>
                            <a:schemeClr val="dk2"/>
                          </a:solidFill>
                          <a:latin typeface="+mn-lt"/>
                          <a:ea typeface="+mn-ea"/>
                          <a:cs typeface="+mn-cs"/>
                        </a:rPr>
                        <a:t>United Kingdo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a:solidFill>
                            <a:schemeClr val="dk2"/>
                          </a:solidFill>
                          <a:latin typeface="+mn-lt"/>
                          <a:ea typeface="+mn-ea"/>
                          <a:cs typeface="+mn-cs"/>
                        </a:rPr>
                        <a:t>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457200">
                <a:tc>
                  <a:txBody>
                    <a:bodyPr/>
                    <a:lstStyle/>
                    <a:p>
                      <a:pPr marL="0" indent="0" algn="ct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German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a:solidFill>
                            <a:schemeClr val="dk2"/>
                          </a:solidFill>
                          <a:latin typeface="+mn-lt"/>
                          <a:ea typeface="+mn-ea"/>
                          <a:cs typeface="+mn-cs"/>
                        </a:rPr>
                        <a:t>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457200">
                <a:tc>
                  <a:txBody>
                    <a:bodyPr/>
                    <a:lstStyle/>
                    <a:p>
                      <a:pPr marL="0" indent="0" algn="ct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Finlan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457200">
                <a:tc>
                  <a:txBody>
                    <a:bodyPr/>
                    <a:lstStyle/>
                    <a:p>
                      <a:pPr marL="0" indent="0" algn="ct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United State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457200">
                <a:tc>
                  <a:txBody>
                    <a:bodyPr/>
                    <a:lstStyle/>
                    <a:p>
                      <a:pPr marL="0" indent="0" algn="ct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Franc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457200">
                <a:tc>
                  <a:txBody>
                    <a:bodyPr/>
                    <a:lstStyle/>
                    <a:p>
                      <a:pPr marL="0" indent="0" algn="ct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a:solidFill>
                            <a:schemeClr val="dk2"/>
                          </a:solidFill>
                          <a:latin typeface="+mn-lt"/>
                          <a:ea typeface="+mn-ea"/>
                          <a:cs typeface="+mn-cs"/>
                        </a:rPr>
                        <a:t>Netherland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457200">
                <a:tc>
                  <a:txBody>
                    <a:bodyPr/>
                    <a:lstStyle/>
                    <a:p>
                      <a:pPr marL="0" indent="0" algn="ct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defTabSz="914400" rtl="0" eaLnBrk="1" fontAlgn="b" latinLnBrk="0" hangingPunct="1"/>
                      <a:r>
                        <a:rPr lang="en-GB" sz="1400" b="0" kern="1200" dirty="0" smtClean="0">
                          <a:solidFill>
                            <a:schemeClr val="dk2"/>
                          </a:solidFill>
                          <a:latin typeface="+mn-lt"/>
                          <a:ea typeface="+mn-ea"/>
                          <a:cs typeface="+mn-cs"/>
                        </a:rPr>
                        <a:t>Russia</a:t>
                      </a:r>
                      <a:endParaRPr lang="en-GB" sz="1400" b="0" kern="1200" dirty="0">
                        <a:solidFill>
                          <a:schemeClr val="dk2"/>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ctr" defTabSz="914400" rtl="0" eaLnBrk="1" fontAlgn="b" latinLnBrk="0" hangingPunct="1"/>
                      <a:r>
                        <a:rPr lang="en-GB" sz="1400" b="0" kern="1200" dirty="0">
                          <a:solidFill>
                            <a:schemeClr val="dk2"/>
                          </a:solidFill>
                          <a:latin typeface="+mn-lt"/>
                          <a:ea typeface="+mn-ea"/>
                          <a:cs typeface="+mn-cs"/>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bl>
          </a:graphicData>
        </a:graphic>
      </p:graphicFrame>
      <p:cxnSp>
        <p:nvCxnSpPr>
          <p:cNvPr id="67" name="Straight Connector 66"/>
          <p:cNvCxnSpPr/>
          <p:nvPr/>
        </p:nvCxnSpPr>
        <p:spPr>
          <a:xfrm flipV="1">
            <a:off x="408584" y="1775839"/>
            <a:ext cx="3125191" cy="5294"/>
          </a:xfrm>
          <a:prstGeom prst="line">
            <a:avLst/>
          </a:prstGeom>
          <a:ln w="12700"/>
        </p:spPr>
        <p:style>
          <a:lnRef idx="1">
            <a:schemeClr val="accent3"/>
          </a:lnRef>
          <a:fillRef idx="0">
            <a:schemeClr val="accent3"/>
          </a:fillRef>
          <a:effectRef idx="0">
            <a:schemeClr val="accent3"/>
          </a:effectRef>
          <a:fontRef idx="minor">
            <a:schemeClr val="tx1"/>
          </a:fontRef>
        </p:style>
      </p:cxnSp>
      <p:grpSp>
        <p:nvGrpSpPr>
          <p:cNvPr id="12" name="Group 11"/>
          <p:cNvGrpSpPr/>
          <p:nvPr/>
        </p:nvGrpSpPr>
        <p:grpSpPr>
          <a:xfrm>
            <a:off x="668710" y="1884584"/>
            <a:ext cx="310896" cy="4396762"/>
            <a:chOff x="668710" y="1884584"/>
            <a:chExt cx="310896" cy="4396762"/>
          </a:xfrm>
        </p:grpSpPr>
        <p:grpSp>
          <p:nvGrpSpPr>
            <p:cNvPr id="11" name="Group 10"/>
            <p:cNvGrpSpPr/>
            <p:nvPr/>
          </p:nvGrpSpPr>
          <p:grpSpPr>
            <a:xfrm>
              <a:off x="668710" y="1884584"/>
              <a:ext cx="310896" cy="341806"/>
              <a:chOff x="4751990" y="3133870"/>
              <a:chExt cx="350393" cy="396000"/>
            </a:xfrm>
          </p:grpSpPr>
          <p:sp>
            <p:nvSpPr>
              <p:cNvPr id="9" name="Parallelogram 8"/>
              <p:cNvSpPr/>
              <p:nvPr/>
            </p:nvSpPr>
            <p:spPr>
              <a:xfrm>
                <a:off x="4751990" y="3133870"/>
                <a:ext cx="350393" cy="396000"/>
              </a:xfrm>
              <a:prstGeom prst="parallelogram">
                <a:avLst/>
              </a:prstGeom>
              <a:solidFill>
                <a:srgbClr val="A8D2E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10" name="TextBox 9"/>
              <p:cNvSpPr txBox="1"/>
              <p:nvPr/>
            </p:nvSpPr>
            <p:spPr>
              <a:xfrm>
                <a:off x="4868288" y="3239537"/>
                <a:ext cx="117795" cy="213945"/>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US" sz="1200" dirty="0">
                    <a:solidFill>
                      <a:schemeClr val="dk2"/>
                    </a:solidFill>
                  </a:rPr>
                  <a:t>1</a:t>
                </a:r>
                <a:endParaRPr lang="en-GB" sz="1200" dirty="0" err="1">
                  <a:solidFill>
                    <a:schemeClr val="dk2"/>
                  </a:solidFill>
                </a:endParaRPr>
              </a:p>
            </p:txBody>
          </p:sp>
        </p:grpSp>
        <p:grpSp>
          <p:nvGrpSpPr>
            <p:cNvPr id="69" name="Group 68"/>
            <p:cNvGrpSpPr/>
            <p:nvPr/>
          </p:nvGrpSpPr>
          <p:grpSpPr>
            <a:xfrm>
              <a:off x="668710" y="2335135"/>
              <a:ext cx="310896" cy="341806"/>
              <a:chOff x="4751990" y="3133870"/>
              <a:chExt cx="350393" cy="396000"/>
            </a:xfrm>
          </p:grpSpPr>
          <p:sp>
            <p:nvSpPr>
              <p:cNvPr id="70" name="Parallelogram 69"/>
              <p:cNvSpPr/>
              <p:nvPr/>
            </p:nvSpPr>
            <p:spPr>
              <a:xfrm>
                <a:off x="4751990" y="3133870"/>
                <a:ext cx="350393" cy="396000"/>
              </a:xfrm>
              <a:prstGeom prst="parallelogram">
                <a:avLst/>
              </a:prstGeom>
              <a:solidFill>
                <a:srgbClr val="A8D2E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71" name="TextBox 70"/>
              <p:cNvSpPr txBox="1"/>
              <p:nvPr/>
            </p:nvSpPr>
            <p:spPr>
              <a:xfrm>
                <a:off x="4868288" y="3239537"/>
                <a:ext cx="117795" cy="213945"/>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US" sz="1200" dirty="0" smtClean="0">
                    <a:solidFill>
                      <a:schemeClr val="dk2"/>
                    </a:solidFill>
                  </a:rPr>
                  <a:t>2</a:t>
                </a:r>
                <a:endParaRPr lang="en-GB" sz="1200" dirty="0" err="1">
                  <a:solidFill>
                    <a:schemeClr val="dk2"/>
                  </a:solidFill>
                </a:endParaRPr>
              </a:p>
            </p:txBody>
          </p:sp>
        </p:grpSp>
        <p:grpSp>
          <p:nvGrpSpPr>
            <p:cNvPr id="72" name="Group 71"/>
            <p:cNvGrpSpPr/>
            <p:nvPr/>
          </p:nvGrpSpPr>
          <p:grpSpPr>
            <a:xfrm>
              <a:off x="669604" y="2785686"/>
              <a:ext cx="309108" cy="341806"/>
              <a:chOff x="4751990" y="3133870"/>
              <a:chExt cx="350393" cy="396000"/>
            </a:xfrm>
          </p:grpSpPr>
          <p:sp>
            <p:nvSpPr>
              <p:cNvPr id="73" name="Parallelogram 72"/>
              <p:cNvSpPr/>
              <p:nvPr/>
            </p:nvSpPr>
            <p:spPr>
              <a:xfrm>
                <a:off x="4751990" y="3133870"/>
                <a:ext cx="350393" cy="396000"/>
              </a:xfrm>
              <a:prstGeom prst="parallelogram">
                <a:avLst/>
              </a:prstGeom>
              <a:solidFill>
                <a:srgbClr val="A8D2E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74" name="TextBox 73"/>
              <p:cNvSpPr txBox="1"/>
              <p:nvPr/>
            </p:nvSpPr>
            <p:spPr>
              <a:xfrm>
                <a:off x="4868288" y="3239537"/>
                <a:ext cx="117795" cy="213945"/>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US" sz="1200" dirty="0" smtClean="0">
                    <a:solidFill>
                      <a:schemeClr val="dk2"/>
                    </a:solidFill>
                  </a:rPr>
                  <a:t>3</a:t>
                </a:r>
                <a:endParaRPr lang="en-GB" sz="1200" dirty="0" err="1">
                  <a:solidFill>
                    <a:schemeClr val="dk2"/>
                  </a:solidFill>
                </a:endParaRPr>
              </a:p>
            </p:txBody>
          </p:sp>
        </p:grpSp>
        <p:grpSp>
          <p:nvGrpSpPr>
            <p:cNvPr id="75" name="Group 74"/>
            <p:cNvGrpSpPr/>
            <p:nvPr/>
          </p:nvGrpSpPr>
          <p:grpSpPr>
            <a:xfrm>
              <a:off x="669604" y="3236237"/>
              <a:ext cx="309108" cy="341806"/>
              <a:chOff x="4751990" y="3133870"/>
              <a:chExt cx="350393" cy="396000"/>
            </a:xfrm>
          </p:grpSpPr>
          <p:sp>
            <p:nvSpPr>
              <p:cNvPr id="76" name="Parallelogram 75"/>
              <p:cNvSpPr/>
              <p:nvPr/>
            </p:nvSpPr>
            <p:spPr>
              <a:xfrm>
                <a:off x="4751990" y="3133870"/>
                <a:ext cx="350393" cy="396000"/>
              </a:xfrm>
              <a:prstGeom prst="parallelogram">
                <a:avLst/>
              </a:prstGeom>
              <a:solidFill>
                <a:srgbClr val="A8D2E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77" name="TextBox 76"/>
              <p:cNvSpPr txBox="1"/>
              <p:nvPr/>
            </p:nvSpPr>
            <p:spPr>
              <a:xfrm>
                <a:off x="4868288" y="3239537"/>
                <a:ext cx="117795" cy="213945"/>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US" sz="1200" dirty="0" smtClean="0">
                    <a:solidFill>
                      <a:schemeClr val="dk2"/>
                    </a:solidFill>
                  </a:rPr>
                  <a:t>4</a:t>
                </a:r>
                <a:endParaRPr lang="en-GB" sz="1200" dirty="0" err="1">
                  <a:solidFill>
                    <a:schemeClr val="dk2"/>
                  </a:solidFill>
                </a:endParaRPr>
              </a:p>
            </p:txBody>
          </p:sp>
        </p:grpSp>
        <p:grpSp>
          <p:nvGrpSpPr>
            <p:cNvPr id="78" name="Group 77"/>
            <p:cNvGrpSpPr/>
            <p:nvPr/>
          </p:nvGrpSpPr>
          <p:grpSpPr>
            <a:xfrm>
              <a:off x="669604" y="3686788"/>
              <a:ext cx="309108" cy="341806"/>
              <a:chOff x="4751990" y="3133870"/>
              <a:chExt cx="350393" cy="396000"/>
            </a:xfrm>
          </p:grpSpPr>
          <p:sp>
            <p:nvSpPr>
              <p:cNvPr id="79" name="Parallelogram 78"/>
              <p:cNvSpPr/>
              <p:nvPr/>
            </p:nvSpPr>
            <p:spPr>
              <a:xfrm>
                <a:off x="4751990" y="3133870"/>
                <a:ext cx="350393" cy="396000"/>
              </a:xfrm>
              <a:prstGeom prst="parallelogram">
                <a:avLst/>
              </a:prstGeom>
              <a:solidFill>
                <a:srgbClr val="A8D2E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80" name="TextBox 79"/>
              <p:cNvSpPr txBox="1"/>
              <p:nvPr/>
            </p:nvSpPr>
            <p:spPr>
              <a:xfrm>
                <a:off x="4868288" y="3239537"/>
                <a:ext cx="117795" cy="213945"/>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US" sz="1200" dirty="0" smtClean="0">
                    <a:solidFill>
                      <a:schemeClr val="dk2"/>
                    </a:solidFill>
                  </a:rPr>
                  <a:t>5</a:t>
                </a:r>
                <a:endParaRPr lang="en-GB" sz="1200" dirty="0" err="1">
                  <a:solidFill>
                    <a:schemeClr val="dk2"/>
                  </a:solidFill>
                </a:endParaRPr>
              </a:p>
            </p:txBody>
          </p:sp>
        </p:grpSp>
        <p:grpSp>
          <p:nvGrpSpPr>
            <p:cNvPr id="81" name="Group 80"/>
            <p:cNvGrpSpPr/>
            <p:nvPr/>
          </p:nvGrpSpPr>
          <p:grpSpPr>
            <a:xfrm>
              <a:off x="669604" y="4137339"/>
              <a:ext cx="309108" cy="341806"/>
              <a:chOff x="4751990" y="3133870"/>
              <a:chExt cx="350393" cy="396000"/>
            </a:xfrm>
          </p:grpSpPr>
          <p:sp>
            <p:nvSpPr>
              <p:cNvPr id="82" name="Parallelogram 81"/>
              <p:cNvSpPr/>
              <p:nvPr/>
            </p:nvSpPr>
            <p:spPr>
              <a:xfrm>
                <a:off x="4751990" y="3133870"/>
                <a:ext cx="350393" cy="396000"/>
              </a:xfrm>
              <a:prstGeom prst="parallelogram">
                <a:avLst/>
              </a:prstGeom>
              <a:solidFill>
                <a:srgbClr val="A8D2E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83" name="TextBox 82"/>
              <p:cNvSpPr txBox="1"/>
              <p:nvPr/>
            </p:nvSpPr>
            <p:spPr>
              <a:xfrm>
                <a:off x="4868288" y="3239537"/>
                <a:ext cx="117795" cy="213945"/>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US" sz="1200" dirty="0" smtClean="0">
                    <a:solidFill>
                      <a:schemeClr val="dk2"/>
                    </a:solidFill>
                  </a:rPr>
                  <a:t>6</a:t>
                </a:r>
                <a:endParaRPr lang="en-GB" sz="1200" dirty="0" err="1">
                  <a:solidFill>
                    <a:schemeClr val="dk2"/>
                  </a:solidFill>
                </a:endParaRPr>
              </a:p>
            </p:txBody>
          </p:sp>
        </p:grpSp>
        <p:grpSp>
          <p:nvGrpSpPr>
            <p:cNvPr id="84" name="Group 83"/>
            <p:cNvGrpSpPr/>
            <p:nvPr/>
          </p:nvGrpSpPr>
          <p:grpSpPr>
            <a:xfrm>
              <a:off x="669604" y="4587890"/>
              <a:ext cx="309108" cy="341806"/>
              <a:chOff x="4751990" y="3133870"/>
              <a:chExt cx="350393" cy="396000"/>
            </a:xfrm>
          </p:grpSpPr>
          <p:sp>
            <p:nvSpPr>
              <p:cNvPr id="85" name="Parallelogram 84"/>
              <p:cNvSpPr/>
              <p:nvPr/>
            </p:nvSpPr>
            <p:spPr>
              <a:xfrm>
                <a:off x="4751990" y="3133870"/>
                <a:ext cx="350393" cy="396000"/>
              </a:xfrm>
              <a:prstGeom prst="parallelogram">
                <a:avLst/>
              </a:prstGeom>
              <a:solidFill>
                <a:srgbClr val="A8D2E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86" name="TextBox 85"/>
              <p:cNvSpPr txBox="1"/>
              <p:nvPr/>
            </p:nvSpPr>
            <p:spPr>
              <a:xfrm>
                <a:off x="4868288" y="3239537"/>
                <a:ext cx="117795" cy="213945"/>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US" sz="1200" dirty="0" smtClean="0">
                    <a:solidFill>
                      <a:schemeClr val="dk2"/>
                    </a:solidFill>
                  </a:rPr>
                  <a:t>7</a:t>
                </a:r>
                <a:endParaRPr lang="en-GB" sz="1200" dirty="0" err="1">
                  <a:solidFill>
                    <a:schemeClr val="dk2"/>
                  </a:solidFill>
                </a:endParaRPr>
              </a:p>
            </p:txBody>
          </p:sp>
        </p:grpSp>
        <p:grpSp>
          <p:nvGrpSpPr>
            <p:cNvPr id="87" name="Group 86"/>
            <p:cNvGrpSpPr/>
            <p:nvPr/>
          </p:nvGrpSpPr>
          <p:grpSpPr>
            <a:xfrm>
              <a:off x="669604" y="5038441"/>
              <a:ext cx="309108" cy="341806"/>
              <a:chOff x="4751990" y="3133870"/>
              <a:chExt cx="350393" cy="396000"/>
            </a:xfrm>
          </p:grpSpPr>
          <p:sp>
            <p:nvSpPr>
              <p:cNvPr id="88" name="Parallelogram 87"/>
              <p:cNvSpPr/>
              <p:nvPr/>
            </p:nvSpPr>
            <p:spPr>
              <a:xfrm>
                <a:off x="4751990" y="3133870"/>
                <a:ext cx="350393" cy="396000"/>
              </a:xfrm>
              <a:prstGeom prst="parallelogram">
                <a:avLst/>
              </a:prstGeom>
              <a:solidFill>
                <a:srgbClr val="A8D2E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89" name="TextBox 88"/>
              <p:cNvSpPr txBox="1"/>
              <p:nvPr/>
            </p:nvSpPr>
            <p:spPr>
              <a:xfrm>
                <a:off x="4868288" y="3239537"/>
                <a:ext cx="117795" cy="213945"/>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US" sz="1200" dirty="0" smtClean="0">
                    <a:solidFill>
                      <a:schemeClr val="dk2"/>
                    </a:solidFill>
                  </a:rPr>
                  <a:t>8</a:t>
                </a:r>
                <a:endParaRPr lang="en-GB" sz="1200" dirty="0" err="1">
                  <a:solidFill>
                    <a:schemeClr val="dk2"/>
                  </a:solidFill>
                </a:endParaRPr>
              </a:p>
            </p:txBody>
          </p:sp>
        </p:grpSp>
        <p:grpSp>
          <p:nvGrpSpPr>
            <p:cNvPr id="90" name="Group 89"/>
            <p:cNvGrpSpPr/>
            <p:nvPr/>
          </p:nvGrpSpPr>
          <p:grpSpPr>
            <a:xfrm>
              <a:off x="669604" y="5488992"/>
              <a:ext cx="309108" cy="341806"/>
              <a:chOff x="4751990" y="3133870"/>
              <a:chExt cx="350393" cy="396000"/>
            </a:xfrm>
          </p:grpSpPr>
          <p:sp>
            <p:nvSpPr>
              <p:cNvPr id="91" name="Parallelogram 90"/>
              <p:cNvSpPr/>
              <p:nvPr/>
            </p:nvSpPr>
            <p:spPr>
              <a:xfrm>
                <a:off x="4751990" y="3133870"/>
                <a:ext cx="350393" cy="396000"/>
              </a:xfrm>
              <a:prstGeom prst="parallelogram">
                <a:avLst/>
              </a:prstGeom>
              <a:solidFill>
                <a:srgbClr val="A8D2E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92" name="TextBox 91"/>
              <p:cNvSpPr txBox="1"/>
              <p:nvPr/>
            </p:nvSpPr>
            <p:spPr>
              <a:xfrm>
                <a:off x="4868288" y="3239537"/>
                <a:ext cx="117795" cy="213945"/>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US" sz="1200" dirty="0" smtClean="0">
                    <a:solidFill>
                      <a:schemeClr val="dk2"/>
                    </a:solidFill>
                  </a:rPr>
                  <a:t>9</a:t>
                </a:r>
                <a:endParaRPr lang="en-GB" sz="1200" dirty="0" err="1">
                  <a:solidFill>
                    <a:schemeClr val="dk2"/>
                  </a:solidFill>
                </a:endParaRPr>
              </a:p>
            </p:txBody>
          </p:sp>
        </p:grpSp>
        <p:grpSp>
          <p:nvGrpSpPr>
            <p:cNvPr id="93" name="Group 92"/>
            <p:cNvGrpSpPr/>
            <p:nvPr/>
          </p:nvGrpSpPr>
          <p:grpSpPr>
            <a:xfrm>
              <a:off x="669604" y="5939540"/>
              <a:ext cx="309108" cy="341806"/>
              <a:chOff x="4751990" y="3133870"/>
              <a:chExt cx="350393" cy="396000"/>
            </a:xfrm>
          </p:grpSpPr>
          <p:sp>
            <p:nvSpPr>
              <p:cNvPr id="103" name="Parallelogram 102"/>
              <p:cNvSpPr/>
              <p:nvPr/>
            </p:nvSpPr>
            <p:spPr>
              <a:xfrm>
                <a:off x="4751990" y="3133870"/>
                <a:ext cx="350393" cy="396000"/>
              </a:xfrm>
              <a:prstGeom prst="parallelogram">
                <a:avLst/>
              </a:prstGeom>
              <a:solidFill>
                <a:srgbClr val="A8D2E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104" name="TextBox 103"/>
              <p:cNvSpPr txBox="1"/>
              <p:nvPr/>
            </p:nvSpPr>
            <p:spPr>
              <a:xfrm>
                <a:off x="4810872" y="3230964"/>
                <a:ext cx="234095" cy="213945"/>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GB" sz="1200" dirty="0" smtClean="0">
                    <a:solidFill>
                      <a:schemeClr val="dk2"/>
                    </a:solidFill>
                  </a:rPr>
                  <a:t>10</a:t>
                </a:r>
                <a:endParaRPr lang="en-GB" sz="1200" dirty="0">
                  <a:solidFill>
                    <a:schemeClr val="dk2"/>
                  </a:solidFill>
                </a:endParaRPr>
              </a:p>
            </p:txBody>
          </p:sp>
        </p:grpSp>
      </p:grpSp>
      <p:graphicFrame>
        <p:nvGraphicFramePr>
          <p:cNvPr id="14" name="Table 13"/>
          <p:cNvGraphicFramePr>
            <a:graphicFrameLocks noGrp="1"/>
          </p:cNvGraphicFramePr>
          <p:nvPr>
            <p:extLst>
              <p:ext uri="{D42A27DB-BD31-4B8C-83A1-F6EECF244321}">
                <p14:modId xmlns:p14="http://schemas.microsoft.com/office/powerpoint/2010/main" val="1864773560"/>
              </p:ext>
            </p:extLst>
          </p:nvPr>
        </p:nvGraphicFramePr>
        <p:xfrm>
          <a:off x="9496119" y="5356739"/>
          <a:ext cx="2203348" cy="919441"/>
        </p:xfrm>
        <a:graphic>
          <a:graphicData uri="http://schemas.openxmlformats.org/drawingml/2006/table">
            <a:tbl>
              <a:tblPr firstRow="1" bandRow="1">
                <a:tableStyleId>{5C22544A-7EE6-4342-B048-85BDC9FD1C3A}</a:tableStyleId>
              </a:tblPr>
              <a:tblGrid>
                <a:gridCol w="1698318"/>
                <a:gridCol w="505030"/>
              </a:tblGrid>
              <a:tr h="265089">
                <a:tc>
                  <a:txBody>
                    <a:bodyPr/>
                    <a:lstStyle/>
                    <a:p>
                      <a:pPr algn="l" fontAlgn="b"/>
                      <a:r>
                        <a:rPr lang="en-GB" sz="1200" b="1" kern="1200" dirty="0" smtClean="0">
                          <a:solidFill>
                            <a:schemeClr val="dk2"/>
                          </a:solidFill>
                          <a:latin typeface="+mn-lt"/>
                          <a:ea typeface="+mn-ea"/>
                          <a:cs typeface="+mn-cs"/>
                        </a:rPr>
                        <a:t>Region</a:t>
                      </a:r>
                      <a:endParaRPr lang="en-GB" sz="1200" b="1" kern="1200" dirty="0">
                        <a:solidFill>
                          <a:schemeClr val="dk2"/>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200" b="1" kern="1200" dirty="0" smtClean="0">
                          <a:solidFill>
                            <a:schemeClr val="dk2"/>
                          </a:solidFill>
                          <a:latin typeface="+mn-lt"/>
                          <a:ea typeface="+mn-ea"/>
                          <a:cs typeface="+mn-cs"/>
                        </a:rPr>
                        <a:t>Count</a:t>
                      </a:r>
                      <a:endParaRPr lang="en-GB" sz="1200" b="1" kern="1200" dirty="0">
                        <a:solidFill>
                          <a:schemeClr val="dk2"/>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63588">
                <a:tc>
                  <a:txBody>
                    <a:bodyPr/>
                    <a:lstStyle/>
                    <a:p>
                      <a:pPr algn="l" fontAlgn="b"/>
                      <a:r>
                        <a:rPr lang="en-GB" sz="1000" b="0" kern="1200" dirty="0">
                          <a:solidFill>
                            <a:schemeClr val="dk2"/>
                          </a:solidFill>
                          <a:latin typeface="+mn-lt"/>
                          <a:ea typeface="+mn-ea"/>
                          <a:cs typeface="+mn-cs"/>
                        </a:rPr>
                        <a:t>Nordic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0" kern="1200" dirty="0" smtClean="0">
                          <a:solidFill>
                            <a:schemeClr val="dk2"/>
                          </a:solidFill>
                          <a:latin typeface="+mn-lt"/>
                          <a:ea typeface="+mn-ea"/>
                          <a:cs typeface="+mn-cs"/>
                        </a:rPr>
                        <a:t>200</a:t>
                      </a:r>
                      <a:endParaRPr lang="en-GB" sz="1000" b="0" kern="1200" dirty="0">
                        <a:solidFill>
                          <a:schemeClr val="dk2"/>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63588">
                <a:tc>
                  <a:txBody>
                    <a:bodyPr/>
                    <a:lstStyle/>
                    <a:p>
                      <a:pPr algn="l" fontAlgn="b"/>
                      <a:r>
                        <a:rPr lang="en-GB" sz="1000" b="0" kern="1200" dirty="0">
                          <a:solidFill>
                            <a:schemeClr val="dk2"/>
                          </a:solidFill>
                          <a:latin typeface="+mn-lt"/>
                          <a:ea typeface="+mn-ea"/>
                          <a:cs typeface="+mn-cs"/>
                        </a:rPr>
                        <a:t>Western </a:t>
                      </a:r>
                      <a:r>
                        <a:rPr lang="en-GB" sz="1000" b="0" kern="1200" dirty="0" smtClean="0">
                          <a:solidFill>
                            <a:schemeClr val="dk2"/>
                          </a:solidFill>
                          <a:latin typeface="+mn-lt"/>
                          <a:ea typeface="+mn-ea"/>
                          <a:cs typeface="+mn-cs"/>
                        </a:rPr>
                        <a:t>&amp; Southern Europe</a:t>
                      </a:r>
                      <a:endParaRPr lang="en-GB" sz="1000" b="0" kern="1200" dirty="0">
                        <a:solidFill>
                          <a:schemeClr val="dk2"/>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0" kern="1200" dirty="0" smtClean="0">
                          <a:solidFill>
                            <a:schemeClr val="dk2"/>
                          </a:solidFill>
                          <a:latin typeface="+mn-lt"/>
                          <a:ea typeface="+mn-ea"/>
                          <a:cs typeface="+mn-cs"/>
                        </a:rPr>
                        <a:t>103</a:t>
                      </a:r>
                      <a:endParaRPr lang="en-GB" sz="1000" b="0" kern="1200" dirty="0">
                        <a:solidFill>
                          <a:schemeClr val="dk2"/>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63588">
                <a:tc>
                  <a:txBody>
                    <a:bodyPr/>
                    <a:lstStyle/>
                    <a:p>
                      <a:pPr algn="l" fontAlgn="b"/>
                      <a:r>
                        <a:rPr lang="en-GB" sz="1000" b="0" kern="1200" dirty="0">
                          <a:solidFill>
                            <a:schemeClr val="dk2"/>
                          </a:solidFill>
                          <a:latin typeface="+mn-lt"/>
                          <a:ea typeface="+mn-ea"/>
                          <a:cs typeface="+mn-cs"/>
                        </a:rPr>
                        <a:t>Rest of the worl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0" kern="1200" dirty="0" smtClean="0">
                          <a:solidFill>
                            <a:schemeClr val="dk2"/>
                          </a:solidFill>
                          <a:latin typeface="+mn-lt"/>
                          <a:ea typeface="+mn-ea"/>
                          <a:cs typeface="+mn-cs"/>
                        </a:rPr>
                        <a:t>29</a:t>
                      </a:r>
                      <a:endParaRPr lang="en-GB" sz="1000" b="0" kern="1200" dirty="0">
                        <a:solidFill>
                          <a:schemeClr val="dk2"/>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63588">
                <a:tc>
                  <a:txBody>
                    <a:bodyPr/>
                    <a:lstStyle/>
                    <a:p>
                      <a:pPr algn="l" fontAlgn="b"/>
                      <a:r>
                        <a:rPr lang="en-GB" sz="1000" b="0" kern="1200" dirty="0">
                          <a:solidFill>
                            <a:schemeClr val="dk2"/>
                          </a:solidFill>
                          <a:latin typeface="+mn-lt"/>
                          <a:ea typeface="+mn-ea"/>
                          <a:cs typeface="+mn-cs"/>
                        </a:rPr>
                        <a:t>Eastern Europ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0" kern="1200" dirty="0" smtClean="0">
                          <a:solidFill>
                            <a:schemeClr val="dk2"/>
                          </a:solidFill>
                          <a:latin typeface="+mn-lt"/>
                          <a:ea typeface="+mn-ea"/>
                          <a:cs typeface="+mn-cs"/>
                        </a:rPr>
                        <a:t>16</a:t>
                      </a:r>
                      <a:endParaRPr lang="en-GB" sz="1000" b="0" kern="1200" dirty="0">
                        <a:solidFill>
                          <a:schemeClr val="dk2"/>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68" name="Straight Connector 67"/>
          <p:cNvCxnSpPr/>
          <p:nvPr/>
        </p:nvCxnSpPr>
        <p:spPr>
          <a:xfrm>
            <a:off x="9475799" y="5610678"/>
            <a:ext cx="2194560" cy="0"/>
          </a:xfrm>
          <a:prstGeom prst="line">
            <a:avLst/>
          </a:prstGeom>
          <a:ln w="12700"/>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38190619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8" name="Europe"/>
          <p:cNvGrpSpPr>
            <a:grpSpLocks noChangeAspect="1"/>
          </p:cNvGrpSpPr>
          <p:nvPr>
            <p:custDataLst>
              <p:tags r:id="rId1"/>
            </p:custDataLst>
          </p:nvPr>
        </p:nvGrpSpPr>
        <p:grpSpPr>
          <a:xfrm>
            <a:off x="4688665" y="959507"/>
            <a:ext cx="7330270" cy="5898493"/>
            <a:chOff x="432197" y="1520825"/>
            <a:chExt cx="5837390" cy="4697208"/>
          </a:xfrm>
        </p:grpSpPr>
        <p:sp>
          <p:nvSpPr>
            <p:cNvPr id="4" name="Freeform 3"/>
            <p:cNvSpPr>
              <a:spLocks/>
            </p:cNvSpPr>
            <p:nvPr>
              <p:custDataLst>
                <p:tags r:id="rId4"/>
              </p:custDataLst>
            </p:nvPr>
          </p:nvSpPr>
          <p:spPr bwMode="auto">
            <a:xfrm>
              <a:off x="3519838" y="1520825"/>
              <a:ext cx="2749749" cy="3841657"/>
            </a:xfrm>
            <a:custGeom>
              <a:avLst/>
              <a:gdLst/>
              <a:ahLst/>
              <a:cxnLst>
                <a:cxn ang="0">
                  <a:pos x="1086" y="165"/>
                </a:cxn>
                <a:cxn ang="0">
                  <a:pos x="918" y="255"/>
                </a:cxn>
                <a:cxn ang="0">
                  <a:pos x="870" y="93"/>
                </a:cxn>
                <a:cxn ang="0">
                  <a:pos x="858" y="290"/>
                </a:cxn>
                <a:cxn ang="0">
                  <a:pos x="759" y="464"/>
                </a:cxn>
                <a:cxn ang="0">
                  <a:pos x="635" y="602"/>
                </a:cxn>
                <a:cxn ang="0">
                  <a:pos x="617" y="725"/>
                </a:cxn>
                <a:cxn ang="0">
                  <a:pos x="364" y="386"/>
                </a:cxn>
                <a:cxn ang="0">
                  <a:pos x="714" y="302"/>
                </a:cxn>
                <a:cxn ang="0">
                  <a:pos x="292" y="243"/>
                </a:cxn>
                <a:cxn ang="0">
                  <a:pos x="190" y="225"/>
                </a:cxn>
                <a:cxn ang="0">
                  <a:pos x="200" y="389"/>
                </a:cxn>
                <a:cxn ang="0">
                  <a:pos x="252" y="656"/>
                </a:cxn>
                <a:cxn ang="0">
                  <a:pos x="302" y="875"/>
                </a:cxn>
                <a:cxn ang="0">
                  <a:pos x="208" y="1017"/>
                </a:cxn>
                <a:cxn ang="0">
                  <a:pos x="277" y="1055"/>
                </a:cxn>
                <a:cxn ang="0">
                  <a:pos x="261" y="1076"/>
                </a:cxn>
                <a:cxn ang="0">
                  <a:pos x="221" y="1159"/>
                </a:cxn>
                <a:cxn ang="0">
                  <a:pos x="226" y="1265"/>
                </a:cxn>
                <a:cxn ang="0">
                  <a:pos x="270" y="1399"/>
                </a:cxn>
                <a:cxn ang="0">
                  <a:pos x="212" y="1489"/>
                </a:cxn>
                <a:cxn ang="0">
                  <a:pos x="132" y="1597"/>
                </a:cxn>
                <a:cxn ang="0">
                  <a:pos x="77" y="1710"/>
                </a:cxn>
                <a:cxn ang="0">
                  <a:pos x="102" y="1902"/>
                </a:cxn>
                <a:cxn ang="0">
                  <a:pos x="22" y="2139"/>
                </a:cxn>
                <a:cxn ang="0">
                  <a:pos x="160" y="2126"/>
                </a:cxn>
                <a:cxn ang="0">
                  <a:pos x="294" y="2117"/>
                </a:cxn>
                <a:cxn ang="0">
                  <a:pos x="365" y="2278"/>
                </a:cxn>
                <a:cxn ang="0">
                  <a:pos x="500" y="2332"/>
                </a:cxn>
                <a:cxn ang="0">
                  <a:pos x="520" y="2287"/>
                </a:cxn>
                <a:cxn ang="0">
                  <a:pos x="553" y="2209"/>
                </a:cxn>
                <a:cxn ang="0">
                  <a:pos x="592" y="2243"/>
                </a:cxn>
                <a:cxn ang="0">
                  <a:pos x="629" y="2289"/>
                </a:cxn>
                <a:cxn ang="0">
                  <a:pos x="677" y="2356"/>
                </a:cxn>
                <a:cxn ang="0">
                  <a:pos x="750" y="2360"/>
                </a:cxn>
                <a:cxn ang="0">
                  <a:pos x="852" y="2297"/>
                </a:cxn>
                <a:cxn ang="0">
                  <a:pos x="756" y="2276"/>
                </a:cxn>
                <a:cxn ang="0">
                  <a:pos x="701" y="2214"/>
                </a:cxn>
                <a:cxn ang="0">
                  <a:pos x="1011" y="2093"/>
                </a:cxn>
                <a:cxn ang="0">
                  <a:pos x="933" y="2222"/>
                </a:cxn>
                <a:cxn ang="0">
                  <a:pos x="866" y="2332"/>
                </a:cxn>
                <a:cxn ang="0">
                  <a:pos x="1236" y="2424"/>
                </a:cxn>
                <a:cxn ang="0">
                  <a:pos x="1398" y="2493"/>
                </a:cxn>
                <a:cxn ang="0">
                  <a:pos x="1630" y="2632"/>
                </a:cxn>
                <a:cxn ang="0">
                  <a:pos x="1769" y="2650"/>
                </a:cxn>
                <a:cxn ang="0">
                  <a:pos x="1868" y="2516"/>
                </a:cxn>
                <a:cxn ang="0">
                  <a:pos x="1681" y="2255"/>
                </a:cxn>
                <a:cxn ang="0">
                  <a:pos x="1624" y="2013"/>
                </a:cxn>
                <a:cxn ang="0">
                  <a:pos x="1614" y="2024"/>
                </a:cxn>
                <a:cxn ang="0">
                  <a:pos x="1654" y="2248"/>
                </a:cxn>
                <a:cxn ang="0">
                  <a:pos x="1624" y="2220"/>
                </a:cxn>
                <a:cxn ang="0">
                  <a:pos x="1598" y="2082"/>
                </a:cxn>
                <a:cxn ang="0">
                  <a:pos x="1650" y="1945"/>
                </a:cxn>
                <a:cxn ang="0">
                  <a:pos x="1743" y="1829"/>
                </a:cxn>
                <a:cxn ang="0">
                  <a:pos x="1853" y="1529"/>
                </a:cxn>
                <a:cxn ang="0">
                  <a:pos x="1402" y="807"/>
                </a:cxn>
                <a:cxn ang="0">
                  <a:pos x="1280" y="64"/>
                </a:cxn>
              </a:cxnLst>
              <a:rect l="0" t="0" r="r" b="b"/>
              <a:pathLst>
                <a:path w="1925" h="2686">
                  <a:moveTo>
                    <a:pt x="1280" y="64"/>
                  </a:moveTo>
                  <a:lnTo>
                    <a:pt x="1164" y="0"/>
                  </a:lnTo>
                  <a:lnTo>
                    <a:pt x="1128" y="108"/>
                  </a:lnTo>
                  <a:lnTo>
                    <a:pt x="1062" y="90"/>
                  </a:lnTo>
                  <a:lnTo>
                    <a:pt x="1089" y="117"/>
                  </a:lnTo>
                  <a:lnTo>
                    <a:pt x="1131" y="135"/>
                  </a:lnTo>
                  <a:lnTo>
                    <a:pt x="1086" y="165"/>
                  </a:lnTo>
                  <a:lnTo>
                    <a:pt x="1101" y="279"/>
                  </a:lnTo>
                  <a:lnTo>
                    <a:pt x="1068" y="314"/>
                  </a:lnTo>
                  <a:lnTo>
                    <a:pt x="1023" y="329"/>
                  </a:lnTo>
                  <a:lnTo>
                    <a:pt x="981" y="323"/>
                  </a:lnTo>
                  <a:lnTo>
                    <a:pt x="957" y="296"/>
                  </a:lnTo>
                  <a:lnTo>
                    <a:pt x="936" y="281"/>
                  </a:lnTo>
                  <a:lnTo>
                    <a:pt x="918" y="255"/>
                  </a:lnTo>
                  <a:lnTo>
                    <a:pt x="924" y="219"/>
                  </a:lnTo>
                  <a:lnTo>
                    <a:pt x="903" y="192"/>
                  </a:lnTo>
                  <a:lnTo>
                    <a:pt x="957" y="174"/>
                  </a:lnTo>
                  <a:lnTo>
                    <a:pt x="966" y="138"/>
                  </a:lnTo>
                  <a:lnTo>
                    <a:pt x="948" y="90"/>
                  </a:lnTo>
                  <a:lnTo>
                    <a:pt x="900" y="75"/>
                  </a:lnTo>
                  <a:lnTo>
                    <a:pt x="870" y="93"/>
                  </a:lnTo>
                  <a:lnTo>
                    <a:pt x="804" y="102"/>
                  </a:lnTo>
                  <a:lnTo>
                    <a:pt x="768" y="99"/>
                  </a:lnTo>
                  <a:lnTo>
                    <a:pt x="804" y="132"/>
                  </a:lnTo>
                  <a:lnTo>
                    <a:pt x="831" y="171"/>
                  </a:lnTo>
                  <a:lnTo>
                    <a:pt x="849" y="201"/>
                  </a:lnTo>
                  <a:lnTo>
                    <a:pt x="861" y="243"/>
                  </a:lnTo>
                  <a:lnTo>
                    <a:pt x="858" y="290"/>
                  </a:lnTo>
                  <a:lnTo>
                    <a:pt x="882" y="311"/>
                  </a:lnTo>
                  <a:lnTo>
                    <a:pt x="918" y="395"/>
                  </a:lnTo>
                  <a:lnTo>
                    <a:pt x="885" y="377"/>
                  </a:lnTo>
                  <a:lnTo>
                    <a:pt x="843" y="359"/>
                  </a:lnTo>
                  <a:lnTo>
                    <a:pt x="810" y="341"/>
                  </a:lnTo>
                  <a:lnTo>
                    <a:pt x="798" y="410"/>
                  </a:lnTo>
                  <a:lnTo>
                    <a:pt x="759" y="464"/>
                  </a:lnTo>
                  <a:lnTo>
                    <a:pt x="729" y="488"/>
                  </a:lnTo>
                  <a:lnTo>
                    <a:pt x="801" y="590"/>
                  </a:lnTo>
                  <a:lnTo>
                    <a:pt x="789" y="620"/>
                  </a:lnTo>
                  <a:lnTo>
                    <a:pt x="750" y="632"/>
                  </a:lnTo>
                  <a:lnTo>
                    <a:pt x="693" y="617"/>
                  </a:lnTo>
                  <a:lnTo>
                    <a:pt x="668" y="611"/>
                  </a:lnTo>
                  <a:lnTo>
                    <a:pt x="635" y="602"/>
                  </a:lnTo>
                  <a:lnTo>
                    <a:pt x="614" y="623"/>
                  </a:lnTo>
                  <a:lnTo>
                    <a:pt x="626" y="650"/>
                  </a:lnTo>
                  <a:lnTo>
                    <a:pt x="650" y="665"/>
                  </a:lnTo>
                  <a:lnTo>
                    <a:pt x="705" y="659"/>
                  </a:lnTo>
                  <a:lnTo>
                    <a:pt x="723" y="734"/>
                  </a:lnTo>
                  <a:lnTo>
                    <a:pt x="678" y="746"/>
                  </a:lnTo>
                  <a:lnTo>
                    <a:pt x="617" y="725"/>
                  </a:lnTo>
                  <a:lnTo>
                    <a:pt x="551" y="692"/>
                  </a:lnTo>
                  <a:lnTo>
                    <a:pt x="526" y="662"/>
                  </a:lnTo>
                  <a:lnTo>
                    <a:pt x="490" y="533"/>
                  </a:lnTo>
                  <a:lnTo>
                    <a:pt x="463" y="494"/>
                  </a:lnTo>
                  <a:lnTo>
                    <a:pt x="409" y="458"/>
                  </a:lnTo>
                  <a:lnTo>
                    <a:pt x="382" y="422"/>
                  </a:lnTo>
                  <a:lnTo>
                    <a:pt x="364" y="386"/>
                  </a:lnTo>
                  <a:lnTo>
                    <a:pt x="490" y="440"/>
                  </a:lnTo>
                  <a:lnTo>
                    <a:pt x="587" y="449"/>
                  </a:lnTo>
                  <a:lnTo>
                    <a:pt x="650" y="437"/>
                  </a:lnTo>
                  <a:lnTo>
                    <a:pt x="678" y="422"/>
                  </a:lnTo>
                  <a:lnTo>
                    <a:pt x="702" y="383"/>
                  </a:lnTo>
                  <a:lnTo>
                    <a:pt x="714" y="350"/>
                  </a:lnTo>
                  <a:lnTo>
                    <a:pt x="714" y="302"/>
                  </a:lnTo>
                  <a:lnTo>
                    <a:pt x="659" y="270"/>
                  </a:lnTo>
                  <a:lnTo>
                    <a:pt x="635" y="281"/>
                  </a:lnTo>
                  <a:lnTo>
                    <a:pt x="543" y="225"/>
                  </a:lnTo>
                  <a:lnTo>
                    <a:pt x="463" y="225"/>
                  </a:lnTo>
                  <a:lnTo>
                    <a:pt x="346" y="234"/>
                  </a:lnTo>
                  <a:lnTo>
                    <a:pt x="310" y="243"/>
                  </a:lnTo>
                  <a:lnTo>
                    <a:pt x="292" y="243"/>
                  </a:lnTo>
                  <a:lnTo>
                    <a:pt x="271" y="223"/>
                  </a:lnTo>
                  <a:lnTo>
                    <a:pt x="286" y="180"/>
                  </a:lnTo>
                  <a:lnTo>
                    <a:pt x="261" y="179"/>
                  </a:lnTo>
                  <a:lnTo>
                    <a:pt x="246" y="204"/>
                  </a:lnTo>
                  <a:lnTo>
                    <a:pt x="220" y="201"/>
                  </a:lnTo>
                  <a:lnTo>
                    <a:pt x="201" y="207"/>
                  </a:lnTo>
                  <a:lnTo>
                    <a:pt x="190" y="225"/>
                  </a:lnTo>
                  <a:lnTo>
                    <a:pt x="162" y="249"/>
                  </a:lnTo>
                  <a:lnTo>
                    <a:pt x="158" y="290"/>
                  </a:lnTo>
                  <a:lnTo>
                    <a:pt x="151" y="305"/>
                  </a:lnTo>
                  <a:lnTo>
                    <a:pt x="151" y="329"/>
                  </a:lnTo>
                  <a:lnTo>
                    <a:pt x="180" y="348"/>
                  </a:lnTo>
                  <a:lnTo>
                    <a:pt x="183" y="366"/>
                  </a:lnTo>
                  <a:lnTo>
                    <a:pt x="200" y="389"/>
                  </a:lnTo>
                  <a:lnTo>
                    <a:pt x="206" y="407"/>
                  </a:lnTo>
                  <a:lnTo>
                    <a:pt x="207" y="431"/>
                  </a:lnTo>
                  <a:lnTo>
                    <a:pt x="203" y="457"/>
                  </a:lnTo>
                  <a:lnTo>
                    <a:pt x="214" y="501"/>
                  </a:lnTo>
                  <a:lnTo>
                    <a:pt x="234" y="540"/>
                  </a:lnTo>
                  <a:lnTo>
                    <a:pt x="229" y="602"/>
                  </a:lnTo>
                  <a:lnTo>
                    <a:pt x="252" y="656"/>
                  </a:lnTo>
                  <a:lnTo>
                    <a:pt x="257" y="707"/>
                  </a:lnTo>
                  <a:lnTo>
                    <a:pt x="266" y="729"/>
                  </a:lnTo>
                  <a:lnTo>
                    <a:pt x="305" y="760"/>
                  </a:lnTo>
                  <a:lnTo>
                    <a:pt x="319" y="791"/>
                  </a:lnTo>
                  <a:lnTo>
                    <a:pt x="319" y="818"/>
                  </a:lnTo>
                  <a:lnTo>
                    <a:pt x="307" y="865"/>
                  </a:lnTo>
                  <a:lnTo>
                    <a:pt x="302" y="875"/>
                  </a:lnTo>
                  <a:lnTo>
                    <a:pt x="307" y="887"/>
                  </a:lnTo>
                  <a:lnTo>
                    <a:pt x="292" y="912"/>
                  </a:lnTo>
                  <a:lnTo>
                    <a:pt x="270" y="923"/>
                  </a:lnTo>
                  <a:lnTo>
                    <a:pt x="265" y="938"/>
                  </a:lnTo>
                  <a:lnTo>
                    <a:pt x="237" y="978"/>
                  </a:lnTo>
                  <a:lnTo>
                    <a:pt x="212" y="991"/>
                  </a:lnTo>
                  <a:lnTo>
                    <a:pt x="208" y="1017"/>
                  </a:lnTo>
                  <a:lnTo>
                    <a:pt x="224" y="1015"/>
                  </a:lnTo>
                  <a:lnTo>
                    <a:pt x="237" y="1000"/>
                  </a:lnTo>
                  <a:lnTo>
                    <a:pt x="247" y="1003"/>
                  </a:lnTo>
                  <a:lnTo>
                    <a:pt x="253" y="1018"/>
                  </a:lnTo>
                  <a:lnTo>
                    <a:pt x="236" y="1030"/>
                  </a:lnTo>
                  <a:lnTo>
                    <a:pt x="262" y="1056"/>
                  </a:lnTo>
                  <a:lnTo>
                    <a:pt x="277" y="1055"/>
                  </a:lnTo>
                  <a:lnTo>
                    <a:pt x="295" y="1066"/>
                  </a:lnTo>
                  <a:lnTo>
                    <a:pt x="319" y="1088"/>
                  </a:lnTo>
                  <a:lnTo>
                    <a:pt x="328" y="1114"/>
                  </a:lnTo>
                  <a:lnTo>
                    <a:pt x="328" y="1114"/>
                  </a:lnTo>
                  <a:lnTo>
                    <a:pt x="296" y="1090"/>
                  </a:lnTo>
                  <a:lnTo>
                    <a:pt x="280" y="1078"/>
                  </a:lnTo>
                  <a:lnTo>
                    <a:pt x="261" y="1076"/>
                  </a:lnTo>
                  <a:lnTo>
                    <a:pt x="263" y="1088"/>
                  </a:lnTo>
                  <a:lnTo>
                    <a:pt x="247" y="1082"/>
                  </a:lnTo>
                  <a:lnTo>
                    <a:pt x="229" y="1082"/>
                  </a:lnTo>
                  <a:lnTo>
                    <a:pt x="232" y="1106"/>
                  </a:lnTo>
                  <a:lnTo>
                    <a:pt x="236" y="1120"/>
                  </a:lnTo>
                  <a:lnTo>
                    <a:pt x="229" y="1150"/>
                  </a:lnTo>
                  <a:lnTo>
                    <a:pt x="221" y="1159"/>
                  </a:lnTo>
                  <a:lnTo>
                    <a:pt x="193" y="1159"/>
                  </a:lnTo>
                  <a:lnTo>
                    <a:pt x="190" y="1177"/>
                  </a:lnTo>
                  <a:lnTo>
                    <a:pt x="205" y="1195"/>
                  </a:lnTo>
                  <a:lnTo>
                    <a:pt x="214" y="1226"/>
                  </a:lnTo>
                  <a:lnTo>
                    <a:pt x="234" y="1240"/>
                  </a:lnTo>
                  <a:lnTo>
                    <a:pt x="234" y="1256"/>
                  </a:lnTo>
                  <a:lnTo>
                    <a:pt x="226" y="1265"/>
                  </a:lnTo>
                  <a:lnTo>
                    <a:pt x="228" y="1276"/>
                  </a:lnTo>
                  <a:lnTo>
                    <a:pt x="236" y="1286"/>
                  </a:lnTo>
                  <a:lnTo>
                    <a:pt x="252" y="1324"/>
                  </a:lnTo>
                  <a:lnTo>
                    <a:pt x="267" y="1339"/>
                  </a:lnTo>
                  <a:lnTo>
                    <a:pt x="280" y="1345"/>
                  </a:lnTo>
                  <a:lnTo>
                    <a:pt x="285" y="1380"/>
                  </a:lnTo>
                  <a:lnTo>
                    <a:pt x="270" y="1399"/>
                  </a:lnTo>
                  <a:lnTo>
                    <a:pt x="249" y="1420"/>
                  </a:lnTo>
                  <a:lnTo>
                    <a:pt x="240" y="1436"/>
                  </a:lnTo>
                  <a:lnTo>
                    <a:pt x="229" y="1441"/>
                  </a:lnTo>
                  <a:lnTo>
                    <a:pt x="211" y="1440"/>
                  </a:lnTo>
                  <a:lnTo>
                    <a:pt x="204" y="1449"/>
                  </a:lnTo>
                  <a:lnTo>
                    <a:pt x="209" y="1456"/>
                  </a:lnTo>
                  <a:lnTo>
                    <a:pt x="212" y="1489"/>
                  </a:lnTo>
                  <a:lnTo>
                    <a:pt x="196" y="1491"/>
                  </a:lnTo>
                  <a:lnTo>
                    <a:pt x="181" y="1504"/>
                  </a:lnTo>
                  <a:lnTo>
                    <a:pt x="178" y="1525"/>
                  </a:lnTo>
                  <a:lnTo>
                    <a:pt x="172" y="1542"/>
                  </a:lnTo>
                  <a:lnTo>
                    <a:pt x="167" y="1593"/>
                  </a:lnTo>
                  <a:lnTo>
                    <a:pt x="147" y="1592"/>
                  </a:lnTo>
                  <a:lnTo>
                    <a:pt x="132" y="1597"/>
                  </a:lnTo>
                  <a:lnTo>
                    <a:pt x="119" y="1614"/>
                  </a:lnTo>
                  <a:lnTo>
                    <a:pt x="102" y="1625"/>
                  </a:lnTo>
                  <a:lnTo>
                    <a:pt x="84" y="1614"/>
                  </a:lnTo>
                  <a:lnTo>
                    <a:pt x="63" y="1618"/>
                  </a:lnTo>
                  <a:lnTo>
                    <a:pt x="61" y="1641"/>
                  </a:lnTo>
                  <a:lnTo>
                    <a:pt x="71" y="1668"/>
                  </a:lnTo>
                  <a:lnTo>
                    <a:pt x="77" y="1710"/>
                  </a:lnTo>
                  <a:lnTo>
                    <a:pt x="48" y="1749"/>
                  </a:lnTo>
                  <a:lnTo>
                    <a:pt x="61" y="1767"/>
                  </a:lnTo>
                  <a:lnTo>
                    <a:pt x="55" y="1794"/>
                  </a:lnTo>
                  <a:lnTo>
                    <a:pt x="57" y="1819"/>
                  </a:lnTo>
                  <a:lnTo>
                    <a:pt x="70" y="1830"/>
                  </a:lnTo>
                  <a:lnTo>
                    <a:pt x="89" y="1860"/>
                  </a:lnTo>
                  <a:lnTo>
                    <a:pt x="102" y="1902"/>
                  </a:lnTo>
                  <a:lnTo>
                    <a:pt x="100" y="1927"/>
                  </a:lnTo>
                  <a:lnTo>
                    <a:pt x="32" y="1990"/>
                  </a:lnTo>
                  <a:lnTo>
                    <a:pt x="46" y="2038"/>
                  </a:lnTo>
                  <a:lnTo>
                    <a:pt x="16" y="2069"/>
                  </a:lnTo>
                  <a:lnTo>
                    <a:pt x="0" y="2083"/>
                  </a:lnTo>
                  <a:lnTo>
                    <a:pt x="0" y="2103"/>
                  </a:lnTo>
                  <a:lnTo>
                    <a:pt x="22" y="2139"/>
                  </a:lnTo>
                  <a:lnTo>
                    <a:pt x="49" y="2140"/>
                  </a:lnTo>
                  <a:lnTo>
                    <a:pt x="60" y="2144"/>
                  </a:lnTo>
                  <a:lnTo>
                    <a:pt x="80" y="2132"/>
                  </a:lnTo>
                  <a:lnTo>
                    <a:pt x="100" y="2129"/>
                  </a:lnTo>
                  <a:lnTo>
                    <a:pt x="114" y="2137"/>
                  </a:lnTo>
                  <a:lnTo>
                    <a:pt x="134" y="2136"/>
                  </a:lnTo>
                  <a:lnTo>
                    <a:pt x="160" y="2126"/>
                  </a:lnTo>
                  <a:lnTo>
                    <a:pt x="175" y="2131"/>
                  </a:lnTo>
                  <a:lnTo>
                    <a:pt x="188" y="2142"/>
                  </a:lnTo>
                  <a:lnTo>
                    <a:pt x="207" y="2143"/>
                  </a:lnTo>
                  <a:lnTo>
                    <a:pt x="228" y="2127"/>
                  </a:lnTo>
                  <a:lnTo>
                    <a:pt x="260" y="2126"/>
                  </a:lnTo>
                  <a:lnTo>
                    <a:pt x="274" y="2111"/>
                  </a:lnTo>
                  <a:lnTo>
                    <a:pt x="294" y="2117"/>
                  </a:lnTo>
                  <a:lnTo>
                    <a:pt x="310" y="2151"/>
                  </a:lnTo>
                  <a:lnTo>
                    <a:pt x="331" y="2167"/>
                  </a:lnTo>
                  <a:lnTo>
                    <a:pt x="342" y="2195"/>
                  </a:lnTo>
                  <a:lnTo>
                    <a:pt x="361" y="2216"/>
                  </a:lnTo>
                  <a:lnTo>
                    <a:pt x="367" y="2234"/>
                  </a:lnTo>
                  <a:lnTo>
                    <a:pt x="365" y="2259"/>
                  </a:lnTo>
                  <a:lnTo>
                    <a:pt x="365" y="2278"/>
                  </a:lnTo>
                  <a:lnTo>
                    <a:pt x="380" y="2300"/>
                  </a:lnTo>
                  <a:lnTo>
                    <a:pt x="384" y="2336"/>
                  </a:lnTo>
                  <a:lnTo>
                    <a:pt x="397" y="2342"/>
                  </a:lnTo>
                  <a:lnTo>
                    <a:pt x="420" y="2345"/>
                  </a:lnTo>
                  <a:lnTo>
                    <a:pt x="451" y="2339"/>
                  </a:lnTo>
                  <a:lnTo>
                    <a:pt x="480" y="2345"/>
                  </a:lnTo>
                  <a:lnTo>
                    <a:pt x="500" y="2332"/>
                  </a:lnTo>
                  <a:lnTo>
                    <a:pt x="478" y="2315"/>
                  </a:lnTo>
                  <a:lnTo>
                    <a:pt x="470" y="2283"/>
                  </a:lnTo>
                  <a:lnTo>
                    <a:pt x="493" y="2312"/>
                  </a:lnTo>
                  <a:lnTo>
                    <a:pt x="501" y="2306"/>
                  </a:lnTo>
                  <a:lnTo>
                    <a:pt x="487" y="2288"/>
                  </a:lnTo>
                  <a:lnTo>
                    <a:pt x="505" y="2297"/>
                  </a:lnTo>
                  <a:lnTo>
                    <a:pt x="520" y="2287"/>
                  </a:lnTo>
                  <a:lnTo>
                    <a:pt x="528" y="2270"/>
                  </a:lnTo>
                  <a:lnTo>
                    <a:pt x="520" y="2258"/>
                  </a:lnTo>
                  <a:lnTo>
                    <a:pt x="501" y="2246"/>
                  </a:lnTo>
                  <a:lnTo>
                    <a:pt x="527" y="2248"/>
                  </a:lnTo>
                  <a:lnTo>
                    <a:pt x="526" y="2231"/>
                  </a:lnTo>
                  <a:lnTo>
                    <a:pt x="538" y="2224"/>
                  </a:lnTo>
                  <a:lnTo>
                    <a:pt x="553" y="2209"/>
                  </a:lnTo>
                  <a:lnTo>
                    <a:pt x="561" y="2207"/>
                  </a:lnTo>
                  <a:lnTo>
                    <a:pt x="575" y="2206"/>
                  </a:lnTo>
                  <a:lnTo>
                    <a:pt x="587" y="2222"/>
                  </a:lnTo>
                  <a:lnTo>
                    <a:pt x="561" y="2231"/>
                  </a:lnTo>
                  <a:lnTo>
                    <a:pt x="562" y="2241"/>
                  </a:lnTo>
                  <a:lnTo>
                    <a:pt x="588" y="2251"/>
                  </a:lnTo>
                  <a:lnTo>
                    <a:pt x="592" y="2243"/>
                  </a:lnTo>
                  <a:lnTo>
                    <a:pt x="606" y="2247"/>
                  </a:lnTo>
                  <a:lnTo>
                    <a:pt x="623" y="2242"/>
                  </a:lnTo>
                  <a:lnTo>
                    <a:pt x="643" y="2238"/>
                  </a:lnTo>
                  <a:lnTo>
                    <a:pt x="656" y="2234"/>
                  </a:lnTo>
                  <a:lnTo>
                    <a:pt x="661" y="2250"/>
                  </a:lnTo>
                  <a:lnTo>
                    <a:pt x="636" y="2267"/>
                  </a:lnTo>
                  <a:lnTo>
                    <a:pt x="629" y="2289"/>
                  </a:lnTo>
                  <a:lnTo>
                    <a:pt x="617" y="2305"/>
                  </a:lnTo>
                  <a:lnTo>
                    <a:pt x="614" y="2327"/>
                  </a:lnTo>
                  <a:lnTo>
                    <a:pt x="635" y="2334"/>
                  </a:lnTo>
                  <a:lnTo>
                    <a:pt x="647" y="2336"/>
                  </a:lnTo>
                  <a:lnTo>
                    <a:pt x="661" y="2336"/>
                  </a:lnTo>
                  <a:lnTo>
                    <a:pt x="671" y="2339"/>
                  </a:lnTo>
                  <a:lnTo>
                    <a:pt x="677" y="2356"/>
                  </a:lnTo>
                  <a:lnTo>
                    <a:pt x="683" y="2371"/>
                  </a:lnTo>
                  <a:lnTo>
                    <a:pt x="677" y="2404"/>
                  </a:lnTo>
                  <a:lnTo>
                    <a:pt x="703" y="2416"/>
                  </a:lnTo>
                  <a:lnTo>
                    <a:pt x="713" y="2407"/>
                  </a:lnTo>
                  <a:lnTo>
                    <a:pt x="724" y="2390"/>
                  </a:lnTo>
                  <a:lnTo>
                    <a:pt x="733" y="2369"/>
                  </a:lnTo>
                  <a:lnTo>
                    <a:pt x="750" y="2360"/>
                  </a:lnTo>
                  <a:lnTo>
                    <a:pt x="768" y="2347"/>
                  </a:lnTo>
                  <a:lnTo>
                    <a:pt x="778" y="2326"/>
                  </a:lnTo>
                  <a:lnTo>
                    <a:pt x="788" y="2330"/>
                  </a:lnTo>
                  <a:lnTo>
                    <a:pt x="798" y="2335"/>
                  </a:lnTo>
                  <a:lnTo>
                    <a:pt x="816" y="2339"/>
                  </a:lnTo>
                  <a:lnTo>
                    <a:pt x="839" y="2326"/>
                  </a:lnTo>
                  <a:lnTo>
                    <a:pt x="852" y="2297"/>
                  </a:lnTo>
                  <a:lnTo>
                    <a:pt x="830" y="2297"/>
                  </a:lnTo>
                  <a:lnTo>
                    <a:pt x="815" y="2305"/>
                  </a:lnTo>
                  <a:lnTo>
                    <a:pt x="807" y="2295"/>
                  </a:lnTo>
                  <a:lnTo>
                    <a:pt x="795" y="2306"/>
                  </a:lnTo>
                  <a:lnTo>
                    <a:pt x="776" y="2306"/>
                  </a:lnTo>
                  <a:lnTo>
                    <a:pt x="761" y="2299"/>
                  </a:lnTo>
                  <a:lnTo>
                    <a:pt x="756" y="2276"/>
                  </a:lnTo>
                  <a:lnTo>
                    <a:pt x="743" y="2260"/>
                  </a:lnTo>
                  <a:lnTo>
                    <a:pt x="733" y="2251"/>
                  </a:lnTo>
                  <a:lnTo>
                    <a:pt x="727" y="2247"/>
                  </a:lnTo>
                  <a:lnTo>
                    <a:pt x="716" y="2240"/>
                  </a:lnTo>
                  <a:lnTo>
                    <a:pt x="690" y="2237"/>
                  </a:lnTo>
                  <a:lnTo>
                    <a:pt x="670" y="2217"/>
                  </a:lnTo>
                  <a:lnTo>
                    <a:pt x="701" y="2214"/>
                  </a:lnTo>
                  <a:lnTo>
                    <a:pt x="728" y="2207"/>
                  </a:lnTo>
                  <a:lnTo>
                    <a:pt x="747" y="2186"/>
                  </a:lnTo>
                  <a:lnTo>
                    <a:pt x="818" y="2156"/>
                  </a:lnTo>
                  <a:lnTo>
                    <a:pt x="861" y="2126"/>
                  </a:lnTo>
                  <a:lnTo>
                    <a:pt x="927" y="2108"/>
                  </a:lnTo>
                  <a:lnTo>
                    <a:pt x="978" y="2091"/>
                  </a:lnTo>
                  <a:lnTo>
                    <a:pt x="1011" y="2093"/>
                  </a:lnTo>
                  <a:lnTo>
                    <a:pt x="969" y="2126"/>
                  </a:lnTo>
                  <a:lnTo>
                    <a:pt x="996" y="2141"/>
                  </a:lnTo>
                  <a:lnTo>
                    <a:pt x="942" y="2147"/>
                  </a:lnTo>
                  <a:lnTo>
                    <a:pt x="944" y="2169"/>
                  </a:lnTo>
                  <a:lnTo>
                    <a:pt x="983" y="2194"/>
                  </a:lnTo>
                  <a:lnTo>
                    <a:pt x="954" y="2196"/>
                  </a:lnTo>
                  <a:lnTo>
                    <a:pt x="933" y="2222"/>
                  </a:lnTo>
                  <a:lnTo>
                    <a:pt x="921" y="2247"/>
                  </a:lnTo>
                  <a:lnTo>
                    <a:pt x="918" y="2285"/>
                  </a:lnTo>
                  <a:lnTo>
                    <a:pt x="898" y="2309"/>
                  </a:lnTo>
                  <a:lnTo>
                    <a:pt x="886" y="2306"/>
                  </a:lnTo>
                  <a:lnTo>
                    <a:pt x="870" y="2301"/>
                  </a:lnTo>
                  <a:lnTo>
                    <a:pt x="879" y="2321"/>
                  </a:lnTo>
                  <a:lnTo>
                    <a:pt x="866" y="2332"/>
                  </a:lnTo>
                  <a:lnTo>
                    <a:pt x="905" y="2345"/>
                  </a:lnTo>
                  <a:lnTo>
                    <a:pt x="936" y="2372"/>
                  </a:lnTo>
                  <a:lnTo>
                    <a:pt x="993" y="2380"/>
                  </a:lnTo>
                  <a:lnTo>
                    <a:pt x="1068" y="2387"/>
                  </a:lnTo>
                  <a:lnTo>
                    <a:pt x="1116" y="2396"/>
                  </a:lnTo>
                  <a:lnTo>
                    <a:pt x="1173" y="2405"/>
                  </a:lnTo>
                  <a:lnTo>
                    <a:pt x="1236" y="2424"/>
                  </a:lnTo>
                  <a:lnTo>
                    <a:pt x="1267" y="2431"/>
                  </a:lnTo>
                  <a:lnTo>
                    <a:pt x="1291" y="2453"/>
                  </a:lnTo>
                  <a:lnTo>
                    <a:pt x="1300" y="2480"/>
                  </a:lnTo>
                  <a:lnTo>
                    <a:pt x="1303" y="2512"/>
                  </a:lnTo>
                  <a:lnTo>
                    <a:pt x="1359" y="2515"/>
                  </a:lnTo>
                  <a:lnTo>
                    <a:pt x="1381" y="2489"/>
                  </a:lnTo>
                  <a:lnTo>
                    <a:pt x="1398" y="2493"/>
                  </a:lnTo>
                  <a:lnTo>
                    <a:pt x="1402" y="2507"/>
                  </a:lnTo>
                  <a:lnTo>
                    <a:pt x="1447" y="2517"/>
                  </a:lnTo>
                  <a:lnTo>
                    <a:pt x="1470" y="2575"/>
                  </a:lnTo>
                  <a:lnTo>
                    <a:pt x="1553" y="2578"/>
                  </a:lnTo>
                  <a:lnTo>
                    <a:pt x="1580" y="2613"/>
                  </a:lnTo>
                  <a:lnTo>
                    <a:pt x="1603" y="2629"/>
                  </a:lnTo>
                  <a:lnTo>
                    <a:pt x="1630" y="2632"/>
                  </a:lnTo>
                  <a:lnTo>
                    <a:pt x="1663" y="2653"/>
                  </a:lnTo>
                  <a:lnTo>
                    <a:pt x="1700" y="2641"/>
                  </a:lnTo>
                  <a:lnTo>
                    <a:pt x="1715" y="2620"/>
                  </a:lnTo>
                  <a:lnTo>
                    <a:pt x="1733" y="2591"/>
                  </a:lnTo>
                  <a:lnTo>
                    <a:pt x="1766" y="2594"/>
                  </a:lnTo>
                  <a:lnTo>
                    <a:pt x="1781" y="2611"/>
                  </a:lnTo>
                  <a:lnTo>
                    <a:pt x="1769" y="2650"/>
                  </a:lnTo>
                  <a:lnTo>
                    <a:pt x="1832" y="2686"/>
                  </a:lnTo>
                  <a:lnTo>
                    <a:pt x="1832" y="2635"/>
                  </a:lnTo>
                  <a:lnTo>
                    <a:pt x="1832" y="2617"/>
                  </a:lnTo>
                  <a:lnTo>
                    <a:pt x="1844" y="2608"/>
                  </a:lnTo>
                  <a:lnTo>
                    <a:pt x="1862" y="2638"/>
                  </a:lnTo>
                  <a:lnTo>
                    <a:pt x="1850" y="2552"/>
                  </a:lnTo>
                  <a:lnTo>
                    <a:pt x="1868" y="2516"/>
                  </a:lnTo>
                  <a:lnTo>
                    <a:pt x="1886" y="2498"/>
                  </a:lnTo>
                  <a:lnTo>
                    <a:pt x="1910" y="2480"/>
                  </a:lnTo>
                  <a:lnTo>
                    <a:pt x="1859" y="2471"/>
                  </a:lnTo>
                  <a:lnTo>
                    <a:pt x="1832" y="2471"/>
                  </a:lnTo>
                  <a:lnTo>
                    <a:pt x="1742" y="2390"/>
                  </a:lnTo>
                  <a:lnTo>
                    <a:pt x="1700" y="2345"/>
                  </a:lnTo>
                  <a:lnTo>
                    <a:pt x="1681" y="2255"/>
                  </a:lnTo>
                  <a:lnTo>
                    <a:pt x="1672" y="2309"/>
                  </a:lnTo>
                  <a:lnTo>
                    <a:pt x="1660" y="2252"/>
                  </a:lnTo>
                  <a:lnTo>
                    <a:pt x="1606" y="2201"/>
                  </a:lnTo>
                  <a:lnTo>
                    <a:pt x="1579" y="2156"/>
                  </a:lnTo>
                  <a:lnTo>
                    <a:pt x="1588" y="2102"/>
                  </a:lnTo>
                  <a:lnTo>
                    <a:pt x="1606" y="2066"/>
                  </a:lnTo>
                  <a:lnTo>
                    <a:pt x="1624" y="2013"/>
                  </a:lnTo>
                  <a:lnTo>
                    <a:pt x="1651" y="1968"/>
                  </a:lnTo>
                  <a:lnTo>
                    <a:pt x="1651" y="1968"/>
                  </a:lnTo>
                  <a:lnTo>
                    <a:pt x="1651" y="1932"/>
                  </a:lnTo>
                  <a:lnTo>
                    <a:pt x="1715" y="1932"/>
                  </a:lnTo>
                  <a:lnTo>
                    <a:pt x="1650" y="1931"/>
                  </a:lnTo>
                  <a:lnTo>
                    <a:pt x="1646" y="1979"/>
                  </a:lnTo>
                  <a:lnTo>
                    <a:pt x="1614" y="2024"/>
                  </a:lnTo>
                  <a:lnTo>
                    <a:pt x="1606" y="2060"/>
                  </a:lnTo>
                  <a:lnTo>
                    <a:pt x="1588" y="2094"/>
                  </a:lnTo>
                  <a:lnTo>
                    <a:pt x="1582" y="2124"/>
                  </a:lnTo>
                  <a:lnTo>
                    <a:pt x="1580" y="2156"/>
                  </a:lnTo>
                  <a:lnTo>
                    <a:pt x="1608" y="2204"/>
                  </a:lnTo>
                  <a:lnTo>
                    <a:pt x="1638" y="2230"/>
                  </a:lnTo>
                  <a:lnTo>
                    <a:pt x="1654" y="2248"/>
                  </a:lnTo>
                  <a:lnTo>
                    <a:pt x="1668" y="2310"/>
                  </a:lnTo>
                  <a:lnTo>
                    <a:pt x="1682" y="2256"/>
                  </a:lnTo>
                  <a:lnTo>
                    <a:pt x="1668" y="2306"/>
                  </a:lnTo>
                  <a:lnTo>
                    <a:pt x="1660" y="2274"/>
                  </a:lnTo>
                  <a:lnTo>
                    <a:pt x="1656" y="2252"/>
                  </a:lnTo>
                  <a:lnTo>
                    <a:pt x="1640" y="2232"/>
                  </a:lnTo>
                  <a:lnTo>
                    <a:pt x="1624" y="2220"/>
                  </a:lnTo>
                  <a:lnTo>
                    <a:pt x="1606" y="2206"/>
                  </a:lnTo>
                  <a:lnTo>
                    <a:pt x="1598" y="2190"/>
                  </a:lnTo>
                  <a:lnTo>
                    <a:pt x="1588" y="2176"/>
                  </a:lnTo>
                  <a:lnTo>
                    <a:pt x="1582" y="2158"/>
                  </a:lnTo>
                  <a:lnTo>
                    <a:pt x="1582" y="2146"/>
                  </a:lnTo>
                  <a:lnTo>
                    <a:pt x="1584" y="2122"/>
                  </a:lnTo>
                  <a:lnTo>
                    <a:pt x="1598" y="2082"/>
                  </a:lnTo>
                  <a:lnTo>
                    <a:pt x="1610" y="2058"/>
                  </a:lnTo>
                  <a:lnTo>
                    <a:pt x="1612" y="2038"/>
                  </a:lnTo>
                  <a:lnTo>
                    <a:pt x="1620" y="2020"/>
                  </a:lnTo>
                  <a:lnTo>
                    <a:pt x="1632" y="2001"/>
                  </a:lnTo>
                  <a:lnTo>
                    <a:pt x="1642" y="1985"/>
                  </a:lnTo>
                  <a:lnTo>
                    <a:pt x="1650" y="1967"/>
                  </a:lnTo>
                  <a:lnTo>
                    <a:pt x="1650" y="1945"/>
                  </a:lnTo>
                  <a:lnTo>
                    <a:pt x="1654" y="1931"/>
                  </a:lnTo>
                  <a:lnTo>
                    <a:pt x="1686" y="1933"/>
                  </a:lnTo>
                  <a:lnTo>
                    <a:pt x="1715" y="1931"/>
                  </a:lnTo>
                  <a:lnTo>
                    <a:pt x="1739" y="1905"/>
                  </a:lnTo>
                  <a:lnTo>
                    <a:pt x="1755" y="1885"/>
                  </a:lnTo>
                  <a:lnTo>
                    <a:pt x="1775" y="1871"/>
                  </a:lnTo>
                  <a:lnTo>
                    <a:pt x="1743" y="1829"/>
                  </a:lnTo>
                  <a:lnTo>
                    <a:pt x="1709" y="1787"/>
                  </a:lnTo>
                  <a:lnTo>
                    <a:pt x="1709" y="1721"/>
                  </a:lnTo>
                  <a:lnTo>
                    <a:pt x="1775" y="1685"/>
                  </a:lnTo>
                  <a:lnTo>
                    <a:pt x="1853" y="1661"/>
                  </a:lnTo>
                  <a:lnTo>
                    <a:pt x="1919" y="1625"/>
                  </a:lnTo>
                  <a:lnTo>
                    <a:pt x="1925" y="1583"/>
                  </a:lnTo>
                  <a:lnTo>
                    <a:pt x="1853" y="1529"/>
                  </a:lnTo>
                  <a:lnTo>
                    <a:pt x="1781" y="1457"/>
                  </a:lnTo>
                  <a:lnTo>
                    <a:pt x="1727" y="1414"/>
                  </a:lnTo>
                  <a:lnTo>
                    <a:pt x="1733" y="1312"/>
                  </a:lnTo>
                  <a:lnTo>
                    <a:pt x="1630" y="1216"/>
                  </a:lnTo>
                  <a:lnTo>
                    <a:pt x="1528" y="1078"/>
                  </a:lnTo>
                  <a:lnTo>
                    <a:pt x="1450" y="934"/>
                  </a:lnTo>
                  <a:lnTo>
                    <a:pt x="1402" y="807"/>
                  </a:lnTo>
                  <a:lnTo>
                    <a:pt x="1342" y="663"/>
                  </a:lnTo>
                  <a:lnTo>
                    <a:pt x="1306" y="531"/>
                  </a:lnTo>
                  <a:lnTo>
                    <a:pt x="1318" y="411"/>
                  </a:lnTo>
                  <a:lnTo>
                    <a:pt x="1348" y="303"/>
                  </a:lnTo>
                  <a:lnTo>
                    <a:pt x="1360" y="176"/>
                  </a:lnTo>
                  <a:lnTo>
                    <a:pt x="1348" y="92"/>
                  </a:lnTo>
                  <a:lnTo>
                    <a:pt x="1280" y="64"/>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5" name="Freeform 4"/>
            <p:cNvSpPr>
              <a:spLocks/>
            </p:cNvSpPr>
            <p:nvPr>
              <p:custDataLst>
                <p:tags r:id="rId5"/>
              </p:custDataLst>
            </p:nvPr>
          </p:nvSpPr>
          <p:spPr bwMode="auto">
            <a:xfrm>
              <a:off x="432197" y="4833172"/>
              <a:ext cx="437763" cy="622522"/>
            </a:xfrm>
            <a:custGeom>
              <a:avLst/>
              <a:gdLst/>
              <a:ahLst/>
              <a:cxnLst>
                <a:cxn ang="0">
                  <a:pos x="177" y="0"/>
                </a:cxn>
                <a:cxn ang="0">
                  <a:pos x="194" y="37"/>
                </a:cxn>
                <a:cxn ang="0">
                  <a:pos x="211" y="38"/>
                </a:cxn>
                <a:cxn ang="0">
                  <a:pos x="256" y="45"/>
                </a:cxn>
                <a:cxn ang="0">
                  <a:pos x="280" y="56"/>
                </a:cxn>
                <a:cxn ang="0">
                  <a:pos x="299" y="89"/>
                </a:cxn>
                <a:cxn ang="0">
                  <a:pos x="304" y="103"/>
                </a:cxn>
                <a:cxn ang="0">
                  <a:pos x="248" y="126"/>
                </a:cxn>
                <a:cxn ang="0">
                  <a:pos x="232" y="167"/>
                </a:cxn>
                <a:cxn ang="0">
                  <a:pos x="216" y="205"/>
                </a:cxn>
                <a:cxn ang="0">
                  <a:pos x="205" y="234"/>
                </a:cxn>
                <a:cxn ang="0">
                  <a:pos x="180" y="227"/>
                </a:cxn>
                <a:cxn ang="0">
                  <a:pos x="175" y="257"/>
                </a:cxn>
                <a:cxn ang="0">
                  <a:pos x="178" y="287"/>
                </a:cxn>
                <a:cxn ang="0">
                  <a:pos x="155" y="314"/>
                </a:cxn>
                <a:cxn ang="0">
                  <a:pos x="152" y="354"/>
                </a:cxn>
                <a:cxn ang="0">
                  <a:pos x="156" y="378"/>
                </a:cxn>
                <a:cxn ang="0">
                  <a:pos x="116" y="398"/>
                </a:cxn>
                <a:cxn ang="0">
                  <a:pos x="115" y="432"/>
                </a:cxn>
                <a:cxn ang="0">
                  <a:pos x="59" y="436"/>
                </a:cxn>
                <a:cxn ang="0">
                  <a:pos x="19" y="406"/>
                </a:cxn>
                <a:cxn ang="0">
                  <a:pos x="0" y="395"/>
                </a:cxn>
                <a:cxn ang="0">
                  <a:pos x="22" y="362"/>
                </a:cxn>
                <a:cxn ang="0">
                  <a:pos x="48" y="314"/>
                </a:cxn>
                <a:cxn ang="0">
                  <a:pos x="44" y="288"/>
                </a:cxn>
                <a:cxn ang="0">
                  <a:pos x="30" y="272"/>
                </a:cxn>
                <a:cxn ang="0">
                  <a:pos x="52" y="252"/>
                </a:cxn>
                <a:cxn ang="0">
                  <a:pos x="22" y="256"/>
                </a:cxn>
                <a:cxn ang="0">
                  <a:pos x="30" y="226"/>
                </a:cxn>
                <a:cxn ang="0">
                  <a:pos x="41" y="200"/>
                </a:cxn>
                <a:cxn ang="0">
                  <a:pos x="52" y="186"/>
                </a:cxn>
                <a:cxn ang="0">
                  <a:pos x="82" y="167"/>
                </a:cxn>
                <a:cxn ang="0">
                  <a:pos x="122" y="115"/>
                </a:cxn>
                <a:cxn ang="0">
                  <a:pos x="137" y="78"/>
                </a:cxn>
                <a:cxn ang="0">
                  <a:pos x="148" y="38"/>
                </a:cxn>
              </a:cxnLst>
              <a:rect l="0" t="0" r="r" b="b"/>
              <a:pathLst>
                <a:path w="307" h="436">
                  <a:moveTo>
                    <a:pt x="155" y="4"/>
                  </a:moveTo>
                  <a:lnTo>
                    <a:pt x="177" y="0"/>
                  </a:lnTo>
                  <a:lnTo>
                    <a:pt x="192" y="17"/>
                  </a:lnTo>
                  <a:lnTo>
                    <a:pt x="194" y="37"/>
                  </a:lnTo>
                  <a:lnTo>
                    <a:pt x="200" y="41"/>
                  </a:lnTo>
                  <a:lnTo>
                    <a:pt x="211" y="38"/>
                  </a:lnTo>
                  <a:lnTo>
                    <a:pt x="246" y="52"/>
                  </a:lnTo>
                  <a:lnTo>
                    <a:pt x="256" y="45"/>
                  </a:lnTo>
                  <a:lnTo>
                    <a:pt x="271" y="44"/>
                  </a:lnTo>
                  <a:lnTo>
                    <a:pt x="280" y="56"/>
                  </a:lnTo>
                  <a:lnTo>
                    <a:pt x="288" y="76"/>
                  </a:lnTo>
                  <a:lnTo>
                    <a:pt x="299" y="89"/>
                  </a:lnTo>
                  <a:lnTo>
                    <a:pt x="307" y="96"/>
                  </a:lnTo>
                  <a:lnTo>
                    <a:pt x="304" y="103"/>
                  </a:lnTo>
                  <a:lnTo>
                    <a:pt x="278" y="110"/>
                  </a:lnTo>
                  <a:lnTo>
                    <a:pt x="248" y="126"/>
                  </a:lnTo>
                  <a:lnTo>
                    <a:pt x="249" y="153"/>
                  </a:lnTo>
                  <a:lnTo>
                    <a:pt x="232" y="167"/>
                  </a:lnTo>
                  <a:lnTo>
                    <a:pt x="218" y="179"/>
                  </a:lnTo>
                  <a:lnTo>
                    <a:pt x="216" y="205"/>
                  </a:lnTo>
                  <a:lnTo>
                    <a:pt x="216" y="222"/>
                  </a:lnTo>
                  <a:lnTo>
                    <a:pt x="205" y="234"/>
                  </a:lnTo>
                  <a:lnTo>
                    <a:pt x="196" y="222"/>
                  </a:lnTo>
                  <a:lnTo>
                    <a:pt x="180" y="227"/>
                  </a:lnTo>
                  <a:lnTo>
                    <a:pt x="178" y="235"/>
                  </a:lnTo>
                  <a:lnTo>
                    <a:pt x="175" y="257"/>
                  </a:lnTo>
                  <a:lnTo>
                    <a:pt x="181" y="265"/>
                  </a:lnTo>
                  <a:lnTo>
                    <a:pt x="178" y="287"/>
                  </a:lnTo>
                  <a:lnTo>
                    <a:pt x="168" y="297"/>
                  </a:lnTo>
                  <a:lnTo>
                    <a:pt x="155" y="314"/>
                  </a:lnTo>
                  <a:lnTo>
                    <a:pt x="149" y="328"/>
                  </a:lnTo>
                  <a:lnTo>
                    <a:pt x="152" y="354"/>
                  </a:lnTo>
                  <a:lnTo>
                    <a:pt x="163" y="369"/>
                  </a:lnTo>
                  <a:lnTo>
                    <a:pt x="156" y="378"/>
                  </a:lnTo>
                  <a:lnTo>
                    <a:pt x="127" y="387"/>
                  </a:lnTo>
                  <a:lnTo>
                    <a:pt x="116" y="398"/>
                  </a:lnTo>
                  <a:lnTo>
                    <a:pt x="115" y="410"/>
                  </a:lnTo>
                  <a:lnTo>
                    <a:pt x="115" y="432"/>
                  </a:lnTo>
                  <a:lnTo>
                    <a:pt x="82" y="432"/>
                  </a:lnTo>
                  <a:lnTo>
                    <a:pt x="59" y="436"/>
                  </a:lnTo>
                  <a:lnTo>
                    <a:pt x="33" y="406"/>
                  </a:lnTo>
                  <a:lnTo>
                    <a:pt x="19" y="406"/>
                  </a:lnTo>
                  <a:lnTo>
                    <a:pt x="7" y="406"/>
                  </a:lnTo>
                  <a:lnTo>
                    <a:pt x="0" y="395"/>
                  </a:lnTo>
                  <a:lnTo>
                    <a:pt x="7" y="384"/>
                  </a:lnTo>
                  <a:lnTo>
                    <a:pt x="22" y="362"/>
                  </a:lnTo>
                  <a:lnTo>
                    <a:pt x="30" y="340"/>
                  </a:lnTo>
                  <a:lnTo>
                    <a:pt x="48" y="314"/>
                  </a:lnTo>
                  <a:lnTo>
                    <a:pt x="52" y="299"/>
                  </a:lnTo>
                  <a:lnTo>
                    <a:pt x="44" y="288"/>
                  </a:lnTo>
                  <a:lnTo>
                    <a:pt x="33" y="278"/>
                  </a:lnTo>
                  <a:lnTo>
                    <a:pt x="30" y="272"/>
                  </a:lnTo>
                  <a:lnTo>
                    <a:pt x="44" y="267"/>
                  </a:lnTo>
                  <a:lnTo>
                    <a:pt x="52" y="252"/>
                  </a:lnTo>
                  <a:lnTo>
                    <a:pt x="37" y="248"/>
                  </a:lnTo>
                  <a:lnTo>
                    <a:pt x="22" y="256"/>
                  </a:lnTo>
                  <a:lnTo>
                    <a:pt x="22" y="237"/>
                  </a:lnTo>
                  <a:lnTo>
                    <a:pt x="30" y="226"/>
                  </a:lnTo>
                  <a:lnTo>
                    <a:pt x="37" y="215"/>
                  </a:lnTo>
                  <a:lnTo>
                    <a:pt x="41" y="200"/>
                  </a:lnTo>
                  <a:lnTo>
                    <a:pt x="44" y="189"/>
                  </a:lnTo>
                  <a:lnTo>
                    <a:pt x="52" y="186"/>
                  </a:lnTo>
                  <a:lnTo>
                    <a:pt x="63" y="193"/>
                  </a:lnTo>
                  <a:lnTo>
                    <a:pt x="82" y="167"/>
                  </a:lnTo>
                  <a:lnTo>
                    <a:pt x="93" y="149"/>
                  </a:lnTo>
                  <a:lnTo>
                    <a:pt x="122" y="115"/>
                  </a:lnTo>
                  <a:lnTo>
                    <a:pt x="122" y="101"/>
                  </a:lnTo>
                  <a:lnTo>
                    <a:pt x="137" y="78"/>
                  </a:lnTo>
                  <a:lnTo>
                    <a:pt x="141" y="52"/>
                  </a:lnTo>
                  <a:lnTo>
                    <a:pt x="148" y="38"/>
                  </a:lnTo>
                  <a:lnTo>
                    <a:pt x="155" y="4"/>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nvGrpSpPr>
            <p:cNvPr id="6" name="Group 5"/>
            <p:cNvGrpSpPr>
              <a:grpSpLocks/>
            </p:cNvGrpSpPr>
            <p:nvPr/>
          </p:nvGrpSpPr>
          <p:grpSpPr bwMode="auto">
            <a:xfrm>
              <a:off x="596982" y="4636762"/>
              <a:ext cx="1203431" cy="1026994"/>
              <a:chOff x="679" y="2614"/>
              <a:chExt cx="842" cy="718"/>
            </a:xfrm>
            <a:solidFill>
              <a:schemeClr val="accent6"/>
            </a:solidFill>
          </p:grpSpPr>
          <p:sp>
            <p:nvSpPr>
              <p:cNvPr id="94" name="Freeform 7"/>
              <p:cNvSpPr>
                <a:spLocks/>
              </p:cNvSpPr>
              <p:nvPr>
                <p:custDataLst>
                  <p:tags r:id="rId83"/>
                </p:custDataLst>
              </p:nvPr>
            </p:nvSpPr>
            <p:spPr bwMode="auto">
              <a:xfrm>
                <a:off x="679" y="2614"/>
                <a:ext cx="811" cy="718"/>
              </a:xfrm>
              <a:custGeom>
                <a:avLst/>
                <a:gdLst/>
                <a:ahLst/>
                <a:cxnLst>
                  <a:cxn ang="0">
                    <a:pos x="37" y="130"/>
                  </a:cxn>
                  <a:cxn ang="0">
                    <a:pos x="63" y="78"/>
                  </a:cxn>
                  <a:cxn ang="0">
                    <a:pos x="56" y="59"/>
                  </a:cxn>
                  <a:cxn ang="0">
                    <a:pos x="44" y="41"/>
                  </a:cxn>
                  <a:cxn ang="0">
                    <a:pos x="89" y="19"/>
                  </a:cxn>
                  <a:cxn ang="0">
                    <a:pos x="122" y="11"/>
                  </a:cxn>
                  <a:cxn ang="0">
                    <a:pos x="157" y="4"/>
                  </a:cxn>
                  <a:cxn ang="0">
                    <a:pos x="223" y="56"/>
                  </a:cxn>
                  <a:cxn ang="0">
                    <a:pos x="270" y="59"/>
                  </a:cxn>
                  <a:cxn ang="0">
                    <a:pos x="399" y="119"/>
                  </a:cxn>
                  <a:cxn ang="0">
                    <a:pos x="454" y="133"/>
                  </a:cxn>
                  <a:cxn ang="0">
                    <a:pos x="492" y="163"/>
                  </a:cxn>
                  <a:cxn ang="0">
                    <a:pos x="529" y="167"/>
                  </a:cxn>
                  <a:cxn ang="0">
                    <a:pos x="529" y="185"/>
                  </a:cxn>
                  <a:cxn ang="0">
                    <a:pos x="588" y="241"/>
                  </a:cxn>
                  <a:cxn ang="0">
                    <a:pos x="636" y="263"/>
                  </a:cxn>
                  <a:cxn ang="0">
                    <a:pos x="711" y="285"/>
                  </a:cxn>
                  <a:cxn ang="0">
                    <a:pos x="726" y="311"/>
                  </a:cxn>
                  <a:cxn ang="0">
                    <a:pos x="755" y="322"/>
                  </a:cxn>
                  <a:cxn ang="0">
                    <a:pos x="785" y="322"/>
                  </a:cxn>
                  <a:cxn ang="0">
                    <a:pos x="804" y="322"/>
                  </a:cxn>
                  <a:cxn ang="0">
                    <a:pos x="811" y="356"/>
                  </a:cxn>
                  <a:cxn ang="0">
                    <a:pos x="741" y="411"/>
                  </a:cxn>
                  <a:cxn ang="0">
                    <a:pos x="640" y="429"/>
                  </a:cxn>
                  <a:cxn ang="0">
                    <a:pos x="614" y="455"/>
                  </a:cxn>
                  <a:cxn ang="0">
                    <a:pos x="584" y="466"/>
                  </a:cxn>
                  <a:cxn ang="0">
                    <a:pos x="554" y="499"/>
                  </a:cxn>
                  <a:cxn ang="0">
                    <a:pos x="521" y="522"/>
                  </a:cxn>
                  <a:cxn ang="0">
                    <a:pos x="532" y="562"/>
                  </a:cxn>
                  <a:cxn ang="0">
                    <a:pos x="536" y="592"/>
                  </a:cxn>
                  <a:cxn ang="0">
                    <a:pos x="517" y="603"/>
                  </a:cxn>
                  <a:cxn ang="0">
                    <a:pos x="466" y="648"/>
                  </a:cxn>
                  <a:cxn ang="0">
                    <a:pos x="447" y="666"/>
                  </a:cxn>
                  <a:cxn ang="0">
                    <a:pos x="414" y="677"/>
                  </a:cxn>
                  <a:cxn ang="0">
                    <a:pos x="380" y="685"/>
                  </a:cxn>
                  <a:cxn ang="0">
                    <a:pos x="362" y="707"/>
                  </a:cxn>
                  <a:cxn ang="0">
                    <a:pos x="332" y="714"/>
                  </a:cxn>
                  <a:cxn ang="0">
                    <a:pos x="273" y="707"/>
                  </a:cxn>
                  <a:cxn ang="0">
                    <a:pos x="182" y="677"/>
                  </a:cxn>
                  <a:cxn ang="0">
                    <a:pos x="137" y="696"/>
                  </a:cxn>
                  <a:cxn ang="0">
                    <a:pos x="96" y="711"/>
                  </a:cxn>
                  <a:cxn ang="0">
                    <a:pos x="44" y="674"/>
                  </a:cxn>
                  <a:cxn ang="0">
                    <a:pos x="26" y="588"/>
                  </a:cxn>
                  <a:cxn ang="0">
                    <a:pos x="0" y="559"/>
                  </a:cxn>
                  <a:cxn ang="0">
                    <a:pos x="11" y="525"/>
                  </a:cxn>
                  <a:cxn ang="0">
                    <a:pos x="48" y="507"/>
                  </a:cxn>
                  <a:cxn ang="0">
                    <a:pos x="33" y="466"/>
                  </a:cxn>
                  <a:cxn ang="0">
                    <a:pos x="67" y="422"/>
                  </a:cxn>
                  <a:cxn ang="0">
                    <a:pos x="59" y="389"/>
                  </a:cxn>
                  <a:cxn ang="0">
                    <a:pos x="70" y="360"/>
                  </a:cxn>
                  <a:cxn ang="0">
                    <a:pos x="89" y="371"/>
                  </a:cxn>
                  <a:cxn ang="0">
                    <a:pos x="104" y="315"/>
                  </a:cxn>
                  <a:cxn ang="0">
                    <a:pos x="133" y="274"/>
                  </a:cxn>
                  <a:cxn ang="0">
                    <a:pos x="164" y="245"/>
                  </a:cxn>
                  <a:cxn ang="0">
                    <a:pos x="194" y="233"/>
                  </a:cxn>
                  <a:cxn ang="0">
                    <a:pos x="160" y="185"/>
                  </a:cxn>
                  <a:cxn ang="0">
                    <a:pos x="130" y="189"/>
                  </a:cxn>
                  <a:cxn ang="0">
                    <a:pos x="93" y="174"/>
                  </a:cxn>
                  <a:cxn ang="0">
                    <a:pos x="78" y="170"/>
                  </a:cxn>
                  <a:cxn ang="0">
                    <a:pos x="67" y="141"/>
                  </a:cxn>
                  <a:cxn ang="0">
                    <a:pos x="41" y="141"/>
                  </a:cxn>
                </a:cxnLst>
                <a:rect l="0" t="0" r="r" b="b"/>
                <a:pathLst>
                  <a:path w="811" h="718">
                    <a:moveTo>
                      <a:pt x="41" y="141"/>
                    </a:moveTo>
                    <a:lnTo>
                      <a:pt x="37" y="130"/>
                    </a:lnTo>
                    <a:lnTo>
                      <a:pt x="41" y="115"/>
                    </a:lnTo>
                    <a:lnTo>
                      <a:pt x="63" y="78"/>
                    </a:lnTo>
                    <a:lnTo>
                      <a:pt x="52" y="70"/>
                    </a:lnTo>
                    <a:lnTo>
                      <a:pt x="56" y="59"/>
                    </a:lnTo>
                    <a:lnTo>
                      <a:pt x="44" y="56"/>
                    </a:lnTo>
                    <a:lnTo>
                      <a:pt x="44" y="41"/>
                    </a:lnTo>
                    <a:lnTo>
                      <a:pt x="52" y="30"/>
                    </a:lnTo>
                    <a:lnTo>
                      <a:pt x="89" y="19"/>
                    </a:lnTo>
                    <a:lnTo>
                      <a:pt x="119" y="22"/>
                    </a:lnTo>
                    <a:lnTo>
                      <a:pt x="122" y="11"/>
                    </a:lnTo>
                    <a:lnTo>
                      <a:pt x="145" y="0"/>
                    </a:lnTo>
                    <a:lnTo>
                      <a:pt x="157" y="4"/>
                    </a:lnTo>
                    <a:lnTo>
                      <a:pt x="182" y="37"/>
                    </a:lnTo>
                    <a:lnTo>
                      <a:pt x="223" y="56"/>
                    </a:lnTo>
                    <a:lnTo>
                      <a:pt x="260" y="56"/>
                    </a:lnTo>
                    <a:lnTo>
                      <a:pt x="270" y="59"/>
                    </a:lnTo>
                    <a:lnTo>
                      <a:pt x="369" y="115"/>
                    </a:lnTo>
                    <a:lnTo>
                      <a:pt x="399" y="119"/>
                    </a:lnTo>
                    <a:lnTo>
                      <a:pt x="421" y="141"/>
                    </a:lnTo>
                    <a:lnTo>
                      <a:pt x="454" y="133"/>
                    </a:lnTo>
                    <a:lnTo>
                      <a:pt x="473" y="145"/>
                    </a:lnTo>
                    <a:lnTo>
                      <a:pt x="492" y="163"/>
                    </a:lnTo>
                    <a:lnTo>
                      <a:pt x="514" y="163"/>
                    </a:lnTo>
                    <a:lnTo>
                      <a:pt x="529" y="167"/>
                    </a:lnTo>
                    <a:lnTo>
                      <a:pt x="536" y="174"/>
                    </a:lnTo>
                    <a:lnTo>
                      <a:pt x="529" y="185"/>
                    </a:lnTo>
                    <a:lnTo>
                      <a:pt x="529" y="200"/>
                    </a:lnTo>
                    <a:lnTo>
                      <a:pt x="588" y="241"/>
                    </a:lnTo>
                    <a:lnTo>
                      <a:pt x="621" y="267"/>
                    </a:lnTo>
                    <a:lnTo>
                      <a:pt x="636" y="263"/>
                    </a:lnTo>
                    <a:lnTo>
                      <a:pt x="654" y="259"/>
                    </a:lnTo>
                    <a:lnTo>
                      <a:pt x="711" y="285"/>
                    </a:lnTo>
                    <a:lnTo>
                      <a:pt x="718" y="304"/>
                    </a:lnTo>
                    <a:lnTo>
                      <a:pt x="726" y="311"/>
                    </a:lnTo>
                    <a:lnTo>
                      <a:pt x="744" y="315"/>
                    </a:lnTo>
                    <a:lnTo>
                      <a:pt x="755" y="322"/>
                    </a:lnTo>
                    <a:lnTo>
                      <a:pt x="770" y="322"/>
                    </a:lnTo>
                    <a:lnTo>
                      <a:pt x="785" y="322"/>
                    </a:lnTo>
                    <a:lnTo>
                      <a:pt x="800" y="326"/>
                    </a:lnTo>
                    <a:lnTo>
                      <a:pt x="804" y="322"/>
                    </a:lnTo>
                    <a:lnTo>
                      <a:pt x="811" y="337"/>
                    </a:lnTo>
                    <a:lnTo>
                      <a:pt x="811" y="356"/>
                    </a:lnTo>
                    <a:lnTo>
                      <a:pt x="800" y="367"/>
                    </a:lnTo>
                    <a:lnTo>
                      <a:pt x="741" y="411"/>
                    </a:lnTo>
                    <a:lnTo>
                      <a:pt x="715" y="411"/>
                    </a:lnTo>
                    <a:lnTo>
                      <a:pt x="640" y="429"/>
                    </a:lnTo>
                    <a:lnTo>
                      <a:pt x="614" y="433"/>
                    </a:lnTo>
                    <a:lnTo>
                      <a:pt x="614" y="455"/>
                    </a:lnTo>
                    <a:lnTo>
                      <a:pt x="599" y="455"/>
                    </a:lnTo>
                    <a:lnTo>
                      <a:pt x="584" y="466"/>
                    </a:lnTo>
                    <a:lnTo>
                      <a:pt x="569" y="485"/>
                    </a:lnTo>
                    <a:lnTo>
                      <a:pt x="554" y="499"/>
                    </a:lnTo>
                    <a:lnTo>
                      <a:pt x="536" y="503"/>
                    </a:lnTo>
                    <a:lnTo>
                      <a:pt x="521" y="522"/>
                    </a:lnTo>
                    <a:lnTo>
                      <a:pt x="521" y="548"/>
                    </a:lnTo>
                    <a:lnTo>
                      <a:pt x="532" y="562"/>
                    </a:lnTo>
                    <a:lnTo>
                      <a:pt x="536" y="573"/>
                    </a:lnTo>
                    <a:lnTo>
                      <a:pt x="536" y="592"/>
                    </a:lnTo>
                    <a:lnTo>
                      <a:pt x="532" y="599"/>
                    </a:lnTo>
                    <a:lnTo>
                      <a:pt x="517" y="603"/>
                    </a:lnTo>
                    <a:lnTo>
                      <a:pt x="495" y="622"/>
                    </a:lnTo>
                    <a:lnTo>
                      <a:pt x="466" y="648"/>
                    </a:lnTo>
                    <a:lnTo>
                      <a:pt x="454" y="659"/>
                    </a:lnTo>
                    <a:lnTo>
                      <a:pt x="447" y="666"/>
                    </a:lnTo>
                    <a:lnTo>
                      <a:pt x="447" y="677"/>
                    </a:lnTo>
                    <a:lnTo>
                      <a:pt x="414" y="677"/>
                    </a:lnTo>
                    <a:lnTo>
                      <a:pt x="395" y="681"/>
                    </a:lnTo>
                    <a:lnTo>
                      <a:pt x="380" y="685"/>
                    </a:lnTo>
                    <a:lnTo>
                      <a:pt x="373" y="692"/>
                    </a:lnTo>
                    <a:lnTo>
                      <a:pt x="362" y="707"/>
                    </a:lnTo>
                    <a:lnTo>
                      <a:pt x="343" y="714"/>
                    </a:lnTo>
                    <a:lnTo>
                      <a:pt x="332" y="714"/>
                    </a:lnTo>
                    <a:lnTo>
                      <a:pt x="310" y="711"/>
                    </a:lnTo>
                    <a:lnTo>
                      <a:pt x="273" y="707"/>
                    </a:lnTo>
                    <a:lnTo>
                      <a:pt x="208" y="681"/>
                    </a:lnTo>
                    <a:lnTo>
                      <a:pt x="182" y="677"/>
                    </a:lnTo>
                    <a:lnTo>
                      <a:pt x="157" y="685"/>
                    </a:lnTo>
                    <a:lnTo>
                      <a:pt x="137" y="696"/>
                    </a:lnTo>
                    <a:lnTo>
                      <a:pt x="115" y="699"/>
                    </a:lnTo>
                    <a:lnTo>
                      <a:pt x="96" y="711"/>
                    </a:lnTo>
                    <a:lnTo>
                      <a:pt x="85" y="718"/>
                    </a:lnTo>
                    <a:lnTo>
                      <a:pt x="44" y="674"/>
                    </a:lnTo>
                    <a:lnTo>
                      <a:pt x="44" y="611"/>
                    </a:lnTo>
                    <a:lnTo>
                      <a:pt x="26" y="588"/>
                    </a:lnTo>
                    <a:lnTo>
                      <a:pt x="4" y="570"/>
                    </a:lnTo>
                    <a:lnTo>
                      <a:pt x="0" y="559"/>
                    </a:lnTo>
                    <a:lnTo>
                      <a:pt x="0" y="536"/>
                    </a:lnTo>
                    <a:lnTo>
                      <a:pt x="11" y="525"/>
                    </a:lnTo>
                    <a:lnTo>
                      <a:pt x="41" y="514"/>
                    </a:lnTo>
                    <a:lnTo>
                      <a:pt x="48" y="507"/>
                    </a:lnTo>
                    <a:lnTo>
                      <a:pt x="37" y="492"/>
                    </a:lnTo>
                    <a:lnTo>
                      <a:pt x="33" y="466"/>
                    </a:lnTo>
                    <a:lnTo>
                      <a:pt x="44" y="444"/>
                    </a:lnTo>
                    <a:lnTo>
                      <a:pt x="67" y="422"/>
                    </a:lnTo>
                    <a:lnTo>
                      <a:pt x="67" y="404"/>
                    </a:lnTo>
                    <a:lnTo>
                      <a:pt x="59" y="389"/>
                    </a:lnTo>
                    <a:lnTo>
                      <a:pt x="67" y="363"/>
                    </a:lnTo>
                    <a:lnTo>
                      <a:pt x="70" y="360"/>
                    </a:lnTo>
                    <a:lnTo>
                      <a:pt x="81" y="360"/>
                    </a:lnTo>
                    <a:lnTo>
                      <a:pt x="89" y="371"/>
                    </a:lnTo>
                    <a:lnTo>
                      <a:pt x="100" y="356"/>
                    </a:lnTo>
                    <a:lnTo>
                      <a:pt x="104" y="315"/>
                    </a:lnTo>
                    <a:lnTo>
                      <a:pt x="133" y="289"/>
                    </a:lnTo>
                    <a:lnTo>
                      <a:pt x="133" y="274"/>
                    </a:lnTo>
                    <a:lnTo>
                      <a:pt x="133" y="263"/>
                    </a:lnTo>
                    <a:lnTo>
                      <a:pt x="164" y="245"/>
                    </a:lnTo>
                    <a:lnTo>
                      <a:pt x="186" y="241"/>
                    </a:lnTo>
                    <a:lnTo>
                      <a:pt x="194" y="233"/>
                    </a:lnTo>
                    <a:lnTo>
                      <a:pt x="175" y="215"/>
                    </a:lnTo>
                    <a:lnTo>
                      <a:pt x="160" y="185"/>
                    </a:lnTo>
                    <a:lnTo>
                      <a:pt x="153" y="178"/>
                    </a:lnTo>
                    <a:lnTo>
                      <a:pt x="130" y="189"/>
                    </a:lnTo>
                    <a:lnTo>
                      <a:pt x="115" y="182"/>
                    </a:lnTo>
                    <a:lnTo>
                      <a:pt x="93" y="174"/>
                    </a:lnTo>
                    <a:lnTo>
                      <a:pt x="85" y="178"/>
                    </a:lnTo>
                    <a:lnTo>
                      <a:pt x="78" y="170"/>
                    </a:lnTo>
                    <a:lnTo>
                      <a:pt x="78" y="156"/>
                    </a:lnTo>
                    <a:lnTo>
                      <a:pt x="67" y="141"/>
                    </a:lnTo>
                    <a:lnTo>
                      <a:pt x="59" y="137"/>
                    </a:lnTo>
                    <a:lnTo>
                      <a:pt x="41" y="141"/>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95" name="Freeform 8"/>
              <p:cNvSpPr>
                <a:spLocks/>
              </p:cNvSpPr>
              <p:nvPr>
                <p:custDataLst>
                  <p:tags r:id="rId84"/>
                </p:custDataLst>
              </p:nvPr>
            </p:nvSpPr>
            <p:spPr bwMode="auto">
              <a:xfrm>
                <a:off x="1296" y="3210"/>
                <a:ext cx="31" cy="22"/>
              </a:xfrm>
              <a:custGeom>
                <a:avLst/>
                <a:gdLst/>
                <a:ahLst/>
                <a:cxnLst>
                  <a:cxn ang="0">
                    <a:pos x="31" y="0"/>
                  </a:cxn>
                  <a:cxn ang="0">
                    <a:pos x="16" y="0"/>
                  </a:cxn>
                  <a:cxn ang="0">
                    <a:pos x="0" y="15"/>
                  </a:cxn>
                  <a:cxn ang="0">
                    <a:pos x="8" y="22"/>
                  </a:cxn>
                  <a:cxn ang="0">
                    <a:pos x="23" y="22"/>
                  </a:cxn>
                  <a:cxn ang="0">
                    <a:pos x="31" y="0"/>
                  </a:cxn>
                </a:cxnLst>
                <a:rect l="0" t="0" r="r" b="b"/>
                <a:pathLst>
                  <a:path w="31" h="22">
                    <a:moveTo>
                      <a:pt x="31" y="0"/>
                    </a:moveTo>
                    <a:lnTo>
                      <a:pt x="16" y="0"/>
                    </a:lnTo>
                    <a:lnTo>
                      <a:pt x="0" y="15"/>
                    </a:lnTo>
                    <a:lnTo>
                      <a:pt x="8" y="22"/>
                    </a:lnTo>
                    <a:lnTo>
                      <a:pt x="23" y="22"/>
                    </a:lnTo>
                    <a:lnTo>
                      <a:pt x="31"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96" name="Freeform 9"/>
              <p:cNvSpPr>
                <a:spLocks/>
              </p:cNvSpPr>
              <p:nvPr>
                <p:custDataLst>
                  <p:tags r:id="rId85"/>
                </p:custDataLst>
              </p:nvPr>
            </p:nvSpPr>
            <p:spPr bwMode="auto">
              <a:xfrm>
                <a:off x="1387" y="3154"/>
                <a:ext cx="71" cy="56"/>
              </a:xfrm>
              <a:custGeom>
                <a:avLst/>
                <a:gdLst/>
                <a:ahLst/>
                <a:cxnLst>
                  <a:cxn ang="0">
                    <a:pos x="52" y="0"/>
                  </a:cxn>
                  <a:cxn ang="0">
                    <a:pos x="45" y="7"/>
                  </a:cxn>
                  <a:cxn ang="0">
                    <a:pos x="15" y="11"/>
                  </a:cxn>
                  <a:cxn ang="0">
                    <a:pos x="0" y="30"/>
                  </a:cxn>
                  <a:cxn ang="0">
                    <a:pos x="22" y="45"/>
                  </a:cxn>
                  <a:cxn ang="0">
                    <a:pos x="34" y="56"/>
                  </a:cxn>
                  <a:cxn ang="0">
                    <a:pos x="56" y="52"/>
                  </a:cxn>
                  <a:cxn ang="0">
                    <a:pos x="71" y="45"/>
                  </a:cxn>
                  <a:cxn ang="0">
                    <a:pos x="67" y="30"/>
                  </a:cxn>
                  <a:cxn ang="0">
                    <a:pos x="56" y="19"/>
                  </a:cxn>
                  <a:cxn ang="0">
                    <a:pos x="52" y="0"/>
                  </a:cxn>
                </a:cxnLst>
                <a:rect l="0" t="0" r="r" b="b"/>
                <a:pathLst>
                  <a:path w="71" h="56">
                    <a:moveTo>
                      <a:pt x="52" y="0"/>
                    </a:moveTo>
                    <a:lnTo>
                      <a:pt x="45" y="7"/>
                    </a:lnTo>
                    <a:lnTo>
                      <a:pt x="15" y="11"/>
                    </a:lnTo>
                    <a:lnTo>
                      <a:pt x="0" y="30"/>
                    </a:lnTo>
                    <a:lnTo>
                      <a:pt x="22" y="45"/>
                    </a:lnTo>
                    <a:lnTo>
                      <a:pt x="34" y="56"/>
                    </a:lnTo>
                    <a:lnTo>
                      <a:pt x="56" y="52"/>
                    </a:lnTo>
                    <a:lnTo>
                      <a:pt x="71" y="45"/>
                    </a:lnTo>
                    <a:lnTo>
                      <a:pt x="67" y="30"/>
                    </a:lnTo>
                    <a:lnTo>
                      <a:pt x="56" y="19"/>
                    </a:lnTo>
                    <a:lnTo>
                      <a:pt x="52"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97" name="Freeform 10"/>
              <p:cNvSpPr>
                <a:spLocks/>
              </p:cNvSpPr>
              <p:nvPr>
                <p:custDataLst>
                  <p:tags r:id="rId86"/>
                </p:custDataLst>
              </p:nvPr>
            </p:nvSpPr>
            <p:spPr bwMode="auto">
              <a:xfrm>
                <a:off x="1498" y="3158"/>
                <a:ext cx="23" cy="29"/>
              </a:xfrm>
              <a:custGeom>
                <a:avLst/>
                <a:gdLst/>
                <a:ahLst/>
                <a:cxnLst>
                  <a:cxn ang="0">
                    <a:pos x="15" y="0"/>
                  </a:cxn>
                  <a:cxn ang="0">
                    <a:pos x="0" y="7"/>
                  </a:cxn>
                  <a:cxn ang="0">
                    <a:pos x="12" y="18"/>
                  </a:cxn>
                  <a:cxn ang="0">
                    <a:pos x="23" y="29"/>
                  </a:cxn>
                  <a:cxn ang="0">
                    <a:pos x="15" y="0"/>
                  </a:cxn>
                </a:cxnLst>
                <a:rect l="0" t="0" r="r" b="b"/>
                <a:pathLst>
                  <a:path w="23" h="29">
                    <a:moveTo>
                      <a:pt x="15" y="0"/>
                    </a:moveTo>
                    <a:lnTo>
                      <a:pt x="0" y="7"/>
                    </a:lnTo>
                    <a:lnTo>
                      <a:pt x="12" y="18"/>
                    </a:lnTo>
                    <a:lnTo>
                      <a:pt x="23" y="29"/>
                    </a:lnTo>
                    <a:lnTo>
                      <a:pt x="15"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grpSp>
          <p:nvGrpSpPr>
            <p:cNvPr id="7" name="Group 11"/>
            <p:cNvGrpSpPr>
              <a:grpSpLocks/>
            </p:cNvGrpSpPr>
            <p:nvPr/>
          </p:nvGrpSpPr>
          <p:grpSpPr bwMode="auto">
            <a:xfrm>
              <a:off x="2146629" y="4668387"/>
              <a:ext cx="1055291" cy="1328268"/>
              <a:chOff x="1765" y="2636"/>
              <a:chExt cx="737" cy="929"/>
            </a:xfrm>
            <a:solidFill>
              <a:schemeClr val="accent6"/>
            </a:solidFill>
          </p:grpSpPr>
          <p:sp>
            <p:nvSpPr>
              <p:cNvPr id="91" name="Freeform 12"/>
              <p:cNvSpPr>
                <a:spLocks/>
              </p:cNvSpPr>
              <p:nvPr>
                <p:custDataLst>
                  <p:tags r:id="rId80"/>
                </p:custDataLst>
              </p:nvPr>
            </p:nvSpPr>
            <p:spPr bwMode="auto">
              <a:xfrm>
                <a:off x="1791" y="3128"/>
                <a:ext cx="119" cy="193"/>
              </a:xfrm>
              <a:custGeom>
                <a:avLst/>
                <a:gdLst/>
                <a:ahLst/>
                <a:cxnLst>
                  <a:cxn ang="0">
                    <a:pos x="71" y="0"/>
                  </a:cxn>
                  <a:cxn ang="0">
                    <a:pos x="52" y="11"/>
                  </a:cxn>
                  <a:cxn ang="0">
                    <a:pos x="37" y="22"/>
                  </a:cxn>
                  <a:cxn ang="0">
                    <a:pos x="22" y="26"/>
                  </a:cxn>
                  <a:cxn ang="0">
                    <a:pos x="0" y="22"/>
                  </a:cxn>
                  <a:cxn ang="0">
                    <a:pos x="4" y="45"/>
                  </a:cxn>
                  <a:cxn ang="0">
                    <a:pos x="15" y="59"/>
                  </a:cxn>
                  <a:cxn ang="0">
                    <a:pos x="11" y="97"/>
                  </a:cxn>
                  <a:cxn ang="0">
                    <a:pos x="11" y="115"/>
                  </a:cxn>
                  <a:cxn ang="0">
                    <a:pos x="15" y="130"/>
                  </a:cxn>
                  <a:cxn ang="0">
                    <a:pos x="4" y="160"/>
                  </a:cxn>
                  <a:cxn ang="0">
                    <a:pos x="7" y="182"/>
                  </a:cxn>
                  <a:cxn ang="0">
                    <a:pos x="22" y="193"/>
                  </a:cxn>
                  <a:cxn ang="0">
                    <a:pos x="44" y="178"/>
                  </a:cxn>
                  <a:cxn ang="0">
                    <a:pos x="52" y="174"/>
                  </a:cxn>
                  <a:cxn ang="0">
                    <a:pos x="75" y="178"/>
                  </a:cxn>
                  <a:cxn ang="0">
                    <a:pos x="90" y="163"/>
                  </a:cxn>
                  <a:cxn ang="0">
                    <a:pos x="90" y="148"/>
                  </a:cxn>
                  <a:cxn ang="0">
                    <a:pos x="108" y="119"/>
                  </a:cxn>
                  <a:cxn ang="0">
                    <a:pos x="115" y="100"/>
                  </a:cxn>
                  <a:cxn ang="0">
                    <a:pos x="108" y="82"/>
                  </a:cxn>
                  <a:cxn ang="0">
                    <a:pos x="119" y="59"/>
                  </a:cxn>
                  <a:cxn ang="0">
                    <a:pos x="112" y="26"/>
                  </a:cxn>
                  <a:cxn ang="0">
                    <a:pos x="108" y="7"/>
                  </a:cxn>
                  <a:cxn ang="0">
                    <a:pos x="71" y="0"/>
                  </a:cxn>
                </a:cxnLst>
                <a:rect l="0" t="0" r="r" b="b"/>
                <a:pathLst>
                  <a:path w="119" h="193">
                    <a:moveTo>
                      <a:pt x="71" y="0"/>
                    </a:moveTo>
                    <a:lnTo>
                      <a:pt x="52" y="11"/>
                    </a:lnTo>
                    <a:lnTo>
                      <a:pt x="37" y="22"/>
                    </a:lnTo>
                    <a:lnTo>
                      <a:pt x="22" y="26"/>
                    </a:lnTo>
                    <a:lnTo>
                      <a:pt x="0" y="22"/>
                    </a:lnTo>
                    <a:lnTo>
                      <a:pt x="4" y="45"/>
                    </a:lnTo>
                    <a:lnTo>
                      <a:pt x="15" y="59"/>
                    </a:lnTo>
                    <a:lnTo>
                      <a:pt x="11" y="97"/>
                    </a:lnTo>
                    <a:lnTo>
                      <a:pt x="11" y="115"/>
                    </a:lnTo>
                    <a:lnTo>
                      <a:pt x="15" y="130"/>
                    </a:lnTo>
                    <a:lnTo>
                      <a:pt x="4" y="160"/>
                    </a:lnTo>
                    <a:lnTo>
                      <a:pt x="7" y="182"/>
                    </a:lnTo>
                    <a:lnTo>
                      <a:pt x="22" y="193"/>
                    </a:lnTo>
                    <a:lnTo>
                      <a:pt x="44" y="178"/>
                    </a:lnTo>
                    <a:lnTo>
                      <a:pt x="52" y="174"/>
                    </a:lnTo>
                    <a:lnTo>
                      <a:pt x="75" y="178"/>
                    </a:lnTo>
                    <a:lnTo>
                      <a:pt x="90" y="163"/>
                    </a:lnTo>
                    <a:lnTo>
                      <a:pt x="90" y="148"/>
                    </a:lnTo>
                    <a:lnTo>
                      <a:pt x="108" y="119"/>
                    </a:lnTo>
                    <a:lnTo>
                      <a:pt x="115" y="100"/>
                    </a:lnTo>
                    <a:lnTo>
                      <a:pt x="108" y="82"/>
                    </a:lnTo>
                    <a:lnTo>
                      <a:pt x="119" y="59"/>
                    </a:lnTo>
                    <a:lnTo>
                      <a:pt x="112" y="26"/>
                    </a:lnTo>
                    <a:lnTo>
                      <a:pt x="108" y="7"/>
                    </a:lnTo>
                    <a:lnTo>
                      <a:pt x="71"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92" name="Freeform 13"/>
              <p:cNvSpPr>
                <a:spLocks/>
              </p:cNvSpPr>
              <p:nvPr>
                <p:custDataLst>
                  <p:tags r:id="rId81"/>
                </p:custDataLst>
              </p:nvPr>
            </p:nvSpPr>
            <p:spPr bwMode="auto">
              <a:xfrm>
                <a:off x="2066" y="3429"/>
                <a:ext cx="216" cy="136"/>
              </a:xfrm>
              <a:custGeom>
                <a:avLst/>
                <a:gdLst/>
                <a:ahLst/>
                <a:cxnLst>
                  <a:cxn ang="0">
                    <a:pos x="205" y="0"/>
                  </a:cxn>
                  <a:cxn ang="0">
                    <a:pos x="216" y="11"/>
                  </a:cxn>
                  <a:cxn ang="0">
                    <a:pos x="209" y="22"/>
                  </a:cxn>
                  <a:cxn ang="0">
                    <a:pos x="201" y="40"/>
                  </a:cxn>
                  <a:cxn ang="0">
                    <a:pos x="190" y="51"/>
                  </a:cxn>
                  <a:cxn ang="0">
                    <a:pos x="194" y="85"/>
                  </a:cxn>
                  <a:cxn ang="0">
                    <a:pos x="201" y="110"/>
                  </a:cxn>
                  <a:cxn ang="0">
                    <a:pos x="182" y="121"/>
                  </a:cxn>
                  <a:cxn ang="0">
                    <a:pos x="179" y="132"/>
                  </a:cxn>
                  <a:cxn ang="0">
                    <a:pos x="164" y="136"/>
                  </a:cxn>
                  <a:cxn ang="0">
                    <a:pos x="142" y="114"/>
                  </a:cxn>
                  <a:cxn ang="0">
                    <a:pos x="127" y="114"/>
                  </a:cxn>
                  <a:cxn ang="0">
                    <a:pos x="115" y="96"/>
                  </a:cxn>
                  <a:cxn ang="0">
                    <a:pos x="93" y="85"/>
                  </a:cxn>
                  <a:cxn ang="0">
                    <a:pos x="78" y="81"/>
                  </a:cxn>
                  <a:cxn ang="0">
                    <a:pos x="63" y="74"/>
                  </a:cxn>
                  <a:cxn ang="0">
                    <a:pos x="48" y="62"/>
                  </a:cxn>
                  <a:cxn ang="0">
                    <a:pos x="22" y="44"/>
                  </a:cxn>
                  <a:cxn ang="0">
                    <a:pos x="11" y="40"/>
                  </a:cxn>
                  <a:cxn ang="0">
                    <a:pos x="0" y="29"/>
                  </a:cxn>
                  <a:cxn ang="0">
                    <a:pos x="0" y="15"/>
                  </a:cxn>
                  <a:cxn ang="0">
                    <a:pos x="4" y="4"/>
                  </a:cxn>
                  <a:cxn ang="0">
                    <a:pos x="26" y="7"/>
                  </a:cxn>
                  <a:cxn ang="0">
                    <a:pos x="60" y="7"/>
                  </a:cxn>
                  <a:cxn ang="0">
                    <a:pos x="67" y="18"/>
                  </a:cxn>
                  <a:cxn ang="0">
                    <a:pos x="104" y="18"/>
                  </a:cxn>
                  <a:cxn ang="0">
                    <a:pos x="130" y="18"/>
                  </a:cxn>
                  <a:cxn ang="0">
                    <a:pos x="164" y="11"/>
                  </a:cxn>
                  <a:cxn ang="0">
                    <a:pos x="205" y="0"/>
                  </a:cxn>
                </a:cxnLst>
                <a:rect l="0" t="0" r="r" b="b"/>
                <a:pathLst>
                  <a:path w="216" h="136">
                    <a:moveTo>
                      <a:pt x="205" y="0"/>
                    </a:moveTo>
                    <a:lnTo>
                      <a:pt x="216" y="11"/>
                    </a:lnTo>
                    <a:lnTo>
                      <a:pt x="209" y="22"/>
                    </a:lnTo>
                    <a:lnTo>
                      <a:pt x="201" y="40"/>
                    </a:lnTo>
                    <a:lnTo>
                      <a:pt x="190" y="51"/>
                    </a:lnTo>
                    <a:lnTo>
                      <a:pt x="194" y="85"/>
                    </a:lnTo>
                    <a:lnTo>
                      <a:pt x="201" y="110"/>
                    </a:lnTo>
                    <a:lnTo>
                      <a:pt x="182" y="121"/>
                    </a:lnTo>
                    <a:lnTo>
                      <a:pt x="179" y="132"/>
                    </a:lnTo>
                    <a:lnTo>
                      <a:pt x="164" y="136"/>
                    </a:lnTo>
                    <a:lnTo>
                      <a:pt x="142" y="114"/>
                    </a:lnTo>
                    <a:lnTo>
                      <a:pt x="127" y="114"/>
                    </a:lnTo>
                    <a:lnTo>
                      <a:pt x="115" y="96"/>
                    </a:lnTo>
                    <a:lnTo>
                      <a:pt x="93" y="85"/>
                    </a:lnTo>
                    <a:lnTo>
                      <a:pt x="78" y="81"/>
                    </a:lnTo>
                    <a:lnTo>
                      <a:pt x="63" y="74"/>
                    </a:lnTo>
                    <a:lnTo>
                      <a:pt x="48" y="62"/>
                    </a:lnTo>
                    <a:lnTo>
                      <a:pt x="22" y="44"/>
                    </a:lnTo>
                    <a:lnTo>
                      <a:pt x="11" y="40"/>
                    </a:lnTo>
                    <a:lnTo>
                      <a:pt x="0" y="29"/>
                    </a:lnTo>
                    <a:lnTo>
                      <a:pt x="0" y="15"/>
                    </a:lnTo>
                    <a:lnTo>
                      <a:pt x="4" y="4"/>
                    </a:lnTo>
                    <a:lnTo>
                      <a:pt x="26" y="7"/>
                    </a:lnTo>
                    <a:lnTo>
                      <a:pt x="60" y="7"/>
                    </a:lnTo>
                    <a:lnTo>
                      <a:pt x="67" y="18"/>
                    </a:lnTo>
                    <a:lnTo>
                      <a:pt x="104" y="18"/>
                    </a:lnTo>
                    <a:lnTo>
                      <a:pt x="130" y="18"/>
                    </a:lnTo>
                    <a:lnTo>
                      <a:pt x="164" y="11"/>
                    </a:lnTo>
                    <a:lnTo>
                      <a:pt x="205"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93" name="Freeform 14"/>
              <p:cNvSpPr>
                <a:spLocks/>
              </p:cNvSpPr>
              <p:nvPr>
                <p:custDataLst>
                  <p:tags r:id="rId82"/>
                </p:custDataLst>
              </p:nvPr>
            </p:nvSpPr>
            <p:spPr bwMode="auto">
              <a:xfrm>
                <a:off x="1765" y="2636"/>
                <a:ext cx="737" cy="830"/>
              </a:xfrm>
              <a:custGeom>
                <a:avLst/>
                <a:gdLst/>
                <a:ahLst/>
                <a:cxnLst>
                  <a:cxn ang="0">
                    <a:pos x="564" y="819"/>
                  </a:cxn>
                  <a:cxn ang="0">
                    <a:pos x="609" y="741"/>
                  </a:cxn>
                  <a:cxn ang="0">
                    <a:pos x="628" y="715"/>
                  </a:cxn>
                  <a:cxn ang="0">
                    <a:pos x="613" y="678"/>
                  </a:cxn>
                  <a:cxn ang="0">
                    <a:pos x="594" y="674"/>
                  </a:cxn>
                  <a:cxn ang="0">
                    <a:pos x="609" y="645"/>
                  </a:cxn>
                  <a:cxn ang="0">
                    <a:pos x="632" y="604"/>
                  </a:cxn>
                  <a:cxn ang="0">
                    <a:pos x="702" y="652"/>
                  </a:cxn>
                  <a:cxn ang="0">
                    <a:pos x="731" y="652"/>
                  </a:cxn>
                  <a:cxn ang="0">
                    <a:pos x="709" y="596"/>
                  </a:cxn>
                  <a:cxn ang="0">
                    <a:pos x="687" y="593"/>
                  </a:cxn>
                  <a:cxn ang="0">
                    <a:pos x="609" y="530"/>
                  </a:cxn>
                  <a:cxn ang="0">
                    <a:pos x="560" y="496"/>
                  </a:cxn>
                  <a:cxn ang="0">
                    <a:pos x="564" y="474"/>
                  </a:cxn>
                  <a:cxn ang="0">
                    <a:pos x="490" y="440"/>
                  </a:cxn>
                  <a:cxn ang="0">
                    <a:pos x="457" y="411"/>
                  </a:cxn>
                  <a:cxn ang="0">
                    <a:pos x="379" y="293"/>
                  </a:cxn>
                  <a:cxn ang="0">
                    <a:pos x="364" y="200"/>
                  </a:cxn>
                  <a:cxn ang="0">
                    <a:pos x="342" y="163"/>
                  </a:cxn>
                  <a:cxn ang="0">
                    <a:pos x="405" y="134"/>
                  </a:cxn>
                  <a:cxn ang="0">
                    <a:pos x="434" y="70"/>
                  </a:cxn>
                  <a:cxn ang="0">
                    <a:pos x="368" y="41"/>
                  </a:cxn>
                  <a:cxn ang="0">
                    <a:pos x="357" y="15"/>
                  </a:cxn>
                  <a:cxn ang="0">
                    <a:pos x="264" y="4"/>
                  </a:cxn>
                  <a:cxn ang="0">
                    <a:pos x="220" y="52"/>
                  </a:cxn>
                  <a:cxn ang="0">
                    <a:pos x="182" y="48"/>
                  </a:cxn>
                  <a:cxn ang="0">
                    <a:pos x="134" y="63"/>
                  </a:cxn>
                  <a:cxn ang="0">
                    <a:pos x="116" y="30"/>
                  </a:cxn>
                  <a:cxn ang="0">
                    <a:pos x="90" y="59"/>
                  </a:cxn>
                  <a:cxn ang="0">
                    <a:pos x="22" y="85"/>
                  </a:cxn>
                  <a:cxn ang="0">
                    <a:pos x="7" y="137"/>
                  </a:cxn>
                  <a:cxn ang="0">
                    <a:pos x="0" y="189"/>
                  </a:cxn>
                  <a:cxn ang="0">
                    <a:pos x="30" y="208"/>
                  </a:cxn>
                  <a:cxn ang="0">
                    <a:pos x="52" y="249"/>
                  </a:cxn>
                  <a:cxn ang="0">
                    <a:pos x="123" y="211"/>
                  </a:cxn>
                  <a:cxn ang="0">
                    <a:pos x="190" y="271"/>
                  </a:cxn>
                  <a:cxn ang="0">
                    <a:pos x="220" y="352"/>
                  </a:cxn>
                  <a:cxn ang="0">
                    <a:pos x="271" y="397"/>
                  </a:cxn>
                  <a:cxn ang="0">
                    <a:pos x="338" y="478"/>
                  </a:cxn>
                  <a:cxn ang="0">
                    <a:pos x="442" y="555"/>
                  </a:cxn>
                  <a:cxn ang="0">
                    <a:pos x="475" y="578"/>
                  </a:cxn>
                  <a:cxn ang="0">
                    <a:pos x="501" y="630"/>
                  </a:cxn>
                  <a:cxn ang="0">
                    <a:pos x="542" y="645"/>
                  </a:cxn>
                  <a:cxn ang="0">
                    <a:pos x="557" y="711"/>
                  </a:cxn>
                  <a:cxn ang="0">
                    <a:pos x="545" y="760"/>
                  </a:cxn>
                  <a:cxn ang="0">
                    <a:pos x="534" y="819"/>
                  </a:cxn>
                </a:cxnLst>
                <a:rect l="0" t="0" r="r" b="b"/>
                <a:pathLst>
                  <a:path w="737" h="830">
                    <a:moveTo>
                      <a:pt x="534" y="819"/>
                    </a:moveTo>
                    <a:lnTo>
                      <a:pt x="545" y="830"/>
                    </a:lnTo>
                    <a:lnTo>
                      <a:pt x="564" y="819"/>
                    </a:lnTo>
                    <a:lnTo>
                      <a:pt x="586" y="789"/>
                    </a:lnTo>
                    <a:lnTo>
                      <a:pt x="597" y="745"/>
                    </a:lnTo>
                    <a:lnTo>
                      <a:pt x="609" y="741"/>
                    </a:lnTo>
                    <a:lnTo>
                      <a:pt x="617" y="748"/>
                    </a:lnTo>
                    <a:lnTo>
                      <a:pt x="632" y="734"/>
                    </a:lnTo>
                    <a:lnTo>
                      <a:pt x="628" y="715"/>
                    </a:lnTo>
                    <a:lnTo>
                      <a:pt x="635" y="700"/>
                    </a:lnTo>
                    <a:lnTo>
                      <a:pt x="632" y="693"/>
                    </a:lnTo>
                    <a:lnTo>
                      <a:pt x="613" y="678"/>
                    </a:lnTo>
                    <a:lnTo>
                      <a:pt x="606" y="678"/>
                    </a:lnTo>
                    <a:lnTo>
                      <a:pt x="609" y="670"/>
                    </a:lnTo>
                    <a:lnTo>
                      <a:pt x="594" y="674"/>
                    </a:lnTo>
                    <a:lnTo>
                      <a:pt x="586" y="667"/>
                    </a:lnTo>
                    <a:lnTo>
                      <a:pt x="586" y="659"/>
                    </a:lnTo>
                    <a:lnTo>
                      <a:pt x="609" y="645"/>
                    </a:lnTo>
                    <a:lnTo>
                      <a:pt x="620" y="630"/>
                    </a:lnTo>
                    <a:lnTo>
                      <a:pt x="620" y="607"/>
                    </a:lnTo>
                    <a:lnTo>
                      <a:pt x="632" y="604"/>
                    </a:lnTo>
                    <a:lnTo>
                      <a:pt x="669" y="622"/>
                    </a:lnTo>
                    <a:lnTo>
                      <a:pt x="683" y="626"/>
                    </a:lnTo>
                    <a:lnTo>
                      <a:pt x="702" y="652"/>
                    </a:lnTo>
                    <a:lnTo>
                      <a:pt x="709" y="667"/>
                    </a:lnTo>
                    <a:lnTo>
                      <a:pt x="720" y="667"/>
                    </a:lnTo>
                    <a:lnTo>
                      <a:pt x="731" y="652"/>
                    </a:lnTo>
                    <a:lnTo>
                      <a:pt x="737" y="637"/>
                    </a:lnTo>
                    <a:lnTo>
                      <a:pt x="724" y="611"/>
                    </a:lnTo>
                    <a:lnTo>
                      <a:pt x="709" y="596"/>
                    </a:lnTo>
                    <a:lnTo>
                      <a:pt x="695" y="596"/>
                    </a:lnTo>
                    <a:lnTo>
                      <a:pt x="695" y="593"/>
                    </a:lnTo>
                    <a:lnTo>
                      <a:pt x="687" y="593"/>
                    </a:lnTo>
                    <a:lnTo>
                      <a:pt x="650" y="555"/>
                    </a:lnTo>
                    <a:lnTo>
                      <a:pt x="632" y="559"/>
                    </a:lnTo>
                    <a:lnTo>
                      <a:pt x="609" y="530"/>
                    </a:lnTo>
                    <a:lnTo>
                      <a:pt x="594" y="526"/>
                    </a:lnTo>
                    <a:lnTo>
                      <a:pt x="571" y="504"/>
                    </a:lnTo>
                    <a:lnTo>
                      <a:pt x="560" y="496"/>
                    </a:lnTo>
                    <a:lnTo>
                      <a:pt x="568" y="489"/>
                    </a:lnTo>
                    <a:lnTo>
                      <a:pt x="579" y="485"/>
                    </a:lnTo>
                    <a:lnTo>
                      <a:pt x="564" y="474"/>
                    </a:lnTo>
                    <a:lnTo>
                      <a:pt x="545" y="481"/>
                    </a:lnTo>
                    <a:lnTo>
                      <a:pt x="531" y="474"/>
                    </a:lnTo>
                    <a:lnTo>
                      <a:pt x="490" y="440"/>
                    </a:lnTo>
                    <a:lnTo>
                      <a:pt x="486" y="426"/>
                    </a:lnTo>
                    <a:lnTo>
                      <a:pt x="471" y="422"/>
                    </a:lnTo>
                    <a:lnTo>
                      <a:pt x="457" y="411"/>
                    </a:lnTo>
                    <a:lnTo>
                      <a:pt x="419" y="330"/>
                    </a:lnTo>
                    <a:lnTo>
                      <a:pt x="408" y="319"/>
                    </a:lnTo>
                    <a:lnTo>
                      <a:pt x="379" y="293"/>
                    </a:lnTo>
                    <a:lnTo>
                      <a:pt x="345" y="241"/>
                    </a:lnTo>
                    <a:lnTo>
                      <a:pt x="345" y="211"/>
                    </a:lnTo>
                    <a:lnTo>
                      <a:pt x="364" y="200"/>
                    </a:lnTo>
                    <a:lnTo>
                      <a:pt x="364" y="185"/>
                    </a:lnTo>
                    <a:lnTo>
                      <a:pt x="349" y="171"/>
                    </a:lnTo>
                    <a:lnTo>
                      <a:pt x="342" y="163"/>
                    </a:lnTo>
                    <a:lnTo>
                      <a:pt x="345" y="152"/>
                    </a:lnTo>
                    <a:lnTo>
                      <a:pt x="360" y="145"/>
                    </a:lnTo>
                    <a:lnTo>
                      <a:pt x="405" y="134"/>
                    </a:lnTo>
                    <a:lnTo>
                      <a:pt x="423" y="122"/>
                    </a:lnTo>
                    <a:lnTo>
                      <a:pt x="438" y="108"/>
                    </a:lnTo>
                    <a:lnTo>
                      <a:pt x="434" y="70"/>
                    </a:lnTo>
                    <a:lnTo>
                      <a:pt x="438" y="56"/>
                    </a:lnTo>
                    <a:lnTo>
                      <a:pt x="416" y="52"/>
                    </a:lnTo>
                    <a:lnTo>
                      <a:pt x="368" y="41"/>
                    </a:lnTo>
                    <a:lnTo>
                      <a:pt x="360" y="30"/>
                    </a:lnTo>
                    <a:lnTo>
                      <a:pt x="357" y="26"/>
                    </a:lnTo>
                    <a:lnTo>
                      <a:pt x="357" y="15"/>
                    </a:lnTo>
                    <a:lnTo>
                      <a:pt x="353" y="4"/>
                    </a:lnTo>
                    <a:lnTo>
                      <a:pt x="327" y="0"/>
                    </a:lnTo>
                    <a:lnTo>
                      <a:pt x="264" y="4"/>
                    </a:lnTo>
                    <a:lnTo>
                      <a:pt x="257" y="19"/>
                    </a:lnTo>
                    <a:lnTo>
                      <a:pt x="234" y="22"/>
                    </a:lnTo>
                    <a:lnTo>
                      <a:pt x="220" y="52"/>
                    </a:lnTo>
                    <a:lnTo>
                      <a:pt x="220" y="63"/>
                    </a:lnTo>
                    <a:lnTo>
                      <a:pt x="205" y="52"/>
                    </a:lnTo>
                    <a:lnTo>
                      <a:pt x="182" y="48"/>
                    </a:lnTo>
                    <a:lnTo>
                      <a:pt x="168" y="56"/>
                    </a:lnTo>
                    <a:lnTo>
                      <a:pt x="157" y="78"/>
                    </a:lnTo>
                    <a:lnTo>
                      <a:pt x="134" y="63"/>
                    </a:lnTo>
                    <a:lnTo>
                      <a:pt x="138" y="41"/>
                    </a:lnTo>
                    <a:lnTo>
                      <a:pt x="131" y="26"/>
                    </a:lnTo>
                    <a:lnTo>
                      <a:pt x="116" y="30"/>
                    </a:lnTo>
                    <a:lnTo>
                      <a:pt x="112" y="48"/>
                    </a:lnTo>
                    <a:lnTo>
                      <a:pt x="101" y="59"/>
                    </a:lnTo>
                    <a:lnTo>
                      <a:pt x="90" y="59"/>
                    </a:lnTo>
                    <a:lnTo>
                      <a:pt x="37" y="52"/>
                    </a:lnTo>
                    <a:lnTo>
                      <a:pt x="19" y="67"/>
                    </a:lnTo>
                    <a:lnTo>
                      <a:pt x="22" y="85"/>
                    </a:lnTo>
                    <a:lnTo>
                      <a:pt x="26" y="100"/>
                    </a:lnTo>
                    <a:lnTo>
                      <a:pt x="0" y="122"/>
                    </a:lnTo>
                    <a:lnTo>
                      <a:pt x="7" y="137"/>
                    </a:lnTo>
                    <a:lnTo>
                      <a:pt x="15" y="145"/>
                    </a:lnTo>
                    <a:lnTo>
                      <a:pt x="0" y="163"/>
                    </a:lnTo>
                    <a:lnTo>
                      <a:pt x="0" y="189"/>
                    </a:lnTo>
                    <a:lnTo>
                      <a:pt x="7" y="200"/>
                    </a:lnTo>
                    <a:lnTo>
                      <a:pt x="22" y="200"/>
                    </a:lnTo>
                    <a:lnTo>
                      <a:pt x="30" y="208"/>
                    </a:lnTo>
                    <a:lnTo>
                      <a:pt x="37" y="226"/>
                    </a:lnTo>
                    <a:lnTo>
                      <a:pt x="37" y="245"/>
                    </a:lnTo>
                    <a:lnTo>
                      <a:pt x="52" y="249"/>
                    </a:lnTo>
                    <a:lnTo>
                      <a:pt x="63" y="245"/>
                    </a:lnTo>
                    <a:lnTo>
                      <a:pt x="105" y="204"/>
                    </a:lnTo>
                    <a:lnTo>
                      <a:pt x="123" y="211"/>
                    </a:lnTo>
                    <a:lnTo>
                      <a:pt x="160" y="230"/>
                    </a:lnTo>
                    <a:lnTo>
                      <a:pt x="186" y="249"/>
                    </a:lnTo>
                    <a:lnTo>
                      <a:pt x="190" y="271"/>
                    </a:lnTo>
                    <a:lnTo>
                      <a:pt x="205" y="286"/>
                    </a:lnTo>
                    <a:lnTo>
                      <a:pt x="212" y="312"/>
                    </a:lnTo>
                    <a:lnTo>
                      <a:pt x="220" y="352"/>
                    </a:lnTo>
                    <a:lnTo>
                      <a:pt x="231" y="371"/>
                    </a:lnTo>
                    <a:lnTo>
                      <a:pt x="245" y="387"/>
                    </a:lnTo>
                    <a:lnTo>
                      <a:pt x="271" y="397"/>
                    </a:lnTo>
                    <a:lnTo>
                      <a:pt x="294" y="433"/>
                    </a:lnTo>
                    <a:lnTo>
                      <a:pt x="316" y="463"/>
                    </a:lnTo>
                    <a:lnTo>
                      <a:pt x="338" y="478"/>
                    </a:lnTo>
                    <a:lnTo>
                      <a:pt x="379" y="526"/>
                    </a:lnTo>
                    <a:lnTo>
                      <a:pt x="408" y="526"/>
                    </a:lnTo>
                    <a:lnTo>
                      <a:pt x="442" y="555"/>
                    </a:lnTo>
                    <a:lnTo>
                      <a:pt x="442" y="585"/>
                    </a:lnTo>
                    <a:lnTo>
                      <a:pt x="453" y="593"/>
                    </a:lnTo>
                    <a:lnTo>
                      <a:pt x="475" y="578"/>
                    </a:lnTo>
                    <a:lnTo>
                      <a:pt x="479" y="593"/>
                    </a:lnTo>
                    <a:lnTo>
                      <a:pt x="479" y="611"/>
                    </a:lnTo>
                    <a:lnTo>
                      <a:pt x="501" y="630"/>
                    </a:lnTo>
                    <a:lnTo>
                      <a:pt x="508" y="641"/>
                    </a:lnTo>
                    <a:lnTo>
                      <a:pt x="538" y="633"/>
                    </a:lnTo>
                    <a:lnTo>
                      <a:pt x="542" y="645"/>
                    </a:lnTo>
                    <a:lnTo>
                      <a:pt x="538" y="670"/>
                    </a:lnTo>
                    <a:lnTo>
                      <a:pt x="553" y="693"/>
                    </a:lnTo>
                    <a:lnTo>
                      <a:pt x="557" y="711"/>
                    </a:lnTo>
                    <a:lnTo>
                      <a:pt x="564" y="730"/>
                    </a:lnTo>
                    <a:lnTo>
                      <a:pt x="560" y="745"/>
                    </a:lnTo>
                    <a:lnTo>
                      <a:pt x="545" y="760"/>
                    </a:lnTo>
                    <a:lnTo>
                      <a:pt x="542" y="778"/>
                    </a:lnTo>
                    <a:lnTo>
                      <a:pt x="531" y="800"/>
                    </a:lnTo>
                    <a:lnTo>
                      <a:pt x="534" y="819"/>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sp>
          <p:nvSpPr>
            <p:cNvPr id="8" name="Freeform 15"/>
            <p:cNvSpPr>
              <a:spLocks/>
            </p:cNvSpPr>
            <p:nvPr>
              <p:custDataLst>
                <p:tags r:id="rId6"/>
              </p:custDataLst>
            </p:nvPr>
          </p:nvSpPr>
          <p:spPr bwMode="auto">
            <a:xfrm>
              <a:off x="2095029" y="4500273"/>
              <a:ext cx="429440" cy="276306"/>
            </a:xfrm>
            <a:custGeom>
              <a:avLst/>
              <a:gdLst/>
              <a:ahLst/>
              <a:cxnLst>
                <a:cxn ang="0">
                  <a:pos x="157" y="37"/>
                </a:cxn>
                <a:cxn ang="0">
                  <a:pos x="142" y="24"/>
                </a:cxn>
                <a:cxn ang="0">
                  <a:pos x="144" y="19"/>
                </a:cxn>
                <a:cxn ang="0">
                  <a:pos x="135" y="11"/>
                </a:cxn>
                <a:cxn ang="0">
                  <a:pos x="127" y="0"/>
                </a:cxn>
                <a:cxn ang="0">
                  <a:pos x="117" y="11"/>
                </a:cxn>
                <a:cxn ang="0">
                  <a:pos x="111" y="7"/>
                </a:cxn>
                <a:cxn ang="0">
                  <a:pos x="100" y="17"/>
                </a:cxn>
                <a:cxn ang="0">
                  <a:pos x="100" y="22"/>
                </a:cxn>
                <a:cxn ang="0">
                  <a:pos x="87" y="28"/>
                </a:cxn>
                <a:cxn ang="0">
                  <a:pos x="54" y="54"/>
                </a:cxn>
                <a:cxn ang="0">
                  <a:pos x="45" y="65"/>
                </a:cxn>
                <a:cxn ang="0">
                  <a:pos x="45" y="78"/>
                </a:cxn>
                <a:cxn ang="0">
                  <a:pos x="33" y="82"/>
                </a:cxn>
                <a:cxn ang="0">
                  <a:pos x="9" y="108"/>
                </a:cxn>
                <a:cxn ang="0">
                  <a:pos x="9" y="117"/>
                </a:cxn>
                <a:cxn ang="0">
                  <a:pos x="0" y="128"/>
                </a:cxn>
                <a:cxn ang="0">
                  <a:pos x="4" y="141"/>
                </a:cxn>
                <a:cxn ang="0">
                  <a:pos x="15" y="134"/>
                </a:cxn>
                <a:cxn ang="0">
                  <a:pos x="26" y="122"/>
                </a:cxn>
                <a:cxn ang="0">
                  <a:pos x="43" y="119"/>
                </a:cxn>
                <a:cxn ang="0">
                  <a:pos x="54" y="122"/>
                </a:cxn>
                <a:cxn ang="0">
                  <a:pos x="58" y="141"/>
                </a:cxn>
                <a:cxn ang="0">
                  <a:pos x="56" y="154"/>
                </a:cxn>
                <a:cxn ang="0">
                  <a:pos x="63" y="163"/>
                </a:cxn>
                <a:cxn ang="0">
                  <a:pos x="72" y="169"/>
                </a:cxn>
                <a:cxn ang="0">
                  <a:pos x="91" y="171"/>
                </a:cxn>
                <a:cxn ang="0">
                  <a:pos x="133" y="176"/>
                </a:cxn>
                <a:cxn ang="0">
                  <a:pos x="142" y="171"/>
                </a:cxn>
                <a:cxn ang="0">
                  <a:pos x="148" y="163"/>
                </a:cxn>
                <a:cxn ang="0">
                  <a:pos x="152" y="146"/>
                </a:cxn>
                <a:cxn ang="0">
                  <a:pos x="167" y="145"/>
                </a:cxn>
                <a:cxn ang="0">
                  <a:pos x="172" y="156"/>
                </a:cxn>
                <a:cxn ang="0">
                  <a:pos x="172" y="181"/>
                </a:cxn>
                <a:cxn ang="0">
                  <a:pos x="191" y="194"/>
                </a:cxn>
                <a:cxn ang="0">
                  <a:pos x="205" y="172"/>
                </a:cxn>
                <a:cxn ang="0">
                  <a:pos x="220" y="165"/>
                </a:cxn>
                <a:cxn ang="0">
                  <a:pos x="237" y="167"/>
                </a:cxn>
                <a:cxn ang="0">
                  <a:pos x="250" y="174"/>
                </a:cxn>
                <a:cxn ang="0">
                  <a:pos x="255" y="180"/>
                </a:cxn>
                <a:cxn ang="0">
                  <a:pos x="259" y="161"/>
                </a:cxn>
                <a:cxn ang="0">
                  <a:pos x="269" y="139"/>
                </a:cxn>
                <a:cxn ang="0">
                  <a:pos x="291" y="135"/>
                </a:cxn>
                <a:cxn ang="0">
                  <a:pos x="298" y="121"/>
                </a:cxn>
                <a:cxn ang="0">
                  <a:pos x="291" y="109"/>
                </a:cxn>
                <a:cxn ang="0">
                  <a:pos x="281" y="104"/>
                </a:cxn>
                <a:cxn ang="0">
                  <a:pos x="253" y="99"/>
                </a:cxn>
                <a:cxn ang="0">
                  <a:pos x="252" y="85"/>
                </a:cxn>
                <a:cxn ang="0">
                  <a:pos x="252" y="70"/>
                </a:cxn>
                <a:cxn ang="0">
                  <a:pos x="252" y="59"/>
                </a:cxn>
                <a:cxn ang="0">
                  <a:pos x="235" y="50"/>
                </a:cxn>
                <a:cxn ang="0">
                  <a:pos x="226" y="54"/>
                </a:cxn>
                <a:cxn ang="0">
                  <a:pos x="211" y="43"/>
                </a:cxn>
                <a:cxn ang="0">
                  <a:pos x="209" y="35"/>
                </a:cxn>
                <a:cxn ang="0">
                  <a:pos x="203" y="26"/>
                </a:cxn>
                <a:cxn ang="0">
                  <a:pos x="203" y="22"/>
                </a:cxn>
                <a:cxn ang="0">
                  <a:pos x="187" y="17"/>
                </a:cxn>
                <a:cxn ang="0">
                  <a:pos x="181" y="24"/>
                </a:cxn>
                <a:cxn ang="0">
                  <a:pos x="170" y="32"/>
                </a:cxn>
                <a:cxn ang="0">
                  <a:pos x="157" y="37"/>
                </a:cxn>
              </a:cxnLst>
              <a:rect l="0" t="0" r="r" b="b"/>
              <a:pathLst>
                <a:path w="298" h="194">
                  <a:moveTo>
                    <a:pt x="157" y="37"/>
                  </a:moveTo>
                  <a:lnTo>
                    <a:pt x="142" y="24"/>
                  </a:lnTo>
                  <a:lnTo>
                    <a:pt x="144" y="19"/>
                  </a:lnTo>
                  <a:lnTo>
                    <a:pt x="135" y="11"/>
                  </a:lnTo>
                  <a:lnTo>
                    <a:pt x="127" y="0"/>
                  </a:lnTo>
                  <a:lnTo>
                    <a:pt x="117" y="11"/>
                  </a:lnTo>
                  <a:lnTo>
                    <a:pt x="111" y="7"/>
                  </a:lnTo>
                  <a:lnTo>
                    <a:pt x="100" y="17"/>
                  </a:lnTo>
                  <a:lnTo>
                    <a:pt x="100" y="22"/>
                  </a:lnTo>
                  <a:lnTo>
                    <a:pt x="87" y="28"/>
                  </a:lnTo>
                  <a:lnTo>
                    <a:pt x="54" y="54"/>
                  </a:lnTo>
                  <a:lnTo>
                    <a:pt x="45" y="65"/>
                  </a:lnTo>
                  <a:lnTo>
                    <a:pt x="45" y="78"/>
                  </a:lnTo>
                  <a:lnTo>
                    <a:pt x="33" y="82"/>
                  </a:lnTo>
                  <a:lnTo>
                    <a:pt x="9" y="108"/>
                  </a:lnTo>
                  <a:lnTo>
                    <a:pt x="9" y="117"/>
                  </a:lnTo>
                  <a:lnTo>
                    <a:pt x="0" y="128"/>
                  </a:lnTo>
                  <a:lnTo>
                    <a:pt x="4" y="141"/>
                  </a:lnTo>
                  <a:lnTo>
                    <a:pt x="15" y="134"/>
                  </a:lnTo>
                  <a:lnTo>
                    <a:pt x="26" y="122"/>
                  </a:lnTo>
                  <a:lnTo>
                    <a:pt x="43" y="119"/>
                  </a:lnTo>
                  <a:lnTo>
                    <a:pt x="54" y="122"/>
                  </a:lnTo>
                  <a:lnTo>
                    <a:pt x="58" y="141"/>
                  </a:lnTo>
                  <a:lnTo>
                    <a:pt x="56" y="154"/>
                  </a:lnTo>
                  <a:lnTo>
                    <a:pt x="63" y="163"/>
                  </a:lnTo>
                  <a:lnTo>
                    <a:pt x="72" y="169"/>
                  </a:lnTo>
                  <a:lnTo>
                    <a:pt x="91" y="171"/>
                  </a:lnTo>
                  <a:lnTo>
                    <a:pt x="133" y="176"/>
                  </a:lnTo>
                  <a:lnTo>
                    <a:pt x="142" y="171"/>
                  </a:lnTo>
                  <a:lnTo>
                    <a:pt x="148" y="163"/>
                  </a:lnTo>
                  <a:lnTo>
                    <a:pt x="152" y="146"/>
                  </a:lnTo>
                  <a:lnTo>
                    <a:pt x="167" y="145"/>
                  </a:lnTo>
                  <a:lnTo>
                    <a:pt x="172" y="156"/>
                  </a:lnTo>
                  <a:lnTo>
                    <a:pt x="172" y="181"/>
                  </a:lnTo>
                  <a:lnTo>
                    <a:pt x="191" y="194"/>
                  </a:lnTo>
                  <a:lnTo>
                    <a:pt x="205" y="172"/>
                  </a:lnTo>
                  <a:lnTo>
                    <a:pt x="220" y="165"/>
                  </a:lnTo>
                  <a:lnTo>
                    <a:pt x="237" y="167"/>
                  </a:lnTo>
                  <a:lnTo>
                    <a:pt x="250" y="174"/>
                  </a:lnTo>
                  <a:lnTo>
                    <a:pt x="255" y="180"/>
                  </a:lnTo>
                  <a:lnTo>
                    <a:pt x="259" y="161"/>
                  </a:lnTo>
                  <a:lnTo>
                    <a:pt x="269" y="139"/>
                  </a:lnTo>
                  <a:lnTo>
                    <a:pt x="291" y="135"/>
                  </a:lnTo>
                  <a:lnTo>
                    <a:pt x="298" y="121"/>
                  </a:lnTo>
                  <a:lnTo>
                    <a:pt x="291" y="109"/>
                  </a:lnTo>
                  <a:lnTo>
                    <a:pt x="281" y="104"/>
                  </a:lnTo>
                  <a:lnTo>
                    <a:pt x="253" y="99"/>
                  </a:lnTo>
                  <a:lnTo>
                    <a:pt x="252" y="85"/>
                  </a:lnTo>
                  <a:lnTo>
                    <a:pt x="252" y="70"/>
                  </a:lnTo>
                  <a:lnTo>
                    <a:pt x="252" y="59"/>
                  </a:lnTo>
                  <a:lnTo>
                    <a:pt x="235" y="50"/>
                  </a:lnTo>
                  <a:lnTo>
                    <a:pt x="226" y="54"/>
                  </a:lnTo>
                  <a:lnTo>
                    <a:pt x="211" y="43"/>
                  </a:lnTo>
                  <a:lnTo>
                    <a:pt x="209" y="35"/>
                  </a:lnTo>
                  <a:lnTo>
                    <a:pt x="203" y="26"/>
                  </a:lnTo>
                  <a:lnTo>
                    <a:pt x="203" y="22"/>
                  </a:lnTo>
                  <a:lnTo>
                    <a:pt x="187" y="17"/>
                  </a:lnTo>
                  <a:lnTo>
                    <a:pt x="181" y="24"/>
                  </a:lnTo>
                  <a:lnTo>
                    <a:pt x="170" y="32"/>
                  </a:lnTo>
                  <a:lnTo>
                    <a:pt x="157" y="37"/>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9" name="Freeform 16"/>
            <p:cNvSpPr>
              <a:spLocks/>
            </p:cNvSpPr>
            <p:nvPr>
              <p:custDataLst>
                <p:tags r:id="rId7"/>
              </p:custDataLst>
            </p:nvPr>
          </p:nvSpPr>
          <p:spPr bwMode="auto">
            <a:xfrm>
              <a:off x="2439580" y="4466983"/>
              <a:ext cx="645825" cy="297945"/>
            </a:xfrm>
            <a:custGeom>
              <a:avLst/>
              <a:gdLst/>
              <a:ahLst/>
              <a:cxnLst>
                <a:cxn ang="0">
                  <a:pos x="19" y="72"/>
                </a:cxn>
                <a:cxn ang="0">
                  <a:pos x="36" y="82"/>
                </a:cxn>
                <a:cxn ang="0">
                  <a:pos x="63" y="80"/>
                </a:cxn>
                <a:cxn ang="0">
                  <a:pos x="88" y="78"/>
                </a:cxn>
                <a:cxn ang="0">
                  <a:pos x="118" y="88"/>
                </a:cxn>
                <a:cxn ang="0">
                  <a:pos x="138" y="85"/>
                </a:cxn>
                <a:cxn ang="0">
                  <a:pos x="172" y="81"/>
                </a:cxn>
                <a:cxn ang="0">
                  <a:pos x="209" y="100"/>
                </a:cxn>
                <a:cxn ang="0">
                  <a:pos x="227" y="81"/>
                </a:cxn>
                <a:cxn ang="0">
                  <a:pos x="212" y="40"/>
                </a:cxn>
                <a:cxn ang="0">
                  <a:pos x="274" y="5"/>
                </a:cxn>
                <a:cxn ang="0">
                  <a:pos x="291" y="20"/>
                </a:cxn>
                <a:cxn ang="0">
                  <a:pos x="336" y="2"/>
                </a:cxn>
                <a:cxn ang="0">
                  <a:pos x="385" y="17"/>
                </a:cxn>
                <a:cxn ang="0">
                  <a:pos x="417" y="8"/>
                </a:cxn>
                <a:cxn ang="0">
                  <a:pos x="442" y="52"/>
                </a:cxn>
                <a:cxn ang="0">
                  <a:pos x="450" y="82"/>
                </a:cxn>
                <a:cxn ang="0">
                  <a:pos x="429" y="100"/>
                </a:cxn>
                <a:cxn ang="0">
                  <a:pos x="432" y="120"/>
                </a:cxn>
                <a:cxn ang="0">
                  <a:pos x="424" y="148"/>
                </a:cxn>
                <a:cxn ang="0">
                  <a:pos x="401" y="172"/>
                </a:cxn>
                <a:cxn ang="0">
                  <a:pos x="380" y="189"/>
                </a:cxn>
                <a:cxn ang="0">
                  <a:pos x="330" y="192"/>
                </a:cxn>
                <a:cxn ang="0">
                  <a:pos x="289" y="206"/>
                </a:cxn>
                <a:cxn ang="0">
                  <a:pos x="220" y="192"/>
                </a:cxn>
                <a:cxn ang="0">
                  <a:pos x="154" y="165"/>
                </a:cxn>
                <a:cxn ang="0">
                  <a:pos x="150" y="141"/>
                </a:cxn>
                <a:cxn ang="0">
                  <a:pos x="107" y="139"/>
                </a:cxn>
                <a:cxn ang="0">
                  <a:pos x="52" y="132"/>
                </a:cxn>
                <a:cxn ang="0">
                  <a:pos x="28" y="123"/>
                </a:cxn>
                <a:cxn ang="0">
                  <a:pos x="13" y="105"/>
                </a:cxn>
                <a:cxn ang="0">
                  <a:pos x="0" y="74"/>
                </a:cxn>
              </a:cxnLst>
              <a:rect l="0" t="0" r="r" b="b"/>
              <a:pathLst>
                <a:path w="453" h="206">
                  <a:moveTo>
                    <a:pt x="0" y="74"/>
                  </a:moveTo>
                  <a:lnTo>
                    <a:pt x="19" y="72"/>
                  </a:lnTo>
                  <a:lnTo>
                    <a:pt x="26" y="70"/>
                  </a:lnTo>
                  <a:lnTo>
                    <a:pt x="36" y="82"/>
                  </a:lnTo>
                  <a:lnTo>
                    <a:pt x="48" y="78"/>
                  </a:lnTo>
                  <a:lnTo>
                    <a:pt x="63" y="80"/>
                  </a:lnTo>
                  <a:lnTo>
                    <a:pt x="72" y="87"/>
                  </a:lnTo>
                  <a:lnTo>
                    <a:pt x="88" y="78"/>
                  </a:lnTo>
                  <a:lnTo>
                    <a:pt x="109" y="79"/>
                  </a:lnTo>
                  <a:lnTo>
                    <a:pt x="118" y="88"/>
                  </a:lnTo>
                  <a:lnTo>
                    <a:pt x="131" y="91"/>
                  </a:lnTo>
                  <a:lnTo>
                    <a:pt x="138" y="85"/>
                  </a:lnTo>
                  <a:lnTo>
                    <a:pt x="161" y="81"/>
                  </a:lnTo>
                  <a:lnTo>
                    <a:pt x="172" y="81"/>
                  </a:lnTo>
                  <a:lnTo>
                    <a:pt x="189" y="87"/>
                  </a:lnTo>
                  <a:lnTo>
                    <a:pt x="209" y="100"/>
                  </a:lnTo>
                  <a:lnTo>
                    <a:pt x="224" y="94"/>
                  </a:lnTo>
                  <a:lnTo>
                    <a:pt x="227" y="81"/>
                  </a:lnTo>
                  <a:lnTo>
                    <a:pt x="217" y="64"/>
                  </a:lnTo>
                  <a:lnTo>
                    <a:pt x="212" y="40"/>
                  </a:lnTo>
                  <a:lnTo>
                    <a:pt x="263" y="5"/>
                  </a:lnTo>
                  <a:lnTo>
                    <a:pt x="274" y="5"/>
                  </a:lnTo>
                  <a:lnTo>
                    <a:pt x="276" y="17"/>
                  </a:lnTo>
                  <a:lnTo>
                    <a:pt x="291" y="20"/>
                  </a:lnTo>
                  <a:lnTo>
                    <a:pt x="323" y="16"/>
                  </a:lnTo>
                  <a:lnTo>
                    <a:pt x="336" y="2"/>
                  </a:lnTo>
                  <a:lnTo>
                    <a:pt x="376" y="0"/>
                  </a:lnTo>
                  <a:lnTo>
                    <a:pt x="385" y="17"/>
                  </a:lnTo>
                  <a:lnTo>
                    <a:pt x="402" y="17"/>
                  </a:lnTo>
                  <a:lnTo>
                    <a:pt x="417" y="8"/>
                  </a:lnTo>
                  <a:lnTo>
                    <a:pt x="442" y="24"/>
                  </a:lnTo>
                  <a:lnTo>
                    <a:pt x="442" y="52"/>
                  </a:lnTo>
                  <a:lnTo>
                    <a:pt x="453" y="64"/>
                  </a:lnTo>
                  <a:lnTo>
                    <a:pt x="450" y="82"/>
                  </a:lnTo>
                  <a:lnTo>
                    <a:pt x="442" y="100"/>
                  </a:lnTo>
                  <a:lnTo>
                    <a:pt x="429" y="100"/>
                  </a:lnTo>
                  <a:lnTo>
                    <a:pt x="424" y="105"/>
                  </a:lnTo>
                  <a:lnTo>
                    <a:pt x="432" y="120"/>
                  </a:lnTo>
                  <a:lnTo>
                    <a:pt x="432" y="135"/>
                  </a:lnTo>
                  <a:lnTo>
                    <a:pt x="424" y="148"/>
                  </a:lnTo>
                  <a:lnTo>
                    <a:pt x="402" y="159"/>
                  </a:lnTo>
                  <a:lnTo>
                    <a:pt x="401" y="172"/>
                  </a:lnTo>
                  <a:lnTo>
                    <a:pt x="401" y="185"/>
                  </a:lnTo>
                  <a:lnTo>
                    <a:pt x="380" y="189"/>
                  </a:lnTo>
                  <a:lnTo>
                    <a:pt x="346" y="187"/>
                  </a:lnTo>
                  <a:lnTo>
                    <a:pt x="330" y="192"/>
                  </a:lnTo>
                  <a:lnTo>
                    <a:pt x="301" y="192"/>
                  </a:lnTo>
                  <a:lnTo>
                    <a:pt x="289" y="206"/>
                  </a:lnTo>
                  <a:lnTo>
                    <a:pt x="243" y="191"/>
                  </a:lnTo>
                  <a:lnTo>
                    <a:pt x="220" y="192"/>
                  </a:lnTo>
                  <a:lnTo>
                    <a:pt x="162" y="179"/>
                  </a:lnTo>
                  <a:lnTo>
                    <a:pt x="154" y="165"/>
                  </a:lnTo>
                  <a:lnTo>
                    <a:pt x="154" y="150"/>
                  </a:lnTo>
                  <a:lnTo>
                    <a:pt x="150" y="141"/>
                  </a:lnTo>
                  <a:lnTo>
                    <a:pt x="143" y="137"/>
                  </a:lnTo>
                  <a:lnTo>
                    <a:pt x="107" y="139"/>
                  </a:lnTo>
                  <a:lnTo>
                    <a:pt x="57" y="144"/>
                  </a:lnTo>
                  <a:lnTo>
                    <a:pt x="52" y="132"/>
                  </a:lnTo>
                  <a:lnTo>
                    <a:pt x="43" y="128"/>
                  </a:lnTo>
                  <a:lnTo>
                    <a:pt x="28" y="123"/>
                  </a:lnTo>
                  <a:lnTo>
                    <a:pt x="13" y="119"/>
                  </a:lnTo>
                  <a:lnTo>
                    <a:pt x="13" y="105"/>
                  </a:lnTo>
                  <a:lnTo>
                    <a:pt x="13" y="85"/>
                  </a:lnTo>
                  <a:lnTo>
                    <a:pt x="0" y="74"/>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0" name="Freeform 17"/>
            <p:cNvSpPr>
              <a:spLocks/>
            </p:cNvSpPr>
            <p:nvPr>
              <p:custDataLst>
                <p:tags r:id="rId8"/>
              </p:custDataLst>
            </p:nvPr>
          </p:nvSpPr>
          <p:spPr bwMode="auto">
            <a:xfrm>
              <a:off x="3008838" y="4508596"/>
              <a:ext cx="599219" cy="361196"/>
            </a:xfrm>
            <a:custGeom>
              <a:avLst/>
              <a:gdLst/>
              <a:ahLst/>
              <a:cxnLst>
                <a:cxn ang="0">
                  <a:pos x="2" y="161"/>
                </a:cxn>
                <a:cxn ang="0">
                  <a:pos x="15" y="172"/>
                </a:cxn>
                <a:cxn ang="0">
                  <a:pos x="13" y="178"/>
                </a:cxn>
                <a:cxn ang="0">
                  <a:pos x="17" y="189"/>
                </a:cxn>
                <a:cxn ang="0">
                  <a:pos x="28" y="189"/>
                </a:cxn>
                <a:cxn ang="0">
                  <a:pos x="70" y="230"/>
                </a:cxn>
                <a:cxn ang="0">
                  <a:pos x="83" y="232"/>
                </a:cxn>
                <a:cxn ang="0">
                  <a:pos x="117" y="254"/>
                </a:cxn>
                <a:cxn ang="0">
                  <a:pos x="133" y="241"/>
                </a:cxn>
                <a:cxn ang="0">
                  <a:pos x="157" y="243"/>
                </a:cxn>
                <a:cxn ang="0">
                  <a:pos x="165" y="248"/>
                </a:cxn>
                <a:cxn ang="0">
                  <a:pos x="183" y="241"/>
                </a:cxn>
                <a:cxn ang="0">
                  <a:pos x="220" y="226"/>
                </a:cxn>
                <a:cxn ang="0">
                  <a:pos x="263" y="219"/>
                </a:cxn>
                <a:cxn ang="0">
                  <a:pos x="281" y="222"/>
                </a:cxn>
                <a:cxn ang="0">
                  <a:pos x="287" y="232"/>
                </a:cxn>
                <a:cxn ang="0">
                  <a:pos x="302" y="215"/>
                </a:cxn>
                <a:cxn ang="0">
                  <a:pos x="322" y="208"/>
                </a:cxn>
                <a:cxn ang="0">
                  <a:pos x="341" y="205"/>
                </a:cxn>
                <a:cxn ang="0">
                  <a:pos x="374" y="172"/>
                </a:cxn>
                <a:cxn ang="0">
                  <a:pos x="383" y="152"/>
                </a:cxn>
                <a:cxn ang="0">
                  <a:pos x="387" y="113"/>
                </a:cxn>
                <a:cxn ang="0">
                  <a:pos x="391" y="81"/>
                </a:cxn>
                <a:cxn ang="0">
                  <a:pos x="404" y="80"/>
                </a:cxn>
                <a:cxn ang="0">
                  <a:pos x="414" y="68"/>
                </a:cxn>
                <a:cxn ang="0">
                  <a:pos x="420" y="59"/>
                </a:cxn>
                <a:cxn ang="0">
                  <a:pos x="407" y="50"/>
                </a:cxn>
                <a:cxn ang="0">
                  <a:pos x="400" y="54"/>
                </a:cxn>
                <a:cxn ang="0">
                  <a:pos x="381" y="50"/>
                </a:cxn>
                <a:cxn ang="0">
                  <a:pos x="370" y="35"/>
                </a:cxn>
                <a:cxn ang="0">
                  <a:pos x="359" y="15"/>
                </a:cxn>
                <a:cxn ang="0">
                  <a:pos x="346" y="15"/>
                </a:cxn>
                <a:cxn ang="0">
                  <a:pos x="326" y="0"/>
                </a:cxn>
                <a:cxn ang="0">
                  <a:pos x="315" y="2"/>
                </a:cxn>
                <a:cxn ang="0">
                  <a:pos x="274" y="7"/>
                </a:cxn>
                <a:cxn ang="0">
                  <a:pos x="266" y="19"/>
                </a:cxn>
                <a:cxn ang="0">
                  <a:pos x="255" y="33"/>
                </a:cxn>
                <a:cxn ang="0">
                  <a:pos x="240" y="41"/>
                </a:cxn>
                <a:cxn ang="0">
                  <a:pos x="226" y="44"/>
                </a:cxn>
                <a:cxn ang="0">
                  <a:pos x="216" y="41"/>
                </a:cxn>
                <a:cxn ang="0">
                  <a:pos x="207" y="35"/>
                </a:cxn>
                <a:cxn ang="0">
                  <a:pos x="200" y="33"/>
                </a:cxn>
                <a:cxn ang="0">
                  <a:pos x="187" y="39"/>
                </a:cxn>
                <a:cxn ang="0">
                  <a:pos x="170" y="48"/>
                </a:cxn>
                <a:cxn ang="0">
                  <a:pos x="135" y="63"/>
                </a:cxn>
                <a:cxn ang="0">
                  <a:pos x="120" y="65"/>
                </a:cxn>
                <a:cxn ang="0">
                  <a:pos x="83" y="63"/>
                </a:cxn>
                <a:cxn ang="0">
                  <a:pos x="78" y="61"/>
                </a:cxn>
                <a:cxn ang="0">
                  <a:pos x="68" y="46"/>
                </a:cxn>
                <a:cxn ang="0">
                  <a:pos x="56" y="39"/>
                </a:cxn>
                <a:cxn ang="0">
                  <a:pos x="52" y="44"/>
                </a:cxn>
                <a:cxn ang="0">
                  <a:pos x="50" y="59"/>
                </a:cxn>
                <a:cxn ang="0">
                  <a:pos x="43" y="74"/>
                </a:cxn>
                <a:cxn ang="0">
                  <a:pos x="30" y="74"/>
                </a:cxn>
                <a:cxn ang="0">
                  <a:pos x="26" y="78"/>
                </a:cxn>
                <a:cxn ang="0">
                  <a:pos x="33" y="93"/>
                </a:cxn>
                <a:cxn ang="0">
                  <a:pos x="31" y="108"/>
                </a:cxn>
                <a:cxn ang="0">
                  <a:pos x="22" y="122"/>
                </a:cxn>
                <a:cxn ang="0">
                  <a:pos x="15" y="128"/>
                </a:cxn>
                <a:cxn ang="0">
                  <a:pos x="4" y="133"/>
                </a:cxn>
                <a:cxn ang="0">
                  <a:pos x="0" y="145"/>
                </a:cxn>
                <a:cxn ang="0">
                  <a:pos x="2" y="161"/>
                </a:cxn>
              </a:cxnLst>
              <a:rect l="0" t="0" r="r" b="b"/>
              <a:pathLst>
                <a:path w="420" h="254">
                  <a:moveTo>
                    <a:pt x="2" y="161"/>
                  </a:moveTo>
                  <a:lnTo>
                    <a:pt x="15" y="172"/>
                  </a:lnTo>
                  <a:lnTo>
                    <a:pt x="13" y="178"/>
                  </a:lnTo>
                  <a:lnTo>
                    <a:pt x="17" y="189"/>
                  </a:lnTo>
                  <a:lnTo>
                    <a:pt x="28" y="189"/>
                  </a:lnTo>
                  <a:lnTo>
                    <a:pt x="70" y="230"/>
                  </a:lnTo>
                  <a:lnTo>
                    <a:pt x="83" y="232"/>
                  </a:lnTo>
                  <a:lnTo>
                    <a:pt x="117" y="254"/>
                  </a:lnTo>
                  <a:lnTo>
                    <a:pt x="133" y="241"/>
                  </a:lnTo>
                  <a:lnTo>
                    <a:pt x="157" y="243"/>
                  </a:lnTo>
                  <a:lnTo>
                    <a:pt x="165" y="248"/>
                  </a:lnTo>
                  <a:lnTo>
                    <a:pt x="183" y="241"/>
                  </a:lnTo>
                  <a:lnTo>
                    <a:pt x="220" y="226"/>
                  </a:lnTo>
                  <a:lnTo>
                    <a:pt x="263" y="219"/>
                  </a:lnTo>
                  <a:lnTo>
                    <a:pt x="281" y="222"/>
                  </a:lnTo>
                  <a:lnTo>
                    <a:pt x="287" y="232"/>
                  </a:lnTo>
                  <a:lnTo>
                    <a:pt x="302" y="215"/>
                  </a:lnTo>
                  <a:lnTo>
                    <a:pt x="322" y="208"/>
                  </a:lnTo>
                  <a:lnTo>
                    <a:pt x="341" y="205"/>
                  </a:lnTo>
                  <a:lnTo>
                    <a:pt x="374" y="172"/>
                  </a:lnTo>
                  <a:lnTo>
                    <a:pt x="383" y="152"/>
                  </a:lnTo>
                  <a:lnTo>
                    <a:pt x="387" y="113"/>
                  </a:lnTo>
                  <a:lnTo>
                    <a:pt x="391" y="81"/>
                  </a:lnTo>
                  <a:lnTo>
                    <a:pt x="404" y="80"/>
                  </a:lnTo>
                  <a:lnTo>
                    <a:pt x="414" y="68"/>
                  </a:lnTo>
                  <a:lnTo>
                    <a:pt x="420" y="59"/>
                  </a:lnTo>
                  <a:lnTo>
                    <a:pt x="407" y="50"/>
                  </a:lnTo>
                  <a:lnTo>
                    <a:pt x="400" y="54"/>
                  </a:lnTo>
                  <a:lnTo>
                    <a:pt x="381" y="50"/>
                  </a:lnTo>
                  <a:lnTo>
                    <a:pt x="370" y="35"/>
                  </a:lnTo>
                  <a:lnTo>
                    <a:pt x="359" y="15"/>
                  </a:lnTo>
                  <a:lnTo>
                    <a:pt x="346" y="15"/>
                  </a:lnTo>
                  <a:lnTo>
                    <a:pt x="326" y="0"/>
                  </a:lnTo>
                  <a:lnTo>
                    <a:pt x="315" y="2"/>
                  </a:lnTo>
                  <a:lnTo>
                    <a:pt x="274" y="7"/>
                  </a:lnTo>
                  <a:lnTo>
                    <a:pt x="266" y="19"/>
                  </a:lnTo>
                  <a:lnTo>
                    <a:pt x="255" y="33"/>
                  </a:lnTo>
                  <a:lnTo>
                    <a:pt x="240" y="41"/>
                  </a:lnTo>
                  <a:lnTo>
                    <a:pt x="226" y="44"/>
                  </a:lnTo>
                  <a:lnTo>
                    <a:pt x="216" y="41"/>
                  </a:lnTo>
                  <a:lnTo>
                    <a:pt x="207" y="35"/>
                  </a:lnTo>
                  <a:lnTo>
                    <a:pt x="200" y="33"/>
                  </a:lnTo>
                  <a:lnTo>
                    <a:pt x="187" y="39"/>
                  </a:lnTo>
                  <a:lnTo>
                    <a:pt x="170" y="48"/>
                  </a:lnTo>
                  <a:lnTo>
                    <a:pt x="135" y="63"/>
                  </a:lnTo>
                  <a:lnTo>
                    <a:pt x="120" y="65"/>
                  </a:lnTo>
                  <a:lnTo>
                    <a:pt x="83" y="63"/>
                  </a:lnTo>
                  <a:lnTo>
                    <a:pt x="78" y="61"/>
                  </a:lnTo>
                  <a:lnTo>
                    <a:pt x="68" y="46"/>
                  </a:lnTo>
                  <a:lnTo>
                    <a:pt x="56" y="39"/>
                  </a:lnTo>
                  <a:lnTo>
                    <a:pt x="52" y="44"/>
                  </a:lnTo>
                  <a:lnTo>
                    <a:pt x="50" y="59"/>
                  </a:lnTo>
                  <a:lnTo>
                    <a:pt x="43" y="74"/>
                  </a:lnTo>
                  <a:lnTo>
                    <a:pt x="30" y="74"/>
                  </a:lnTo>
                  <a:lnTo>
                    <a:pt x="26" y="78"/>
                  </a:lnTo>
                  <a:lnTo>
                    <a:pt x="33" y="93"/>
                  </a:lnTo>
                  <a:lnTo>
                    <a:pt x="31" y="108"/>
                  </a:lnTo>
                  <a:lnTo>
                    <a:pt x="22" y="122"/>
                  </a:lnTo>
                  <a:lnTo>
                    <a:pt x="15" y="128"/>
                  </a:lnTo>
                  <a:lnTo>
                    <a:pt x="4" y="133"/>
                  </a:lnTo>
                  <a:lnTo>
                    <a:pt x="0" y="145"/>
                  </a:lnTo>
                  <a:lnTo>
                    <a:pt x="2" y="161"/>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1" name="Freeform 18"/>
            <p:cNvSpPr>
              <a:spLocks/>
            </p:cNvSpPr>
            <p:nvPr>
              <p:custDataLst>
                <p:tags r:id="rId9"/>
              </p:custDataLst>
            </p:nvPr>
          </p:nvSpPr>
          <p:spPr bwMode="auto">
            <a:xfrm>
              <a:off x="2749176" y="4733302"/>
              <a:ext cx="281300" cy="168114"/>
            </a:xfrm>
            <a:custGeom>
              <a:avLst/>
              <a:gdLst/>
              <a:ahLst/>
              <a:cxnLst>
                <a:cxn ang="0">
                  <a:pos x="17" y="63"/>
                </a:cxn>
                <a:cxn ang="0">
                  <a:pos x="37" y="83"/>
                </a:cxn>
                <a:cxn ang="0">
                  <a:pos x="31" y="93"/>
                </a:cxn>
                <a:cxn ang="0">
                  <a:pos x="22" y="100"/>
                </a:cxn>
                <a:cxn ang="0">
                  <a:pos x="11" y="102"/>
                </a:cxn>
                <a:cxn ang="0">
                  <a:pos x="0" y="104"/>
                </a:cxn>
                <a:cxn ang="0">
                  <a:pos x="20" y="113"/>
                </a:cxn>
                <a:cxn ang="0">
                  <a:pos x="28" y="115"/>
                </a:cxn>
                <a:cxn ang="0">
                  <a:pos x="53" y="100"/>
                </a:cxn>
                <a:cxn ang="0">
                  <a:pos x="108" y="114"/>
                </a:cxn>
                <a:cxn ang="0">
                  <a:pos x="144" y="74"/>
                </a:cxn>
                <a:cxn ang="0">
                  <a:pos x="151" y="57"/>
                </a:cxn>
                <a:cxn ang="0">
                  <a:pos x="158" y="52"/>
                </a:cxn>
                <a:cxn ang="0">
                  <a:pos x="178" y="54"/>
                </a:cxn>
                <a:cxn ang="0">
                  <a:pos x="199" y="30"/>
                </a:cxn>
                <a:cxn ang="0">
                  <a:pos x="197" y="15"/>
                </a:cxn>
                <a:cxn ang="0">
                  <a:pos x="183" y="0"/>
                </a:cxn>
                <a:cxn ang="0">
                  <a:pos x="173" y="2"/>
                </a:cxn>
                <a:cxn ang="0">
                  <a:pos x="163" y="5"/>
                </a:cxn>
                <a:cxn ang="0">
                  <a:pos x="145" y="1"/>
                </a:cxn>
                <a:cxn ang="0">
                  <a:pos x="127" y="2"/>
                </a:cxn>
                <a:cxn ang="0">
                  <a:pos x="109" y="7"/>
                </a:cxn>
                <a:cxn ang="0">
                  <a:pos x="84" y="5"/>
                </a:cxn>
                <a:cxn ang="0">
                  <a:pos x="73" y="20"/>
                </a:cxn>
                <a:cxn ang="0">
                  <a:pos x="31" y="7"/>
                </a:cxn>
                <a:cxn ang="0">
                  <a:pos x="15" y="7"/>
                </a:cxn>
                <a:cxn ang="0">
                  <a:pos x="15" y="32"/>
                </a:cxn>
                <a:cxn ang="0">
                  <a:pos x="17" y="63"/>
                </a:cxn>
              </a:cxnLst>
              <a:rect l="0" t="0" r="r" b="b"/>
              <a:pathLst>
                <a:path w="199" h="115">
                  <a:moveTo>
                    <a:pt x="17" y="63"/>
                  </a:moveTo>
                  <a:lnTo>
                    <a:pt x="37" y="83"/>
                  </a:lnTo>
                  <a:lnTo>
                    <a:pt x="31" y="93"/>
                  </a:lnTo>
                  <a:lnTo>
                    <a:pt x="22" y="100"/>
                  </a:lnTo>
                  <a:lnTo>
                    <a:pt x="11" y="102"/>
                  </a:lnTo>
                  <a:lnTo>
                    <a:pt x="0" y="104"/>
                  </a:lnTo>
                  <a:lnTo>
                    <a:pt x="20" y="113"/>
                  </a:lnTo>
                  <a:lnTo>
                    <a:pt x="28" y="115"/>
                  </a:lnTo>
                  <a:lnTo>
                    <a:pt x="53" y="100"/>
                  </a:lnTo>
                  <a:lnTo>
                    <a:pt x="108" y="114"/>
                  </a:lnTo>
                  <a:lnTo>
                    <a:pt x="144" y="74"/>
                  </a:lnTo>
                  <a:lnTo>
                    <a:pt x="151" y="57"/>
                  </a:lnTo>
                  <a:lnTo>
                    <a:pt x="158" y="52"/>
                  </a:lnTo>
                  <a:lnTo>
                    <a:pt x="178" y="54"/>
                  </a:lnTo>
                  <a:lnTo>
                    <a:pt x="199" y="30"/>
                  </a:lnTo>
                  <a:lnTo>
                    <a:pt x="197" y="15"/>
                  </a:lnTo>
                  <a:lnTo>
                    <a:pt x="183" y="0"/>
                  </a:lnTo>
                  <a:lnTo>
                    <a:pt x="173" y="2"/>
                  </a:lnTo>
                  <a:lnTo>
                    <a:pt x="163" y="5"/>
                  </a:lnTo>
                  <a:lnTo>
                    <a:pt x="145" y="1"/>
                  </a:lnTo>
                  <a:lnTo>
                    <a:pt x="127" y="2"/>
                  </a:lnTo>
                  <a:lnTo>
                    <a:pt x="109" y="7"/>
                  </a:lnTo>
                  <a:lnTo>
                    <a:pt x="84" y="5"/>
                  </a:lnTo>
                  <a:lnTo>
                    <a:pt x="73" y="20"/>
                  </a:lnTo>
                  <a:lnTo>
                    <a:pt x="31" y="7"/>
                  </a:lnTo>
                  <a:lnTo>
                    <a:pt x="15" y="7"/>
                  </a:lnTo>
                  <a:lnTo>
                    <a:pt x="15" y="32"/>
                  </a:lnTo>
                  <a:lnTo>
                    <a:pt x="17" y="63"/>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2" name="Freeform 19"/>
            <p:cNvSpPr>
              <a:spLocks/>
            </p:cNvSpPr>
            <p:nvPr>
              <p:custDataLst>
                <p:tags r:id="rId10"/>
              </p:custDataLst>
            </p:nvPr>
          </p:nvSpPr>
          <p:spPr bwMode="auto">
            <a:xfrm>
              <a:off x="3579760" y="5032912"/>
              <a:ext cx="549284" cy="406137"/>
            </a:xfrm>
            <a:custGeom>
              <a:avLst/>
              <a:gdLst/>
              <a:ahLst/>
              <a:cxnLst>
                <a:cxn ang="0">
                  <a:pos x="7" y="39"/>
                </a:cxn>
                <a:cxn ang="0">
                  <a:pos x="2" y="59"/>
                </a:cxn>
                <a:cxn ang="0">
                  <a:pos x="28" y="82"/>
                </a:cxn>
                <a:cxn ang="0">
                  <a:pos x="30" y="115"/>
                </a:cxn>
                <a:cxn ang="0">
                  <a:pos x="6" y="135"/>
                </a:cxn>
                <a:cxn ang="0">
                  <a:pos x="9" y="159"/>
                </a:cxn>
                <a:cxn ang="0">
                  <a:pos x="6" y="186"/>
                </a:cxn>
                <a:cxn ang="0">
                  <a:pos x="9" y="209"/>
                </a:cxn>
                <a:cxn ang="0">
                  <a:pos x="30" y="222"/>
                </a:cxn>
                <a:cxn ang="0">
                  <a:pos x="31" y="255"/>
                </a:cxn>
                <a:cxn ang="0">
                  <a:pos x="44" y="281"/>
                </a:cxn>
                <a:cxn ang="0">
                  <a:pos x="109" y="264"/>
                </a:cxn>
                <a:cxn ang="0">
                  <a:pos x="149" y="236"/>
                </a:cxn>
                <a:cxn ang="0">
                  <a:pos x="179" y="253"/>
                </a:cxn>
                <a:cxn ang="0">
                  <a:pos x="208" y="262"/>
                </a:cxn>
                <a:cxn ang="0">
                  <a:pos x="243" y="249"/>
                </a:cxn>
                <a:cxn ang="0">
                  <a:pos x="245" y="220"/>
                </a:cxn>
                <a:cxn ang="0">
                  <a:pos x="271" y="220"/>
                </a:cxn>
                <a:cxn ang="0">
                  <a:pos x="284" y="212"/>
                </a:cxn>
                <a:cxn ang="0">
                  <a:pos x="336" y="196"/>
                </a:cxn>
                <a:cxn ang="0">
                  <a:pos x="354" y="175"/>
                </a:cxn>
                <a:cxn ang="0">
                  <a:pos x="328" y="147"/>
                </a:cxn>
                <a:cxn ang="0">
                  <a:pos x="340" y="124"/>
                </a:cxn>
                <a:cxn ang="0">
                  <a:pos x="349" y="111"/>
                </a:cxn>
                <a:cxn ang="0">
                  <a:pos x="356" y="82"/>
                </a:cxn>
                <a:cxn ang="0">
                  <a:pos x="364" y="52"/>
                </a:cxn>
                <a:cxn ang="0">
                  <a:pos x="384" y="39"/>
                </a:cxn>
                <a:cxn ang="0">
                  <a:pos x="373" y="9"/>
                </a:cxn>
                <a:cxn ang="0">
                  <a:pos x="321" y="2"/>
                </a:cxn>
                <a:cxn ang="0">
                  <a:pos x="266" y="6"/>
                </a:cxn>
                <a:cxn ang="0">
                  <a:pos x="214" y="32"/>
                </a:cxn>
                <a:cxn ang="0">
                  <a:pos x="173" y="50"/>
                </a:cxn>
                <a:cxn ang="0">
                  <a:pos x="119" y="54"/>
                </a:cxn>
                <a:cxn ang="0">
                  <a:pos x="83" y="52"/>
                </a:cxn>
                <a:cxn ang="0">
                  <a:pos x="41" y="37"/>
                </a:cxn>
                <a:cxn ang="0">
                  <a:pos x="9" y="33"/>
                </a:cxn>
              </a:cxnLst>
              <a:rect l="0" t="0" r="r" b="b"/>
              <a:pathLst>
                <a:path w="384" h="281">
                  <a:moveTo>
                    <a:pt x="9" y="33"/>
                  </a:moveTo>
                  <a:lnTo>
                    <a:pt x="7" y="39"/>
                  </a:lnTo>
                  <a:lnTo>
                    <a:pt x="0" y="46"/>
                  </a:lnTo>
                  <a:lnTo>
                    <a:pt x="2" y="59"/>
                  </a:lnTo>
                  <a:lnTo>
                    <a:pt x="13" y="80"/>
                  </a:lnTo>
                  <a:lnTo>
                    <a:pt x="28" y="82"/>
                  </a:lnTo>
                  <a:lnTo>
                    <a:pt x="31" y="91"/>
                  </a:lnTo>
                  <a:lnTo>
                    <a:pt x="30" y="115"/>
                  </a:lnTo>
                  <a:lnTo>
                    <a:pt x="24" y="122"/>
                  </a:lnTo>
                  <a:lnTo>
                    <a:pt x="6" y="135"/>
                  </a:lnTo>
                  <a:lnTo>
                    <a:pt x="4" y="141"/>
                  </a:lnTo>
                  <a:lnTo>
                    <a:pt x="9" y="159"/>
                  </a:lnTo>
                  <a:lnTo>
                    <a:pt x="11" y="173"/>
                  </a:lnTo>
                  <a:lnTo>
                    <a:pt x="6" y="186"/>
                  </a:lnTo>
                  <a:lnTo>
                    <a:pt x="0" y="196"/>
                  </a:lnTo>
                  <a:lnTo>
                    <a:pt x="9" y="209"/>
                  </a:lnTo>
                  <a:lnTo>
                    <a:pt x="17" y="207"/>
                  </a:lnTo>
                  <a:lnTo>
                    <a:pt x="30" y="222"/>
                  </a:lnTo>
                  <a:lnTo>
                    <a:pt x="31" y="236"/>
                  </a:lnTo>
                  <a:lnTo>
                    <a:pt x="31" y="255"/>
                  </a:lnTo>
                  <a:lnTo>
                    <a:pt x="30" y="264"/>
                  </a:lnTo>
                  <a:lnTo>
                    <a:pt x="44" y="281"/>
                  </a:lnTo>
                  <a:lnTo>
                    <a:pt x="74" y="275"/>
                  </a:lnTo>
                  <a:lnTo>
                    <a:pt x="109" y="264"/>
                  </a:lnTo>
                  <a:lnTo>
                    <a:pt x="136" y="248"/>
                  </a:lnTo>
                  <a:lnTo>
                    <a:pt x="149" y="236"/>
                  </a:lnTo>
                  <a:lnTo>
                    <a:pt x="166" y="259"/>
                  </a:lnTo>
                  <a:lnTo>
                    <a:pt x="179" y="253"/>
                  </a:lnTo>
                  <a:lnTo>
                    <a:pt x="197" y="259"/>
                  </a:lnTo>
                  <a:lnTo>
                    <a:pt x="208" y="262"/>
                  </a:lnTo>
                  <a:lnTo>
                    <a:pt x="230" y="253"/>
                  </a:lnTo>
                  <a:lnTo>
                    <a:pt x="243" y="249"/>
                  </a:lnTo>
                  <a:lnTo>
                    <a:pt x="243" y="238"/>
                  </a:lnTo>
                  <a:lnTo>
                    <a:pt x="245" y="220"/>
                  </a:lnTo>
                  <a:lnTo>
                    <a:pt x="256" y="214"/>
                  </a:lnTo>
                  <a:lnTo>
                    <a:pt x="271" y="220"/>
                  </a:lnTo>
                  <a:lnTo>
                    <a:pt x="273" y="227"/>
                  </a:lnTo>
                  <a:lnTo>
                    <a:pt x="284" y="212"/>
                  </a:lnTo>
                  <a:lnTo>
                    <a:pt x="312" y="199"/>
                  </a:lnTo>
                  <a:lnTo>
                    <a:pt x="336" y="196"/>
                  </a:lnTo>
                  <a:lnTo>
                    <a:pt x="358" y="196"/>
                  </a:lnTo>
                  <a:lnTo>
                    <a:pt x="354" y="175"/>
                  </a:lnTo>
                  <a:lnTo>
                    <a:pt x="351" y="164"/>
                  </a:lnTo>
                  <a:lnTo>
                    <a:pt x="328" y="147"/>
                  </a:lnTo>
                  <a:lnTo>
                    <a:pt x="327" y="142"/>
                  </a:lnTo>
                  <a:lnTo>
                    <a:pt x="340" y="124"/>
                  </a:lnTo>
                  <a:lnTo>
                    <a:pt x="353" y="121"/>
                  </a:lnTo>
                  <a:lnTo>
                    <a:pt x="349" y="111"/>
                  </a:lnTo>
                  <a:lnTo>
                    <a:pt x="356" y="93"/>
                  </a:lnTo>
                  <a:lnTo>
                    <a:pt x="356" y="82"/>
                  </a:lnTo>
                  <a:lnTo>
                    <a:pt x="360" y="61"/>
                  </a:lnTo>
                  <a:lnTo>
                    <a:pt x="364" y="52"/>
                  </a:lnTo>
                  <a:lnTo>
                    <a:pt x="377" y="54"/>
                  </a:lnTo>
                  <a:lnTo>
                    <a:pt x="384" y="39"/>
                  </a:lnTo>
                  <a:lnTo>
                    <a:pt x="377" y="26"/>
                  </a:lnTo>
                  <a:lnTo>
                    <a:pt x="373" y="9"/>
                  </a:lnTo>
                  <a:lnTo>
                    <a:pt x="364" y="11"/>
                  </a:lnTo>
                  <a:lnTo>
                    <a:pt x="321" y="2"/>
                  </a:lnTo>
                  <a:lnTo>
                    <a:pt x="293" y="0"/>
                  </a:lnTo>
                  <a:lnTo>
                    <a:pt x="266" y="6"/>
                  </a:lnTo>
                  <a:lnTo>
                    <a:pt x="242" y="17"/>
                  </a:lnTo>
                  <a:lnTo>
                    <a:pt x="214" y="32"/>
                  </a:lnTo>
                  <a:lnTo>
                    <a:pt x="193" y="48"/>
                  </a:lnTo>
                  <a:lnTo>
                    <a:pt x="173" y="50"/>
                  </a:lnTo>
                  <a:lnTo>
                    <a:pt x="145" y="45"/>
                  </a:lnTo>
                  <a:lnTo>
                    <a:pt x="119" y="54"/>
                  </a:lnTo>
                  <a:lnTo>
                    <a:pt x="102" y="58"/>
                  </a:lnTo>
                  <a:lnTo>
                    <a:pt x="83" y="52"/>
                  </a:lnTo>
                  <a:lnTo>
                    <a:pt x="56" y="41"/>
                  </a:lnTo>
                  <a:lnTo>
                    <a:pt x="41" y="37"/>
                  </a:lnTo>
                  <a:lnTo>
                    <a:pt x="20" y="33"/>
                  </a:lnTo>
                  <a:lnTo>
                    <a:pt x="9" y="33"/>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 name="Freeform 20"/>
            <p:cNvSpPr>
              <a:spLocks/>
            </p:cNvSpPr>
            <p:nvPr>
              <p:custDataLst>
                <p:tags r:id="rId11"/>
              </p:custDataLst>
            </p:nvPr>
          </p:nvSpPr>
          <p:spPr bwMode="auto">
            <a:xfrm>
              <a:off x="3266835" y="5282586"/>
              <a:ext cx="208062" cy="357867"/>
            </a:xfrm>
            <a:custGeom>
              <a:avLst/>
              <a:gdLst/>
              <a:ahLst/>
              <a:cxnLst>
                <a:cxn ang="0">
                  <a:pos x="11" y="56"/>
                </a:cxn>
                <a:cxn ang="0">
                  <a:pos x="20" y="63"/>
                </a:cxn>
                <a:cxn ang="0">
                  <a:pos x="20" y="74"/>
                </a:cxn>
                <a:cxn ang="0">
                  <a:pos x="19" y="81"/>
                </a:cxn>
                <a:cxn ang="0">
                  <a:pos x="13" y="91"/>
                </a:cxn>
                <a:cxn ang="0">
                  <a:pos x="13" y="115"/>
                </a:cxn>
                <a:cxn ang="0">
                  <a:pos x="17" y="124"/>
                </a:cxn>
                <a:cxn ang="0">
                  <a:pos x="4" y="144"/>
                </a:cxn>
                <a:cxn ang="0">
                  <a:pos x="7" y="148"/>
                </a:cxn>
                <a:cxn ang="0">
                  <a:pos x="0" y="159"/>
                </a:cxn>
                <a:cxn ang="0">
                  <a:pos x="6" y="170"/>
                </a:cxn>
                <a:cxn ang="0">
                  <a:pos x="7" y="178"/>
                </a:cxn>
                <a:cxn ang="0">
                  <a:pos x="11" y="168"/>
                </a:cxn>
                <a:cxn ang="0">
                  <a:pos x="22" y="181"/>
                </a:cxn>
                <a:cxn ang="0">
                  <a:pos x="20" y="194"/>
                </a:cxn>
                <a:cxn ang="0">
                  <a:pos x="15" y="200"/>
                </a:cxn>
                <a:cxn ang="0">
                  <a:pos x="22" y="211"/>
                </a:cxn>
                <a:cxn ang="0">
                  <a:pos x="31" y="215"/>
                </a:cxn>
                <a:cxn ang="0">
                  <a:pos x="46" y="224"/>
                </a:cxn>
                <a:cxn ang="0">
                  <a:pos x="59" y="235"/>
                </a:cxn>
                <a:cxn ang="0">
                  <a:pos x="61" y="242"/>
                </a:cxn>
                <a:cxn ang="0">
                  <a:pos x="76" y="248"/>
                </a:cxn>
                <a:cxn ang="0">
                  <a:pos x="89" y="242"/>
                </a:cxn>
                <a:cxn ang="0">
                  <a:pos x="105" y="233"/>
                </a:cxn>
                <a:cxn ang="0">
                  <a:pos x="113" y="217"/>
                </a:cxn>
                <a:cxn ang="0">
                  <a:pos x="120" y="207"/>
                </a:cxn>
                <a:cxn ang="0">
                  <a:pos x="133" y="183"/>
                </a:cxn>
                <a:cxn ang="0">
                  <a:pos x="137" y="165"/>
                </a:cxn>
                <a:cxn ang="0">
                  <a:pos x="139" y="148"/>
                </a:cxn>
                <a:cxn ang="0">
                  <a:pos x="148" y="137"/>
                </a:cxn>
                <a:cxn ang="0">
                  <a:pos x="133" y="133"/>
                </a:cxn>
                <a:cxn ang="0">
                  <a:pos x="128" y="126"/>
                </a:cxn>
                <a:cxn ang="0">
                  <a:pos x="120" y="128"/>
                </a:cxn>
                <a:cxn ang="0">
                  <a:pos x="107" y="122"/>
                </a:cxn>
                <a:cxn ang="0">
                  <a:pos x="104" y="105"/>
                </a:cxn>
                <a:cxn ang="0">
                  <a:pos x="100" y="93"/>
                </a:cxn>
                <a:cxn ang="0">
                  <a:pos x="107" y="80"/>
                </a:cxn>
                <a:cxn ang="0">
                  <a:pos x="107" y="41"/>
                </a:cxn>
                <a:cxn ang="0">
                  <a:pos x="107" y="28"/>
                </a:cxn>
                <a:cxn ang="0">
                  <a:pos x="100" y="20"/>
                </a:cxn>
                <a:cxn ang="0">
                  <a:pos x="87" y="19"/>
                </a:cxn>
                <a:cxn ang="0">
                  <a:pos x="78" y="15"/>
                </a:cxn>
                <a:cxn ang="0">
                  <a:pos x="70" y="2"/>
                </a:cxn>
                <a:cxn ang="0">
                  <a:pos x="61" y="0"/>
                </a:cxn>
                <a:cxn ang="0">
                  <a:pos x="57" y="6"/>
                </a:cxn>
                <a:cxn ang="0">
                  <a:pos x="56" y="2"/>
                </a:cxn>
                <a:cxn ang="0">
                  <a:pos x="41" y="4"/>
                </a:cxn>
                <a:cxn ang="0">
                  <a:pos x="33" y="0"/>
                </a:cxn>
                <a:cxn ang="0">
                  <a:pos x="22" y="7"/>
                </a:cxn>
                <a:cxn ang="0">
                  <a:pos x="20" y="30"/>
                </a:cxn>
                <a:cxn ang="0">
                  <a:pos x="17" y="44"/>
                </a:cxn>
                <a:cxn ang="0">
                  <a:pos x="11" y="56"/>
                </a:cxn>
              </a:cxnLst>
              <a:rect l="0" t="0" r="r" b="b"/>
              <a:pathLst>
                <a:path w="148" h="248">
                  <a:moveTo>
                    <a:pt x="11" y="56"/>
                  </a:moveTo>
                  <a:lnTo>
                    <a:pt x="20" y="63"/>
                  </a:lnTo>
                  <a:lnTo>
                    <a:pt x="20" y="74"/>
                  </a:lnTo>
                  <a:lnTo>
                    <a:pt x="19" y="81"/>
                  </a:lnTo>
                  <a:lnTo>
                    <a:pt x="13" y="91"/>
                  </a:lnTo>
                  <a:lnTo>
                    <a:pt x="13" y="115"/>
                  </a:lnTo>
                  <a:lnTo>
                    <a:pt x="17" y="124"/>
                  </a:lnTo>
                  <a:lnTo>
                    <a:pt x="4" y="144"/>
                  </a:lnTo>
                  <a:lnTo>
                    <a:pt x="7" y="148"/>
                  </a:lnTo>
                  <a:lnTo>
                    <a:pt x="0" y="159"/>
                  </a:lnTo>
                  <a:lnTo>
                    <a:pt x="6" y="170"/>
                  </a:lnTo>
                  <a:lnTo>
                    <a:pt x="7" y="178"/>
                  </a:lnTo>
                  <a:lnTo>
                    <a:pt x="11" y="168"/>
                  </a:lnTo>
                  <a:lnTo>
                    <a:pt x="22" y="181"/>
                  </a:lnTo>
                  <a:lnTo>
                    <a:pt x="20" y="194"/>
                  </a:lnTo>
                  <a:lnTo>
                    <a:pt x="15" y="200"/>
                  </a:lnTo>
                  <a:lnTo>
                    <a:pt x="22" y="211"/>
                  </a:lnTo>
                  <a:lnTo>
                    <a:pt x="31" y="215"/>
                  </a:lnTo>
                  <a:lnTo>
                    <a:pt x="46" y="224"/>
                  </a:lnTo>
                  <a:lnTo>
                    <a:pt x="59" y="235"/>
                  </a:lnTo>
                  <a:lnTo>
                    <a:pt x="61" y="242"/>
                  </a:lnTo>
                  <a:lnTo>
                    <a:pt x="76" y="248"/>
                  </a:lnTo>
                  <a:lnTo>
                    <a:pt x="89" y="242"/>
                  </a:lnTo>
                  <a:lnTo>
                    <a:pt x="105" y="233"/>
                  </a:lnTo>
                  <a:lnTo>
                    <a:pt x="113" y="217"/>
                  </a:lnTo>
                  <a:lnTo>
                    <a:pt x="120" y="207"/>
                  </a:lnTo>
                  <a:lnTo>
                    <a:pt x="133" y="183"/>
                  </a:lnTo>
                  <a:lnTo>
                    <a:pt x="137" y="165"/>
                  </a:lnTo>
                  <a:lnTo>
                    <a:pt x="139" y="148"/>
                  </a:lnTo>
                  <a:lnTo>
                    <a:pt x="148" y="137"/>
                  </a:lnTo>
                  <a:lnTo>
                    <a:pt x="133" y="133"/>
                  </a:lnTo>
                  <a:lnTo>
                    <a:pt x="128" y="126"/>
                  </a:lnTo>
                  <a:lnTo>
                    <a:pt x="120" y="128"/>
                  </a:lnTo>
                  <a:lnTo>
                    <a:pt x="107" y="122"/>
                  </a:lnTo>
                  <a:lnTo>
                    <a:pt x="104" y="105"/>
                  </a:lnTo>
                  <a:lnTo>
                    <a:pt x="100" y="93"/>
                  </a:lnTo>
                  <a:lnTo>
                    <a:pt x="107" y="80"/>
                  </a:lnTo>
                  <a:lnTo>
                    <a:pt x="107" y="41"/>
                  </a:lnTo>
                  <a:lnTo>
                    <a:pt x="107" y="28"/>
                  </a:lnTo>
                  <a:lnTo>
                    <a:pt x="100" y="20"/>
                  </a:lnTo>
                  <a:lnTo>
                    <a:pt x="87" y="19"/>
                  </a:lnTo>
                  <a:lnTo>
                    <a:pt x="78" y="15"/>
                  </a:lnTo>
                  <a:lnTo>
                    <a:pt x="70" y="2"/>
                  </a:lnTo>
                  <a:lnTo>
                    <a:pt x="61" y="0"/>
                  </a:lnTo>
                  <a:lnTo>
                    <a:pt x="57" y="6"/>
                  </a:lnTo>
                  <a:lnTo>
                    <a:pt x="56" y="2"/>
                  </a:lnTo>
                  <a:lnTo>
                    <a:pt x="41" y="4"/>
                  </a:lnTo>
                  <a:lnTo>
                    <a:pt x="33" y="0"/>
                  </a:lnTo>
                  <a:lnTo>
                    <a:pt x="22" y="7"/>
                  </a:lnTo>
                  <a:lnTo>
                    <a:pt x="20" y="30"/>
                  </a:lnTo>
                  <a:lnTo>
                    <a:pt x="17" y="44"/>
                  </a:lnTo>
                  <a:lnTo>
                    <a:pt x="11" y="56"/>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 name="Freeform 21"/>
            <p:cNvSpPr>
              <a:spLocks/>
            </p:cNvSpPr>
            <p:nvPr>
              <p:custDataLst>
                <p:tags r:id="rId12"/>
              </p:custDataLst>
            </p:nvPr>
          </p:nvSpPr>
          <p:spPr bwMode="auto">
            <a:xfrm>
              <a:off x="3419969" y="4540221"/>
              <a:ext cx="785642" cy="574251"/>
            </a:xfrm>
            <a:custGeom>
              <a:avLst/>
              <a:gdLst/>
              <a:ahLst/>
              <a:cxnLst>
                <a:cxn ang="0">
                  <a:pos x="122" y="46"/>
                </a:cxn>
                <a:cxn ang="0">
                  <a:pos x="102" y="57"/>
                </a:cxn>
                <a:cxn ang="0">
                  <a:pos x="95" y="130"/>
                </a:cxn>
                <a:cxn ang="0">
                  <a:pos x="62" y="169"/>
                </a:cxn>
                <a:cxn ang="0">
                  <a:pos x="19" y="189"/>
                </a:cxn>
                <a:cxn ang="0">
                  <a:pos x="0" y="215"/>
                </a:cxn>
                <a:cxn ang="0">
                  <a:pos x="17" y="237"/>
                </a:cxn>
                <a:cxn ang="0">
                  <a:pos x="17" y="258"/>
                </a:cxn>
                <a:cxn ang="0">
                  <a:pos x="41" y="263"/>
                </a:cxn>
                <a:cxn ang="0">
                  <a:pos x="52" y="295"/>
                </a:cxn>
                <a:cxn ang="0">
                  <a:pos x="59" y="324"/>
                </a:cxn>
                <a:cxn ang="0">
                  <a:pos x="76" y="324"/>
                </a:cxn>
                <a:cxn ang="0">
                  <a:pos x="104" y="326"/>
                </a:cxn>
                <a:cxn ang="0">
                  <a:pos x="104" y="343"/>
                </a:cxn>
                <a:cxn ang="0">
                  <a:pos x="122" y="358"/>
                </a:cxn>
                <a:cxn ang="0">
                  <a:pos x="122" y="378"/>
                </a:cxn>
                <a:cxn ang="0">
                  <a:pos x="160" y="387"/>
                </a:cxn>
                <a:cxn ang="0">
                  <a:pos x="213" y="402"/>
                </a:cxn>
                <a:cxn ang="0">
                  <a:pos x="253" y="391"/>
                </a:cxn>
                <a:cxn ang="0">
                  <a:pos x="298" y="395"/>
                </a:cxn>
                <a:cxn ang="0">
                  <a:pos x="324" y="380"/>
                </a:cxn>
                <a:cxn ang="0">
                  <a:pos x="398" y="346"/>
                </a:cxn>
                <a:cxn ang="0">
                  <a:pos x="441" y="350"/>
                </a:cxn>
                <a:cxn ang="0">
                  <a:pos x="474" y="356"/>
                </a:cxn>
                <a:cxn ang="0">
                  <a:pos x="494" y="339"/>
                </a:cxn>
                <a:cxn ang="0">
                  <a:pos x="496" y="282"/>
                </a:cxn>
                <a:cxn ang="0">
                  <a:pos x="515" y="263"/>
                </a:cxn>
                <a:cxn ang="0">
                  <a:pos x="533" y="263"/>
                </a:cxn>
                <a:cxn ang="0">
                  <a:pos x="537" y="248"/>
                </a:cxn>
                <a:cxn ang="0">
                  <a:pos x="550" y="235"/>
                </a:cxn>
                <a:cxn ang="0">
                  <a:pos x="522" y="226"/>
                </a:cxn>
                <a:cxn ang="0">
                  <a:pos x="489" y="233"/>
                </a:cxn>
                <a:cxn ang="0">
                  <a:pos x="457" y="226"/>
                </a:cxn>
                <a:cxn ang="0">
                  <a:pos x="452" y="200"/>
                </a:cxn>
                <a:cxn ang="0">
                  <a:pos x="441" y="174"/>
                </a:cxn>
                <a:cxn ang="0">
                  <a:pos x="435" y="148"/>
                </a:cxn>
                <a:cxn ang="0">
                  <a:pos x="437" y="124"/>
                </a:cxn>
                <a:cxn ang="0">
                  <a:pos x="413" y="87"/>
                </a:cxn>
                <a:cxn ang="0">
                  <a:pos x="405" y="61"/>
                </a:cxn>
                <a:cxn ang="0">
                  <a:pos x="381" y="41"/>
                </a:cxn>
                <a:cxn ang="0">
                  <a:pos x="365" y="9"/>
                </a:cxn>
                <a:cxn ang="0">
                  <a:pos x="348" y="0"/>
                </a:cxn>
                <a:cxn ang="0">
                  <a:pos x="329" y="13"/>
                </a:cxn>
                <a:cxn ang="0">
                  <a:pos x="307" y="15"/>
                </a:cxn>
                <a:cxn ang="0">
                  <a:pos x="288" y="26"/>
                </a:cxn>
                <a:cxn ang="0">
                  <a:pos x="259" y="30"/>
                </a:cxn>
                <a:cxn ang="0">
                  <a:pos x="235" y="13"/>
                </a:cxn>
                <a:cxn ang="0">
                  <a:pos x="204" y="24"/>
                </a:cxn>
                <a:cxn ang="0">
                  <a:pos x="180" y="22"/>
                </a:cxn>
                <a:cxn ang="0">
                  <a:pos x="150" y="20"/>
                </a:cxn>
                <a:cxn ang="0">
                  <a:pos x="135" y="28"/>
                </a:cxn>
                <a:cxn ang="0">
                  <a:pos x="128" y="31"/>
                </a:cxn>
              </a:cxnLst>
              <a:rect l="0" t="0" r="r" b="b"/>
              <a:pathLst>
                <a:path w="550" h="402">
                  <a:moveTo>
                    <a:pt x="132" y="35"/>
                  </a:moveTo>
                  <a:lnTo>
                    <a:pt x="122" y="46"/>
                  </a:lnTo>
                  <a:lnTo>
                    <a:pt x="115" y="54"/>
                  </a:lnTo>
                  <a:lnTo>
                    <a:pt x="102" y="57"/>
                  </a:lnTo>
                  <a:lnTo>
                    <a:pt x="96" y="119"/>
                  </a:lnTo>
                  <a:lnTo>
                    <a:pt x="95" y="130"/>
                  </a:lnTo>
                  <a:lnTo>
                    <a:pt x="80" y="154"/>
                  </a:lnTo>
                  <a:lnTo>
                    <a:pt x="62" y="169"/>
                  </a:lnTo>
                  <a:lnTo>
                    <a:pt x="50" y="182"/>
                  </a:lnTo>
                  <a:lnTo>
                    <a:pt x="19" y="189"/>
                  </a:lnTo>
                  <a:lnTo>
                    <a:pt x="3" y="203"/>
                  </a:lnTo>
                  <a:lnTo>
                    <a:pt x="0" y="215"/>
                  </a:lnTo>
                  <a:lnTo>
                    <a:pt x="11" y="224"/>
                  </a:lnTo>
                  <a:lnTo>
                    <a:pt x="17" y="237"/>
                  </a:lnTo>
                  <a:lnTo>
                    <a:pt x="15" y="246"/>
                  </a:lnTo>
                  <a:lnTo>
                    <a:pt x="17" y="258"/>
                  </a:lnTo>
                  <a:lnTo>
                    <a:pt x="26" y="263"/>
                  </a:lnTo>
                  <a:lnTo>
                    <a:pt x="41" y="263"/>
                  </a:lnTo>
                  <a:lnTo>
                    <a:pt x="46" y="274"/>
                  </a:lnTo>
                  <a:lnTo>
                    <a:pt x="52" y="295"/>
                  </a:lnTo>
                  <a:lnTo>
                    <a:pt x="54" y="311"/>
                  </a:lnTo>
                  <a:lnTo>
                    <a:pt x="59" y="324"/>
                  </a:lnTo>
                  <a:lnTo>
                    <a:pt x="69" y="328"/>
                  </a:lnTo>
                  <a:lnTo>
                    <a:pt x="76" y="324"/>
                  </a:lnTo>
                  <a:lnTo>
                    <a:pt x="89" y="315"/>
                  </a:lnTo>
                  <a:lnTo>
                    <a:pt x="104" y="326"/>
                  </a:lnTo>
                  <a:lnTo>
                    <a:pt x="102" y="337"/>
                  </a:lnTo>
                  <a:lnTo>
                    <a:pt x="104" y="343"/>
                  </a:lnTo>
                  <a:lnTo>
                    <a:pt x="111" y="346"/>
                  </a:lnTo>
                  <a:lnTo>
                    <a:pt x="122" y="358"/>
                  </a:lnTo>
                  <a:lnTo>
                    <a:pt x="119" y="371"/>
                  </a:lnTo>
                  <a:lnTo>
                    <a:pt x="122" y="378"/>
                  </a:lnTo>
                  <a:lnTo>
                    <a:pt x="139" y="378"/>
                  </a:lnTo>
                  <a:lnTo>
                    <a:pt x="160" y="387"/>
                  </a:lnTo>
                  <a:lnTo>
                    <a:pt x="198" y="402"/>
                  </a:lnTo>
                  <a:lnTo>
                    <a:pt x="213" y="402"/>
                  </a:lnTo>
                  <a:lnTo>
                    <a:pt x="235" y="398"/>
                  </a:lnTo>
                  <a:lnTo>
                    <a:pt x="253" y="391"/>
                  </a:lnTo>
                  <a:lnTo>
                    <a:pt x="283" y="396"/>
                  </a:lnTo>
                  <a:lnTo>
                    <a:pt x="298" y="395"/>
                  </a:lnTo>
                  <a:lnTo>
                    <a:pt x="305" y="393"/>
                  </a:lnTo>
                  <a:lnTo>
                    <a:pt x="324" y="380"/>
                  </a:lnTo>
                  <a:lnTo>
                    <a:pt x="366" y="356"/>
                  </a:lnTo>
                  <a:lnTo>
                    <a:pt x="398" y="346"/>
                  </a:lnTo>
                  <a:lnTo>
                    <a:pt x="415" y="345"/>
                  </a:lnTo>
                  <a:lnTo>
                    <a:pt x="441" y="350"/>
                  </a:lnTo>
                  <a:lnTo>
                    <a:pt x="463" y="352"/>
                  </a:lnTo>
                  <a:lnTo>
                    <a:pt x="474" y="356"/>
                  </a:lnTo>
                  <a:lnTo>
                    <a:pt x="491" y="354"/>
                  </a:lnTo>
                  <a:lnTo>
                    <a:pt x="494" y="339"/>
                  </a:lnTo>
                  <a:lnTo>
                    <a:pt x="494" y="311"/>
                  </a:lnTo>
                  <a:lnTo>
                    <a:pt x="496" y="282"/>
                  </a:lnTo>
                  <a:lnTo>
                    <a:pt x="505" y="267"/>
                  </a:lnTo>
                  <a:lnTo>
                    <a:pt x="515" y="263"/>
                  </a:lnTo>
                  <a:lnTo>
                    <a:pt x="524" y="269"/>
                  </a:lnTo>
                  <a:lnTo>
                    <a:pt x="533" y="263"/>
                  </a:lnTo>
                  <a:lnTo>
                    <a:pt x="539" y="256"/>
                  </a:lnTo>
                  <a:lnTo>
                    <a:pt x="537" y="248"/>
                  </a:lnTo>
                  <a:lnTo>
                    <a:pt x="548" y="245"/>
                  </a:lnTo>
                  <a:lnTo>
                    <a:pt x="550" y="235"/>
                  </a:lnTo>
                  <a:lnTo>
                    <a:pt x="539" y="230"/>
                  </a:lnTo>
                  <a:lnTo>
                    <a:pt x="522" y="226"/>
                  </a:lnTo>
                  <a:lnTo>
                    <a:pt x="509" y="230"/>
                  </a:lnTo>
                  <a:lnTo>
                    <a:pt x="489" y="233"/>
                  </a:lnTo>
                  <a:lnTo>
                    <a:pt x="470" y="233"/>
                  </a:lnTo>
                  <a:lnTo>
                    <a:pt x="457" y="226"/>
                  </a:lnTo>
                  <a:lnTo>
                    <a:pt x="452" y="215"/>
                  </a:lnTo>
                  <a:lnTo>
                    <a:pt x="452" y="200"/>
                  </a:lnTo>
                  <a:lnTo>
                    <a:pt x="450" y="185"/>
                  </a:lnTo>
                  <a:lnTo>
                    <a:pt x="441" y="174"/>
                  </a:lnTo>
                  <a:lnTo>
                    <a:pt x="435" y="163"/>
                  </a:lnTo>
                  <a:lnTo>
                    <a:pt x="435" y="148"/>
                  </a:lnTo>
                  <a:lnTo>
                    <a:pt x="437" y="133"/>
                  </a:lnTo>
                  <a:lnTo>
                    <a:pt x="437" y="124"/>
                  </a:lnTo>
                  <a:lnTo>
                    <a:pt x="428" y="102"/>
                  </a:lnTo>
                  <a:lnTo>
                    <a:pt x="413" y="87"/>
                  </a:lnTo>
                  <a:lnTo>
                    <a:pt x="407" y="72"/>
                  </a:lnTo>
                  <a:lnTo>
                    <a:pt x="405" y="61"/>
                  </a:lnTo>
                  <a:lnTo>
                    <a:pt x="402" y="56"/>
                  </a:lnTo>
                  <a:lnTo>
                    <a:pt x="381" y="41"/>
                  </a:lnTo>
                  <a:lnTo>
                    <a:pt x="374" y="28"/>
                  </a:lnTo>
                  <a:lnTo>
                    <a:pt x="365" y="9"/>
                  </a:lnTo>
                  <a:lnTo>
                    <a:pt x="357" y="2"/>
                  </a:lnTo>
                  <a:lnTo>
                    <a:pt x="348" y="0"/>
                  </a:lnTo>
                  <a:lnTo>
                    <a:pt x="339" y="4"/>
                  </a:lnTo>
                  <a:lnTo>
                    <a:pt x="329" y="13"/>
                  </a:lnTo>
                  <a:lnTo>
                    <a:pt x="324" y="15"/>
                  </a:lnTo>
                  <a:lnTo>
                    <a:pt x="307" y="15"/>
                  </a:lnTo>
                  <a:lnTo>
                    <a:pt x="296" y="17"/>
                  </a:lnTo>
                  <a:lnTo>
                    <a:pt x="288" y="26"/>
                  </a:lnTo>
                  <a:lnTo>
                    <a:pt x="274" y="31"/>
                  </a:lnTo>
                  <a:lnTo>
                    <a:pt x="259" y="30"/>
                  </a:lnTo>
                  <a:lnTo>
                    <a:pt x="251" y="22"/>
                  </a:lnTo>
                  <a:lnTo>
                    <a:pt x="235" y="13"/>
                  </a:lnTo>
                  <a:lnTo>
                    <a:pt x="221" y="17"/>
                  </a:lnTo>
                  <a:lnTo>
                    <a:pt x="204" y="24"/>
                  </a:lnTo>
                  <a:lnTo>
                    <a:pt x="191" y="26"/>
                  </a:lnTo>
                  <a:lnTo>
                    <a:pt x="180" y="22"/>
                  </a:lnTo>
                  <a:lnTo>
                    <a:pt x="167" y="15"/>
                  </a:lnTo>
                  <a:lnTo>
                    <a:pt x="150" y="20"/>
                  </a:lnTo>
                  <a:lnTo>
                    <a:pt x="139" y="26"/>
                  </a:lnTo>
                  <a:lnTo>
                    <a:pt x="135" y="28"/>
                  </a:lnTo>
                  <a:lnTo>
                    <a:pt x="132" y="30"/>
                  </a:lnTo>
                  <a:lnTo>
                    <a:pt x="128" y="31"/>
                  </a:lnTo>
                  <a:lnTo>
                    <a:pt x="132" y="35"/>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 name="Freeform 22"/>
            <p:cNvSpPr>
              <a:spLocks/>
            </p:cNvSpPr>
            <p:nvPr>
              <p:custDataLst>
                <p:tags r:id="rId13"/>
              </p:custDataLst>
            </p:nvPr>
          </p:nvSpPr>
          <p:spPr bwMode="auto">
            <a:xfrm>
              <a:off x="1953547" y="3989273"/>
              <a:ext cx="301274" cy="266319"/>
            </a:xfrm>
            <a:custGeom>
              <a:avLst/>
              <a:gdLst/>
              <a:ahLst/>
              <a:cxnLst>
                <a:cxn ang="0">
                  <a:pos x="0" y="33"/>
                </a:cxn>
                <a:cxn ang="0">
                  <a:pos x="5" y="26"/>
                </a:cxn>
                <a:cxn ang="0">
                  <a:pos x="3" y="17"/>
                </a:cxn>
                <a:cxn ang="0">
                  <a:pos x="35" y="0"/>
                </a:cxn>
                <a:cxn ang="0">
                  <a:pos x="38" y="6"/>
                </a:cxn>
                <a:cxn ang="0">
                  <a:pos x="61" y="2"/>
                </a:cxn>
                <a:cxn ang="0">
                  <a:pos x="79" y="3"/>
                </a:cxn>
                <a:cxn ang="0">
                  <a:pos x="72" y="12"/>
                </a:cxn>
                <a:cxn ang="0">
                  <a:pos x="76" y="24"/>
                </a:cxn>
                <a:cxn ang="0">
                  <a:pos x="91" y="29"/>
                </a:cxn>
                <a:cxn ang="0">
                  <a:pos x="106" y="28"/>
                </a:cxn>
                <a:cxn ang="0">
                  <a:pos x="118" y="19"/>
                </a:cxn>
                <a:cxn ang="0">
                  <a:pos x="138" y="17"/>
                </a:cxn>
                <a:cxn ang="0">
                  <a:pos x="144" y="25"/>
                </a:cxn>
                <a:cxn ang="0">
                  <a:pos x="156" y="32"/>
                </a:cxn>
                <a:cxn ang="0">
                  <a:pos x="173" y="33"/>
                </a:cxn>
                <a:cxn ang="0">
                  <a:pos x="170" y="47"/>
                </a:cxn>
                <a:cxn ang="0">
                  <a:pos x="171" y="75"/>
                </a:cxn>
                <a:cxn ang="0">
                  <a:pos x="174" y="92"/>
                </a:cxn>
                <a:cxn ang="0">
                  <a:pos x="193" y="90"/>
                </a:cxn>
                <a:cxn ang="0">
                  <a:pos x="199" y="102"/>
                </a:cxn>
                <a:cxn ang="0">
                  <a:pos x="200" y="112"/>
                </a:cxn>
                <a:cxn ang="0">
                  <a:pos x="210" y="126"/>
                </a:cxn>
                <a:cxn ang="0">
                  <a:pos x="198" y="136"/>
                </a:cxn>
                <a:cxn ang="0">
                  <a:pos x="187" y="144"/>
                </a:cxn>
                <a:cxn ang="0">
                  <a:pos x="175" y="144"/>
                </a:cxn>
                <a:cxn ang="0">
                  <a:pos x="161" y="148"/>
                </a:cxn>
                <a:cxn ang="0">
                  <a:pos x="161" y="163"/>
                </a:cxn>
                <a:cxn ang="0">
                  <a:pos x="155" y="173"/>
                </a:cxn>
                <a:cxn ang="0">
                  <a:pos x="140" y="185"/>
                </a:cxn>
                <a:cxn ang="0">
                  <a:pos x="115" y="166"/>
                </a:cxn>
                <a:cxn ang="0">
                  <a:pos x="108" y="149"/>
                </a:cxn>
                <a:cxn ang="0">
                  <a:pos x="85" y="144"/>
                </a:cxn>
                <a:cxn ang="0">
                  <a:pos x="77" y="122"/>
                </a:cxn>
                <a:cxn ang="0">
                  <a:pos x="61" y="109"/>
                </a:cxn>
                <a:cxn ang="0">
                  <a:pos x="55" y="93"/>
                </a:cxn>
                <a:cxn ang="0">
                  <a:pos x="42" y="77"/>
                </a:cxn>
                <a:cxn ang="0">
                  <a:pos x="33" y="61"/>
                </a:cxn>
                <a:cxn ang="0">
                  <a:pos x="16" y="49"/>
                </a:cxn>
                <a:cxn ang="0">
                  <a:pos x="0" y="33"/>
                </a:cxn>
              </a:cxnLst>
              <a:rect l="0" t="0" r="r" b="b"/>
              <a:pathLst>
                <a:path w="210" h="185">
                  <a:moveTo>
                    <a:pt x="0" y="33"/>
                  </a:moveTo>
                  <a:lnTo>
                    <a:pt x="5" y="26"/>
                  </a:lnTo>
                  <a:lnTo>
                    <a:pt x="3" y="17"/>
                  </a:lnTo>
                  <a:lnTo>
                    <a:pt x="35" y="0"/>
                  </a:lnTo>
                  <a:lnTo>
                    <a:pt x="38" y="6"/>
                  </a:lnTo>
                  <a:lnTo>
                    <a:pt x="61" y="2"/>
                  </a:lnTo>
                  <a:lnTo>
                    <a:pt x="79" y="3"/>
                  </a:lnTo>
                  <a:lnTo>
                    <a:pt x="72" y="12"/>
                  </a:lnTo>
                  <a:lnTo>
                    <a:pt x="76" y="24"/>
                  </a:lnTo>
                  <a:lnTo>
                    <a:pt x="91" y="29"/>
                  </a:lnTo>
                  <a:lnTo>
                    <a:pt x="106" y="28"/>
                  </a:lnTo>
                  <a:lnTo>
                    <a:pt x="118" y="19"/>
                  </a:lnTo>
                  <a:lnTo>
                    <a:pt x="138" y="17"/>
                  </a:lnTo>
                  <a:lnTo>
                    <a:pt x="144" y="25"/>
                  </a:lnTo>
                  <a:lnTo>
                    <a:pt x="156" y="32"/>
                  </a:lnTo>
                  <a:lnTo>
                    <a:pt x="173" y="33"/>
                  </a:lnTo>
                  <a:lnTo>
                    <a:pt x="170" y="47"/>
                  </a:lnTo>
                  <a:lnTo>
                    <a:pt x="171" y="75"/>
                  </a:lnTo>
                  <a:lnTo>
                    <a:pt x="174" y="92"/>
                  </a:lnTo>
                  <a:lnTo>
                    <a:pt x="193" y="90"/>
                  </a:lnTo>
                  <a:lnTo>
                    <a:pt x="199" y="102"/>
                  </a:lnTo>
                  <a:lnTo>
                    <a:pt x="200" y="112"/>
                  </a:lnTo>
                  <a:lnTo>
                    <a:pt x="210" y="126"/>
                  </a:lnTo>
                  <a:lnTo>
                    <a:pt x="198" y="136"/>
                  </a:lnTo>
                  <a:lnTo>
                    <a:pt x="187" y="144"/>
                  </a:lnTo>
                  <a:lnTo>
                    <a:pt x="175" y="144"/>
                  </a:lnTo>
                  <a:lnTo>
                    <a:pt x="161" y="148"/>
                  </a:lnTo>
                  <a:lnTo>
                    <a:pt x="161" y="163"/>
                  </a:lnTo>
                  <a:lnTo>
                    <a:pt x="155" y="173"/>
                  </a:lnTo>
                  <a:lnTo>
                    <a:pt x="140" y="185"/>
                  </a:lnTo>
                  <a:lnTo>
                    <a:pt x="115" y="166"/>
                  </a:lnTo>
                  <a:lnTo>
                    <a:pt x="108" y="149"/>
                  </a:lnTo>
                  <a:lnTo>
                    <a:pt x="85" y="144"/>
                  </a:lnTo>
                  <a:lnTo>
                    <a:pt x="77" y="122"/>
                  </a:lnTo>
                  <a:lnTo>
                    <a:pt x="61" y="109"/>
                  </a:lnTo>
                  <a:lnTo>
                    <a:pt x="55" y="93"/>
                  </a:lnTo>
                  <a:lnTo>
                    <a:pt x="42" y="77"/>
                  </a:lnTo>
                  <a:lnTo>
                    <a:pt x="33" y="61"/>
                  </a:lnTo>
                  <a:lnTo>
                    <a:pt x="16" y="49"/>
                  </a:lnTo>
                  <a:lnTo>
                    <a:pt x="0" y="33"/>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 name="Freeform 23"/>
            <p:cNvSpPr>
              <a:spLocks/>
            </p:cNvSpPr>
            <p:nvPr>
              <p:custDataLst>
                <p:tags r:id="rId14"/>
              </p:custDataLst>
            </p:nvPr>
          </p:nvSpPr>
          <p:spPr bwMode="auto">
            <a:xfrm>
              <a:off x="2158280" y="4194006"/>
              <a:ext cx="79896" cy="104863"/>
            </a:xfrm>
            <a:custGeom>
              <a:avLst/>
              <a:gdLst/>
              <a:ahLst/>
              <a:cxnLst>
                <a:cxn ang="0">
                  <a:pos x="41" y="71"/>
                </a:cxn>
                <a:cxn ang="0">
                  <a:pos x="44" y="48"/>
                </a:cxn>
                <a:cxn ang="0">
                  <a:pos x="57" y="39"/>
                </a:cxn>
                <a:cxn ang="0">
                  <a:pos x="57" y="28"/>
                </a:cxn>
                <a:cxn ang="0">
                  <a:pos x="50" y="20"/>
                </a:cxn>
                <a:cxn ang="0">
                  <a:pos x="43" y="9"/>
                </a:cxn>
                <a:cxn ang="0">
                  <a:pos x="39" y="0"/>
                </a:cxn>
                <a:cxn ang="0">
                  <a:pos x="26" y="0"/>
                </a:cxn>
                <a:cxn ang="0">
                  <a:pos x="17" y="4"/>
                </a:cxn>
                <a:cxn ang="0">
                  <a:pos x="17" y="19"/>
                </a:cxn>
                <a:cxn ang="0">
                  <a:pos x="9" y="32"/>
                </a:cxn>
                <a:cxn ang="0">
                  <a:pos x="0" y="36"/>
                </a:cxn>
                <a:cxn ang="0">
                  <a:pos x="4" y="47"/>
                </a:cxn>
                <a:cxn ang="0">
                  <a:pos x="16" y="50"/>
                </a:cxn>
                <a:cxn ang="0">
                  <a:pos x="28" y="53"/>
                </a:cxn>
                <a:cxn ang="0">
                  <a:pos x="35" y="60"/>
                </a:cxn>
                <a:cxn ang="0">
                  <a:pos x="41" y="71"/>
                </a:cxn>
              </a:cxnLst>
              <a:rect l="0" t="0" r="r" b="b"/>
              <a:pathLst>
                <a:path w="57" h="71">
                  <a:moveTo>
                    <a:pt x="41" y="71"/>
                  </a:moveTo>
                  <a:lnTo>
                    <a:pt x="44" y="48"/>
                  </a:lnTo>
                  <a:lnTo>
                    <a:pt x="57" y="39"/>
                  </a:lnTo>
                  <a:lnTo>
                    <a:pt x="57" y="28"/>
                  </a:lnTo>
                  <a:lnTo>
                    <a:pt x="50" y="20"/>
                  </a:lnTo>
                  <a:lnTo>
                    <a:pt x="43" y="9"/>
                  </a:lnTo>
                  <a:lnTo>
                    <a:pt x="39" y="0"/>
                  </a:lnTo>
                  <a:lnTo>
                    <a:pt x="26" y="0"/>
                  </a:lnTo>
                  <a:lnTo>
                    <a:pt x="17" y="4"/>
                  </a:lnTo>
                  <a:lnTo>
                    <a:pt x="17" y="19"/>
                  </a:lnTo>
                  <a:lnTo>
                    <a:pt x="9" y="32"/>
                  </a:lnTo>
                  <a:lnTo>
                    <a:pt x="0" y="36"/>
                  </a:lnTo>
                  <a:lnTo>
                    <a:pt x="4" y="47"/>
                  </a:lnTo>
                  <a:lnTo>
                    <a:pt x="16" y="50"/>
                  </a:lnTo>
                  <a:lnTo>
                    <a:pt x="28" y="53"/>
                  </a:lnTo>
                  <a:lnTo>
                    <a:pt x="35" y="60"/>
                  </a:lnTo>
                  <a:lnTo>
                    <a:pt x="41" y="71"/>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 name="Freeform 24"/>
            <p:cNvSpPr>
              <a:spLocks/>
            </p:cNvSpPr>
            <p:nvPr>
              <p:custDataLst>
                <p:tags r:id="rId15"/>
              </p:custDataLst>
            </p:nvPr>
          </p:nvSpPr>
          <p:spPr bwMode="auto">
            <a:xfrm>
              <a:off x="2058410" y="3797856"/>
              <a:ext cx="304603" cy="324577"/>
            </a:xfrm>
            <a:custGeom>
              <a:avLst/>
              <a:gdLst/>
              <a:ahLst/>
              <a:cxnLst>
                <a:cxn ang="0">
                  <a:pos x="89" y="6"/>
                </a:cxn>
                <a:cxn ang="0">
                  <a:pos x="67" y="33"/>
                </a:cxn>
                <a:cxn ang="0">
                  <a:pos x="67" y="41"/>
                </a:cxn>
                <a:cxn ang="0">
                  <a:pos x="54" y="54"/>
                </a:cxn>
                <a:cxn ang="0">
                  <a:pos x="56" y="57"/>
                </a:cxn>
                <a:cxn ang="0">
                  <a:pos x="52" y="66"/>
                </a:cxn>
                <a:cxn ang="0">
                  <a:pos x="39" y="79"/>
                </a:cxn>
                <a:cxn ang="0">
                  <a:pos x="26" y="94"/>
                </a:cxn>
                <a:cxn ang="0">
                  <a:pos x="21" y="102"/>
                </a:cxn>
                <a:cxn ang="0">
                  <a:pos x="26" y="109"/>
                </a:cxn>
                <a:cxn ang="0">
                  <a:pos x="22" y="120"/>
                </a:cxn>
                <a:cxn ang="0">
                  <a:pos x="15" y="129"/>
                </a:cxn>
                <a:cxn ang="0">
                  <a:pos x="9" y="133"/>
                </a:cxn>
                <a:cxn ang="0">
                  <a:pos x="0" y="144"/>
                </a:cxn>
                <a:cxn ang="0">
                  <a:pos x="1" y="155"/>
                </a:cxn>
                <a:cxn ang="0">
                  <a:pos x="11" y="161"/>
                </a:cxn>
                <a:cxn ang="0">
                  <a:pos x="35" y="161"/>
                </a:cxn>
                <a:cxn ang="0">
                  <a:pos x="49" y="153"/>
                </a:cxn>
                <a:cxn ang="0">
                  <a:pos x="63" y="151"/>
                </a:cxn>
                <a:cxn ang="0">
                  <a:pos x="74" y="161"/>
                </a:cxn>
                <a:cxn ang="0">
                  <a:pos x="85" y="166"/>
                </a:cxn>
                <a:cxn ang="0">
                  <a:pos x="100" y="168"/>
                </a:cxn>
                <a:cxn ang="0">
                  <a:pos x="96" y="185"/>
                </a:cxn>
                <a:cxn ang="0">
                  <a:pos x="101" y="227"/>
                </a:cxn>
                <a:cxn ang="0">
                  <a:pos x="114" y="226"/>
                </a:cxn>
                <a:cxn ang="0">
                  <a:pos x="122" y="225"/>
                </a:cxn>
                <a:cxn ang="0">
                  <a:pos x="125" y="213"/>
                </a:cxn>
                <a:cxn ang="0">
                  <a:pos x="127" y="188"/>
                </a:cxn>
                <a:cxn ang="0">
                  <a:pos x="137" y="175"/>
                </a:cxn>
                <a:cxn ang="0">
                  <a:pos x="137" y="153"/>
                </a:cxn>
                <a:cxn ang="0">
                  <a:pos x="145" y="140"/>
                </a:cxn>
                <a:cxn ang="0">
                  <a:pos x="162" y="133"/>
                </a:cxn>
                <a:cxn ang="0">
                  <a:pos x="193" y="98"/>
                </a:cxn>
                <a:cxn ang="0">
                  <a:pos x="197" y="83"/>
                </a:cxn>
                <a:cxn ang="0">
                  <a:pos x="192" y="59"/>
                </a:cxn>
                <a:cxn ang="0">
                  <a:pos x="212" y="43"/>
                </a:cxn>
                <a:cxn ang="0">
                  <a:pos x="215" y="16"/>
                </a:cxn>
                <a:cxn ang="0">
                  <a:pos x="201" y="4"/>
                </a:cxn>
                <a:cxn ang="0">
                  <a:pos x="192" y="2"/>
                </a:cxn>
                <a:cxn ang="0">
                  <a:pos x="175" y="0"/>
                </a:cxn>
                <a:cxn ang="0">
                  <a:pos x="137" y="0"/>
                </a:cxn>
                <a:cxn ang="0">
                  <a:pos x="126" y="9"/>
                </a:cxn>
                <a:cxn ang="0">
                  <a:pos x="117" y="20"/>
                </a:cxn>
                <a:cxn ang="0">
                  <a:pos x="119" y="30"/>
                </a:cxn>
                <a:cxn ang="0">
                  <a:pos x="132" y="39"/>
                </a:cxn>
                <a:cxn ang="0">
                  <a:pos x="141" y="50"/>
                </a:cxn>
                <a:cxn ang="0">
                  <a:pos x="141" y="65"/>
                </a:cxn>
                <a:cxn ang="0">
                  <a:pos x="126" y="76"/>
                </a:cxn>
                <a:cxn ang="0">
                  <a:pos x="111" y="79"/>
                </a:cxn>
                <a:cxn ang="0">
                  <a:pos x="100" y="81"/>
                </a:cxn>
                <a:cxn ang="0">
                  <a:pos x="95" y="72"/>
                </a:cxn>
                <a:cxn ang="0">
                  <a:pos x="91" y="59"/>
                </a:cxn>
                <a:cxn ang="0">
                  <a:pos x="98" y="48"/>
                </a:cxn>
                <a:cxn ang="0">
                  <a:pos x="96" y="35"/>
                </a:cxn>
                <a:cxn ang="0">
                  <a:pos x="95" y="22"/>
                </a:cxn>
                <a:cxn ang="0">
                  <a:pos x="89" y="6"/>
                </a:cxn>
              </a:cxnLst>
              <a:rect l="0" t="0" r="r" b="b"/>
              <a:pathLst>
                <a:path w="215" h="227">
                  <a:moveTo>
                    <a:pt x="89" y="6"/>
                  </a:moveTo>
                  <a:lnTo>
                    <a:pt x="67" y="33"/>
                  </a:lnTo>
                  <a:lnTo>
                    <a:pt x="67" y="41"/>
                  </a:lnTo>
                  <a:lnTo>
                    <a:pt x="54" y="54"/>
                  </a:lnTo>
                  <a:lnTo>
                    <a:pt x="56" y="57"/>
                  </a:lnTo>
                  <a:lnTo>
                    <a:pt x="52" y="66"/>
                  </a:lnTo>
                  <a:lnTo>
                    <a:pt x="39" y="79"/>
                  </a:lnTo>
                  <a:lnTo>
                    <a:pt x="26" y="94"/>
                  </a:lnTo>
                  <a:lnTo>
                    <a:pt x="21" y="102"/>
                  </a:lnTo>
                  <a:lnTo>
                    <a:pt x="26" y="109"/>
                  </a:lnTo>
                  <a:lnTo>
                    <a:pt x="22" y="120"/>
                  </a:lnTo>
                  <a:lnTo>
                    <a:pt x="15" y="129"/>
                  </a:lnTo>
                  <a:lnTo>
                    <a:pt x="9" y="133"/>
                  </a:lnTo>
                  <a:lnTo>
                    <a:pt x="0" y="144"/>
                  </a:lnTo>
                  <a:lnTo>
                    <a:pt x="1" y="155"/>
                  </a:lnTo>
                  <a:lnTo>
                    <a:pt x="11" y="161"/>
                  </a:lnTo>
                  <a:lnTo>
                    <a:pt x="35" y="161"/>
                  </a:lnTo>
                  <a:lnTo>
                    <a:pt x="49" y="153"/>
                  </a:lnTo>
                  <a:lnTo>
                    <a:pt x="63" y="151"/>
                  </a:lnTo>
                  <a:lnTo>
                    <a:pt x="74" y="161"/>
                  </a:lnTo>
                  <a:lnTo>
                    <a:pt x="85" y="166"/>
                  </a:lnTo>
                  <a:lnTo>
                    <a:pt x="100" y="168"/>
                  </a:lnTo>
                  <a:lnTo>
                    <a:pt x="96" y="185"/>
                  </a:lnTo>
                  <a:lnTo>
                    <a:pt x="101" y="227"/>
                  </a:lnTo>
                  <a:lnTo>
                    <a:pt x="114" y="226"/>
                  </a:lnTo>
                  <a:lnTo>
                    <a:pt x="122" y="225"/>
                  </a:lnTo>
                  <a:lnTo>
                    <a:pt x="125" y="213"/>
                  </a:lnTo>
                  <a:lnTo>
                    <a:pt x="127" y="188"/>
                  </a:lnTo>
                  <a:lnTo>
                    <a:pt x="137" y="175"/>
                  </a:lnTo>
                  <a:lnTo>
                    <a:pt x="137" y="153"/>
                  </a:lnTo>
                  <a:lnTo>
                    <a:pt x="145" y="140"/>
                  </a:lnTo>
                  <a:lnTo>
                    <a:pt x="162" y="133"/>
                  </a:lnTo>
                  <a:lnTo>
                    <a:pt x="193" y="98"/>
                  </a:lnTo>
                  <a:lnTo>
                    <a:pt x="197" y="83"/>
                  </a:lnTo>
                  <a:lnTo>
                    <a:pt x="192" y="59"/>
                  </a:lnTo>
                  <a:lnTo>
                    <a:pt x="212" y="43"/>
                  </a:lnTo>
                  <a:lnTo>
                    <a:pt x="215" y="16"/>
                  </a:lnTo>
                  <a:lnTo>
                    <a:pt x="201" y="4"/>
                  </a:lnTo>
                  <a:lnTo>
                    <a:pt x="192" y="2"/>
                  </a:lnTo>
                  <a:lnTo>
                    <a:pt x="175" y="0"/>
                  </a:lnTo>
                  <a:lnTo>
                    <a:pt x="137" y="0"/>
                  </a:lnTo>
                  <a:lnTo>
                    <a:pt x="126" y="9"/>
                  </a:lnTo>
                  <a:lnTo>
                    <a:pt x="117" y="20"/>
                  </a:lnTo>
                  <a:lnTo>
                    <a:pt x="119" y="30"/>
                  </a:lnTo>
                  <a:lnTo>
                    <a:pt x="132" y="39"/>
                  </a:lnTo>
                  <a:lnTo>
                    <a:pt x="141" y="50"/>
                  </a:lnTo>
                  <a:lnTo>
                    <a:pt x="141" y="65"/>
                  </a:lnTo>
                  <a:lnTo>
                    <a:pt x="126" y="76"/>
                  </a:lnTo>
                  <a:lnTo>
                    <a:pt x="111" y="79"/>
                  </a:lnTo>
                  <a:lnTo>
                    <a:pt x="100" y="81"/>
                  </a:lnTo>
                  <a:lnTo>
                    <a:pt x="95" y="72"/>
                  </a:lnTo>
                  <a:lnTo>
                    <a:pt x="91" y="59"/>
                  </a:lnTo>
                  <a:lnTo>
                    <a:pt x="98" y="48"/>
                  </a:lnTo>
                  <a:lnTo>
                    <a:pt x="96" y="35"/>
                  </a:lnTo>
                  <a:lnTo>
                    <a:pt x="95" y="22"/>
                  </a:lnTo>
                  <a:lnTo>
                    <a:pt x="89" y="6"/>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 name="Freeform 25"/>
            <p:cNvSpPr>
              <a:spLocks/>
            </p:cNvSpPr>
            <p:nvPr>
              <p:custDataLst>
                <p:tags r:id="rId16"/>
              </p:custDataLst>
            </p:nvPr>
          </p:nvSpPr>
          <p:spPr bwMode="auto">
            <a:xfrm>
              <a:off x="1014771" y="3286855"/>
              <a:ext cx="432769" cy="397815"/>
            </a:xfrm>
            <a:custGeom>
              <a:avLst/>
              <a:gdLst/>
              <a:ahLst/>
              <a:cxnLst>
                <a:cxn ang="0">
                  <a:pos x="108" y="115"/>
                </a:cxn>
                <a:cxn ang="0">
                  <a:pos x="106" y="139"/>
                </a:cxn>
                <a:cxn ang="0">
                  <a:pos x="86" y="135"/>
                </a:cxn>
                <a:cxn ang="0">
                  <a:pos x="63" y="167"/>
                </a:cxn>
                <a:cxn ang="0">
                  <a:pos x="33" y="191"/>
                </a:cxn>
                <a:cxn ang="0">
                  <a:pos x="13" y="195"/>
                </a:cxn>
                <a:cxn ang="0">
                  <a:pos x="6" y="201"/>
                </a:cxn>
                <a:cxn ang="0">
                  <a:pos x="11" y="221"/>
                </a:cxn>
                <a:cxn ang="0">
                  <a:pos x="4" y="245"/>
                </a:cxn>
                <a:cxn ang="0">
                  <a:pos x="17" y="245"/>
                </a:cxn>
                <a:cxn ang="0">
                  <a:pos x="30" y="244"/>
                </a:cxn>
                <a:cxn ang="0">
                  <a:pos x="24" y="262"/>
                </a:cxn>
                <a:cxn ang="0">
                  <a:pos x="54" y="268"/>
                </a:cxn>
                <a:cxn ang="0">
                  <a:pos x="80" y="277"/>
                </a:cxn>
                <a:cxn ang="0">
                  <a:pos x="108" y="262"/>
                </a:cxn>
                <a:cxn ang="0">
                  <a:pos x="186" y="268"/>
                </a:cxn>
                <a:cxn ang="0">
                  <a:pos x="227" y="242"/>
                </a:cxn>
                <a:cxn ang="0">
                  <a:pos x="249" y="221"/>
                </a:cxn>
                <a:cxn ang="0">
                  <a:pos x="268" y="195"/>
                </a:cxn>
                <a:cxn ang="0">
                  <a:pos x="277" y="135"/>
                </a:cxn>
                <a:cxn ang="0">
                  <a:pos x="288" y="107"/>
                </a:cxn>
                <a:cxn ang="0">
                  <a:pos x="273" y="76"/>
                </a:cxn>
                <a:cxn ang="0">
                  <a:pos x="251" y="70"/>
                </a:cxn>
                <a:cxn ang="0">
                  <a:pos x="240" y="41"/>
                </a:cxn>
                <a:cxn ang="0">
                  <a:pos x="271" y="0"/>
                </a:cxn>
                <a:cxn ang="0">
                  <a:pos x="223" y="4"/>
                </a:cxn>
                <a:cxn ang="0">
                  <a:pos x="201" y="19"/>
                </a:cxn>
                <a:cxn ang="0">
                  <a:pos x="180" y="22"/>
                </a:cxn>
                <a:cxn ang="0">
                  <a:pos x="204" y="44"/>
                </a:cxn>
                <a:cxn ang="0">
                  <a:pos x="158" y="50"/>
                </a:cxn>
                <a:cxn ang="0">
                  <a:pos x="113" y="32"/>
                </a:cxn>
                <a:cxn ang="0">
                  <a:pos x="100" y="54"/>
                </a:cxn>
                <a:cxn ang="0">
                  <a:pos x="99" y="67"/>
                </a:cxn>
                <a:cxn ang="0">
                  <a:pos x="87" y="89"/>
                </a:cxn>
                <a:cxn ang="0">
                  <a:pos x="72" y="111"/>
                </a:cxn>
                <a:cxn ang="0">
                  <a:pos x="89" y="126"/>
                </a:cxn>
              </a:cxnLst>
              <a:rect l="0" t="0" r="r" b="b"/>
              <a:pathLst>
                <a:path w="303" h="277">
                  <a:moveTo>
                    <a:pt x="112" y="104"/>
                  </a:moveTo>
                  <a:lnTo>
                    <a:pt x="108" y="115"/>
                  </a:lnTo>
                  <a:lnTo>
                    <a:pt x="112" y="130"/>
                  </a:lnTo>
                  <a:lnTo>
                    <a:pt x="106" y="139"/>
                  </a:lnTo>
                  <a:lnTo>
                    <a:pt x="97" y="133"/>
                  </a:lnTo>
                  <a:lnTo>
                    <a:pt x="86" y="135"/>
                  </a:lnTo>
                  <a:lnTo>
                    <a:pt x="86" y="146"/>
                  </a:lnTo>
                  <a:lnTo>
                    <a:pt x="63" y="167"/>
                  </a:lnTo>
                  <a:lnTo>
                    <a:pt x="50" y="172"/>
                  </a:lnTo>
                  <a:lnTo>
                    <a:pt x="33" y="191"/>
                  </a:lnTo>
                  <a:lnTo>
                    <a:pt x="22" y="196"/>
                  </a:lnTo>
                  <a:lnTo>
                    <a:pt x="13" y="195"/>
                  </a:lnTo>
                  <a:lnTo>
                    <a:pt x="9" y="198"/>
                  </a:lnTo>
                  <a:lnTo>
                    <a:pt x="6" y="201"/>
                  </a:lnTo>
                  <a:lnTo>
                    <a:pt x="11" y="208"/>
                  </a:lnTo>
                  <a:lnTo>
                    <a:pt x="11" y="221"/>
                  </a:lnTo>
                  <a:lnTo>
                    <a:pt x="0" y="233"/>
                  </a:lnTo>
                  <a:lnTo>
                    <a:pt x="4" y="245"/>
                  </a:lnTo>
                  <a:lnTo>
                    <a:pt x="4" y="245"/>
                  </a:lnTo>
                  <a:lnTo>
                    <a:pt x="17" y="245"/>
                  </a:lnTo>
                  <a:lnTo>
                    <a:pt x="22" y="236"/>
                  </a:lnTo>
                  <a:lnTo>
                    <a:pt x="30" y="244"/>
                  </a:lnTo>
                  <a:lnTo>
                    <a:pt x="20" y="251"/>
                  </a:lnTo>
                  <a:lnTo>
                    <a:pt x="24" y="262"/>
                  </a:lnTo>
                  <a:lnTo>
                    <a:pt x="30" y="264"/>
                  </a:lnTo>
                  <a:lnTo>
                    <a:pt x="54" y="268"/>
                  </a:lnTo>
                  <a:lnTo>
                    <a:pt x="58" y="270"/>
                  </a:lnTo>
                  <a:lnTo>
                    <a:pt x="80" y="277"/>
                  </a:lnTo>
                  <a:lnTo>
                    <a:pt x="89" y="273"/>
                  </a:lnTo>
                  <a:lnTo>
                    <a:pt x="108" y="262"/>
                  </a:lnTo>
                  <a:lnTo>
                    <a:pt x="136" y="268"/>
                  </a:lnTo>
                  <a:lnTo>
                    <a:pt x="186" y="268"/>
                  </a:lnTo>
                  <a:lnTo>
                    <a:pt x="214" y="262"/>
                  </a:lnTo>
                  <a:lnTo>
                    <a:pt x="227" y="242"/>
                  </a:lnTo>
                  <a:lnTo>
                    <a:pt x="244" y="233"/>
                  </a:lnTo>
                  <a:lnTo>
                    <a:pt x="249" y="221"/>
                  </a:lnTo>
                  <a:lnTo>
                    <a:pt x="255" y="205"/>
                  </a:lnTo>
                  <a:lnTo>
                    <a:pt x="268" y="195"/>
                  </a:lnTo>
                  <a:lnTo>
                    <a:pt x="279" y="167"/>
                  </a:lnTo>
                  <a:lnTo>
                    <a:pt x="277" y="135"/>
                  </a:lnTo>
                  <a:lnTo>
                    <a:pt x="303" y="120"/>
                  </a:lnTo>
                  <a:lnTo>
                    <a:pt x="288" y="107"/>
                  </a:lnTo>
                  <a:lnTo>
                    <a:pt x="283" y="85"/>
                  </a:lnTo>
                  <a:lnTo>
                    <a:pt x="273" y="76"/>
                  </a:lnTo>
                  <a:lnTo>
                    <a:pt x="262" y="76"/>
                  </a:lnTo>
                  <a:lnTo>
                    <a:pt x="251" y="70"/>
                  </a:lnTo>
                  <a:lnTo>
                    <a:pt x="231" y="46"/>
                  </a:lnTo>
                  <a:lnTo>
                    <a:pt x="240" y="41"/>
                  </a:lnTo>
                  <a:lnTo>
                    <a:pt x="275" y="9"/>
                  </a:lnTo>
                  <a:lnTo>
                    <a:pt x="271" y="0"/>
                  </a:lnTo>
                  <a:lnTo>
                    <a:pt x="260" y="2"/>
                  </a:lnTo>
                  <a:lnTo>
                    <a:pt x="223" y="4"/>
                  </a:lnTo>
                  <a:lnTo>
                    <a:pt x="210" y="13"/>
                  </a:lnTo>
                  <a:lnTo>
                    <a:pt x="201" y="19"/>
                  </a:lnTo>
                  <a:lnTo>
                    <a:pt x="188" y="17"/>
                  </a:lnTo>
                  <a:lnTo>
                    <a:pt x="180" y="22"/>
                  </a:lnTo>
                  <a:lnTo>
                    <a:pt x="186" y="32"/>
                  </a:lnTo>
                  <a:lnTo>
                    <a:pt x="204" y="44"/>
                  </a:lnTo>
                  <a:lnTo>
                    <a:pt x="191" y="46"/>
                  </a:lnTo>
                  <a:lnTo>
                    <a:pt x="158" y="50"/>
                  </a:lnTo>
                  <a:lnTo>
                    <a:pt x="136" y="41"/>
                  </a:lnTo>
                  <a:lnTo>
                    <a:pt x="113" y="32"/>
                  </a:lnTo>
                  <a:lnTo>
                    <a:pt x="106" y="37"/>
                  </a:lnTo>
                  <a:lnTo>
                    <a:pt x="100" y="54"/>
                  </a:lnTo>
                  <a:lnTo>
                    <a:pt x="102" y="63"/>
                  </a:lnTo>
                  <a:lnTo>
                    <a:pt x="99" y="67"/>
                  </a:lnTo>
                  <a:lnTo>
                    <a:pt x="86" y="72"/>
                  </a:lnTo>
                  <a:lnTo>
                    <a:pt x="87" y="89"/>
                  </a:lnTo>
                  <a:lnTo>
                    <a:pt x="86" y="93"/>
                  </a:lnTo>
                  <a:lnTo>
                    <a:pt x="72" y="111"/>
                  </a:lnTo>
                  <a:lnTo>
                    <a:pt x="84" y="128"/>
                  </a:lnTo>
                  <a:lnTo>
                    <a:pt x="89" y="126"/>
                  </a:lnTo>
                  <a:lnTo>
                    <a:pt x="112" y="104"/>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nvGrpSpPr>
            <p:cNvPr id="19" name="Group 26"/>
            <p:cNvGrpSpPr>
              <a:grpSpLocks/>
            </p:cNvGrpSpPr>
            <p:nvPr/>
          </p:nvGrpSpPr>
          <p:grpSpPr bwMode="auto">
            <a:xfrm>
              <a:off x="2487850" y="3315152"/>
              <a:ext cx="489362" cy="389492"/>
              <a:chOff x="2003" y="1691"/>
              <a:chExt cx="344" cy="272"/>
            </a:xfrm>
            <a:solidFill>
              <a:schemeClr val="accent6"/>
            </a:solidFill>
          </p:grpSpPr>
          <p:sp>
            <p:nvSpPr>
              <p:cNvPr id="85" name="Freeform 27"/>
              <p:cNvSpPr>
                <a:spLocks/>
              </p:cNvSpPr>
              <p:nvPr>
                <p:custDataLst>
                  <p:tags r:id="rId74"/>
                </p:custDataLst>
              </p:nvPr>
            </p:nvSpPr>
            <p:spPr bwMode="auto">
              <a:xfrm>
                <a:off x="2003" y="1746"/>
                <a:ext cx="145" cy="179"/>
              </a:xfrm>
              <a:custGeom>
                <a:avLst/>
                <a:gdLst/>
                <a:ahLst/>
                <a:cxnLst>
                  <a:cxn ang="0">
                    <a:pos x="11" y="153"/>
                  </a:cxn>
                  <a:cxn ang="0">
                    <a:pos x="19" y="166"/>
                  </a:cxn>
                  <a:cxn ang="0">
                    <a:pos x="35" y="166"/>
                  </a:cxn>
                  <a:cxn ang="0">
                    <a:pos x="50" y="170"/>
                  </a:cxn>
                  <a:cxn ang="0">
                    <a:pos x="61" y="179"/>
                  </a:cxn>
                  <a:cxn ang="0">
                    <a:pos x="73" y="179"/>
                  </a:cxn>
                  <a:cxn ang="0">
                    <a:pos x="65" y="168"/>
                  </a:cxn>
                  <a:cxn ang="0">
                    <a:pos x="71" y="153"/>
                  </a:cxn>
                  <a:cxn ang="0">
                    <a:pos x="78" y="136"/>
                  </a:cxn>
                  <a:cxn ang="0">
                    <a:pos x="82" y="117"/>
                  </a:cxn>
                  <a:cxn ang="0">
                    <a:pos x="99" y="106"/>
                  </a:cxn>
                  <a:cxn ang="0">
                    <a:pos x="113" y="98"/>
                  </a:cxn>
                  <a:cxn ang="0">
                    <a:pos x="112" y="87"/>
                  </a:cxn>
                  <a:cxn ang="0">
                    <a:pos x="112" y="69"/>
                  </a:cxn>
                  <a:cxn ang="0">
                    <a:pos x="115" y="61"/>
                  </a:cxn>
                  <a:cxn ang="0">
                    <a:pos x="128" y="59"/>
                  </a:cxn>
                  <a:cxn ang="0">
                    <a:pos x="134" y="63"/>
                  </a:cxn>
                  <a:cxn ang="0">
                    <a:pos x="145" y="50"/>
                  </a:cxn>
                  <a:cxn ang="0">
                    <a:pos x="141" y="39"/>
                  </a:cxn>
                  <a:cxn ang="0">
                    <a:pos x="134" y="37"/>
                  </a:cxn>
                  <a:cxn ang="0">
                    <a:pos x="121" y="37"/>
                  </a:cxn>
                  <a:cxn ang="0">
                    <a:pos x="115" y="37"/>
                  </a:cxn>
                  <a:cxn ang="0">
                    <a:pos x="112" y="20"/>
                  </a:cxn>
                  <a:cxn ang="0">
                    <a:pos x="113" y="4"/>
                  </a:cxn>
                  <a:cxn ang="0">
                    <a:pos x="104" y="0"/>
                  </a:cxn>
                  <a:cxn ang="0">
                    <a:pos x="100" y="6"/>
                  </a:cxn>
                  <a:cxn ang="0">
                    <a:pos x="78" y="2"/>
                  </a:cxn>
                  <a:cxn ang="0">
                    <a:pos x="73" y="7"/>
                  </a:cxn>
                  <a:cxn ang="0">
                    <a:pos x="78" y="22"/>
                  </a:cxn>
                  <a:cxn ang="0">
                    <a:pos x="76" y="37"/>
                  </a:cxn>
                  <a:cxn ang="0">
                    <a:pos x="67" y="26"/>
                  </a:cxn>
                  <a:cxn ang="0">
                    <a:pos x="63" y="17"/>
                  </a:cxn>
                  <a:cxn ang="0">
                    <a:pos x="50" y="19"/>
                  </a:cxn>
                  <a:cxn ang="0">
                    <a:pos x="45" y="28"/>
                  </a:cxn>
                  <a:cxn ang="0">
                    <a:pos x="41" y="32"/>
                  </a:cxn>
                  <a:cxn ang="0">
                    <a:pos x="41" y="45"/>
                  </a:cxn>
                  <a:cxn ang="0">
                    <a:pos x="39" y="43"/>
                  </a:cxn>
                  <a:cxn ang="0">
                    <a:pos x="28" y="26"/>
                  </a:cxn>
                  <a:cxn ang="0">
                    <a:pos x="22" y="20"/>
                  </a:cxn>
                  <a:cxn ang="0">
                    <a:pos x="15" y="24"/>
                  </a:cxn>
                  <a:cxn ang="0">
                    <a:pos x="17" y="33"/>
                  </a:cxn>
                  <a:cxn ang="0">
                    <a:pos x="17" y="39"/>
                  </a:cxn>
                  <a:cxn ang="0">
                    <a:pos x="7" y="43"/>
                  </a:cxn>
                  <a:cxn ang="0">
                    <a:pos x="7" y="56"/>
                  </a:cxn>
                  <a:cxn ang="0">
                    <a:pos x="15" y="69"/>
                  </a:cxn>
                  <a:cxn ang="0">
                    <a:pos x="15" y="78"/>
                  </a:cxn>
                  <a:cxn ang="0">
                    <a:pos x="11" y="87"/>
                  </a:cxn>
                  <a:cxn ang="0">
                    <a:pos x="0" y="96"/>
                  </a:cxn>
                  <a:cxn ang="0">
                    <a:pos x="2" y="106"/>
                  </a:cxn>
                  <a:cxn ang="0">
                    <a:pos x="13" y="115"/>
                  </a:cxn>
                  <a:cxn ang="0">
                    <a:pos x="17" y="124"/>
                  </a:cxn>
                  <a:cxn ang="0">
                    <a:pos x="15" y="142"/>
                  </a:cxn>
                  <a:cxn ang="0">
                    <a:pos x="11" y="153"/>
                  </a:cxn>
                </a:cxnLst>
                <a:rect l="0" t="0" r="r" b="b"/>
                <a:pathLst>
                  <a:path w="145" h="179">
                    <a:moveTo>
                      <a:pt x="11" y="153"/>
                    </a:moveTo>
                    <a:lnTo>
                      <a:pt x="19" y="166"/>
                    </a:lnTo>
                    <a:lnTo>
                      <a:pt x="35" y="166"/>
                    </a:lnTo>
                    <a:lnTo>
                      <a:pt x="50" y="170"/>
                    </a:lnTo>
                    <a:lnTo>
                      <a:pt x="61" y="179"/>
                    </a:lnTo>
                    <a:lnTo>
                      <a:pt x="73" y="179"/>
                    </a:lnTo>
                    <a:lnTo>
                      <a:pt x="65" y="168"/>
                    </a:lnTo>
                    <a:lnTo>
                      <a:pt x="71" y="153"/>
                    </a:lnTo>
                    <a:lnTo>
                      <a:pt x="78" y="136"/>
                    </a:lnTo>
                    <a:lnTo>
                      <a:pt x="82" y="117"/>
                    </a:lnTo>
                    <a:lnTo>
                      <a:pt x="99" y="106"/>
                    </a:lnTo>
                    <a:lnTo>
                      <a:pt x="113" y="98"/>
                    </a:lnTo>
                    <a:lnTo>
                      <a:pt x="112" y="87"/>
                    </a:lnTo>
                    <a:lnTo>
                      <a:pt x="112" y="69"/>
                    </a:lnTo>
                    <a:lnTo>
                      <a:pt x="115" y="61"/>
                    </a:lnTo>
                    <a:lnTo>
                      <a:pt x="128" y="59"/>
                    </a:lnTo>
                    <a:lnTo>
                      <a:pt x="134" y="63"/>
                    </a:lnTo>
                    <a:lnTo>
                      <a:pt x="145" y="50"/>
                    </a:lnTo>
                    <a:lnTo>
                      <a:pt x="141" y="39"/>
                    </a:lnTo>
                    <a:lnTo>
                      <a:pt x="134" y="37"/>
                    </a:lnTo>
                    <a:lnTo>
                      <a:pt x="121" y="37"/>
                    </a:lnTo>
                    <a:lnTo>
                      <a:pt x="115" y="37"/>
                    </a:lnTo>
                    <a:lnTo>
                      <a:pt x="112" y="20"/>
                    </a:lnTo>
                    <a:lnTo>
                      <a:pt x="113" y="4"/>
                    </a:lnTo>
                    <a:lnTo>
                      <a:pt x="104" y="0"/>
                    </a:lnTo>
                    <a:lnTo>
                      <a:pt x="100" y="6"/>
                    </a:lnTo>
                    <a:lnTo>
                      <a:pt x="78" y="2"/>
                    </a:lnTo>
                    <a:lnTo>
                      <a:pt x="73" y="7"/>
                    </a:lnTo>
                    <a:lnTo>
                      <a:pt x="78" y="22"/>
                    </a:lnTo>
                    <a:lnTo>
                      <a:pt x="76" y="37"/>
                    </a:lnTo>
                    <a:lnTo>
                      <a:pt x="67" y="26"/>
                    </a:lnTo>
                    <a:lnTo>
                      <a:pt x="63" y="17"/>
                    </a:lnTo>
                    <a:lnTo>
                      <a:pt x="50" y="19"/>
                    </a:lnTo>
                    <a:lnTo>
                      <a:pt x="45" y="28"/>
                    </a:lnTo>
                    <a:lnTo>
                      <a:pt x="41" y="32"/>
                    </a:lnTo>
                    <a:lnTo>
                      <a:pt x="41" y="45"/>
                    </a:lnTo>
                    <a:lnTo>
                      <a:pt x="39" y="43"/>
                    </a:lnTo>
                    <a:lnTo>
                      <a:pt x="28" y="26"/>
                    </a:lnTo>
                    <a:lnTo>
                      <a:pt x="22" y="20"/>
                    </a:lnTo>
                    <a:lnTo>
                      <a:pt x="15" y="24"/>
                    </a:lnTo>
                    <a:lnTo>
                      <a:pt x="17" y="33"/>
                    </a:lnTo>
                    <a:lnTo>
                      <a:pt x="17" y="39"/>
                    </a:lnTo>
                    <a:lnTo>
                      <a:pt x="7" y="43"/>
                    </a:lnTo>
                    <a:lnTo>
                      <a:pt x="7" y="56"/>
                    </a:lnTo>
                    <a:lnTo>
                      <a:pt x="15" y="69"/>
                    </a:lnTo>
                    <a:lnTo>
                      <a:pt x="15" y="78"/>
                    </a:lnTo>
                    <a:lnTo>
                      <a:pt x="11" y="87"/>
                    </a:lnTo>
                    <a:lnTo>
                      <a:pt x="0" y="96"/>
                    </a:lnTo>
                    <a:lnTo>
                      <a:pt x="2" y="106"/>
                    </a:lnTo>
                    <a:lnTo>
                      <a:pt x="13" y="115"/>
                    </a:lnTo>
                    <a:lnTo>
                      <a:pt x="17" y="124"/>
                    </a:lnTo>
                    <a:lnTo>
                      <a:pt x="15" y="142"/>
                    </a:lnTo>
                    <a:lnTo>
                      <a:pt x="11" y="153"/>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86" name="Freeform 28"/>
              <p:cNvSpPr>
                <a:spLocks/>
              </p:cNvSpPr>
              <p:nvPr>
                <p:custDataLst>
                  <p:tags r:id="rId75"/>
                </p:custDataLst>
              </p:nvPr>
            </p:nvSpPr>
            <p:spPr bwMode="auto">
              <a:xfrm>
                <a:off x="2033" y="1691"/>
                <a:ext cx="109" cy="68"/>
              </a:xfrm>
              <a:custGeom>
                <a:avLst/>
                <a:gdLst/>
                <a:ahLst/>
                <a:cxnLst>
                  <a:cxn ang="0">
                    <a:pos x="0" y="66"/>
                  </a:cxn>
                  <a:cxn ang="0">
                    <a:pos x="9" y="68"/>
                  </a:cxn>
                  <a:cxn ang="0">
                    <a:pos x="20" y="60"/>
                  </a:cxn>
                  <a:cxn ang="0">
                    <a:pos x="31" y="47"/>
                  </a:cxn>
                  <a:cxn ang="0">
                    <a:pos x="61" y="47"/>
                  </a:cxn>
                  <a:cxn ang="0">
                    <a:pos x="87" y="42"/>
                  </a:cxn>
                  <a:cxn ang="0">
                    <a:pos x="102" y="30"/>
                  </a:cxn>
                  <a:cxn ang="0">
                    <a:pos x="107" y="15"/>
                  </a:cxn>
                  <a:cxn ang="0">
                    <a:pos x="109" y="0"/>
                  </a:cxn>
                  <a:cxn ang="0">
                    <a:pos x="89" y="9"/>
                  </a:cxn>
                  <a:cxn ang="0">
                    <a:pos x="52" y="26"/>
                  </a:cxn>
                  <a:cxn ang="0">
                    <a:pos x="42" y="28"/>
                  </a:cxn>
                  <a:cxn ang="0">
                    <a:pos x="31" y="36"/>
                  </a:cxn>
                  <a:cxn ang="0">
                    <a:pos x="9" y="40"/>
                  </a:cxn>
                  <a:cxn ang="0">
                    <a:pos x="0" y="45"/>
                  </a:cxn>
                  <a:cxn ang="0">
                    <a:pos x="0" y="66"/>
                  </a:cxn>
                </a:cxnLst>
                <a:rect l="0" t="0" r="r" b="b"/>
                <a:pathLst>
                  <a:path w="109" h="68">
                    <a:moveTo>
                      <a:pt x="0" y="66"/>
                    </a:moveTo>
                    <a:lnTo>
                      <a:pt x="9" y="68"/>
                    </a:lnTo>
                    <a:lnTo>
                      <a:pt x="20" y="60"/>
                    </a:lnTo>
                    <a:lnTo>
                      <a:pt x="31" y="47"/>
                    </a:lnTo>
                    <a:lnTo>
                      <a:pt x="61" y="47"/>
                    </a:lnTo>
                    <a:lnTo>
                      <a:pt x="87" y="42"/>
                    </a:lnTo>
                    <a:lnTo>
                      <a:pt x="102" y="30"/>
                    </a:lnTo>
                    <a:lnTo>
                      <a:pt x="107" y="15"/>
                    </a:lnTo>
                    <a:lnTo>
                      <a:pt x="109" y="0"/>
                    </a:lnTo>
                    <a:lnTo>
                      <a:pt x="89" y="9"/>
                    </a:lnTo>
                    <a:lnTo>
                      <a:pt x="52" y="26"/>
                    </a:lnTo>
                    <a:lnTo>
                      <a:pt x="42" y="28"/>
                    </a:lnTo>
                    <a:lnTo>
                      <a:pt x="31" y="36"/>
                    </a:lnTo>
                    <a:lnTo>
                      <a:pt x="9" y="40"/>
                    </a:lnTo>
                    <a:lnTo>
                      <a:pt x="0" y="45"/>
                    </a:lnTo>
                    <a:lnTo>
                      <a:pt x="0" y="66"/>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87" name="Freeform 29"/>
              <p:cNvSpPr>
                <a:spLocks/>
              </p:cNvSpPr>
              <p:nvPr>
                <p:custDataLst>
                  <p:tags r:id="rId76"/>
                </p:custDataLst>
              </p:nvPr>
            </p:nvSpPr>
            <p:spPr bwMode="auto">
              <a:xfrm>
                <a:off x="2089" y="1858"/>
                <a:ext cx="47" cy="57"/>
              </a:xfrm>
              <a:custGeom>
                <a:avLst/>
                <a:gdLst/>
                <a:ahLst/>
                <a:cxnLst>
                  <a:cxn ang="0">
                    <a:pos x="15" y="0"/>
                  </a:cxn>
                  <a:cxn ang="0">
                    <a:pos x="45" y="20"/>
                  </a:cxn>
                  <a:cxn ang="0">
                    <a:pos x="47" y="29"/>
                  </a:cxn>
                  <a:cxn ang="0">
                    <a:pos x="36" y="40"/>
                  </a:cxn>
                  <a:cxn ang="0">
                    <a:pos x="26" y="48"/>
                  </a:cxn>
                  <a:cxn ang="0">
                    <a:pos x="28" y="57"/>
                  </a:cxn>
                  <a:cxn ang="0">
                    <a:pos x="15" y="55"/>
                  </a:cxn>
                  <a:cxn ang="0">
                    <a:pos x="2" y="40"/>
                  </a:cxn>
                  <a:cxn ang="0">
                    <a:pos x="0" y="29"/>
                  </a:cxn>
                  <a:cxn ang="0">
                    <a:pos x="6" y="17"/>
                  </a:cxn>
                  <a:cxn ang="0">
                    <a:pos x="15" y="0"/>
                  </a:cxn>
                </a:cxnLst>
                <a:rect l="0" t="0" r="r" b="b"/>
                <a:pathLst>
                  <a:path w="47" h="57">
                    <a:moveTo>
                      <a:pt x="15" y="0"/>
                    </a:moveTo>
                    <a:lnTo>
                      <a:pt x="45" y="20"/>
                    </a:lnTo>
                    <a:lnTo>
                      <a:pt x="47" y="29"/>
                    </a:lnTo>
                    <a:lnTo>
                      <a:pt x="36" y="40"/>
                    </a:lnTo>
                    <a:lnTo>
                      <a:pt x="26" y="48"/>
                    </a:lnTo>
                    <a:lnTo>
                      <a:pt x="28" y="57"/>
                    </a:lnTo>
                    <a:lnTo>
                      <a:pt x="15" y="55"/>
                    </a:lnTo>
                    <a:lnTo>
                      <a:pt x="2" y="40"/>
                    </a:lnTo>
                    <a:lnTo>
                      <a:pt x="0" y="29"/>
                    </a:lnTo>
                    <a:lnTo>
                      <a:pt x="6" y="17"/>
                    </a:lnTo>
                    <a:lnTo>
                      <a:pt x="15"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88" name="Freeform 30"/>
              <p:cNvSpPr>
                <a:spLocks/>
              </p:cNvSpPr>
              <p:nvPr>
                <p:custDataLst>
                  <p:tags r:id="rId77"/>
                </p:custDataLst>
              </p:nvPr>
            </p:nvSpPr>
            <p:spPr bwMode="auto">
              <a:xfrm>
                <a:off x="2148" y="1842"/>
                <a:ext cx="69" cy="83"/>
              </a:xfrm>
              <a:custGeom>
                <a:avLst/>
                <a:gdLst/>
                <a:ahLst/>
                <a:cxnLst>
                  <a:cxn ang="0">
                    <a:pos x="65" y="0"/>
                  </a:cxn>
                  <a:cxn ang="0">
                    <a:pos x="69" y="4"/>
                  </a:cxn>
                  <a:cxn ang="0">
                    <a:pos x="65" y="9"/>
                  </a:cxn>
                  <a:cxn ang="0">
                    <a:pos x="69" y="18"/>
                  </a:cxn>
                  <a:cxn ang="0">
                    <a:pos x="64" y="29"/>
                  </a:cxn>
                  <a:cxn ang="0">
                    <a:pos x="54" y="37"/>
                  </a:cxn>
                  <a:cxn ang="0">
                    <a:pos x="58" y="46"/>
                  </a:cxn>
                  <a:cxn ang="0">
                    <a:pos x="54" y="54"/>
                  </a:cxn>
                  <a:cxn ang="0">
                    <a:pos x="58" y="63"/>
                  </a:cxn>
                  <a:cxn ang="0">
                    <a:pos x="45" y="83"/>
                  </a:cxn>
                  <a:cxn ang="0">
                    <a:pos x="16" y="63"/>
                  </a:cxn>
                  <a:cxn ang="0">
                    <a:pos x="0" y="52"/>
                  </a:cxn>
                  <a:cxn ang="0">
                    <a:pos x="9" y="46"/>
                  </a:cxn>
                  <a:cxn ang="0">
                    <a:pos x="9" y="33"/>
                  </a:cxn>
                  <a:cxn ang="0">
                    <a:pos x="27" y="22"/>
                  </a:cxn>
                  <a:cxn ang="0">
                    <a:pos x="36" y="26"/>
                  </a:cxn>
                  <a:cxn ang="0">
                    <a:pos x="45" y="22"/>
                  </a:cxn>
                  <a:cxn ang="0">
                    <a:pos x="60" y="11"/>
                  </a:cxn>
                  <a:cxn ang="0">
                    <a:pos x="65" y="0"/>
                  </a:cxn>
                </a:cxnLst>
                <a:rect l="0" t="0" r="r" b="b"/>
                <a:pathLst>
                  <a:path w="69" h="83">
                    <a:moveTo>
                      <a:pt x="65" y="0"/>
                    </a:moveTo>
                    <a:lnTo>
                      <a:pt x="69" y="4"/>
                    </a:lnTo>
                    <a:lnTo>
                      <a:pt x="65" y="9"/>
                    </a:lnTo>
                    <a:lnTo>
                      <a:pt x="69" y="18"/>
                    </a:lnTo>
                    <a:lnTo>
                      <a:pt x="64" y="29"/>
                    </a:lnTo>
                    <a:lnTo>
                      <a:pt x="54" y="37"/>
                    </a:lnTo>
                    <a:lnTo>
                      <a:pt x="58" y="46"/>
                    </a:lnTo>
                    <a:lnTo>
                      <a:pt x="54" y="54"/>
                    </a:lnTo>
                    <a:lnTo>
                      <a:pt x="58" y="63"/>
                    </a:lnTo>
                    <a:lnTo>
                      <a:pt x="45" y="83"/>
                    </a:lnTo>
                    <a:lnTo>
                      <a:pt x="16" y="63"/>
                    </a:lnTo>
                    <a:lnTo>
                      <a:pt x="0" y="52"/>
                    </a:lnTo>
                    <a:lnTo>
                      <a:pt x="9" y="46"/>
                    </a:lnTo>
                    <a:lnTo>
                      <a:pt x="9" y="33"/>
                    </a:lnTo>
                    <a:lnTo>
                      <a:pt x="27" y="22"/>
                    </a:lnTo>
                    <a:lnTo>
                      <a:pt x="36" y="26"/>
                    </a:lnTo>
                    <a:lnTo>
                      <a:pt x="45" y="22"/>
                    </a:lnTo>
                    <a:lnTo>
                      <a:pt x="60" y="11"/>
                    </a:lnTo>
                    <a:lnTo>
                      <a:pt x="65"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89" name="Freeform 31"/>
              <p:cNvSpPr>
                <a:spLocks/>
              </p:cNvSpPr>
              <p:nvPr>
                <p:custDataLst>
                  <p:tags r:id="rId78"/>
                </p:custDataLst>
              </p:nvPr>
            </p:nvSpPr>
            <p:spPr bwMode="auto">
              <a:xfrm>
                <a:off x="2139" y="1928"/>
                <a:ext cx="28" cy="35"/>
              </a:xfrm>
              <a:custGeom>
                <a:avLst/>
                <a:gdLst/>
                <a:ahLst/>
                <a:cxnLst>
                  <a:cxn ang="0">
                    <a:pos x="0" y="0"/>
                  </a:cxn>
                  <a:cxn ang="0">
                    <a:pos x="19" y="6"/>
                  </a:cxn>
                  <a:cxn ang="0">
                    <a:pos x="26" y="15"/>
                  </a:cxn>
                  <a:cxn ang="0">
                    <a:pos x="28" y="28"/>
                  </a:cxn>
                  <a:cxn ang="0">
                    <a:pos x="19" y="35"/>
                  </a:cxn>
                  <a:cxn ang="0">
                    <a:pos x="5" y="29"/>
                  </a:cxn>
                  <a:cxn ang="0">
                    <a:pos x="2" y="20"/>
                  </a:cxn>
                  <a:cxn ang="0">
                    <a:pos x="0" y="0"/>
                  </a:cxn>
                </a:cxnLst>
                <a:rect l="0" t="0" r="r" b="b"/>
                <a:pathLst>
                  <a:path w="28" h="35">
                    <a:moveTo>
                      <a:pt x="0" y="0"/>
                    </a:moveTo>
                    <a:lnTo>
                      <a:pt x="19" y="6"/>
                    </a:lnTo>
                    <a:lnTo>
                      <a:pt x="26" y="15"/>
                    </a:lnTo>
                    <a:lnTo>
                      <a:pt x="28" y="28"/>
                    </a:lnTo>
                    <a:lnTo>
                      <a:pt x="19" y="35"/>
                    </a:lnTo>
                    <a:lnTo>
                      <a:pt x="5" y="29"/>
                    </a:lnTo>
                    <a:lnTo>
                      <a:pt x="2" y="20"/>
                    </a:lnTo>
                    <a:lnTo>
                      <a:pt x="0"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90" name="Freeform 32"/>
              <p:cNvSpPr>
                <a:spLocks/>
              </p:cNvSpPr>
              <p:nvPr>
                <p:custDataLst>
                  <p:tags r:id="rId79"/>
                </p:custDataLst>
              </p:nvPr>
            </p:nvSpPr>
            <p:spPr bwMode="auto">
              <a:xfrm>
                <a:off x="2331" y="1919"/>
                <a:ext cx="16" cy="29"/>
              </a:xfrm>
              <a:custGeom>
                <a:avLst/>
                <a:gdLst/>
                <a:ahLst/>
                <a:cxnLst>
                  <a:cxn ang="0">
                    <a:pos x="5" y="0"/>
                  </a:cxn>
                  <a:cxn ang="0">
                    <a:pos x="0" y="5"/>
                  </a:cxn>
                  <a:cxn ang="0">
                    <a:pos x="0" y="20"/>
                  </a:cxn>
                  <a:cxn ang="0">
                    <a:pos x="11" y="29"/>
                  </a:cxn>
                  <a:cxn ang="0">
                    <a:pos x="16" y="16"/>
                  </a:cxn>
                  <a:cxn ang="0">
                    <a:pos x="5" y="0"/>
                  </a:cxn>
                </a:cxnLst>
                <a:rect l="0" t="0" r="r" b="b"/>
                <a:pathLst>
                  <a:path w="16" h="29">
                    <a:moveTo>
                      <a:pt x="5" y="0"/>
                    </a:moveTo>
                    <a:lnTo>
                      <a:pt x="0" y="5"/>
                    </a:lnTo>
                    <a:lnTo>
                      <a:pt x="0" y="20"/>
                    </a:lnTo>
                    <a:lnTo>
                      <a:pt x="11" y="29"/>
                    </a:lnTo>
                    <a:lnTo>
                      <a:pt x="16" y="16"/>
                    </a:lnTo>
                    <a:lnTo>
                      <a:pt x="5"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grpSp>
          <p:nvGrpSpPr>
            <p:cNvPr id="20" name="Group 33"/>
            <p:cNvGrpSpPr>
              <a:grpSpLocks/>
            </p:cNvGrpSpPr>
            <p:nvPr/>
          </p:nvGrpSpPr>
          <p:grpSpPr bwMode="auto">
            <a:xfrm>
              <a:off x="2214873" y="3633071"/>
              <a:ext cx="730714" cy="975395"/>
              <a:chOff x="1811" y="1911"/>
              <a:chExt cx="512" cy="684"/>
            </a:xfrm>
            <a:solidFill>
              <a:schemeClr val="accent6"/>
            </a:solidFill>
          </p:grpSpPr>
          <p:sp>
            <p:nvSpPr>
              <p:cNvPr id="83" name="Freeform 34"/>
              <p:cNvSpPr>
                <a:spLocks/>
              </p:cNvSpPr>
              <p:nvPr>
                <p:custDataLst>
                  <p:tags r:id="rId72"/>
                </p:custDataLst>
              </p:nvPr>
            </p:nvSpPr>
            <p:spPr bwMode="auto">
              <a:xfrm>
                <a:off x="2245" y="1976"/>
                <a:ext cx="24" cy="22"/>
              </a:xfrm>
              <a:custGeom>
                <a:avLst/>
                <a:gdLst/>
                <a:ahLst/>
                <a:cxnLst>
                  <a:cxn ang="0">
                    <a:pos x="2" y="0"/>
                  </a:cxn>
                  <a:cxn ang="0">
                    <a:pos x="0" y="4"/>
                  </a:cxn>
                  <a:cxn ang="0">
                    <a:pos x="2" y="15"/>
                  </a:cxn>
                  <a:cxn ang="0">
                    <a:pos x="15" y="22"/>
                  </a:cxn>
                  <a:cxn ang="0">
                    <a:pos x="24" y="13"/>
                  </a:cxn>
                  <a:cxn ang="0">
                    <a:pos x="2" y="0"/>
                  </a:cxn>
                </a:cxnLst>
                <a:rect l="0" t="0" r="r" b="b"/>
                <a:pathLst>
                  <a:path w="24" h="22">
                    <a:moveTo>
                      <a:pt x="2" y="0"/>
                    </a:moveTo>
                    <a:lnTo>
                      <a:pt x="0" y="4"/>
                    </a:lnTo>
                    <a:lnTo>
                      <a:pt x="2" y="15"/>
                    </a:lnTo>
                    <a:lnTo>
                      <a:pt x="15" y="22"/>
                    </a:lnTo>
                    <a:lnTo>
                      <a:pt x="24" y="13"/>
                    </a:lnTo>
                    <a:lnTo>
                      <a:pt x="2"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84" name="Freeform 35"/>
              <p:cNvSpPr>
                <a:spLocks/>
              </p:cNvSpPr>
              <p:nvPr>
                <p:custDataLst>
                  <p:tags r:id="rId73"/>
                </p:custDataLst>
              </p:nvPr>
            </p:nvSpPr>
            <p:spPr bwMode="auto">
              <a:xfrm>
                <a:off x="1811" y="1911"/>
                <a:ext cx="512" cy="684"/>
              </a:xfrm>
              <a:custGeom>
                <a:avLst/>
                <a:gdLst/>
                <a:ahLst/>
                <a:cxnLst>
                  <a:cxn ang="0">
                    <a:pos x="201" y="15"/>
                  </a:cxn>
                  <a:cxn ang="0">
                    <a:pos x="207" y="48"/>
                  </a:cxn>
                  <a:cxn ang="0">
                    <a:pos x="203" y="72"/>
                  </a:cxn>
                  <a:cxn ang="0">
                    <a:pos x="231" y="107"/>
                  </a:cxn>
                  <a:cxn ang="0">
                    <a:pos x="190" y="96"/>
                  </a:cxn>
                  <a:cxn ang="0">
                    <a:pos x="158" y="122"/>
                  </a:cxn>
                  <a:cxn ang="0">
                    <a:pos x="136" y="100"/>
                  </a:cxn>
                  <a:cxn ang="0">
                    <a:pos x="95" y="122"/>
                  </a:cxn>
                  <a:cxn ang="0">
                    <a:pos x="103" y="157"/>
                  </a:cxn>
                  <a:cxn ang="0">
                    <a:pos x="82" y="176"/>
                  </a:cxn>
                  <a:cxn ang="0">
                    <a:pos x="86" y="209"/>
                  </a:cxn>
                  <a:cxn ang="0">
                    <a:pos x="58" y="244"/>
                  </a:cxn>
                  <a:cxn ang="0">
                    <a:pos x="28" y="272"/>
                  </a:cxn>
                  <a:cxn ang="0">
                    <a:pos x="19" y="326"/>
                  </a:cxn>
                  <a:cxn ang="0">
                    <a:pos x="15" y="350"/>
                  </a:cxn>
                  <a:cxn ang="0">
                    <a:pos x="2" y="400"/>
                  </a:cxn>
                  <a:cxn ang="0">
                    <a:pos x="19" y="424"/>
                  </a:cxn>
                  <a:cxn ang="0">
                    <a:pos x="0" y="455"/>
                  </a:cxn>
                  <a:cxn ang="0">
                    <a:pos x="28" y="489"/>
                  </a:cxn>
                  <a:cxn ang="0">
                    <a:pos x="81" y="496"/>
                  </a:cxn>
                  <a:cxn ang="0">
                    <a:pos x="90" y="520"/>
                  </a:cxn>
                  <a:cxn ang="0">
                    <a:pos x="66" y="553"/>
                  </a:cxn>
                  <a:cxn ang="0">
                    <a:pos x="45" y="608"/>
                  </a:cxn>
                  <a:cxn ang="0">
                    <a:pos x="73" y="641"/>
                  </a:cxn>
                  <a:cxn ang="0">
                    <a:pos x="99" y="628"/>
                  </a:cxn>
                  <a:cxn ang="0">
                    <a:pos x="125" y="638"/>
                  </a:cxn>
                  <a:cxn ang="0">
                    <a:pos x="149" y="660"/>
                  </a:cxn>
                  <a:cxn ang="0">
                    <a:pos x="197" y="667"/>
                  </a:cxn>
                  <a:cxn ang="0">
                    <a:pos x="229" y="673"/>
                  </a:cxn>
                  <a:cxn ang="0">
                    <a:pos x="277" y="673"/>
                  </a:cxn>
                  <a:cxn ang="0">
                    <a:pos x="308" y="669"/>
                  </a:cxn>
                  <a:cxn ang="0">
                    <a:pos x="342" y="669"/>
                  </a:cxn>
                  <a:cxn ang="0">
                    <a:pos x="382" y="678"/>
                  </a:cxn>
                  <a:cxn ang="0">
                    <a:pos x="373" y="649"/>
                  </a:cxn>
                  <a:cxn ang="0">
                    <a:pos x="432" y="593"/>
                  </a:cxn>
                  <a:cxn ang="0">
                    <a:pos x="403" y="567"/>
                  </a:cxn>
                  <a:cxn ang="0">
                    <a:pos x="347" y="511"/>
                  </a:cxn>
                  <a:cxn ang="0">
                    <a:pos x="333" y="461"/>
                  </a:cxn>
                  <a:cxn ang="0">
                    <a:pos x="352" y="449"/>
                  </a:cxn>
                  <a:cxn ang="0">
                    <a:pos x="463" y="400"/>
                  </a:cxn>
                  <a:cxn ang="0">
                    <a:pos x="503" y="397"/>
                  </a:cxn>
                  <a:cxn ang="0">
                    <a:pos x="512" y="363"/>
                  </a:cxn>
                  <a:cxn ang="0">
                    <a:pos x="501" y="300"/>
                  </a:cxn>
                  <a:cxn ang="0">
                    <a:pos x="492" y="256"/>
                  </a:cxn>
                  <a:cxn ang="0">
                    <a:pos x="479" y="207"/>
                  </a:cxn>
                  <a:cxn ang="0">
                    <a:pos x="458" y="130"/>
                  </a:cxn>
                  <a:cxn ang="0">
                    <a:pos x="414" y="85"/>
                  </a:cxn>
                  <a:cxn ang="0">
                    <a:pos x="379" y="83"/>
                  </a:cxn>
                  <a:cxn ang="0">
                    <a:pos x="319" y="106"/>
                  </a:cxn>
                  <a:cxn ang="0">
                    <a:pos x="314" y="87"/>
                  </a:cxn>
                  <a:cxn ang="0">
                    <a:pos x="284" y="59"/>
                  </a:cxn>
                  <a:cxn ang="0">
                    <a:pos x="260" y="15"/>
                  </a:cxn>
                  <a:cxn ang="0">
                    <a:pos x="225" y="2"/>
                  </a:cxn>
                </a:cxnLst>
                <a:rect l="0" t="0" r="r" b="b"/>
                <a:pathLst>
                  <a:path w="512" h="684">
                    <a:moveTo>
                      <a:pt x="212" y="0"/>
                    </a:moveTo>
                    <a:lnTo>
                      <a:pt x="201" y="7"/>
                    </a:lnTo>
                    <a:lnTo>
                      <a:pt x="201" y="15"/>
                    </a:lnTo>
                    <a:lnTo>
                      <a:pt x="203" y="22"/>
                    </a:lnTo>
                    <a:lnTo>
                      <a:pt x="205" y="33"/>
                    </a:lnTo>
                    <a:lnTo>
                      <a:pt x="207" y="48"/>
                    </a:lnTo>
                    <a:lnTo>
                      <a:pt x="201" y="54"/>
                    </a:lnTo>
                    <a:lnTo>
                      <a:pt x="201" y="63"/>
                    </a:lnTo>
                    <a:lnTo>
                      <a:pt x="203" y="72"/>
                    </a:lnTo>
                    <a:lnTo>
                      <a:pt x="218" y="85"/>
                    </a:lnTo>
                    <a:lnTo>
                      <a:pt x="227" y="87"/>
                    </a:lnTo>
                    <a:lnTo>
                      <a:pt x="231" y="107"/>
                    </a:lnTo>
                    <a:lnTo>
                      <a:pt x="210" y="102"/>
                    </a:lnTo>
                    <a:lnTo>
                      <a:pt x="199" y="91"/>
                    </a:lnTo>
                    <a:lnTo>
                      <a:pt x="190" y="96"/>
                    </a:lnTo>
                    <a:lnTo>
                      <a:pt x="173" y="117"/>
                    </a:lnTo>
                    <a:lnTo>
                      <a:pt x="166" y="124"/>
                    </a:lnTo>
                    <a:lnTo>
                      <a:pt x="158" y="122"/>
                    </a:lnTo>
                    <a:lnTo>
                      <a:pt x="157" y="113"/>
                    </a:lnTo>
                    <a:lnTo>
                      <a:pt x="151" y="106"/>
                    </a:lnTo>
                    <a:lnTo>
                      <a:pt x="136" y="100"/>
                    </a:lnTo>
                    <a:lnTo>
                      <a:pt x="114" y="100"/>
                    </a:lnTo>
                    <a:lnTo>
                      <a:pt x="107" y="109"/>
                    </a:lnTo>
                    <a:lnTo>
                      <a:pt x="95" y="122"/>
                    </a:lnTo>
                    <a:lnTo>
                      <a:pt x="105" y="131"/>
                    </a:lnTo>
                    <a:lnTo>
                      <a:pt x="105" y="148"/>
                    </a:lnTo>
                    <a:lnTo>
                      <a:pt x="103" y="157"/>
                    </a:lnTo>
                    <a:lnTo>
                      <a:pt x="99" y="165"/>
                    </a:lnTo>
                    <a:lnTo>
                      <a:pt x="86" y="174"/>
                    </a:lnTo>
                    <a:lnTo>
                      <a:pt x="82" y="176"/>
                    </a:lnTo>
                    <a:lnTo>
                      <a:pt x="84" y="189"/>
                    </a:lnTo>
                    <a:lnTo>
                      <a:pt x="90" y="198"/>
                    </a:lnTo>
                    <a:lnTo>
                      <a:pt x="86" y="209"/>
                    </a:lnTo>
                    <a:lnTo>
                      <a:pt x="77" y="222"/>
                    </a:lnTo>
                    <a:lnTo>
                      <a:pt x="66" y="235"/>
                    </a:lnTo>
                    <a:lnTo>
                      <a:pt x="58" y="244"/>
                    </a:lnTo>
                    <a:lnTo>
                      <a:pt x="45" y="254"/>
                    </a:lnTo>
                    <a:lnTo>
                      <a:pt x="35" y="257"/>
                    </a:lnTo>
                    <a:lnTo>
                      <a:pt x="28" y="272"/>
                    </a:lnTo>
                    <a:lnTo>
                      <a:pt x="26" y="294"/>
                    </a:lnTo>
                    <a:lnTo>
                      <a:pt x="19" y="307"/>
                    </a:lnTo>
                    <a:lnTo>
                      <a:pt x="19" y="326"/>
                    </a:lnTo>
                    <a:lnTo>
                      <a:pt x="11" y="335"/>
                    </a:lnTo>
                    <a:lnTo>
                      <a:pt x="9" y="341"/>
                    </a:lnTo>
                    <a:lnTo>
                      <a:pt x="15" y="350"/>
                    </a:lnTo>
                    <a:lnTo>
                      <a:pt x="19" y="365"/>
                    </a:lnTo>
                    <a:lnTo>
                      <a:pt x="28" y="378"/>
                    </a:lnTo>
                    <a:lnTo>
                      <a:pt x="2" y="400"/>
                    </a:lnTo>
                    <a:lnTo>
                      <a:pt x="7" y="413"/>
                    </a:lnTo>
                    <a:lnTo>
                      <a:pt x="17" y="422"/>
                    </a:lnTo>
                    <a:lnTo>
                      <a:pt x="19" y="424"/>
                    </a:lnTo>
                    <a:lnTo>
                      <a:pt x="19" y="433"/>
                    </a:lnTo>
                    <a:lnTo>
                      <a:pt x="6" y="442"/>
                    </a:lnTo>
                    <a:lnTo>
                      <a:pt x="0" y="455"/>
                    </a:lnTo>
                    <a:lnTo>
                      <a:pt x="6" y="472"/>
                    </a:lnTo>
                    <a:lnTo>
                      <a:pt x="13" y="483"/>
                    </a:lnTo>
                    <a:lnTo>
                      <a:pt x="28" y="489"/>
                    </a:lnTo>
                    <a:lnTo>
                      <a:pt x="47" y="492"/>
                    </a:lnTo>
                    <a:lnTo>
                      <a:pt x="66" y="494"/>
                    </a:lnTo>
                    <a:lnTo>
                      <a:pt x="81" y="496"/>
                    </a:lnTo>
                    <a:lnTo>
                      <a:pt x="92" y="504"/>
                    </a:lnTo>
                    <a:lnTo>
                      <a:pt x="103" y="513"/>
                    </a:lnTo>
                    <a:lnTo>
                      <a:pt x="90" y="520"/>
                    </a:lnTo>
                    <a:lnTo>
                      <a:pt x="79" y="531"/>
                    </a:lnTo>
                    <a:lnTo>
                      <a:pt x="68" y="541"/>
                    </a:lnTo>
                    <a:lnTo>
                      <a:pt x="66" y="553"/>
                    </a:lnTo>
                    <a:lnTo>
                      <a:pt x="60" y="580"/>
                    </a:lnTo>
                    <a:lnTo>
                      <a:pt x="51" y="597"/>
                    </a:lnTo>
                    <a:lnTo>
                      <a:pt x="45" y="608"/>
                    </a:lnTo>
                    <a:lnTo>
                      <a:pt x="60" y="628"/>
                    </a:lnTo>
                    <a:lnTo>
                      <a:pt x="64" y="634"/>
                    </a:lnTo>
                    <a:lnTo>
                      <a:pt x="73" y="641"/>
                    </a:lnTo>
                    <a:lnTo>
                      <a:pt x="82" y="640"/>
                    </a:lnTo>
                    <a:lnTo>
                      <a:pt x="94" y="634"/>
                    </a:lnTo>
                    <a:lnTo>
                      <a:pt x="99" y="628"/>
                    </a:lnTo>
                    <a:lnTo>
                      <a:pt x="101" y="625"/>
                    </a:lnTo>
                    <a:lnTo>
                      <a:pt x="118" y="628"/>
                    </a:lnTo>
                    <a:lnTo>
                      <a:pt x="125" y="638"/>
                    </a:lnTo>
                    <a:lnTo>
                      <a:pt x="131" y="649"/>
                    </a:lnTo>
                    <a:lnTo>
                      <a:pt x="138" y="658"/>
                    </a:lnTo>
                    <a:lnTo>
                      <a:pt x="149" y="660"/>
                    </a:lnTo>
                    <a:lnTo>
                      <a:pt x="171" y="658"/>
                    </a:lnTo>
                    <a:lnTo>
                      <a:pt x="182" y="656"/>
                    </a:lnTo>
                    <a:lnTo>
                      <a:pt x="197" y="667"/>
                    </a:lnTo>
                    <a:lnTo>
                      <a:pt x="208" y="662"/>
                    </a:lnTo>
                    <a:lnTo>
                      <a:pt x="219" y="665"/>
                    </a:lnTo>
                    <a:lnTo>
                      <a:pt x="229" y="673"/>
                    </a:lnTo>
                    <a:lnTo>
                      <a:pt x="247" y="665"/>
                    </a:lnTo>
                    <a:lnTo>
                      <a:pt x="264" y="665"/>
                    </a:lnTo>
                    <a:lnTo>
                      <a:pt x="277" y="673"/>
                    </a:lnTo>
                    <a:lnTo>
                      <a:pt x="286" y="677"/>
                    </a:lnTo>
                    <a:lnTo>
                      <a:pt x="297" y="669"/>
                    </a:lnTo>
                    <a:lnTo>
                      <a:pt x="308" y="669"/>
                    </a:lnTo>
                    <a:lnTo>
                      <a:pt x="327" y="665"/>
                    </a:lnTo>
                    <a:lnTo>
                      <a:pt x="340" y="673"/>
                    </a:lnTo>
                    <a:lnTo>
                      <a:pt x="342" y="669"/>
                    </a:lnTo>
                    <a:lnTo>
                      <a:pt x="356" y="678"/>
                    </a:lnTo>
                    <a:lnTo>
                      <a:pt x="368" y="684"/>
                    </a:lnTo>
                    <a:lnTo>
                      <a:pt x="382" y="678"/>
                    </a:lnTo>
                    <a:lnTo>
                      <a:pt x="384" y="669"/>
                    </a:lnTo>
                    <a:lnTo>
                      <a:pt x="375" y="656"/>
                    </a:lnTo>
                    <a:lnTo>
                      <a:pt x="373" y="649"/>
                    </a:lnTo>
                    <a:lnTo>
                      <a:pt x="368" y="627"/>
                    </a:lnTo>
                    <a:lnTo>
                      <a:pt x="419" y="593"/>
                    </a:lnTo>
                    <a:lnTo>
                      <a:pt x="432" y="593"/>
                    </a:lnTo>
                    <a:lnTo>
                      <a:pt x="434" y="588"/>
                    </a:lnTo>
                    <a:lnTo>
                      <a:pt x="416" y="581"/>
                    </a:lnTo>
                    <a:lnTo>
                      <a:pt x="403" y="567"/>
                    </a:lnTo>
                    <a:lnTo>
                      <a:pt x="370" y="538"/>
                    </a:lnTo>
                    <a:lnTo>
                      <a:pt x="366" y="515"/>
                    </a:lnTo>
                    <a:lnTo>
                      <a:pt x="347" y="511"/>
                    </a:lnTo>
                    <a:lnTo>
                      <a:pt x="345" y="489"/>
                    </a:lnTo>
                    <a:lnTo>
                      <a:pt x="341" y="470"/>
                    </a:lnTo>
                    <a:lnTo>
                      <a:pt x="333" y="461"/>
                    </a:lnTo>
                    <a:lnTo>
                      <a:pt x="338" y="452"/>
                    </a:lnTo>
                    <a:lnTo>
                      <a:pt x="342" y="448"/>
                    </a:lnTo>
                    <a:lnTo>
                      <a:pt x="352" y="449"/>
                    </a:lnTo>
                    <a:lnTo>
                      <a:pt x="383" y="440"/>
                    </a:lnTo>
                    <a:lnTo>
                      <a:pt x="449" y="406"/>
                    </a:lnTo>
                    <a:lnTo>
                      <a:pt x="463" y="400"/>
                    </a:lnTo>
                    <a:lnTo>
                      <a:pt x="477" y="391"/>
                    </a:lnTo>
                    <a:lnTo>
                      <a:pt x="488" y="403"/>
                    </a:lnTo>
                    <a:lnTo>
                      <a:pt x="503" y="397"/>
                    </a:lnTo>
                    <a:lnTo>
                      <a:pt x="507" y="382"/>
                    </a:lnTo>
                    <a:lnTo>
                      <a:pt x="506" y="373"/>
                    </a:lnTo>
                    <a:lnTo>
                      <a:pt x="512" y="363"/>
                    </a:lnTo>
                    <a:lnTo>
                      <a:pt x="504" y="351"/>
                    </a:lnTo>
                    <a:lnTo>
                      <a:pt x="495" y="330"/>
                    </a:lnTo>
                    <a:lnTo>
                      <a:pt x="501" y="300"/>
                    </a:lnTo>
                    <a:lnTo>
                      <a:pt x="491" y="285"/>
                    </a:lnTo>
                    <a:lnTo>
                      <a:pt x="487" y="270"/>
                    </a:lnTo>
                    <a:lnTo>
                      <a:pt x="492" y="256"/>
                    </a:lnTo>
                    <a:lnTo>
                      <a:pt x="489" y="244"/>
                    </a:lnTo>
                    <a:lnTo>
                      <a:pt x="468" y="221"/>
                    </a:lnTo>
                    <a:lnTo>
                      <a:pt x="479" y="207"/>
                    </a:lnTo>
                    <a:lnTo>
                      <a:pt x="479" y="183"/>
                    </a:lnTo>
                    <a:lnTo>
                      <a:pt x="481" y="155"/>
                    </a:lnTo>
                    <a:lnTo>
                      <a:pt x="458" y="130"/>
                    </a:lnTo>
                    <a:lnTo>
                      <a:pt x="447" y="115"/>
                    </a:lnTo>
                    <a:lnTo>
                      <a:pt x="434" y="102"/>
                    </a:lnTo>
                    <a:lnTo>
                      <a:pt x="414" y="85"/>
                    </a:lnTo>
                    <a:lnTo>
                      <a:pt x="401" y="76"/>
                    </a:lnTo>
                    <a:lnTo>
                      <a:pt x="392" y="74"/>
                    </a:lnTo>
                    <a:lnTo>
                      <a:pt x="379" y="83"/>
                    </a:lnTo>
                    <a:lnTo>
                      <a:pt x="369" y="89"/>
                    </a:lnTo>
                    <a:lnTo>
                      <a:pt x="340" y="111"/>
                    </a:lnTo>
                    <a:lnTo>
                      <a:pt x="319" y="106"/>
                    </a:lnTo>
                    <a:lnTo>
                      <a:pt x="310" y="106"/>
                    </a:lnTo>
                    <a:lnTo>
                      <a:pt x="310" y="98"/>
                    </a:lnTo>
                    <a:lnTo>
                      <a:pt x="314" y="87"/>
                    </a:lnTo>
                    <a:lnTo>
                      <a:pt x="319" y="78"/>
                    </a:lnTo>
                    <a:lnTo>
                      <a:pt x="292" y="61"/>
                    </a:lnTo>
                    <a:lnTo>
                      <a:pt x="284" y="59"/>
                    </a:lnTo>
                    <a:lnTo>
                      <a:pt x="271" y="48"/>
                    </a:lnTo>
                    <a:lnTo>
                      <a:pt x="266" y="28"/>
                    </a:lnTo>
                    <a:lnTo>
                      <a:pt x="260" y="15"/>
                    </a:lnTo>
                    <a:lnTo>
                      <a:pt x="251" y="17"/>
                    </a:lnTo>
                    <a:lnTo>
                      <a:pt x="240" y="4"/>
                    </a:lnTo>
                    <a:lnTo>
                      <a:pt x="225" y="2"/>
                    </a:lnTo>
                    <a:lnTo>
                      <a:pt x="212"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sp>
          <p:nvSpPr>
            <p:cNvPr id="21" name="Freeform 20"/>
            <p:cNvSpPr>
              <a:spLocks/>
            </p:cNvSpPr>
            <p:nvPr>
              <p:custDataLst>
                <p:tags r:id="rId17"/>
              </p:custDataLst>
            </p:nvPr>
          </p:nvSpPr>
          <p:spPr bwMode="auto">
            <a:xfrm>
              <a:off x="2880672" y="3709637"/>
              <a:ext cx="787307" cy="737372"/>
            </a:xfrm>
            <a:custGeom>
              <a:avLst/>
              <a:gdLst/>
              <a:ahLst/>
              <a:cxnLst>
                <a:cxn ang="0">
                  <a:pos x="11" y="130"/>
                </a:cxn>
                <a:cxn ang="0">
                  <a:pos x="0" y="165"/>
                </a:cxn>
                <a:cxn ang="0">
                  <a:pos x="24" y="198"/>
                </a:cxn>
                <a:cxn ang="0">
                  <a:pos x="20" y="226"/>
                </a:cxn>
                <a:cxn ang="0">
                  <a:pos x="30" y="250"/>
                </a:cxn>
                <a:cxn ang="0">
                  <a:pos x="37" y="297"/>
                </a:cxn>
                <a:cxn ang="0">
                  <a:pos x="39" y="315"/>
                </a:cxn>
                <a:cxn ang="0">
                  <a:pos x="33" y="332"/>
                </a:cxn>
                <a:cxn ang="0">
                  <a:pos x="48" y="341"/>
                </a:cxn>
                <a:cxn ang="0">
                  <a:pos x="63" y="352"/>
                </a:cxn>
                <a:cxn ang="0">
                  <a:pos x="78" y="380"/>
                </a:cxn>
                <a:cxn ang="0">
                  <a:pos x="95" y="399"/>
                </a:cxn>
                <a:cxn ang="0">
                  <a:pos x="127" y="408"/>
                </a:cxn>
                <a:cxn ang="0">
                  <a:pos x="149" y="406"/>
                </a:cxn>
                <a:cxn ang="0">
                  <a:pos x="181" y="436"/>
                </a:cxn>
                <a:cxn ang="0">
                  <a:pos x="219" y="452"/>
                </a:cxn>
                <a:cxn ang="0">
                  <a:pos x="247" y="447"/>
                </a:cxn>
                <a:cxn ang="0">
                  <a:pos x="277" y="467"/>
                </a:cxn>
                <a:cxn ang="0">
                  <a:pos x="292" y="469"/>
                </a:cxn>
                <a:cxn ang="0">
                  <a:pos x="314" y="478"/>
                </a:cxn>
                <a:cxn ang="0">
                  <a:pos x="340" y="498"/>
                </a:cxn>
                <a:cxn ang="0">
                  <a:pos x="362" y="501"/>
                </a:cxn>
                <a:cxn ang="0">
                  <a:pos x="379" y="490"/>
                </a:cxn>
                <a:cxn ang="0">
                  <a:pos x="482" y="518"/>
                </a:cxn>
                <a:cxn ang="0">
                  <a:pos x="486" y="490"/>
                </a:cxn>
                <a:cxn ang="0">
                  <a:pos x="536" y="408"/>
                </a:cxn>
                <a:cxn ang="0">
                  <a:pos x="551" y="374"/>
                </a:cxn>
                <a:cxn ang="0">
                  <a:pos x="532" y="324"/>
                </a:cxn>
                <a:cxn ang="0">
                  <a:pos x="505" y="287"/>
                </a:cxn>
                <a:cxn ang="0">
                  <a:pos x="505" y="254"/>
                </a:cxn>
                <a:cxn ang="0">
                  <a:pos x="503" y="226"/>
                </a:cxn>
                <a:cxn ang="0">
                  <a:pos x="503" y="208"/>
                </a:cxn>
                <a:cxn ang="0">
                  <a:pos x="523" y="182"/>
                </a:cxn>
                <a:cxn ang="0">
                  <a:pos x="514" y="128"/>
                </a:cxn>
                <a:cxn ang="0">
                  <a:pos x="508" y="91"/>
                </a:cxn>
                <a:cxn ang="0">
                  <a:pos x="482" y="59"/>
                </a:cxn>
                <a:cxn ang="0">
                  <a:pos x="418" y="56"/>
                </a:cxn>
                <a:cxn ang="0">
                  <a:pos x="344" y="50"/>
                </a:cxn>
                <a:cxn ang="0">
                  <a:pos x="305" y="39"/>
                </a:cxn>
                <a:cxn ang="0">
                  <a:pos x="281" y="52"/>
                </a:cxn>
                <a:cxn ang="0">
                  <a:pos x="258" y="37"/>
                </a:cxn>
                <a:cxn ang="0">
                  <a:pos x="240" y="32"/>
                </a:cxn>
                <a:cxn ang="0">
                  <a:pos x="219" y="2"/>
                </a:cxn>
                <a:cxn ang="0">
                  <a:pos x="184" y="6"/>
                </a:cxn>
                <a:cxn ang="0">
                  <a:pos x="151" y="20"/>
                </a:cxn>
                <a:cxn ang="0">
                  <a:pos x="99" y="43"/>
                </a:cxn>
                <a:cxn ang="0">
                  <a:pos x="52" y="63"/>
                </a:cxn>
                <a:cxn ang="0">
                  <a:pos x="24" y="91"/>
                </a:cxn>
              </a:cxnLst>
              <a:rect l="0" t="0" r="r" b="b"/>
              <a:pathLst>
                <a:path w="551" h="518">
                  <a:moveTo>
                    <a:pt x="13" y="98"/>
                  </a:moveTo>
                  <a:lnTo>
                    <a:pt x="11" y="130"/>
                  </a:lnTo>
                  <a:lnTo>
                    <a:pt x="11" y="150"/>
                  </a:lnTo>
                  <a:lnTo>
                    <a:pt x="0" y="165"/>
                  </a:lnTo>
                  <a:lnTo>
                    <a:pt x="22" y="191"/>
                  </a:lnTo>
                  <a:lnTo>
                    <a:pt x="24" y="198"/>
                  </a:lnTo>
                  <a:lnTo>
                    <a:pt x="19" y="215"/>
                  </a:lnTo>
                  <a:lnTo>
                    <a:pt x="20" y="226"/>
                  </a:lnTo>
                  <a:lnTo>
                    <a:pt x="31" y="241"/>
                  </a:lnTo>
                  <a:lnTo>
                    <a:pt x="30" y="250"/>
                  </a:lnTo>
                  <a:lnTo>
                    <a:pt x="28" y="278"/>
                  </a:lnTo>
                  <a:lnTo>
                    <a:pt x="37" y="297"/>
                  </a:lnTo>
                  <a:lnTo>
                    <a:pt x="44" y="308"/>
                  </a:lnTo>
                  <a:lnTo>
                    <a:pt x="39" y="315"/>
                  </a:lnTo>
                  <a:lnTo>
                    <a:pt x="39" y="326"/>
                  </a:lnTo>
                  <a:lnTo>
                    <a:pt x="33" y="332"/>
                  </a:lnTo>
                  <a:lnTo>
                    <a:pt x="33" y="339"/>
                  </a:lnTo>
                  <a:lnTo>
                    <a:pt x="48" y="341"/>
                  </a:lnTo>
                  <a:lnTo>
                    <a:pt x="59" y="345"/>
                  </a:lnTo>
                  <a:lnTo>
                    <a:pt x="63" y="352"/>
                  </a:lnTo>
                  <a:lnTo>
                    <a:pt x="63" y="365"/>
                  </a:lnTo>
                  <a:lnTo>
                    <a:pt x="78" y="380"/>
                  </a:lnTo>
                  <a:lnTo>
                    <a:pt x="92" y="386"/>
                  </a:lnTo>
                  <a:lnTo>
                    <a:pt x="95" y="399"/>
                  </a:lnTo>
                  <a:lnTo>
                    <a:pt x="112" y="421"/>
                  </a:lnTo>
                  <a:lnTo>
                    <a:pt x="127" y="408"/>
                  </a:lnTo>
                  <a:lnTo>
                    <a:pt x="140" y="404"/>
                  </a:lnTo>
                  <a:lnTo>
                    <a:pt x="149" y="406"/>
                  </a:lnTo>
                  <a:lnTo>
                    <a:pt x="175" y="434"/>
                  </a:lnTo>
                  <a:lnTo>
                    <a:pt x="181" y="436"/>
                  </a:lnTo>
                  <a:lnTo>
                    <a:pt x="212" y="450"/>
                  </a:lnTo>
                  <a:lnTo>
                    <a:pt x="219" y="452"/>
                  </a:lnTo>
                  <a:lnTo>
                    <a:pt x="232" y="449"/>
                  </a:lnTo>
                  <a:lnTo>
                    <a:pt x="247" y="447"/>
                  </a:lnTo>
                  <a:lnTo>
                    <a:pt x="260" y="452"/>
                  </a:lnTo>
                  <a:lnTo>
                    <a:pt x="277" y="467"/>
                  </a:lnTo>
                  <a:lnTo>
                    <a:pt x="284" y="475"/>
                  </a:lnTo>
                  <a:lnTo>
                    <a:pt x="292" y="469"/>
                  </a:lnTo>
                  <a:lnTo>
                    <a:pt x="301" y="467"/>
                  </a:lnTo>
                  <a:lnTo>
                    <a:pt x="314" y="478"/>
                  </a:lnTo>
                  <a:lnTo>
                    <a:pt x="329" y="490"/>
                  </a:lnTo>
                  <a:lnTo>
                    <a:pt x="340" y="498"/>
                  </a:lnTo>
                  <a:lnTo>
                    <a:pt x="355" y="503"/>
                  </a:lnTo>
                  <a:lnTo>
                    <a:pt x="362" y="501"/>
                  </a:lnTo>
                  <a:lnTo>
                    <a:pt x="369" y="494"/>
                  </a:lnTo>
                  <a:lnTo>
                    <a:pt x="379" y="490"/>
                  </a:lnTo>
                  <a:lnTo>
                    <a:pt x="397" y="496"/>
                  </a:lnTo>
                  <a:lnTo>
                    <a:pt x="482" y="518"/>
                  </a:lnTo>
                  <a:lnTo>
                    <a:pt x="495" y="507"/>
                  </a:lnTo>
                  <a:lnTo>
                    <a:pt x="486" y="490"/>
                  </a:lnTo>
                  <a:lnTo>
                    <a:pt x="477" y="462"/>
                  </a:lnTo>
                  <a:lnTo>
                    <a:pt x="536" y="408"/>
                  </a:lnTo>
                  <a:lnTo>
                    <a:pt x="547" y="395"/>
                  </a:lnTo>
                  <a:lnTo>
                    <a:pt x="551" y="374"/>
                  </a:lnTo>
                  <a:lnTo>
                    <a:pt x="542" y="347"/>
                  </a:lnTo>
                  <a:lnTo>
                    <a:pt x="532" y="324"/>
                  </a:lnTo>
                  <a:lnTo>
                    <a:pt x="516" y="298"/>
                  </a:lnTo>
                  <a:lnTo>
                    <a:pt x="505" y="287"/>
                  </a:lnTo>
                  <a:lnTo>
                    <a:pt x="503" y="271"/>
                  </a:lnTo>
                  <a:lnTo>
                    <a:pt x="505" y="254"/>
                  </a:lnTo>
                  <a:lnTo>
                    <a:pt x="510" y="237"/>
                  </a:lnTo>
                  <a:lnTo>
                    <a:pt x="503" y="226"/>
                  </a:lnTo>
                  <a:lnTo>
                    <a:pt x="494" y="219"/>
                  </a:lnTo>
                  <a:lnTo>
                    <a:pt x="503" y="208"/>
                  </a:lnTo>
                  <a:lnTo>
                    <a:pt x="518" y="187"/>
                  </a:lnTo>
                  <a:lnTo>
                    <a:pt x="523" y="182"/>
                  </a:lnTo>
                  <a:lnTo>
                    <a:pt x="520" y="146"/>
                  </a:lnTo>
                  <a:lnTo>
                    <a:pt x="514" y="128"/>
                  </a:lnTo>
                  <a:lnTo>
                    <a:pt x="508" y="109"/>
                  </a:lnTo>
                  <a:lnTo>
                    <a:pt x="508" y="91"/>
                  </a:lnTo>
                  <a:lnTo>
                    <a:pt x="497" y="74"/>
                  </a:lnTo>
                  <a:lnTo>
                    <a:pt x="482" y="59"/>
                  </a:lnTo>
                  <a:lnTo>
                    <a:pt x="466" y="57"/>
                  </a:lnTo>
                  <a:lnTo>
                    <a:pt x="418" y="56"/>
                  </a:lnTo>
                  <a:lnTo>
                    <a:pt x="392" y="54"/>
                  </a:lnTo>
                  <a:lnTo>
                    <a:pt x="344" y="50"/>
                  </a:lnTo>
                  <a:lnTo>
                    <a:pt x="325" y="41"/>
                  </a:lnTo>
                  <a:lnTo>
                    <a:pt x="305" y="39"/>
                  </a:lnTo>
                  <a:lnTo>
                    <a:pt x="294" y="43"/>
                  </a:lnTo>
                  <a:lnTo>
                    <a:pt x="281" y="52"/>
                  </a:lnTo>
                  <a:lnTo>
                    <a:pt x="269" y="48"/>
                  </a:lnTo>
                  <a:lnTo>
                    <a:pt x="258" y="37"/>
                  </a:lnTo>
                  <a:lnTo>
                    <a:pt x="245" y="37"/>
                  </a:lnTo>
                  <a:lnTo>
                    <a:pt x="240" y="32"/>
                  </a:lnTo>
                  <a:lnTo>
                    <a:pt x="236" y="15"/>
                  </a:lnTo>
                  <a:lnTo>
                    <a:pt x="219" y="2"/>
                  </a:lnTo>
                  <a:lnTo>
                    <a:pt x="207" y="0"/>
                  </a:lnTo>
                  <a:lnTo>
                    <a:pt x="184" y="6"/>
                  </a:lnTo>
                  <a:lnTo>
                    <a:pt x="166" y="11"/>
                  </a:lnTo>
                  <a:lnTo>
                    <a:pt x="151" y="20"/>
                  </a:lnTo>
                  <a:lnTo>
                    <a:pt x="125" y="35"/>
                  </a:lnTo>
                  <a:lnTo>
                    <a:pt x="99" y="43"/>
                  </a:lnTo>
                  <a:lnTo>
                    <a:pt x="76" y="52"/>
                  </a:lnTo>
                  <a:lnTo>
                    <a:pt x="52" y="63"/>
                  </a:lnTo>
                  <a:lnTo>
                    <a:pt x="39" y="78"/>
                  </a:lnTo>
                  <a:lnTo>
                    <a:pt x="24" y="91"/>
                  </a:lnTo>
                  <a:lnTo>
                    <a:pt x="13" y="98"/>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2" name="Freeform 21"/>
            <p:cNvSpPr>
              <a:spLocks/>
            </p:cNvSpPr>
            <p:nvPr>
              <p:custDataLst>
                <p:tags r:id="rId18"/>
              </p:custDataLst>
            </p:nvPr>
          </p:nvSpPr>
          <p:spPr bwMode="auto">
            <a:xfrm>
              <a:off x="3411646" y="3524878"/>
              <a:ext cx="409466" cy="321248"/>
            </a:xfrm>
            <a:custGeom>
              <a:avLst/>
              <a:gdLst/>
              <a:ahLst/>
              <a:cxnLst>
                <a:cxn ang="0">
                  <a:pos x="2" y="24"/>
                </a:cxn>
                <a:cxn ang="0">
                  <a:pos x="0" y="31"/>
                </a:cxn>
                <a:cxn ang="0">
                  <a:pos x="4" y="58"/>
                </a:cxn>
                <a:cxn ang="0">
                  <a:pos x="17" y="97"/>
                </a:cxn>
                <a:cxn ang="0">
                  <a:pos x="28" y="108"/>
                </a:cxn>
                <a:cxn ang="0">
                  <a:pos x="54" y="118"/>
                </a:cxn>
                <a:cxn ang="0">
                  <a:pos x="65" y="121"/>
                </a:cxn>
                <a:cxn ang="0">
                  <a:pos x="67" y="134"/>
                </a:cxn>
                <a:cxn ang="0">
                  <a:pos x="67" y="156"/>
                </a:cxn>
                <a:cxn ang="0">
                  <a:pos x="93" y="182"/>
                </a:cxn>
                <a:cxn ang="0">
                  <a:pos x="109" y="190"/>
                </a:cxn>
                <a:cxn ang="0">
                  <a:pos x="117" y="194"/>
                </a:cxn>
                <a:cxn ang="0">
                  <a:pos x="139" y="221"/>
                </a:cxn>
                <a:cxn ang="0">
                  <a:pos x="146" y="216"/>
                </a:cxn>
                <a:cxn ang="0">
                  <a:pos x="161" y="214"/>
                </a:cxn>
                <a:cxn ang="0">
                  <a:pos x="178" y="225"/>
                </a:cxn>
                <a:cxn ang="0">
                  <a:pos x="191" y="218"/>
                </a:cxn>
                <a:cxn ang="0">
                  <a:pos x="209" y="197"/>
                </a:cxn>
                <a:cxn ang="0">
                  <a:pos x="222" y="190"/>
                </a:cxn>
                <a:cxn ang="0">
                  <a:pos x="236" y="195"/>
                </a:cxn>
                <a:cxn ang="0">
                  <a:pos x="244" y="192"/>
                </a:cxn>
                <a:cxn ang="0">
                  <a:pos x="245" y="184"/>
                </a:cxn>
                <a:cxn ang="0">
                  <a:pos x="247" y="142"/>
                </a:cxn>
                <a:cxn ang="0">
                  <a:pos x="255" y="129"/>
                </a:cxn>
                <a:cxn ang="0">
                  <a:pos x="255" y="110"/>
                </a:cxn>
                <a:cxn ang="0">
                  <a:pos x="258" y="103"/>
                </a:cxn>
                <a:cxn ang="0">
                  <a:pos x="273" y="92"/>
                </a:cxn>
                <a:cxn ang="0">
                  <a:pos x="288" y="90"/>
                </a:cxn>
                <a:cxn ang="0">
                  <a:pos x="288" y="69"/>
                </a:cxn>
                <a:cxn ang="0">
                  <a:pos x="284" y="53"/>
                </a:cxn>
                <a:cxn ang="0">
                  <a:pos x="273" y="47"/>
                </a:cxn>
                <a:cxn ang="0">
                  <a:pos x="268" y="49"/>
                </a:cxn>
                <a:cxn ang="0">
                  <a:pos x="249" y="31"/>
                </a:cxn>
                <a:cxn ang="0">
                  <a:pos x="238" y="19"/>
                </a:cxn>
                <a:cxn ang="0">
                  <a:pos x="224" y="19"/>
                </a:cxn>
                <a:cxn ang="0">
                  <a:pos x="198" y="19"/>
                </a:cxn>
                <a:cxn ang="0">
                  <a:pos x="193" y="15"/>
                </a:cxn>
                <a:cxn ang="0">
                  <a:pos x="187" y="2"/>
                </a:cxn>
                <a:cxn ang="0">
                  <a:pos x="180" y="0"/>
                </a:cxn>
                <a:cxn ang="0">
                  <a:pos x="157" y="0"/>
                </a:cxn>
                <a:cxn ang="0">
                  <a:pos x="148" y="11"/>
                </a:cxn>
                <a:cxn ang="0">
                  <a:pos x="139" y="9"/>
                </a:cxn>
                <a:cxn ang="0">
                  <a:pos x="124" y="6"/>
                </a:cxn>
                <a:cxn ang="0">
                  <a:pos x="117" y="4"/>
                </a:cxn>
                <a:cxn ang="0">
                  <a:pos x="106" y="7"/>
                </a:cxn>
                <a:cxn ang="0">
                  <a:pos x="98" y="13"/>
                </a:cxn>
                <a:cxn ang="0">
                  <a:pos x="83" y="7"/>
                </a:cxn>
                <a:cxn ang="0">
                  <a:pos x="52" y="2"/>
                </a:cxn>
                <a:cxn ang="0">
                  <a:pos x="44" y="0"/>
                </a:cxn>
                <a:cxn ang="0">
                  <a:pos x="35" y="7"/>
                </a:cxn>
                <a:cxn ang="0">
                  <a:pos x="20" y="17"/>
                </a:cxn>
                <a:cxn ang="0">
                  <a:pos x="2" y="24"/>
                </a:cxn>
              </a:cxnLst>
              <a:rect l="0" t="0" r="r" b="b"/>
              <a:pathLst>
                <a:path w="288" h="225">
                  <a:moveTo>
                    <a:pt x="2" y="24"/>
                  </a:moveTo>
                  <a:lnTo>
                    <a:pt x="0" y="31"/>
                  </a:lnTo>
                  <a:lnTo>
                    <a:pt x="4" y="58"/>
                  </a:lnTo>
                  <a:lnTo>
                    <a:pt x="17" y="97"/>
                  </a:lnTo>
                  <a:lnTo>
                    <a:pt x="28" y="108"/>
                  </a:lnTo>
                  <a:lnTo>
                    <a:pt x="54" y="118"/>
                  </a:lnTo>
                  <a:lnTo>
                    <a:pt x="65" y="121"/>
                  </a:lnTo>
                  <a:lnTo>
                    <a:pt x="67" y="134"/>
                  </a:lnTo>
                  <a:lnTo>
                    <a:pt x="67" y="156"/>
                  </a:lnTo>
                  <a:lnTo>
                    <a:pt x="93" y="182"/>
                  </a:lnTo>
                  <a:lnTo>
                    <a:pt x="109" y="190"/>
                  </a:lnTo>
                  <a:lnTo>
                    <a:pt x="117" y="194"/>
                  </a:lnTo>
                  <a:lnTo>
                    <a:pt x="139" y="221"/>
                  </a:lnTo>
                  <a:lnTo>
                    <a:pt x="146" y="216"/>
                  </a:lnTo>
                  <a:lnTo>
                    <a:pt x="161" y="214"/>
                  </a:lnTo>
                  <a:lnTo>
                    <a:pt x="178" y="225"/>
                  </a:lnTo>
                  <a:lnTo>
                    <a:pt x="191" y="218"/>
                  </a:lnTo>
                  <a:lnTo>
                    <a:pt x="209" y="197"/>
                  </a:lnTo>
                  <a:lnTo>
                    <a:pt x="222" y="190"/>
                  </a:lnTo>
                  <a:lnTo>
                    <a:pt x="236" y="195"/>
                  </a:lnTo>
                  <a:lnTo>
                    <a:pt x="244" y="192"/>
                  </a:lnTo>
                  <a:lnTo>
                    <a:pt x="245" y="184"/>
                  </a:lnTo>
                  <a:lnTo>
                    <a:pt x="247" y="142"/>
                  </a:lnTo>
                  <a:lnTo>
                    <a:pt x="255" y="129"/>
                  </a:lnTo>
                  <a:lnTo>
                    <a:pt x="255" y="110"/>
                  </a:lnTo>
                  <a:lnTo>
                    <a:pt x="258" y="103"/>
                  </a:lnTo>
                  <a:lnTo>
                    <a:pt x="273" y="92"/>
                  </a:lnTo>
                  <a:lnTo>
                    <a:pt x="288" y="90"/>
                  </a:lnTo>
                  <a:lnTo>
                    <a:pt x="288" y="69"/>
                  </a:lnTo>
                  <a:lnTo>
                    <a:pt x="284" y="53"/>
                  </a:lnTo>
                  <a:lnTo>
                    <a:pt x="273" y="47"/>
                  </a:lnTo>
                  <a:lnTo>
                    <a:pt x="268" y="49"/>
                  </a:lnTo>
                  <a:lnTo>
                    <a:pt x="249" y="31"/>
                  </a:lnTo>
                  <a:lnTo>
                    <a:pt x="238" y="19"/>
                  </a:lnTo>
                  <a:lnTo>
                    <a:pt x="224" y="19"/>
                  </a:lnTo>
                  <a:lnTo>
                    <a:pt x="198" y="19"/>
                  </a:lnTo>
                  <a:lnTo>
                    <a:pt x="193" y="15"/>
                  </a:lnTo>
                  <a:lnTo>
                    <a:pt x="187" y="2"/>
                  </a:lnTo>
                  <a:lnTo>
                    <a:pt x="180" y="0"/>
                  </a:lnTo>
                  <a:lnTo>
                    <a:pt x="157" y="0"/>
                  </a:lnTo>
                  <a:lnTo>
                    <a:pt x="148" y="11"/>
                  </a:lnTo>
                  <a:lnTo>
                    <a:pt x="139" y="9"/>
                  </a:lnTo>
                  <a:lnTo>
                    <a:pt x="124" y="6"/>
                  </a:lnTo>
                  <a:lnTo>
                    <a:pt x="117" y="4"/>
                  </a:lnTo>
                  <a:lnTo>
                    <a:pt x="106" y="7"/>
                  </a:lnTo>
                  <a:lnTo>
                    <a:pt x="98" y="13"/>
                  </a:lnTo>
                  <a:lnTo>
                    <a:pt x="83" y="7"/>
                  </a:lnTo>
                  <a:lnTo>
                    <a:pt x="52" y="2"/>
                  </a:lnTo>
                  <a:lnTo>
                    <a:pt x="44" y="0"/>
                  </a:lnTo>
                  <a:lnTo>
                    <a:pt x="35" y="7"/>
                  </a:lnTo>
                  <a:lnTo>
                    <a:pt x="20" y="17"/>
                  </a:lnTo>
                  <a:lnTo>
                    <a:pt x="2" y="24"/>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nvGrpSpPr>
            <p:cNvPr id="23" name="Group 38"/>
            <p:cNvGrpSpPr>
              <a:grpSpLocks/>
            </p:cNvGrpSpPr>
            <p:nvPr/>
          </p:nvGrpSpPr>
          <p:grpSpPr bwMode="auto">
            <a:xfrm>
              <a:off x="3443272" y="3087116"/>
              <a:ext cx="412795" cy="276306"/>
              <a:chOff x="2671" y="1532"/>
              <a:chExt cx="290" cy="191"/>
            </a:xfrm>
            <a:solidFill>
              <a:schemeClr val="accent6"/>
            </a:solidFill>
          </p:grpSpPr>
          <p:sp>
            <p:nvSpPr>
              <p:cNvPr id="80" name="Freeform 39"/>
              <p:cNvSpPr>
                <a:spLocks/>
              </p:cNvSpPr>
              <p:nvPr>
                <p:custDataLst>
                  <p:tags r:id="rId69"/>
                </p:custDataLst>
              </p:nvPr>
            </p:nvSpPr>
            <p:spPr bwMode="auto">
              <a:xfrm>
                <a:off x="2684" y="1595"/>
                <a:ext cx="44" cy="37"/>
              </a:xfrm>
              <a:custGeom>
                <a:avLst/>
                <a:gdLst/>
                <a:ahLst/>
                <a:cxnLst>
                  <a:cxn ang="0">
                    <a:pos x="26" y="0"/>
                  </a:cxn>
                  <a:cxn ang="0">
                    <a:pos x="6" y="13"/>
                  </a:cxn>
                  <a:cxn ang="0">
                    <a:pos x="0" y="20"/>
                  </a:cxn>
                  <a:cxn ang="0">
                    <a:pos x="13" y="24"/>
                  </a:cxn>
                  <a:cxn ang="0">
                    <a:pos x="24" y="37"/>
                  </a:cxn>
                  <a:cxn ang="0">
                    <a:pos x="33" y="28"/>
                  </a:cxn>
                  <a:cxn ang="0">
                    <a:pos x="44" y="20"/>
                  </a:cxn>
                  <a:cxn ang="0">
                    <a:pos x="35" y="11"/>
                  </a:cxn>
                  <a:cxn ang="0">
                    <a:pos x="26" y="0"/>
                  </a:cxn>
                </a:cxnLst>
                <a:rect l="0" t="0" r="r" b="b"/>
                <a:pathLst>
                  <a:path w="44" h="37">
                    <a:moveTo>
                      <a:pt x="26" y="0"/>
                    </a:moveTo>
                    <a:lnTo>
                      <a:pt x="6" y="13"/>
                    </a:lnTo>
                    <a:lnTo>
                      <a:pt x="0" y="20"/>
                    </a:lnTo>
                    <a:lnTo>
                      <a:pt x="13" y="24"/>
                    </a:lnTo>
                    <a:lnTo>
                      <a:pt x="24" y="37"/>
                    </a:lnTo>
                    <a:lnTo>
                      <a:pt x="33" y="28"/>
                    </a:lnTo>
                    <a:lnTo>
                      <a:pt x="44" y="20"/>
                    </a:lnTo>
                    <a:lnTo>
                      <a:pt x="35" y="11"/>
                    </a:lnTo>
                    <a:lnTo>
                      <a:pt x="26"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81" name="Freeform 40"/>
              <p:cNvSpPr>
                <a:spLocks/>
              </p:cNvSpPr>
              <p:nvPr>
                <p:custDataLst>
                  <p:tags r:id="rId70"/>
                </p:custDataLst>
              </p:nvPr>
            </p:nvSpPr>
            <p:spPr bwMode="auto">
              <a:xfrm>
                <a:off x="2671" y="1638"/>
                <a:ext cx="65" cy="67"/>
              </a:xfrm>
              <a:custGeom>
                <a:avLst/>
                <a:gdLst/>
                <a:ahLst/>
                <a:cxnLst>
                  <a:cxn ang="0">
                    <a:pos x="54" y="0"/>
                  </a:cxn>
                  <a:cxn ang="0">
                    <a:pos x="32" y="4"/>
                  </a:cxn>
                  <a:cxn ang="0">
                    <a:pos x="24" y="0"/>
                  </a:cxn>
                  <a:cxn ang="0">
                    <a:pos x="11" y="17"/>
                  </a:cxn>
                  <a:cxn ang="0">
                    <a:pos x="6" y="13"/>
                  </a:cxn>
                  <a:cxn ang="0">
                    <a:pos x="0" y="24"/>
                  </a:cxn>
                  <a:cxn ang="0">
                    <a:pos x="7" y="30"/>
                  </a:cxn>
                  <a:cxn ang="0">
                    <a:pos x="7" y="58"/>
                  </a:cxn>
                  <a:cxn ang="0">
                    <a:pos x="13" y="67"/>
                  </a:cxn>
                  <a:cxn ang="0">
                    <a:pos x="46" y="30"/>
                  </a:cxn>
                  <a:cxn ang="0">
                    <a:pos x="59" y="30"/>
                  </a:cxn>
                  <a:cxn ang="0">
                    <a:pos x="65" y="20"/>
                  </a:cxn>
                  <a:cxn ang="0">
                    <a:pos x="63" y="15"/>
                  </a:cxn>
                  <a:cxn ang="0">
                    <a:pos x="54" y="0"/>
                  </a:cxn>
                </a:cxnLst>
                <a:rect l="0" t="0" r="r" b="b"/>
                <a:pathLst>
                  <a:path w="65" h="67">
                    <a:moveTo>
                      <a:pt x="54" y="0"/>
                    </a:moveTo>
                    <a:lnTo>
                      <a:pt x="32" y="4"/>
                    </a:lnTo>
                    <a:lnTo>
                      <a:pt x="24" y="0"/>
                    </a:lnTo>
                    <a:lnTo>
                      <a:pt x="11" y="17"/>
                    </a:lnTo>
                    <a:lnTo>
                      <a:pt x="6" y="13"/>
                    </a:lnTo>
                    <a:lnTo>
                      <a:pt x="0" y="24"/>
                    </a:lnTo>
                    <a:lnTo>
                      <a:pt x="7" y="30"/>
                    </a:lnTo>
                    <a:lnTo>
                      <a:pt x="7" y="58"/>
                    </a:lnTo>
                    <a:lnTo>
                      <a:pt x="13" y="67"/>
                    </a:lnTo>
                    <a:lnTo>
                      <a:pt x="46" y="30"/>
                    </a:lnTo>
                    <a:lnTo>
                      <a:pt x="59" y="30"/>
                    </a:lnTo>
                    <a:lnTo>
                      <a:pt x="65" y="20"/>
                    </a:lnTo>
                    <a:lnTo>
                      <a:pt x="63" y="15"/>
                    </a:lnTo>
                    <a:lnTo>
                      <a:pt x="54"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82" name="Freeform 41"/>
              <p:cNvSpPr>
                <a:spLocks/>
              </p:cNvSpPr>
              <p:nvPr>
                <p:custDataLst>
                  <p:tags r:id="rId71"/>
                </p:custDataLst>
              </p:nvPr>
            </p:nvSpPr>
            <p:spPr bwMode="auto">
              <a:xfrm>
                <a:off x="2746" y="1532"/>
                <a:ext cx="215" cy="191"/>
              </a:xfrm>
              <a:custGeom>
                <a:avLst/>
                <a:gdLst/>
                <a:ahLst/>
                <a:cxnLst>
                  <a:cxn ang="0">
                    <a:pos x="208" y="180"/>
                  </a:cxn>
                  <a:cxn ang="0">
                    <a:pos x="206" y="169"/>
                  </a:cxn>
                  <a:cxn ang="0">
                    <a:pos x="213" y="159"/>
                  </a:cxn>
                  <a:cxn ang="0">
                    <a:pos x="213" y="145"/>
                  </a:cxn>
                  <a:cxn ang="0">
                    <a:pos x="198" y="134"/>
                  </a:cxn>
                  <a:cxn ang="0">
                    <a:pos x="193" y="128"/>
                  </a:cxn>
                  <a:cxn ang="0">
                    <a:pos x="189" y="109"/>
                  </a:cxn>
                  <a:cxn ang="0">
                    <a:pos x="180" y="93"/>
                  </a:cxn>
                  <a:cxn ang="0">
                    <a:pos x="170" y="80"/>
                  </a:cxn>
                  <a:cxn ang="0">
                    <a:pos x="170" y="69"/>
                  </a:cxn>
                  <a:cxn ang="0">
                    <a:pos x="176" y="61"/>
                  </a:cxn>
                  <a:cxn ang="0">
                    <a:pos x="200" y="63"/>
                  </a:cxn>
                  <a:cxn ang="0">
                    <a:pos x="209" y="52"/>
                  </a:cxn>
                  <a:cxn ang="0">
                    <a:pos x="215" y="24"/>
                  </a:cxn>
                  <a:cxn ang="0">
                    <a:pos x="213" y="15"/>
                  </a:cxn>
                  <a:cxn ang="0">
                    <a:pos x="202" y="13"/>
                  </a:cxn>
                  <a:cxn ang="0">
                    <a:pos x="182" y="15"/>
                  </a:cxn>
                  <a:cxn ang="0">
                    <a:pos x="154" y="15"/>
                  </a:cxn>
                  <a:cxn ang="0">
                    <a:pos x="132" y="6"/>
                  </a:cxn>
                  <a:cxn ang="0">
                    <a:pos x="117" y="2"/>
                  </a:cxn>
                  <a:cxn ang="0">
                    <a:pos x="104" y="0"/>
                  </a:cxn>
                  <a:cxn ang="0">
                    <a:pos x="91" y="17"/>
                  </a:cxn>
                  <a:cxn ang="0">
                    <a:pos x="76" y="28"/>
                  </a:cxn>
                  <a:cxn ang="0">
                    <a:pos x="54" y="26"/>
                  </a:cxn>
                  <a:cxn ang="0">
                    <a:pos x="41" y="35"/>
                  </a:cxn>
                  <a:cxn ang="0">
                    <a:pos x="20" y="56"/>
                  </a:cxn>
                  <a:cxn ang="0">
                    <a:pos x="4" y="69"/>
                  </a:cxn>
                  <a:cxn ang="0">
                    <a:pos x="0" y="78"/>
                  </a:cxn>
                  <a:cxn ang="0">
                    <a:pos x="9" y="95"/>
                  </a:cxn>
                  <a:cxn ang="0">
                    <a:pos x="19" y="117"/>
                  </a:cxn>
                  <a:cxn ang="0">
                    <a:pos x="30" y="130"/>
                  </a:cxn>
                  <a:cxn ang="0">
                    <a:pos x="41" y="126"/>
                  </a:cxn>
                  <a:cxn ang="0">
                    <a:pos x="60" y="119"/>
                  </a:cxn>
                  <a:cxn ang="0">
                    <a:pos x="58" y="137"/>
                  </a:cxn>
                  <a:cxn ang="0">
                    <a:pos x="52" y="159"/>
                  </a:cxn>
                  <a:cxn ang="0">
                    <a:pos x="54" y="163"/>
                  </a:cxn>
                  <a:cxn ang="0">
                    <a:pos x="63" y="163"/>
                  </a:cxn>
                  <a:cxn ang="0">
                    <a:pos x="76" y="159"/>
                  </a:cxn>
                  <a:cxn ang="0">
                    <a:pos x="104" y="162"/>
                  </a:cxn>
                  <a:cxn ang="0">
                    <a:pos x="112" y="172"/>
                  </a:cxn>
                  <a:cxn ang="0">
                    <a:pos x="128" y="178"/>
                  </a:cxn>
                  <a:cxn ang="0">
                    <a:pos x="142" y="191"/>
                  </a:cxn>
                  <a:cxn ang="0">
                    <a:pos x="151" y="189"/>
                  </a:cxn>
                  <a:cxn ang="0">
                    <a:pos x="168" y="180"/>
                  </a:cxn>
                  <a:cxn ang="0">
                    <a:pos x="185" y="178"/>
                  </a:cxn>
                  <a:cxn ang="0">
                    <a:pos x="208" y="180"/>
                  </a:cxn>
                </a:cxnLst>
                <a:rect l="0" t="0" r="r" b="b"/>
                <a:pathLst>
                  <a:path w="215" h="191">
                    <a:moveTo>
                      <a:pt x="208" y="180"/>
                    </a:moveTo>
                    <a:lnTo>
                      <a:pt x="206" y="169"/>
                    </a:lnTo>
                    <a:lnTo>
                      <a:pt x="213" y="159"/>
                    </a:lnTo>
                    <a:lnTo>
                      <a:pt x="213" y="145"/>
                    </a:lnTo>
                    <a:lnTo>
                      <a:pt x="198" y="134"/>
                    </a:lnTo>
                    <a:lnTo>
                      <a:pt x="193" y="128"/>
                    </a:lnTo>
                    <a:lnTo>
                      <a:pt x="189" y="109"/>
                    </a:lnTo>
                    <a:lnTo>
                      <a:pt x="180" y="93"/>
                    </a:lnTo>
                    <a:lnTo>
                      <a:pt x="170" y="80"/>
                    </a:lnTo>
                    <a:lnTo>
                      <a:pt x="170" y="69"/>
                    </a:lnTo>
                    <a:lnTo>
                      <a:pt x="176" y="61"/>
                    </a:lnTo>
                    <a:lnTo>
                      <a:pt x="200" y="63"/>
                    </a:lnTo>
                    <a:lnTo>
                      <a:pt x="209" y="52"/>
                    </a:lnTo>
                    <a:lnTo>
                      <a:pt x="215" y="24"/>
                    </a:lnTo>
                    <a:lnTo>
                      <a:pt x="213" y="15"/>
                    </a:lnTo>
                    <a:lnTo>
                      <a:pt x="202" y="13"/>
                    </a:lnTo>
                    <a:lnTo>
                      <a:pt x="182" y="15"/>
                    </a:lnTo>
                    <a:lnTo>
                      <a:pt x="154" y="15"/>
                    </a:lnTo>
                    <a:lnTo>
                      <a:pt x="132" y="6"/>
                    </a:lnTo>
                    <a:lnTo>
                      <a:pt x="117" y="2"/>
                    </a:lnTo>
                    <a:lnTo>
                      <a:pt x="104" y="0"/>
                    </a:lnTo>
                    <a:lnTo>
                      <a:pt x="91" y="17"/>
                    </a:lnTo>
                    <a:lnTo>
                      <a:pt x="76" y="28"/>
                    </a:lnTo>
                    <a:lnTo>
                      <a:pt x="54" y="26"/>
                    </a:lnTo>
                    <a:lnTo>
                      <a:pt x="41" y="35"/>
                    </a:lnTo>
                    <a:lnTo>
                      <a:pt x="20" y="56"/>
                    </a:lnTo>
                    <a:lnTo>
                      <a:pt x="4" y="69"/>
                    </a:lnTo>
                    <a:lnTo>
                      <a:pt x="0" y="78"/>
                    </a:lnTo>
                    <a:lnTo>
                      <a:pt x="9" y="95"/>
                    </a:lnTo>
                    <a:lnTo>
                      <a:pt x="19" y="117"/>
                    </a:lnTo>
                    <a:lnTo>
                      <a:pt x="30" y="130"/>
                    </a:lnTo>
                    <a:lnTo>
                      <a:pt x="41" y="126"/>
                    </a:lnTo>
                    <a:lnTo>
                      <a:pt x="60" y="119"/>
                    </a:lnTo>
                    <a:lnTo>
                      <a:pt x="58" y="137"/>
                    </a:lnTo>
                    <a:lnTo>
                      <a:pt x="52" y="159"/>
                    </a:lnTo>
                    <a:lnTo>
                      <a:pt x="54" y="163"/>
                    </a:lnTo>
                    <a:lnTo>
                      <a:pt x="63" y="163"/>
                    </a:lnTo>
                    <a:lnTo>
                      <a:pt x="76" y="159"/>
                    </a:lnTo>
                    <a:lnTo>
                      <a:pt x="104" y="162"/>
                    </a:lnTo>
                    <a:lnTo>
                      <a:pt x="112" y="172"/>
                    </a:lnTo>
                    <a:lnTo>
                      <a:pt x="128" y="178"/>
                    </a:lnTo>
                    <a:lnTo>
                      <a:pt x="142" y="191"/>
                    </a:lnTo>
                    <a:lnTo>
                      <a:pt x="151" y="189"/>
                    </a:lnTo>
                    <a:lnTo>
                      <a:pt x="168" y="180"/>
                    </a:lnTo>
                    <a:lnTo>
                      <a:pt x="185" y="178"/>
                    </a:lnTo>
                    <a:lnTo>
                      <a:pt x="208" y="18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grpSp>
          <p:nvGrpSpPr>
            <p:cNvPr id="24" name="Group 42"/>
            <p:cNvGrpSpPr>
              <a:grpSpLocks/>
            </p:cNvGrpSpPr>
            <p:nvPr/>
          </p:nvGrpSpPr>
          <p:grpSpPr bwMode="auto">
            <a:xfrm>
              <a:off x="3315105" y="1793802"/>
              <a:ext cx="665799" cy="1293313"/>
              <a:chOff x="2582" y="627"/>
              <a:chExt cx="466" cy="903"/>
            </a:xfrm>
            <a:solidFill>
              <a:schemeClr val="accent6"/>
            </a:solidFill>
          </p:grpSpPr>
          <p:sp>
            <p:nvSpPr>
              <p:cNvPr id="78" name="Freeform 43"/>
              <p:cNvSpPr>
                <a:spLocks/>
              </p:cNvSpPr>
              <p:nvPr>
                <p:custDataLst>
                  <p:tags r:id="rId67"/>
                </p:custDataLst>
              </p:nvPr>
            </p:nvSpPr>
            <p:spPr bwMode="auto">
              <a:xfrm>
                <a:off x="2582" y="1475"/>
                <a:ext cx="28" cy="26"/>
              </a:xfrm>
              <a:custGeom>
                <a:avLst/>
                <a:gdLst/>
                <a:ahLst/>
                <a:cxnLst>
                  <a:cxn ang="0">
                    <a:pos x="24" y="0"/>
                  </a:cxn>
                  <a:cxn ang="0">
                    <a:pos x="13" y="6"/>
                  </a:cxn>
                  <a:cxn ang="0">
                    <a:pos x="0" y="17"/>
                  </a:cxn>
                  <a:cxn ang="0">
                    <a:pos x="2" y="26"/>
                  </a:cxn>
                  <a:cxn ang="0">
                    <a:pos x="9" y="26"/>
                  </a:cxn>
                  <a:cxn ang="0">
                    <a:pos x="28" y="13"/>
                  </a:cxn>
                  <a:cxn ang="0">
                    <a:pos x="24" y="0"/>
                  </a:cxn>
                </a:cxnLst>
                <a:rect l="0" t="0" r="r" b="b"/>
                <a:pathLst>
                  <a:path w="28" h="26">
                    <a:moveTo>
                      <a:pt x="24" y="0"/>
                    </a:moveTo>
                    <a:lnTo>
                      <a:pt x="13" y="6"/>
                    </a:lnTo>
                    <a:lnTo>
                      <a:pt x="0" y="17"/>
                    </a:lnTo>
                    <a:lnTo>
                      <a:pt x="2" y="26"/>
                    </a:lnTo>
                    <a:lnTo>
                      <a:pt x="9" y="26"/>
                    </a:lnTo>
                    <a:lnTo>
                      <a:pt x="28" y="13"/>
                    </a:lnTo>
                    <a:lnTo>
                      <a:pt x="24"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79" name="Freeform 44"/>
              <p:cNvSpPr>
                <a:spLocks/>
              </p:cNvSpPr>
              <p:nvPr>
                <p:custDataLst>
                  <p:tags r:id="rId68"/>
                </p:custDataLst>
              </p:nvPr>
            </p:nvSpPr>
            <p:spPr bwMode="auto">
              <a:xfrm>
                <a:off x="2610" y="627"/>
                <a:ext cx="438" cy="903"/>
              </a:xfrm>
              <a:custGeom>
                <a:avLst/>
                <a:gdLst/>
                <a:ahLst/>
                <a:cxnLst>
                  <a:cxn ang="0">
                    <a:pos x="119" y="873"/>
                  </a:cxn>
                  <a:cxn ang="0">
                    <a:pos x="93" y="851"/>
                  </a:cxn>
                  <a:cxn ang="0">
                    <a:pos x="59" y="844"/>
                  </a:cxn>
                  <a:cxn ang="0">
                    <a:pos x="59" y="773"/>
                  </a:cxn>
                  <a:cxn ang="0">
                    <a:pos x="44" y="725"/>
                  </a:cxn>
                  <a:cxn ang="0">
                    <a:pos x="41" y="688"/>
                  </a:cxn>
                  <a:cxn ang="0">
                    <a:pos x="30" y="655"/>
                  </a:cxn>
                  <a:cxn ang="0">
                    <a:pos x="52" y="622"/>
                  </a:cxn>
                  <a:cxn ang="0">
                    <a:pos x="63" y="592"/>
                  </a:cxn>
                  <a:cxn ang="0">
                    <a:pos x="107" y="555"/>
                  </a:cxn>
                  <a:cxn ang="0">
                    <a:pos x="137" y="511"/>
                  </a:cxn>
                  <a:cxn ang="0">
                    <a:pos x="159" y="474"/>
                  </a:cxn>
                  <a:cxn ang="0">
                    <a:pos x="178" y="448"/>
                  </a:cxn>
                  <a:cxn ang="0">
                    <a:pos x="181" y="422"/>
                  </a:cxn>
                  <a:cxn ang="0">
                    <a:pos x="174" y="396"/>
                  </a:cxn>
                  <a:cxn ang="0">
                    <a:pos x="152" y="385"/>
                  </a:cxn>
                  <a:cxn ang="0">
                    <a:pos x="119" y="314"/>
                  </a:cxn>
                  <a:cxn ang="0">
                    <a:pos x="122" y="255"/>
                  </a:cxn>
                  <a:cxn ang="0">
                    <a:pos x="107" y="196"/>
                  </a:cxn>
                  <a:cxn ang="0">
                    <a:pos x="81" y="158"/>
                  </a:cxn>
                  <a:cxn ang="0">
                    <a:pos x="30" y="129"/>
                  </a:cxn>
                  <a:cxn ang="0">
                    <a:pos x="11" y="99"/>
                  </a:cxn>
                  <a:cxn ang="0">
                    <a:pos x="15" y="78"/>
                  </a:cxn>
                  <a:cxn ang="0">
                    <a:pos x="48" y="95"/>
                  </a:cxn>
                  <a:cxn ang="0">
                    <a:pos x="107" y="110"/>
                  </a:cxn>
                  <a:cxn ang="0">
                    <a:pos x="130" y="125"/>
                  </a:cxn>
                  <a:cxn ang="0">
                    <a:pos x="159" y="99"/>
                  </a:cxn>
                  <a:cxn ang="0">
                    <a:pos x="178" y="78"/>
                  </a:cxn>
                  <a:cxn ang="0">
                    <a:pos x="174" y="37"/>
                  </a:cxn>
                  <a:cxn ang="0">
                    <a:pos x="204" y="19"/>
                  </a:cxn>
                  <a:cxn ang="0">
                    <a:pos x="244" y="26"/>
                  </a:cxn>
                  <a:cxn ang="0">
                    <a:pos x="244" y="59"/>
                  </a:cxn>
                  <a:cxn ang="0">
                    <a:pos x="211" y="92"/>
                  </a:cxn>
                  <a:cxn ang="0">
                    <a:pos x="248" y="85"/>
                  </a:cxn>
                  <a:cxn ang="0">
                    <a:pos x="252" y="30"/>
                  </a:cxn>
                  <a:cxn ang="0">
                    <a:pos x="275" y="63"/>
                  </a:cxn>
                  <a:cxn ang="0">
                    <a:pos x="267" y="114"/>
                  </a:cxn>
                  <a:cxn ang="0">
                    <a:pos x="297" y="158"/>
                  </a:cxn>
                  <a:cxn ang="0">
                    <a:pos x="316" y="199"/>
                  </a:cxn>
                  <a:cxn ang="0">
                    <a:pos x="319" y="262"/>
                  </a:cxn>
                  <a:cxn ang="0">
                    <a:pos x="349" y="351"/>
                  </a:cxn>
                  <a:cxn ang="0">
                    <a:pos x="360" y="448"/>
                  </a:cxn>
                  <a:cxn ang="0">
                    <a:pos x="375" y="518"/>
                  </a:cxn>
                  <a:cxn ang="0">
                    <a:pos x="419" y="566"/>
                  </a:cxn>
                  <a:cxn ang="0">
                    <a:pos x="438" y="604"/>
                  </a:cxn>
                  <a:cxn ang="0">
                    <a:pos x="416" y="680"/>
                  </a:cxn>
                  <a:cxn ang="0">
                    <a:pos x="405" y="721"/>
                  </a:cxn>
                  <a:cxn ang="0">
                    <a:pos x="382" y="744"/>
                  </a:cxn>
                  <a:cxn ang="0">
                    <a:pos x="327" y="799"/>
                  </a:cxn>
                  <a:cxn ang="0">
                    <a:pos x="301" y="825"/>
                  </a:cxn>
                  <a:cxn ang="0">
                    <a:pos x="267" y="840"/>
                  </a:cxn>
                  <a:cxn ang="0">
                    <a:pos x="215" y="855"/>
                  </a:cxn>
                  <a:cxn ang="0">
                    <a:pos x="163" y="877"/>
                  </a:cxn>
                  <a:cxn ang="0">
                    <a:pos x="122" y="903"/>
                  </a:cxn>
                </a:cxnLst>
                <a:rect l="0" t="0" r="r" b="b"/>
                <a:pathLst>
                  <a:path w="438" h="903">
                    <a:moveTo>
                      <a:pt x="122" y="903"/>
                    </a:moveTo>
                    <a:lnTo>
                      <a:pt x="119" y="873"/>
                    </a:lnTo>
                    <a:lnTo>
                      <a:pt x="104" y="858"/>
                    </a:lnTo>
                    <a:lnTo>
                      <a:pt x="93" y="851"/>
                    </a:lnTo>
                    <a:lnTo>
                      <a:pt x="74" y="844"/>
                    </a:lnTo>
                    <a:lnTo>
                      <a:pt x="59" y="844"/>
                    </a:lnTo>
                    <a:lnTo>
                      <a:pt x="52" y="829"/>
                    </a:lnTo>
                    <a:lnTo>
                      <a:pt x="59" y="773"/>
                    </a:lnTo>
                    <a:lnTo>
                      <a:pt x="56" y="740"/>
                    </a:lnTo>
                    <a:lnTo>
                      <a:pt x="44" y="725"/>
                    </a:lnTo>
                    <a:lnTo>
                      <a:pt x="37" y="718"/>
                    </a:lnTo>
                    <a:lnTo>
                      <a:pt x="41" y="688"/>
                    </a:lnTo>
                    <a:lnTo>
                      <a:pt x="37" y="669"/>
                    </a:lnTo>
                    <a:lnTo>
                      <a:pt x="30" y="655"/>
                    </a:lnTo>
                    <a:lnTo>
                      <a:pt x="41" y="622"/>
                    </a:lnTo>
                    <a:lnTo>
                      <a:pt x="52" y="622"/>
                    </a:lnTo>
                    <a:lnTo>
                      <a:pt x="59" y="615"/>
                    </a:lnTo>
                    <a:lnTo>
                      <a:pt x="63" y="592"/>
                    </a:lnTo>
                    <a:lnTo>
                      <a:pt x="85" y="574"/>
                    </a:lnTo>
                    <a:lnTo>
                      <a:pt x="107" y="555"/>
                    </a:lnTo>
                    <a:lnTo>
                      <a:pt x="111" y="533"/>
                    </a:lnTo>
                    <a:lnTo>
                      <a:pt x="137" y="511"/>
                    </a:lnTo>
                    <a:lnTo>
                      <a:pt x="163" y="485"/>
                    </a:lnTo>
                    <a:lnTo>
                      <a:pt x="159" y="474"/>
                    </a:lnTo>
                    <a:lnTo>
                      <a:pt x="159" y="459"/>
                    </a:lnTo>
                    <a:lnTo>
                      <a:pt x="178" y="448"/>
                    </a:lnTo>
                    <a:lnTo>
                      <a:pt x="185" y="444"/>
                    </a:lnTo>
                    <a:lnTo>
                      <a:pt x="181" y="422"/>
                    </a:lnTo>
                    <a:lnTo>
                      <a:pt x="181" y="400"/>
                    </a:lnTo>
                    <a:lnTo>
                      <a:pt x="174" y="396"/>
                    </a:lnTo>
                    <a:lnTo>
                      <a:pt x="163" y="400"/>
                    </a:lnTo>
                    <a:lnTo>
                      <a:pt x="152" y="385"/>
                    </a:lnTo>
                    <a:lnTo>
                      <a:pt x="141" y="344"/>
                    </a:lnTo>
                    <a:lnTo>
                      <a:pt x="119" y="314"/>
                    </a:lnTo>
                    <a:lnTo>
                      <a:pt x="126" y="273"/>
                    </a:lnTo>
                    <a:lnTo>
                      <a:pt x="122" y="255"/>
                    </a:lnTo>
                    <a:lnTo>
                      <a:pt x="96" y="229"/>
                    </a:lnTo>
                    <a:lnTo>
                      <a:pt x="107" y="196"/>
                    </a:lnTo>
                    <a:lnTo>
                      <a:pt x="100" y="177"/>
                    </a:lnTo>
                    <a:lnTo>
                      <a:pt x="81" y="158"/>
                    </a:lnTo>
                    <a:lnTo>
                      <a:pt x="70" y="170"/>
                    </a:lnTo>
                    <a:lnTo>
                      <a:pt x="30" y="129"/>
                    </a:lnTo>
                    <a:lnTo>
                      <a:pt x="19" y="114"/>
                    </a:lnTo>
                    <a:lnTo>
                      <a:pt x="11" y="99"/>
                    </a:lnTo>
                    <a:lnTo>
                      <a:pt x="0" y="92"/>
                    </a:lnTo>
                    <a:lnTo>
                      <a:pt x="15" y="78"/>
                    </a:lnTo>
                    <a:lnTo>
                      <a:pt x="37" y="78"/>
                    </a:lnTo>
                    <a:lnTo>
                      <a:pt x="48" y="95"/>
                    </a:lnTo>
                    <a:lnTo>
                      <a:pt x="78" y="129"/>
                    </a:lnTo>
                    <a:lnTo>
                      <a:pt x="107" y="110"/>
                    </a:lnTo>
                    <a:lnTo>
                      <a:pt x="126" y="114"/>
                    </a:lnTo>
                    <a:lnTo>
                      <a:pt x="130" y="125"/>
                    </a:lnTo>
                    <a:lnTo>
                      <a:pt x="152" y="129"/>
                    </a:lnTo>
                    <a:lnTo>
                      <a:pt x="159" y="99"/>
                    </a:lnTo>
                    <a:lnTo>
                      <a:pt x="170" y="89"/>
                    </a:lnTo>
                    <a:lnTo>
                      <a:pt x="178" y="78"/>
                    </a:lnTo>
                    <a:lnTo>
                      <a:pt x="178" y="67"/>
                    </a:lnTo>
                    <a:lnTo>
                      <a:pt x="174" y="37"/>
                    </a:lnTo>
                    <a:lnTo>
                      <a:pt x="193" y="19"/>
                    </a:lnTo>
                    <a:lnTo>
                      <a:pt x="204" y="19"/>
                    </a:lnTo>
                    <a:lnTo>
                      <a:pt x="222" y="0"/>
                    </a:lnTo>
                    <a:lnTo>
                      <a:pt x="244" y="26"/>
                    </a:lnTo>
                    <a:lnTo>
                      <a:pt x="252" y="37"/>
                    </a:lnTo>
                    <a:lnTo>
                      <a:pt x="244" y="59"/>
                    </a:lnTo>
                    <a:lnTo>
                      <a:pt x="226" y="74"/>
                    </a:lnTo>
                    <a:lnTo>
                      <a:pt x="211" y="92"/>
                    </a:lnTo>
                    <a:lnTo>
                      <a:pt x="215" y="110"/>
                    </a:lnTo>
                    <a:lnTo>
                      <a:pt x="248" y="85"/>
                    </a:lnTo>
                    <a:lnTo>
                      <a:pt x="248" y="63"/>
                    </a:lnTo>
                    <a:lnTo>
                      <a:pt x="252" y="30"/>
                    </a:lnTo>
                    <a:lnTo>
                      <a:pt x="263" y="22"/>
                    </a:lnTo>
                    <a:lnTo>
                      <a:pt x="275" y="63"/>
                    </a:lnTo>
                    <a:lnTo>
                      <a:pt x="275" y="99"/>
                    </a:lnTo>
                    <a:lnTo>
                      <a:pt x="267" y="114"/>
                    </a:lnTo>
                    <a:lnTo>
                      <a:pt x="267" y="136"/>
                    </a:lnTo>
                    <a:lnTo>
                      <a:pt x="297" y="158"/>
                    </a:lnTo>
                    <a:lnTo>
                      <a:pt x="297" y="173"/>
                    </a:lnTo>
                    <a:lnTo>
                      <a:pt x="316" y="199"/>
                    </a:lnTo>
                    <a:lnTo>
                      <a:pt x="323" y="218"/>
                    </a:lnTo>
                    <a:lnTo>
                      <a:pt x="319" y="262"/>
                    </a:lnTo>
                    <a:lnTo>
                      <a:pt x="331" y="311"/>
                    </a:lnTo>
                    <a:lnTo>
                      <a:pt x="349" y="351"/>
                    </a:lnTo>
                    <a:lnTo>
                      <a:pt x="345" y="411"/>
                    </a:lnTo>
                    <a:lnTo>
                      <a:pt x="360" y="448"/>
                    </a:lnTo>
                    <a:lnTo>
                      <a:pt x="368" y="463"/>
                    </a:lnTo>
                    <a:lnTo>
                      <a:pt x="375" y="518"/>
                    </a:lnTo>
                    <a:lnTo>
                      <a:pt x="382" y="541"/>
                    </a:lnTo>
                    <a:lnTo>
                      <a:pt x="419" y="566"/>
                    </a:lnTo>
                    <a:lnTo>
                      <a:pt x="438" y="589"/>
                    </a:lnTo>
                    <a:lnTo>
                      <a:pt x="438" y="604"/>
                    </a:lnTo>
                    <a:lnTo>
                      <a:pt x="423" y="673"/>
                    </a:lnTo>
                    <a:lnTo>
                      <a:pt x="416" y="680"/>
                    </a:lnTo>
                    <a:lnTo>
                      <a:pt x="423" y="695"/>
                    </a:lnTo>
                    <a:lnTo>
                      <a:pt x="405" y="721"/>
                    </a:lnTo>
                    <a:lnTo>
                      <a:pt x="382" y="732"/>
                    </a:lnTo>
                    <a:lnTo>
                      <a:pt x="382" y="744"/>
                    </a:lnTo>
                    <a:lnTo>
                      <a:pt x="349" y="788"/>
                    </a:lnTo>
                    <a:lnTo>
                      <a:pt x="327" y="799"/>
                    </a:lnTo>
                    <a:lnTo>
                      <a:pt x="323" y="825"/>
                    </a:lnTo>
                    <a:lnTo>
                      <a:pt x="301" y="825"/>
                    </a:lnTo>
                    <a:lnTo>
                      <a:pt x="290" y="833"/>
                    </a:lnTo>
                    <a:lnTo>
                      <a:pt x="267" y="840"/>
                    </a:lnTo>
                    <a:lnTo>
                      <a:pt x="237" y="836"/>
                    </a:lnTo>
                    <a:lnTo>
                      <a:pt x="215" y="855"/>
                    </a:lnTo>
                    <a:lnTo>
                      <a:pt x="189" y="870"/>
                    </a:lnTo>
                    <a:lnTo>
                      <a:pt x="163" y="877"/>
                    </a:lnTo>
                    <a:lnTo>
                      <a:pt x="144" y="892"/>
                    </a:lnTo>
                    <a:lnTo>
                      <a:pt x="122" y="903"/>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sp>
          <p:nvSpPr>
            <p:cNvPr id="25" name="Freeform 45"/>
            <p:cNvSpPr>
              <a:spLocks/>
            </p:cNvSpPr>
            <p:nvPr>
              <p:custDataLst>
                <p:tags r:id="rId19"/>
              </p:custDataLst>
            </p:nvPr>
          </p:nvSpPr>
          <p:spPr bwMode="auto">
            <a:xfrm>
              <a:off x="2689255" y="4187348"/>
              <a:ext cx="577580" cy="316254"/>
            </a:xfrm>
            <a:custGeom>
              <a:avLst/>
              <a:gdLst/>
              <a:ahLst/>
              <a:cxnLst>
                <a:cxn ang="0">
                  <a:pos x="99" y="211"/>
                </a:cxn>
                <a:cxn ang="0">
                  <a:pos x="96" y="199"/>
                </a:cxn>
                <a:cxn ang="0">
                  <a:pos x="83" y="192"/>
                </a:cxn>
                <a:cxn ang="0">
                  <a:pos x="36" y="149"/>
                </a:cxn>
                <a:cxn ang="0">
                  <a:pos x="33" y="126"/>
                </a:cxn>
                <a:cxn ang="0">
                  <a:pos x="12" y="123"/>
                </a:cxn>
                <a:cxn ang="0">
                  <a:pos x="13" y="102"/>
                </a:cxn>
                <a:cxn ang="0">
                  <a:pos x="6" y="82"/>
                </a:cxn>
                <a:cxn ang="0">
                  <a:pos x="0" y="71"/>
                </a:cxn>
                <a:cxn ang="0">
                  <a:pos x="4" y="59"/>
                </a:cxn>
                <a:cxn ang="0">
                  <a:pos x="19" y="59"/>
                </a:cxn>
                <a:cxn ang="0">
                  <a:pos x="45" y="53"/>
                </a:cxn>
                <a:cxn ang="0">
                  <a:pos x="126" y="11"/>
                </a:cxn>
                <a:cxn ang="0">
                  <a:pos x="143" y="0"/>
                </a:cxn>
                <a:cxn ang="0">
                  <a:pos x="154" y="13"/>
                </a:cxn>
                <a:cxn ang="0">
                  <a:pos x="171" y="6"/>
                </a:cxn>
                <a:cxn ang="0">
                  <a:pos x="187" y="7"/>
                </a:cxn>
                <a:cxn ang="0">
                  <a:pos x="197" y="14"/>
                </a:cxn>
                <a:cxn ang="0">
                  <a:pos x="197" y="33"/>
                </a:cxn>
                <a:cxn ang="0">
                  <a:pos x="227" y="52"/>
                </a:cxn>
                <a:cxn ang="0">
                  <a:pos x="229" y="65"/>
                </a:cxn>
                <a:cxn ang="0">
                  <a:pos x="240" y="80"/>
                </a:cxn>
                <a:cxn ang="0">
                  <a:pos x="248" y="86"/>
                </a:cxn>
                <a:cxn ang="0">
                  <a:pos x="253" y="80"/>
                </a:cxn>
                <a:cxn ang="0">
                  <a:pos x="274" y="69"/>
                </a:cxn>
                <a:cxn ang="0">
                  <a:pos x="283" y="71"/>
                </a:cxn>
                <a:cxn ang="0">
                  <a:pos x="309" y="100"/>
                </a:cxn>
                <a:cxn ang="0">
                  <a:pos x="315" y="99"/>
                </a:cxn>
                <a:cxn ang="0">
                  <a:pos x="342" y="115"/>
                </a:cxn>
                <a:cxn ang="0">
                  <a:pos x="382" y="113"/>
                </a:cxn>
                <a:cxn ang="0">
                  <a:pos x="403" y="126"/>
                </a:cxn>
                <a:cxn ang="0">
                  <a:pos x="359" y="151"/>
                </a:cxn>
                <a:cxn ang="0">
                  <a:pos x="357" y="181"/>
                </a:cxn>
                <a:cxn ang="0">
                  <a:pos x="330" y="206"/>
                </a:cxn>
                <a:cxn ang="0">
                  <a:pos x="301" y="205"/>
                </a:cxn>
                <a:cxn ang="0">
                  <a:pos x="285" y="212"/>
                </a:cxn>
                <a:cxn ang="0">
                  <a:pos x="265" y="220"/>
                </a:cxn>
                <a:cxn ang="0">
                  <a:pos x="240" y="204"/>
                </a:cxn>
                <a:cxn ang="0">
                  <a:pos x="224" y="212"/>
                </a:cxn>
                <a:cxn ang="0">
                  <a:pos x="209" y="215"/>
                </a:cxn>
                <a:cxn ang="0">
                  <a:pos x="197" y="196"/>
                </a:cxn>
                <a:cxn ang="0">
                  <a:pos x="162" y="197"/>
                </a:cxn>
                <a:cxn ang="0">
                  <a:pos x="151" y="205"/>
                </a:cxn>
                <a:cxn ang="0">
                  <a:pos x="143" y="213"/>
                </a:cxn>
                <a:cxn ang="0">
                  <a:pos x="128" y="213"/>
                </a:cxn>
                <a:cxn ang="0">
                  <a:pos x="112" y="216"/>
                </a:cxn>
                <a:cxn ang="0">
                  <a:pos x="99" y="211"/>
                </a:cxn>
              </a:cxnLst>
              <a:rect l="0" t="0" r="r" b="b"/>
              <a:pathLst>
                <a:path w="403" h="220">
                  <a:moveTo>
                    <a:pt x="99" y="211"/>
                  </a:moveTo>
                  <a:lnTo>
                    <a:pt x="96" y="199"/>
                  </a:lnTo>
                  <a:lnTo>
                    <a:pt x="83" y="192"/>
                  </a:lnTo>
                  <a:lnTo>
                    <a:pt x="36" y="149"/>
                  </a:lnTo>
                  <a:lnTo>
                    <a:pt x="33" y="126"/>
                  </a:lnTo>
                  <a:lnTo>
                    <a:pt x="12" y="123"/>
                  </a:lnTo>
                  <a:lnTo>
                    <a:pt x="13" y="102"/>
                  </a:lnTo>
                  <a:lnTo>
                    <a:pt x="6" y="82"/>
                  </a:lnTo>
                  <a:lnTo>
                    <a:pt x="0" y="71"/>
                  </a:lnTo>
                  <a:lnTo>
                    <a:pt x="4" y="59"/>
                  </a:lnTo>
                  <a:lnTo>
                    <a:pt x="19" y="59"/>
                  </a:lnTo>
                  <a:lnTo>
                    <a:pt x="45" y="53"/>
                  </a:lnTo>
                  <a:lnTo>
                    <a:pt x="126" y="11"/>
                  </a:lnTo>
                  <a:lnTo>
                    <a:pt x="143" y="0"/>
                  </a:lnTo>
                  <a:lnTo>
                    <a:pt x="154" y="13"/>
                  </a:lnTo>
                  <a:lnTo>
                    <a:pt x="171" y="6"/>
                  </a:lnTo>
                  <a:lnTo>
                    <a:pt x="187" y="7"/>
                  </a:lnTo>
                  <a:lnTo>
                    <a:pt x="197" y="14"/>
                  </a:lnTo>
                  <a:lnTo>
                    <a:pt x="197" y="33"/>
                  </a:lnTo>
                  <a:lnTo>
                    <a:pt x="227" y="52"/>
                  </a:lnTo>
                  <a:lnTo>
                    <a:pt x="229" y="65"/>
                  </a:lnTo>
                  <a:lnTo>
                    <a:pt x="240" y="80"/>
                  </a:lnTo>
                  <a:lnTo>
                    <a:pt x="248" y="86"/>
                  </a:lnTo>
                  <a:lnTo>
                    <a:pt x="253" y="80"/>
                  </a:lnTo>
                  <a:lnTo>
                    <a:pt x="274" y="69"/>
                  </a:lnTo>
                  <a:lnTo>
                    <a:pt x="283" y="71"/>
                  </a:lnTo>
                  <a:lnTo>
                    <a:pt x="309" y="100"/>
                  </a:lnTo>
                  <a:lnTo>
                    <a:pt x="315" y="99"/>
                  </a:lnTo>
                  <a:lnTo>
                    <a:pt x="342" y="115"/>
                  </a:lnTo>
                  <a:lnTo>
                    <a:pt x="382" y="113"/>
                  </a:lnTo>
                  <a:lnTo>
                    <a:pt x="403" y="126"/>
                  </a:lnTo>
                  <a:lnTo>
                    <a:pt x="359" y="151"/>
                  </a:lnTo>
                  <a:lnTo>
                    <a:pt x="357" y="181"/>
                  </a:lnTo>
                  <a:lnTo>
                    <a:pt x="330" y="206"/>
                  </a:lnTo>
                  <a:lnTo>
                    <a:pt x="301" y="205"/>
                  </a:lnTo>
                  <a:lnTo>
                    <a:pt x="285" y="212"/>
                  </a:lnTo>
                  <a:lnTo>
                    <a:pt x="265" y="220"/>
                  </a:lnTo>
                  <a:lnTo>
                    <a:pt x="240" y="204"/>
                  </a:lnTo>
                  <a:lnTo>
                    <a:pt x="224" y="212"/>
                  </a:lnTo>
                  <a:lnTo>
                    <a:pt x="209" y="215"/>
                  </a:lnTo>
                  <a:lnTo>
                    <a:pt x="197" y="196"/>
                  </a:lnTo>
                  <a:lnTo>
                    <a:pt x="162" y="197"/>
                  </a:lnTo>
                  <a:lnTo>
                    <a:pt x="151" y="205"/>
                  </a:lnTo>
                  <a:lnTo>
                    <a:pt x="143" y="213"/>
                  </a:lnTo>
                  <a:lnTo>
                    <a:pt x="128" y="213"/>
                  </a:lnTo>
                  <a:lnTo>
                    <a:pt x="112" y="216"/>
                  </a:lnTo>
                  <a:lnTo>
                    <a:pt x="99" y="211"/>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6" name="Freeform 46"/>
            <p:cNvSpPr>
              <a:spLocks/>
            </p:cNvSpPr>
            <p:nvPr>
              <p:custDataLst>
                <p:tags r:id="rId20"/>
              </p:custDataLst>
            </p:nvPr>
          </p:nvSpPr>
          <p:spPr bwMode="auto">
            <a:xfrm>
              <a:off x="2749176" y="4773250"/>
              <a:ext cx="517658" cy="509336"/>
            </a:xfrm>
            <a:custGeom>
              <a:avLst/>
              <a:gdLst/>
              <a:ahLst/>
              <a:cxnLst>
                <a:cxn ang="0">
                  <a:pos x="7" y="102"/>
                </a:cxn>
                <a:cxn ang="0">
                  <a:pos x="22" y="130"/>
                </a:cxn>
                <a:cxn ang="0">
                  <a:pos x="41" y="126"/>
                </a:cxn>
                <a:cxn ang="0">
                  <a:pos x="56" y="98"/>
                </a:cxn>
                <a:cxn ang="0">
                  <a:pos x="82" y="111"/>
                </a:cxn>
                <a:cxn ang="0">
                  <a:pos x="89" y="135"/>
                </a:cxn>
                <a:cxn ang="0">
                  <a:pos x="102" y="167"/>
                </a:cxn>
                <a:cxn ang="0">
                  <a:pos x="115" y="189"/>
                </a:cxn>
                <a:cxn ang="0">
                  <a:pos x="106" y="199"/>
                </a:cxn>
                <a:cxn ang="0">
                  <a:pos x="161" y="260"/>
                </a:cxn>
                <a:cxn ang="0">
                  <a:pos x="188" y="263"/>
                </a:cxn>
                <a:cxn ang="0">
                  <a:pos x="229" y="291"/>
                </a:cxn>
                <a:cxn ang="0">
                  <a:pos x="240" y="314"/>
                </a:cxn>
                <a:cxn ang="0">
                  <a:pos x="251" y="313"/>
                </a:cxn>
                <a:cxn ang="0">
                  <a:pos x="275" y="326"/>
                </a:cxn>
                <a:cxn ang="0">
                  <a:pos x="291" y="325"/>
                </a:cxn>
                <a:cxn ang="0">
                  <a:pos x="290" y="301"/>
                </a:cxn>
                <a:cxn ang="0">
                  <a:pos x="272" y="275"/>
                </a:cxn>
                <a:cxn ang="0">
                  <a:pos x="229" y="232"/>
                </a:cxn>
                <a:cxn ang="0">
                  <a:pos x="214" y="228"/>
                </a:cxn>
                <a:cxn ang="0">
                  <a:pos x="199" y="217"/>
                </a:cxn>
                <a:cxn ang="0">
                  <a:pos x="188" y="197"/>
                </a:cxn>
                <a:cxn ang="0">
                  <a:pos x="169" y="165"/>
                </a:cxn>
                <a:cxn ang="0">
                  <a:pos x="137" y="126"/>
                </a:cxn>
                <a:cxn ang="0">
                  <a:pos x="154" y="119"/>
                </a:cxn>
                <a:cxn ang="0">
                  <a:pos x="223" y="102"/>
                </a:cxn>
                <a:cxn ang="0">
                  <a:pos x="255" y="122"/>
                </a:cxn>
                <a:cxn ang="0">
                  <a:pos x="268" y="122"/>
                </a:cxn>
                <a:cxn ang="0">
                  <a:pos x="296" y="124"/>
                </a:cxn>
                <a:cxn ang="0">
                  <a:pos x="333" y="122"/>
                </a:cxn>
                <a:cxn ang="0">
                  <a:pos x="357" y="135"/>
                </a:cxn>
                <a:cxn ang="0">
                  <a:pos x="364" y="111"/>
                </a:cxn>
                <a:cxn ang="0">
                  <a:pos x="345" y="91"/>
                </a:cxn>
                <a:cxn ang="0">
                  <a:pos x="344" y="69"/>
                </a:cxn>
                <a:cxn ang="0">
                  <a:pos x="329" y="54"/>
                </a:cxn>
                <a:cxn ang="0">
                  <a:pos x="313" y="58"/>
                </a:cxn>
                <a:cxn ang="0">
                  <a:pos x="294" y="65"/>
                </a:cxn>
                <a:cxn ang="0">
                  <a:pos x="266" y="43"/>
                </a:cxn>
                <a:cxn ang="0">
                  <a:pos x="242" y="33"/>
                </a:cxn>
                <a:cxn ang="0">
                  <a:pos x="199" y="0"/>
                </a:cxn>
                <a:cxn ang="0">
                  <a:pos x="157" y="24"/>
                </a:cxn>
                <a:cxn ang="0">
                  <a:pos x="145" y="45"/>
                </a:cxn>
                <a:cxn ang="0">
                  <a:pos x="80" y="80"/>
                </a:cxn>
                <a:cxn ang="0">
                  <a:pos x="41" y="80"/>
                </a:cxn>
                <a:cxn ang="0">
                  <a:pos x="0" y="80"/>
                </a:cxn>
              </a:cxnLst>
              <a:rect l="0" t="0" r="r" b="b"/>
              <a:pathLst>
                <a:path w="364" h="357">
                  <a:moveTo>
                    <a:pt x="0" y="80"/>
                  </a:moveTo>
                  <a:lnTo>
                    <a:pt x="7" y="102"/>
                  </a:lnTo>
                  <a:lnTo>
                    <a:pt x="15" y="119"/>
                  </a:lnTo>
                  <a:lnTo>
                    <a:pt x="22" y="130"/>
                  </a:lnTo>
                  <a:lnTo>
                    <a:pt x="31" y="132"/>
                  </a:lnTo>
                  <a:lnTo>
                    <a:pt x="41" y="126"/>
                  </a:lnTo>
                  <a:lnTo>
                    <a:pt x="46" y="115"/>
                  </a:lnTo>
                  <a:lnTo>
                    <a:pt x="56" y="98"/>
                  </a:lnTo>
                  <a:lnTo>
                    <a:pt x="69" y="108"/>
                  </a:lnTo>
                  <a:lnTo>
                    <a:pt x="82" y="111"/>
                  </a:lnTo>
                  <a:lnTo>
                    <a:pt x="91" y="117"/>
                  </a:lnTo>
                  <a:lnTo>
                    <a:pt x="89" y="135"/>
                  </a:lnTo>
                  <a:lnTo>
                    <a:pt x="89" y="147"/>
                  </a:lnTo>
                  <a:lnTo>
                    <a:pt x="102" y="167"/>
                  </a:lnTo>
                  <a:lnTo>
                    <a:pt x="117" y="184"/>
                  </a:lnTo>
                  <a:lnTo>
                    <a:pt x="115" y="189"/>
                  </a:lnTo>
                  <a:lnTo>
                    <a:pt x="98" y="189"/>
                  </a:lnTo>
                  <a:lnTo>
                    <a:pt x="106" y="199"/>
                  </a:lnTo>
                  <a:lnTo>
                    <a:pt x="156" y="256"/>
                  </a:lnTo>
                  <a:lnTo>
                    <a:pt x="161" y="260"/>
                  </a:lnTo>
                  <a:lnTo>
                    <a:pt x="176" y="260"/>
                  </a:lnTo>
                  <a:lnTo>
                    <a:pt x="188" y="263"/>
                  </a:lnTo>
                  <a:lnTo>
                    <a:pt x="210" y="273"/>
                  </a:lnTo>
                  <a:lnTo>
                    <a:pt x="229" y="291"/>
                  </a:lnTo>
                  <a:lnTo>
                    <a:pt x="233" y="299"/>
                  </a:lnTo>
                  <a:lnTo>
                    <a:pt x="240" y="314"/>
                  </a:lnTo>
                  <a:lnTo>
                    <a:pt x="246" y="313"/>
                  </a:lnTo>
                  <a:lnTo>
                    <a:pt x="251" y="313"/>
                  </a:lnTo>
                  <a:lnTo>
                    <a:pt x="266" y="319"/>
                  </a:lnTo>
                  <a:lnTo>
                    <a:pt x="275" y="326"/>
                  </a:lnTo>
                  <a:lnTo>
                    <a:pt x="303" y="357"/>
                  </a:lnTo>
                  <a:lnTo>
                    <a:pt x="291" y="325"/>
                  </a:lnTo>
                  <a:lnTo>
                    <a:pt x="284" y="313"/>
                  </a:lnTo>
                  <a:lnTo>
                    <a:pt x="290" y="301"/>
                  </a:lnTo>
                  <a:lnTo>
                    <a:pt x="286" y="291"/>
                  </a:lnTo>
                  <a:lnTo>
                    <a:pt x="272" y="275"/>
                  </a:lnTo>
                  <a:lnTo>
                    <a:pt x="246" y="245"/>
                  </a:lnTo>
                  <a:lnTo>
                    <a:pt x="229" y="232"/>
                  </a:lnTo>
                  <a:lnTo>
                    <a:pt x="223" y="226"/>
                  </a:lnTo>
                  <a:lnTo>
                    <a:pt x="214" y="228"/>
                  </a:lnTo>
                  <a:lnTo>
                    <a:pt x="201" y="217"/>
                  </a:lnTo>
                  <a:lnTo>
                    <a:pt x="199" y="217"/>
                  </a:lnTo>
                  <a:lnTo>
                    <a:pt x="192" y="210"/>
                  </a:lnTo>
                  <a:lnTo>
                    <a:pt x="188" y="197"/>
                  </a:lnTo>
                  <a:lnTo>
                    <a:pt x="184" y="184"/>
                  </a:lnTo>
                  <a:lnTo>
                    <a:pt x="169" y="165"/>
                  </a:lnTo>
                  <a:lnTo>
                    <a:pt x="139" y="134"/>
                  </a:lnTo>
                  <a:lnTo>
                    <a:pt x="137" y="126"/>
                  </a:lnTo>
                  <a:lnTo>
                    <a:pt x="139" y="122"/>
                  </a:lnTo>
                  <a:lnTo>
                    <a:pt x="154" y="119"/>
                  </a:lnTo>
                  <a:lnTo>
                    <a:pt x="196" y="132"/>
                  </a:lnTo>
                  <a:lnTo>
                    <a:pt x="223" y="102"/>
                  </a:lnTo>
                  <a:lnTo>
                    <a:pt x="246" y="121"/>
                  </a:lnTo>
                  <a:lnTo>
                    <a:pt x="255" y="122"/>
                  </a:lnTo>
                  <a:lnTo>
                    <a:pt x="260" y="130"/>
                  </a:lnTo>
                  <a:lnTo>
                    <a:pt x="268" y="122"/>
                  </a:lnTo>
                  <a:lnTo>
                    <a:pt x="283" y="122"/>
                  </a:lnTo>
                  <a:lnTo>
                    <a:pt x="296" y="124"/>
                  </a:lnTo>
                  <a:lnTo>
                    <a:pt x="314" y="115"/>
                  </a:lnTo>
                  <a:lnTo>
                    <a:pt x="333" y="122"/>
                  </a:lnTo>
                  <a:lnTo>
                    <a:pt x="344" y="132"/>
                  </a:lnTo>
                  <a:lnTo>
                    <a:pt x="357" y="135"/>
                  </a:lnTo>
                  <a:lnTo>
                    <a:pt x="358" y="126"/>
                  </a:lnTo>
                  <a:lnTo>
                    <a:pt x="364" y="111"/>
                  </a:lnTo>
                  <a:lnTo>
                    <a:pt x="357" y="104"/>
                  </a:lnTo>
                  <a:lnTo>
                    <a:pt x="345" y="91"/>
                  </a:lnTo>
                  <a:lnTo>
                    <a:pt x="344" y="78"/>
                  </a:lnTo>
                  <a:lnTo>
                    <a:pt x="344" y="69"/>
                  </a:lnTo>
                  <a:lnTo>
                    <a:pt x="345" y="58"/>
                  </a:lnTo>
                  <a:lnTo>
                    <a:pt x="329" y="54"/>
                  </a:lnTo>
                  <a:lnTo>
                    <a:pt x="321" y="52"/>
                  </a:lnTo>
                  <a:lnTo>
                    <a:pt x="313" y="58"/>
                  </a:lnTo>
                  <a:lnTo>
                    <a:pt x="303" y="65"/>
                  </a:lnTo>
                  <a:lnTo>
                    <a:pt x="294" y="65"/>
                  </a:lnTo>
                  <a:lnTo>
                    <a:pt x="279" y="50"/>
                  </a:lnTo>
                  <a:lnTo>
                    <a:pt x="266" y="43"/>
                  </a:lnTo>
                  <a:lnTo>
                    <a:pt x="253" y="45"/>
                  </a:lnTo>
                  <a:lnTo>
                    <a:pt x="242" y="33"/>
                  </a:lnTo>
                  <a:lnTo>
                    <a:pt x="212" y="2"/>
                  </a:lnTo>
                  <a:lnTo>
                    <a:pt x="199" y="0"/>
                  </a:lnTo>
                  <a:lnTo>
                    <a:pt x="178" y="26"/>
                  </a:lnTo>
                  <a:lnTo>
                    <a:pt x="157" y="24"/>
                  </a:lnTo>
                  <a:lnTo>
                    <a:pt x="148" y="33"/>
                  </a:lnTo>
                  <a:lnTo>
                    <a:pt x="145" y="45"/>
                  </a:lnTo>
                  <a:lnTo>
                    <a:pt x="106" y="87"/>
                  </a:lnTo>
                  <a:lnTo>
                    <a:pt x="80" y="80"/>
                  </a:lnTo>
                  <a:lnTo>
                    <a:pt x="54" y="74"/>
                  </a:lnTo>
                  <a:lnTo>
                    <a:pt x="41" y="80"/>
                  </a:lnTo>
                  <a:lnTo>
                    <a:pt x="24" y="87"/>
                  </a:lnTo>
                  <a:lnTo>
                    <a:pt x="0" y="80"/>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nvGrpSpPr>
            <p:cNvPr id="27" name="Group 47"/>
            <p:cNvGrpSpPr>
              <a:grpSpLocks/>
            </p:cNvGrpSpPr>
            <p:nvPr/>
          </p:nvGrpSpPr>
          <p:grpSpPr bwMode="auto">
            <a:xfrm>
              <a:off x="3355053" y="5342508"/>
              <a:ext cx="838906" cy="875525"/>
              <a:chOff x="2610" y="3109"/>
              <a:chExt cx="586" cy="611"/>
            </a:xfrm>
            <a:solidFill>
              <a:schemeClr val="accent6"/>
            </a:solidFill>
          </p:grpSpPr>
          <p:sp>
            <p:nvSpPr>
              <p:cNvPr id="69" name="Freeform 48"/>
              <p:cNvSpPr>
                <a:spLocks/>
              </p:cNvSpPr>
              <p:nvPr>
                <p:custDataLst>
                  <p:tags r:id="rId58"/>
                </p:custDataLst>
              </p:nvPr>
            </p:nvSpPr>
            <p:spPr bwMode="auto">
              <a:xfrm>
                <a:off x="2623" y="3429"/>
                <a:ext cx="24" cy="25"/>
              </a:xfrm>
              <a:custGeom>
                <a:avLst/>
                <a:gdLst/>
                <a:ahLst/>
                <a:cxnLst>
                  <a:cxn ang="0">
                    <a:pos x="18" y="0"/>
                  </a:cxn>
                  <a:cxn ang="0">
                    <a:pos x="24" y="7"/>
                  </a:cxn>
                  <a:cxn ang="0">
                    <a:pos x="22" y="16"/>
                  </a:cxn>
                  <a:cxn ang="0">
                    <a:pos x="24" y="23"/>
                  </a:cxn>
                  <a:cxn ang="0">
                    <a:pos x="18" y="25"/>
                  </a:cxn>
                  <a:cxn ang="0">
                    <a:pos x="7" y="23"/>
                  </a:cxn>
                  <a:cxn ang="0">
                    <a:pos x="0" y="14"/>
                  </a:cxn>
                  <a:cxn ang="0">
                    <a:pos x="18" y="0"/>
                  </a:cxn>
                </a:cxnLst>
                <a:rect l="0" t="0" r="r" b="b"/>
                <a:pathLst>
                  <a:path w="24" h="25">
                    <a:moveTo>
                      <a:pt x="18" y="0"/>
                    </a:moveTo>
                    <a:lnTo>
                      <a:pt x="24" y="7"/>
                    </a:lnTo>
                    <a:lnTo>
                      <a:pt x="22" y="16"/>
                    </a:lnTo>
                    <a:lnTo>
                      <a:pt x="24" y="23"/>
                    </a:lnTo>
                    <a:lnTo>
                      <a:pt x="18" y="25"/>
                    </a:lnTo>
                    <a:lnTo>
                      <a:pt x="7" y="23"/>
                    </a:lnTo>
                    <a:lnTo>
                      <a:pt x="0" y="14"/>
                    </a:lnTo>
                    <a:lnTo>
                      <a:pt x="18"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70" name="Freeform 49"/>
              <p:cNvSpPr>
                <a:spLocks/>
              </p:cNvSpPr>
              <p:nvPr>
                <p:custDataLst>
                  <p:tags r:id="rId59"/>
                </p:custDataLst>
              </p:nvPr>
            </p:nvSpPr>
            <p:spPr bwMode="auto">
              <a:xfrm>
                <a:off x="2672" y="3439"/>
                <a:ext cx="184" cy="163"/>
              </a:xfrm>
              <a:custGeom>
                <a:avLst/>
                <a:gdLst/>
                <a:ahLst/>
                <a:cxnLst>
                  <a:cxn ang="0">
                    <a:pos x="26" y="7"/>
                  </a:cxn>
                  <a:cxn ang="0">
                    <a:pos x="17" y="11"/>
                  </a:cxn>
                  <a:cxn ang="0">
                    <a:pos x="20" y="20"/>
                  </a:cxn>
                  <a:cxn ang="0">
                    <a:pos x="11" y="31"/>
                  </a:cxn>
                  <a:cxn ang="0">
                    <a:pos x="4" y="30"/>
                  </a:cxn>
                  <a:cxn ang="0">
                    <a:pos x="0" y="35"/>
                  </a:cxn>
                  <a:cxn ang="0">
                    <a:pos x="2" y="46"/>
                  </a:cxn>
                  <a:cxn ang="0">
                    <a:pos x="32" y="57"/>
                  </a:cxn>
                  <a:cxn ang="0">
                    <a:pos x="39" y="82"/>
                  </a:cxn>
                  <a:cxn ang="0">
                    <a:pos x="48" y="113"/>
                  </a:cxn>
                  <a:cxn ang="0">
                    <a:pos x="59" y="130"/>
                  </a:cxn>
                  <a:cxn ang="0">
                    <a:pos x="72" y="119"/>
                  </a:cxn>
                  <a:cxn ang="0">
                    <a:pos x="89" y="141"/>
                  </a:cxn>
                  <a:cxn ang="0">
                    <a:pos x="106" y="163"/>
                  </a:cxn>
                  <a:cxn ang="0">
                    <a:pos x="113" y="146"/>
                  </a:cxn>
                  <a:cxn ang="0">
                    <a:pos x="108" y="135"/>
                  </a:cxn>
                  <a:cxn ang="0">
                    <a:pos x="115" y="130"/>
                  </a:cxn>
                  <a:cxn ang="0">
                    <a:pos x="141" y="150"/>
                  </a:cxn>
                  <a:cxn ang="0">
                    <a:pos x="149" y="144"/>
                  </a:cxn>
                  <a:cxn ang="0">
                    <a:pos x="151" y="137"/>
                  </a:cxn>
                  <a:cxn ang="0">
                    <a:pos x="138" y="111"/>
                  </a:cxn>
                  <a:cxn ang="0">
                    <a:pos x="138" y="106"/>
                  </a:cxn>
                  <a:cxn ang="0">
                    <a:pos x="126" y="85"/>
                  </a:cxn>
                  <a:cxn ang="0">
                    <a:pos x="121" y="70"/>
                  </a:cxn>
                  <a:cxn ang="0">
                    <a:pos x="126" y="69"/>
                  </a:cxn>
                  <a:cxn ang="0">
                    <a:pos x="141" y="72"/>
                  </a:cxn>
                  <a:cxn ang="0">
                    <a:pos x="158" y="87"/>
                  </a:cxn>
                  <a:cxn ang="0">
                    <a:pos x="167" y="76"/>
                  </a:cxn>
                  <a:cxn ang="0">
                    <a:pos x="182" y="78"/>
                  </a:cxn>
                  <a:cxn ang="0">
                    <a:pos x="184" y="74"/>
                  </a:cxn>
                  <a:cxn ang="0">
                    <a:pos x="165" y="50"/>
                  </a:cxn>
                  <a:cxn ang="0">
                    <a:pos x="151" y="52"/>
                  </a:cxn>
                  <a:cxn ang="0">
                    <a:pos x="147" y="44"/>
                  </a:cxn>
                  <a:cxn ang="0">
                    <a:pos x="138" y="26"/>
                  </a:cxn>
                  <a:cxn ang="0">
                    <a:pos x="130" y="33"/>
                  </a:cxn>
                  <a:cxn ang="0">
                    <a:pos x="112" y="26"/>
                  </a:cxn>
                  <a:cxn ang="0">
                    <a:pos x="100" y="7"/>
                  </a:cxn>
                  <a:cxn ang="0">
                    <a:pos x="78" y="9"/>
                  </a:cxn>
                  <a:cxn ang="0">
                    <a:pos x="61" y="11"/>
                  </a:cxn>
                  <a:cxn ang="0">
                    <a:pos x="50" y="0"/>
                  </a:cxn>
                  <a:cxn ang="0">
                    <a:pos x="41" y="6"/>
                  </a:cxn>
                  <a:cxn ang="0">
                    <a:pos x="26" y="7"/>
                  </a:cxn>
                </a:cxnLst>
                <a:rect l="0" t="0" r="r" b="b"/>
                <a:pathLst>
                  <a:path w="184" h="163">
                    <a:moveTo>
                      <a:pt x="26" y="7"/>
                    </a:moveTo>
                    <a:lnTo>
                      <a:pt x="17" y="11"/>
                    </a:lnTo>
                    <a:lnTo>
                      <a:pt x="20" y="20"/>
                    </a:lnTo>
                    <a:lnTo>
                      <a:pt x="11" y="31"/>
                    </a:lnTo>
                    <a:lnTo>
                      <a:pt x="4" y="30"/>
                    </a:lnTo>
                    <a:lnTo>
                      <a:pt x="0" y="35"/>
                    </a:lnTo>
                    <a:lnTo>
                      <a:pt x="2" y="46"/>
                    </a:lnTo>
                    <a:lnTo>
                      <a:pt x="32" y="57"/>
                    </a:lnTo>
                    <a:lnTo>
                      <a:pt x="39" y="82"/>
                    </a:lnTo>
                    <a:lnTo>
                      <a:pt x="48" y="113"/>
                    </a:lnTo>
                    <a:lnTo>
                      <a:pt x="59" y="130"/>
                    </a:lnTo>
                    <a:lnTo>
                      <a:pt x="72" y="119"/>
                    </a:lnTo>
                    <a:lnTo>
                      <a:pt x="89" y="141"/>
                    </a:lnTo>
                    <a:lnTo>
                      <a:pt x="106" y="163"/>
                    </a:lnTo>
                    <a:lnTo>
                      <a:pt x="113" y="146"/>
                    </a:lnTo>
                    <a:lnTo>
                      <a:pt x="108" y="135"/>
                    </a:lnTo>
                    <a:lnTo>
                      <a:pt x="115" y="130"/>
                    </a:lnTo>
                    <a:lnTo>
                      <a:pt x="141" y="150"/>
                    </a:lnTo>
                    <a:lnTo>
                      <a:pt x="149" y="144"/>
                    </a:lnTo>
                    <a:lnTo>
                      <a:pt x="151" y="137"/>
                    </a:lnTo>
                    <a:lnTo>
                      <a:pt x="138" y="111"/>
                    </a:lnTo>
                    <a:lnTo>
                      <a:pt x="138" y="106"/>
                    </a:lnTo>
                    <a:lnTo>
                      <a:pt x="126" y="85"/>
                    </a:lnTo>
                    <a:lnTo>
                      <a:pt x="121" y="70"/>
                    </a:lnTo>
                    <a:lnTo>
                      <a:pt x="126" y="69"/>
                    </a:lnTo>
                    <a:lnTo>
                      <a:pt x="141" y="72"/>
                    </a:lnTo>
                    <a:lnTo>
                      <a:pt x="158" y="87"/>
                    </a:lnTo>
                    <a:lnTo>
                      <a:pt x="167" y="76"/>
                    </a:lnTo>
                    <a:lnTo>
                      <a:pt x="182" y="78"/>
                    </a:lnTo>
                    <a:lnTo>
                      <a:pt x="184" y="74"/>
                    </a:lnTo>
                    <a:lnTo>
                      <a:pt x="165" y="50"/>
                    </a:lnTo>
                    <a:lnTo>
                      <a:pt x="151" y="52"/>
                    </a:lnTo>
                    <a:lnTo>
                      <a:pt x="147" y="44"/>
                    </a:lnTo>
                    <a:lnTo>
                      <a:pt x="138" y="26"/>
                    </a:lnTo>
                    <a:lnTo>
                      <a:pt x="130" y="33"/>
                    </a:lnTo>
                    <a:lnTo>
                      <a:pt x="112" y="26"/>
                    </a:lnTo>
                    <a:lnTo>
                      <a:pt x="100" y="7"/>
                    </a:lnTo>
                    <a:lnTo>
                      <a:pt x="78" y="9"/>
                    </a:lnTo>
                    <a:lnTo>
                      <a:pt x="61" y="11"/>
                    </a:lnTo>
                    <a:lnTo>
                      <a:pt x="50" y="0"/>
                    </a:lnTo>
                    <a:lnTo>
                      <a:pt x="41" y="6"/>
                    </a:lnTo>
                    <a:lnTo>
                      <a:pt x="26" y="7"/>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71" name="Freeform 50"/>
              <p:cNvSpPr>
                <a:spLocks/>
              </p:cNvSpPr>
              <p:nvPr>
                <p:custDataLst>
                  <p:tags r:id="rId60"/>
                </p:custDataLst>
              </p:nvPr>
            </p:nvSpPr>
            <p:spPr bwMode="auto">
              <a:xfrm>
                <a:off x="2610" y="3109"/>
                <a:ext cx="430" cy="386"/>
              </a:xfrm>
              <a:custGeom>
                <a:avLst/>
                <a:gdLst/>
                <a:ahLst/>
                <a:cxnLst>
                  <a:cxn ang="0">
                    <a:pos x="78" y="102"/>
                  </a:cxn>
                  <a:cxn ang="0">
                    <a:pos x="55" y="167"/>
                  </a:cxn>
                  <a:cxn ang="0">
                    <a:pos x="44" y="182"/>
                  </a:cxn>
                  <a:cxn ang="0">
                    <a:pos x="24" y="200"/>
                  </a:cxn>
                  <a:cxn ang="0">
                    <a:pos x="0" y="204"/>
                  </a:cxn>
                  <a:cxn ang="0">
                    <a:pos x="31" y="260"/>
                  </a:cxn>
                  <a:cxn ang="0">
                    <a:pos x="57" y="260"/>
                  </a:cxn>
                  <a:cxn ang="0">
                    <a:pos x="48" y="278"/>
                  </a:cxn>
                  <a:cxn ang="0">
                    <a:pos x="57" y="308"/>
                  </a:cxn>
                  <a:cxn ang="0">
                    <a:pos x="76" y="330"/>
                  </a:cxn>
                  <a:cxn ang="0">
                    <a:pos x="91" y="317"/>
                  </a:cxn>
                  <a:cxn ang="0">
                    <a:pos x="107" y="319"/>
                  </a:cxn>
                  <a:cxn ang="0">
                    <a:pos x="159" y="325"/>
                  </a:cxn>
                  <a:cxn ang="0">
                    <a:pos x="190" y="341"/>
                  </a:cxn>
                  <a:cxn ang="0">
                    <a:pos x="207" y="362"/>
                  </a:cxn>
                  <a:cxn ang="0">
                    <a:pos x="229" y="353"/>
                  </a:cxn>
                  <a:cxn ang="0">
                    <a:pos x="271" y="386"/>
                  </a:cxn>
                  <a:cxn ang="0">
                    <a:pos x="278" y="367"/>
                  </a:cxn>
                  <a:cxn ang="0">
                    <a:pos x="277" y="336"/>
                  </a:cxn>
                  <a:cxn ang="0">
                    <a:pos x="259" y="323"/>
                  </a:cxn>
                  <a:cxn ang="0">
                    <a:pos x="215" y="295"/>
                  </a:cxn>
                  <a:cxn ang="0">
                    <a:pos x="189" y="286"/>
                  </a:cxn>
                  <a:cxn ang="0">
                    <a:pos x="179" y="273"/>
                  </a:cxn>
                  <a:cxn ang="0">
                    <a:pos x="194" y="258"/>
                  </a:cxn>
                  <a:cxn ang="0">
                    <a:pos x="183" y="236"/>
                  </a:cxn>
                  <a:cxn ang="0">
                    <a:pos x="202" y="245"/>
                  </a:cxn>
                  <a:cxn ang="0">
                    <a:pos x="215" y="238"/>
                  </a:cxn>
                  <a:cxn ang="0">
                    <a:pos x="190" y="202"/>
                  </a:cxn>
                  <a:cxn ang="0">
                    <a:pos x="170" y="160"/>
                  </a:cxn>
                  <a:cxn ang="0">
                    <a:pos x="165" y="134"/>
                  </a:cxn>
                  <a:cxn ang="0">
                    <a:pos x="176" y="117"/>
                  </a:cxn>
                  <a:cxn ang="0">
                    <a:pos x="185" y="139"/>
                  </a:cxn>
                  <a:cxn ang="0">
                    <a:pos x="190" y="147"/>
                  </a:cxn>
                  <a:cxn ang="0">
                    <a:pos x="227" y="176"/>
                  </a:cxn>
                  <a:cxn ang="0">
                    <a:pos x="231" y="156"/>
                  </a:cxn>
                  <a:cxn ang="0">
                    <a:pos x="257" y="176"/>
                  </a:cxn>
                  <a:cxn ang="0">
                    <a:pos x="246" y="152"/>
                  </a:cxn>
                  <a:cxn ang="0">
                    <a:pos x="257" y="141"/>
                  </a:cxn>
                  <a:cxn ang="0">
                    <a:pos x="288" y="148"/>
                  </a:cxn>
                  <a:cxn ang="0">
                    <a:pos x="275" y="130"/>
                  </a:cxn>
                  <a:cxn ang="0">
                    <a:pos x="246" y="113"/>
                  </a:cxn>
                  <a:cxn ang="0">
                    <a:pos x="248" y="98"/>
                  </a:cxn>
                  <a:cxn ang="0">
                    <a:pos x="299" y="87"/>
                  </a:cxn>
                  <a:cxn ang="0">
                    <a:pos x="350" y="82"/>
                  </a:cxn>
                  <a:cxn ang="0">
                    <a:pos x="378" y="87"/>
                  </a:cxn>
                  <a:cxn ang="0">
                    <a:pos x="406" y="76"/>
                  </a:cxn>
                  <a:cxn ang="0">
                    <a:pos x="428" y="48"/>
                  </a:cxn>
                  <a:cxn ang="0">
                    <a:pos x="428" y="6"/>
                  </a:cxn>
                  <a:cxn ang="0">
                    <a:pos x="408" y="0"/>
                  </a:cxn>
                  <a:cxn ang="0">
                    <a:pos x="402" y="20"/>
                  </a:cxn>
                  <a:cxn ang="0">
                    <a:pos x="389" y="35"/>
                  </a:cxn>
                  <a:cxn ang="0">
                    <a:pos x="371" y="45"/>
                  </a:cxn>
                  <a:cxn ang="0">
                    <a:pos x="338" y="33"/>
                  </a:cxn>
                  <a:cxn ang="0">
                    <a:pos x="306" y="20"/>
                  </a:cxn>
                  <a:cxn ang="0">
                    <a:pos x="271" y="45"/>
                  </a:cxn>
                  <a:cxn ang="0">
                    <a:pos x="231" y="56"/>
                  </a:cxn>
                  <a:cxn ang="0">
                    <a:pos x="202" y="61"/>
                  </a:cxn>
                  <a:cxn ang="0">
                    <a:pos x="183" y="78"/>
                  </a:cxn>
                  <a:cxn ang="0">
                    <a:pos x="153" y="82"/>
                  </a:cxn>
                  <a:cxn ang="0">
                    <a:pos x="126" y="97"/>
                  </a:cxn>
                  <a:cxn ang="0">
                    <a:pos x="98" y="97"/>
                  </a:cxn>
                </a:cxnLst>
                <a:rect l="0" t="0" r="r" b="b"/>
                <a:pathLst>
                  <a:path w="430" h="386">
                    <a:moveTo>
                      <a:pt x="87" y="95"/>
                    </a:moveTo>
                    <a:lnTo>
                      <a:pt x="78" y="102"/>
                    </a:lnTo>
                    <a:lnTo>
                      <a:pt x="68" y="135"/>
                    </a:lnTo>
                    <a:lnTo>
                      <a:pt x="55" y="167"/>
                    </a:lnTo>
                    <a:lnTo>
                      <a:pt x="50" y="171"/>
                    </a:lnTo>
                    <a:lnTo>
                      <a:pt x="44" y="182"/>
                    </a:lnTo>
                    <a:lnTo>
                      <a:pt x="37" y="193"/>
                    </a:lnTo>
                    <a:lnTo>
                      <a:pt x="24" y="200"/>
                    </a:lnTo>
                    <a:lnTo>
                      <a:pt x="13" y="204"/>
                    </a:lnTo>
                    <a:lnTo>
                      <a:pt x="0" y="204"/>
                    </a:lnTo>
                    <a:lnTo>
                      <a:pt x="17" y="241"/>
                    </a:lnTo>
                    <a:lnTo>
                      <a:pt x="31" y="260"/>
                    </a:lnTo>
                    <a:lnTo>
                      <a:pt x="44" y="260"/>
                    </a:lnTo>
                    <a:lnTo>
                      <a:pt x="57" y="260"/>
                    </a:lnTo>
                    <a:lnTo>
                      <a:pt x="61" y="269"/>
                    </a:lnTo>
                    <a:lnTo>
                      <a:pt x="48" y="278"/>
                    </a:lnTo>
                    <a:lnTo>
                      <a:pt x="48" y="290"/>
                    </a:lnTo>
                    <a:lnTo>
                      <a:pt x="57" y="308"/>
                    </a:lnTo>
                    <a:lnTo>
                      <a:pt x="68" y="323"/>
                    </a:lnTo>
                    <a:lnTo>
                      <a:pt x="76" y="330"/>
                    </a:lnTo>
                    <a:lnTo>
                      <a:pt x="80" y="319"/>
                    </a:lnTo>
                    <a:lnTo>
                      <a:pt x="91" y="317"/>
                    </a:lnTo>
                    <a:lnTo>
                      <a:pt x="104" y="328"/>
                    </a:lnTo>
                    <a:lnTo>
                      <a:pt x="107" y="319"/>
                    </a:lnTo>
                    <a:lnTo>
                      <a:pt x="128" y="321"/>
                    </a:lnTo>
                    <a:lnTo>
                      <a:pt x="159" y="325"/>
                    </a:lnTo>
                    <a:lnTo>
                      <a:pt x="181" y="332"/>
                    </a:lnTo>
                    <a:lnTo>
                      <a:pt x="190" y="341"/>
                    </a:lnTo>
                    <a:lnTo>
                      <a:pt x="200" y="354"/>
                    </a:lnTo>
                    <a:lnTo>
                      <a:pt x="207" y="362"/>
                    </a:lnTo>
                    <a:lnTo>
                      <a:pt x="216" y="354"/>
                    </a:lnTo>
                    <a:lnTo>
                      <a:pt x="229" y="353"/>
                    </a:lnTo>
                    <a:lnTo>
                      <a:pt x="248" y="366"/>
                    </a:lnTo>
                    <a:lnTo>
                      <a:pt x="271" y="386"/>
                    </a:lnTo>
                    <a:lnTo>
                      <a:pt x="277" y="382"/>
                    </a:lnTo>
                    <a:lnTo>
                      <a:pt x="278" y="367"/>
                    </a:lnTo>
                    <a:lnTo>
                      <a:pt x="278" y="351"/>
                    </a:lnTo>
                    <a:lnTo>
                      <a:pt x="277" y="336"/>
                    </a:lnTo>
                    <a:lnTo>
                      <a:pt x="266" y="319"/>
                    </a:lnTo>
                    <a:lnTo>
                      <a:pt x="259" y="323"/>
                    </a:lnTo>
                    <a:lnTo>
                      <a:pt x="242" y="315"/>
                    </a:lnTo>
                    <a:lnTo>
                      <a:pt x="215" y="295"/>
                    </a:lnTo>
                    <a:lnTo>
                      <a:pt x="207" y="288"/>
                    </a:lnTo>
                    <a:lnTo>
                      <a:pt x="189" y="286"/>
                    </a:lnTo>
                    <a:lnTo>
                      <a:pt x="179" y="280"/>
                    </a:lnTo>
                    <a:lnTo>
                      <a:pt x="179" y="273"/>
                    </a:lnTo>
                    <a:lnTo>
                      <a:pt x="190" y="262"/>
                    </a:lnTo>
                    <a:lnTo>
                      <a:pt x="194" y="258"/>
                    </a:lnTo>
                    <a:lnTo>
                      <a:pt x="187" y="249"/>
                    </a:lnTo>
                    <a:lnTo>
                      <a:pt x="183" y="236"/>
                    </a:lnTo>
                    <a:lnTo>
                      <a:pt x="187" y="230"/>
                    </a:lnTo>
                    <a:lnTo>
                      <a:pt x="202" y="245"/>
                    </a:lnTo>
                    <a:lnTo>
                      <a:pt x="215" y="251"/>
                    </a:lnTo>
                    <a:lnTo>
                      <a:pt x="215" y="238"/>
                    </a:lnTo>
                    <a:lnTo>
                      <a:pt x="207" y="223"/>
                    </a:lnTo>
                    <a:lnTo>
                      <a:pt x="190" y="202"/>
                    </a:lnTo>
                    <a:lnTo>
                      <a:pt x="172" y="174"/>
                    </a:lnTo>
                    <a:lnTo>
                      <a:pt x="170" y="160"/>
                    </a:lnTo>
                    <a:lnTo>
                      <a:pt x="168" y="147"/>
                    </a:lnTo>
                    <a:lnTo>
                      <a:pt x="165" y="134"/>
                    </a:lnTo>
                    <a:lnTo>
                      <a:pt x="163" y="121"/>
                    </a:lnTo>
                    <a:lnTo>
                      <a:pt x="176" y="117"/>
                    </a:lnTo>
                    <a:lnTo>
                      <a:pt x="174" y="126"/>
                    </a:lnTo>
                    <a:lnTo>
                      <a:pt x="185" y="139"/>
                    </a:lnTo>
                    <a:lnTo>
                      <a:pt x="192" y="139"/>
                    </a:lnTo>
                    <a:lnTo>
                      <a:pt x="190" y="147"/>
                    </a:lnTo>
                    <a:lnTo>
                      <a:pt x="226" y="182"/>
                    </a:lnTo>
                    <a:lnTo>
                      <a:pt x="227" y="176"/>
                    </a:lnTo>
                    <a:lnTo>
                      <a:pt x="220" y="160"/>
                    </a:lnTo>
                    <a:lnTo>
                      <a:pt x="231" y="156"/>
                    </a:lnTo>
                    <a:lnTo>
                      <a:pt x="248" y="163"/>
                    </a:lnTo>
                    <a:lnTo>
                      <a:pt x="257" y="176"/>
                    </a:lnTo>
                    <a:lnTo>
                      <a:pt x="259" y="167"/>
                    </a:lnTo>
                    <a:lnTo>
                      <a:pt x="246" y="152"/>
                    </a:lnTo>
                    <a:lnTo>
                      <a:pt x="248" y="145"/>
                    </a:lnTo>
                    <a:lnTo>
                      <a:pt x="257" y="141"/>
                    </a:lnTo>
                    <a:lnTo>
                      <a:pt x="282" y="152"/>
                    </a:lnTo>
                    <a:lnTo>
                      <a:pt x="288" y="148"/>
                    </a:lnTo>
                    <a:lnTo>
                      <a:pt x="286" y="137"/>
                    </a:lnTo>
                    <a:lnTo>
                      <a:pt x="275" y="130"/>
                    </a:lnTo>
                    <a:lnTo>
                      <a:pt x="257" y="122"/>
                    </a:lnTo>
                    <a:lnTo>
                      <a:pt x="246" y="113"/>
                    </a:lnTo>
                    <a:lnTo>
                      <a:pt x="244" y="106"/>
                    </a:lnTo>
                    <a:lnTo>
                      <a:pt x="248" y="98"/>
                    </a:lnTo>
                    <a:lnTo>
                      <a:pt x="273" y="95"/>
                    </a:lnTo>
                    <a:lnTo>
                      <a:pt x="299" y="87"/>
                    </a:lnTo>
                    <a:lnTo>
                      <a:pt x="317" y="89"/>
                    </a:lnTo>
                    <a:lnTo>
                      <a:pt x="350" y="82"/>
                    </a:lnTo>
                    <a:lnTo>
                      <a:pt x="356" y="78"/>
                    </a:lnTo>
                    <a:lnTo>
                      <a:pt x="378" y="87"/>
                    </a:lnTo>
                    <a:lnTo>
                      <a:pt x="397" y="97"/>
                    </a:lnTo>
                    <a:lnTo>
                      <a:pt x="406" y="76"/>
                    </a:lnTo>
                    <a:lnTo>
                      <a:pt x="423" y="54"/>
                    </a:lnTo>
                    <a:lnTo>
                      <a:pt x="428" y="48"/>
                    </a:lnTo>
                    <a:lnTo>
                      <a:pt x="430" y="9"/>
                    </a:lnTo>
                    <a:lnTo>
                      <a:pt x="428" y="6"/>
                    </a:lnTo>
                    <a:lnTo>
                      <a:pt x="419" y="0"/>
                    </a:lnTo>
                    <a:lnTo>
                      <a:pt x="408" y="0"/>
                    </a:lnTo>
                    <a:lnTo>
                      <a:pt x="402" y="6"/>
                    </a:lnTo>
                    <a:lnTo>
                      <a:pt x="402" y="20"/>
                    </a:lnTo>
                    <a:lnTo>
                      <a:pt x="404" y="32"/>
                    </a:lnTo>
                    <a:lnTo>
                      <a:pt x="389" y="35"/>
                    </a:lnTo>
                    <a:lnTo>
                      <a:pt x="378" y="43"/>
                    </a:lnTo>
                    <a:lnTo>
                      <a:pt x="371" y="45"/>
                    </a:lnTo>
                    <a:lnTo>
                      <a:pt x="347" y="39"/>
                    </a:lnTo>
                    <a:lnTo>
                      <a:pt x="338" y="33"/>
                    </a:lnTo>
                    <a:lnTo>
                      <a:pt x="325" y="41"/>
                    </a:lnTo>
                    <a:lnTo>
                      <a:pt x="306" y="20"/>
                    </a:lnTo>
                    <a:lnTo>
                      <a:pt x="286" y="35"/>
                    </a:lnTo>
                    <a:lnTo>
                      <a:pt x="271" y="45"/>
                    </a:lnTo>
                    <a:lnTo>
                      <a:pt x="255" y="52"/>
                    </a:lnTo>
                    <a:lnTo>
                      <a:pt x="231" y="56"/>
                    </a:lnTo>
                    <a:lnTo>
                      <a:pt x="215" y="61"/>
                    </a:lnTo>
                    <a:lnTo>
                      <a:pt x="202" y="61"/>
                    </a:lnTo>
                    <a:lnTo>
                      <a:pt x="196" y="63"/>
                    </a:lnTo>
                    <a:lnTo>
                      <a:pt x="183" y="78"/>
                    </a:lnTo>
                    <a:lnTo>
                      <a:pt x="172" y="78"/>
                    </a:lnTo>
                    <a:lnTo>
                      <a:pt x="153" y="82"/>
                    </a:lnTo>
                    <a:lnTo>
                      <a:pt x="135" y="80"/>
                    </a:lnTo>
                    <a:lnTo>
                      <a:pt x="126" y="97"/>
                    </a:lnTo>
                    <a:lnTo>
                      <a:pt x="111" y="98"/>
                    </a:lnTo>
                    <a:lnTo>
                      <a:pt x="98" y="97"/>
                    </a:lnTo>
                    <a:lnTo>
                      <a:pt x="87" y="95"/>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72" name="Freeform 51"/>
              <p:cNvSpPr>
                <a:spLocks/>
              </p:cNvSpPr>
              <p:nvPr>
                <p:custDataLst>
                  <p:tags r:id="rId61"/>
                </p:custDataLst>
              </p:nvPr>
            </p:nvSpPr>
            <p:spPr bwMode="auto">
              <a:xfrm>
                <a:off x="2824" y="3374"/>
                <a:ext cx="107" cy="87"/>
              </a:xfrm>
              <a:custGeom>
                <a:avLst/>
                <a:gdLst/>
                <a:ahLst/>
                <a:cxnLst>
                  <a:cxn ang="0">
                    <a:pos x="9" y="0"/>
                  </a:cxn>
                  <a:cxn ang="0">
                    <a:pos x="0" y="7"/>
                  </a:cxn>
                  <a:cxn ang="0">
                    <a:pos x="11" y="26"/>
                  </a:cxn>
                  <a:cxn ang="0">
                    <a:pos x="24" y="30"/>
                  </a:cxn>
                  <a:cxn ang="0">
                    <a:pos x="39" y="46"/>
                  </a:cxn>
                  <a:cxn ang="0">
                    <a:pos x="52" y="54"/>
                  </a:cxn>
                  <a:cxn ang="0">
                    <a:pos x="74" y="70"/>
                  </a:cxn>
                  <a:cxn ang="0">
                    <a:pos x="87" y="76"/>
                  </a:cxn>
                  <a:cxn ang="0">
                    <a:pos x="103" y="87"/>
                  </a:cxn>
                  <a:cxn ang="0">
                    <a:pos x="107" y="81"/>
                  </a:cxn>
                  <a:cxn ang="0">
                    <a:pos x="74" y="56"/>
                  </a:cxn>
                  <a:cxn ang="0">
                    <a:pos x="72" y="44"/>
                  </a:cxn>
                  <a:cxn ang="0">
                    <a:pos x="68" y="33"/>
                  </a:cxn>
                  <a:cxn ang="0">
                    <a:pos x="54" y="20"/>
                  </a:cxn>
                  <a:cxn ang="0">
                    <a:pos x="50" y="22"/>
                  </a:cxn>
                  <a:cxn ang="0">
                    <a:pos x="32" y="9"/>
                  </a:cxn>
                  <a:cxn ang="0">
                    <a:pos x="22" y="4"/>
                  </a:cxn>
                  <a:cxn ang="0">
                    <a:pos x="9" y="0"/>
                  </a:cxn>
                </a:cxnLst>
                <a:rect l="0" t="0" r="r" b="b"/>
                <a:pathLst>
                  <a:path w="107" h="87">
                    <a:moveTo>
                      <a:pt x="9" y="0"/>
                    </a:moveTo>
                    <a:lnTo>
                      <a:pt x="0" y="7"/>
                    </a:lnTo>
                    <a:lnTo>
                      <a:pt x="11" y="26"/>
                    </a:lnTo>
                    <a:lnTo>
                      <a:pt x="24" y="30"/>
                    </a:lnTo>
                    <a:lnTo>
                      <a:pt x="39" y="46"/>
                    </a:lnTo>
                    <a:lnTo>
                      <a:pt x="52" y="54"/>
                    </a:lnTo>
                    <a:lnTo>
                      <a:pt x="74" y="70"/>
                    </a:lnTo>
                    <a:lnTo>
                      <a:pt x="87" y="76"/>
                    </a:lnTo>
                    <a:lnTo>
                      <a:pt x="103" y="87"/>
                    </a:lnTo>
                    <a:lnTo>
                      <a:pt x="107" y="81"/>
                    </a:lnTo>
                    <a:lnTo>
                      <a:pt x="74" y="56"/>
                    </a:lnTo>
                    <a:lnTo>
                      <a:pt x="72" y="44"/>
                    </a:lnTo>
                    <a:lnTo>
                      <a:pt x="68" y="33"/>
                    </a:lnTo>
                    <a:lnTo>
                      <a:pt x="54" y="20"/>
                    </a:lnTo>
                    <a:lnTo>
                      <a:pt x="50" y="22"/>
                    </a:lnTo>
                    <a:lnTo>
                      <a:pt x="32" y="9"/>
                    </a:lnTo>
                    <a:lnTo>
                      <a:pt x="22" y="4"/>
                    </a:lnTo>
                    <a:lnTo>
                      <a:pt x="9"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73" name="Freeform 52"/>
              <p:cNvSpPr>
                <a:spLocks/>
              </p:cNvSpPr>
              <p:nvPr>
                <p:custDataLst>
                  <p:tags r:id="rId62"/>
                </p:custDataLst>
              </p:nvPr>
            </p:nvSpPr>
            <p:spPr bwMode="auto">
              <a:xfrm>
                <a:off x="2858" y="3666"/>
                <a:ext cx="201" cy="54"/>
              </a:xfrm>
              <a:custGeom>
                <a:avLst/>
                <a:gdLst/>
                <a:ahLst/>
                <a:cxnLst>
                  <a:cxn ang="0">
                    <a:pos x="42" y="11"/>
                  </a:cxn>
                  <a:cxn ang="0">
                    <a:pos x="57" y="4"/>
                  </a:cxn>
                  <a:cxn ang="0">
                    <a:pos x="64" y="11"/>
                  </a:cxn>
                  <a:cxn ang="0">
                    <a:pos x="70" y="13"/>
                  </a:cxn>
                  <a:cxn ang="0">
                    <a:pos x="81" y="7"/>
                  </a:cxn>
                  <a:cxn ang="0">
                    <a:pos x="88" y="4"/>
                  </a:cxn>
                  <a:cxn ang="0">
                    <a:pos x="120" y="7"/>
                  </a:cxn>
                  <a:cxn ang="0">
                    <a:pos x="151" y="6"/>
                  </a:cxn>
                  <a:cxn ang="0">
                    <a:pos x="160" y="15"/>
                  </a:cxn>
                  <a:cxn ang="0">
                    <a:pos x="160" y="20"/>
                  </a:cxn>
                  <a:cxn ang="0">
                    <a:pos x="182" y="17"/>
                  </a:cxn>
                  <a:cxn ang="0">
                    <a:pos x="194" y="19"/>
                  </a:cxn>
                  <a:cxn ang="0">
                    <a:pos x="201" y="26"/>
                  </a:cxn>
                  <a:cxn ang="0">
                    <a:pos x="194" y="35"/>
                  </a:cxn>
                  <a:cxn ang="0">
                    <a:pos x="175" y="34"/>
                  </a:cxn>
                  <a:cxn ang="0">
                    <a:pos x="162" y="41"/>
                  </a:cxn>
                  <a:cxn ang="0">
                    <a:pos x="140" y="41"/>
                  </a:cxn>
                  <a:cxn ang="0">
                    <a:pos x="118" y="50"/>
                  </a:cxn>
                  <a:cxn ang="0">
                    <a:pos x="99" y="54"/>
                  </a:cxn>
                  <a:cxn ang="0">
                    <a:pos x="84" y="45"/>
                  </a:cxn>
                  <a:cxn ang="0">
                    <a:pos x="64" y="34"/>
                  </a:cxn>
                  <a:cxn ang="0">
                    <a:pos x="44" y="34"/>
                  </a:cxn>
                  <a:cxn ang="0">
                    <a:pos x="17" y="28"/>
                  </a:cxn>
                  <a:cxn ang="0">
                    <a:pos x="7" y="20"/>
                  </a:cxn>
                  <a:cxn ang="0">
                    <a:pos x="0" y="6"/>
                  </a:cxn>
                  <a:cxn ang="0">
                    <a:pos x="4" y="0"/>
                  </a:cxn>
                  <a:cxn ang="0">
                    <a:pos x="27" y="4"/>
                  </a:cxn>
                  <a:cxn ang="0">
                    <a:pos x="42" y="11"/>
                  </a:cxn>
                </a:cxnLst>
                <a:rect l="0" t="0" r="r" b="b"/>
                <a:pathLst>
                  <a:path w="201" h="54">
                    <a:moveTo>
                      <a:pt x="42" y="11"/>
                    </a:moveTo>
                    <a:lnTo>
                      <a:pt x="57" y="4"/>
                    </a:lnTo>
                    <a:lnTo>
                      <a:pt x="64" y="11"/>
                    </a:lnTo>
                    <a:lnTo>
                      <a:pt x="70" y="13"/>
                    </a:lnTo>
                    <a:lnTo>
                      <a:pt x="81" y="7"/>
                    </a:lnTo>
                    <a:lnTo>
                      <a:pt x="88" y="4"/>
                    </a:lnTo>
                    <a:lnTo>
                      <a:pt x="120" y="7"/>
                    </a:lnTo>
                    <a:lnTo>
                      <a:pt x="151" y="6"/>
                    </a:lnTo>
                    <a:lnTo>
                      <a:pt x="160" y="15"/>
                    </a:lnTo>
                    <a:lnTo>
                      <a:pt x="160" y="20"/>
                    </a:lnTo>
                    <a:lnTo>
                      <a:pt x="182" y="17"/>
                    </a:lnTo>
                    <a:lnTo>
                      <a:pt x="194" y="19"/>
                    </a:lnTo>
                    <a:lnTo>
                      <a:pt x="201" y="26"/>
                    </a:lnTo>
                    <a:lnTo>
                      <a:pt x="194" y="35"/>
                    </a:lnTo>
                    <a:lnTo>
                      <a:pt x="175" y="34"/>
                    </a:lnTo>
                    <a:lnTo>
                      <a:pt x="162" y="41"/>
                    </a:lnTo>
                    <a:lnTo>
                      <a:pt x="140" y="41"/>
                    </a:lnTo>
                    <a:lnTo>
                      <a:pt x="118" y="50"/>
                    </a:lnTo>
                    <a:lnTo>
                      <a:pt x="99" y="54"/>
                    </a:lnTo>
                    <a:lnTo>
                      <a:pt x="84" y="45"/>
                    </a:lnTo>
                    <a:lnTo>
                      <a:pt x="64" y="34"/>
                    </a:lnTo>
                    <a:lnTo>
                      <a:pt x="44" y="34"/>
                    </a:lnTo>
                    <a:lnTo>
                      <a:pt x="17" y="28"/>
                    </a:lnTo>
                    <a:lnTo>
                      <a:pt x="7" y="20"/>
                    </a:lnTo>
                    <a:lnTo>
                      <a:pt x="0" y="6"/>
                    </a:lnTo>
                    <a:lnTo>
                      <a:pt x="4" y="0"/>
                    </a:lnTo>
                    <a:lnTo>
                      <a:pt x="27" y="4"/>
                    </a:lnTo>
                    <a:lnTo>
                      <a:pt x="42" y="11"/>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74" name="Freeform 53"/>
              <p:cNvSpPr>
                <a:spLocks/>
              </p:cNvSpPr>
              <p:nvPr>
                <p:custDataLst>
                  <p:tags r:id="rId63"/>
                </p:custDataLst>
              </p:nvPr>
            </p:nvSpPr>
            <p:spPr bwMode="auto">
              <a:xfrm>
                <a:off x="2944" y="3271"/>
                <a:ext cx="30" cy="28"/>
              </a:xfrm>
              <a:custGeom>
                <a:avLst/>
                <a:gdLst/>
                <a:ahLst/>
                <a:cxnLst>
                  <a:cxn ang="0">
                    <a:pos x="30" y="0"/>
                  </a:cxn>
                  <a:cxn ang="0">
                    <a:pos x="11" y="0"/>
                  </a:cxn>
                  <a:cxn ang="0">
                    <a:pos x="2" y="6"/>
                  </a:cxn>
                  <a:cxn ang="0">
                    <a:pos x="0" y="15"/>
                  </a:cxn>
                  <a:cxn ang="0">
                    <a:pos x="0" y="26"/>
                  </a:cxn>
                  <a:cxn ang="0">
                    <a:pos x="9" y="28"/>
                  </a:cxn>
                  <a:cxn ang="0">
                    <a:pos x="26" y="17"/>
                  </a:cxn>
                  <a:cxn ang="0">
                    <a:pos x="30" y="0"/>
                  </a:cxn>
                </a:cxnLst>
                <a:rect l="0" t="0" r="r" b="b"/>
                <a:pathLst>
                  <a:path w="30" h="28">
                    <a:moveTo>
                      <a:pt x="30" y="0"/>
                    </a:moveTo>
                    <a:lnTo>
                      <a:pt x="11" y="0"/>
                    </a:lnTo>
                    <a:lnTo>
                      <a:pt x="2" y="6"/>
                    </a:lnTo>
                    <a:lnTo>
                      <a:pt x="0" y="15"/>
                    </a:lnTo>
                    <a:lnTo>
                      <a:pt x="0" y="26"/>
                    </a:lnTo>
                    <a:lnTo>
                      <a:pt x="9" y="28"/>
                    </a:lnTo>
                    <a:lnTo>
                      <a:pt x="26" y="17"/>
                    </a:lnTo>
                    <a:lnTo>
                      <a:pt x="30"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75" name="Freeform 54"/>
              <p:cNvSpPr>
                <a:spLocks/>
              </p:cNvSpPr>
              <p:nvPr>
                <p:custDataLst>
                  <p:tags r:id="rId64"/>
                </p:custDataLst>
              </p:nvPr>
            </p:nvSpPr>
            <p:spPr bwMode="auto">
              <a:xfrm>
                <a:off x="3148" y="3534"/>
                <a:ext cx="41" cy="22"/>
              </a:xfrm>
              <a:custGeom>
                <a:avLst/>
                <a:gdLst/>
                <a:ahLst/>
                <a:cxnLst>
                  <a:cxn ang="0">
                    <a:pos x="41" y="6"/>
                  </a:cxn>
                  <a:cxn ang="0">
                    <a:pos x="22" y="22"/>
                  </a:cxn>
                  <a:cxn ang="0">
                    <a:pos x="9" y="22"/>
                  </a:cxn>
                  <a:cxn ang="0">
                    <a:pos x="0" y="15"/>
                  </a:cxn>
                  <a:cxn ang="0">
                    <a:pos x="6" y="2"/>
                  </a:cxn>
                  <a:cxn ang="0">
                    <a:pos x="26" y="0"/>
                  </a:cxn>
                  <a:cxn ang="0">
                    <a:pos x="41" y="6"/>
                  </a:cxn>
                </a:cxnLst>
                <a:rect l="0" t="0" r="r" b="b"/>
                <a:pathLst>
                  <a:path w="41" h="22">
                    <a:moveTo>
                      <a:pt x="41" y="6"/>
                    </a:moveTo>
                    <a:lnTo>
                      <a:pt x="22" y="22"/>
                    </a:lnTo>
                    <a:lnTo>
                      <a:pt x="9" y="22"/>
                    </a:lnTo>
                    <a:lnTo>
                      <a:pt x="0" y="15"/>
                    </a:lnTo>
                    <a:lnTo>
                      <a:pt x="6" y="2"/>
                    </a:lnTo>
                    <a:lnTo>
                      <a:pt x="26" y="0"/>
                    </a:lnTo>
                    <a:lnTo>
                      <a:pt x="41" y="6"/>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76" name="Freeform 55"/>
              <p:cNvSpPr>
                <a:spLocks/>
              </p:cNvSpPr>
              <p:nvPr>
                <p:custDataLst>
                  <p:tags r:id="rId65"/>
                </p:custDataLst>
              </p:nvPr>
            </p:nvSpPr>
            <p:spPr bwMode="auto">
              <a:xfrm>
                <a:off x="3154" y="3584"/>
                <a:ext cx="42" cy="34"/>
              </a:xfrm>
              <a:custGeom>
                <a:avLst/>
                <a:gdLst/>
                <a:ahLst/>
                <a:cxnLst>
                  <a:cxn ang="0">
                    <a:pos x="42" y="0"/>
                  </a:cxn>
                  <a:cxn ang="0">
                    <a:pos x="42" y="11"/>
                  </a:cxn>
                  <a:cxn ang="0">
                    <a:pos x="16" y="29"/>
                  </a:cxn>
                  <a:cxn ang="0">
                    <a:pos x="5" y="34"/>
                  </a:cxn>
                  <a:cxn ang="0">
                    <a:pos x="0" y="32"/>
                  </a:cxn>
                  <a:cxn ang="0">
                    <a:pos x="4" y="20"/>
                  </a:cxn>
                  <a:cxn ang="0">
                    <a:pos x="22" y="6"/>
                  </a:cxn>
                  <a:cxn ang="0">
                    <a:pos x="42" y="0"/>
                  </a:cxn>
                </a:cxnLst>
                <a:rect l="0" t="0" r="r" b="b"/>
                <a:pathLst>
                  <a:path w="42" h="34">
                    <a:moveTo>
                      <a:pt x="42" y="0"/>
                    </a:moveTo>
                    <a:lnTo>
                      <a:pt x="42" y="11"/>
                    </a:lnTo>
                    <a:lnTo>
                      <a:pt x="16" y="29"/>
                    </a:lnTo>
                    <a:lnTo>
                      <a:pt x="5" y="34"/>
                    </a:lnTo>
                    <a:lnTo>
                      <a:pt x="0" y="32"/>
                    </a:lnTo>
                    <a:lnTo>
                      <a:pt x="4" y="20"/>
                    </a:lnTo>
                    <a:lnTo>
                      <a:pt x="22" y="6"/>
                    </a:lnTo>
                    <a:lnTo>
                      <a:pt x="42"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77" name="Freeform 56"/>
              <p:cNvSpPr>
                <a:spLocks/>
              </p:cNvSpPr>
              <p:nvPr>
                <p:custDataLst>
                  <p:tags r:id="rId66"/>
                </p:custDataLst>
              </p:nvPr>
            </p:nvSpPr>
            <p:spPr bwMode="auto">
              <a:xfrm>
                <a:off x="3000" y="3319"/>
                <a:ext cx="52" cy="37"/>
              </a:xfrm>
              <a:custGeom>
                <a:avLst/>
                <a:gdLst/>
                <a:ahLst/>
                <a:cxnLst>
                  <a:cxn ang="0">
                    <a:pos x="28" y="0"/>
                  </a:cxn>
                  <a:cxn ang="0">
                    <a:pos x="52" y="26"/>
                  </a:cxn>
                  <a:cxn ang="0">
                    <a:pos x="48" y="33"/>
                  </a:cxn>
                  <a:cxn ang="0">
                    <a:pos x="35" y="37"/>
                  </a:cxn>
                  <a:cxn ang="0">
                    <a:pos x="33" y="28"/>
                  </a:cxn>
                  <a:cxn ang="0">
                    <a:pos x="28" y="24"/>
                  </a:cxn>
                  <a:cxn ang="0">
                    <a:pos x="20" y="28"/>
                  </a:cxn>
                  <a:cxn ang="0">
                    <a:pos x="11" y="22"/>
                  </a:cxn>
                  <a:cxn ang="0">
                    <a:pos x="7" y="17"/>
                  </a:cxn>
                  <a:cxn ang="0">
                    <a:pos x="13" y="13"/>
                  </a:cxn>
                  <a:cxn ang="0">
                    <a:pos x="2" y="19"/>
                  </a:cxn>
                  <a:cxn ang="0">
                    <a:pos x="0" y="13"/>
                  </a:cxn>
                  <a:cxn ang="0">
                    <a:pos x="15" y="7"/>
                  </a:cxn>
                  <a:cxn ang="0">
                    <a:pos x="28" y="0"/>
                  </a:cxn>
                </a:cxnLst>
                <a:rect l="0" t="0" r="r" b="b"/>
                <a:pathLst>
                  <a:path w="52" h="37">
                    <a:moveTo>
                      <a:pt x="28" y="0"/>
                    </a:moveTo>
                    <a:lnTo>
                      <a:pt x="52" y="26"/>
                    </a:lnTo>
                    <a:lnTo>
                      <a:pt x="48" y="33"/>
                    </a:lnTo>
                    <a:lnTo>
                      <a:pt x="35" y="37"/>
                    </a:lnTo>
                    <a:lnTo>
                      <a:pt x="33" y="28"/>
                    </a:lnTo>
                    <a:lnTo>
                      <a:pt x="28" y="24"/>
                    </a:lnTo>
                    <a:lnTo>
                      <a:pt x="20" y="28"/>
                    </a:lnTo>
                    <a:lnTo>
                      <a:pt x="11" y="22"/>
                    </a:lnTo>
                    <a:lnTo>
                      <a:pt x="7" y="17"/>
                    </a:lnTo>
                    <a:lnTo>
                      <a:pt x="13" y="13"/>
                    </a:lnTo>
                    <a:lnTo>
                      <a:pt x="2" y="19"/>
                    </a:lnTo>
                    <a:lnTo>
                      <a:pt x="0" y="13"/>
                    </a:lnTo>
                    <a:lnTo>
                      <a:pt x="15" y="7"/>
                    </a:lnTo>
                    <a:lnTo>
                      <a:pt x="28"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grpSp>
          <p:nvGrpSpPr>
            <p:cNvPr id="28" name="Group 57"/>
            <p:cNvGrpSpPr>
              <a:grpSpLocks/>
            </p:cNvGrpSpPr>
            <p:nvPr/>
          </p:nvGrpSpPr>
          <p:grpSpPr bwMode="auto">
            <a:xfrm>
              <a:off x="1267774" y="4034214"/>
              <a:ext cx="1091910" cy="1296642"/>
              <a:chOff x="1150" y="2193"/>
              <a:chExt cx="764" cy="906"/>
            </a:xfrm>
            <a:solidFill>
              <a:schemeClr val="accent6"/>
            </a:solidFill>
          </p:grpSpPr>
          <p:sp>
            <p:nvSpPr>
              <p:cNvPr id="67" name="Freeform 58"/>
              <p:cNvSpPr>
                <a:spLocks/>
              </p:cNvSpPr>
              <p:nvPr>
                <p:custDataLst>
                  <p:tags r:id="rId56"/>
                </p:custDataLst>
              </p:nvPr>
            </p:nvSpPr>
            <p:spPr bwMode="auto">
              <a:xfrm>
                <a:off x="1846" y="2977"/>
                <a:ext cx="68" cy="122"/>
              </a:xfrm>
              <a:custGeom>
                <a:avLst/>
                <a:gdLst/>
                <a:ahLst/>
                <a:cxnLst>
                  <a:cxn ang="0">
                    <a:pos x="68" y="0"/>
                  </a:cxn>
                  <a:cxn ang="0">
                    <a:pos x="46" y="26"/>
                  </a:cxn>
                  <a:cxn ang="0">
                    <a:pos x="20" y="26"/>
                  </a:cxn>
                  <a:cxn ang="0">
                    <a:pos x="0" y="41"/>
                  </a:cxn>
                  <a:cxn ang="0">
                    <a:pos x="4" y="62"/>
                  </a:cxn>
                  <a:cxn ang="0">
                    <a:pos x="4" y="96"/>
                  </a:cxn>
                  <a:cxn ang="0">
                    <a:pos x="20" y="122"/>
                  </a:cxn>
                  <a:cxn ang="0">
                    <a:pos x="38" y="115"/>
                  </a:cxn>
                  <a:cxn ang="0">
                    <a:pos x="42" y="100"/>
                  </a:cxn>
                  <a:cxn ang="0">
                    <a:pos x="61" y="66"/>
                  </a:cxn>
                  <a:cxn ang="0">
                    <a:pos x="61" y="48"/>
                  </a:cxn>
                  <a:cxn ang="0">
                    <a:pos x="68" y="0"/>
                  </a:cxn>
                </a:cxnLst>
                <a:rect l="0" t="0" r="r" b="b"/>
                <a:pathLst>
                  <a:path w="68" h="122">
                    <a:moveTo>
                      <a:pt x="68" y="0"/>
                    </a:moveTo>
                    <a:lnTo>
                      <a:pt x="46" y="26"/>
                    </a:lnTo>
                    <a:lnTo>
                      <a:pt x="20" y="26"/>
                    </a:lnTo>
                    <a:lnTo>
                      <a:pt x="0" y="41"/>
                    </a:lnTo>
                    <a:lnTo>
                      <a:pt x="4" y="62"/>
                    </a:lnTo>
                    <a:lnTo>
                      <a:pt x="4" y="96"/>
                    </a:lnTo>
                    <a:lnTo>
                      <a:pt x="20" y="122"/>
                    </a:lnTo>
                    <a:lnTo>
                      <a:pt x="38" y="115"/>
                    </a:lnTo>
                    <a:lnTo>
                      <a:pt x="42" y="100"/>
                    </a:lnTo>
                    <a:lnTo>
                      <a:pt x="61" y="66"/>
                    </a:lnTo>
                    <a:lnTo>
                      <a:pt x="61" y="48"/>
                    </a:lnTo>
                    <a:lnTo>
                      <a:pt x="68"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68" name="Freeform 59"/>
              <p:cNvSpPr>
                <a:spLocks/>
              </p:cNvSpPr>
              <p:nvPr>
                <p:custDataLst>
                  <p:tags r:id="rId57"/>
                </p:custDataLst>
              </p:nvPr>
            </p:nvSpPr>
            <p:spPr bwMode="auto">
              <a:xfrm>
                <a:off x="1150" y="2193"/>
                <a:ext cx="764" cy="746"/>
              </a:xfrm>
              <a:custGeom>
                <a:avLst/>
                <a:gdLst/>
                <a:ahLst/>
                <a:cxnLst>
                  <a:cxn ang="0">
                    <a:pos x="11" y="145"/>
                  </a:cxn>
                  <a:cxn ang="0">
                    <a:pos x="13" y="174"/>
                  </a:cxn>
                  <a:cxn ang="0">
                    <a:pos x="74" y="221"/>
                  </a:cxn>
                  <a:cxn ang="0">
                    <a:pos x="122" y="250"/>
                  </a:cxn>
                  <a:cxn ang="0">
                    <a:pos x="117" y="290"/>
                  </a:cxn>
                  <a:cxn ang="0">
                    <a:pos x="145" y="349"/>
                  </a:cxn>
                  <a:cxn ang="0">
                    <a:pos x="158" y="429"/>
                  </a:cxn>
                  <a:cxn ang="0">
                    <a:pos x="132" y="429"/>
                  </a:cxn>
                  <a:cxn ang="0">
                    <a:pos x="115" y="470"/>
                  </a:cxn>
                  <a:cxn ang="0">
                    <a:pos x="98" y="511"/>
                  </a:cxn>
                  <a:cxn ang="0">
                    <a:pos x="57" y="583"/>
                  </a:cxn>
                  <a:cxn ang="0">
                    <a:pos x="59" y="618"/>
                  </a:cxn>
                  <a:cxn ang="0">
                    <a:pos x="161" y="685"/>
                  </a:cxn>
                  <a:cxn ang="0">
                    <a:pos x="249" y="726"/>
                  </a:cxn>
                  <a:cxn ang="0">
                    <a:pos x="325" y="746"/>
                  </a:cxn>
                  <a:cxn ang="0">
                    <a:pos x="353" y="689"/>
                  </a:cxn>
                  <a:cxn ang="0">
                    <a:pos x="422" y="664"/>
                  </a:cxn>
                  <a:cxn ang="0">
                    <a:pos x="472" y="690"/>
                  </a:cxn>
                  <a:cxn ang="0">
                    <a:pos x="541" y="726"/>
                  </a:cxn>
                  <a:cxn ang="0">
                    <a:pos x="604" y="711"/>
                  </a:cxn>
                  <a:cxn ang="0">
                    <a:pos x="650" y="663"/>
                  </a:cxn>
                  <a:cxn ang="0">
                    <a:pos x="622" y="642"/>
                  </a:cxn>
                  <a:cxn ang="0">
                    <a:pos x="617" y="574"/>
                  </a:cxn>
                  <a:cxn ang="0">
                    <a:pos x="635" y="511"/>
                  </a:cxn>
                  <a:cxn ang="0">
                    <a:pos x="635" y="453"/>
                  </a:cxn>
                  <a:cxn ang="0">
                    <a:pos x="602" y="455"/>
                  </a:cxn>
                  <a:cxn ang="0">
                    <a:pos x="587" y="446"/>
                  </a:cxn>
                  <a:cxn ang="0">
                    <a:pos x="622" y="405"/>
                  </a:cxn>
                  <a:cxn ang="0">
                    <a:pos x="676" y="353"/>
                  </a:cxn>
                  <a:cxn ang="0">
                    <a:pos x="705" y="327"/>
                  </a:cxn>
                  <a:cxn ang="0">
                    <a:pos x="727" y="277"/>
                  </a:cxn>
                  <a:cxn ang="0">
                    <a:pos x="764" y="234"/>
                  </a:cxn>
                  <a:cxn ang="0">
                    <a:pos x="720" y="213"/>
                  </a:cxn>
                  <a:cxn ang="0">
                    <a:pos x="667" y="195"/>
                  </a:cxn>
                  <a:cxn ang="0">
                    <a:pos x="631" y="163"/>
                  </a:cxn>
                  <a:cxn ang="0">
                    <a:pos x="581" y="119"/>
                  </a:cxn>
                  <a:cxn ang="0">
                    <a:pos x="539" y="76"/>
                  </a:cxn>
                  <a:cxn ang="0">
                    <a:pos x="509" y="30"/>
                  </a:cxn>
                  <a:cxn ang="0">
                    <a:pos x="444" y="2"/>
                  </a:cxn>
                  <a:cxn ang="0">
                    <a:pos x="416" y="35"/>
                  </a:cxn>
                  <a:cxn ang="0">
                    <a:pos x="318" y="87"/>
                  </a:cxn>
                  <a:cxn ang="0">
                    <a:pos x="266" y="104"/>
                  </a:cxn>
                  <a:cxn ang="0">
                    <a:pos x="220" y="78"/>
                  </a:cxn>
                  <a:cxn ang="0">
                    <a:pos x="199" y="56"/>
                  </a:cxn>
                  <a:cxn ang="0">
                    <a:pos x="205" y="83"/>
                  </a:cxn>
                  <a:cxn ang="0">
                    <a:pos x="198" y="113"/>
                  </a:cxn>
                  <a:cxn ang="0">
                    <a:pos x="182" y="137"/>
                  </a:cxn>
                  <a:cxn ang="0">
                    <a:pos x="141" y="126"/>
                  </a:cxn>
                  <a:cxn ang="0">
                    <a:pos x="93" y="96"/>
                  </a:cxn>
                  <a:cxn ang="0">
                    <a:pos x="59" y="108"/>
                  </a:cxn>
                </a:cxnLst>
                <a:rect l="0" t="0" r="r" b="b"/>
                <a:pathLst>
                  <a:path w="764" h="746">
                    <a:moveTo>
                      <a:pt x="13" y="106"/>
                    </a:moveTo>
                    <a:lnTo>
                      <a:pt x="20" y="124"/>
                    </a:lnTo>
                    <a:lnTo>
                      <a:pt x="13" y="139"/>
                    </a:lnTo>
                    <a:lnTo>
                      <a:pt x="11" y="145"/>
                    </a:lnTo>
                    <a:lnTo>
                      <a:pt x="0" y="141"/>
                    </a:lnTo>
                    <a:lnTo>
                      <a:pt x="4" y="150"/>
                    </a:lnTo>
                    <a:lnTo>
                      <a:pt x="4" y="159"/>
                    </a:lnTo>
                    <a:lnTo>
                      <a:pt x="13" y="174"/>
                    </a:lnTo>
                    <a:lnTo>
                      <a:pt x="30" y="169"/>
                    </a:lnTo>
                    <a:lnTo>
                      <a:pt x="52" y="193"/>
                    </a:lnTo>
                    <a:lnTo>
                      <a:pt x="61" y="209"/>
                    </a:lnTo>
                    <a:lnTo>
                      <a:pt x="74" y="221"/>
                    </a:lnTo>
                    <a:lnTo>
                      <a:pt x="91" y="221"/>
                    </a:lnTo>
                    <a:lnTo>
                      <a:pt x="98" y="235"/>
                    </a:lnTo>
                    <a:lnTo>
                      <a:pt x="113" y="248"/>
                    </a:lnTo>
                    <a:lnTo>
                      <a:pt x="122" y="250"/>
                    </a:lnTo>
                    <a:lnTo>
                      <a:pt x="124" y="256"/>
                    </a:lnTo>
                    <a:lnTo>
                      <a:pt x="119" y="268"/>
                    </a:lnTo>
                    <a:lnTo>
                      <a:pt x="119" y="279"/>
                    </a:lnTo>
                    <a:lnTo>
                      <a:pt x="117" y="290"/>
                    </a:lnTo>
                    <a:lnTo>
                      <a:pt x="113" y="309"/>
                    </a:lnTo>
                    <a:lnTo>
                      <a:pt x="128" y="327"/>
                    </a:lnTo>
                    <a:lnTo>
                      <a:pt x="145" y="340"/>
                    </a:lnTo>
                    <a:lnTo>
                      <a:pt x="145" y="349"/>
                    </a:lnTo>
                    <a:lnTo>
                      <a:pt x="143" y="381"/>
                    </a:lnTo>
                    <a:lnTo>
                      <a:pt x="139" y="407"/>
                    </a:lnTo>
                    <a:lnTo>
                      <a:pt x="143" y="418"/>
                    </a:lnTo>
                    <a:lnTo>
                      <a:pt x="158" y="429"/>
                    </a:lnTo>
                    <a:lnTo>
                      <a:pt x="158" y="451"/>
                    </a:lnTo>
                    <a:lnTo>
                      <a:pt x="158" y="466"/>
                    </a:lnTo>
                    <a:lnTo>
                      <a:pt x="141" y="444"/>
                    </a:lnTo>
                    <a:lnTo>
                      <a:pt x="132" y="429"/>
                    </a:lnTo>
                    <a:lnTo>
                      <a:pt x="126" y="433"/>
                    </a:lnTo>
                    <a:lnTo>
                      <a:pt x="130" y="444"/>
                    </a:lnTo>
                    <a:lnTo>
                      <a:pt x="124" y="457"/>
                    </a:lnTo>
                    <a:lnTo>
                      <a:pt x="115" y="470"/>
                    </a:lnTo>
                    <a:lnTo>
                      <a:pt x="109" y="479"/>
                    </a:lnTo>
                    <a:lnTo>
                      <a:pt x="117" y="488"/>
                    </a:lnTo>
                    <a:lnTo>
                      <a:pt x="111" y="498"/>
                    </a:lnTo>
                    <a:lnTo>
                      <a:pt x="98" y="511"/>
                    </a:lnTo>
                    <a:lnTo>
                      <a:pt x="96" y="522"/>
                    </a:lnTo>
                    <a:lnTo>
                      <a:pt x="89" y="535"/>
                    </a:lnTo>
                    <a:lnTo>
                      <a:pt x="69" y="559"/>
                    </a:lnTo>
                    <a:lnTo>
                      <a:pt x="57" y="583"/>
                    </a:lnTo>
                    <a:lnTo>
                      <a:pt x="57" y="587"/>
                    </a:lnTo>
                    <a:lnTo>
                      <a:pt x="63" y="594"/>
                    </a:lnTo>
                    <a:lnTo>
                      <a:pt x="56" y="605"/>
                    </a:lnTo>
                    <a:lnTo>
                      <a:pt x="59" y="618"/>
                    </a:lnTo>
                    <a:lnTo>
                      <a:pt x="70" y="635"/>
                    </a:lnTo>
                    <a:lnTo>
                      <a:pt x="117" y="661"/>
                    </a:lnTo>
                    <a:lnTo>
                      <a:pt x="150" y="689"/>
                    </a:lnTo>
                    <a:lnTo>
                      <a:pt x="161" y="685"/>
                    </a:lnTo>
                    <a:lnTo>
                      <a:pt x="178" y="679"/>
                    </a:lnTo>
                    <a:lnTo>
                      <a:pt x="236" y="703"/>
                    </a:lnTo>
                    <a:lnTo>
                      <a:pt x="244" y="711"/>
                    </a:lnTo>
                    <a:lnTo>
                      <a:pt x="249" y="726"/>
                    </a:lnTo>
                    <a:lnTo>
                      <a:pt x="259" y="731"/>
                    </a:lnTo>
                    <a:lnTo>
                      <a:pt x="272" y="733"/>
                    </a:lnTo>
                    <a:lnTo>
                      <a:pt x="292" y="744"/>
                    </a:lnTo>
                    <a:lnTo>
                      <a:pt x="325" y="746"/>
                    </a:lnTo>
                    <a:lnTo>
                      <a:pt x="335" y="733"/>
                    </a:lnTo>
                    <a:lnTo>
                      <a:pt x="338" y="718"/>
                    </a:lnTo>
                    <a:lnTo>
                      <a:pt x="338" y="702"/>
                    </a:lnTo>
                    <a:lnTo>
                      <a:pt x="353" y="689"/>
                    </a:lnTo>
                    <a:lnTo>
                      <a:pt x="381" y="674"/>
                    </a:lnTo>
                    <a:lnTo>
                      <a:pt x="394" y="672"/>
                    </a:lnTo>
                    <a:lnTo>
                      <a:pt x="409" y="664"/>
                    </a:lnTo>
                    <a:lnTo>
                      <a:pt x="422" y="664"/>
                    </a:lnTo>
                    <a:lnTo>
                      <a:pt x="437" y="674"/>
                    </a:lnTo>
                    <a:lnTo>
                      <a:pt x="448" y="687"/>
                    </a:lnTo>
                    <a:lnTo>
                      <a:pt x="461" y="687"/>
                    </a:lnTo>
                    <a:lnTo>
                      <a:pt x="472" y="690"/>
                    </a:lnTo>
                    <a:lnTo>
                      <a:pt x="494" y="692"/>
                    </a:lnTo>
                    <a:lnTo>
                      <a:pt x="509" y="711"/>
                    </a:lnTo>
                    <a:lnTo>
                      <a:pt x="522" y="720"/>
                    </a:lnTo>
                    <a:lnTo>
                      <a:pt x="541" y="726"/>
                    </a:lnTo>
                    <a:lnTo>
                      <a:pt x="557" y="735"/>
                    </a:lnTo>
                    <a:lnTo>
                      <a:pt x="566" y="737"/>
                    </a:lnTo>
                    <a:lnTo>
                      <a:pt x="589" y="714"/>
                    </a:lnTo>
                    <a:lnTo>
                      <a:pt x="604" y="711"/>
                    </a:lnTo>
                    <a:lnTo>
                      <a:pt x="615" y="702"/>
                    </a:lnTo>
                    <a:lnTo>
                      <a:pt x="631" y="690"/>
                    </a:lnTo>
                    <a:lnTo>
                      <a:pt x="652" y="689"/>
                    </a:lnTo>
                    <a:lnTo>
                      <a:pt x="650" y="663"/>
                    </a:lnTo>
                    <a:lnTo>
                      <a:pt x="646" y="655"/>
                    </a:lnTo>
                    <a:lnTo>
                      <a:pt x="637" y="642"/>
                    </a:lnTo>
                    <a:lnTo>
                      <a:pt x="630" y="644"/>
                    </a:lnTo>
                    <a:lnTo>
                      <a:pt x="622" y="642"/>
                    </a:lnTo>
                    <a:lnTo>
                      <a:pt x="615" y="631"/>
                    </a:lnTo>
                    <a:lnTo>
                      <a:pt x="613" y="605"/>
                    </a:lnTo>
                    <a:lnTo>
                      <a:pt x="628" y="588"/>
                    </a:lnTo>
                    <a:lnTo>
                      <a:pt x="617" y="574"/>
                    </a:lnTo>
                    <a:lnTo>
                      <a:pt x="617" y="568"/>
                    </a:lnTo>
                    <a:lnTo>
                      <a:pt x="639" y="546"/>
                    </a:lnTo>
                    <a:lnTo>
                      <a:pt x="639" y="538"/>
                    </a:lnTo>
                    <a:lnTo>
                      <a:pt x="635" y="511"/>
                    </a:lnTo>
                    <a:lnTo>
                      <a:pt x="648" y="498"/>
                    </a:lnTo>
                    <a:lnTo>
                      <a:pt x="637" y="483"/>
                    </a:lnTo>
                    <a:lnTo>
                      <a:pt x="637" y="472"/>
                    </a:lnTo>
                    <a:lnTo>
                      <a:pt x="635" y="453"/>
                    </a:lnTo>
                    <a:lnTo>
                      <a:pt x="630" y="448"/>
                    </a:lnTo>
                    <a:lnTo>
                      <a:pt x="617" y="448"/>
                    </a:lnTo>
                    <a:lnTo>
                      <a:pt x="605" y="451"/>
                    </a:lnTo>
                    <a:lnTo>
                      <a:pt x="602" y="455"/>
                    </a:lnTo>
                    <a:lnTo>
                      <a:pt x="594" y="462"/>
                    </a:lnTo>
                    <a:lnTo>
                      <a:pt x="583" y="466"/>
                    </a:lnTo>
                    <a:lnTo>
                      <a:pt x="579" y="455"/>
                    </a:lnTo>
                    <a:lnTo>
                      <a:pt x="587" y="446"/>
                    </a:lnTo>
                    <a:lnTo>
                      <a:pt x="591" y="438"/>
                    </a:lnTo>
                    <a:lnTo>
                      <a:pt x="591" y="429"/>
                    </a:lnTo>
                    <a:lnTo>
                      <a:pt x="611" y="409"/>
                    </a:lnTo>
                    <a:lnTo>
                      <a:pt x="622" y="405"/>
                    </a:lnTo>
                    <a:lnTo>
                      <a:pt x="624" y="390"/>
                    </a:lnTo>
                    <a:lnTo>
                      <a:pt x="635" y="377"/>
                    </a:lnTo>
                    <a:lnTo>
                      <a:pt x="667" y="353"/>
                    </a:lnTo>
                    <a:lnTo>
                      <a:pt x="676" y="353"/>
                    </a:lnTo>
                    <a:lnTo>
                      <a:pt x="680" y="344"/>
                    </a:lnTo>
                    <a:lnTo>
                      <a:pt x="691" y="333"/>
                    </a:lnTo>
                    <a:lnTo>
                      <a:pt x="700" y="333"/>
                    </a:lnTo>
                    <a:lnTo>
                      <a:pt x="705" y="327"/>
                    </a:lnTo>
                    <a:lnTo>
                      <a:pt x="710" y="323"/>
                    </a:lnTo>
                    <a:lnTo>
                      <a:pt x="718" y="310"/>
                    </a:lnTo>
                    <a:lnTo>
                      <a:pt x="725" y="290"/>
                    </a:lnTo>
                    <a:lnTo>
                      <a:pt x="727" y="277"/>
                    </a:lnTo>
                    <a:lnTo>
                      <a:pt x="727" y="266"/>
                    </a:lnTo>
                    <a:lnTo>
                      <a:pt x="738" y="252"/>
                    </a:lnTo>
                    <a:lnTo>
                      <a:pt x="755" y="243"/>
                    </a:lnTo>
                    <a:lnTo>
                      <a:pt x="764" y="234"/>
                    </a:lnTo>
                    <a:lnTo>
                      <a:pt x="764" y="230"/>
                    </a:lnTo>
                    <a:lnTo>
                      <a:pt x="749" y="219"/>
                    </a:lnTo>
                    <a:lnTo>
                      <a:pt x="742" y="215"/>
                    </a:lnTo>
                    <a:lnTo>
                      <a:pt x="720" y="213"/>
                    </a:lnTo>
                    <a:lnTo>
                      <a:pt x="694" y="209"/>
                    </a:lnTo>
                    <a:lnTo>
                      <a:pt x="685" y="208"/>
                    </a:lnTo>
                    <a:lnTo>
                      <a:pt x="676" y="204"/>
                    </a:lnTo>
                    <a:lnTo>
                      <a:pt x="667" y="195"/>
                    </a:lnTo>
                    <a:lnTo>
                      <a:pt x="659" y="180"/>
                    </a:lnTo>
                    <a:lnTo>
                      <a:pt x="652" y="171"/>
                    </a:lnTo>
                    <a:lnTo>
                      <a:pt x="642" y="167"/>
                    </a:lnTo>
                    <a:lnTo>
                      <a:pt x="631" y="163"/>
                    </a:lnTo>
                    <a:lnTo>
                      <a:pt x="626" y="161"/>
                    </a:lnTo>
                    <a:lnTo>
                      <a:pt x="611" y="148"/>
                    </a:lnTo>
                    <a:lnTo>
                      <a:pt x="592" y="133"/>
                    </a:lnTo>
                    <a:lnTo>
                      <a:pt x="581" y="119"/>
                    </a:lnTo>
                    <a:lnTo>
                      <a:pt x="568" y="115"/>
                    </a:lnTo>
                    <a:lnTo>
                      <a:pt x="561" y="109"/>
                    </a:lnTo>
                    <a:lnTo>
                      <a:pt x="555" y="95"/>
                    </a:lnTo>
                    <a:lnTo>
                      <a:pt x="539" y="76"/>
                    </a:lnTo>
                    <a:lnTo>
                      <a:pt x="535" y="63"/>
                    </a:lnTo>
                    <a:lnTo>
                      <a:pt x="522" y="50"/>
                    </a:lnTo>
                    <a:lnTo>
                      <a:pt x="516" y="39"/>
                    </a:lnTo>
                    <a:lnTo>
                      <a:pt x="509" y="30"/>
                    </a:lnTo>
                    <a:lnTo>
                      <a:pt x="496" y="20"/>
                    </a:lnTo>
                    <a:lnTo>
                      <a:pt x="483" y="6"/>
                    </a:lnTo>
                    <a:lnTo>
                      <a:pt x="472" y="0"/>
                    </a:lnTo>
                    <a:lnTo>
                      <a:pt x="444" y="2"/>
                    </a:lnTo>
                    <a:lnTo>
                      <a:pt x="433" y="2"/>
                    </a:lnTo>
                    <a:lnTo>
                      <a:pt x="418" y="13"/>
                    </a:lnTo>
                    <a:lnTo>
                      <a:pt x="427" y="22"/>
                    </a:lnTo>
                    <a:lnTo>
                      <a:pt x="416" y="35"/>
                    </a:lnTo>
                    <a:lnTo>
                      <a:pt x="388" y="70"/>
                    </a:lnTo>
                    <a:lnTo>
                      <a:pt x="374" y="78"/>
                    </a:lnTo>
                    <a:lnTo>
                      <a:pt x="335" y="82"/>
                    </a:lnTo>
                    <a:lnTo>
                      <a:pt x="318" y="87"/>
                    </a:lnTo>
                    <a:lnTo>
                      <a:pt x="309" y="96"/>
                    </a:lnTo>
                    <a:lnTo>
                      <a:pt x="305" y="104"/>
                    </a:lnTo>
                    <a:lnTo>
                      <a:pt x="290" y="100"/>
                    </a:lnTo>
                    <a:lnTo>
                      <a:pt x="266" y="104"/>
                    </a:lnTo>
                    <a:lnTo>
                      <a:pt x="251" y="102"/>
                    </a:lnTo>
                    <a:lnTo>
                      <a:pt x="238" y="93"/>
                    </a:lnTo>
                    <a:lnTo>
                      <a:pt x="229" y="82"/>
                    </a:lnTo>
                    <a:lnTo>
                      <a:pt x="220" y="78"/>
                    </a:lnTo>
                    <a:lnTo>
                      <a:pt x="227" y="69"/>
                    </a:lnTo>
                    <a:lnTo>
                      <a:pt x="216" y="59"/>
                    </a:lnTo>
                    <a:lnTo>
                      <a:pt x="207" y="57"/>
                    </a:lnTo>
                    <a:lnTo>
                      <a:pt x="199" y="56"/>
                    </a:lnTo>
                    <a:lnTo>
                      <a:pt x="198" y="59"/>
                    </a:lnTo>
                    <a:lnTo>
                      <a:pt x="205" y="67"/>
                    </a:lnTo>
                    <a:lnTo>
                      <a:pt x="201" y="72"/>
                    </a:lnTo>
                    <a:lnTo>
                      <a:pt x="205" y="83"/>
                    </a:lnTo>
                    <a:lnTo>
                      <a:pt x="207" y="96"/>
                    </a:lnTo>
                    <a:lnTo>
                      <a:pt x="207" y="106"/>
                    </a:lnTo>
                    <a:lnTo>
                      <a:pt x="205" y="108"/>
                    </a:lnTo>
                    <a:lnTo>
                      <a:pt x="198" y="113"/>
                    </a:lnTo>
                    <a:lnTo>
                      <a:pt x="196" y="122"/>
                    </a:lnTo>
                    <a:lnTo>
                      <a:pt x="196" y="132"/>
                    </a:lnTo>
                    <a:lnTo>
                      <a:pt x="194" y="139"/>
                    </a:lnTo>
                    <a:lnTo>
                      <a:pt x="182" y="137"/>
                    </a:lnTo>
                    <a:lnTo>
                      <a:pt x="169" y="130"/>
                    </a:lnTo>
                    <a:lnTo>
                      <a:pt x="161" y="137"/>
                    </a:lnTo>
                    <a:lnTo>
                      <a:pt x="148" y="128"/>
                    </a:lnTo>
                    <a:lnTo>
                      <a:pt x="141" y="126"/>
                    </a:lnTo>
                    <a:lnTo>
                      <a:pt x="132" y="133"/>
                    </a:lnTo>
                    <a:lnTo>
                      <a:pt x="124" y="132"/>
                    </a:lnTo>
                    <a:lnTo>
                      <a:pt x="124" y="126"/>
                    </a:lnTo>
                    <a:lnTo>
                      <a:pt x="93" y="96"/>
                    </a:lnTo>
                    <a:lnTo>
                      <a:pt x="85" y="95"/>
                    </a:lnTo>
                    <a:lnTo>
                      <a:pt x="80" y="100"/>
                    </a:lnTo>
                    <a:lnTo>
                      <a:pt x="67" y="106"/>
                    </a:lnTo>
                    <a:lnTo>
                      <a:pt x="59" y="108"/>
                    </a:lnTo>
                    <a:lnTo>
                      <a:pt x="50" y="98"/>
                    </a:lnTo>
                    <a:lnTo>
                      <a:pt x="28" y="98"/>
                    </a:lnTo>
                    <a:lnTo>
                      <a:pt x="13" y="106"/>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sp>
          <p:nvSpPr>
            <p:cNvPr id="29" name="Freeform 60"/>
            <p:cNvSpPr>
              <a:spLocks/>
            </p:cNvSpPr>
            <p:nvPr>
              <p:custDataLst>
                <p:tags r:id="rId21"/>
              </p:custDataLst>
            </p:nvPr>
          </p:nvSpPr>
          <p:spPr bwMode="auto">
            <a:xfrm>
              <a:off x="3395001" y="3315152"/>
              <a:ext cx="529310" cy="277971"/>
            </a:xfrm>
            <a:custGeom>
              <a:avLst/>
              <a:gdLst/>
              <a:ahLst/>
              <a:cxnLst>
                <a:cxn ang="0">
                  <a:pos x="91" y="65"/>
                </a:cxn>
                <a:cxn ang="0">
                  <a:pos x="83" y="39"/>
                </a:cxn>
                <a:cxn ang="0">
                  <a:pos x="59" y="26"/>
                </a:cxn>
                <a:cxn ang="0">
                  <a:pos x="33" y="46"/>
                </a:cxn>
                <a:cxn ang="0">
                  <a:pos x="17" y="89"/>
                </a:cxn>
                <a:cxn ang="0">
                  <a:pos x="13" y="104"/>
                </a:cxn>
                <a:cxn ang="0">
                  <a:pos x="0" y="119"/>
                </a:cxn>
                <a:cxn ang="0">
                  <a:pos x="4" y="149"/>
                </a:cxn>
                <a:cxn ang="0">
                  <a:pos x="15" y="169"/>
                </a:cxn>
                <a:cxn ang="0">
                  <a:pos x="48" y="152"/>
                </a:cxn>
                <a:cxn ang="0">
                  <a:pos x="70" y="149"/>
                </a:cxn>
                <a:cxn ang="0">
                  <a:pos x="98" y="156"/>
                </a:cxn>
                <a:cxn ang="0">
                  <a:pos x="126" y="149"/>
                </a:cxn>
                <a:cxn ang="0">
                  <a:pos x="144" y="154"/>
                </a:cxn>
                <a:cxn ang="0">
                  <a:pos x="168" y="149"/>
                </a:cxn>
                <a:cxn ang="0">
                  <a:pos x="196" y="147"/>
                </a:cxn>
                <a:cxn ang="0">
                  <a:pos x="224" y="165"/>
                </a:cxn>
                <a:cxn ang="0">
                  <a:pos x="262" y="181"/>
                </a:cxn>
                <a:cxn ang="0">
                  <a:pos x="284" y="194"/>
                </a:cxn>
                <a:cxn ang="0">
                  <a:pos x="317" y="185"/>
                </a:cxn>
                <a:cxn ang="0">
                  <a:pos x="334" y="167"/>
                </a:cxn>
                <a:cxn ang="0">
                  <a:pos x="365" y="134"/>
                </a:cxn>
                <a:cxn ang="0">
                  <a:pos x="367" y="91"/>
                </a:cxn>
                <a:cxn ang="0">
                  <a:pos x="341" y="69"/>
                </a:cxn>
                <a:cxn ang="0">
                  <a:pos x="327" y="33"/>
                </a:cxn>
                <a:cxn ang="0">
                  <a:pos x="303" y="19"/>
                </a:cxn>
                <a:cxn ang="0">
                  <a:pos x="260" y="30"/>
                </a:cxn>
                <a:cxn ang="0">
                  <a:pos x="235" y="19"/>
                </a:cxn>
                <a:cxn ang="0">
                  <a:pos x="213" y="4"/>
                </a:cxn>
                <a:cxn ang="0">
                  <a:pos x="191" y="0"/>
                </a:cxn>
                <a:cxn ang="0">
                  <a:pos x="167" y="4"/>
                </a:cxn>
                <a:cxn ang="0">
                  <a:pos x="155" y="19"/>
                </a:cxn>
                <a:cxn ang="0">
                  <a:pos x="159" y="61"/>
                </a:cxn>
                <a:cxn ang="0">
                  <a:pos x="144" y="85"/>
                </a:cxn>
                <a:cxn ang="0">
                  <a:pos x="128" y="84"/>
                </a:cxn>
              </a:cxnLst>
              <a:rect l="0" t="0" r="r" b="b"/>
              <a:pathLst>
                <a:path w="371" h="194">
                  <a:moveTo>
                    <a:pt x="109" y="76"/>
                  </a:moveTo>
                  <a:lnTo>
                    <a:pt x="91" y="65"/>
                  </a:lnTo>
                  <a:lnTo>
                    <a:pt x="87" y="52"/>
                  </a:lnTo>
                  <a:lnTo>
                    <a:pt x="83" y="39"/>
                  </a:lnTo>
                  <a:lnTo>
                    <a:pt x="74" y="26"/>
                  </a:lnTo>
                  <a:lnTo>
                    <a:pt x="59" y="26"/>
                  </a:lnTo>
                  <a:lnTo>
                    <a:pt x="48" y="32"/>
                  </a:lnTo>
                  <a:lnTo>
                    <a:pt x="33" y="46"/>
                  </a:lnTo>
                  <a:lnTo>
                    <a:pt x="15" y="80"/>
                  </a:lnTo>
                  <a:lnTo>
                    <a:pt x="17" y="89"/>
                  </a:lnTo>
                  <a:lnTo>
                    <a:pt x="17" y="98"/>
                  </a:lnTo>
                  <a:lnTo>
                    <a:pt x="13" y="104"/>
                  </a:lnTo>
                  <a:lnTo>
                    <a:pt x="6" y="111"/>
                  </a:lnTo>
                  <a:lnTo>
                    <a:pt x="0" y="119"/>
                  </a:lnTo>
                  <a:lnTo>
                    <a:pt x="4" y="128"/>
                  </a:lnTo>
                  <a:lnTo>
                    <a:pt x="4" y="149"/>
                  </a:lnTo>
                  <a:lnTo>
                    <a:pt x="7" y="165"/>
                  </a:lnTo>
                  <a:lnTo>
                    <a:pt x="15" y="169"/>
                  </a:lnTo>
                  <a:lnTo>
                    <a:pt x="30" y="163"/>
                  </a:lnTo>
                  <a:lnTo>
                    <a:pt x="48" y="152"/>
                  </a:lnTo>
                  <a:lnTo>
                    <a:pt x="56" y="145"/>
                  </a:lnTo>
                  <a:lnTo>
                    <a:pt x="70" y="149"/>
                  </a:lnTo>
                  <a:lnTo>
                    <a:pt x="85" y="152"/>
                  </a:lnTo>
                  <a:lnTo>
                    <a:pt x="98" y="156"/>
                  </a:lnTo>
                  <a:lnTo>
                    <a:pt x="107" y="160"/>
                  </a:lnTo>
                  <a:lnTo>
                    <a:pt x="126" y="149"/>
                  </a:lnTo>
                  <a:lnTo>
                    <a:pt x="135" y="149"/>
                  </a:lnTo>
                  <a:lnTo>
                    <a:pt x="144" y="154"/>
                  </a:lnTo>
                  <a:lnTo>
                    <a:pt x="157" y="158"/>
                  </a:lnTo>
                  <a:lnTo>
                    <a:pt x="168" y="149"/>
                  </a:lnTo>
                  <a:lnTo>
                    <a:pt x="185" y="145"/>
                  </a:lnTo>
                  <a:lnTo>
                    <a:pt x="196" y="147"/>
                  </a:lnTo>
                  <a:lnTo>
                    <a:pt x="205" y="163"/>
                  </a:lnTo>
                  <a:lnTo>
                    <a:pt x="224" y="165"/>
                  </a:lnTo>
                  <a:lnTo>
                    <a:pt x="247" y="163"/>
                  </a:lnTo>
                  <a:lnTo>
                    <a:pt x="262" y="181"/>
                  </a:lnTo>
                  <a:lnTo>
                    <a:pt x="273" y="192"/>
                  </a:lnTo>
                  <a:lnTo>
                    <a:pt x="284" y="194"/>
                  </a:lnTo>
                  <a:lnTo>
                    <a:pt x="301" y="187"/>
                  </a:lnTo>
                  <a:lnTo>
                    <a:pt x="317" y="185"/>
                  </a:lnTo>
                  <a:lnTo>
                    <a:pt x="328" y="176"/>
                  </a:lnTo>
                  <a:lnTo>
                    <a:pt x="334" y="167"/>
                  </a:lnTo>
                  <a:lnTo>
                    <a:pt x="354" y="145"/>
                  </a:lnTo>
                  <a:lnTo>
                    <a:pt x="365" y="134"/>
                  </a:lnTo>
                  <a:lnTo>
                    <a:pt x="371" y="117"/>
                  </a:lnTo>
                  <a:lnTo>
                    <a:pt x="367" y="91"/>
                  </a:lnTo>
                  <a:lnTo>
                    <a:pt x="358" y="85"/>
                  </a:lnTo>
                  <a:lnTo>
                    <a:pt x="341" y="69"/>
                  </a:lnTo>
                  <a:lnTo>
                    <a:pt x="334" y="52"/>
                  </a:lnTo>
                  <a:lnTo>
                    <a:pt x="327" y="33"/>
                  </a:lnTo>
                  <a:lnTo>
                    <a:pt x="312" y="20"/>
                  </a:lnTo>
                  <a:lnTo>
                    <a:pt x="303" y="19"/>
                  </a:lnTo>
                  <a:lnTo>
                    <a:pt x="273" y="20"/>
                  </a:lnTo>
                  <a:lnTo>
                    <a:pt x="260" y="30"/>
                  </a:lnTo>
                  <a:lnTo>
                    <a:pt x="251" y="33"/>
                  </a:lnTo>
                  <a:lnTo>
                    <a:pt x="235" y="19"/>
                  </a:lnTo>
                  <a:lnTo>
                    <a:pt x="222" y="13"/>
                  </a:lnTo>
                  <a:lnTo>
                    <a:pt x="213" y="4"/>
                  </a:lnTo>
                  <a:lnTo>
                    <a:pt x="207" y="2"/>
                  </a:lnTo>
                  <a:lnTo>
                    <a:pt x="191" y="0"/>
                  </a:lnTo>
                  <a:lnTo>
                    <a:pt x="178" y="4"/>
                  </a:lnTo>
                  <a:lnTo>
                    <a:pt x="167" y="4"/>
                  </a:lnTo>
                  <a:lnTo>
                    <a:pt x="161" y="9"/>
                  </a:lnTo>
                  <a:lnTo>
                    <a:pt x="155" y="19"/>
                  </a:lnTo>
                  <a:lnTo>
                    <a:pt x="155" y="39"/>
                  </a:lnTo>
                  <a:lnTo>
                    <a:pt x="159" y="61"/>
                  </a:lnTo>
                  <a:lnTo>
                    <a:pt x="159" y="71"/>
                  </a:lnTo>
                  <a:lnTo>
                    <a:pt x="144" y="85"/>
                  </a:lnTo>
                  <a:lnTo>
                    <a:pt x="135" y="93"/>
                  </a:lnTo>
                  <a:lnTo>
                    <a:pt x="128" y="84"/>
                  </a:lnTo>
                  <a:lnTo>
                    <a:pt x="109" y="76"/>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nvGrpSpPr>
            <p:cNvPr id="30" name="Group 61"/>
            <p:cNvGrpSpPr>
              <a:grpSpLocks/>
            </p:cNvGrpSpPr>
            <p:nvPr/>
          </p:nvGrpSpPr>
          <p:grpSpPr bwMode="auto">
            <a:xfrm>
              <a:off x="1279426" y="2945634"/>
              <a:ext cx="645825" cy="1080258"/>
              <a:chOff x="1158" y="1432"/>
              <a:chExt cx="452" cy="754"/>
            </a:xfrm>
            <a:solidFill>
              <a:schemeClr val="accent6"/>
            </a:solidFill>
          </p:grpSpPr>
          <p:sp>
            <p:nvSpPr>
              <p:cNvPr id="61" name="Freeform 62"/>
              <p:cNvSpPr>
                <a:spLocks/>
              </p:cNvSpPr>
              <p:nvPr>
                <p:custDataLst>
                  <p:tags r:id="rId50"/>
                </p:custDataLst>
              </p:nvPr>
            </p:nvSpPr>
            <p:spPr bwMode="auto">
              <a:xfrm>
                <a:off x="1158" y="1441"/>
                <a:ext cx="452" cy="745"/>
              </a:xfrm>
              <a:custGeom>
                <a:avLst/>
                <a:gdLst/>
                <a:ahLst/>
                <a:cxnLst>
                  <a:cxn ang="0">
                    <a:pos x="147" y="515"/>
                  </a:cxn>
                  <a:cxn ang="0">
                    <a:pos x="97" y="549"/>
                  </a:cxn>
                  <a:cxn ang="0">
                    <a:pos x="84" y="580"/>
                  </a:cxn>
                  <a:cxn ang="0">
                    <a:pos x="113" y="597"/>
                  </a:cxn>
                  <a:cxn ang="0">
                    <a:pos x="137" y="608"/>
                  </a:cxn>
                  <a:cxn ang="0">
                    <a:pos x="181" y="617"/>
                  </a:cxn>
                  <a:cxn ang="0">
                    <a:pos x="152" y="651"/>
                  </a:cxn>
                  <a:cxn ang="0">
                    <a:pos x="87" y="632"/>
                  </a:cxn>
                  <a:cxn ang="0">
                    <a:pos x="41" y="671"/>
                  </a:cxn>
                  <a:cxn ang="0">
                    <a:pos x="2" y="691"/>
                  </a:cxn>
                  <a:cxn ang="0">
                    <a:pos x="22" y="708"/>
                  </a:cxn>
                  <a:cxn ang="0">
                    <a:pos x="59" y="702"/>
                  </a:cxn>
                  <a:cxn ang="0">
                    <a:pos x="110" y="723"/>
                  </a:cxn>
                  <a:cxn ang="0">
                    <a:pos x="148" y="689"/>
                  </a:cxn>
                  <a:cxn ang="0">
                    <a:pos x="183" y="710"/>
                  </a:cxn>
                  <a:cxn ang="0">
                    <a:pos x="231" y="717"/>
                  </a:cxn>
                  <a:cxn ang="0">
                    <a:pos x="266" y="714"/>
                  </a:cxn>
                  <a:cxn ang="0">
                    <a:pos x="315" y="734"/>
                  </a:cxn>
                  <a:cxn ang="0">
                    <a:pos x="357" y="738"/>
                  </a:cxn>
                  <a:cxn ang="0">
                    <a:pos x="398" y="723"/>
                  </a:cxn>
                  <a:cxn ang="0">
                    <a:pos x="381" y="689"/>
                  </a:cxn>
                  <a:cxn ang="0">
                    <a:pos x="383" y="667"/>
                  </a:cxn>
                  <a:cxn ang="0">
                    <a:pos x="437" y="632"/>
                  </a:cxn>
                  <a:cxn ang="0">
                    <a:pos x="452" y="584"/>
                  </a:cxn>
                  <a:cxn ang="0">
                    <a:pos x="413" y="558"/>
                  </a:cxn>
                  <a:cxn ang="0">
                    <a:pos x="385" y="556"/>
                  </a:cxn>
                  <a:cxn ang="0">
                    <a:pos x="394" y="510"/>
                  </a:cxn>
                  <a:cxn ang="0">
                    <a:pos x="394" y="447"/>
                  </a:cxn>
                  <a:cxn ang="0">
                    <a:pos x="354" y="374"/>
                  </a:cxn>
                  <a:cxn ang="0">
                    <a:pos x="354" y="317"/>
                  </a:cxn>
                  <a:cxn ang="0">
                    <a:pos x="341" y="272"/>
                  </a:cxn>
                  <a:cxn ang="0">
                    <a:pos x="298" y="248"/>
                  </a:cxn>
                  <a:cxn ang="0">
                    <a:pos x="294" y="230"/>
                  </a:cxn>
                  <a:cxn ang="0">
                    <a:pos x="331" y="235"/>
                  </a:cxn>
                  <a:cxn ang="0">
                    <a:pos x="389" y="165"/>
                  </a:cxn>
                  <a:cxn ang="0">
                    <a:pos x="385" y="120"/>
                  </a:cxn>
                  <a:cxn ang="0">
                    <a:pos x="331" y="98"/>
                  </a:cxn>
                  <a:cxn ang="0">
                    <a:pos x="302" y="100"/>
                  </a:cxn>
                  <a:cxn ang="0">
                    <a:pos x="318" y="72"/>
                  </a:cxn>
                  <a:cxn ang="0">
                    <a:pos x="376" y="37"/>
                  </a:cxn>
                  <a:cxn ang="0">
                    <a:pos x="339" y="13"/>
                  </a:cxn>
                  <a:cxn ang="0">
                    <a:pos x="278" y="22"/>
                  </a:cxn>
                  <a:cxn ang="0">
                    <a:pos x="250" y="48"/>
                  </a:cxn>
                  <a:cxn ang="0">
                    <a:pos x="231" y="83"/>
                  </a:cxn>
                  <a:cxn ang="0">
                    <a:pos x="183" y="143"/>
                  </a:cxn>
                  <a:cxn ang="0">
                    <a:pos x="214" y="155"/>
                  </a:cxn>
                  <a:cxn ang="0">
                    <a:pos x="169" y="230"/>
                  </a:cxn>
                  <a:cxn ang="0">
                    <a:pos x="185" y="241"/>
                  </a:cxn>
                  <a:cxn ang="0">
                    <a:pos x="213" y="257"/>
                  </a:cxn>
                  <a:cxn ang="0">
                    <a:pos x="181" y="302"/>
                  </a:cxn>
                  <a:cxn ang="0">
                    <a:pos x="226" y="331"/>
                  </a:cxn>
                  <a:cxn ang="0">
                    <a:pos x="253" y="341"/>
                  </a:cxn>
                  <a:cxn ang="0">
                    <a:pos x="244" y="405"/>
                  </a:cxn>
                  <a:cxn ang="0">
                    <a:pos x="242" y="449"/>
                  </a:cxn>
                  <a:cxn ang="0">
                    <a:pos x="222" y="469"/>
                  </a:cxn>
                </a:cxnLst>
                <a:rect l="0" t="0" r="r" b="b"/>
                <a:pathLst>
                  <a:path w="452" h="745">
                    <a:moveTo>
                      <a:pt x="135" y="478"/>
                    </a:moveTo>
                    <a:lnTo>
                      <a:pt x="156" y="497"/>
                    </a:lnTo>
                    <a:lnTo>
                      <a:pt x="147" y="515"/>
                    </a:lnTo>
                    <a:lnTo>
                      <a:pt x="134" y="530"/>
                    </a:lnTo>
                    <a:lnTo>
                      <a:pt x="113" y="540"/>
                    </a:lnTo>
                    <a:lnTo>
                      <a:pt x="97" y="549"/>
                    </a:lnTo>
                    <a:lnTo>
                      <a:pt x="80" y="551"/>
                    </a:lnTo>
                    <a:lnTo>
                      <a:pt x="71" y="558"/>
                    </a:lnTo>
                    <a:lnTo>
                      <a:pt x="84" y="580"/>
                    </a:lnTo>
                    <a:lnTo>
                      <a:pt x="104" y="580"/>
                    </a:lnTo>
                    <a:lnTo>
                      <a:pt x="113" y="582"/>
                    </a:lnTo>
                    <a:lnTo>
                      <a:pt x="113" y="597"/>
                    </a:lnTo>
                    <a:lnTo>
                      <a:pt x="124" y="597"/>
                    </a:lnTo>
                    <a:lnTo>
                      <a:pt x="132" y="593"/>
                    </a:lnTo>
                    <a:lnTo>
                      <a:pt x="137" y="608"/>
                    </a:lnTo>
                    <a:lnTo>
                      <a:pt x="148" y="621"/>
                    </a:lnTo>
                    <a:lnTo>
                      <a:pt x="167" y="621"/>
                    </a:lnTo>
                    <a:lnTo>
                      <a:pt x="181" y="617"/>
                    </a:lnTo>
                    <a:lnTo>
                      <a:pt x="192" y="621"/>
                    </a:lnTo>
                    <a:lnTo>
                      <a:pt x="163" y="645"/>
                    </a:lnTo>
                    <a:lnTo>
                      <a:pt x="152" y="651"/>
                    </a:lnTo>
                    <a:lnTo>
                      <a:pt x="137" y="645"/>
                    </a:lnTo>
                    <a:lnTo>
                      <a:pt x="104" y="632"/>
                    </a:lnTo>
                    <a:lnTo>
                      <a:pt x="87" y="632"/>
                    </a:lnTo>
                    <a:lnTo>
                      <a:pt x="72" y="645"/>
                    </a:lnTo>
                    <a:lnTo>
                      <a:pt x="52" y="662"/>
                    </a:lnTo>
                    <a:lnTo>
                      <a:pt x="41" y="671"/>
                    </a:lnTo>
                    <a:lnTo>
                      <a:pt x="28" y="675"/>
                    </a:lnTo>
                    <a:lnTo>
                      <a:pt x="13" y="682"/>
                    </a:lnTo>
                    <a:lnTo>
                      <a:pt x="2" y="691"/>
                    </a:lnTo>
                    <a:lnTo>
                      <a:pt x="0" y="697"/>
                    </a:lnTo>
                    <a:lnTo>
                      <a:pt x="13" y="699"/>
                    </a:lnTo>
                    <a:lnTo>
                      <a:pt x="22" y="708"/>
                    </a:lnTo>
                    <a:lnTo>
                      <a:pt x="35" y="714"/>
                    </a:lnTo>
                    <a:lnTo>
                      <a:pt x="48" y="708"/>
                    </a:lnTo>
                    <a:lnTo>
                      <a:pt x="59" y="702"/>
                    </a:lnTo>
                    <a:lnTo>
                      <a:pt x="72" y="704"/>
                    </a:lnTo>
                    <a:lnTo>
                      <a:pt x="91" y="715"/>
                    </a:lnTo>
                    <a:lnTo>
                      <a:pt x="110" y="723"/>
                    </a:lnTo>
                    <a:lnTo>
                      <a:pt x="122" y="715"/>
                    </a:lnTo>
                    <a:lnTo>
                      <a:pt x="128" y="701"/>
                    </a:lnTo>
                    <a:lnTo>
                      <a:pt x="148" y="689"/>
                    </a:lnTo>
                    <a:lnTo>
                      <a:pt x="161" y="689"/>
                    </a:lnTo>
                    <a:lnTo>
                      <a:pt x="173" y="702"/>
                    </a:lnTo>
                    <a:lnTo>
                      <a:pt x="183" y="710"/>
                    </a:lnTo>
                    <a:lnTo>
                      <a:pt x="198" y="710"/>
                    </a:lnTo>
                    <a:lnTo>
                      <a:pt x="218" y="712"/>
                    </a:lnTo>
                    <a:lnTo>
                      <a:pt x="231" y="717"/>
                    </a:lnTo>
                    <a:lnTo>
                      <a:pt x="244" y="708"/>
                    </a:lnTo>
                    <a:lnTo>
                      <a:pt x="255" y="708"/>
                    </a:lnTo>
                    <a:lnTo>
                      <a:pt x="266" y="714"/>
                    </a:lnTo>
                    <a:lnTo>
                      <a:pt x="279" y="728"/>
                    </a:lnTo>
                    <a:lnTo>
                      <a:pt x="296" y="730"/>
                    </a:lnTo>
                    <a:lnTo>
                      <a:pt x="315" y="734"/>
                    </a:lnTo>
                    <a:lnTo>
                      <a:pt x="328" y="741"/>
                    </a:lnTo>
                    <a:lnTo>
                      <a:pt x="344" y="745"/>
                    </a:lnTo>
                    <a:lnTo>
                      <a:pt x="357" y="738"/>
                    </a:lnTo>
                    <a:lnTo>
                      <a:pt x="374" y="728"/>
                    </a:lnTo>
                    <a:lnTo>
                      <a:pt x="385" y="726"/>
                    </a:lnTo>
                    <a:lnTo>
                      <a:pt x="398" y="723"/>
                    </a:lnTo>
                    <a:lnTo>
                      <a:pt x="411" y="712"/>
                    </a:lnTo>
                    <a:lnTo>
                      <a:pt x="402" y="701"/>
                    </a:lnTo>
                    <a:lnTo>
                      <a:pt x="381" y="689"/>
                    </a:lnTo>
                    <a:lnTo>
                      <a:pt x="374" y="682"/>
                    </a:lnTo>
                    <a:lnTo>
                      <a:pt x="374" y="675"/>
                    </a:lnTo>
                    <a:lnTo>
                      <a:pt x="383" y="667"/>
                    </a:lnTo>
                    <a:lnTo>
                      <a:pt x="398" y="665"/>
                    </a:lnTo>
                    <a:lnTo>
                      <a:pt x="413" y="658"/>
                    </a:lnTo>
                    <a:lnTo>
                      <a:pt x="437" y="632"/>
                    </a:lnTo>
                    <a:lnTo>
                      <a:pt x="448" y="619"/>
                    </a:lnTo>
                    <a:lnTo>
                      <a:pt x="452" y="597"/>
                    </a:lnTo>
                    <a:lnTo>
                      <a:pt x="452" y="584"/>
                    </a:lnTo>
                    <a:lnTo>
                      <a:pt x="441" y="575"/>
                    </a:lnTo>
                    <a:lnTo>
                      <a:pt x="426" y="564"/>
                    </a:lnTo>
                    <a:lnTo>
                      <a:pt x="413" y="558"/>
                    </a:lnTo>
                    <a:lnTo>
                      <a:pt x="398" y="560"/>
                    </a:lnTo>
                    <a:lnTo>
                      <a:pt x="389" y="565"/>
                    </a:lnTo>
                    <a:lnTo>
                      <a:pt x="385" y="556"/>
                    </a:lnTo>
                    <a:lnTo>
                      <a:pt x="393" y="541"/>
                    </a:lnTo>
                    <a:lnTo>
                      <a:pt x="396" y="530"/>
                    </a:lnTo>
                    <a:lnTo>
                      <a:pt x="394" y="510"/>
                    </a:lnTo>
                    <a:lnTo>
                      <a:pt x="393" y="482"/>
                    </a:lnTo>
                    <a:lnTo>
                      <a:pt x="398" y="460"/>
                    </a:lnTo>
                    <a:lnTo>
                      <a:pt x="394" y="447"/>
                    </a:lnTo>
                    <a:lnTo>
                      <a:pt x="385" y="431"/>
                    </a:lnTo>
                    <a:lnTo>
                      <a:pt x="363" y="392"/>
                    </a:lnTo>
                    <a:lnTo>
                      <a:pt x="354" y="374"/>
                    </a:lnTo>
                    <a:lnTo>
                      <a:pt x="350" y="352"/>
                    </a:lnTo>
                    <a:lnTo>
                      <a:pt x="348" y="339"/>
                    </a:lnTo>
                    <a:lnTo>
                      <a:pt x="354" y="317"/>
                    </a:lnTo>
                    <a:lnTo>
                      <a:pt x="354" y="300"/>
                    </a:lnTo>
                    <a:lnTo>
                      <a:pt x="350" y="281"/>
                    </a:lnTo>
                    <a:lnTo>
                      <a:pt x="341" y="272"/>
                    </a:lnTo>
                    <a:lnTo>
                      <a:pt x="324" y="255"/>
                    </a:lnTo>
                    <a:lnTo>
                      <a:pt x="311" y="250"/>
                    </a:lnTo>
                    <a:lnTo>
                      <a:pt x="298" y="248"/>
                    </a:lnTo>
                    <a:lnTo>
                      <a:pt x="289" y="246"/>
                    </a:lnTo>
                    <a:lnTo>
                      <a:pt x="289" y="237"/>
                    </a:lnTo>
                    <a:lnTo>
                      <a:pt x="294" y="230"/>
                    </a:lnTo>
                    <a:lnTo>
                      <a:pt x="309" y="228"/>
                    </a:lnTo>
                    <a:lnTo>
                      <a:pt x="322" y="233"/>
                    </a:lnTo>
                    <a:lnTo>
                      <a:pt x="331" y="235"/>
                    </a:lnTo>
                    <a:lnTo>
                      <a:pt x="337" y="226"/>
                    </a:lnTo>
                    <a:lnTo>
                      <a:pt x="335" y="215"/>
                    </a:lnTo>
                    <a:lnTo>
                      <a:pt x="389" y="165"/>
                    </a:lnTo>
                    <a:lnTo>
                      <a:pt x="398" y="154"/>
                    </a:lnTo>
                    <a:lnTo>
                      <a:pt x="398" y="131"/>
                    </a:lnTo>
                    <a:lnTo>
                      <a:pt x="385" y="120"/>
                    </a:lnTo>
                    <a:lnTo>
                      <a:pt x="370" y="118"/>
                    </a:lnTo>
                    <a:lnTo>
                      <a:pt x="357" y="98"/>
                    </a:lnTo>
                    <a:lnTo>
                      <a:pt x="331" y="98"/>
                    </a:lnTo>
                    <a:lnTo>
                      <a:pt x="331" y="98"/>
                    </a:lnTo>
                    <a:lnTo>
                      <a:pt x="307" y="102"/>
                    </a:lnTo>
                    <a:lnTo>
                      <a:pt x="302" y="100"/>
                    </a:lnTo>
                    <a:lnTo>
                      <a:pt x="296" y="91"/>
                    </a:lnTo>
                    <a:lnTo>
                      <a:pt x="307" y="83"/>
                    </a:lnTo>
                    <a:lnTo>
                      <a:pt x="318" y="72"/>
                    </a:lnTo>
                    <a:lnTo>
                      <a:pt x="341" y="52"/>
                    </a:lnTo>
                    <a:lnTo>
                      <a:pt x="359" y="50"/>
                    </a:lnTo>
                    <a:lnTo>
                      <a:pt x="376" y="37"/>
                    </a:lnTo>
                    <a:lnTo>
                      <a:pt x="393" y="24"/>
                    </a:lnTo>
                    <a:lnTo>
                      <a:pt x="355" y="15"/>
                    </a:lnTo>
                    <a:lnTo>
                      <a:pt x="339" y="13"/>
                    </a:lnTo>
                    <a:lnTo>
                      <a:pt x="320" y="11"/>
                    </a:lnTo>
                    <a:lnTo>
                      <a:pt x="298" y="0"/>
                    </a:lnTo>
                    <a:lnTo>
                      <a:pt x="278" y="22"/>
                    </a:lnTo>
                    <a:lnTo>
                      <a:pt x="279" y="33"/>
                    </a:lnTo>
                    <a:lnTo>
                      <a:pt x="268" y="37"/>
                    </a:lnTo>
                    <a:lnTo>
                      <a:pt x="250" y="48"/>
                    </a:lnTo>
                    <a:lnTo>
                      <a:pt x="233" y="54"/>
                    </a:lnTo>
                    <a:lnTo>
                      <a:pt x="233" y="70"/>
                    </a:lnTo>
                    <a:lnTo>
                      <a:pt x="231" y="83"/>
                    </a:lnTo>
                    <a:lnTo>
                      <a:pt x="216" y="104"/>
                    </a:lnTo>
                    <a:lnTo>
                      <a:pt x="192" y="130"/>
                    </a:lnTo>
                    <a:lnTo>
                      <a:pt x="183" y="143"/>
                    </a:lnTo>
                    <a:lnTo>
                      <a:pt x="188" y="152"/>
                    </a:lnTo>
                    <a:lnTo>
                      <a:pt x="213" y="150"/>
                    </a:lnTo>
                    <a:lnTo>
                      <a:pt x="214" y="155"/>
                    </a:lnTo>
                    <a:lnTo>
                      <a:pt x="214" y="165"/>
                    </a:lnTo>
                    <a:lnTo>
                      <a:pt x="181" y="207"/>
                    </a:lnTo>
                    <a:lnTo>
                      <a:pt x="169" y="230"/>
                    </a:lnTo>
                    <a:lnTo>
                      <a:pt x="161" y="250"/>
                    </a:lnTo>
                    <a:lnTo>
                      <a:pt x="169" y="259"/>
                    </a:lnTo>
                    <a:lnTo>
                      <a:pt x="185" y="241"/>
                    </a:lnTo>
                    <a:lnTo>
                      <a:pt x="200" y="220"/>
                    </a:lnTo>
                    <a:lnTo>
                      <a:pt x="211" y="226"/>
                    </a:lnTo>
                    <a:lnTo>
                      <a:pt x="213" y="257"/>
                    </a:lnTo>
                    <a:lnTo>
                      <a:pt x="214" y="278"/>
                    </a:lnTo>
                    <a:lnTo>
                      <a:pt x="194" y="289"/>
                    </a:lnTo>
                    <a:lnTo>
                      <a:pt x="181" y="302"/>
                    </a:lnTo>
                    <a:lnTo>
                      <a:pt x="176" y="313"/>
                    </a:lnTo>
                    <a:lnTo>
                      <a:pt x="203" y="335"/>
                    </a:lnTo>
                    <a:lnTo>
                      <a:pt x="226" y="331"/>
                    </a:lnTo>
                    <a:lnTo>
                      <a:pt x="231" y="344"/>
                    </a:lnTo>
                    <a:lnTo>
                      <a:pt x="255" y="329"/>
                    </a:lnTo>
                    <a:lnTo>
                      <a:pt x="253" y="341"/>
                    </a:lnTo>
                    <a:lnTo>
                      <a:pt x="233" y="365"/>
                    </a:lnTo>
                    <a:lnTo>
                      <a:pt x="242" y="391"/>
                    </a:lnTo>
                    <a:lnTo>
                      <a:pt x="244" y="405"/>
                    </a:lnTo>
                    <a:lnTo>
                      <a:pt x="265" y="407"/>
                    </a:lnTo>
                    <a:lnTo>
                      <a:pt x="266" y="420"/>
                    </a:lnTo>
                    <a:lnTo>
                      <a:pt x="242" y="449"/>
                    </a:lnTo>
                    <a:lnTo>
                      <a:pt x="233" y="445"/>
                    </a:lnTo>
                    <a:lnTo>
                      <a:pt x="224" y="454"/>
                    </a:lnTo>
                    <a:lnTo>
                      <a:pt x="222" y="469"/>
                    </a:lnTo>
                    <a:lnTo>
                      <a:pt x="198" y="456"/>
                    </a:lnTo>
                    <a:lnTo>
                      <a:pt x="135" y="478"/>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62" name="Freeform 63"/>
              <p:cNvSpPr>
                <a:spLocks/>
              </p:cNvSpPr>
              <p:nvPr>
                <p:custDataLst>
                  <p:tags r:id="rId51"/>
                </p:custDataLst>
              </p:nvPr>
            </p:nvSpPr>
            <p:spPr bwMode="auto">
              <a:xfrm>
                <a:off x="1321" y="1802"/>
                <a:ext cx="38" cy="27"/>
              </a:xfrm>
              <a:custGeom>
                <a:avLst/>
                <a:gdLst/>
                <a:ahLst/>
                <a:cxnLst>
                  <a:cxn ang="0">
                    <a:pos x="20" y="0"/>
                  </a:cxn>
                  <a:cxn ang="0">
                    <a:pos x="36" y="2"/>
                  </a:cxn>
                  <a:cxn ang="0">
                    <a:pos x="38" y="12"/>
                  </a:cxn>
                  <a:cxn ang="0">
                    <a:pos x="21" y="23"/>
                  </a:cxn>
                  <a:cxn ang="0">
                    <a:pos x="2" y="27"/>
                  </a:cxn>
                  <a:cxn ang="0">
                    <a:pos x="0" y="15"/>
                  </a:cxn>
                  <a:cxn ang="0">
                    <a:pos x="20" y="0"/>
                  </a:cxn>
                </a:cxnLst>
                <a:rect l="0" t="0" r="r" b="b"/>
                <a:pathLst>
                  <a:path w="38" h="27">
                    <a:moveTo>
                      <a:pt x="20" y="0"/>
                    </a:moveTo>
                    <a:lnTo>
                      <a:pt x="36" y="2"/>
                    </a:lnTo>
                    <a:lnTo>
                      <a:pt x="38" y="12"/>
                    </a:lnTo>
                    <a:lnTo>
                      <a:pt x="21" y="23"/>
                    </a:lnTo>
                    <a:lnTo>
                      <a:pt x="2" y="27"/>
                    </a:lnTo>
                    <a:lnTo>
                      <a:pt x="0" y="15"/>
                    </a:lnTo>
                    <a:lnTo>
                      <a:pt x="20"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63" name="Freeform 64"/>
              <p:cNvSpPr>
                <a:spLocks/>
              </p:cNvSpPr>
              <p:nvPr>
                <p:custDataLst>
                  <p:tags r:id="rId52"/>
                </p:custDataLst>
              </p:nvPr>
            </p:nvSpPr>
            <p:spPr bwMode="auto">
              <a:xfrm>
                <a:off x="1295" y="1627"/>
                <a:ext cx="37" cy="27"/>
              </a:xfrm>
              <a:custGeom>
                <a:avLst/>
                <a:gdLst/>
                <a:ahLst/>
                <a:cxnLst>
                  <a:cxn ang="0">
                    <a:pos x="31" y="0"/>
                  </a:cxn>
                  <a:cxn ang="0">
                    <a:pos x="37" y="13"/>
                  </a:cxn>
                  <a:cxn ang="0">
                    <a:pos x="19" y="23"/>
                  </a:cxn>
                  <a:cxn ang="0">
                    <a:pos x="4" y="27"/>
                  </a:cxn>
                  <a:cxn ang="0">
                    <a:pos x="0" y="14"/>
                  </a:cxn>
                  <a:cxn ang="0">
                    <a:pos x="7" y="5"/>
                  </a:cxn>
                  <a:cxn ang="0">
                    <a:pos x="31" y="0"/>
                  </a:cxn>
                </a:cxnLst>
                <a:rect l="0" t="0" r="r" b="b"/>
                <a:pathLst>
                  <a:path w="37" h="27">
                    <a:moveTo>
                      <a:pt x="31" y="0"/>
                    </a:moveTo>
                    <a:lnTo>
                      <a:pt x="37" y="13"/>
                    </a:lnTo>
                    <a:lnTo>
                      <a:pt x="19" y="23"/>
                    </a:lnTo>
                    <a:lnTo>
                      <a:pt x="4" y="27"/>
                    </a:lnTo>
                    <a:lnTo>
                      <a:pt x="0" y="14"/>
                    </a:lnTo>
                    <a:lnTo>
                      <a:pt x="7" y="5"/>
                    </a:lnTo>
                    <a:lnTo>
                      <a:pt x="31"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64" name="Freeform 65"/>
              <p:cNvSpPr>
                <a:spLocks/>
              </p:cNvSpPr>
              <p:nvPr>
                <p:custDataLst>
                  <p:tags r:id="rId53"/>
                </p:custDataLst>
              </p:nvPr>
            </p:nvSpPr>
            <p:spPr bwMode="auto">
              <a:xfrm>
                <a:off x="1350" y="1491"/>
                <a:ext cx="20" cy="52"/>
              </a:xfrm>
              <a:custGeom>
                <a:avLst/>
                <a:gdLst/>
                <a:ahLst/>
                <a:cxnLst>
                  <a:cxn ang="0">
                    <a:pos x="9" y="52"/>
                  </a:cxn>
                  <a:cxn ang="0">
                    <a:pos x="20" y="39"/>
                  </a:cxn>
                  <a:cxn ang="0">
                    <a:pos x="16" y="22"/>
                  </a:cxn>
                  <a:cxn ang="0">
                    <a:pos x="13" y="13"/>
                  </a:cxn>
                  <a:cxn ang="0">
                    <a:pos x="9" y="0"/>
                  </a:cxn>
                  <a:cxn ang="0">
                    <a:pos x="0" y="6"/>
                  </a:cxn>
                  <a:cxn ang="0">
                    <a:pos x="5" y="24"/>
                  </a:cxn>
                  <a:cxn ang="0">
                    <a:pos x="9" y="52"/>
                  </a:cxn>
                </a:cxnLst>
                <a:rect l="0" t="0" r="r" b="b"/>
                <a:pathLst>
                  <a:path w="20" h="52">
                    <a:moveTo>
                      <a:pt x="9" y="52"/>
                    </a:moveTo>
                    <a:lnTo>
                      <a:pt x="20" y="39"/>
                    </a:lnTo>
                    <a:lnTo>
                      <a:pt x="16" y="22"/>
                    </a:lnTo>
                    <a:lnTo>
                      <a:pt x="13" y="13"/>
                    </a:lnTo>
                    <a:lnTo>
                      <a:pt x="9" y="0"/>
                    </a:lnTo>
                    <a:lnTo>
                      <a:pt x="0" y="6"/>
                    </a:lnTo>
                    <a:lnTo>
                      <a:pt x="5" y="24"/>
                    </a:lnTo>
                    <a:lnTo>
                      <a:pt x="9" y="52"/>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65" name="Freeform 66"/>
              <p:cNvSpPr>
                <a:spLocks/>
              </p:cNvSpPr>
              <p:nvPr>
                <p:custDataLst>
                  <p:tags r:id="rId54"/>
                </p:custDataLst>
              </p:nvPr>
            </p:nvSpPr>
            <p:spPr bwMode="auto">
              <a:xfrm>
                <a:off x="1202" y="1694"/>
                <a:ext cx="97" cy="99"/>
              </a:xfrm>
              <a:custGeom>
                <a:avLst/>
                <a:gdLst/>
                <a:ahLst/>
                <a:cxnLst>
                  <a:cxn ang="0">
                    <a:pos x="34" y="0"/>
                  </a:cxn>
                  <a:cxn ang="0">
                    <a:pos x="56" y="0"/>
                  </a:cxn>
                  <a:cxn ang="0">
                    <a:pos x="73" y="4"/>
                  </a:cxn>
                  <a:cxn ang="0">
                    <a:pos x="84" y="20"/>
                  </a:cxn>
                  <a:cxn ang="0">
                    <a:pos x="95" y="46"/>
                  </a:cxn>
                  <a:cxn ang="0">
                    <a:pos x="97" y="68"/>
                  </a:cxn>
                  <a:cxn ang="0">
                    <a:pos x="86" y="79"/>
                  </a:cxn>
                  <a:cxn ang="0">
                    <a:pos x="82" y="94"/>
                  </a:cxn>
                  <a:cxn ang="0">
                    <a:pos x="71" y="99"/>
                  </a:cxn>
                  <a:cxn ang="0">
                    <a:pos x="60" y="86"/>
                  </a:cxn>
                  <a:cxn ang="0">
                    <a:pos x="50" y="62"/>
                  </a:cxn>
                  <a:cxn ang="0">
                    <a:pos x="43" y="53"/>
                  </a:cxn>
                  <a:cxn ang="0">
                    <a:pos x="24" y="51"/>
                  </a:cxn>
                  <a:cxn ang="0">
                    <a:pos x="0" y="26"/>
                  </a:cxn>
                  <a:cxn ang="0">
                    <a:pos x="34" y="0"/>
                  </a:cxn>
                </a:cxnLst>
                <a:rect l="0" t="0" r="r" b="b"/>
                <a:pathLst>
                  <a:path w="97" h="99">
                    <a:moveTo>
                      <a:pt x="34" y="0"/>
                    </a:moveTo>
                    <a:lnTo>
                      <a:pt x="56" y="0"/>
                    </a:lnTo>
                    <a:lnTo>
                      <a:pt x="73" y="4"/>
                    </a:lnTo>
                    <a:lnTo>
                      <a:pt x="84" y="20"/>
                    </a:lnTo>
                    <a:lnTo>
                      <a:pt x="95" y="46"/>
                    </a:lnTo>
                    <a:lnTo>
                      <a:pt x="97" y="68"/>
                    </a:lnTo>
                    <a:lnTo>
                      <a:pt x="86" y="79"/>
                    </a:lnTo>
                    <a:lnTo>
                      <a:pt x="82" y="94"/>
                    </a:lnTo>
                    <a:lnTo>
                      <a:pt x="71" y="99"/>
                    </a:lnTo>
                    <a:lnTo>
                      <a:pt x="60" y="86"/>
                    </a:lnTo>
                    <a:lnTo>
                      <a:pt x="50" y="62"/>
                    </a:lnTo>
                    <a:lnTo>
                      <a:pt x="43" y="53"/>
                    </a:lnTo>
                    <a:lnTo>
                      <a:pt x="24" y="51"/>
                    </a:lnTo>
                    <a:lnTo>
                      <a:pt x="0" y="26"/>
                    </a:lnTo>
                    <a:lnTo>
                      <a:pt x="34"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66" name="Freeform 67"/>
              <p:cNvSpPr>
                <a:spLocks/>
              </p:cNvSpPr>
              <p:nvPr>
                <p:custDataLst>
                  <p:tags r:id="rId55"/>
                </p:custDataLst>
              </p:nvPr>
            </p:nvSpPr>
            <p:spPr bwMode="auto">
              <a:xfrm>
                <a:off x="1346" y="1432"/>
                <a:ext cx="50" cy="37"/>
              </a:xfrm>
              <a:custGeom>
                <a:avLst/>
                <a:gdLst/>
                <a:ahLst/>
                <a:cxnLst>
                  <a:cxn ang="0">
                    <a:pos x="44" y="0"/>
                  </a:cxn>
                  <a:cxn ang="0">
                    <a:pos x="50" y="9"/>
                  </a:cxn>
                  <a:cxn ang="0">
                    <a:pos x="31" y="20"/>
                  </a:cxn>
                  <a:cxn ang="0">
                    <a:pos x="13" y="37"/>
                  </a:cxn>
                  <a:cxn ang="0">
                    <a:pos x="2" y="33"/>
                  </a:cxn>
                  <a:cxn ang="0">
                    <a:pos x="0" y="13"/>
                  </a:cxn>
                  <a:cxn ang="0">
                    <a:pos x="0" y="6"/>
                  </a:cxn>
                  <a:cxn ang="0">
                    <a:pos x="30" y="0"/>
                  </a:cxn>
                  <a:cxn ang="0">
                    <a:pos x="44" y="0"/>
                  </a:cxn>
                </a:cxnLst>
                <a:rect l="0" t="0" r="r" b="b"/>
                <a:pathLst>
                  <a:path w="50" h="37">
                    <a:moveTo>
                      <a:pt x="44" y="0"/>
                    </a:moveTo>
                    <a:lnTo>
                      <a:pt x="50" y="9"/>
                    </a:lnTo>
                    <a:lnTo>
                      <a:pt x="31" y="20"/>
                    </a:lnTo>
                    <a:lnTo>
                      <a:pt x="13" y="37"/>
                    </a:lnTo>
                    <a:lnTo>
                      <a:pt x="2" y="33"/>
                    </a:lnTo>
                    <a:lnTo>
                      <a:pt x="0" y="13"/>
                    </a:lnTo>
                    <a:lnTo>
                      <a:pt x="0" y="6"/>
                    </a:lnTo>
                    <a:lnTo>
                      <a:pt x="30" y="0"/>
                    </a:lnTo>
                    <a:lnTo>
                      <a:pt x="44"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sp>
          <p:nvSpPr>
            <p:cNvPr id="31" name="Freeform 68"/>
            <p:cNvSpPr>
              <a:spLocks/>
            </p:cNvSpPr>
            <p:nvPr>
              <p:custDataLst>
                <p:tags r:id="rId22"/>
              </p:custDataLst>
            </p:nvPr>
          </p:nvSpPr>
          <p:spPr bwMode="auto">
            <a:xfrm>
              <a:off x="1106318" y="1580747"/>
              <a:ext cx="530974" cy="462730"/>
            </a:xfrm>
            <a:custGeom>
              <a:avLst/>
              <a:gdLst/>
              <a:ahLst/>
              <a:cxnLst>
                <a:cxn ang="0">
                  <a:pos x="17" y="89"/>
                </a:cxn>
                <a:cxn ang="0">
                  <a:pos x="45" y="115"/>
                </a:cxn>
                <a:cxn ang="0">
                  <a:pos x="59" y="159"/>
                </a:cxn>
                <a:cxn ang="0">
                  <a:pos x="35" y="189"/>
                </a:cxn>
                <a:cxn ang="0">
                  <a:pos x="0" y="187"/>
                </a:cxn>
                <a:cxn ang="0">
                  <a:pos x="48" y="230"/>
                </a:cxn>
                <a:cxn ang="0">
                  <a:pos x="67" y="282"/>
                </a:cxn>
                <a:cxn ang="0">
                  <a:pos x="113" y="304"/>
                </a:cxn>
                <a:cxn ang="0">
                  <a:pos x="141" y="316"/>
                </a:cxn>
                <a:cxn ang="0">
                  <a:pos x="191" y="317"/>
                </a:cxn>
                <a:cxn ang="0">
                  <a:pos x="230" y="319"/>
                </a:cxn>
                <a:cxn ang="0">
                  <a:pos x="258" y="304"/>
                </a:cxn>
                <a:cxn ang="0">
                  <a:pos x="280" y="319"/>
                </a:cxn>
                <a:cxn ang="0">
                  <a:pos x="305" y="303"/>
                </a:cxn>
                <a:cxn ang="0">
                  <a:pos x="342" y="288"/>
                </a:cxn>
                <a:cxn ang="0">
                  <a:pos x="352" y="266"/>
                </a:cxn>
                <a:cxn ang="0">
                  <a:pos x="372" y="240"/>
                </a:cxn>
                <a:cxn ang="0">
                  <a:pos x="355" y="220"/>
                </a:cxn>
                <a:cxn ang="0">
                  <a:pos x="368" y="168"/>
                </a:cxn>
                <a:cxn ang="0">
                  <a:pos x="348" y="154"/>
                </a:cxn>
                <a:cxn ang="0">
                  <a:pos x="344" y="144"/>
                </a:cxn>
                <a:cxn ang="0">
                  <a:pos x="331" y="126"/>
                </a:cxn>
                <a:cxn ang="0">
                  <a:pos x="303" y="146"/>
                </a:cxn>
                <a:cxn ang="0">
                  <a:pos x="284" y="139"/>
                </a:cxn>
                <a:cxn ang="0">
                  <a:pos x="254" y="126"/>
                </a:cxn>
                <a:cxn ang="0">
                  <a:pos x="237" y="124"/>
                </a:cxn>
                <a:cxn ang="0">
                  <a:pos x="228" y="111"/>
                </a:cxn>
                <a:cxn ang="0">
                  <a:pos x="197" y="113"/>
                </a:cxn>
                <a:cxn ang="0">
                  <a:pos x="191" y="96"/>
                </a:cxn>
                <a:cxn ang="0">
                  <a:pos x="174" y="104"/>
                </a:cxn>
                <a:cxn ang="0">
                  <a:pos x="163" y="104"/>
                </a:cxn>
                <a:cxn ang="0">
                  <a:pos x="141" y="117"/>
                </a:cxn>
                <a:cxn ang="0">
                  <a:pos x="135" y="81"/>
                </a:cxn>
                <a:cxn ang="0">
                  <a:pos x="152" y="59"/>
                </a:cxn>
                <a:cxn ang="0">
                  <a:pos x="152" y="22"/>
                </a:cxn>
                <a:cxn ang="0">
                  <a:pos x="141" y="0"/>
                </a:cxn>
                <a:cxn ang="0">
                  <a:pos x="130" y="28"/>
                </a:cxn>
                <a:cxn ang="0">
                  <a:pos x="115" y="30"/>
                </a:cxn>
                <a:cxn ang="0">
                  <a:pos x="111" y="6"/>
                </a:cxn>
                <a:cxn ang="0">
                  <a:pos x="89" y="19"/>
                </a:cxn>
                <a:cxn ang="0">
                  <a:pos x="87" y="37"/>
                </a:cxn>
                <a:cxn ang="0">
                  <a:pos x="70" y="26"/>
                </a:cxn>
                <a:cxn ang="0">
                  <a:pos x="56" y="37"/>
                </a:cxn>
                <a:cxn ang="0">
                  <a:pos x="78" y="54"/>
                </a:cxn>
                <a:cxn ang="0">
                  <a:pos x="102" y="74"/>
                </a:cxn>
                <a:cxn ang="0">
                  <a:pos x="87" y="87"/>
                </a:cxn>
                <a:cxn ang="0">
                  <a:pos x="95" y="109"/>
                </a:cxn>
                <a:cxn ang="0">
                  <a:pos x="76" y="115"/>
                </a:cxn>
                <a:cxn ang="0">
                  <a:pos x="45" y="83"/>
                </a:cxn>
              </a:cxnLst>
              <a:rect l="0" t="0" r="r" b="b"/>
              <a:pathLst>
                <a:path w="372" h="323">
                  <a:moveTo>
                    <a:pt x="28" y="76"/>
                  </a:moveTo>
                  <a:lnTo>
                    <a:pt x="17" y="89"/>
                  </a:lnTo>
                  <a:lnTo>
                    <a:pt x="30" y="111"/>
                  </a:lnTo>
                  <a:lnTo>
                    <a:pt x="45" y="115"/>
                  </a:lnTo>
                  <a:lnTo>
                    <a:pt x="58" y="124"/>
                  </a:lnTo>
                  <a:lnTo>
                    <a:pt x="59" y="159"/>
                  </a:lnTo>
                  <a:lnTo>
                    <a:pt x="46" y="183"/>
                  </a:lnTo>
                  <a:lnTo>
                    <a:pt x="35" y="189"/>
                  </a:lnTo>
                  <a:lnTo>
                    <a:pt x="4" y="183"/>
                  </a:lnTo>
                  <a:lnTo>
                    <a:pt x="0" y="187"/>
                  </a:lnTo>
                  <a:lnTo>
                    <a:pt x="37" y="224"/>
                  </a:lnTo>
                  <a:lnTo>
                    <a:pt x="48" y="230"/>
                  </a:lnTo>
                  <a:lnTo>
                    <a:pt x="54" y="256"/>
                  </a:lnTo>
                  <a:lnTo>
                    <a:pt x="67" y="282"/>
                  </a:lnTo>
                  <a:lnTo>
                    <a:pt x="89" y="301"/>
                  </a:lnTo>
                  <a:lnTo>
                    <a:pt x="113" y="304"/>
                  </a:lnTo>
                  <a:lnTo>
                    <a:pt x="128" y="316"/>
                  </a:lnTo>
                  <a:lnTo>
                    <a:pt x="141" y="316"/>
                  </a:lnTo>
                  <a:lnTo>
                    <a:pt x="158" y="308"/>
                  </a:lnTo>
                  <a:lnTo>
                    <a:pt x="191" y="317"/>
                  </a:lnTo>
                  <a:lnTo>
                    <a:pt x="208" y="323"/>
                  </a:lnTo>
                  <a:lnTo>
                    <a:pt x="230" y="319"/>
                  </a:lnTo>
                  <a:lnTo>
                    <a:pt x="245" y="316"/>
                  </a:lnTo>
                  <a:lnTo>
                    <a:pt x="258" y="304"/>
                  </a:lnTo>
                  <a:lnTo>
                    <a:pt x="267" y="308"/>
                  </a:lnTo>
                  <a:lnTo>
                    <a:pt x="280" y="319"/>
                  </a:lnTo>
                  <a:lnTo>
                    <a:pt x="293" y="312"/>
                  </a:lnTo>
                  <a:lnTo>
                    <a:pt x="305" y="303"/>
                  </a:lnTo>
                  <a:lnTo>
                    <a:pt x="313" y="295"/>
                  </a:lnTo>
                  <a:lnTo>
                    <a:pt x="342" y="288"/>
                  </a:lnTo>
                  <a:lnTo>
                    <a:pt x="348" y="279"/>
                  </a:lnTo>
                  <a:lnTo>
                    <a:pt x="352" y="266"/>
                  </a:lnTo>
                  <a:lnTo>
                    <a:pt x="370" y="251"/>
                  </a:lnTo>
                  <a:lnTo>
                    <a:pt x="372" y="240"/>
                  </a:lnTo>
                  <a:lnTo>
                    <a:pt x="365" y="233"/>
                  </a:lnTo>
                  <a:lnTo>
                    <a:pt x="355" y="220"/>
                  </a:lnTo>
                  <a:lnTo>
                    <a:pt x="353" y="174"/>
                  </a:lnTo>
                  <a:lnTo>
                    <a:pt x="368" y="168"/>
                  </a:lnTo>
                  <a:lnTo>
                    <a:pt x="359" y="152"/>
                  </a:lnTo>
                  <a:lnTo>
                    <a:pt x="348" y="154"/>
                  </a:lnTo>
                  <a:lnTo>
                    <a:pt x="340" y="152"/>
                  </a:lnTo>
                  <a:lnTo>
                    <a:pt x="344" y="144"/>
                  </a:lnTo>
                  <a:lnTo>
                    <a:pt x="340" y="130"/>
                  </a:lnTo>
                  <a:lnTo>
                    <a:pt x="331" y="126"/>
                  </a:lnTo>
                  <a:lnTo>
                    <a:pt x="316" y="135"/>
                  </a:lnTo>
                  <a:lnTo>
                    <a:pt x="303" y="146"/>
                  </a:lnTo>
                  <a:lnTo>
                    <a:pt x="293" y="144"/>
                  </a:lnTo>
                  <a:lnTo>
                    <a:pt x="284" y="139"/>
                  </a:lnTo>
                  <a:lnTo>
                    <a:pt x="269" y="130"/>
                  </a:lnTo>
                  <a:lnTo>
                    <a:pt x="254" y="126"/>
                  </a:lnTo>
                  <a:lnTo>
                    <a:pt x="245" y="130"/>
                  </a:lnTo>
                  <a:lnTo>
                    <a:pt x="237" y="124"/>
                  </a:lnTo>
                  <a:lnTo>
                    <a:pt x="236" y="113"/>
                  </a:lnTo>
                  <a:lnTo>
                    <a:pt x="228" y="111"/>
                  </a:lnTo>
                  <a:lnTo>
                    <a:pt x="213" y="115"/>
                  </a:lnTo>
                  <a:lnTo>
                    <a:pt x="197" y="113"/>
                  </a:lnTo>
                  <a:lnTo>
                    <a:pt x="197" y="104"/>
                  </a:lnTo>
                  <a:lnTo>
                    <a:pt x="191" y="96"/>
                  </a:lnTo>
                  <a:lnTo>
                    <a:pt x="180" y="94"/>
                  </a:lnTo>
                  <a:lnTo>
                    <a:pt x="174" y="104"/>
                  </a:lnTo>
                  <a:lnTo>
                    <a:pt x="171" y="109"/>
                  </a:lnTo>
                  <a:lnTo>
                    <a:pt x="163" y="104"/>
                  </a:lnTo>
                  <a:lnTo>
                    <a:pt x="152" y="107"/>
                  </a:lnTo>
                  <a:lnTo>
                    <a:pt x="141" y="117"/>
                  </a:lnTo>
                  <a:lnTo>
                    <a:pt x="134" y="109"/>
                  </a:lnTo>
                  <a:lnTo>
                    <a:pt x="135" y="81"/>
                  </a:lnTo>
                  <a:lnTo>
                    <a:pt x="143" y="67"/>
                  </a:lnTo>
                  <a:lnTo>
                    <a:pt x="152" y="59"/>
                  </a:lnTo>
                  <a:lnTo>
                    <a:pt x="150" y="41"/>
                  </a:lnTo>
                  <a:lnTo>
                    <a:pt x="152" y="22"/>
                  </a:lnTo>
                  <a:lnTo>
                    <a:pt x="148" y="0"/>
                  </a:lnTo>
                  <a:lnTo>
                    <a:pt x="141" y="0"/>
                  </a:lnTo>
                  <a:lnTo>
                    <a:pt x="134" y="9"/>
                  </a:lnTo>
                  <a:lnTo>
                    <a:pt x="130" y="28"/>
                  </a:lnTo>
                  <a:lnTo>
                    <a:pt x="124" y="41"/>
                  </a:lnTo>
                  <a:lnTo>
                    <a:pt x="115" y="30"/>
                  </a:lnTo>
                  <a:lnTo>
                    <a:pt x="121" y="15"/>
                  </a:lnTo>
                  <a:lnTo>
                    <a:pt x="111" y="6"/>
                  </a:lnTo>
                  <a:lnTo>
                    <a:pt x="96" y="9"/>
                  </a:lnTo>
                  <a:lnTo>
                    <a:pt x="89" y="19"/>
                  </a:lnTo>
                  <a:lnTo>
                    <a:pt x="93" y="28"/>
                  </a:lnTo>
                  <a:lnTo>
                    <a:pt x="87" y="37"/>
                  </a:lnTo>
                  <a:lnTo>
                    <a:pt x="80" y="33"/>
                  </a:lnTo>
                  <a:lnTo>
                    <a:pt x="70" y="26"/>
                  </a:lnTo>
                  <a:lnTo>
                    <a:pt x="63" y="28"/>
                  </a:lnTo>
                  <a:lnTo>
                    <a:pt x="56" y="37"/>
                  </a:lnTo>
                  <a:lnTo>
                    <a:pt x="65" y="52"/>
                  </a:lnTo>
                  <a:lnTo>
                    <a:pt x="78" y="54"/>
                  </a:lnTo>
                  <a:lnTo>
                    <a:pt x="95" y="69"/>
                  </a:lnTo>
                  <a:lnTo>
                    <a:pt x="102" y="74"/>
                  </a:lnTo>
                  <a:lnTo>
                    <a:pt x="102" y="83"/>
                  </a:lnTo>
                  <a:lnTo>
                    <a:pt x="87" y="87"/>
                  </a:lnTo>
                  <a:lnTo>
                    <a:pt x="89" y="100"/>
                  </a:lnTo>
                  <a:lnTo>
                    <a:pt x="95" y="109"/>
                  </a:lnTo>
                  <a:lnTo>
                    <a:pt x="89" y="117"/>
                  </a:lnTo>
                  <a:lnTo>
                    <a:pt x="76" y="115"/>
                  </a:lnTo>
                  <a:lnTo>
                    <a:pt x="58" y="96"/>
                  </a:lnTo>
                  <a:lnTo>
                    <a:pt x="45" y="83"/>
                  </a:lnTo>
                  <a:lnTo>
                    <a:pt x="28" y="76"/>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2" name="Freeform 69"/>
            <p:cNvSpPr>
              <a:spLocks/>
            </p:cNvSpPr>
            <p:nvPr>
              <p:custDataLst>
                <p:tags r:id="rId23"/>
              </p:custDataLst>
            </p:nvPr>
          </p:nvSpPr>
          <p:spPr bwMode="auto">
            <a:xfrm>
              <a:off x="3920982" y="5312547"/>
              <a:ext cx="284629" cy="243016"/>
            </a:xfrm>
            <a:custGeom>
              <a:avLst/>
              <a:gdLst/>
              <a:ahLst/>
              <a:cxnLst>
                <a:cxn ang="0">
                  <a:pos x="35" y="28"/>
                </a:cxn>
                <a:cxn ang="0">
                  <a:pos x="32" y="71"/>
                </a:cxn>
                <a:cxn ang="0">
                  <a:pos x="0" y="117"/>
                </a:cxn>
                <a:cxn ang="0">
                  <a:pos x="7" y="126"/>
                </a:cxn>
                <a:cxn ang="0">
                  <a:pos x="43" y="123"/>
                </a:cxn>
                <a:cxn ang="0">
                  <a:pos x="26" y="143"/>
                </a:cxn>
                <a:cxn ang="0">
                  <a:pos x="19" y="151"/>
                </a:cxn>
                <a:cxn ang="0">
                  <a:pos x="22" y="171"/>
                </a:cxn>
                <a:cxn ang="0">
                  <a:pos x="50" y="139"/>
                </a:cxn>
                <a:cxn ang="0">
                  <a:pos x="67" y="130"/>
                </a:cxn>
                <a:cxn ang="0">
                  <a:pos x="97" y="91"/>
                </a:cxn>
                <a:cxn ang="0">
                  <a:pos x="132" y="71"/>
                </a:cxn>
                <a:cxn ang="0">
                  <a:pos x="186" y="69"/>
                </a:cxn>
                <a:cxn ang="0">
                  <a:pos x="199" y="63"/>
                </a:cxn>
                <a:cxn ang="0">
                  <a:pos x="197" y="52"/>
                </a:cxn>
                <a:cxn ang="0">
                  <a:pos x="171" y="30"/>
                </a:cxn>
                <a:cxn ang="0">
                  <a:pos x="158" y="32"/>
                </a:cxn>
                <a:cxn ang="0">
                  <a:pos x="154" y="26"/>
                </a:cxn>
                <a:cxn ang="0">
                  <a:pos x="139" y="26"/>
                </a:cxn>
                <a:cxn ang="0">
                  <a:pos x="117" y="2"/>
                </a:cxn>
                <a:cxn ang="0">
                  <a:pos x="93" y="0"/>
                </a:cxn>
                <a:cxn ang="0">
                  <a:pos x="71" y="6"/>
                </a:cxn>
                <a:cxn ang="0">
                  <a:pos x="52" y="15"/>
                </a:cxn>
                <a:cxn ang="0">
                  <a:pos x="35" y="28"/>
                </a:cxn>
              </a:cxnLst>
              <a:rect l="0" t="0" r="r" b="b"/>
              <a:pathLst>
                <a:path w="199" h="171">
                  <a:moveTo>
                    <a:pt x="35" y="28"/>
                  </a:moveTo>
                  <a:lnTo>
                    <a:pt x="32" y="71"/>
                  </a:lnTo>
                  <a:lnTo>
                    <a:pt x="0" y="117"/>
                  </a:lnTo>
                  <a:lnTo>
                    <a:pt x="7" y="126"/>
                  </a:lnTo>
                  <a:lnTo>
                    <a:pt x="43" y="123"/>
                  </a:lnTo>
                  <a:lnTo>
                    <a:pt x="26" y="143"/>
                  </a:lnTo>
                  <a:lnTo>
                    <a:pt x="19" y="151"/>
                  </a:lnTo>
                  <a:lnTo>
                    <a:pt x="22" y="171"/>
                  </a:lnTo>
                  <a:lnTo>
                    <a:pt x="50" y="139"/>
                  </a:lnTo>
                  <a:lnTo>
                    <a:pt x="67" y="130"/>
                  </a:lnTo>
                  <a:lnTo>
                    <a:pt x="97" y="91"/>
                  </a:lnTo>
                  <a:lnTo>
                    <a:pt x="132" y="71"/>
                  </a:lnTo>
                  <a:lnTo>
                    <a:pt x="186" y="69"/>
                  </a:lnTo>
                  <a:lnTo>
                    <a:pt x="199" y="63"/>
                  </a:lnTo>
                  <a:lnTo>
                    <a:pt x="197" y="52"/>
                  </a:lnTo>
                  <a:lnTo>
                    <a:pt x="171" y="30"/>
                  </a:lnTo>
                  <a:lnTo>
                    <a:pt x="158" y="32"/>
                  </a:lnTo>
                  <a:lnTo>
                    <a:pt x="154" y="26"/>
                  </a:lnTo>
                  <a:lnTo>
                    <a:pt x="139" y="26"/>
                  </a:lnTo>
                  <a:lnTo>
                    <a:pt x="117" y="2"/>
                  </a:lnTo>
                  <a:lnTo>
                    <a:pt x="93" y="0"/>
                  </a:lnTo>
                  <a:lnTo>
                    <a:pt x="71" y="6"/>
                  </a:lnTo>
                  <a:lnTo>
                    <a:pt x="52" y="15"/>
                  </a:lnTo>
                  <a:lnTo>
                    <a:pt x="35" y="28"/>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3" name="Freeform 70"/>
            <p:cNvSpPr>
              <a:spLocks/>
            </p:cNvSpPr>
            <p:nvPr>
              <p:custDataLst>
                <p:tags r:id="rId24"/>
              </p:custDataLst>
            </p:nvPr>
          </p:nvSpPr>
          <p:spPr bwMode="auto">
            <a:xfrm>
              <a:off x="3964259" y="5081182"/>
              <a:ext cx="1904184" cy="955421"/>
            </a:xfrm>
            <a:custGeom>
              <a:avLst/>
              <a:gdLst/>
              <a:ahLst/>
              <a:cxnLst>
                <a:cxn ang="0">
                  <a:pos x="219" y="255"/>
                </a:cxn>
                <a:cxn ang="0">
                  <a:pos x="185" y="233"/>
                </a:cxn>
                <a:cxn ang="0">
                  <a:pos x="283" y="199"/>
                </a:cxn>
                <a:cxn ang="0">
                  <a:pos x="346" y="170"/>
                </a:cxn>
                <a:cxn ang="0">
                  <a:pos x="421" y="110"/>
                </a:cxn>
                <a:cxn ang="0">
                  <a:pos x="540" y="82"/>
                </a:cxn>
                <a:cxn ang="0">
                  <a:pos x="581" y="108"/>
                </a:cxn>
                <a:cxn ang="0">
                  <a:pos x="640" y="118"/>
                </a:cxn>
                <a:cxn ang="0">
                  <a:pos x="681" y="114"/>
                </a:cxn>
                <a:cxn ang="0">
                  <a:pos x="818" y="121"/>
                </a:cxn>
                <a:cxn ang="0">
                  <a:pos x="866" y="93"/>
                </a:cxn>
                <a:cxn ang="0">
                  <a:pos x="938" y="78"/>
                </a:cxn>
                <a:cxn ang="0">
                  <a:pos x="978" y="26"/>
                </a:cxn>
                <a:cxn ang="0">
                  <a:pos x="1045" y="26"/>
                </a:cxn>
                <a:cxn ang="0">
                  <a:pos x="1086" y="4"/>
                </a:cxn>
                <a:cxn ang="0">
                  <a:pos x="1160" y="85"/>
                </a:cxn>
                <a:cxn ang="0">
                  <a:pos x="1230" y="170"/>
                </a:cxn>
                <a:cxn ang="0">
                  <a:pos x="1275" y="229"/>
                </a:cxn>
                <a:cxn ang="0">
                  <a:pos x="1308" y="284"/>
                </a:cxn>
                <a:cxn ang="0">
                  <a:pos x="1334" y="344"/>
                </a:cxn>
                <a:cxn ang="0">
                  <a:pos x="1264" y="362"/>
                </a:cxn>
                <a:cxn ang="0">
                  <a:pos x="1230" y="366"/>
                </a:cxn>
                <a:cxn ang="0">
                  <a:pos x="1186" y="359"/>
                </a:cxn>
                <a:cxn ang="0">
                  <a:pos x="1152" y="385"/>
                </a:cxn>
                <a:cxn ang="0">
                  <a:pos x="1097" y="396"/>
                </a:cxn>
                <a:cxn ang="0">
                  <a:pos x="1060" y="433"/>
                </a:cxn>
                <a:cxn ang="0">
                  <a:pos x="978" y="477"/>
                </a:cxn>
                <a:cxn ang="0">
                  <a:pos x="923" y="492"/>
                </a:cxn>
                <a:cxn ang="0">
                  <a:pos x="875" y="492"/>
                </a:cxn>
                <a:cxn ang="0">
                  <a:pos x="777" y="499"/>
                </a:cxn>
                <a:cxn ang="0">
                  <a:pos x="762" y="548"/>
                </a:cxn>
                <a:cxn ang="0">
                  <a:pos x="707" y="570"/>
                </a:cxn>
                <a:cxn ang="0">
                  <a:pos x="714" y="529"/>
                </a:cxn>
                <a:cxn ang="0">
                  <a:pos x="685" y="540"/>
                </a:cxn>
                <a:cxn ang="0">
                  <a:pos x="610" y="548"/>
                </a:cxn>
                <a:cxn ang="0">
                  <a:pos x="562" y="611"/>
                </a:cxn>
                <a:cxn ang="0">
                  <a:pos x="418" y="600"/>
                </a:cxn>
                <a:cxn ang="0">
                  <a:pos x="332" y="585"/>
                </a:cxn>
                <a:cxn ang="0">
                  <a:pos x="317" y="637"/>
                </a:cxn>
                <a:cxn ang="0">
                  <a:pos x="265" y="670"/>
                </a:cxn>
                <a:cxn ang="0">
                  <a:pos x="232" y="648"/>
                </a:cxn>
                <a:cxn ang="0">
                  <a:pos x="185" y="618"/>
                </a:cxn>
                <a:cxn ang="0">
                  <a:pos x="148" y="603"/>
                </a:cxn>
                <a:cxn ang="0">
                  <a:pos x="115" y="588"/>
                </a:cxn>
                <a:cxn ang="0">
                  <a:pos x="96" y="566"/>
                </a:cxn>
                <a:cxn ang="0">
                  <a:pos x="85" y="533"/>
                </a:cxn>
                <a:cxn ang="0">
                  <a:pos x="15" y="474"/>
                </a:cxn>
                <a:cxn ang="0">
                  <a:pos x="37" y="466"/>
                </a:cxn>
                <a:cxn ang="0">
                  <a:pos x="37" y="414"/>
                </a:cxn>
                <a:cxn ang="0">
                  <a:pos x="7" y="385"/>
                </a:cxn>
                <a:cxn ang="0">
                  <a:pos x="30" y="299"/>
                </a:cxn>
                <a:cxn ang="0">
                  <a:pos x="74" y="307"/>
                </a:cxn>
                <a:cxn ang="0">
                  <a:pos x="107" y="288"/>
                </a:cxn>
              </a:cxnLst>
              <a:rect l="0" t="0" r="r" b="b"/>
              <a:pathLst>
                <a:path w="1334" h="670">
                  <a:moveTo>
                    <a:pt x="178" y="284"/>
                  </a:moveTo>
                  <a:lnTo>
                    <a:pt x="182" y="259"/>
                  </a:lnTo>
                  <a:lnTo>
                    <a:pt x="219" y="255"/>
                  </a:lnTo>
                  <a:lnTo>
                    <a:pt x="229" y="255"/>
                  </a:lnTo>
                  <a:lnTo>
                    <a:pt x="211" y="240"/>
                  </a:lnTo>
                  <a:lnTo>
                    <a:pt x="185" y="233"/>
                  </a:lnTo>
                  <a:lnTo>
                    <a:pt x="185" y="218"/>
                  </a:lnTo>
                  <a:lnTo>
                    <a:pt x="239" y="203"/>
                  </a:lnTo>
                  <a:lnTo>
                    <a:pt x="283" y="199"/>
                  </a:lnTo>
                  <a:lnTo>
                    <a:pt x="313" y="184"/>
                  </a:lnTo>
                  <a:lnTo>
                    <a:pt x="332" y="192"/>
                  </a:lnTo>
                  <a:lnTo>
                    <a:pt x="346" y="170"/>
                  </a:lnTo>
                  <a:lnTo>
                    <a:pt x="381" y="140"/>
                  </a:lnTo>
                  <a:lnTo>
                    <a:pt x="403" y="121"/>
                  </a:lnTo>
                  <a:lnTo>
                    <a:pt x="421" y="110"/>
                  </a:lnTo>
                  <a:lnTo>
                    <a:pt x="455" y="110"/>
                  </a:lnTo>
                  <a:lnTo>
                    <a:pt x="488" y="100"/>
                  </a:lnTo>
                  <a:lnTo>
                    <a:pt x="540" y="82"/>
                  </a:lnTo>
                  <a:lnTo>
                    <a:pt x="551" y="82"/>
                  </a:lnTo>
                  <a:lnTo>
                    <a:pt x="566" y="96"/>
                  </a:lnTo>
                  <a:lnTo>
                    <a:pt x="581" y="108"/>
                  </a:lnTo>
                  <a:lnTo>
                    <a:pt x="603" y="96"/>
                  </a:lnTo>
                  <a:lnTo>
                    <a:pt x="625" y="108"/>
                  </a:lnTo>
                  <a:lnTo>
                    <a:pt x="640" y="118"/>
                  </a:lnTo>
                  <a:lnTo>
                    <a:pt x="659" y="121"/>
                  </a:lnTo>
                  <a:lnTo>
                    <a:pt x="670" y="129"/>
                  </a:lnTo>
                  <a:lnTo>
                    <a:pt x="681" y="114"/>
                  </a:lnTo>
                  <a:lnTo>
                    <a:pt x="714" y="125"/>
                  </a:lnTo>
                  <a:lnTo>
                    <a:pt x="770" y="129"/>
                  </a:lnTo>
                  <a:lnTo>
                    <a:pt x="818" y="121"/>
                  </a:lnTo>
                  <a:lnTo>
                    <a:pt x="840" y="110"/>
                  </a:lnTo>
                  <a:lnTo>
                    <a:pt x="851" y="104"/>
                  </a:lnTo>
                  <a:lnTo>
                    <a:pt x="866" y="93"/>
                  </a:lnTo>
                  <a:lnTo>
                    <a:pt x="893" y="100"/>
                  </a:lnTo>
                  <a:lnTo>
                    <a:pt x="915" y="96"/>
                  </a:lnTo>
                  <a:lnTo>
                    <a:pt x="938" y="78"/>
                  </a:lnTo>
                  <a:lnTo>
                    <a:pt x="971" y="56"/>
                  </a:lnTo>
                  <a:lnTo>
                    <a:pt x="975" y="41"/>
                  </a:lnTo>
                  <a:lnTo>
                    <a:pt x="978" y="26"/>
                  </a:lnTo>
                  <a:lnTo>
                    <a:pt x="997" y="22"/>
                  </a:lnTo>
                  <a:lnTo>
                    <a:pt x="1015" y="26"/>
                  </a:lnTo>
                  <a:lnTo>
                    <a:pt x="1045" y="26"/>
                  </a:lnTo>
                  <a:lnTo>
                    <a:pt x="1056" y="15"/>
                  </a:lnTo>
                  <a:lnTo>
                    <a:pt x="1071" y="0"/>
                  </a:lnTo>
                  <a:lnTo>
                    <a:pt x="1086" y="4"/>
                  </a:lnTo>
                  <a:lnTo>
                    <a:pt x="1093" y="19"/>
                  </a:lnTo>
                  <a:lnTo>
                    <a:pt x="1134" y="26"/>
                  </a:lnTo>
                  <a:lnTo>
                    <a:pt x="1160" y="85"/>
                  </a:lnTo>
                  <a:lnTo>
                    <a:pt x="1241" y="89"/>
                  </a:lnTo>
                  <a:lnTo>
                    <a:pt x="1267" y="121"/>
                  </a:lnTo>
                  <a:lnTo>
                    <a:pt x="1230" y="170"/>
                  </a:lnTo>
                  <a:lnTo>
                    <a:pt x="1249" y="184"/>
                  </a:lnTo>
                  <a:lnTo>
                    <a:pt x="1245" y="218"/>
                  </a:lnTo>
                  <a:lnTo>
                    <a:pt x="1275" y="229"/>
                  </a:lnTo>
                  <a:lnTo>
                    <a:pt x="1260" y="277"/>
                  </a:lnTo>
                  <a:lnTo>
                    <a:pt x="1282" y="277"/>
                  </a:lnTo>
                  <a:lnTo>
                    <a:pt x="1308" y="284"/>
                  </a:lnTo>
                  <a:lnTo>
                    <a:pt x="1304" y="299"/>
                  </a:lnTo>
                  <a:lnTo>
                    <a:pt x="1312" y="322"/>
                  </a:lnTo>
                  <a:lnTo>
                    <a:pt x="1334" y="344"/>
                  </a:lnTo>
                  <a:lnTo>
                    <a:pt x="1319" y="351"/>
                  </a:lnTo>
                  <a:lnTo>
                    <a:pt x="1301" y="355"/>
                  </a:lnTo>
                  <a:lnTo>
                    <a:pt x="1264" y="362"/>
                  </a:lnTo>
                  <a:lnTo>
                    <a:pt x="1249" y="370"/>
                  </a:lnTo>
                  <a:lnTo>
                    <a:pt x="1230" y="355"/>
                  </a:lnTo>
                  <a:lnTo>
                    <a:pt x="1230" y="366"/>
                  </a:lnTo>
                  <a:lnTo>
                    <a:pt x="1219" y="373"/>
                  </a:lnTo>
                  <a:lnTo>
                    <a:pt x="1201" y="377"/>
                  </a:lnTo>
                  <a:lnTo>
                    <a:pt x="1186" y="359"/>
                  </a:lnTo>
                  <a:lnTo>
                    <a:pt x="1164" y="370"/>
                  </a:lnTo>
                  <a:lnTo>
                    <a:pt x="1171" y="385"/>
                  </a:lnTo>
                  <a:lnTo>
                    <a:pt x="1152" y="385"/>
                  </a:lnTo>
                  <a:lnTo>
                    <a:pt x="1123" y="385"/>
                  </a:lnTo>
                  <a:lnTo>
                    <a:pt x="1112" y="399"/>
                  </a:lnTo>
                  <a:lnTo>
                    <a:pt x="1097" y="396"/>
                  </a:lnTo>
                  <a:lnTo>
                    <a:pt x="1082" y="399"/>
                  </a:lnTo>
                  <a:lnTo>
                    <a:pt x="1082" y="410"/>
                  </a:lnTo>
                  <a:lnTo>
                    <a:pt x="1060" y="433"/>
                  </a:lnTo>
                  <a:lnTo>
                    <a:pt x="1030" y="459"/>
                  </a:lnTo>
                  <a:lnTo>
                    <a:pt x="982" y="462"/>
                  </a:lnTo>
                  <a:lnTo>
                    <a:pt x="978" y="477"/>
                  </a:lnTo>
                  <a:lnTo>
                    <a:pt x="975" y="485"/>
                  </a:lnTo>
                  <a:lnTo>
                    <a:pt x="949" y="485"/>
                  </a:lnTo>
                  <a:lnTo>
                    <a:pt x="923" y="492"/>
                  </a:lnTo>
                  <a:lnTo>
                    <a:pt x="900" y="485"/>
                  </a:lnTo>
                  <a:lnTo>
                    <a:pt x="889" y="477"/>
                  </a:lnTo>
                  <a:lnTo>
                    <a:pt x="875" y="492"/>
                  </a:lnTo>
                  <a:lnTo>
                    <a:pt x="840" y="507"/>
                  </a:lnTo>
                  <a:lnTo>
                    <a:pt x="799" y="507"/>
                  </a:lnTo>
                  <a:lnTo>
                    <a:pt x="777" y="499"/>
                  </a:lnTo>
                  <a:lnTo>
                    <a:pt x="759" y="518"/>
                  </a:lnTo>
                  <a:lnTo>
                    <a:pt x="762" y="548"/>
                  </a:lnTo>
                  <a:lnTo>
                    <a:pt x="762" y="548"/>
                  </a:lnTo>
                  <a:lnTo>
                    <a:pt x="740" y="588"/>
                  </a:lnTo>
                  <a:lnTo>
                    <a:pt x="722" y="596"/>
                  </a:lnTo>
                  <a:lnTo>
                    <a:pt x="707" y="570"/>
                  </a:lnTo>
                  <a:lnTo>
                    <a:pt x="699" y="559"/>
                  </a:lnTo>
                  <a:lnTo>
                    <a:pt x="707" y="540"/>
                  </a:lnTo>
                  <a:lnTo>
                    <a:pt x="714" y="529"/>
                  </a:lnTo>
                  <a:lnTo>
                    <a:pt x="707" y="522"/>
                  </a:lnTo>
                  <a:lnTo>
                    <a:pt x="696" y="522"/>
                  </a:lnTo>
                  <a:lnTo>
                    <a:pt x="685" y="540"/>
                  </a:lnTo>
                  <a:lnTo>
                    <a:pt x="662" y="559"/>
                  </a:lnTo>
                  <a:lnTo>
                    <a:pt x="640" y="551"/>
                  </a:lnTo>
                  <a:lnTo>
                    <a:pt x="610" y="548"/>
                  </a:lnTo>
                  <a:lnTo>
                    <a:pt x="577" y="592"/>
                  </a:lnTo>
                  <a:lnTo>
                    <a:pt x="566" y="600"/>
                  </a:lnTo>
                  <a:lnTo>
                    <a:pt x="562" y="611"/>
                  </a:lnTo>
                  <a:lnTo>
                    <a:pt x="514" y="626"/>
                  </a:lnTo>
                  <a:lnTo>
                    <a:pt x="503" y="626"/>
                  </a:lnTo>
                  <a:lnTo>
                    <a:pt x="418" y="600"/>
                  </a:lnTo>
                  <a:lnTo>
                    <a:pt x="392" y="596"/>
                  </a:lnTo>
                  <a:lnTo>
                    <a:pt x="362" y="588"/>
                  </a:lnTo>
                  <a:lnTo>
                    <a:pt x="332" y="585"/>
                  </a:lnTo>
                  <a:lnTo>
                    <a:pt x="324" y="603"/>
                  </a:lnTo>
                  <a:lnTo>
                    <a:pt x="320" y="629"/>
                  </a:lnTo>
                  <a:lnTo>
                    <a:pt x="317" y="637"/>
                  </a:lnTo>
                  <a:lnTo>
                    <a:pt x="294" y="644"/>
                  </a:lnTo>
                  <a:lnTo>
                    <a:pt x="291" y="644"/>
                  </a:lnTo>
                  <a:lnTo>
                    <a:pt x="265" y="670"/>
                  </a:lnTo>
                  <a:lnTo>
                    <a:pt x="250" y="670"/>
                  </a:lnTo>
                  <a:lnTo>
                    <a:pt x="243" y="651"/>
                  </a:lnTo>
                  <a:lnTo>
                    <a:pt x="232" y="648"/>
                  </a:lnTo>
                  <a:lnTo>
                    <a:pt x="219" y="637"/>
                  </a:lnTo>
                  <a:lnTo>
                    <a:pt x="215" y="622"/>
                  </a:lnTo>
                  <a:lnTo>
                    <a:pt x="185" y="618"/>
                  </a:lnTo>
                  <a:lnTo>
                    <a:pt x="170" y="611"/>
                  </a:lnTo>
                  <a:lnTo>
                    <a:pt x="167" y="603"/>
                  </a:lnTo>
                  <a:lnTo>
                    <a:pt x="148" y="603"/>
                  </a:lnTo>
                  <a:lnTo>
                    <a:pt x="133" y="588"/>
                  </a:lnTo>
                  <a:lnTo>
                    <a:pt x="130" y="581"/>
                  </a:lnTo>
                  <a:lnTo>
                    <a:pt x="115" y="588"/>
                  </a:lnTo>
                  <a:lnTo>
                    <a:pt x="100" y="585"/>
                  </a:lnTo>
                  <a:lnTo>
                    <a:pt x="93" y="581"/>
                  </a:lnTo>
                  <a:lnTo>
                    <a:pt x="96" y="566"/>
                  </a:lnTo>
                  <a:lnTo>
                    <a:pt x="74" y="551"/>
                  </a:lnTo>
                  <a:lnTo>
                    <a:pt x="78" y="540"/>
                  </a:lnTo>
                  <a:lnTo>
                    <a:pt x="85" y="533"/>
                  </a:lnTo>
                  <a:lnTo>
                    <a:pt x="63" y="518"/>
                  </a:lnTo>
                  <a:lnTo>
                    <a:pt x="7" y="496"/>
                  </a:lnTo>
                  <a:lnTo>
                    <a:pt x="15" y="474"/>
                  </a:lnTo>
                  <a:lnTo>
                    <a:pt x="33" y="474"/>
                  </a:lnTo>
                  <a:lnTo>
                    <a:pt x="41" y="488"/>
                  </a:lnTo>
                  <a:lnTo>
                    <a:pt x="37" y="466"/>
                  </a:lnTo>
                  <a:lnTo>
                    <a:pt x="48" y="448"/>
                  </a:lnTo>
                  <a:lnTo>
                    <a:pt x="56" y="429"/>
                  </a:lnTo>
                  <a:lnTo>
                    <a:pt x="37" y="414"/>
                  </a:lnTo>
                  <a:lnTo>
                    <a:pt x="22" y="399"/>
                  </a:lnTo>
                  <a:lnTo>
                    <a:pt x="22" y="385"/>
                  </a:lnTo>
                  <a:lnTo>
                    <a:pt x="7" y="385"/>
                  </a:lnTo>
                  <a:lnTo>
                    <a:pt x="0" y="381"/>
                  </a:lnTo>
                  <a:lnTo>
                    <a:pt x="4" y="347"/>
                  </a:lnTo>
                  <a:lnTo>
                    <a:pt x="30" y="299"/>
                  </a:lnTo>
                  <a:lnTo>
                    <a:pt x="33" y="299"/>
                  </a:lnTo>
                  <a:lnTo>
                    <a:pt x="56" y="299"/>
                  </a:lnTo>
                  <a:lnTo>
                    <a:pt x="74" y="307"/>
                  </a:lnTo>
                  <a:lnTo>
                    <a:pt x="85" y="307"/>
                  </a:lnTo>
                  <a:lnTo>
                    <a:pt x="85" y="292"/>
                  </a:lnTo>
                  <a:lnTo>
                    <a:pt x="107" y="288"/>
                  </a:lnTo>
                  <a:lnTo>
                    <a:pt x="148" y="288"/>
                  </a:lnTo>
                  <a:lnTo>
                    <a:pt x="178" y="284"/>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4" name="Freeform 71"/>
            <p:cNvSpPr>
              <a:spLocks/>
            </p:cNvSpPr>
            <p:nvPr>
              <p:custDataLst>
                <p:tags r:id="rId25"/>
              </p:custDataLst>
            </p:nvPr>
          </p:nvSpPr>
          <p:spPr bwMode="auto">
            <a:xfrm>
              <a:off x="3077082" y="3403370"/>
              <a:ext cx="53264" cy="133160"/>
            </a:xfrm>
            <a:custGeom>
              <a:avLst/>
              <a:gdLst/>
              <a:ahLst/>
              <a:cxnLst>
                <a:cxn ang="0">
                  <a:pos x="37" y="0"/>
                </a:cxn>
                <a:cxn ang="0">
                  <a:pos x="35" y="31"/>
                </a:cxn>
                <a:cxn ang="0">
                  <a:pos x="24" y="55"/>
                </a:cxn>
                <a:cxn ang="0">
                  <a:pos x="7" y="70"/>
                </a:cxn>
                <a:cxn ang="0">
                  <a:pos x="11" y="86"/>
                </a:cxn>
                <a:cxn ang="0">
                  <a:pos x="4" y="92"/>
                </a:cxn>
                <a:cxn ang="0">
                  <a:pos x="0" y="72"/>
                </a:cxn>
                <a:cxn ang="0">
                  <a:pos x="6" y="57"/>
                </a:cxn>
                <a:cxn ang="0">
                  <a:pos x="11" y="40"/>
                </a:cxn>
                <a:cxn ang="0">
                  <a:pos x="37" y="0"/>
                </a:cxn>
              </a:cxnLst>
              <a:rect l="0" t="0" r="r" b="b"/>
              <a:pathLst>
                <a:path w="37" h="92">
                  <a:moveTo>
                    <a:pt x="37" y="0"/>
                  </a:moveTo>
                  <a:lnTo>
                    <a:pt x="35" y="31"/>
                  </a:lnTo>
                  <a:lnTo>
                    <a:pt x="24" y="55"/>
                  </a:lnTo>
                  <a:lnTo>
                    <a:pt x="7" y="70"/>
                  </a:lnTo>
                  <a:lnTo>
                    <a:pt x="11" y="86"/>
                  </a:lnTo>
                  <a:lnTo>
                    <a:pt x="4" y="92"/>
                  </a:lnTo>
                  <a:lnTo>
                    <a:pt x="0" y="72"/>
                  </a:lnTo>
                  <a:lnTo>
                    <a:pt x="6" y="57"/>
                  </a:lnTo>
                  <a:lnTo>
                    <a:pt x="11" y="40"/>
                  </a:lnTo>
                  <a:lnTo>
                    <a:pt x="37" y="0"/>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5" name="Freeform 72"/>
            <p:cNvSpPr>
              <a:spLocks/>
            </p:cNvSpPr>
            <p:nvPr>
              <p:custDataLst>
                <p:tags r:id="rId26"/>
              </p:custDataLst>
            </p:nvPr>
          </p:nvSpPr>
          <p:spPr bwMode="auto">
            <a:xfrm>
              <a:off x="3193597" y="3343448"/>
              <a:ext cx="73238" cy="104863"/>
            </a:xfrm>
            <a:custGeom>
              <a:avLst/>
              <a:gdLst/>
              <a:ahLst/>
              <a:cxnLst>
                <a:cxn ang="0">
                  <a:pos x="39" y="0"/>
                </a:cxn>
                <a:cxn ang="0">
                  <a:pos x="50" y="0"/>
                </a:cxn>
                <a:cxn ang="0">
                  <a:pos x="37" y="15"/>
                </a:cxn>
                <a:cxn ang="0">
                  <a:pos x="35" y="26"/>
                </a:cxn>
                <a:cxn ang="0">
                  <a:pos x="39" y="41"/>
                </a:cxn>
                <a:cxn ang="0">
                  <a:pos x="26" y="56"/>
                </a:cxn>
                <a:cxn ang="0">
                  <a:pos x="9" y="73"/>
                </a:cxn>
                <a:cxn ang="0">
                  <a:pos x="6" y="56"/>
                </a:cxn>
                <a:cxn ang="0">
                  <a:pos x="0" y="49"/>
                </a:cxn>
                <a:cxn ang="0">
                  <a:pos x="0" y="36"/>
                </a:cxn>
                <a:cxn ang="0">
                  <a:pos x="15" y="22"/>
                </a:cxn>
                <a:cxn ang="0">
                  <a:pos x="39" y="0"/>
                </a:cxn>
              </a:cxnLst>
              <a:rect l="0" t="0" r="r" b="b"/>
              <a:pathLst>
                <a:path w="50" h="73">
                  <a:moveTo>
                    <a:pt x="39" y="0"/>
                  </a:moveTo>
                  <a:lnTo>
                    <a:pt x="50" y="0"/>
                  </a:lnTo>
                  <a:lnTo>
                    <a:pt x="37" y="15"/>
                  </a:lnTo>
                  <a:lnTo>
                    <a:pt x="35" y="26"/>
                  </a:lnTo>
                  <a:lnTo>
                    <a:pt x="39" y="41"/>
                  </a:lnTo>
                  <a:lnTo>
                    <a:pt x="26" y="56"/>
                  </a:lnTo>
                  <a:lnTo>
                    <a:pt x="9" y="73"/>
                  </a:lnTo>
                  <a:lnTo>
                    <a:pt x="6" y="56"/>
                  </a:lnTo>
                  <a:lnTo>
                    <a:pt x="0" y="49"/>
                  </a:lnTo>
                  <a:lnTo>
                    <a:pt x="0" y="36"/>
                  </a:lnTo>
                  <a:lnTo>
                    <a:pt x="15" y="22"/>
                  </a:lnTo>
                  <a:lnTo>
                    <a:pt x="39" y="0"/>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6" name="Freeform 73"/>
            <p:cNvSpPr>
              <a:spLocks/>
            </p:cNvSpPr>
            <p:nvPr>
              <p:custDataLst>
                <p:tags r:id="rId27"/>
              </p:custDataLst>
            </p:nvPr>
          </p:nvSpPr>
          <p:spPr bwMode="auto">
            <a:xfrm>
              <a:off x="2760828" y="1933620"/>
              <a:ext cx="795629" cy="1699451"/>
            </a:xfrm>
            <a:custGeom>
              <a:avLst/>
              <a:gdLst/>
              <a:ahLst/>
              <a:cxnLst>
                <a:cxn ang="0">
                  <a:pos x="436" y="21"/>
                </a:cxn>
                <a:cxn ang="0">
                  <a:pos x="511" y="73"/>
                </a:cxn>
                <a:cxn ang="0">
                  <a:pos x="518" y="118"/>
                </a:cxn>
                <a:cxn ang="0">
                  <a:pos x="536" y="158"/>
                </a:cxn>
                <a:cxn ang="0">
                  <a:pos x="533" y="210"/>
                </a:cxn>
                <a:cxn ang="0">
                  <a:pos x="548" y="247"/>
                </a:cxn>
                <a:cxn ang="0">
                  <a:pos x="544" y="277"/>
                </a:cxn>
                <a:cxn ang="0">
                  <a:pos x="477" y="284"/>
                </a:cxn>
                <a:cxn ang="0">
                  <a:pos x="448" y="329"/>
                </a:cxn>
                <a:cxn ang="0">
                  <a:pos x="440" y="362"/>
                </a:cxn>
                <a:cxn ang="0">
                  <a:pos x="444" y="410"/>
                </a:cxn>
                <a:cxn ang="0">
                  <a:pos x="422" y="455"/>
                </a:cxn>
                <a:cxn ang="0">
                  <a:pos x="359" y="492"/>
                </a:cxn>
                <a:cxn ang="0">
                  <a:pos x="336" y="514"/>
                </a:cxn>
                <a:cxn ang="0">
                  <a:pos x="307" y="570"/>
                </a:cxn>
                <a:cxn ang="0">
                  <a:pos x="298" y="613"/>
                </a:cxn>
                <a:cxn ang="0">
                  <a:pos x="272" y="673"/>
                </a:cxn>
                <a:cxn ang="0">
                  <a:pos x="310" y="751"/>
                </a:cxn>
                <a:cxn ang="0">
                  <a:pos x="340" y="810"/>
                </a:cxn>
                <a:cxn ang="0">
                  <a:pos x="307" y="832"/>
                </a:cxn>
                <a:cxn ang="0">
                  <a:pos x="279" y="836"/>
                </a:cxn>
                <a:cxn ang="0">
                  <a:pos x="216" y="840"/>
                </a:cxn>
                <a:cxn ang="0">
                  <a:pos x="275" y="854"/>
                </a:cxn>
                <a:cxn ang="0">
                  <a:pos x="307" y="873"/>
                </a:cxn>
                <a:cxn ang="0">
                  <a:pos x="286" y="888"/>
                </a:cxn>
                <a:cxn ang="0">
                  <a:pos x="249" y="921"/>
                </a:cxn>
                <a:cxn ang="0">
                  <a:pos x="238" y="954"/>
                </a:cxn>
                <a:cxn ang="0">
                  <a:pos x="223" y="1032"/>
                </a:cxn>
                <a:cxn ang="0">
                  <a:pos x="205" y="1084"/>
                </a:cxn>
                <a:cxn ang="0">
                  <a:pos x="159" y="1125"/>
                </a:cxn>
                <a:cxn ang="0">
                  <a:pos x="115" y="1140"/>
                </a:cxn>
                <a:cxn ang="0">
                  <a:pos x="107" y="1176"/>
                </a:cxn>
                <a:cxn ang="0">
                  <a:pos x="63" y="1187"/>
                </a:cxn>
                <a:cxn ang="0">
                  <a:pos x="44" y="1168"/>
                </a:cxn>
                <a:cxn ang="0">
                  <a:pos x="26" y="1103"/>
                </a:cxn>
                <a:cxn ang="0">
                  <a:pos x="41" y="1088"/>
                </a:cxn>
                <a:cxn ang="0">
                  <a:pos x="44" y="1066"/>
                </a:cxn>
                <a:cxn ang="0">
                  <a:pos x="26" y="1006"/>
                </a:cxn>
                <a:cxn ang="0">
                  <a:pos x="11" y="958"/>
                </a:cxn>
                <a:cxn ang="0">
                  <a:pos x="0" y="884"/>
                </a:cxn>
                <a:cxn ang="0">
                  <a:pos x="19" y="854"/>
                </a:cxn>
                <a:cxn ang="0">
                  <a:pos x="33" y="780"/>
                </a:cxn>
                <a:cxn ang="0">
                  <a:pos x="70" y="736"/>
                </a:cxn>
                <a:cxn ang="0">
                  <a:pos x="59" y="658"/>
                </a:cxn>
                <a:cxn ang="0">
                  <a:pos x="74" y="621"/>
                </a:cxn>
                <a:cxn ang="0">
                  <a:pos x="67" y="555"/>
                </a:cxn>
                <a:cxn ang="0">
                  <a:pos x="82" y="477"/>
                </a:cxn>
                <a:cxn ang="0">
                  <a:pos x="130" y="425"/>
                </a:cxn>
                <a:cxn ang="0">
                  <a:pos x="175" y="410"/>
                </a:cxn>
                <a:cxn ang="0">
                  <a:pos x="156" y="362"/>
                </a:cxn>
                <a:cxn ang="0">
                  <a:pos x="175" y="322"/>
                </a:cxn>
                <a:cxn ang="0">
                  <a:pos x="186" y="262"/>
                </a:cxn>
                <a:cxn ang="0">
                  <a:pos x="235" y="225"/>
                </a:cxn>
                <a:cxn ang="0">
                  <a:pos x="257" y="177"/>
                </a:cxn>
                <a:cxn ang="0">
                  <a:pos x="292" y="103"/>
                </a:cxn>
                <a:cxn ang="0">
                  <a:pos x="331" y="69"/>
                </a:cxn>
                <a:cxn ang="0">
                  <a:pos x="368" y="42"/>
                </a:cxn>
                <a:cxn ang="0">
                  <a:pos x="414" y="0"/>
                </a:cxn>
              </a:cxnLst>
              <a:rect l="0" t="0" r="r" b="b"/>
              <a:pathLst>
                <a:path w="555" h="1187">
                  <a:moveTo>
                    <a:pt x="418" y="0"/>
                  </a:moveTo>
                  <a:lnTo>
                    <a:pt x="425" y="3"/>
                  </a:lnTo>
                  <a:lnTo>
                    <a:pt x="436" y="21"/>
                  </a:lnTo>
                  <a:lnTo>
                    <a:pt x="485" y="69"/>
                  </a:lnTo>
                  <a:lnTo>
                    <a:pt x="492" y="58"/>
                  </a:lnTo>
                  <a:lnTo>
                    <a:pt x="511" y="73"/>
                  </a:lnTo>
                  <a:lnTo>
                    <a:pt x="518" y="88"/>
                  </a:lnTo>
                  <a:lnTo>
                    <a:pt x="518" y="99"/>
                  </a:lnTo>
                  <a:lnTo>
                    <a:pt x="518" y="118"/>
                  </a:lnTo>
                  <a:lnTo>
                    <a:pt x="511" y="129"/>
                  </a:lnTo>
                  <a:lnTo>
                    <a:pt x="525" y="144"/>
                  </a:lnTo>
                  <a:lnTo>
                    <a:pt x="536" y="158"/>
                  </a:lnTo>
                  <a:lnTo>
                    <a:pt x="536" y="170"/>
                  </a:lnTo>
                  <a:lnTo>
                    <a:pt x="536" y="188"/>
                  </a:lnTo>
                  <a:lnTo>
                    <a:pt x="533" y="210"/>
                  </a:lnTo>
                  <a:lnTo>
                    <a:pt x="525" y="218"/>
                  </a:lnTo>
                  <a:lnTo>
                    <a:pt x="536" y="229"/>
                  </a:lnTo>
                  <a:lnTo>
                    <a:pt x="548" y="247"/>
                  </a:lnTo>
                  <a:lnTo>
                    <a:pt x="555" y="266"/>
                  </a:lnTo>
                  <a:lnTo>
                    <a:pt x="555" y="273"/>
                  </a:lnTo>
                  <a:lnTo>
                    <a:pt x="544" y="277"/>
                  </a:lnTo>
                  <a:lnTo>
                    <a:pt x="496" y="277"/>
                  </a:lnTo>
                  <a:lnTo>
                    <a:pt x="485" y="277"/>
                  </a:lnTo>
                  <a:lnTo>
                    <a:pt x="477" y="284"/>
                  </a:lnTo>
                  <a:lnTo>
                    <a:pt x="477" y="299"/>
                  </a:lnTo>
                  <a:lnTo>
                    <a:pt x="470" y="310"/>
                  </a:lnTo>
                  <a:lnTo>
                    <a:pt x="448" y="329"/>
                  </a:lnTo>
                  <a:lnTo>
                    <a:pt x="451" y="344"/>
                  </a:lnTo>
                  <a:lnTo>
                    <a:pt x="448" y="355"/>
                  </a:lnTo>
                  <a:lnTo>
                    <a:pt x="440" y="362"/>
                  </a:lnTo>
                  <a:lnTo>
                    <a:pt x="448" y="385"/>
                  </a:lnTo>
                  <a:lnTo>
                    <a:pt x="451" y="399"/>
                  </a:lnTo>
                  <a:lnTo>
                    <a:pt x="444" y="410"/>
                  </a:lnTo>
                  <a:lnTo>
                    <a:pt x="429" y="422"/>
                  </a:lnTo>
                  <a:lnTo>
                    <a:pt x="425" y="436"/>
                  </a:lnTo>
                  <a:lnTo>
                    <a:pt x="422" y="455"/>
                  </a:lnTo>
                  <a:lnTo>
                    <a:pt x="396" y="466"/>
                  </a:lnTo>
                  <a:lnTo>
                    <a:pt x="381" y="477"/>
                  </a:lnTo>
                  <a:lnTo>
                    <a:pt x="359" y="492"/>
                  </a:lnTo>
                  <a:lnTo>
                    <a:pt x="362" y="503"/>
                  </a:lnTo>
                  <a:lnTo>
                    <a:pt x="344" y="507"/>
                  </a:lnTo>
                  <a:lnTo>
                    <a:pt x="336" y="514"/>
                  </a:lnTo>
                  <a:lnTo>
                    <a:pt x="318" y="540"/>
                  </a:lnTo>
                  <a:lnTo>
                    <a:pt x="303" y="551"/>
                  </a:lnTo>
                  <a:lnTo>
                    <a:pt x="307" y="570"/>
                  </a:lnTo>
                  <a:lnTo>
                    <a:pt x="298" y="576"/>
                  </a:lnTo>
                  <a:lnTo>
                    <a:pt x="290" y="584"/>
                  </a:lnTo>
                  <a:lnTo>
                    <a:pt x="298" y="613"/>
                  </a:lnTo>
                  <a:lnTo>
                    <a:pt x="294" y="632"/>
                  </a:lnTo>
                  <a:lnTo>
                    <a:pt x="275" y="643"/>
                  </a:lnTo>
                  <a:lnTo>
                    <a:pt x="272" y="673"/>
                  </a:lnTo>
                  <a:lnTo>
                    <a:pt x="275" y="710"/>
                  </a:lnTo>
                  <a:lnTo>
                    <a:pt x="283" y="728"/>
                  </a:lnTo>
                  <a:lnTo>
                    <a:pt x="310" y="751"/>
                  </a:lnTo>
                  <a:lnTo>
                    <a:pt x="321" y="773"/>
                  </a:lnTo>
                  <a:lnTo>
                    <a:pt x="333" y="795"/>
                  </a:lnTo>
                  <a:lnTo>
                    <a:pt x="340" y="810"/>
                  </a:lnTo>
                  <a:lnTo>
                    <a:pt x="333" y="825"/>
                  </a:lnTo>
                  <a:lnTo>
                    <a:pt x="318" y="836"/>
                  </a:lnTo>
                  <a:lnTo>
                    <a:pt x="307" y="832"/>
                  </a:lnTo>
                  <a:lnTo>
                    <a:pt x="298" y="821"/>
                  </a:lnTo>
                  <a:lnTo>
                    <a:pt x="283" y="825"/>
                  </a:lnTo>
                  <a:lnTo>
                    <a:pt x="279" y="836"/>
                  </a:lnTo>
                  <a:lnTo>
                    <a:pt x="257" y="836"/>
                  </a:lnTo>
                  <a:lnTo>
                    <a:pt x="223" y="832"/>
                  </a:lnTo>
                  <a:lnTo>
                    <a:pt x="216" y="840"/>
                  </a:lnTo>
                  <a:lnTo>
                    <a:pt x="238" y="851"/>
                  </a:lnTo>
                  <a:lnTo>
                    <a:pt x="268" y="840"/>
                  </a:lnTo>
                  <a:lnTo>
                    <a:pt x="275" y="854"/>
                  </a:lnTo>
                  <a:lnTo>
                    <a:pt x="298" y="858"/>
                  </a:lnTo>
                  <a:lnTo>
                    <a:pt x="314" y="865"/>
                  </a:lnTo>
                  <a:lnTo>
                    <a:pt x="307" y="873"/>
                  </a:lnTo>
                  <a:lnTo>
                    <a:pt x="286" y="869"/>
                  </a:lnTo>
                  <a:lnTo>
                    <a:pt x="283" y="877"/>
                  </a:lnTo>
                  <a:lnTo>
                    <a:pt x="286" y="888"/>
                  </a:lnTo>
                  <a:lnTo>
                    <a:pt x="275" y="903"/>
                  </a:lnTo>
                  <a:lnTo>
                    <a:pt x="257" y="917"/>
                  </a:lnTo>
                  <a:lnTo>
                    <a:pt x="249" y="921"/>
                  </a:lnTo>
                  <a:lnTo>
                    <a:pt x="242" y="925"/>
                  </a:lnTo>
                  <a:lnTo>
                    <a:pt x="246" y="943"/>
                  </a:lnTo>
                  <a:lnTo>
                    <a:pt x="238" y="954"/>
                  </a:lnTo>
                  <a:lnTo>
                    <a:pt x="227" y="977"/>
                  </a:lnTo>
                  <a:lnTo>
                    <a:pt x="231" y="999"/>
                  </a:lnTo>
                  <a:lnTo>
                    <a:pt x="223" y="1032"/>
                  </a:lnTo>
                  <a:lnTo>
                    <a:pt x="216" y="1047"/>
                  </a:lnTo>
                  <a:lnTo>
                    <a:pt x="216" y="1069"/>
                  </a:lnTo>
                  <a:lnTo>
                    <a:pt x="205" y="1084"/>
                  </a:lnTo>
                  <a:lnTo>
                    <a:pt x="190" y="1110"/>
                  </a:lnTo>
                  <a:lnTo>
                    <a:pt x="186" y="1129"/>
                  </a:lnTo>
                  <a:lnTo>
                    <a:pt x="159" y="1125"/>
                  </a:lnTo>
                  <a:lnTo>
                    <a:pt x="133" y="1125"/>
                  </a:lnTo>
                  <a:lnTo>
                    <a:pt x="130" y="1136"/>
                  </a:lnTo>
                  <a:lnTo>
                    <a:pt x="115" y="1140"/>
                  </a:lnTo>
                  <a:lnTo>
                    <a:pt x="107" y="1144"/>
                  </a:lnTo>
                  <a:lnTo>
                    <a:pt x="111" y="1157"/>
                  </a:lnTo>
                  <a:lnTo>
                    <a:pt x="107" y="1176"/>
                  </a:lnTo>
                  <a:lnTo>
                    <a:pt x="89" y="1187"/>
                  </a:lnTo>
                  <a:lnTo>
                    <a:pt x="78" y="1176"/>
                  </a:lnTo>
                  <a:lnTo>
                    <a:pt x="63" y="1187"/>
                  </a:lnTo>
                  <a:lnTo>
                    <a:pt x="44" y="1187"/>
                  </a:lnTo>
                  <a:lnTo>
                    <a:pt x="37" y="1176"/>
                  </a:lnTo>
                  <a:lnTo>
                    <a:pt x="44" y="1168"/>
                  </a:lnTo>
                  <a:lnTo>
                    <a:pt x="48" y="1147"/>
                  </a:lnTo>
                  <a:lnTo>
                    <a:pt x="33" y="1118"/>
                  </a:lnTo>
                  <a:lnTo>
                    <a:pt x="26" y="1103"/>
                  </a:lnTo>
                  <a:lnTo>
                    <a:pt x="30" y="1095"/>
                  </a:lnTo>
                  <a:lnTo>
                    <a:pt x="37" y="1095"/>
                  </a:lnTo>
                  <a:lnTo>
                    <a:pt x="41" y="1088"/>
                  </a:lnTo>
                  <a:lnTo>
                    <a:pt x="44" y="1080"/>
                  </a:lnTo>
                  <a:lnTo>
                    <a:pt x="48" y="1073"/>
                  </a:lnTo>
                  <a:lnTo>
                    <a:pt x="44" y="1066"/>
                  </a:lnTo>
                  <a:lnTo>
                    <a:pt x="37" y="1051"/>
                  </a:lnTo>
                  <a:lnTo>
                    <a:pt x="22" y="1029"/>
                  </a:lnTo>
                  <a:lnTo>
                    <a:pt x="26" y="1006"/>
                  </a:lnTo>
                  <a:lnTo>
                    <a:pt x="15" y="988"/>
                  </a:lnTo>
                  <a:lnTo>
                    <a:pt x="4" y="977"/>
                  </a:lnTo>
                  <a:lnTo>
                    <a:pt x="11" y="958"/>
                  </a:lnTo>
                  <a:lnTo>
                    <a:pt x="19" y="921"/>
                  </a:lnTo>
                  <a:lnTo>
                    <a:pt x="4" y="903"/>
                  </a:lnTo>
                  <a:lnTo>
                    <a:pt x="0" y="884"/>
                  </a:lnTo>
                  <a:lnTo>
                    <a:pt x="0" y="873"/>
                  </a:lnTo>
                  <a:lnTo>
                    <a:pt x="7" y="851"/>
                  </a:lnTo>
                  <a:lnTo>
                    <a:pt x="19" y="854"/>
                  </a:lnTo>
                  <a:lnTo>
                    <a:pt x="30" y="825"/>
                  </a:lnTo>
                  <a:lnTo>
                    <a:pt x="30" y="791"/>
                  </a:lnTo>
                  <a:lnTo>
                    <a:pt x="33" y="780"/>
                  </a:lnTo>
                  <a:lnTo>
                    <a:pt x="48" y="769"/>
                  </a:lnTo>
                  <a:lnTo>
                    <a:pt x="70" y="754"/>
                  </a:lnTo>
                  <a:lnTo>
                    <a:pt x="70" y="736"/>
                  </a:lnTo>
                  <a:lnTo>
                    <a:pt x="67" y="680"/>
                  </a:lnTo>
                  <a:lnTo>
                    <a:pt x="59" y="673"/>
                  </a:lnTo>
                  <a:lnTo>
                    <a:pt x="59" y="658"/>
                  </a:lnTo>
                  <a:lnTo>
                    <a:pt x="78" y="650"/>
                  </a:lnTo>
                  <a:lnTo>
                    <a:pt x="85" y="643"/>
                  </a:lnTo>
                  <a:lnTo>
                    <a:pt x="74" y="621"/>
                  </a:lnTo>
                  <a:lnTo>
                    <a:pt x="59" y="599"/>
                  </a:lnTo>
                  <a:lnTo>
                    <a:pt x="63" y="573"/>
                  </a:lnTo>
                  <a:lnTo>
                    <a:pt x="67" y="555"/>
                  </a:lnTo>
                  <a:lnTo>
                    <a:pt x="82" y="522"/>
                  </a:lnTo>
                  <a:lnTo>
                    <a:pt x="82" y="507"/>
                  </a:lnTo>
                  <a:lnTo>
                    <a:pt x="82" y="477"/>
                  </a:lnTo>
                  <a:lnTo>
                    <a:pt x="93" y="451"/>
                  </a:lnTo>
                  <a:lnTo>
                    <a:pt x="111" y="436"/>
                  </a:lnTo>
                  <a:lnTo>
                    <a:pt x="130" y="425"/>
                  </a:lnTo>
                  <a:lnTo>
                    <a:pt x="148" y="429"/>
                  </a:lnTo>
                  <a:lnTo>
                    <a:pt x="167" y="436"/>
                  </a:lnTo>
                  <a:lnTo>
                    <a:pt x="175" y="410"/>
                  </a:lnTo>
                  <a:lnTo>
                    <a:pt x="167" y="388"/>
                  </a:lnTo>
                  <a:lnTo>
                    <a:pt x="159" y="373"/>
                  </a:lnTo>
                  <a:lnTo>
                    <a:pt x="156" y="362"/>
                  </a:lnTo>
                  <a:lnTo>
                    <a:pt x="159" y="351"/>
                  </a:lnTo>
                  <a:lnTo>
                    <a:pt x="172" y="347"/>
                  </a:lnTo>
                  <a:lnTo>
                    <a:pt x="175" y="322"/>
                  </a:lnTo>
                  <a:lnTo>
                    <a:pt x="183" y="299"/>
                  </a:lnTo>
                  <a:lnTo>
                    <a:pt x="186" y="281"/>
                  </a:lnTo>
                  <a:lnTo>
                    <a:pt x="186" y="262"/>
                  </a:lnTo>
                  <a:lnTo>
                    <a:pt x="197" y="244"/>
                  </a:lnTo>
                  <a:lnTo>
                    <a:pt x="220" y="229"/>
                  </a:lnTo>
                  <a:lnTo>
                    <a:pt x="235" y="225"/>
                  </a:lnTo>
                  <a:lnTo>
                    <a:pt x="235" y="207"/>
                  </a:lnTo>
                  <a:lnTo>
                    <a:pt x="242" y="195"/>
                  </a:lnTo>
                  <a:lnTo>
                    <a:pt x="257" y="177"/>
                  </a:lnTo>
                  <a:lnTo>
                    <a:pt x="272" y="166"/>
                  </a:lnTo>
                  <a:lnTo>
                    <a:pt x="264" y="134"/>
                  </a:lnTo>
                  <a:lnTo>
                    <a:pt x="292" y="103"/>
                  </a:lnTo>
                  <a:lnTo>
                    <a:pt x="298" y="90"/>
                  </a:lnTo>
                  <a:lnTo>
                    <a:pt x="318" y="86"/>
                  </a:lnTo>
                  <a:lnTo>
                    <a:pt x="331" y="69"/>
                  </a:lnTo>
                  <a:lnTo>
                    <a:pt x="331" y="58"/>
                  </a:lnTo>
                  <a:lnTo>
                    <a:pt x="344" y="45"/>
                  </a:lnTo>
                  <a:lnTo>
                    <a:pt x="368" y="42"/>
                  </a:lnTo>
                  <a:lnTo>
                    <a:pt x="396" y="42"/>
                  </a:lnTo>
                  <a:lnTo>
                    <a:pt x="418" y="21"/>
                  </a:lnTo>
                  <a:lnTo>
                    <a:pt x="414" y="0"/>
                  </a:lnTo>
                  <a:lnTo>
                    <a:pt x="418" y="0"/>
                  </a:lnTo>
                  <a:close/>
                </a:path>
              </a:pathLst>
            </a:custGeom>
            <a:solidFill>
              <a:schemeClr val="accent6"/>
            </a:solidFill>
            <a:ln w="9525">
              <a:solidFill>
                <a:srgbClr val="FFFFFF"/>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37" name="Freeform 74"/>
            <p:cNvSpPr>
              <a:spLocks/>
            </p:cNvSpPr>
            <p:nvPr>
              <p:custDataLst>
                <p:tags r:id="rId28"/>
              </p:custDataLst>
            </p:nvPr>
          </p:nvSpPr>
          <p:spPr bwMode="auto">
            <a:xfrm>
              <a:off x="2374665" y="1657314"/>
              <a:ext cx="1446448" cy="1589594"/>
            </a:xfrm>
            <a:custGeom>
              <a:avLst/>
              <a:gdLst/>
              <a:ahLst/>
              <a:cxnLst>
                <a:cxn ang="0">
                  <a:pos x="297" y="1014"/>
                </a:cxn>
                <a:cxn ang="0">
                  <a:pos x="337" y="951"/>
                </a:cxn>
                <a:cxn ang="0">
                  <a:pos x="326" y="865"/>
                </a:cxn>
                <a:cxn ang="0">
                  <a:pos x="334" y="791"/>
                </a:cxn>
                <a:cxn ang="0">
                  <a:pos x="352" y="688"/>
                </a:cxn>
                <a:cxn ang="0">
                  <a:pos x="404" y="618"/>
                </a:cxn>
                <a:cxn ang="0">
                  <a:pos x="430" y="562"/>
                </a:cxn>
                <a:cxn ang="0">
                  <a:pos x="450" y="507"/>
                </a:cxn>
                <a:cxn ang="0">
                  <a:pos x="505" y="414"/>
                </a:cxn>
                <a:cxn ang="0">
                  <a:pos x="535" y="340"/>
                </a:cxn>
                <a:cxn ang="0">
                  <a:pos x="603" y="266"/>
                </a:cxn>
                <a:cxn ang="0">
                  <a:pos x="659" y="240"/>
                </a:cxn>
                <a:cxn ang="0">
                  <a:pos x="696" y="174"/>
                </a:cxn>
                <a:cxn ang="0">
                  <a:pos x="785" y="210"/>
                </a:cxn>
                <a:cxn ang="0">
                  <a:pos x="833" y="221"/>
                </a:cxn>
                <a:cxn ang="0">
                  <a:pos x="859" y="133"/>
                </a:cxn>
                <a:cxn ang="0">
                  <a:pos x="933" y="126"/>
                </a:cxn>
                <a:cxn ang="0">
                  <a:pos x="960" y="159"/>
                </a:cxn>
                <a:cxn ang="0">
                  <a:pos x="982" y="115"/>
                </a:cxn>
                <a:cxn ang="0">
                  <a:pos x="1008" y="63"/>
                </a:cxn>
                <a:cxn ang="0">
                  <a:pos x="960" y="19"/>
                </a:cxn>
                <a:cxn ang="0">
                  <a:pos x="915" y="22"/>
                </a:cxn>
                <a:cxn ang="0">
                  <a:pos x="889" y="19"/>
                </a:cxn>
                <a:cxn ang="0">
                  <a:pos x="852" y="44"/>
                </a:cxn>
                <a:cxn ang="0">
                  <a:pos x="837" y="30"/>
                </a:cxn>
                <a:cxn ang="0">
                  <a:pos x="781" y="96"/>
                </a:cxn>
                <a:cxn ang="0">
                  <a:pos x="726" y="115"/>
                </a:cxn>
                <a:cxn ang="0">
                  <a:pos x="666" y="133"/>
                </a:cxn>
                <a:cxn ang="0">
                  <a:pos x="596" y="148"/>
                </a:cxn>
                <a:cxn ang="0">
                  <a:pos x="588" y="203"/>
                </a:cxn>
                <a:cxn ang="0">
                  <a:pos x="581" y="251"/>
                </a:cxn>
                <a:cxn ang="0">
                  <a:pos x="524" y="262"/>
                </a:cxn>
                <a:cxn ang="0">
                  <a:pos x="505" y="303"/>
                </a:cxn>
                <a:cxn ang="0">
                  <a:pos x="461" y="362"/>
                </a:cxn>
                <a:cxn ang="0">
                  <a:pos x="415" y="436"/>
                </a:cxn>
                <a:cxn ang="0">
                  <a:pos x="378" y="511"/>
                </a:cxn>
                <a:cxn ang="0">
                  <a:pos x="356" y="555"/>
                </a:cxn>
                <a:cxn ang="0">
                  <a:pos x="285" y="618"/>
                </a:cxn>
                <a:cxn ang="0">
                  <a:pos x="326" y="625"/>
                </a:cxn>
                <a:cxn ang="0">
                  <a:pos x="263" y="637"/>
                </a:cxn>
                <a:cxn ang="0">
                  <a:pos x="204" y="674"/>
                </a:cxn>
                <a:cxn ang="0">
                  <a:pos x="154" y="677"/>
                </a:cxn>
                <a:cxn ang="0">
                  <a:pos x="113" y="705"/>
                </a:cxn>
                <a:cxn ang="0">
                  <a:pos x="87" y="733"/>
                </a:cxn>
                <a:cxn ang="0">
                  <a:pos x="35" y="767"/>
                </a:cxn>
                <a:cxn ang="0">
                  <a:pos x="20" y="889"/>
                </a:cxn>
                <a:cxn ang="0">
                  <a:pos x="41" y="917"/>
                </a:cxn>
                <a:cxn ang="0">
                  <a:pos x="20" y="971"/>
                </a:cxn>
                <a:cxn ang="0">
                  <a:pos x="33" y="1003"/>
                </a:cxn>
                <a:cxn ang="0">
                  <a:pos x="0" y="1030"/>
                </a:cxn>
                <a:cxn ang="0">
                  <a:pos x="85" y="1110"/>
                </a:cxn>
                <a:cxn ang="0">
                  <a:pos x="209" y="1019"/>
                </a:cxn>
                <a:cxn ang="0">
                  <a:pos x="254" y="967"/>
                </a:cxn>
                <a:cxn ang="0">
                  <a:pos x="263" y="1045"/>
                </a:cxn>
              </a:cxnLst>
              <a:rect l="0" t="0" r="r" b="b"/>
              <a:pathLst>
                <a:path w="1012" h="1110">
                  <a:moveTo>
                    <a:pt x="271" y="1045"/>
                  </a:moveTo>
                  <a:lnTo>
                    <a:pt x="274" y="1043"/>
                  </a:lnTo>
                  <a:lnTo>
                    <a:pt x="285" y="1040"/>
                  </a:lnTo>
                  <a:lnTo>
                    <a:pt x="293" y="1028"/>
                  </a:lnTo>
                  <a:lnTo>
                    <a:pt x="297" y="1014"/>
                  </a:lnTo>
                  <a:lnTo>
                    <a:pt x="300" y="1006"/>
                  </a:lnTo>
                  <a:lnTo>
                    <a:pt x="297" y="984"/>
                  </a:lnTo>
                  <a:lnTo>
                    <a:pt x="300" y="969"/>
                  </a:lnTo>
                  <a:lnTo>
                    <a:pt x="311" y="962"/>
                  </a:lnTo>
                  <a:lnTo>
                    <a:pt x="337" y="951"/>
                  </a:lnTo>
                  <a:lnTo>
                    <a:pt x="341" y="939"/>
                  </a:lnTo>
                  <a:lnTo>
                    <a:pt x="337" y="902"/>
                  </a:lnTo>
                  <a:lnTo>
                    <a:pt x="334" y="895"/>
                  </a:lnTo>
                  <a:lnTo>
                    <a:pt x="334" y="873"/>
                  </a:lnTo>
                  <a:lnTo>
                    <a:pt x="326" y="865"/>
                  </a:lnTo>
                  <a:lnTo>
                    <a:pt x="330" y="847"/>
                  </a:lnTo>
                  <a:lnTo>
                    <a:pt x="337" y="847"/>
                  </a:lnTo>
                  <a:lnTo>
                    <a:pt x="356" y="836"/>
                  </a:lnTo>
                  <a:lnTo>
                    <a:pt x="341" y="802"/>
                  </a:lnTo>
                  <a:lnTo>
                    <a:pt x="334" y="791"/>
                  </a:lnTo>
                  <a:lnTo>
                    <a:pt x="334" y="788"/>
                  </a:lnTo>
                  <a:lnTo>
                    <a:pt x="334" y="759"/>
                  </a:lnTo>
                  <a:lnTo>
                    <a:pt x="345" y="737"/>
                  </a:lnTo>
                  <a:lnTo>
                    <a:pt x="348" y="714"/>
                  </a:lnTo>
                  <a:lnTo>
                    <a:pt x="352" y="688"/>
                  </a:lnTo>
                  <a:lnTo>
                    <a:pt x="348" y="666"/>
                  </a:lnTo>
                  <a:lnTo>
                    <a:pt x="356" y="651"/>
                  </a:lnTo>
                  <a:lnTo>
                    <a:pt x="360" y="640"/>
                  </a:lnTo>
                  <a:lnTo>
                    <a:pt x="382" y="625"/>
                  </a:lnTo>
                  <a:lnTo>
                    <a:pt x="404" y="618"/>
                  </a:lnTo>
                  <a:lnTo>
                    <a:pt x="423" y="625"/>
                  </a:lnTo>
                  <a:lnTo>
                    <a:pt x="430" y="629"/>
                  </a:lnTo>
                  <a:lnTo>
                    <a:pt x="442" y="614"/>
                  </a:lnTo>
                  <a:lnTo>
                    <a:pt x="442" y="596"/>
                  </a:lnTo>
                  <a:lnTo>
                    <a:pt x="430" y="562"/>
                  </a:lnTo>
                  <a:lnTo>
                    <a:pt x="426" y="548"/>
                  </a:lnTo>
                  <a:lnTo>
                    <a:pt x="430" y="540"/>
                  </a:lnTo>
                  <a:lnTo>
                    <a:pt x="437" y="540"/>
                  </a:lnTo>
                  <a:lnTo>
                    <a:pt x="446" y="529"/>
                  </a:lnTo>
                  <a:lnTo>
                    <a:pt x="450" y="507"/>
                  </a:lnTo>
                  <a:lnTo>
                    <a:pt x="453" y="477"/>
                  </a:lnTo>
                  <a:lnTo>
                    <a:pt x="457" y="448"/>
                  </a:lnTo>
                  <a:lnTo>
                    <a:pt x="468" y="436"/>
                  </a:lnTo>
                  <a:lnTo>
                    <a:pt x="490" y="422"/>
                  </a:lnTo>
                  <a:lnTo>
                    <a:pt x="505" y="414"/>
                  </a:lnTo>
                  <a:lnTo>
                    <a:pt x="509" y="392"/>
                  </a:lnTo>
                  <a:lnTo>
                    <a:pt x="516" y="377"/>
                  </a:lnTo>
                  <a:lnTo>
                    <a:pt x="535" y="362"/>
                  </a:lnTo>
                  <a:lnTo>
                    <a:pt x="539" y="351"/>
                  </a:lnTo>
                  <a:lnTo>
                    <a:pt x="535" y="340"/>
                  </a:lnTo>
                  <a:lnTo>
                    <a:pt x="535" y="325"/>
                  </a:lnTo>
                  <a:lnTo>
                    <a:pt x="550" y="314"/>
                  </a:lnTo>
                  <a:lnTo>
                    <a:pt x="568" y="281"/>
                  </a:lnTo>
                  <a:lnTo>
                    <a:pt x="581" y="284"/>
                  </a:lnTo>
                  <a:lnTo>
                    <a:pt x="603" y="266"/>
                  </a:lnTo>
                  <a:lnTo>
                    <a:pt x="600" y="251"/>
                  </a:lnTo>
                  <a:lnTo>
                    <a:pt x="614" y="236"/>
                  </a:lnTo>
                  <a:lnTo>
                    <a:pt x="622" y="240"/>
                  </a:lnTo>
                  <a:lnTo>
                    <a:pt x="637" y="236"/>
                  </a:lnTo>
                  <a:lnTo>
                    <a:pt x="659" y="240"/>
                  </a:lnTo>
                  <a:lnTo>
                    <a:pt x="688" y="214"/>
                  </a:lnTo>
                  <a:lnTo>
                    <a:pt x="685" y="199"/>
                  </a:lnTo>
                  <a:lnTo>
                    <a:pt x="688" y="192"/>
                  </a:lnTo>
                  <a:lnTo>
                    <a:pt x="681" y="188"/>
                  </a:lnTo>
                  <a:lnTo>
                    <a:pt x="696" y="174"/>
                  </a:lnTo>
                  <a:lnTo>
                    <a:pt x="718" y="171"/>
                  </a:lnTo>
                  <a:lnTo>
                    <a:pt x="733" y="192"/>
                  </a:lnTo>
                  <a:lnTo>
                    <a:pt x="759" y="221"/>
                  </a:lnTo>
                  <a:lnTo>
                    <a:pt x="770" y="221"/>
                  </a:lnTo>
                  <a:lnTo>
                    <a:pt x="785" y="210"/>
                  </a:lnTo>
                  <a:lnTo>
                    <a:pt x="796" y="207"/>
                  </a:lnTo>
                  <a:lnTo>
                    <a:pt x="803" y="210"/>
                  </a:lnTo>
                  <a:lnTo>
                    <a:pt x="815" y="221"/>
                  </a:lnTo>
                  <a:lnTo>
                    <a:pt x="829" y="225"/>
                  </a:lnTo>
                  <a:lnTo>
                    <a:pt x="833" y="221"/>
                  </a:lnTo>
                  <a:lnTo>
                    <a:pt x="840" y="207"/>
                  </a:lnTo>
                  <a:lnTo>
                    <a:pt x="844" y="199"/>
                  </a:lnTo>
                  <a:lnTo>
                    <a:pt x="859" y="174"/>
                  </a:lnTo>
                  <a:lnTo>
                    <a:pt x="863" y="171"/>
                  </a:lnTo>
                  <a:lnTo>
                    <a:pt x="859" y="133"/>
                  </a:lnTo>
                  <a:lnTo>
                    <a:pt x="878" y="115"/>
                  </a:lnTo>
                  <a:lnTo>
                    <a:pt x="885" y="119"/>
                  </a:lnTo>
                  <a:lnTo>
                    <a:pt x="907" y="96"/>
                  </a:lnTo>
                  <a:lnTo>
                    <a:pt x="926" y="119"/>
                  </a:lnTo>
                  <a:lnTo>
                    <a:pt x="933" y="126"/>
                  </a:lnTo>
                  <a:lnTo>
                    <a:pt x="944" y="122"/>
                  </a:lnTo>
                  <a:lnTo>
                    <a:pt x="952" y="133"/>
                  </a:lnTo>
                  <a:lnTo>
                    <a:pt x="952" y="141"/>
                  </a:lnTo>
                  <a:lnTo>
                    <a:pt x="960" y="148"/>
                  </a:lnTo>
                  <a:lnTo>
                    <a:pt x="960" y="159"/>
                  </a:lnTo>
                  <a:lnTo>
                    <a:pt x="971" y="145"/>
                  </a:lnTo>
                  <a:lnTo>
                    <a:pt x="990" y="130"/>
                  </a:lnTo>
                  <a:lnTo>
                    <a:pt x="1001" y="107"/>
                  </a:lnTo>
                  <a:lnTo>
                    <a:pt x="993" y="104"/>
                  </a:lnTo>
                  <a:lnTo>
                    <a:pt x="982" y="115"/>
                  </a:lnTo>
                  <a:lnTo>
                    <a:pt x="979" y="96"/>
                  </a:lnTo>
                  <a:lnTo>
                    <a:pt x="971" y="93"/>
                  </a:lnTo>
                  <a:lnTo>
                    <a:pt x="968" y="82"/>
                  </a:lnTo>
                  <a:lnTo>
                    <a:pt x="997" y="59"/>
                  </a:lnTo>
                  <a:lnTo>
                    <a:pt x="1008" y="63"/>
                  </a:lnTo>
                  <a:lnTo>
                    <a:pt x="1012" y="48"/>
                  </a:lnTo>
                  <a:lnTo>
                    <a:pt x="1005" y="44"/>
                  </a:lnTo>
                  <a:lnTo>
                    <a:pt x="986" y="37"/>
                  </a:lnTo>
                  <a:lnTo>
                    <a:pt x="975" y="33"/>
                  </a:lnTo>
                  <a:lnTo>
                    <a:pt x="960" y="19"/>
                  </a:lnTo>
                  <a:lnTo>
                    <a:pt x="944" y="15"/>
                  </a:lnTo>
                  <a:lnTo>
                    <a:pt x="929" y="30"/>
                  </a:lnTo>
                  <a:lnTo>
                    <a:pt x="922" y="41"/>
                  </a:lnTo>
                  <a:lnTo>
                    <a:pt x="907" y="30"/>
                  </a:lnTo>
                  <a:lnTo>
                    <a:pt x="915" y="22"/>
                  </a:lnTo>
                  <a:lnTo>
                    <a:pt x="918" y="4"/>
                  </a:lnTo>
                  <a:lnTo>
                    <a:pt x="915" y="0"/>
                  </a:lnTo>
                  <a:lnTo>
                    <a:pt x="896" y="0"/>
                  </a:lnTo>
                  <a:lnTo>
                    <a:pt x="892" y="7"/>
                  </a:lnTo>
                  <a:lnTo>
                    <a:pt x="889" y="19"/>
                  </a:lnTo>
                  <a:lnTo>
                    <a:pt x="892" y="30"/>
                  </a:lnTo>
                  <a:lnTo>
                    <a:pt x="878" y="44"/>
                  </a:lnTo>
                  <a:lnTo>
                    <a:pt x="866" y="22"/>
                  </a:lnTo>
                  <a:lnTo>
                    <a:pt x="855" y="26"/>
                  </a:lnTo>
                  <a:lnTo>
                    <a:pt x="852" y="44"/>
                  </a:lnTo>
                  <a:lnTo>
                    <a:pt x="844" y="70"/>
                  </a:lnTo>
                  <a:lnTo>
                    <a:pt x="826" y="89"/>
                  </a:lnTo>
                  <a:lnTo>
                    <a:pt x="815" y="67"/>
                  </a:lnTo>
                  <a:lnTo>
                    <a:pt x="833" y="52"/>
                  </a:lnTo>
                  <a:lnTo>
                    <a:pt x="837" y="30"/>
                  </a:lnTo>
                  <a:lnTo>
                    <a:pt x="826" y="30"/>
                  </a:lnTo>
                  <a:lnTo>
                    <a:pt x="807" y="30"/>
                  </a:lnTo>
                  <a:lnTo>
                    <a:pt x="792" y="52"/>
                  </a:lnTo>
                  <a:lnTo>
                    <a:pt x="774" y="82"/>
                  </a:lnTo>
                  <a:lnTo>
                    <a:pt x="781" y="96"/>
                  </a:lnTo>
                  <a:lnTo>
                    <a:pt x="770" y="104"/>
                  </a:lnTo>
                  <a:lnTo>
                    <a:pt x="755" y="93"/>
                  </a:lnTo>
                  <a:lnTo>
                    <a:pt x="740" y="100"/>
                  </a:lnTo>
                  <a:lnTo>
                    <a:pt x="744" y="115"/>
                  </a:lnTo>
                  <a:lnTo>
                    <a:pt x="726" y="115"/>
                  </a:lnTo>
                  <a:lnTo>
                    <a:pt x="714" y="119"/>
                  </a:lnTo>
                  <a:lnTo>
                    <a:pt x="700" y="137"/>
                  </a:lnTo>
                  <a:lnTo>
                    <a:pt x="681" y="133"/>
                  </a:lnTo>
                  <a:lnTo>
                    <a:pt x="681" y="145"/>
                  </a:lnTo>
                  <a:lnTo>
                    <a:pt x="666" y="133"/>
                  </a:lnTo>
                  <a:lnTo>
                    <a:pt x="648" y="141"/>
                  </a:lnTo>
                  <a:lnTo>
                    <a:pt x="644" y="156"/>
                  </a:lnTo>
                  <a:lnTo>
                    <a:pt x="629" y="159"/>
                  </a:lnTo>
                  <a:lnTo>
                    <a:pt x="618" y="145"/>
                  </a:lnTo>
                  <a:lnTo>
                    <a:pt x="596" y="148"/>
                  </a:lnTo>
                  <a:lnTo>
                    <a:pt x="574" y="156"/>
                  </a:lnTo>
                  <a:lnTo>
                    <a:pt x="574" y="178"/>
                  </a:lnTo>
                  <a:lnTo>
                    <a:pt x="588" y="182"/>
                  </a:lnTo>
                  <a:lnTo>
                    <a:pt x="588" y="188"/>
                  </a:lnTo>
                  <a:lnTo>
                    <a:pt x="588" y="203"/>
                  </a:lnTo>
                  <a:lnTo>
                    <a:pt x="577" y="199"/>
                  </a:lnTo>
                  <a:lnTo>
                    <a:pt x="564" y="207"/>
                  </a:lnTo>
                  <a:lnTo>
                    <a:pt x="568" y="221"/>
                  </a:lnTo>
                  <a:lnTo>
                    <a:pt x="581" y="233"/>
                  </a:lnTo>
                  <a:lnTo>
                    <a:pt x="581" y="251"/>
                  </a:lnTo>
                  <a:lnTo>
                    <a:pt x="568" y="244"/>
                  </a:lnTo>
                  <a:lnTo>
                    <a:pt x="557" y="247"/>
                  </a:lnTo>
                  <a:lnTo>
                    <a:pt x="557" y="262"/>
                  </a:lnTo>
                  <a:lnTo>
                    <a:pt x="539" y="262"/>
                  </a:lnTo>
                  <a:lnTo>
                    <a:pt x="524" y="262"/>
                  </a:lnTo>
                  <a:lnTo>
                    <a:pt x="520" y="273"/>
                  </a:lnTo>
                  <a:lnTo>
                    <a:pt x="516" y="281"/>
                  </a:lnTo>
                  <a:lnTo>
                    <a:pt x="505" y="284"/>
                  </a:lnTo>
                  <a:lnTo>
                    <a:pt x="501" y="292"/>
                  </a:lnTo>
                  <a:lnTo>
                    <a:pt x="505" y="303"/>
                  </a:lnTo>
                  <a:lnTo>
                    <a:pt x="483" y="310"/>
                  </a:lnTo>
                  <a:lnTo>
                    <a:pt x="498" y="325"/>
                  </a:lnTo>
                  <a:lnTo>
                    <a:pt x="501" y="333"/>
                  </a:lnTo>
                  <a:lnTo>
                    <a:pt x="487" y="344"/>
                  </a:lnTo>
                  <a:lnTo>
                    <a:pt x="461" y="362"/>
                  </a:lnTo>
                  <a:lnTo>
                    <a:pt x="442" y="377"/>
                  </a:lnTo>
                  <a:lnTo>
                    <a:pt x="430" y="399"/>
                  </a:lnTo>
                  <a:lnTo>
                    <a:pt x="411" y="414"/>
                  </a:lnTo>
                  <a:lnTo>
                    <a:pt x="411" y="425"/>
                  </a:lnTo>
                  <a:lnTo>
                    <a:pt x="415" y="436"/>
                  </a:lnTo>
                  <a:lnTo>
                    <a:pt x="400" y="448"/>
                  </a:lnTo>
                  <a:lnTo>
                    <a:pt x="404" y="462"/>
                  </a:lnTo>
                  <a:lnTo>
                    <a:pt x="389" y="488"/>
                  </a:lnTo>
                  <a:lnTo>
                    <a:pt x="378" y="492"/>
                  </a:lnTo>
                  <a:lnTo>
                    <a:pt x="378" y="511"/>
                  </a:lnTo>
                  <a:lnTo>
                    <a:pt x="386" y="522"/>
                  </a:lnTo>
                  <a:lnTo>
                    <a:pt x="374" y="533"/>
                  </a:lnTo>
                  <a:lnTo>
                    <a:pt x="367" y="525"/>
                  </a:lnTo>
                  <a:lnTo>
                    <a:pt x="352" y="533"/>
                  </a:lnTo>
                  <a:lnTo>
                    <a:pt x="356" y="555"/>
                  </a:lnTo>
                  <a:lnTo>
                    <a:pt x="341" y="562"/>
                  </a:lnTo>
                  <a:lnTo>
                    <a:pt x="319" y="566"/>
                  </a:lnTo>
                  <a:lnTo>
                    <a:pt x="304" y="585"/>
                  </a:lnTo>
                  <a:lnTo>
                    <a:pt x="300" y="603"/>
                  </a:lnTo>
                  <a:lnTo>
                    <a:pt x="285" y="618"/>
                  </a:lnTo>
                  <a:lnTo>
                    <a:pt x="285" y="629"/>
                  </a:lnTo>
                  <a:lnTo>
                    <a:pt x="304" y="614"/>
                  </a:lnTo>
                  <a:lnTo>
                    <a:pt x="326" y="599"/>
                  </a:lnTo>
                  <a:lnTo>
                    <a:pt x="334" y="603"/>
                  </a:lnTo>
                  <a:lnTo>
                    <a:pt x="326" y="625"/>
                  </a:lnTo>
                  <a:lnTo>
                    <a:pt x="308" y="637"/>
                  </a:lnTo>
                  <a:lnTo>
                    <a:pt x="289" y="633"/>
                  </a:lnTo>
                  <a:lnTo>
                    <a:pt x="293" y="648"/>
                  </a:lnTo>
                  <a:lnTo>
                    <a:pt x="267" y="659"/>
                  </a:lnTo>
                  <a:lnTo>
                    <a:pt x="263" y="637"/>
                  </a:lnTo>
                  <a:lnTo>
                    <a:pt x="252" y="629"/>
                  </a:lnTo>
                  <a:lnTo>
                    <a:pt x="237" y="651"/>
                  </a:lnTo>
                  <a:lnTo>
                    <a:pt x="222" y="651"/>
                  </a:lnTo>
                  <a:lnTo>
                    <a:pt x="206" y="655"/>
                  </a:lnTo>
                  <a:lnTo>
                    <a:pt x="204" y="674"/>
                  </a:lnTo>
                  <a:lnTo>
                    <a:pt x="196" y="677"/>
                  </a:lnTo>
                  <a:lnTo>
                    <a:pt x="196" y="687"/>
                  </a:lnTo>
                  <a:lnTo>
                    <a:pt x="187" y="683"/>
                  </a:lnTo>
                  <a:lnTo>
                    <a:pt x="174" y="675"/>
                  </a:lnTo>
                  <a:lnTo>
                    <a:pt x="154" y="677"/>
                  </a:lnTo>
                  <a:lnTo>
                    <a:pt x="154" y="688"/>
                  </a:lnTo>
                  <a:lnTo>
                    <a:pt x="156" y="698"/>
                  </a:lnTo>
                  <a:lnTo>
                    <a:pt x="148" y="701"/>
                  </a:lnTo>
                  <a:lnTo>
                    <a:pt x="130" y="692"/>
                  </a:lnTo>
                  <a:lnTo>
                    <a:pt x="113" y="705"/>
                  </a:lnTo>
                  <a:lnTo>
                    <a:pt x="117" y="716"/>
                  </a:lnTo>
                  <a:lnTo>
                    <a:pt x="115" y="724"/>
                  </a:lnTo>
                  <a:lnTo>
                    <a:pt x="98" y="716"/>
                  </a:lnTo>
                  <a:lnTo>
                    <a:pt x="93" y="726"/>
                  </a:lnTo>
                  <a:lnTo>
                    <a:pt x="87" y="733"/>
                  </a:lnTo>
                  <a:lnTo>
                    <a:pt x="67" y="729"/>
                  </a:lnTo>
                  <a:lnTo>
                    <a:pt x="56" y="731"/>
                  </a:lnTo>
                  <a:lnTo>
                    <a:pt x="54" y="746"/>
                  </a:lnTo>
                  <a:lnTo>
                    <a:pt x="46" y="750"/>
                  </a:lnTo>
                  <a:lnTo>
                    <a:pt x="35" y="767"/>
                  </a:lnTo>
                  <a:lnTo>
                    <a:pt x="37" y="788"/>
                  </a:lnTo>
                  <a:lnTo>
                    <a:pt x="33" y="817"/>
                  </a:lnTo>
                  <a:lnTo>
                    <a:pt x="28" y="847"/>
                  </a:lnTo>
                  <a:lnTo>
                    <a:pt x="24" y="875"/>
                  </a:lnTo>
                  <a:lnTo>
                    <a:pt x="20" y="889"/>
                  </a:lnTo>
                  <a:lnTo>
                    <a:pt x="30" y="902"/>
                  </a:lnTo>
                  <a:lnTo>
                    <a:pt x="46" y="891"/>
                  </a:lnTo>
                  <a:lnTo>
                    <a:pt x="57" y="897"/>
                  </a:lnTo>
                  <a:lnTo>
                    <a:pt x="57" y="908"/>
                  </a:lnTo>
                  <a:lnTo>
                    <a:pt x="41" y="917"/>
                  </a:lnTo>
                  <a:lnTo>
                    <a:pt x="39" y="936"/>
                  </a:lnTo>
                  <a:lnTo>
                    <a:pt x="35" y="945"/>
                  </a:lnTo>
                  <a:lnTo>
                    <a:pt x="19" y="943"/>
                  </a:lnTo>
                  <a:lnTo>
                    <a:pt x="13" y="965"/>
                  </a:lnTo>
                  <a:lnTo>
                    <a:pt x="20" y="971"/>
                  </a:lnTo>
                  <a:lnTo>
                    <a:pt x="35" y="967"/>
                  </a:lnTo>
                  <a:lnTo>
                    <a:pt x="43" y="977"/>
                  </a:lnTo>
                  <a:lnTo>
                    <a:pt x="44" y="982"/>
                  </a:lnTo>
                  <a:lnTo>
                    <a:pt x="32" y="990"/>
                  </a:lnTo>
                  <a:lnTo>
                    <a:pt x="33" y="1003"/>
                  </a:lnTo>
                  <a:lnTo>
                    <a:pt x="19" y="1006"/>
                  </a:lnTo>
                  <a:lnTo>
                    <a:pt x="9" y="999"/>
                  </a:lnTo>
                  <a:lnTo>
                    <a:pt x="11" y="1017"/>
                  </a:lnTo>
                  <a:lnTo>
                    <a:pt x="9" y="1030"/>
                  </a:lnTo>
                  <a:lnTo>
                    <a:pt x="0" y="1030"/>
                  </a:lnTo>
                  <a:lnTo>
                    <a:pt x="22" y="1053"/>
                  </a:lnTo>
                  <a:lnTo>
                    <a:pt x="33" y="1066"/>
                  </a:lnTo>
                  <a:lnTo>
                    <a:pt x="39" y="1084"/>
                  </a:lnTo>
                  <a:lnTo>
                    <a:pt x="61" y="1097"/>
                  </a:lnTo>
                  <a:lnTo>
                    <a:pt x="85" y="1110"/>
                  </a:lnTo>
                  <a:lnTo>
                    <a:pt x="108" y="1110"/>
                  </a:lnTo>
                  <a:lnTo>
                    <a:pt x="141" y="1088"/>
                  </a:lnTo>
                  <a:lnTo>
                    <a:pt x="174" y="1064"/>
                  </a:lnTo>
                  <a:lnTo>
                    <a:pt x="204" y="1023"/>
                  </a:lnTo>
                  <a:lnTo>
                    <a:pt x="209" y="1019"/>
                  </a:lnTo>
                  <a:lnTo>
                    <a:pt x="217" y="1032"/>
                  </a:lnTo>
                  <a:lnTo>
                    <a:pt x="232" y="1023"/>
                  </a:lnTo>
                  <a:lnTo>
                    <a:pt x="237" y="1008"/>
                  </a:lnTo>
                  <a:lnTo>
                    <a:pt x="239" y="990"/>
                  </a:lnTo>
                  <a:lnTo>
                    <a:pt x="254" y="967"/>
                  </a:lnTo>
                  <a:lnTo>
                    <a:pt x="248" y="993"/>
                  </a:lnTo>
                  <a:lnTo>
                    <a:pt x="256" y="997"/>
                  </a:lnTo>
                  <a:lnTo>
                    <a:pt x="252" y="1008"/>
                  </a:lnTo>
                  <a:lnTo>
                    <a:pt x="256" y="1028"/>
                  </a:lnTo>
                  <a:lnTo>
                    <a:pt x="263" y="1045"/>
                  </a:lnTo>
                  <a:lnTo>
                    <a:pt x="272" y="1040"/>
                  </a:lnTo>
                  <a:lnTo>
                    <a:pt x="271" y="1045"/>
                  </a:lnTo>
                  <a:close/>
                </a:path>
              </a:pathLst>
            </a:custGeom>
            <a:solidFill>
              <a:schemeClr val="accent6"/>
            </a:solidFill>
            <a:ln w="9525">
              <a:solidFill>
                <a:srgbClr val="FFFFFF"/>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nvGrpSpPr>
            <p:cNvPr id="38" name="Group 75"/>
            <p:cNvGrpSpPr>
              <a:grpSpLocks/>
            </p:cNvGrpSpPr>
            <p:nvPr/>
          </p:nvGrpSpPr>
          <p:grpSpPr bwMode="auto">
            <a:xfrm>
              <a:off x="2667616" y="1657314"/>
              <a:ext cx="915473" cy="912144"/>
              <a:chOff x="2129" y="532"/>
              <a:chExt cx="641" cy="635"/>
            </a:xfrm>
            <a:solidFill>
              <a:schemeClr val="accent6"/>
            </a:solidFill>
          </p:grpSpPr>
          <p:sp>
            <p:nvSpPr>
              <p:cNvPr id="51" name="Freeform 76"/>
              <p:cNvSpPr>
                <a:spLocks/>
              </p:cNvSpPr>
              <p:nvPr>
                <p:custDataLst>
                  <p:tags r:id="rId40"/>
                </p:custDataLst>
              </p:nvPr>
            </p:nvSpPr>
            <p:spPr bwMode="auto">
              <a:xfrm>
                <a:off x="2433" y="726"/>
                <a:ext cx="30" cy="39"/>
              </a:xfrm>
              <a:custGeom>
                <a:avLst/>
                <a:gdLst/>
                <a:ahLst/>
                <a:cxnLst>
                  <a:cxn ang="0">
                    <a:pos x="30" y="6"/>
                  </a:cxn>
                  <a:cxn ang="0">
                    <a:pos x="27" y="15"/>
                  </a:cxn>
                  <a:cxn ang="0">
                    <a:pos x="30" y="33"/>
                  </a:cxn>
                  <a:cxn ang="0">
                    <a:pos x="9" y="39"/>
                  </a:cxn>
                  <a:cxn ang="0">
                    <a:pos x="0" y="30"/>
                  </a:cxn>
                  <a:cxn ang="0">
                    <a:pos x="0" y="15"/>
                  </a:cxn>
                  <a:cxn ang="0">
                    <a:pos x="6" y="0"/>
                  </a:cxn>
                  <a:cxn ang="0">
                    <a:pos x="30" y="6"/>
                  </a:cxn>
                </a:cxnLst>
                <a:rect l="0" t="0" r="r" b="b"/>
                <a:pathLst>
                  <a:path w="30" h="39">
                    <a:moveTo>
                      <a:pt x="30" y="6"/>
                    </a:moveTo>
                    <a:lnTo>
                      <a:pt x="27" y="15"/>
                    </a:lnTo>
                    <a:lnTo>
                      <a:pt x="30" y="33"/>
                    </a:lnTo>
                    <a:lnTo>
                      <a:pt x="9" y="39"/>
                    </a:lnTo>
                    <a:lnTo>
                      <a:pt x="0" y="30"/>
                    </a:lnTo>
                    <a:lnTo>
                      <a:pt x="0" y="15"/>
                    </a:lnTo>
                    <a:lnTo>
                      <a:pt x="6" y="0"/>
                    </a:lnTo>
                    <a:lnTo>
                      <a:pt x="30" y="6"/>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52" name="Freeform 77"/>
              <p:cNvSpPr>
                <a:spLocks/>
              </p:cNvSpPr>
              <p:nvPr>
                <p:custDataLst>
                  <p:tags r:id="rId41"/>
                </p:custDataLst>
              </p:nvPr>
            </p:nvSpPr>
            <p:spPr bwMode="auto">
              <a:xfrm>
                <a:off x="2385" y="753"/>
                <a:ext cx="27" cy="21"/>
              </a:xfrm>
              <a:custGeom>
                <a:avLst/>
                <a:gdLst/>
                <a:ahLst/>
                <a:cxnLst>
                  <a:cxn ang="0">
                    <a:pos x="24" y="0"/>
                  </a:cxn>
                  <a:cxn ang="0">
                    <a:pos x="27" y="15"/>
                  </a:cxn>
                  <a:cxn ang="0">
                    <a:pos x="6" y="21"/>
                  </a:cxn>
                  <a:cxn ang="0">
                    <a:pos x="0" y="6"/>
                  </a:cxn>
                  <a:cxn ang="0">
                    <a:pos x="24" y="0"/>
                  </a:cxn>
                </a:cxnLst>
                <a:rect l="0" t="0" r="r" b="b"/>
                <a:pathLst>
                  <a:path w="27" h="21">
                    <a:moveTo>
                      <a:pt x="24" y="0"/>
                    </a:moveTo>
                    <a:lnTo>
                      <a:pt x="27" y="15"/>
                    </a:lnTo>
                    <a:lnTo>
                      <a:pt x="6" y="21"/>
                    </a:lnTo>
                    <a:lnTo>
                      <a:pt x="0" y="6"/>
                    </a:lnTo>
                    <a:lnTo>
                      <a:pt x="24"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53" name="Freeform 78"/>
              <p:cNvSpPr>
                <a:spLocks/>
              </p:cNvSpPr>
              <p:nvPr>
                <p:custDataLst>
                  <p:tags r:id="rId42"/>
                </p:custDataLst>
              </p:nvPr>
            </p:nvSpPr>
            <p:spPr bwMode="auto">
              <a:xfrm>
                <a:off x="2394" y="709"/>
                <a:ext cx="33" cy="26"/>
              </a:xfrm>
              <a:custGeom>
                <a:avLst/>
                <a:gdLst/>
                <a:ahLst/>
                <a:cxnLst>
                  <a:cxn ang="0">
                    <a:pos x="0" y="17"/>
                  </a:cxn>
                  <a:cxn ang="0">
                    <a:pos x="24" y="26"/>
                  </a:cxn>
                  <a:cxn ang="0">
                    <a:pos x="33" y="6"/>
                  </a:cxn>
                  <a:cxn ang="0">
                    <a:pos x="18" y="0"/>
                  </a:cxn>
                  <a:cxn ang="0">
                    <a:pos x="9" y="6"/>
                  </a:cxn>
                  <a:cxn ang="0">
                    <a:pos x="0" y="11"/>
                  </a:cxn>
                  <a:cxn ang="0">
                    <a:pos x="0" y="17"/>
                  </a:cxn>
                </a:cxnLst>
                <a:rect l="0" t="0" r="r" b="b"/>
                <a:pathLst>
                  <a:path w="33" h="26">
                    <a:moveTo>
                      <a:pt x="0" y="17"/>
                    </a:moveTo>
                    <a:lnTo>
                      <a:pt x="24" y="26"/>
                    </a:lnTo>
                    <a:lnTo>
                      <a:pt x="33" y="6"/>
                    </a:lnTo>
                    <a:lnTo>
                      <a:pt x="18" y="0"/>
                    </a:lnTo>
                    <a:lnTo>
                      <a:pt x="9" y="6"/>
                    </a:lnTo>
                    <a:lnTo>
                      <a:pt x="0" y="11"/>
                    </a:lnTo>
                    <a:lnTo>
                      <a:pt x="0" y="17"/>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54" name="Freeform 79"/>
              <p:cNvSpPr>
                <a:spLocks/>
              </p:cNvSpPr>
              <p:nvPr>
                <p:custDataLst>
                  <p:tags r:id="rId43"/>
                </p:custDataLst>
              </p:nvPr>
            </p:nvSpPr>
            <p:spPr bwMode="auto">
              <a:xfrm>
                <a:off x="2433" y="686"/>
                <a:ext cx="24" cy="16"/>
              </a:xfrm>
              <a:custGeom>
                <a:avLst/>
                <a:gdLst/>
                <a:ahLst/>
                <a:cxnLst>
                  <a:cxn ang="0">
                    <a:pos x="0" y="16"/>
                  </a:cxn>
                  <a:cxn ang="0">
                    <a:pos x="18" y="0"/>
                  </a:cxn>
                  <a:cxn ang="0">
                    <a:pos x="24" y="6"/>
                  </a:cxn>
                  <a:cxn ang="0">
                    <a:pos x="0" y="16"/>
                  </a:cxn>
                </a:cxnLst>
                <a:rect l="0" t="0" r="r" b="b"/>
                <a:pathLst>
                  <a:path w="24" h="16">
                    <a:moveTo>
                      <a:pt x="0" y="16"/>
                    </a:moveTo>
                    <a:lnTo>
                      <a:pt x="18" y="0"/>
                    </a:lnTo>
                    <a:lnTo>
                      <a:pt x="24" y="6"/>
                    </a:lnTo>
                    <a:lnTo>
                      <a:pt x="0" y="16"/>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55" name="Freeform 80"/>
              <p:cNvSpPr>
                <a:spLocks/>
              </p:cNvSpPr>
              <p:nvPr>
                <p:custDataLst>
                  <p:tags r:id="rId44"/>
                </p:custDataLst>
              </p:nvPr>
            </p:nvSpPr>
            <p:spPr bwMode="auto">
              <a:xfrm>
                <a:off x="2345" y="762"/>
                <a:ext cx="18" cy="18"/>
              </a:xfrm>
              <a:custGeom>
                <a:avLst/>
                <a:gdLst/>
                <a:ahLst/>
                <a:cxnLst>
                  <a:cxn ang="0">
                    <a:pos x="15" y="0"/>
                  </a:cxn>
                  <a:cxn ang="0">
                    <a:pos x="18" y="15"/>
                  </a:cxn>
                  <a:cxn ang="0">
                    <a:pos x="0" y="18"/>
                  </a:cxn>
                  <a:cxn ang="0">
                    <a:pos x="15" y="0"/>
                  </a:cxn>
                </a:cxnLst>
                <a:rect l="0" t="0" r="r" b="b"/>
                <a:pathLst>
                  <a:path w="18" h="18">
                    <a:moveTo>
                      <a:pt x="15" y="0"/>
                    </a:moveTo>
                    <a:lnTo>
                      <a:pt x="18" y="15"/>
                    </a:lnTo>
                    <a:lnTo>
                      <a:pt x="0" y="18"/>
                    </a:lnTo>
                    <a:lnTo>
                      <a:pt x="15"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56" name="Freeform 81"/>
              <p:cNvSpPr>
                <a:spLocks/>
              </p:cNvSpPr>
              <p:nvPr>
                <p:custDataLst>
                  <p:tags r:id="rId45"/>
                </p:custDataLst>
              </p:nvPr>
            </p:nvSpPr>
            <p:spPr bwMode="auto">
              <a:xfrm>
                <a:off x="2536" y="637"/>
                <a:ext cx="33" cy="27"/>
              </a:xfrm>
              <a:custGeom>
                <a:avLst/>
                <a:gdLst/>
                <a:ahLst/>
                <a:cxnLst>
                  <a:cxn ang="0">
                    <a:pos x="15" y="0"/>
                  </a:cxn>
                  <a:cxn ang="0">
                    <a:pos x="0" y="12"/>
                  </a:cxn>
                  <a:cxn ang="0">
                    <a:pos x="21" y="27"/>
                  </a:cxn>
                  <a:cxn ang="0">
                    <a:pos x="33" y="12"/>
                  </a:cxn>
                  <a:cxn ang="0">
                    <a:pos x="15" y="0"/>
                  </a:cxn>
                </a:cxnLst>
                <a:rect l="0" t="0" r="r" b="b"/>
                <a:pathLst>
                  <a:path w="33" h="27">
                    <a:moveTo>
                      <a:pt x="15" y="0"/>
                    </a:moveTo>
                    <a:lnTo>
                      <a:pt x="0" y="12"/>
                    </a:lnTo>
                    <a:lnTo>
                      <a:pt x="21" y="27"/>
                    </a:lnTo>
                    <a:lnTo>
                      <a:pt x="33" y="12"/>
                    </a:lnTo>
                    <a:lnTo>
                      <a:pt x="15"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57" name="Freeform 82"/>
              <p:cNvSpPr>
                <a:spLocks/>
              </p:cNvSpPr>
              <p:nvPr>
                <p:custDataLst>
                  <p:tags r:id="rId46"/>
                </p:custDataLst>
              </p:nvPr>
            </p:nvSpPr>
            <p:spPr bwMode="auto">
              <a:xfrm>
                <a:off x="2566" y="613"/>
                <a:ext cx="33" cy="27"/>
              </a:xfrm>
              <a:custGeom>
                <a:avLst/>
                <a:gdLst/>
                <a:ahLst/>
                <a:cxnLst>
                  <a:cxn ang="0">
                    <a:pos x="0" y="9"/>
                  </a:cxn>
                  <a:cxn ang="0">
                    <a:pos x="15" y="27"/>
                  </a:cxn>
                  <a:cxn ang="0">
                    <a:pos x="33" y="15"/>
                  </a:cxn>
                  <a:cxn ang="0">
                    <a:pos x="18" y="0"/>
                  </a:cxn>
                  <a:cxn ang="0">
                    <a:pos x="0" y="9"/>
                  </a:cxn>
                </a:cxnLst>
                <a:rect l="0" t="0" r="r" b="b"/>
                <a:pathLst>
                  <a:path w="33" h="27">
                    <a:moveTo>
                      <a:pt x="0" y="9"/>
                    </a:moveTo>
                    <a:lnTo>
                      <a:pt x="15" y="27"/>
                    </a:lnTo>
                    <a:lnTo>
                      <a:pt x="33" y="15"/>
                    </a:lnTo>
                    <a:lnTo>
                      <a:pt x="18" y="0"/>
                    </a:lnTo>
                    <a:lnTo>
                      <a:pt x="0" y="9"/>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58" name="Freeform 83"/>
              <p:cNvSpPr>
                <a:spLocks/>
              </p:cNvSpPr>
              <p:nvPr>
                <p:custDataLst>
                  <p:tags r:id="rId47"/>
                </p:custDataLst>
              </p:nvPr>
            </p:nvSpPr>
            <p:spPr bwMode="auto">
              <a:xfrm>
                <a:off x="2653" y="562"/>
                <a:ext cx="48" cy="33"/>
              </a:xfrm>
              <a:custGeom>
                <a:avLst/>
                <a:gdLst/>
                <a:ahLst/>
                <a:cxnLst>
                  <a:cxn ang="0">
                    <a:pos x="21" y="9"/>
                  </a:cxn>
                  <a:cxn ang="0">
                    <a:pos x="30" y="15"/>
                  </a:cxn>
                  <a:cxn ang="0">
                    <a:pos x="48" y="0"/>
                  </a:cxn>
                  <a:cxn ang="0">
                    <a:pos x="39" y="30"/>
                  </a:cxn>
                  <a:cxn ang="0">
                    <a:pos x="21" y="33"/>
                  </a:cxn>
                  <a:cxn ang="0">
                    <a:pos x="0" y="12"/>
                  </a:cxn>
                  <a:cxn ang="0">
                    <a:pos x="21" y="9"/>
                  </a:cxn>
                </a:cxnLst>
                <a:rect l="0" t="0" r="r" b="b"/>
                <a:pathLst>
                  <a:path w="48" h="33">
                    <a:moveTo>
                      <a:pt x="21" y="9"/>
                    </a:moveTo>
                    <a:lnTo>
                      <a:pt x="30" y="15"/>
                    </a:lnTo>
                    <a:lnTo>
                      <a:pt x="48" y="0"/>
                    </a:lnTo>
                    <a:lnTo>
                      <a:pt x="39" y="30"/>
                    </a:lnTo>
                    <a:lnTo>
                      <a:pt x="21" y="33"/>
                    </a:lnTo>
                    <a:lnTo>
                      <a:pt x="0" y="12"/>
                    </a:lnTo>
                    <a:lnTo>
                      <a:pt x="21" y="9"/>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59" name="Freeform 84"/>
              <p:cNvSpPr>
                <a:spLocks/>
              </p:cNvSpPr>
              <p:nvPr>
                <p:custDataLst>
                  <p:tags r:id="rId48"/>
                </p:custDataLst>
              </p:nvPr>
            </p:nvSpPr>
            <p:spPr bwMode="auto">
              <a:xfrm>
                <a:off x="2746" y="532"/>
                <a:ext cx="24" cy="18"/>
              </a:xfrm>
              <a:custGeom>
                <a:avLst/>
                <a:gdLst/>
                <a:ahLst/>
                <a:cxnLst>
                  <a:cxn ang="0">
                    <a:pos x="12" y="0"/>
                  </a:cxn>
                  <a:cxn ang="0">
                    <a:pos x="21" y="6"/>
                  </a:cxn>
                  <a:cxn ang="0">
                    <a:pos x="24" y="18"/>
                  </a:cxn>
                  <a:cxn ang="0">
                    <a:pos x="0" y="18"/>
                  </a:cxn>
                  <a:cxn ang="0">
                    <a:pos x="12" y="0"/>
                  </a:cxn>
                </a:cxnLst>
                <a:rect l="0" t="0" r="r" b="b"/>
                <a:pathLst>
                  <a:path w="24" h="18">
                    <a:moveTo>
                      <a:pt x="12" y="0"/>
                    </a:moveTo>
                    <a:lnTo>
                      <a:pt x="21" y="6"/>
                    </a:lnTo>
                    <a:lnTo>
                      <a:pt x="24" y="18"/>
                    </a:lnTo>
                    <a:lnTo>
                      <a:pt x="0" y="18"/>
                    </a:lnTo>
                    <a:lnTo>
                      <a:pt x="12"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60" name="Freeform 85"/>
              <p:cNvSpPr>
                <a:spLocks/>
              </p:cNvSpPr>
              <p:nvPr>
                <p:custDataLst>
                  <p:tags r:id="rId49"/>
                </p:custDataLst>
              </p:nvPr>
            </p:nvSpPr>
            <p:spPr bwMode="auto">
              <a:xfrm>
                <a:off x="2129" y="1146"/>
                <a:ext cx="36" cy="21"/>
              </a:xfrm>
              <a:custGeom>
                <a:avLst/>
                <a:gdLst/>
                <a:ahLst/>
                <a:cxnLst>
                  <a:cxn ang="0">
                    <a:pos x="36" y="12"/>
                  </a:cxn>
                  <a:cxn ang="0">
                    <a:pos x="9" y="0"/>
                  </a:cxn>
                  <a:cxn ang="0">
                    <a:pos x="0" y="9"/>
                  </a:cxn>
                  <a:cxn ang="0">
                    <a:pos x="3" y="21"/>
                  </a:cxn>
                  <a:cxn ang="0">
                    <a:pos x="36" y="12"/>
                  </a:cxn>
                </a:cxnLst>
                <a:rect l="0" t="0" r="r" b="b"/>
                <a:pathLst>
                  <a:path w="36" h="21">
                    <a:moveTo>
                      <a:pt x="36" y="12"/>
                    </a:moveTo>
                    <a:lnTo>
                      <a:pt x="9" y="0"/>
                    </a:lnTo>
                    <a:lnTo>
                      <a:pt x="0" y="9"/>
                    </a:lnTo>
                    <a:lnTo>
                      <a:pt x="3" y="21"/>
                    </a:lnTo>
                    <a:lnTo>
                      <a:pt x="36" y="12"/>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sp>
          <p:nvSpPr>
            <p:cNvPr id="39" name="Freeform 86"/>
            <p:cNvSpPr>
              <a:spLocks/>
            </p:cNvSpPr>
            <p:nvPr>
              <p:custDataLst>
                <p:tags r:id="rId29"/>
              </p:custDataLst>
            </p:nvPr>
          </p:nvSpPr>
          <p:spPr bwMode="auto">
            <a:xfrm>
              <a:off x="3065431" y="4370442"/>
              <a:ext cx="506007" cy="226371"/>
            </a:xfrm>
            <a:custGeom>
              <a:avLst/>
              <a:gdLst/>
              <a:ahLst/>
              <a:cxnLst>
                <a:cxn ang="0">
                  <a:pos x="120" y="8"/>
                </a:cxn>
                <a:cxn ang="0">
                  <a:pos x="132" y="0"/>
                </a:cxn>
                <a:cxn ang="0">
                  <a:pos x="146" y="0"/>
                </a:cxn>
                <a:cxn ang="0">
                  <a:pos x="152" y="11"/>
                </a:cxn>
                <a:cxn ang="0">
                  <a:pos x="165" y="2"/>
                </a:cxn>
                <a:cxn ang="0">
                  <a:pos x="178" y="6"/>
                </a:cxn>
                <a:cxn ang="0">
                  <a:pos x="198" y="27"/>
                </a:cxn>
                <a:cxn ang="0">
                  <a:pos x="220" y="36"/>
                </a:cxn>
                <a:cxn ang="0">
                  <a:pos x="228" y="38"/>
                </a:cxn>
                <a:cxn ang="0">
                  <a:pos x="239" y="29"/>
                </a:cxn>
                <a:cxn ang="0">
                  <a:pos x="250" y="25"/>
                </a:cxn>
                <a:cxn ang="0">
                  <a:pos x="280" y="33"/>
                </a:cxn>
                <a:cxn ang="0">
                  <a:pos x="320" y="42"/>
                </a:cxn>
                <a:cxn ang="0">
                  <a:pos x="352" y="51"/>
                </a:cxn>
                <a:cxn ang="0">
                  <a:pos x="341" y="64"/>
                </a:cxn>
                <a:cxn ang="0">
                  <a:pos x="320" y="85"/>
                </a:cxn>
                <a:cxn ang="0">
                  <a:pos x="315" y="92"/>
                </a:cxn>
                <a:cxn ang="0">
                  <a:pos x="317" y="107"/>
                </a:cxn>
                <a:cxn ang="0">
                  <a:pos x="302" y="107"/>
                </a:cxn>
                <a:cxn ang="0">
                  <a:pos x="287" y="96"/>
                </a:cxn>
                <a:cxn ang="0">
                  <a:pos x="272" y="92"/>
                </a:cxn>
                <a:cxn ang="0">
                  <a:pos x="233" y="101"/>
                </a:cxn>
                <a:cxn ang="0">
                  <a:pos x="223" y="110"/>
                </a:cxn>
                <a:cxn ang="0">
                  <a:pos x="212" y="124"/>
                </a:cxn>
                <a:cxn ang="0">
                  <a:pos x="191" y="137"/>
                </a:cxn>
                <a:cxn ang="0">
                  <a:pos x="179" y="137"/>
                </a:cxn>
                <a:cxn ang="0">
                  <a:pos x="166" y="126"/>
                </a:cxn>
                <a:cxn ang="0">
                  <a:pos x="155" y="126"/>
                </a:cxn>
                <a:cxn ang="0">
                  <a:pos x="115" y="145"/>
                </a:cxn>
                <a:cxn ang="0">
                  <a:pos x="96" y="155"/>
                </a:cxn>
                <a:cxn ang="0">
                  <a:pos x="82" y="157"/>
                </a:cxn>
                <a:cxn ang="0">
                  <a:pos x="50" y="155"/>
                </a:cxn>
                <a:cxn ang="0">
                  <a:pos x="37" y="155"/>
                </a:cxn>
                <a:cxn ang="0">
                  <a:pos x="27" y="140"/>
                </a:cxn>
                <a:cxn ang="0">
                  <a:pos x="22" y="135"/>
                </a:cxn>
                <a:cxn ang="0">
                  <a:pos x="11" y="129"/>
                </a:cxn>
                <a:cxn ang="0">
                  <a:pos x="5" y="122"/>
                </a:cxn>
                <a:cxn ang="0">
                  <a:pos x="0" y="107"/>
                </a:cxn>
                <a:cxn ang="0">
                  <a:pos x="0" y="90"/>
                </a:cxn>
                <a:cxn ang="0">
                  <a:pos x="34" y="76"/>
                </a:cxn>
                <a:cxn ang="0">
                  <a:pos x="72" y="76"/>
                </a:cxn>
                <a:cxn ang="0">
                  <a:pos x="95" y="55"/>
                </a:cxn>
                <a:cxn ang="0">
                  <a:pos x="98" y="19"/>
                </a:cxn>
                <a:cxn ang="0">
                  <a:pos x="120" y="8"/>
                </a:cxn>
              </a:cxnLst>
              <a:rect l="0" t="0" r="r" b="b"/>
              <a:pathLst>
                <a:path w="352" h="157">
                  <a:moveTo>
                    <a:pt x="120" y="8"/>
                  </a:moveTo>
                  <a:lnTo>
                    <a:pt x="132" y="0"/>
                  </a:lnTo>
                  <a:lnTo>
                    <a:pt x="146" y="0"/>
                  </a:lnTo>
                  <a:lnTo>
                    <a:pt x="152" y="11"/>
                  </a:lnTo>
                  <a:lnTo>
                    <a:pt x="165" y="2"/>
                  </a:lnTo>
                  <a:lnTo>
                    <a:pt x="178" y="6"/>
                  </a:lnTo>
                  <a:lnTo>
                    <a:pt x="198" y="27"/>
                  </a:lnTo>
                  <a:lnTo>
                    <a:pt x="220" y="36"/>
                  </a:lnTo>
                  <a:lnTo>
                    <a:pt x="228" y="38"/>
                  </a:lnTo>
                  <a:lnTo>
                    <a:pt x="239" y="29"/>
                  </a:lnTo>
                  <a:lnTo>
                    <a:pt x="250" y="25"/>
                  </a:lnTo>
                  <a:lnTo>
                    <a:pt x="280" y="33"/>
                  </a:lnTo>
                  <a:lnTo>
                    <a:pt x="320" y="42"/>
                  </a:lnTo>
                  <a:lnTo>
                    <a:pt x="352" y="51"/>
                  </a:lnTo>
                  <a:lnTo>
                    <a:pt x="341" y="64"/>
                  </a:lnTo>
                  <a:lnTo>
                    <a:pt x="320" y="85"/>
                  </a:lnTo>
                  <a:lnTo>
                    <a:pt x="315" y="92"/>
                  </a:lnTo>
                  <a:lnTo>
                    <a:pt x="317" y="107"/>
                  </a:lnTo>
                  <a:lnTo>
                    <a:pt x="302" y="107"/>
                  </a:lnTo>
                  <a:lnTo>
                    <a:pt x="287" y="96"/>
                  </a:lnTo>
                  <a:lnTo>
                    <a:pt x="272" y="92"/>
                  </a:lnTo>
                  <a:lnTo>
                    <a:pt x="233" y="101"/>
                  </a:lnTo>
                  <a:lnTo>
                    <a:pt x="223" y="110"/>
                  </a:lnTo>
                  <a:lnTo>
                    <a:pt x="212" y="124"/>
                  </a:lnTo>
                  <a:lnTo>
                    <a:pt x="191" y="137"/>
                  </a:lnTo>
                  <a:lnTo>
                    <a:pt x="179" y="137"/>
                  </a:lnTo>
                  <a:lnTo>
                    <a:pt x="166" y="126"/>
                  </a:lnTo>
                  <a:lnTo>
                    <a:pt x="155" y="126"/>
                  </a:lnTo>
                  <a:lnTo>
                    <a:pt x="115" y="145"/>
                  </a:lnTo>
                  <a:lnTo>
                    <a:pt x="96" y="155"/>
                  </a:lnTo>
                  <a:lnTo>
                    <a:pt x="82" y="157"/>
                  </a:lnTo>
                  <a:lnTo>
                    <a:pt x="50" y="155"/>
                  </a:lnTo>
                  <a:lnTo>
                    <a:pt x="37" y="155"/>
                  </a:lnTo>
                  <a:lnTo>
                    <a:pt x="27" y="140"/>
                  </a:lnTo>
                  <a:lnTo>
                    <a:pt x="22" y="135"/>
                  </a:lnTo>
                  <a:lnTo>
                    <a:pt x="11" y="129"/>
                  </a:lnTo>
                  <a:lnTo>
                    <a:pt x="5" y="122"/>
                  </a:lnTo>
                  <a:lnTo>
                    <a:pt x="0" y="107"/>
                  </a:lnTo>
                  <a:lnTo>
                    <a:pt x="0" y="90"/>
                  </a:lnTo>
                  <a:lnTo>
                    <a:pt x="34" y="76"/>
                  </a:lnTo>
                  <a:lnTo>
                    <a:pt x="72" y="76"/>
                  </a:lnTo>
                  <a:lnTo>
                    <a:pt x="95" y="55"/>
                  </a:lnTo>
                  <a:lnTo>
                    <a:pt x="98" y="19"/>
                  </a:lnTo>
                  <a:lnTo>
                    <a:pt x="120" y="8"/>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40" name="Freeform 87"/>
            <p:cNvSpPr>
              <a:spLocks/>
            </p:cNvSpPr>
            <p:nvPr>
              <p:custDataLst>
                <p:tags r:id="rId30"/>
              </p:custDataLst>
            </p:nvPr>
          </p:nvSpPr>
          <p:spPr bwMode="auto">
            <a:xfrm>
              <a:off x="2940594" y="4921391"/>
              <a:ext cx="341222" cy="312925"/>
            </a:xfrm>
            <a:custGeom>
              <a:avLst/>
              <a:gdLst/>
              <a:ahLst/>
              <a:cxnLst>
                <a:cxn ang="0">
                  <a:pos x="220" y="31"/>
                </a:cxn>
                <a:cxn ang="0">
                  <a:pos x="208" y="31"/>
                </a:cxn>
                <a:cxn ang="0">
                  <a:pos x="195" y="22"/>
                </a:cxn>
                <a:cxn ang="0">
                  <a:pos x="178" y="13"/>
                </a:cxn>
                <a:cxn ang="0">
                  <a:pos x="157" y="24"/>
                </a:cxn>
                <a:cxn ang="0">
                  <a:pos x="138" y="19"/>
                </a:cxn>
                <a:cxn ang="0">
                  <a:pos x="121" y="27"/>
                </a:cxn>
                <a:cxn ang="0">
                  <a:pos x="120" y="19"/>
                </a:cxn>
                <a:cxn ang="0">
                  <a:pos x="105" y="18"/>
                </a:cxn>
                <a:cxn ang="0">
                  <a:pos x="87" y="0"/>
                </a:cxn>
                <a:cxn ang="0">
                  <a:pos x="60" y="30"/>
                </a:cxn>
                <a:cxn ang="0">
                  <a:pos x="17" y="16"/>
                </a:cxn>
                <a:cxn ang="0">
                  <a:pos x="0" y="21"/>
                </a:cxn>
                <a:cxn ang="0">
                  <a:pos x="0" y="31"/>
                </a:cxn>
                <a:cxn ang="0">
                  <a:pos x="46" y="78"/>
                </a:cxn>
                <a:cxn ang="0">
                  <a:pos x="57" y="109"/>
                </a:cxn>
                <a:cxn ang="0">
                  <a:pos x="81" y="127"/>
                </a:cxn>
                <a:cxn ang="0">
                  <a:pos x="91" y="124"/>
                </a:cxn>
                <a:cxn ang="0">
                  <a:pos x="150" y="187"/>
                </a:cxn>
                <a:cxn ang="0">
                  <a:pos x="154" y="201"/>
                </a:cxn>
                <a:cxn ang="0">
                  <a:pos x="150" y="211"/>
                </a:cxn>
                <a:cxn ang="0">
                  <a:pos x="154" y="221"/>
                </a:cxn>
                <a:cxn ang="0">
                  <a:pos x="171" y="212"/>
                </a:cxn>
                <a:cxn ang="0">
                  <a:pos x="184" y="207"/>
                </a:cxn>
                <a:cxn ang="0">
                  <a:pos x="184" y="186"/>
                </a:cxn>
                <a:cxn ang="0">
                  <a:pos x="201" y="172"/>
                </a:cxn>
                <a:cxn ang="0">
                  <a:pos x="208" y="157"/>
                </a:cxn>
                <a:cxn ang="0">
                  <a:pos x="226" y="150"/>
                </a:cxn>
                <a:cxn ang="0">
                  <a:pos x="229" y="132"/>
                </a:cxn>
                <a:cxn ang="0">
                  <a:pos x="226" y="115"/>
                </a:cxn>
                <a:cxn ang="0">
                  <a:pos x="235" y="108"/>
                </a:cxn>
                <a:cxn ang="0">
                  <a:pos x="219" y="85"/>
                </a:cxn>
                <a:cxn ang="0">
                  <a:pos x="238" y="52"/>
                </a:cxn>
                <a:cxn ang="0">
                  <a:pos x="220" y="31"/>
                </a:cxn>
              </a:cxnLst>
              <a:rect l="0" t="0" r="r" b="b"/>
              <a:pathLst>
                <a:path w="238" h="221">
                  <a:moveTo>
                    <a:pt x="220" y="31"/>
                  </a:moveTo>
                  <a:lnTo>
                    <a:pt x="208" y="31"/>
                  </a:lnTo>
                  <a:lnTo>
                    <a:pt x="195" y="22"/>
                  </a:lnTo>
                  <a:lnTo>
                    <a:pt x="178" y="13"/>
                  </a:lnTo>
                  <a:lnTo>
                    <a:pt x="157" y="24"/>
                  </a:lnTo>
                  <a:lnTo>
                    <a:pt x="138" y="19"/>
                  </a:lnTo>
                  <a:lnTo>
                    <a:pt x="121" y="27"/>
                  </a:lnTo>
                  <a:lnTo>
                    <a:pt x="120" y="19"/>
                  </a:lnTo>
                  <a:lnTo>
                    <a:pt x="105" y="18"/>
                  </a:lnTo>
                  <a:lnTo>
                    <a:pt x="87" y="0"/>
                  </a:lnTo>
                  <a:lnTo>
                    <a:pt x="60" y="30"/>
                  </a:lnTo>
                  <a:lnTo>
                    <a:pt x="17" y="16"/>
                  </a:lnTo>
                  <a:lnTo>
                    <a:pt x="0" y="21"/>
                  </a:lnTo>
                  <a:lnTo>
                    <a:pt x="0" y="31"/>
                  </a:lnTo>
                  <a:lnTo>
                    <a:pt x="46" y="78"/>
                  </a:lnTo>
                  <a:lnTo>
                    <a:pt x="57" y="109"/>
                  </a:lnTo>
                  <a:lnTo>
                    <a:pt x="81" y="127"/>
                  </a:lnTo>
                  <a:lnTo>
                    <a:pt x="91" y="124"/>
                  </a:lnTo>
                  <a:lnTo>
                    <a:pt x="150" y="187"/>
                  </a:lnTo>
                  <a:lnTo>
                    <a:pt x="154" y="201"/>
                  </a:lnTo>
                  <a:lnTo>
                    <a:pt x="150" y="211"/>
                  </a:lnTo>
                  <a:lnTo>
                    <a:pt x="154" y="221"/>
                  </a:lnTo>
                  <a:lnTo>
                    <a:pt x="171" y="212"/>
                  </a:lnTo>
                  <a:lnTo>
                    <a:pt x="184" y="207"/>
                  </a:lnTo>
                  <a:lnTo>
                    <a:pt x="184" y="186"/>
                  </a:lnTo>
                  <a:lnTo>
                    <a:pt x="201" y="172"/>
                  </a:lnTo>
                  <a:lnTo>
                    <a:pt x="208" y="157"/>
                  </a:lnTo>
                  <a:lnTo>
                    <a:pt x="226" y="150"/>
                  </a:lnTo>
                  <a:lnTo>
                    <a:pt x="229" y="132"/>
                  </a:lnTo>
                  <a:lnTo>
                    <a:pt x="226" y="115"/>
                  </a:lnTo>
                  <a:lnTo>
                    <a:pt x="235" y="108"/>
                  </a:lnTo>
                  <a:lnTo>
                    <a:pt x="219" y="85"/>
                  </a:lnTo>
                  <a:lnTo>
                    <a:pt x="238" y="52"/>
                  </a:lnTo>
                  <a:lnTo>
                    <a:pt x="220" y="31"/>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41" name="Freeform 88"/>
            <p:cNvSpPr>
              <a:spLocks/>
            </p:cNvSpPr>
            <p:nvPr>
              <p:custDataLst>
                <p:tags r:id="rId31"/>
              </p:custDataLst>
            </p:nvPr>
          </p:nvSpPr>
          <p:spPr bwMode="auto">
            <a:xfrm>
              <a:off x="3406653" y="5330857"/>
              <a:ext cx="233030" cy="156463"/>
            </a:xfrm>
            <a:custGeom>
              <a:avLst/>
              <a:gdLst/>
              <a:ahLst/>
              <a:cxnLst>
                <a:cxn ang="0">
                  <a:pos x="6" y="33"/>
                </a:cxn>
                <a:cxn ang="0">
                  <a:pos x="34" y="14"/>
                </a:cxn>
                <a:cxn ang="0">
                  <a:pos x="52" y="11"/>
                </a:cxn>
                <a:cxn ang="0">
                  <a:pos x="70" y="6"/>
                </a:cxn>
                <a:cxn ang="0">
                  <a:pos x="85" y="6"/>
                </a:cxn>
                <a:cxn ang="0">
                  <a:pos x="100" y="0"/>
                </a:cxn>
                <a:cxn ang="0">
                  <a:pos x="126" y="6"/>
                </a:cxn>
                <a:cxn ang="0">
                  <a:pos x="141" y="5"/>
                </a:cxn>
                <a:cxn ang="0">
                  <a:pos x="156" y="20"/>
                </a:cxn>
                <a:cxn ang="0">
                  <a:pos x="154" y="63"/>
                </a:cxn>
                <a:cxn ang="0">
                  <a:pos x="162" y="68"/>
                </a:cxn>
                <a:cxn ang="0">
                  <a:pos x="151" y="86"/>
                </a:cxn>
                <a:cxn ang="0">
                  <a:pos x="115" y="93"/>
                </a:cxn>
                <a:cxn ang="0">
                  <a:pos x="100" y="89"/>
                </a:cxn>
                <a:cxn ang="0">
                  <a:pos x="90" y="110"/>
                </a:cxn>
                <a:cxn ang="0">
                  <a:pos x="63" y="108"/>
                </a:cxn>
                <a:cxn ang="0">
                  <a:pos x="52" y="105"/>
                </a:cxn>
                <a:cxn ang="0">
                  <a:pos x="36" y="104"/>
                </a:cxn>
                <a:cxn ang="0">
                  <a:pos x="27" y="95"/>
                </a:cxn>
                <a:cxn ang="0">
                  <a:pos x="21" y="98"/>
                </a:cxn>
                <a:cxn ang="0">
                  <a:pos x="9" y="89"/>
                </a:cxn>
                <a:cxn ang="0">
                  <a:pos x="0" y="63"/>
                </a:cxn>
                <a:cxn ang="0">
                  <a:pos x="7" y="50"/>
                </a:cxn>
                <a:cxn ang="0">
                  <a:pos x="6" y="33"/>
                </a:cxn>
              </a:cxnLst>
              <a:rect l="0" t="0" r="r" b="b"/>
              <a:pathLst>
                <a:path w="162" h="110">
                  <a:moveTo>
                    <a:pt x="6" y="33"/>
                  </a:moveTo>
                  <a:lnTo>
                    <a:pt x="34" y="14"/>
                  </a:lnTo>
                  <a:lnTo>
                    <a:pt x="52" y="11"/>
                  </a:lnTo>
                  <a:lnTo>
                    <a:pt x="70" y="6"/>
                  </a:lnTo>
                  <a:lnTo>
                    <a:pt x="85" y="6"/>
                  </a:lnTo>
                  <a:lnTo>
                    <a:pt x="100" y="0"/>
                  </a:lnTo>
                  <a:lnTo>
                    <a:pt x="126" y="6"/>
                  </a:lnTo>
                  <a:lnTo>
                    <a:pt x="141" y="5"/>
                  </a:lnTo>
                  <a:lnTo>
                    <a:pt x="156" y="20"/>
                  </a:lnTo>
                  <a:lnTo>
                    <a:pt x="154" y="63"/>
                  </a:lnTo>
                  <a:lnTo>
                    <a:pt x="162" y="68"/>
                  </a:lnTo>
                  <a:lnTo>
                    <a:pt x="151" y="86"/>
                  </a:lnTo>
                  <a:lnTo>
                    <a:pt x="115" y="93"/>
                  </a:lnTo>
                  <a:lnTo>
                    <a:pt x="100" y="89"/>
                  </a:lnTo>
                  <a:lnTo>
                    <a:pt x="90" y="110"/>
                  </a:lnTo>
                  <a:lnTo>
                    <a:pt x="63" y="108"/>
                  </a:lnTo>
                  <a:lnTo>
                    <a:pt x="52" y="105"/>
                  </a:lnTo>
                  <a:lnTo>
                    <a:pt x="36" y="104"/>
                  </a:lnTo>
                  <a:lnTo>
                    <a:pt x="27" y="95"/>
                  </a:lnTo>
                  <a:lnTo>
                    <a:pt x="21" y="98"/>
                  </a:lnTo>
                  <a:lnTo>
                    <a:pt x="9" y="89"/>
                  </a:lnTo>
                  <a:lnTo>
                    <a:pt x="0" y="63"/>
                  </a:lnTo>
                  <a:lnTo>
                    <a:pt x="7" y="50"/>
                  </a:lnTo>
                  <a:lnTo>
                    <a:pt x="6" y="33"/>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42" name="Freeform 89"/>
            <p:cNvSpPr>
              <a:spLocks/>
            </p:cNvSpPr>
            <p:nvPr>
              <p:custDataLst>
                <p:tags r:id="rId32"/>
              </p:custDataLst>
            </p:nvPr>
          </p:nvSpPr>
          <p:spPr bwMode="auto">
            <a:xfrm>
              <a:off x="3158643" y="4821521"/>
              <a:ext cx="469388" cy="552613"/>
            </a:xfrm>
            <a:custGeom>
              <a:avLst/>
              <a:gdLst/>
              <a:ahLst/>
              <a:cxnLst>
                <a:cxn ang="0">
                  <a:pos x="120" y="3"/>
                </a:cxn>
                <a:cxn ang="0">
                  <a:pos x="168" y="1"/>
                </a:cxn>
                <a:cxn ang="0">
                  <a:pos x="180" y="12"/>
                </a:cxn>
                <a:cxn ang="0">
                  <a:pos x="187" y="21"/>
                </a:cxn>
                <a:cxn ang="0">
                  <a:pos x="196" y="58"/>
                </a:cxn>
                <a:cxn ang="0">
                  <a:pos x="223" y="66"/>
                </a:cxn>
                <a:cxn ang="0">
                  <a:pos x="235" y="118"/>
                </a:cxn>
                <a:cxn ang="0">
                  <a:pos x="252" y="132"/>
                </a:cxn>
                <a:cxn ang="0">
                  <a:pos x="282" y="127"/>
                </a:cxn>
                <a:cxn ang="0">
                  <a:pos x="303" y="156"/>
                </a:cxn>
                <a:cxn ang="0">
                  <a:pos x="301" y="180"/>
                </a:cxn>
                <a:cxn ang="0">
                  <a:pos x="297" y="193"/>
                </a:cxn>
                <a:cxn ang="0">
                  <a:pos x="306" y="229"/>
                </a:cxn>
                <a:cxn ang="0">
                  <a:pos x="327" y="244"/>
                </a:cxn>
                <a:cxn ang="0">
                  <a:pos x="298" y="290"/>
                </a:cxn>
                <a:cxn ang="0">
                  <a:pos x="295" y="344"/>
                </a:cxn>
                <a:cxn ang="0">
                  <a:pos x="271" y="356"/>
                </a:cxn>
                <a:cxn ang="0">
                  <a:pos x="241" y="362"/>
                </a:cxn>
                <a:cxn ang="0">
                  <a:pos x="205" y="370"/>
                </a:cxn>
                <a:cxn ang="0">
                  <a:pos x="178" y="353"/>
                </a:cxn>
                <a:cxn ang="0">
                  <a:pos x="153" y="341"/>
                </a:cxn>
                <a:cxn ang="0">
                  <a:pos x="135" y="325"/>
                </a:cxn>
                <a:cxn ang="0">
                  <a:pos x="105" y="325"/>
                </a:cxn>
                <a:cxn ang="0">
                  <a:pos x="91" y="359"/>
                </a:cxn>
                <a:cxn ang="0">
                  <a:pos x="13" y="320"/>
                </a:cxn>
                <a:cxn ang="0">
                  <a:pos x="18" y="284"/>
                </a:cxn>
                <a:cxn ang="0">
                  <a:pos x="33" y="253"/>
                </a:cxn>
                <a:cxn ang="0">
                  <a:pos x="55" y="228"/>
                </a:cxn>
                <a:cxn ang="0">
                  <a:pos x="75" y="202"/>
                </a:cxn>
                <a:cxn ang="0">
                  <a:pos x="84" y="177"/>
                </a:cxn>
                <a:cxn ang="0">
                  <a:pos x="85" y="123"/>
                </a:cxn>
                <a:cxn ang="0">
                  <a:pos x="72" y="79"/>
                </a:cxn>
                <a:cxn ang="0">
                  <a:pos x="55" y="27"/>
                </a:cxn>
              </a:cxnLst>
              <a:rect l="0" t="0" r="r" b="b"/>
              <a:pathLst>
                <a:path w="327" h="388">
                  <a:moveTo>
                    <a:pt x="55" y="27"/>
                  </a:moveTo>
                  <a:lnTo>
                    <a:pt x="120" y="3"/>
                  </a:lnTo>
                  <a:lnTo>
                    <a:pt x="150" y="0"/>
                  </a:lnTo>
                  <a:lnTo>
                    <a:pt x="168" y="1"/>
                  </a:lnTo>
                  <a:lnTo>
                    <a:pt x="175" y="6"/>
                  </a:lnTo>
                  <a:lnTo>
                    <a:pt x="180" y="12"/>
                  </a:lnTo>
                  <a:lnTo>
                    <a:pt x="181" y="19"/>
                  </a:lnTo>
                  <a:lnTo>
                    <a:pt x="187" y="21"/>
                  </a:lnTo>
                  <a:lnTo>
                    <a:pt x="195" y="36"/>
                  </a:lnTo>
                  <a:lnTo>
                    <a:pt x="196" y="58"/>
                  </a:lnTo>
                  <a:lnTo>
                    <a:pt x="204" y="66"/>
                  </a:lnTo>
                  <a:lnTo>
                    <a:pt x="223" y="66"/>
                  </a:lnTo>
                  <a:lnTo>
                    <a:pt x="235" y="97"/>
                  </a:lnTo>
                  <a:lnTo>
                    <a:pt x="235" y="118"/>
                  </a:lnTo>
                  <a:lnTo>
                    <a:pt x="243" y="132"/>
                  </a:lnTo>
                  <a:lnTo>
                    <a:pt x="252" y="132"/>
                  </a:lnTo>
                  <a:lnTo>
                    <a:pt x="271" y="118"/>
                  </a:lnTo>
                  <a:lnTo>
                    <a:pt x="282" y="127"/>
                  </a:lnTo>
                  <a:lnTo>
                    <a:pt x="283" y="145"/>
                  </a:lnTo>
                  <a:lnTo>
                    <a:pt x="303" y="156"/>
                  </a:lnTo>
                  <a:lnTo>
                    <a:pt x="300" y="175"/>
                  </a:lnTo>
                  <a:lnTo>
                    <a:pt x="301" y="180"/>
                  </a:lnTo>
                  <a:lnTo>
                    <a:pt x="304" y="183"/>
                  </a:lnTo>
                  <a:lnTo>
                    <a:pt x="297" y="193"/>
                  </a:lnTo>
                  <a:lnTo>
                    <a:pt x="295" y="205"/>
                  </a:lnTo>
                  <a:lnTo>
                    <a:pt x="306" y="229"/>
                  </a:lnTo>
                  <a:lnTo>
                    <a:pt x="322" y="232"/>
                  </a:lnTo>
                  <a:lnTo>
                    <a:pt x="327" y="244"/>
                  </a:lnTo>
                  <a:lnTo>
                    <a:pt x="322" y="268"/>
                  </a:lnTo>
                  <a:lnTo>
                    <a:pt x="298" y="290"/>
                  </a:lnTo>
                  <a:lnTo>
                    <a:pt x="304" y="328"/>
                  </a:lnTo>
                  <a:lnTo>
                    <a:pt x="295" y="344"/>
                  </a:lnTo>
                  <a:lnTo>
                    <a:pt x="301" y="362"/>
                  </a:lnTo>
                  <a:lnTo>
                    <a:pt x="271" y="356"/>
                  </a:lnTo>
                  <a:lnTo>
                    <a:pt x="256" y="362"/>
                  </a:lnTo>
                  <a:lnTo>
                    <a:pt x="241" y="362"/>
                  </a:lnTo>
                  <a:lnTo>
                    <a:pt x="223" y="367"/>
                  </a:lnTo>
                  <a:lnTo>
                    <a:pt x="205" y="370"/>
                  </a:lnTo>
                  <a:lnTo>
                    <a:pt x="177" y="388"/>
                  </a:lnTo>
                  <a:lnTo>
                    <a:pt x="178" y="353"/>
                  </a:lnTo>
                  <a:lnTo>
                    <a:pt x="172" y="344"/>
                  </a:lnTo>
                  <a:lnTo>
                    <a:pt x="153" y="341"/>
                  </a:lnTo>
                  <a:lnTo>
                    <a:pt x="147" y="326"/>
                  </a:lnTo>
                  <a:lnTo>
                    <a:pt x="135" y="325"/>
                  </a:lnTo>
                  <a:lnTo>
                    <a:pt x="130" y="329"/>
                  </a:lnTo>
                  <a:lnTo>
                    <a:pt x="105" y="325"/>
                  </a:lnTo>
                  <a:lnTo>
                    <a:pt x="96" y="332"/>
                  </a:lnTo>
                  <a:lnTo>
                    <a:pt x="91" y="359"/>
                  </a:lnTo>
                  <a:lnTo>
                    <a:pt x="81" y="380"/>
                  </a:lnTo>
                  <a:lnTo>
                    <a:pt x="13" y="320"/>
                  </a:lnTo>
                  <a:lnTo>
                    <a:pt x="0" y="292"/>
                  </a:lnTo>
                  <a:lnTo>
                    <a:pt x="18" y="284"/>
                  </a:lnTo>
                  <a:lnTo>
                    <a:pt x="33" y="276"/>
                  </a:lnTo>
                  <a:lnTo>
                    <a:pt x="33" y="253"/>
                  </a:lnTo>
                  <a:lnTo>
                    <a:pt x="48" y="244"/>
                  </a:lnTo>
                  <a:lnTo>
                    <a:pt x="55" y="228"/>
                  </a:lnTo>
                  <a:lnTo>
                    <a:pt x="72" y="217"/>
                  </a:lnTo>
                  <a:lnTo>
                    <a:pt x="75" y="202"/>
                  </a:lnTo>
                  <a:lnTo>
                    <a:pt x="73" y="186"/>
                  </a:lnTo>
                  <a:lnTo>
                    <a:pt x="84" y="177"/>
                  </a:lnTo>
                  <a:lnTo>
                    <a:pt x="69" y="154"/>
                  </a:lnTo>
                  <a:lnTo>
                    <a:pt x="85" y="123"/>
                  </a:lnTo>
                  <a:lnTo>
                    <a:pt x="67" y="102"/>
                  </a:lnTo>
                  <a:lnTo>
                    <a:pt x="72" y="79"/>
                  </a:lnTo>
                  <a:lnTo>
                    <a:pt x="55" y="58"/>
                  </a:lnTo>
                  <a:lnTo>
                    <a:pt x="55" y="27"/>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43" name="Freeform 90"/>
            <p:cNvSpPr>
              <a:spLocks/>
            </p:cNvSpPr>
            <p:nvPr>
              <p:custDataLst>
                <p:tags r:id="rId33"/>
              </p:custDataLst>
            </p:nvPr>
          </p:nvSpPr>
          <p:spPr bwMode="auto">
            <a:xfrm>
              <a:off x="3912660" y="4515253"/>
              <a:ext cx="321248" cy="354538"/>
            </a:xfrm>
            <a:custGeom>
              <a:avLst/>
              <a:gdLst/>
              <a:ahLst/>
              <a:cxnLst>
                <a:cxn ang="0">
                  <a:pos x="121" y="249"/>
                </a:cxn>
                <a:cxn ang="0">
                  <a:pos x="108" y="235"/>
                </a:cxn>
                <a:cxn ang="0">
                  <a:pos x="105" y="202"/>
                </a:cxn>
                <a:cxn ang="0">
                  <a:pos x="91" y="178"/>
                </a:cxn>
                <a:cxn ang="0">
                  <a:pos x="90" y="157"/>
                </a:cxn>
                <a:cxn ang="0">
                  <a:pos x="94" y="142"/>
                </a:cxn>
                <a:cxn ang="0">
                  <a:pos x="82" y="120"/>
                </a:cxn>
                <a:cxn ang="0">
                  <a:pos x="67" y="103"/>
                </a:cxn>
                <a:cxn ang="0">
                  <a:pos x="61" y="85"/>
                </a:cxn>
                <a:cxn ang="0">
                  <a:pos x="58" y="73"/>
                </a:cxn>
                <a:cxn ang="0">
                  <a:pos x="40" y="61"/>
                </a:cxn>
                <a:cxn ang="0">
                  <a:pos x="30" y="45"/>
                </a:cxn>
                <a:cxn ang="0">
                  <a:pos x="19" y="27"/>
                </a:cxn>
                <a:cxn ang="0">
                  <a:pos x="0" y="15"/>
                </a:cxn>
                <a:cxn ang="0">
                  <a:pos x="30" y="0"/>
                </a:cxn>
                <a:cxn ang="0">
                  <a:pos x="54" y="3"/>
                </a:cxn>
                <a:cxn ang="0">
                  <a:pos x="69" y="6"/>
                </a:cxn>
                <a:cxn ang="0">
                  <a:pos x="108" y="34"/>
                </a:cxn>
                <a:cxn ang="0">
                  <a:pos x="117" y="39"/>
                </a:cxn>
                <a:cxn ang="0">
                  <a:pos x="145" y="45"/>
                </a:cxn>
                <a:cxn ang="0">
                  <a:pos x="162" y="69"/>
                </a:cxn>
                <a:cxn ang="0">
                  <a:pos x="154" y="87"/>
                </a:cxn>
                <a:cxn ang="0">
                  <a:pos x="165" y="111"/>
                </a:cxn>
                <a:cxn ang="0">
                  <a:pos x="192" y="129"/>
                </a:cxn>
                <a:cxn ang="0">
                  <a:pos x="202" y="144"/>
                </a:cxn>
                <a:cxn ang="0">
                  <a:pos x="219" y="150"/>
                </a:cxn>
                <a:cxn ang="0">
                  <a:pos x="225" y="151"/>
                </a:cxn>
                <a:cxn ang="0">
                  <a:pos x="214" y="159"/>
                </a:cxn>
                <a:cxn ang="0">
                  <a:pos x="186" y="159"/>
                </a:cxn>
                <a:cxn ang="0">
                  <a:pos x="162" y="157"/>
                </a:cxn>
                <a:cxn ang="0">
                  <a:pos x="151" y="162"/>
                </a:cxn>
                <a:cxn ang="0">
                  <a:pos x="154" y="189"/>
                </a:cxn>
                <a:cxn ang="0">
                  <a:pos x="150" y="210"/>
                </a:cxn>
                <a:cxn ang="0">
                  <a:pos x="126" y="235"/>
                </a:cxn>
                <a:cxn ang="0">
                  <a:pos x="121" y="249"/>
                </a:cxn>
              </a:cxnLst>
              <a:rect l="0" t="0" r="r" b="b"/>
              <a:pathLst>
                <a:path w="225" h="249">
                  <a:moveTo>
                    <a:pt x="121" y="249"/>
                  </a:moveTo>
                  <a:lnTo>
                    <a:pt x="108" y="235"/>
                  </a:lnTo>
                  <a:lnTo>
                    <a:pt x="105" y="202"/>
                  </a:lnTo>
                  <a:lnTo>
                    <a:pt x="91" y="178"/>
                  </a:lnTo>
                  <a:lnTo>
                    <a:pt x="90" y="157"/>
                  </a:lnTo>
                  <a:lnTo>
                    <a:pt x="94" y="142"/>
                  </a:lnTo>
                  <a:lnTo>
                    <a:pt x="82" y="120"/>
                  </a:lnTo>
                  <a:lnTo>
                    <a:pt x="67" y="103"/>
                  </a:lnTo>
                  <a:lnTo>
                    <a:pt x="61" y="85"/>
                  </a:lnTo>
                  <a:lnTo>
                    <a:pt x="58" y="73"/>
                  </a:lnTo>
                  <a:lnTo>
                    <a:pt x="40" y="61"/>
                  </a:lnTo>
                  <a:lnTo>
                    <a:pt x="30" y="45"/>
                  </a:lnTo>
                  <a:lnTo>
                    <a:pt x="19" y="27"/>
                  </a:lnTo>
                  <a:lnTo>
                    <a:pt x="0" y="15"/>
                  </a:lnTo>
                  <a:lnTo>
                    <a:pt x="30" y="0"/>
                  </a:lnTo>
                  <a:lnTo>
                    <a:pt x="54" y="3"/>
                  </a:lnTo>
                  <a:lnTo>
                    <a:pt x="69" y="6"/>
                  </a:lnTo>
                  <a:lnTo>
                    <a:pt x="108" y="34"/>
                  </a:lnTo>
                  <a:lnTo>
                    <a:pt x="117" y="39"/>
                  </a:lnTo>
                  <a:lnTo>
                    <a:pt x="145" y="45"/>
                  </a:lnTo>
                  <a:lnTo>
                    <a:pt x="162" y="69"/>
                  </a:lnTo>
                  <a:lnTo>
                    <a:pt x="154" y="87"/>
                  </a:lnTo>
                  <a:lnTo>
                    <a:pt x="165" y="111"/>
                  </a:lnTo>
                  <a:lnTo>
                    <a:pt x="192" y="129"/>
                  </a:lnTo>
                  <a:lnTo>
                    <a:pt x="202" y="144"/>
                  </a:lnTo>
                  <a:lnTo>
                    <a:pt x="219" y="150"/>
                  </a:lnTo>
                  <a:lnTo>
                    <a:pt x="225" y="151"/>
                  </a:lnTo>
                  <a:lnTo>
                    <a:pt x="214" y="159"/>
                  </a:lnTo>
                  <a:lnTo>
                    <a:pt x="186" y="159"/>
                  </a:lnTo>
                  <a:lnTo>
                    <a:pt x="162" y="157"/>
                  </a:lnTo>
                  <a:lnTo>
                    <a:pt x="151" y="162"/>
                  </a:lnTo>
                  <a:lnTo>
                    <a:pt x="154" y="189"/>
                  </a:lnTo>
                  <a:lnTo>
                    <a:pt x="150" y="210"/>
                  </a:lnTo>
                  <a:lnTo>
                    <a:pt x="126" y="235"/>
                  </a:lnTo>
                  <a:lnTo>
                    <a:pt x="121" y="249"/>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44" name="Freeform 91"/>
            <p:cNvSpPr>
              <a:spLocks/>
            </p:cNvSpPr>
            <p:nvPr>
              <p:custDataLst>
                <p:tags r:id="rId34"/>
              </p:custDataLst>
            </p:nvPr>
          </p:nvSpPr>
          <p:spPr bwMode="auto">
            <a:xfrm>
              <a:off x="3583089" y="3516556"/>
              <a:ext cx="767333" cy="622522"/>
            </a:xfrm>
            <a:custGeom>
              <a:avLst/>
              <a:gdLst/>
              <a:ahLst/>
              <a:cxnLst>
                <a:cxn ang="0">
                  <a:pos x="203" y="28"/>
                </a:cxn>
                <a:cxn ang="0">
                  <a:pos x="175" y="47"/>
                </a:cxn>
                <a:cxn ang="0">
                  <a:pos x="165" y="65"/>
                </a:cxn>
                <a:cxn ang="0">
                  <a:pos x="165" y="95"/>
                </a:cxn>
                <a:cxn ang="0">
                  <a:pos x="133" y="113"/>
                </a:cxn>
                <a:cxn ang="0">
                  <a:pos x="131" y="139"/>
                </a:cxn>
                <a:cxn ang="0">
                  <a:pos x="125" y="197"/>
                </a:cxn>
                <a:cxn ang="0">
                  <a:pos x="100" y="195"/>
                </a:cxn>
                <a:cxn ang="0">
                  <a:pos x="56" y="233"/>
                </a:cxn>
                <a:cxn ang="0">
                  <a:pos x="30" y="221"/>
                </a:cxn>
                <a:cxn ang="0">
                  <a:pos x="18" y="251"/>
                </a:cxn>
                <a:cxn ang="0">
                  <a:pos x="30" y="295"/>
                </a:cxn>
                <a:cxn ang="0">
                  <a:pos x="18" y="339"/>
                </a:cxn>
                <a:cxn ang="0">
                  <a:pos x="6" y="363"/>
                </a:cxn>
                <a:cxn ang="0">
                  <a:pos x="10" y="391"/>
                </a:cxn>
                <a:cxn ang="0">
                  <a:pos x="38" y="425"/>
                </a:cxn>
                <a:cxn ang="0">
                  <a:pos x="111" y="409"/>
                </a:cxn>
                <a:cxn ang="0">
                  <a:pos x="213" y="419"/>
                </a:cxn>
                <a:cxn ang="0">
                  <a:pos x="301" y="425"/>
                </a:cxn>
                <a:cxn ang="0">
                  <a:pos x="341" y="417"/>
                </a:cxn>
                <a:cxn ang="0">
                  <a:pos x="407" y="419"/>
                </a:cxn>
                <a:cxn ang="0">
                  <a:pos x="429" y="417"/>
                </a:cxn>
                <a:cxn ang="0">
                  <a:pos x="461" y="367"/>
                </a:cxn>
                <a:cxn ang="0">
                  <a:pos x="487" y="357"/>
                </a:cxn>
                <a:cxn ang="0">
                  <a:pos x="461" y="293"/>
                </a:cxn>
                <a:cxn ang="0">
                  <a:pos x="501" y="289"/>
                </a:cxn>
                <a:cxn ang="0">
                  <a:pos x="535" y="237"/>
                </a:cxn>
                <a:cxn ang="0">
                  <a:pos x="467" y="219"/>
                </a:cxn>
                <a:cxn ang="0">
                  <a:pos x="451" y="155"/>
                </a:cxn>
                <a:cxn ang="0">
                  <a:pos x="401" y="99"/>
                </a:cxn>
                <a:cxn ang="0">
                  <a:pos x="403" y="63"/>
                </a:cxn>
                <a:cxn ang="0">
                  <a:pos x="371" y="12"/>
                </a:cxn>
                <a:cxn ang="0">
                  <a:pos x="303" y="18"/>
                </a:cxn>
                <a:cxn ang="0">
                  <a:pos x="251" y="0"/>
                </a:cxn>
              </a:cxnLst>
              <a:rect l="0" t="0" r="r" b="b"/>
              <a:pathLst>
                <a:path w="535" h="437">
                  <a:moveTo>
                    <a:pt x="217" y="10"/>
                  </a:moveTo>
                  <a:lnTo>
                    <a:pt x="203" y="28"/>
                  </a:lnTo>
                  <a:lnTo>
                    <a:pt x="193" y="45"/>
                  </a:lnTo>
                  <a:lnTo>
                    <a:pt x="175" y="47"/>
                  </a:lnTo>
                  <a:lnTo>
                    <a:pt x="157" y="53"/>
                  </a:lnTo>
                  <a:lnTo>
                    <a:pt x="165" y="65"/>
                  </a:lnTo>
                  <a:lnTo>
                    <a:pt x="165" y="71"/>
                  </a:lnTo>
                  <a:lnTo>
                    <a:pt x="165" y="95"/>
                  </a:lnTo>
                  <a:lnTo>
                    <a:pt x="149" y="97"/>
                  </a:lnTo>
                  <a:lnTo>
                    <a:pt x="133" y="113"/>
                  </a:lnTo>
                  <a:lnTo>
                    <a:pt x="133" y="131"/>
                  </a:lnTo>
                  <a:lnTo>
                    <a:pt x="131" y="139"/>
                  </a:lnTo>
                  <a:lnTo>
                    <a:pt x="125" y="149"/>
                  </a:lnTo>
                  <a:lnTo>
                    <a:pt x="125" y="197"/>
                  </a:lnTo>
                  <a:lnTo>
                    <a:pt x="115" y="203"/>
                  </a:lnTo>
                  <a:lnTo>
                    <a:pt x="100" y="195"/>
                  </a:lnTo>
                  <a:lnTo>
                    <a:pt x="74" y="215"/>
                  </a:lnTo>
                  <a:lnTo>
                    <a:pt x="56" y="233"/>
                  </a:lnTo>
                  <a:lnTo>
                    <a:pt x="38" y="221"/>
                  </a:lnTo>
                  <a:lnTo>
                    <a:pt x="30" y="221"/>
                  </a:lnTo>
                  <a:lnTo>
                    <a:pt x="14" y="225"/>
                  </a:lnTo>
                  <a:lnTo>
                    <a:pt x="18" y="251"/>
                  </a:lnTo>
                  <a:lnTo>
                    <a:pt x="26" y="277"/>
                  </a:lnTo>
                  <a:lnTo>
                    <a:pt x="30" y="295"/>
                  </a:lnTo>
                  <a:lnTo>
                    <a:pt x="28" y="319"/>
                  </a:lnTo>
                  <a:lnTo>
                    <a:pt x="18" y="339"/>
                  </a:lnTo>
                  <a:lnTo>
                    <a:pt x="0" y="355"/>
                  </a:lnTo>
                  <a:lnTo>
                    <a:pt x="6" y="363"/>
                  </a:lnTo>
                  <a:lnTo>
                    <a:pt x="20" y="373"/>
                  </a:lnTo>
                  <a:lnTo>
                    <a:pt x="10" y="391"/>
                  </a:lnTo>
                  <a:lnTo>
                    <a:pt x="12" y="425"/>
                  </a:lnTo>
                  <a:lnTo>
                    <a:pt x="38" y="425"/>
                  </a:lnTo>
                  <a:lnTo>
                    <a:pt x="50" y="413"/>
                  </a:lnTo>
                  <a:lnTo>
                    <a:pt x="111" y="409"/>
                  </a:lnTo>
                  <a:lnTo>
                    <a:pt x="163" y="411"/>
                  </a:lnTo>
                  <a:lnTo>
                    <a:pt x="213" y="419"/>
                  </a:lnTo>
                  <a:lnTo>
                    <a:pt x="257" y="427"/>
                  </a:lnTo>
                  <a:lnTo>
                    <a:pt x="301" y="425"/>
                  </a:lnTo>
                  <a:lnTo>
                    <a:pt x="321" y="419"/>
                  </a:lnTo>
                  <a:lnTo>
                    <a:pt x="341" y="417"/>
                  </a:lnTo>
                  <a:lnTo>
                    <a:pt x="365" y="429"/>
                  </a:lnTo>
                  <a:lnTo>
                    <a:pt x="407" y="419"/>
                  </a:lnTo>
                  <a:lnTo>
                    <a:pt x="417" y="437"/>
                  </a:lnTo>
                  <a:lnTo>
                    <a:pt x="429" y="417"/>
                  </a:lnTo>
                  <a:lnTo>
                    <a:pt x="431" y="383"/>
                  </a:lnTo>
                  <a:lnTo>
                    <a:pt x="461" y="367"/>
                  </a:lnTo>
                  <a:lnTo>
                    <a:pt x="487" y="363"/>
                  </a:lnTo>
                  <a:lnTo>
                    <a:pt x="487" y="357"/>
                  </a:lnTo>
                  <a:lnTo>
                    <a:pt x="469" y="317"/>
                  </a:lnTo>
                  <a:lnTo>
                    <a:pt x="461" y="293"/>
                  </a:lnTo>
                  <a:lnTo>
                    <a:pt x="477" y="285"/>
                  </a:lnTo>
                  <a:lnTo>
                    <a:pt x="501" y="289"/>
                  </a:lnTo>
                  <a:lnTo>
                    <a:pt x="535" y="275"/>
                  </a:lnTo>
                  <a:lnTo>
                    <a:pt x="535" y="237"/>
                  </a:lnTo>
                  <a:lnTo>
                    <a:pt x="499" y="225"/>
                  </a:lnTo>
                  <a:lnTo>
                    <a:pt x="467" y="219"/>
                  </a:lnTo>
                  <a:lnTo>
                    <a:pt x="449" y="187"/>
                  </a:lnTo>
                  <a:lnTo>
                    <a:pt x="451" y="155"/>
                  </a:lnTo>
                  <a:lnTo>
                    <a:pt x="419" y="123"/>
                  </a:lnTo>
                  <a:lnTo>
                    <a:pt x="401" y="99"/>
                  </a:lnTo>
                  <a:lnTo>
                    <a:pt x="399" y="77"/>
                  </a:lnTo>
                  <a:lnTo>
                    <a:pt x="403" y="63"/>
                  </a:lnTo>
                  <a:lnTo>
                    <a:pt x="403" y="34"/>
                  </a:lnTo>
                  <a:lnTo>
                    <a:pt x="371" y="12"/>
                  </a:lnTo>
                  <a:lnTo>
                    <a:pt x="335" y="12"/>
                  </a:lnTo>
                  <a:lnTo>
                    <a:pt x="303" y="18"/>
                  </a:lnTo>
                  <a:lnTo>
                    <a:pt x="289" y="6"/>
                  </a:lnTo>
                  <a:lnTo>
                    <a:pt x="251" y="0"/>
                  </a:lnTo>
                  <a:lnTo>
                    <a:pt x="217" y="10"/>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45" name="Freeform 92"/>
            <p:cNvSpPr>
              <a:spLocks/>
            </p:cNvSpPr>
            <p:nvPr>
              <p:custDataLst>
                <p:tags r:id="rId35"/>
              </p:custDataLst>
            </p:nvPr>
          </p:nvSpPr>
          <p:spPr bwMode="auto">
            <a:xfrm>
              <a:off x="3511516" y="4005918"/>
              <a:ext cx="1478073" cy="967072"/>
            </a:xfrm>
            <a:custGeom>
              <a:avLst/>
              <a:gdLst/>
              <a:ahLst/>
              <a:cxnLst>
                <a:cxn ang="0">
                  <a:pos x="597" y="6"/>
                </a:cxn>
                <a:cxn ang="0">
                  <a:pos x="682" y="36"/>
                </a:cxn>
                <a:cxn ang="0">
                  <a:pos x="782" y="112"/>
                </a:cxn>
                <a:cxn ang="0">
                  <a:pos x="892" y="154"/>
                </a:cxn>
                <a:cxn ang="0">
                  <a:pos x="1012" y="182"/>
                </a:cxn>
                <a:cxn ang="0">
                  <a:pos x="1000" y="321"/>
                </a:cxn>
                <a:cxn ang="0">
                  <a:pos x="948" y="367"/>
                </a:cxn>
                <a:cxn ang="0">
                  <a:pos x="750" y="451"/>
                </a:cxn>
                <a:cxn ang="0">
                  <a:pos x="696" y="503"/>
                </a:cxn>
                <a:cxn ang="0">
                  <a:pos x="766" y="567"/>
                </a:cxn>
                <a:cxn ang="0">
                  <a:pos x="810" y="559"/>
                </a:cxn>
                <a:cxn ang="0">
                  <a:pos x="856" y="561"/>
                </a:cxn>
                <a:cxn ang="0">
                  <a:pos x="796" y="595"/>
                </a:cxn>
                <a:cxn ang="0">
                  <a:pos x="738" y="637"/>
                </a:cxn>
                <a:cxn ang="0">
                  <a:pos x="684" y="669"/>
                </a:cxn>
                <a:cxn ang="0">
                  <a:pos x="678" y="601"/>
                </a:cxn>
                <a:cxn ang="0">
                  <a:pos x="617" y="591"/>
                </a:cxn>
                <a:cxn ang="0">
                  <a:pos x="641" y="531"/>
                </a:cxn>
                <a:cxn ang="0">
                  <a:pos x="631" y="503"/>
                </a:cxn>
                <a:cxn ang="0">
                  <a:pos x="593" y="515"/>
                </a:cxn>
                <a:cxn ang="0">
                  <a:pos x="591" y="485"/>
                </a:cxn>
                <a:cxn ang="0">
                  <a:pos x="545" y="487"/>
                </a:cxn>
                <a:cxn ang="0">
                  <a:pos x="517" y="513"/>
                </a:cxn>
                <a:cxn ang="0">
                  <a:pos x="515" y="559"/>
                </a:cxn>
                <a:cxn ang="0">
                  <a:pos x="501" y="575"/>
                </a:cxn>
                <a:cxn ang="0">
                  <a:pos x="501" y="595"/>
                </a:cxn>
                <a:cxn ang="0">
                  <a:pos x="455" y="601"/>
                </a:cxn>
                <a:cxn ang="0">
                  <a:pos x="403" y="591"/>
                </a:cxn>
                <a:cxn ang="0">
                  <a:pos x="435" y="517"/>
                </a:cxn>
                <a:cxn ang="0">
                  <a:pos x="503" y="507"/>
                </a:cxn>
                <a:cxn ang="0">
                  <a:pos x="443" y="469"/>
                </a:cxn>
                <a:cxn ang="0">
                  <a:pos x="423" y="399"/>
                </a:cxn>
                <a:cxn ang="0">
                  <a:pos x="309" y="359"/>
                </a:cxn>
                <a:cxn ang="0">
                  <a:pos x="261" y="389"/>
                </a:cxn>
                <a:cxn ang="0">
                  <a:pos x="187" y="405"/>
                </a:cxn>
                <a:cxn ang="0">
                  <a:pos x="136" y="399"/>
                </a:cxn>
                <a:cxn ang="0">
                  <a:pos x="80" y="393"/>
                </a:cxn>
                <a:cxn ang="0">
                  <a:pos x="24" y="401"/>
                </a:cxn>
                <a:cxn ang="0">
                  <a:pos x="50" y="301"/>
                </a:cxn>
                <a:cxn ang="0">
                  <a:pos x="106" y="182"/>
                </a:cxn>
                <a:cxn ang="0">
                  <a:pos x="78" y="96"/>
                </a:cxn>
                <a:cxn ang="0">
                  <a:pos x="102" y="70"/>
                </a:cxn>
                <a:cxn ang="0">
                  <a:pos x="227" y="68"/>
                </a:cxn>
                <a:cxn ang="0">
                  <a:pos x="373" y="76"/>
                </a:cxn>
                <a:cxn ang="0">
                  <a:pos x="459" y="78"/>
                </a:cxn>
                <a:cxn ang="0">
                  <a:pos x="481" y="42"/>
                </a:cxn>
              </a:cxnLst>
              <a:rect l="0" t="0" r="r" b="b"/>
              <a:pathLst>
                <a:path w="1032" h="677">
                  <a:moveTo>
                    <a:pt x="537" y="20"/>
                  </a:moveTo>
                  <a:lnTo>
                    <a:pt x="563" y="16"/>
                  </a:lnTo>
                  <a:lnTo>
                    <a:pt x="597" y="6"/>
                  </a:lnTo>
                  <a:lnTo>
                    <a:pt x="631" y="0"/>
                  </a:lnTo>
                  <a:lnTo>
                    <a:pt x="665" y="6"/>
                  </a:lnTo>
                  <a:lnTo>
                    <a:pt x="682" y="36"/>
                  </a:lnTo>
                  <a:lnTo>
                    <a:pt x="706" y="62"/>
                  </a:lnTo>
                  <a:lnTo>
                    <a:pt x="752" y="86"/>
                  </a:lnTo>
                  <a:lnTo>
                    <a:pt x="782" y="112"/>
                  </a:lnTo>
                  <a:lnTo>
                    <a:pt x="808" y="140"/>
                  </a:lnTo>
                  <a:lnTo>
                    <a:pt x="872" y="140"/>
                  </a:lnTo>
                  <a:lnTo>
                    <a:pt x="892" y="154"/>
                  </a:lnTo>
                  <a:lnTo>
                    <a:pt x="928" y="168"/>
                  </a:lnTo>
                  <a:lnTo>
                    <a:pt x="968" y="170"/>
                  </a:lnTo>
                  <a:lnTo>
                    <a:pt x="1012" y="182"/>
                  </a:lnTo>
                  <a:lnTo>
                    <a:pt x="1032" y="234"/>
                  </a:lnTo>
                  <a:lnTo>
                    <a:pt x="1022" y="293"/>
                  </a:lnTo>
                  <a:lnTo>
                    <a:pt x="1000" y="321"/>
                  </a:lnTo>
                  <a:lnTo>
                    <a:pt x="964" y="333"/>
                  </a:lnTo>
                  <a:lnTo>
                    <a:pt x="952" y="349"/>
                  </a:lnTo>
                  <a:lnTo>
                    <a:pt x="948" y="367"/>
                  </a:lnTo>
                  <a:lnTo>
                    <a:pt x="866" y="391"/>
                  </a:lnTo>
                  <a:lnTo>
                    <a:pt x="820" y="423"/>
                  </a:lnTo>
                  <a:lnTo>
                    <a:pt x="750" y="451"/>
                  </a:lnTo>
                  <a:lnTo>
                    <a:pt x="730" y="473"/>
                  </a:lnTo>
                  <a:lnTo>
                    <a:pt x="676" y="481"/>
                  </a:lnTo>
                  <a:lnTo>
                    <a:pt x="696" y="503"/>
                  </a:lnTo>
                  <a:lnTo>
                    <a:pt x="722" y="503"/>
                  </a:lnTo>
                  <a:lnTo>
                    <a:pt x="762" y="541"/>
                  </a:lnTo>
                  <a:lnTo>
                    <a:pt x="766" y="567"/>
                  </a:lnTo>
                  <a:lnTo>
                    <a:pt x="788" y="571"/>
                  </a:lnTo>
                  <a:lnTo>
                    <a:pt x="800" y="571"/>
                  </a:lnTo>
                  <a:lnTo>
                    <a:pt x="810" y="559"/>
                  </a:lnTo>
                  <a:lnTo>
                    <a:pt x="824" y="571"/>
                  </a:lnTo>
                  <a:lnTo>
                    <a:pt x="838" y="559"/>
                  </a:lnTo>
                  <a:lnTo>
                    <a:pt x="856" y="561"/>
                  </a:lnTo>
                  <a:lnTo>
                    <a:pt x="840" y="593"/>
                  </a:lnTo>
                  <a:lnTo>
                    <a:pt x="820" y="605"/>
                  </a:lnTo>
                  <a:lnTo>
                    <a:pt x="796" y="595"/>
                  </a:lnTo>
                  <a:lnTo>
                    <a:pt x="784" y="589"/>
                  </a:lnTo>
                  <a:lnTo>
                    <a:pt x="778" y="609"/>
                  </a:lnTo>
                  <a:lnTo>
                    <a:pt x="738" y="637"/>
                  </a:lnTo>
                  <a:lnTo>
                    <a:pt x="726" y="655"/>
                  </a:lnTo>
                  <a:lnTo>
                    <a:pt x="714" y="677"/>
                  </a:lnTo>
                  <a:lnTo>
                    <a:pt x="684" y="669"/>
                  </a:lnTo>
                  <a:lnTo>
                    <a:pt x="684" y="657"/>
                  </a:lnTo>
                  <a:lnTo>
                    <a:pt x="690" y="637"/>
                  </a:lnTo>
                  <a:lnTo>
                    <a:pt x="678" y="601"/>
                  </a:lnTo>
                  <a:lnTo>
                    <a:pt x="661" y="599"/>
                  </a:lnTo>
                  <a:lnTo>
                    <a:pt x="645" y="599"/>
                  </a:lnTo>
                  <a:lnTo>
                    <a:pt x="617" y="591"/>
                  </a:lnTo>
                  <a:lnTo>
                    <a:pt x="623" y="571"/>
                  </a:lnTo>
                  <a:lnTo>
                    <a:pt x="637" y="551"/>
                  </a:lnTo>
                  <a:lnTo>
                    <a:pt x="641" y="531"/>
                  </a:lnTo>
                  <a:lnTo>
                    <a:pt x="667" y="513"/>
                  </a:lnTo>
                  <a:lnTo>
                    <a:pt x="661" y="495"/>
                  </a:lnTo>
                  <a:lnTo>
                    <a:pt x="631" y="503"/>
                  </a:lnTo>
                  <a:lnTo>
                    <a:pt x="613" y="511"/>
                  </a:lnTo>
                  <a:lnTo>
                    <a:pt x="593" y="507"/>
                  </a:lnTo>
                  <a:lnTo>
                    <a:pt x="593" y="515"/>
                  </a:lnTo>
                  <a:lnTo>
                    <a:pt x="567" y="501"/>
                  </a:lnTo>
                  <a:lnTo>
                    <a:pt x="569" y="493"/>
                  </a:lnTo>
                  <a:lnTo>
                    <a:pt x="591" y="485"/>
                  </a:lnTo>
                  <a:lnTo>
                    <a:pt x="579" y="469"/>
                  </a:lnTo>
                  <a:lnTo>
                    <a:pt x="559" y="473"/>
                  </a:lnTo>
                  <a:lnTo>
                    <a:pt x="545" y="487"/>
                  </a:lnTo>
                  <a:lnTo>
                    <a:pt x="533" y="493"/>
                  </a:lnTo>
                  <a:lnTo>
                    <a:pt x="531" y="511"/>
                  </a:lnTo>
                  <a:lnTo>
                    <a:pt x="517" y="513"/>
                  </a:lnTo>
                  <a:lnTo>
                    <a:pt x="531" y="527"/>
                  </a:lnTo>
                  <a:lnTo>
                    <a:pt x="531" y="541"/>
                  </a:lnTo>
                  <a:lnTo>
                    <a:pt x="515" y="559"/>
                  </a:lnTo>
                  <a:lnTo>
                    <a:pt x="495" y="551"/>
                  </a:lnTo>
                  <a:lnTo>
                    <a:pt x="509" y="571"/>
                  </a:lnTo>
                  <a:lnTo>
                    <a:pt x="501" y="575"/>
                  </a:lnTo>
                  <a:lnTo>
                    <a:pt x="475" y="551"/>
                  </a:lnTo>
                  <a:lnTo>
                    <a:pt x="483" y="583"/>
                  </a:lnTo>
                  <a:lnTo>
                    <a:pt x="501" y="595"/>
                  </a:lnTo>
                  <a:lnTo>
                    <a:pt x="483" y="613"/>
                  </a:lnTo>
                  <a:lnTo>
                    <a:pt x="475" y="603"/>
                  </a:lnTo>
                  <a:lnTo>
                    <a:pt x="455" y="601"/>
                  </a:lnTo>
                  <a:lnTo>
                    <a:pt x="443" y="607"/>
                  </a:lnTo>
                  <a:lnTo>
                    <a:pt x="401" y="609"/>
                  </a:lnTo>
                  <a:lnTo>
                    <a:pt x="403" y="591"/>
                  </a:lnTo>
                  <a:lnTo>
                    <a:pt x="431" y="563"/>
                  </a:lnTo>
                  <a:lnTo>
                    <a:pt x="433" y="537"/>
                  </a:lnTo>
                  <a:lnTo>
                    <a:pt x="435" y="517"/>
                  </a:lnTo>
                  <a:lnTo>
                    <a:pt x="459" y="513"/>
                  </a:lnTo>
                  <a:lnTo>
                    <a:pt x="495" y="515"/>
                  </a:lnTo>
                  <a:lnTo>
                    <a:pt x="503" y="507"/>
                  </a:lnTo>
                  <a:lnTo>
                    <a:pt x="479" y="499"/>
                  </a:lnTo>
                  <a:lnTo>
                    <a:pt x="471" y="485"/>
                  </a:lnTo>
                  <a:lnTo>
                    <a:pt x="443" y="469"/>
                  </a:lnTo>
                  <a:lnTo>
                    <a:pt x="433" y="441"/>
                  </a:lnTo>
                  <a:lnTo>
                    <a:pt x="439" y="427"/>
                  </a:lnTo>
                  <a:lnTo>
                    <a:pt x="423" y="399"/>
                  </a:lnTo>
                  <a:lnTo>
                    <a:pt x="385" y="393"/>
                  </a:lnTo>
                  <a:lnTo>
                    <a:pt x="345" y="361"/>
                  </a:lnTo>
                  <a:lnTo>
                    <a:pt x="309" y="359"/>
                  </a:lnTo>
                  <a:lnTo>
                    <a:pt x="283" y="367"/>
                  </a:lnTo>
                  <a:lnTo>
                    <a:pt x="273" y="381"/>
                  </a:lnTo>
                  <a:lnTo>
                    <a:pt x="261" y="389"/>
                  </a:lnTo>
                  <a:lnTo>
                    <a:pt x="231" y="391"/>
                  </a:lnTo>
                  <a:lnTo>
                    <a:pt x="215" y="405"/>
                  </a:lnTo>
                  <a:lnTo>
                    <a:pt x="187" y="405"/>
                  </a:lnTo>
                  <a:lnTo>
                    <a:pt x="177" y="393"/>
                  </a:lnTo>
                  <a:lnTo>
                    <a:pt x="165" y="389"/>
                  </a:lnTo>
                  <a:lnTo>
                    <a:pt x="136" y="399"/>
                  </a:lnTo>
                  <a:lnTo>
                    <a:pt x="116" y="401"/>
                  </a:lnTo>
                  <a:lnTo>
                    <a:pt x="102" y="389"/>
                  </a:lnTo>
                  <a:lnTo>
                    <a:pt x="80" y="393"/>
                  </a:lnTo>
                  <a:lnTo>
                    <a:pt x="60" y="405"/>
                  </a:lnTo>
                  <a:lnTo>
                    <a:pt x="50" y="401"/>
                  </a:lnTo>
                  <a:lnTo>
                    <a:pt x="24" y="401"/>
                  </a:lnTo>
                  <a:lnTo>
                    <a:pt x="0" y="361"/>
                  </a:lnTo>
                  <a:lnTo>
                    <a:pt x="4" y="343"/>
                  </a:lnTo>
                  <a:lnTo>
                    <a:pt x="50" y="301"/>
                  </a:lnTo>
                  <a:lnTo>
                    <a:pt x="36" y="252"/>
                  </a:lnTo>
                  <a:lnTo>
                    <a:pt x="90" y="208"/>
                  </a:lnTo>
                  <a:lnTo>
                    <a:pt x="106" y="182"/>
                  </a:lnTo>
                  <a:lnTo>
                    <a:pt x="104" y="156"/>
                  </a:lnTo>
                  <a:lnTo>
                    <a:pt x="92" y="124"/>
                  </a:lnTo>
                  <a:lnTo>
                    <a:pt x="78" y="96"/>
                  </a:lnTo>
                  <a:lnTo>
                    <a:pt x="60" y="82"/>
                  </a:lnTo>
                  <a:lnTo>
                    <a:pt x="90" y="84"/>
                  </a:lnTo>
                  <a:lnTo>
                    <a:pt x="102" y="70"/>
                  </a:lnTo>
                  <a:lnTo>
                    <a:pt x="158" y="68"/>
                  </a:lnTo>
                  <a:lnTo>
                    <a:pt x="213" y="68"/>
                  </a:lnTo>
                  <a:lnTo>
                    <a:pt x="227" y="68"/>
                  </a:lnTo>
                  <a:lnTo>
                    <a:pt x="299" y="84"/>
                  </a:lnTo>
                  <a:lnTo>
                    <a:pt x="351" y="84"/>
                  </a:lnTo>
                  <a:lnTo>
                    <a:pt x="373" y="76"/>
                  </a:lnTo>
                  <a:lnTo>
                    <a:pt x="393" y="76"/>
                  </a:lnTo>
                  <a:lnTo>
                    <a:pt x="415" y="84"/>
                  </a:lnTo>
                  <a:lnTo>
                    <a:pt x="459" y="78"/>
                  </a:lnTo>
                  <a:lnTo>
                    <a:pt x="467" y="92"/>
                  </a:lnTo>
                  <a:lnTo>
                    <a:pt x="483" y="74"/>
                  </a:lnTo>
                  <a:lnTo>
                    <a:pt x="481" y="42"/>
                  </a:lnTo>
                  <a:lnTo>
                    <a:pt x="517" y="22"/>
                  </a:lnTo>
                  <a:lnTo>
                    <a:pt x="537" y="20"/>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46" name="Freeform 93"/>
            <p:cNvSpPr>
              <a:spLocks/>
            </p:cNvSpPr>
            <p:nvPr>
              <p:custDataLst>
                <p:tags r:id="rId36"/>
              </p:custDataLst>
            </p:nvPr>
          </p:nvSpPr>
          <p:spPr bwMode="auto">
            <a:xfrm>
              <a:off x="5121084" y="4904746"/>
              <a:ext cx="858880" cy="224707"/>
            </a:xfrm>
            <a:custGeom>
              <a:avLst/>
              <a:gdLst/>
              <a:ahLst/>
              <a:cxnLst>
                <a:cxn ang="0">
                  <a:pos x="0" y="30"/>
                </a:cxn>
                <a:cxn ang="0">
                  <a:pos x="58" y="42"/>
                </a:cxn>
                <a:cxn ang="0">
                  <a:pos x="105" y="54"/>
                </a:cxn>
                <a:cxn ang="0">
                  <a:pos x="149" y="64"/>
                </a:cxn>
                <a:cxn ang="0">
                  <a:pos x="175" y="94"/>
                </a:cxn>
                <a:cxn ang="0">
                  <a:pos x="181" y="122"/>
                </a:cxn>
                <a:cxn ang="0">
                  <a:pos x="185" y="148"/>
                </a:cxn>
                <a:cxn ang="0">
                  <a:pos x="238" y="150"/>
                </a:cxn>
                <a:cxn ang="0">
                  <a:pos x="260" y="124"/>
                </a:cxn>
                <a:cxn ang="0">
                  <a:pos x="276" y="128"/>
                </a:cxn>
                <a:cxn ang="0">
                  <a:pos x="288" y="144"/>
                </a:cxn>
                <a:cxn ang="0">
                  <a:pos x="326" y="150"/>
                </a:cxn>
                <a:cxn ang="0">
                  <a:pos x="350" y="158"/>
                </a:cxn>
                <a:cxn ang="0">
                  <a:pos x="392" y="138"/>
                </a:cxn>
                <a:cxn ang="0">
                  <a:pos x="432" y="136"/>
                </a:cxn>
                <a:cxn ang="0">
                  <a:pos x="466" y="112"/>
                </a:cxn>
                <a:cxn ang="0">
                  <a:pos x="492" y="102"/>
                </a:cxn>
                <a:cxn ang="0">
                  <a:pos x="524" y="118"/>
                </a:cxn>
                <a:cxn ang="0">
                  <a:pos x="576" y="122"/>
                </a:cxn>
                <a:cxn ang="0">
                  <a:pos x="601" y="114"/>
                </a:cxn>
                <a:cxn ang="0">
                  <a:pos x="585" y="96"/>
                </a:cxn>
                <a:cxn ang="0">
                  <a:pos x="542" y="84"/>
                </a:cxn>
                <a:cxn ang="0">
                  <a:pos x="526" y="52"/>
                </a:cxn>
                <a:cxn ang="0">
                  <a:pos x="502" y="42"/>
                </a:cxn>
                <a:cxn ang="0">
                  <a:pos x="442" y="34"/>
                </a:cxn>
                <a:cxn ang="0">
                  <a:pos x="408" y="8"/>
                </a:cxn>
                <a:cxn ang="0">
                  <a:pos x="380" y="0"/>
                </a:cxn>
                <a:cxn ang="0">
                  <a:pos x="330" y="2"/>
                </a:cxn>
                <a:cxn ang="0">
                  <a:pos x="294" y="24"/>
                </a:cxn>
                <a:cxn ang="0">
                  <a:pos x="256" y="28"/>
                </a:cxn>
                <a:cxn ang="0">
                  <a:pos x="208" y="10"/>
                </a:cxn>
                <a:cxn ang="0">
                  <a:pos x="155" y="2"/>
                </a:cxn>
                <a:cxn ang="0">
                  <a:pos x="91" y="10"/>
                </a:cxn>
                <a:cxn ang="0">
                  <a:pos x="44" y="12"/>
                </a:cxn>
                <a:cxn ang="0">
                  <a:pos x="12" y="18"/>
                </a:cxn>
                <a:cxn ang="0">
                  <a:pos x="0" y="30"/>
                </a:cxn>
              </a:cxnLst>
              <a:rect l="0" t="0" r="r" b="b"/>
              <a:pathLst>
                <a:path w="601" h="158">
                  <a:moveTo>
                    <a:pt x="0" y="30"/>
                  </a:moveTo>
                  <a:lnTo>
                    <a:pt x="58" y="42"/>
                  </a:lnTo>
                  <a:lnTo>
                    <a:pt x="105" y="54"/>
                  </a:lnTo>
                  <a:lnTo>
                    <a:pt x="149" y="64"/>
                  </a:lnTo>
                  <a:lnTo>
                    <a:pt x="175" y="94"/>
                  </a:lnTo>
                  <a:lnTo>
                    <a:pt x="181" y="122"/>
                  </a:lnTo>
                  <a:lnTo>
                    <a:pt x="185" y="148"/>
                  </a:lnTo>
                  <a:lnTo>
                    <a:pt x="238" y="150"/>
                  </a:lnTo>
                  <a:lnTo>
                    <a:pt x="260" y="124"/>
                  </a:lnTo>
                  <a:lnTo>
                    <a:pt x="276" y="128"/>
                  </a:lnTo>
                  <a:lnTo>
                    <a:pt x="288" y="144"/>
                  </a:lnTo>
                  <a:lnTo>
                    <a:pt x="326" y="150"/>
                  </a:lnTo>
                  <a:lnTo>
                    <a:pt x="350" y="158"/>
                  </a:lnTo>
                  <a:lnTo>
                    <a:pt x="392" y="138"/>
                  </a:lnTo>
                  <a:lnTo>
                    <a:pt x="432" y="136"/>
                  </a:lnTo>
                  <a:lnTo>
                    <a:pt x="466" y="112"/>
                  </a:lnTo>
                  <a:lnTo>
                    <a:pt x="492" y="102"/>
                  </a:lnTo>
                  <a:lnTo>
                    <a:pt x="524" y="118"/>
                  </a:lnTo>
                  <a:lnTo>
                    <a:pt x="576" y="122"/>
                  </a:lnTo>
                  <a:lnTo>
                    <a:pt x="601" y="114"/>
                  </a:lnTo>
                  <a:lnTo>
                    <a:pt x="585" y="96"/>
                  </a:lnTo>
                  <a:lnTo>
                    <a:pt x="542" y="84"/>
                  </a:lnTo>
                  <a:lnTo>
                    <a:pt x="526" y="52"/>
                  </a:lnTo>
                  <a:lnTo>
                    <a:pt x="502" y="42"/>
                  </a:lnTo>
                  <a:lnTo>
                    <a:pt x="442" y="34"/>
                  </a:lnTo>
                  <a:lnTo>
                    <a:pt x="408" y="8"/>
                  </a:lnTo>
                  <a:lnTo>
                    <a:pt x="380" y="0"/>
                  </a:lnTo>
                  <a:lnTo>
                    <a:pt x="330" y="2"/>
                  </a:lnTo>
                  <a:lnTo>
                    <a:pt x="294" y="24"/>
                  </a:lnTo>
                  <a:lnTo>
                    <a:pt x="256" y="28"/>
                  </a:lnTo>
                  <a:lnTo>
                    <a:pt x="208" y="10"/>
                  </a:lnTo>
                  <a:lnTo>
                    <a:pt x="155" y="2"/>
                  </a:lnTo>
                  <a:lnTo>
                    <a:pt x="91" y="10"/>
                  </a:lnTo>
                  <a:lnTo>
                    <a:pt x="44" y="12"/>
                  </a:lnTo>
                  <a:lnTo>
                    <a:pt x="12" y="18"/>
                  </a:lnTo>
                  <a:lnTo>
                    <a:pt x="0" y="30"/>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47" name="Freeform 94"/>
            <p:cNvSpPr>
              <a:spLocks/>
            </p:cNvSpPr>
            <p:nvPr>
              <p:custDataLst>
                <p:tags r:id="rId37"/>
              </p:custDataLst>
            </p:nvPr>
          </p:nvSpPr>
          <p:spPr bwMode="auto">
            <a:xfrm>
              <a:off x="5583814" y="5086176"/>
              <a:ext cx="364525" cy="219713"/>
            </a:xfrm>
            <a:custGeom>
              <a:avLst/>
              <a:gdLst/>
              <a:ahLst/>
              <a:cxnLst>
                <a:cxn ang="0">
                  <a:pos x="0" y="26"/>
                </a:cxn>
                <a:cxn ang="0">
                  <a:pos x="24" y="84"/>
                </a:cxn>
                <a:cxn ang="0">
                  <a:pos x="108" y="84"/>
                </a:cxn>
                <a:cxn ang="0">
                  <a:pos x="138" y="125"/>
                </a:cxn>
                <a:cxn ang="0">
                  <a:pos x="148" y="129"/>
                </a:cxn>
                <a:cxn ang="0">
                  <a:pos x="174" y="117"/>
                </a:cxn>
                <a:cxn ang="0">
                  <a:pos x="196" y="121"/>
                </a:cxn>
                <a:cxn ang="0">
                  <a:pos x="220" y="129"/>
                </a:cxn>
                <a:cxn ang="0">
                  <a:pos x="234" y="155"/>
                </a:cxn>
                <a:cxn ang="0">
                  <a:pos x="255" y="149"/>
                </a:cxn>
                <a:cxn ang="0">
                  <a:pos x="250" y="123"/>
                </a:cxn>
                <a:cxn ang="0">
                  <a:pos x="242" y="88"/>
                </a:cxn>
                <a:cxn ang="0">
                  <a:pos x="196" y="74"/>
                </a:cxn>
                <a:cxn ang="0">
                  <a:pos x="180" y="66"/>
                </a:cxn>
                <a:cxn ang="0">
                  <a:pos x="192" y="52"/>
                </a:cxn>
                <a:cxn ang="0">
                  <a:pos x="182" y="34"/>
                </a:cxn>
                <a:cxn ang="0">
                  <a:pos x="160" y="34"/>
                </a:cxn>
                <a:cxn ang="0">
                  <a:pos x="160" y="16"/>
                </a:cxn>
                <a:cxn ang="0">
                  <a:pos x="148" y="6"/>
                </a:cxn>
                <a:cxn ang="0">
                  <a:pos x="124" y="0"/>
                </a:cxn>
                <a:cxn ang="0">
                  <a:pos x="104" y="12"/>
                </a:cxn>
                <a:cxn ang="0">
                  <a:pos x="70" y="12"/>
                </a:cxn>
                <a:cxn ang="0">
                  <a:pos x="22" y="34"/>
                </a:cxn>
                <a:cxn ang="0">
                  <a:pos x="0" y="26"/>
                </a:cxn>
              </a:cxnLst>
              <a:rect l="0" t="0" r="r" b="b"/>
              <a:pathLst>
                <a:path w="255" h="155">
                  <a:moveTo>
                    <a:pt x="0" y="26"/>
                  </a:moveTo>
                  <a:lnTo>
                    <a:pt x="24" y="84"/>
                  </a:lnTo>
                  <a:lnTo>
                    <a:pt x="108" y="84"/>
                  </a:lnTo>
                  <a:lnTo>
                    <a:pt x="138" y="125"/>
                  </a:lnTo>
                  <a:lnTo>
                    <a:pt x="148" y="129"/>
                  </a:lnTo>
                  <a:lnTo>
                    <a:pt x="174" y="117"/>
                  </a:lnTo>
                  <a:lnTo>
                    <a:pt x="196" y="121"/>
                  </a:lnTo>
                  <a:lnTo>
                    <a:pt x="220" y="129"/>
                  </a:lnTo>
                  <a:lnTo>
                    <a:pt x="234" y="155"/>
                  </a:lnTo>
                  <a:lnTo>
                    <a:pt x="255" y="149"/>
                  </a:lnTo>
                  <a:lnTo>
                    <a:pt x="250" y="123"/>
                  </a:lnTo>
                  <a:lnTo>
                    <a:pt x="242" y="88"/>
                  </a:lnTo>
                  <a:lnTo>
                    <a:pt x="196" y="74"/>
                  </a:lnTo>
                  <a:lnTo>
                    <a:pt x="180" y="66"/>
                  </a:lnTo>
                  <a:lnTo>
                    <a:pt x="192" y="52"/>
                  </a:lnTo>
                  <a:lnTo>
                    <a:pt x="182" y="34"/>
                  </a:lnTo>
                  <a:lnTo>
                    <a:pt x="160" y="34"/>
                  </a:lnTo>
                  <a:lnTo>
                    <a:pt x="160" y="16"/>
                  </a:lnTo>
                  <a:lnTo>
                    <a:pt x="148" y="6"/>
                  </a:lnTo>
                  <a:lnTo>
                    <a:pt x="124" y="0"/>
                  </a:lnTo>
                  <a:lnTo>
                    <a:pt x="104" y="12"/>
                  </a:lnTo>
                  <a:lnTo>
                    <a:pt x="70" y="12"/>
                  </a:lnTo>
                  <a:lnTo>
                    <a:pt x="22" y="34"/>
                  </a:lnTo>
                  <a:lnTo>
                    <a:pt x="0" y="26"/>
                  </a:lnTo>
                  <a:close/>
                </a:path>
              </a:pathLst>
            </a:custGeom>
            <a:solidFill>
              <a:schemeClr val="accent6"/>
            </a:solid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nvGrpSpPr>
            <p:cNvPr id="48" name="Group 95"/>
            <p:cNvGrpSpPr>
              <a:grpSpLocks/>
            </p:cNvGrpSpPr>
            <p:nvPr/>
          </p:nvGrpSpPr>
          <p:grpSpPr bwMode="auto">
            <a:xfrm>
              <a:off x="5760251" y="4981312"/>
              <a:ext cx="489362" cy="389492"/>
              <a:chOff x="4295" y="2856"/>
              <a:chExt cx="341" cy="271"/>
            </a:xfrm>
            <a:solidFill>
              <a:schemeClr val="accent6"/>
            </a:solidFill>
          </p:grpSpPr>
          <p:sp>
            <p:nvSpPr>
              <p:cNvPr id="49" name="Freeform 96"/>
              <p:cNvSpPr>
                <a:spLocks/>
              </p:cNvSpPr>
              <p:nvPr>
                <p:custDataLst>
                  <p:tags r:id="rId38"/>
                </p:custDataLst>
              </p:nvPr>
            </p:nvSpPr>
            <p:spPr bwMode="auto">
              <a:xfrm>
                <a:off x="4319" y="3045"/>
                <a:ext cx="88" cy="46"/>
              </a:xfrm>
              <a:custGeom>
                <a:avLst/>
                <a:gdLst/>
                <a:ahLst/>
                <a:cxnLst>
                  <a:cxn ang="0">
                    <a:pos x="0" y="12"/>
                  </a:cxn>
                  <a:cxn ang="0">
                    <a:pos x="26" y="0"/>
                  </a:cxn>
                  <a:cxn ang="0">
                    <a:pos x="52" y="4"/>
                  </a:cxn>
                  <a:cxn ang="0">
                    <a:pos x="76" y="12"/>
                  </a:cxn>
                  <a:cxn ang="0">
                    <a:pos x="88" y="38"/>
                  </a:cxn>
                  <a:cxn ang="0">
                    <a:pos x="68" y="46"/>
                  </a:cxn>
                  <a:cxn ang="0">
                    <a:pos x="34" y="22"/>
                  </a:cxn>
                  <a:cxn ang="0">
                    <a:pos x="10" y="24"/>
                  </a:cxn>
                  <a:cxn ang="0">
                    <a:pos x="0" y="12"/>
                  </a:cxn>
                </a:cxnLst>
                <a:rect l="0" t="0" r="r" b="b"/>
                <a:pathLst>
                  <a:path w="88" h="46">
                    <a:moveTo>
                      <a:pt x="0" y="12"/>
                    </a:moveTo>
                    <a:lnTo>
                      <a:pt x="26" y="0"/>
                    </a:lnTo>
                    <a:lnTo>
                      <a:pt x="52" y="4"/>
                    </a:lnTo>
                    <a:lnTo>
                      <a:pt x="76" y="12"/>
                    </a:lnTo>
                    <a:lnTo>
                      <a:pt x="88" y="38"/>
                    </a:lnTo>
                    <a:lnTo>
                      <a:pt x="68" y="46"/>
                    </a:lnTo>
                    <a:lnTo>
                      <a:pt x="34" y="22"/>
                    </a:lnTo>
                    <a:lnTo>
                      <a:pt x="10" y="24"/>
                    </a:lnTo>
                    <a:lnTo>
                      <a:pt x="0" y="12"/>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50" name="Freeform 97"/>
              <p:cNvSpPr>
                <a:spLocks/>
              </p:cNvSpPr>
              <p:nvPr>
                <p:custDataLst>
                  <p:tags r:id="rId39"/>
                </p:custDataLst>
              </p:nvPr>
            </p:nvSpPr>
            <p:spPr bwMode="auto">
              <a:xfrm>
                <a:off x="4295" y="2856"/>
                <a:ext cx="341" cy="271"/>
              </a:xfrm>
              <a:custGeom>
                <a:avLst/>
                <a:gdLst/>
                <a:ahLst/>
                <a:cxnLst>
                  <a:cxn ang="0">
                    <a:pos x="80" y="0"/>
                  </a:cxn>
                  <a:cxn ang="0">
                    <a:pos x="122" y="8"/>
                  </a:cxn>
                  <a:cxn ang="0">
                    <a:pos x="161" y="18"/>
                  </a:cxn>
                  <a:cxn ang="0">
                    <a:pos x="185" y="36"/>
                  </a:cxn>
                  <a:cxn ang="0">
                    <a:pos x="205" y="30"/>
                  </a:cxn>
                  <a:cxn ang="0">
                    <a:pos x="207" y="4"/>
                  </a:cxn>
                  <a:cxn ang="0">
                    <a:pos x="259" y="52"/>
                  </a:cxn>
                  <a:cxn ang="0">
                    <a:pos x="293" y="48"/>
                  </a:cxn>
                  <a:cxn ang="0">
                    <a:pos x="341" y="60"/>
                  </a:cxn>
                  <a:cxn ang="0">
                    <a:pos x="309" y="84"/>
                  </a:cxn>
                  <a:cxn ang="0">
                    <a:pos x="297" y="98"/>
                  </a:cxn>
                  <a:cxn ang="0">
                    <a:pos x="281" y="136"/>
                  </a:cxn>
                  <a:cxn ang="0">
                    <a:pos x="293" y="217"/>
                  </a:cxn>
                  <a:cxn ang="0">
                    <a:pos x="273" y="189"/>
                  </a:cxn>
                  <a:cxn ang="0">
                    <a:pos x="259" y="201"/>
                  </a:cxn>
                  <a:cxn ang="0">
                    <a:pos x="261" y="271"/>
                  </a:cxn>
                  <a:cxn ang="0">
                    <a:pos x="201" y="231"/>
                  </a:cxn>
                  <a:cxn ang="0">
                    <a:pos x="213" y="193"/>
                  </a:cxn>
                  <a:cxn ang="0">
                    <a:pos x="197" y="175"/>
                  </a:cxn>
                  <a:cxn ang="0">
                    <a:pos x="163" y="173"/>
                  </a:cxn>
                  <a:cxn ang="0">
                    <a:pos x="135" y="219"/>
                  </a:cxn>
                  <a:cxn ang="0">
                    <a:pos x="135" y="213"/>
                  </a:cxn>
                  <a:cxn ang="0">
                    <a:pos x="118" y="160"/>
                  </a:cxn>
                  <a:cxn ang="0">
                    <a:pos x="70" y="146"/>
                  </a:cxn>
                  <a:cxn ang="0">
                    <a:pos x="54" y="138"/>
                  </a:cxn>
                  <a:cxn ang="0">
                    <a:pos x="68" y="128"/>
                  </a:cxn>
                  <a:cxn ang="0">
                    <a:pos x="58" y="106"/>
                  </a:cxn>
                  <a:cxn ang="0">
                    <a:pos x="34" y="106"/>
                  </a:cxn>
                  <a:cxn ang="0">
                    <a:pos x="34" y="88"/>
                  </a:cxn>
                  <a:cxn ang="0">
                    <a:pos x="20" y="76"/>
                  </a:cxn>
                  <a:cxn ang="0">
                    <a:pos x="0" y="74"/>
                  </a:cxn>
                  <a:cxn ang="0">
                    <a:pos x="18" y="60"/>
                  </a:cxn>
                  <a:cxn ang="0">
                    <a:pos x="44" y="50"/>
                  </a:cxn>
                  <a:cxn ang="0">
                    <a:pos x="74" y="64"/>
                  </a:cxn>
                  <a:cxn ang="0">
                    <a:pos x="104" y="68"/>
                  </a:cxn>
                  <a:cxn ang="0">
                    <a:pos x="128" y="70"/>
                  </a:cxn>
                  <a:cxn ang="0">
                    <a:pos x="151" y="58"/>
                  </a:cxn>
                  <a:cxn ang="0">
                    <a:pos x="131" y="40"/>
                  </a:cxn>
                  <a:cxn ang="0">
                    <a:pos x="94" y="30"/>
                  </a:cxn>
                  <a:cxn ang="0">
                    <a:pos x="80" y="0"/>
                  </a:cxn>
                </a:cxnLst>
                <a:rect l="0" t="0" r="r" b="b"/>
                <a:pathLst>
                  <a:path w="341" h="271">
                    <a:moveTo>
                      <a:pt x="80" y="0"/>
                    </a:moveTo>
                    <a:lnTo>
                      <a:pt x="122" y="8"/>
                    </a:lnTo>
                    <a:lnTo>
                      <a:pt x="161" y="18"/>
                    </a:lnTo>
                    <a:lnTo>
                      <a:pt x="185" y="36"/>
                    </a:lnTo>
                    <a:lnTo>
                      <a:pt x="205" y="30"/>
                    </a:lnTo>
                    <a:lnTo>
                      <a:pt x="207" y="4"/>
                    </a:lnTo>
                    <a:lnTo>
                      <a:pt x="259" y="52"/>
                    </a:lnTo>
                    <a:lnTo>
                      <a:pt x="293" y="48"/>
                    </a:lnTo>
                    <a:lnTo>
                      <a:pt x="341" y="60"/>
                    </a:lnTo>
                    <a:lnTo>
                      <a:pt x="309" y="84"/>
                    </a:lnTo>
                    <a:lnTo>
                      <a:pt x="297" y="98"/>
                    </a:lnTo>
                    <a:lnTo>
                      <a:pt x="281" y="136"/>
                    </a:lnTo>
                    <a:lnTo>
                      <a:pt x="293" y="217"/>
                    </a:lnTo>
                    <a:lnTo>
                      <a:pt x="273" y="189"/>
                    </a:lnTo>
                    <a:lnTo>
                      <a:pt x="259" y="201"/>
                    </a:lnTo>
                    <a:lnTo>
                      <a:pt x="261" y="271"/>
                    </a:lnTo>
                    <a:lnTo>
                      <a:pt x="201" y="231"/>
                    </a:lnTo>
                    <a:lnTo>
                      <a:pt x="213" y="193"/>
                    </a:lnTo>
                    <a:lnTo>
                      <a:pt x="197" y="175"/>
                    </a:lnTo>
                    <a:lnTo>
                      <a:pt x="163" y="173"/>
                    </a:lnTo>
                    <a:lnTo>
                      <a:pt x="135" y="219"/>
                    </a:lnTo>
                    <a:lnTo>
                      <a:pt x="135" y="213"/>
                    </a:lnTo>
                    <a:lnTo>
                      <a:pt x="118" y="160"/>
                    </a:lnTo>
                    <a:lnTo>
                      <a:pt x="70" y="146"/>
                    </a:lnTo>
                    <a:lnTo>
                      <a:pt x="54" y="138"/>
                    </a:lnTo>
                    <a:lnTo>
                      <a:pt x="68" y="128"/>
                    </a:lnTo>
                    <a:lnTo>
                      <a:pt x="58" y="106"/>
                    </a:lnTo>
                    <a:lnTo>
                      <a:pt x="34" y="106"/>
                    </a:lnTo>
                    <a:lnTo>
                      <a:pt x="34" y="88"/>
                    </a:lnTo>
                    <a:lnTo>
                      <a:pt x="20" y="76"/>
                    </a:lnTo>
                    <a:lnTo>
                      <a:pt x="0" y="74"/>
                    </a:lnTo>
                    <a:lnTo>
                      <a:pt x="18" y="60"/>
                    </a:lnTo>
                    <a:lnTo>
                      <a:pt x="44" y="50"/>
                    </a:lnTo>
                    <a:lnTo>
                      <a:pt x="74" y="64"/>
                    </a:lnTo>
                    <a:lnTo>
                      <a:pt x="104" y="68"/>
                    </a:lnTo>
                    <a:lnTo>
                      <a:pt x="128" y="70"/>
                    </a:lnTo>
                    <a:lnTo>
                      <a:pt x="151" y="58"/>
                    </a:lnTo>
                    <a:lnTo>
                      <a:pt x="131" y="40"/>
                    </a:lnTo>
                    <a:lnTo>
                      <a:pt x="94" y="30"/>
                    </a:lnTo>
                    <a:lnTo>
                      <a:pt x="80" y="0"/>
                    </a:lnTo>
                    <a:close/>
                  </a:path>
                </a:pathLst>
              </a:custGeom>
              <a:grpFill/>
              <a:ln w="9525">
                <a:solidFill>
                  <a:srgbClr val="FFFFFF"/>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grpSp>
      <p:grpSp>
        <p:nvGrpSpPr>
          <p:cNvPr id="99" name="Group 98"/>
          <p:cNvGrpSpPr/>
          <p:nvPr/>
        </p:nvGrpSpPr>
        <p:grpSpPr>
          <a:xfrm>
            <a:off x="429768" y="192024"/>
            <a:ext cx="3010402" cy="420262"/>
            <a:chOff x="422044" y="2246444"/>
            <a:chExt cx="3010402" cy="420262"/>
          </a:xfrm>
        </p:grpSpPr>
        <p:grpSp>
          <p:nvGrpSpPr>
            <p:cNvPr id="100" name="Group 99"/>
            <p:cNvGrpSpPr>
              <a:grpSpLocks noChangeAspect="1"/>
            </p:cNvGrpSpPr>
            <p:nvPr/>
          </p:nvGrpSpPr>
          <p:grpSpPr>
            <a:xfrm>
              <a:off x="422044" y="2246444"/>
              <a:ext cx="3010402" cy="420262"/>
              <a:chOff x="487321" y="5086833"/>
              <a:chExt cx="7651443" cy="1004907"/>
            </a:xfrm>
          </p:grpSpPr>
          <p:sp>
            <p:nvSpPr>
              <p:cNvPr id="102" name="Rectangle 101"/>
              <p:cNvSpPr/>
              <p:nvPr/>
            </p:nvSpPr>
            <p:spPr>
              <a:xfrm>
                <a:off x="487321" y="5086833"/>
                <a:ext cx="7651443" cy="1004907"/>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103" name="Oval 102"/>
              <p:cNvSpPr/>
              <p:nvPr/>
            </p:nvSpPr>
            <p:spPr>
              <a:xfrm>
                <a:off x="524978" y="5256069"/>
                <a:ext cx="666433" cy="666433"/>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chemeClr val="tx1"/>
                  </a:solidFill>
                </a:endParaRPr>
              </a:p>
            </p:txBody>
          </p:sp>
          <p:sp>
            <p:nvSpPr>
              <p:cNvPr id="104" name="TextBox 103"/>
              <p:cNvSpPr txBox="1"/>
              <p:nvPr/>
            </p:nvSpPr>
            <p:spPr>
              <a:xfrm>
                <a:off x="1538667" y="5409286"/>
                <a:ext cx="2873981" cy="367968"/>
              </a:xfrm>
              <a:prstGeom prst="rect">
                <a:avLst/>
              </a:prstGeom>
              <a:noFill/>
            </p:spPr>
            <p:txBody>
              <a:bodyPr wrap="square" lIns="0" tIns="0" rIns="0" bIns="0" rtlCol="0">
                <a:spAutoFit/>
              </a:bodyPr>
              <a:lstStyle/>
              <a:p>
                <a:r>
                  <a:rPr lang="en-US" sz="1000" b="1" dirty="0">
                    <a:solidFill>
                      <a:srgbClr val="003755"/>
                    </a:solidFill>
                  </a:rPr>
                  <a:t>Interactions</a:t>
                </a:r>
              </a:p>
            </p:txBody>
          </p:sp>
          <p:sp>
            <p:nvSpPr>
              <p:cNvPr id="105" name="Advisory service"/>
              <p:cNvSpPr>
                <a:spLocks noChangeAspect="1"/>
              </p:cNvSpPr>
              <p:nvPr>
                <p:custDataLst>
                  <p:tags r:id="rId3"/>
                </p:custDataLst>
              </p:nvPr>
            </p:nvSpPr>
            <p:spPr bwMode="auto">
              <a:xfrm>
                <a:off x="617072" y="5409286"/>
                <a:ext cx="486420" cy="360000"/>
              </a:xfrm>
              <a:custGeom>
                <a:avLst/>
                <a:gdLst>
                  <a:gd name="connsiteX0" fmla="*/ 395288 w 1282700"/>
                  <a:gd name="connsiteY0" fmla="*/ 706437 h 949325"/>
                  <a:gd name="connsiteX1" fmla="*/ 434976 w 1282700"/>
                  <a:gd name="connsiteY1" fmla="*/ 746125 h 949325"/>
                  <a:gd name="connsiteX2" fmla="*/ 395288 w 1282700"/>
                  <a:gd name="connsiteY2" fmla="*/ 785813 h 949325"/>
                  <a:gd name="connsiteX3" fmla="*/ 355600 w 1282700"/>
                  <a:gd name="connsiteY3" fmla="*/ 746125 h 949325"/>
                  <a:gd name="connsiteX4" fmla="*/ 395288 w 1282700"/>
                  <a:gd name="connsiteY4" fmla="*/ 706437 h 949325"/>
                  <a:gd name="connsiteX5" fmla="*/ 395288 w 1282700"/>
                  <a:gd name="connsiteY5" fmla="*/ 606425 h 949325"/>
                  <a:gd name="connsiteX6" fmla="*/ 434976 w 1282700"/>
                  <a:gd name="connsiteY6" fmla="*/ 644525 h 949325"/>
                  <a:gd name="connsiteX7" fmla="*/ 395288 w 1282700"/>
                  <a:gd name="connsiteY7" fmla="*/ 682625 h 949325"/>
                  <a:gd name="connsiteX8" fmla="*/ 355600 w 1282700"/>
                  <a:gd name="connsiteY8" fmla="*/ 644525 h 949325"/>
                  <a:gd name="connsiteX9" fmla="*/ 395288 w 1282700"/>
                  <a:gd name="connsiteY9" fmla="*/ 606425 h 949325"/>
                  <a:gd name="connsiteX10" fmla="*/ 395288 w 1282700"/>
                  <a:gd name="connsiteY10" fmla="*/ 508000 h 949325"/>
                  <a:gd name="connsiteX11" fmla="*/ 434976 w 1282700"/>
                  <a:gd name="connsiteY11" fmla="*/ 546100 h 949325"/>
                  <a:gd name="connsiteX12" fmla="*/ 395288 w 1282700"/>
                  <a:gd name="connsiteY12" fmla="*/ 584200 h 949325"/>
                  <a:gd name="connsiteX13" fmla="*/ 355600 w 1282700"/>
                  <a:gd name="connsiteY13" fmla="*/ 546100 h 949325"/>
                  <a:gd name="connsiteX14" fmla="*/ 395288 w 1282700"/>
                  <a:gd name="connsiteY14" fmla="*/ 508000 h 949325"/>
                  <a:gd name="connsiteX15" fmla="*/ 865676 w 1282700"/>
                  <a:gd name="connsiteY15" fmla="*/ 496887 h 949325"/>
                  <a:gd name="connsiteX16" fmla="*/ 695325 w 1282700"/>
                  <a:gd name="connsiteY16" fmla="*/ 534787 h 949325"/>
                  <a:gd name="connsiteX17" fmla="*/ 596900 w 1282700"/>
                  <a:gd name="connsiteY17" fmla="*/ 656066 h 949325"/>
                  <a:gd name="connsiteX18" fmla="*/ 596900 w 1282700"/>
                  <a:gd name="connsiteY18" fmla="*/ 917574 h 949325"/>
                  <a:gd name="connsiteX19" fmla="*/ 687754 w 1282700"/>
                  <a:gd name="connsiteY19" fmla="*/ 917574 h 949325"/>
                  <a:gd name="connsiteX20" fmla="*/ 687754 w 1282700"/>
                  <a:gd name="connsiteY20" fmla="*/ 735655 h 949325"/>
                  <a:gd name="connsiteX21" fmla="*/ 702896 w 1282700"/>
                  <a:gd name="connsiteY21" fmla="*/ 720495 h 949325"/>
                  <a:gd name="connsiteX22" fmla="*/ 718039 w 1282700"/>
                  <a:gd name="connsiteY22" fmla="*/ 735655 h 949325"/>
                  <a:gd name="connsiteX23" fmla="*/ 718039 w 1282700"/>
                  <a:gd name="connsiteY23" fmla="*/ 917574 h 949325"/>
                  <a:gd name="connsiteX24" fmla="*/ 1017100 w 1282700"/>
                  <a:gd name="connsiteY24" fmla="*/ 917574 h 949325"/>
                  <a:gd name="connsiteX25" fmla="*/ 1017100 w 1282700"/>
                  <a:gd name="connsiteY25" fmla="*/ 735655 h 949325"/>
                  <a:gd name="connsiteX26" fmla="*/ 1032242 w 1282700"/>
                  <a:gd name="connsiteY26" fmla="*/ 720495 h 949325"/>
                  <a:gd name="connsiteX27" fmla="*/ 1047384 w 1282700"/>
                  <a:gd name="connsiteY27" fmla="*/ 735655 h 949325"/>
                  <a:gd name="connsiteX28" fmla="*/ 1047384 w 1282700"/>
                  <a:gd name="connsiteY28" fmla="*/ 917574 h 949325"/>
                  <a:gd name="connsiteX29" fmla="*/ 1138238 w 1282700"/>
                  <a:gd name="connsiteY29" fmla="*/ 917574 h 949325"/>
                  <a:gd name="connsiteX30" fmla="*/ 1138238 w 1282700"/>
                  <a:gd name="connsiteY30" fmla="*/ 659856 h 949325"/>
                  <a:gd name="connsiteX31" fmla="*/ 1039813 w 1282700"/>
                  <a:gd name="connsiteY31" fmla="*/ 534787 h 949325"/>
                  <a:gd name="connsiteX32" fmla="*/ 865676 w 1282700"/>
                  <a:gd name="connsiteY32" fmla="*/ 496887 h 949325"/>
                  <a:gd name="connsiteX33" fmla="*/ 248807 w 1282700"/>
                  <a:gd name="connsiteY33" fmla="*/ 428625 h 949325"/>
                  <a:gd name="connsiteX34" fmla="*/ 210933 w 1282700"/>
                  <a:gd name="connsiteY34" fmla="*/ 447599 h 949325"/>
                  <a:gd name="connsiteX35" fmla="*/ 123825 w 1282700"/>
                  <a:gd name="connsiteY35" fmla="*/ 565241 h 949325"/>
                  <a:gd name="connsiteX36" fmla="*/ 123825 w 1282700"/>
                  <a:gd name="connsiteY36" fmla="*/ 827087 h 949325"/>
                  <a:gd name="connsiteX37" fmla="*/ 214721 w 1282700"/>
                  <a:gd name="connsiteY37" fmla="*/ 827087 h 949325"/>
                  <a:gd name="connsiteX38" fmla="*/ 214721 w 1282700"/>
                  <a:gd name="connsiteY38" fmla="*/ 641138 h 949325"/>
                  <a:gd name="connsiteX39" fmla="*/ 229870 w 1282700"/>
                  <a:gd name="connsiteY39" fmla="*/ 625959 h 949325"/>
                  <a:gd name="connsiteX40" fmla="*/ 245019 w 1282700"/>
                  <a:gd name="connsiteY40" fmla="*/ 641138 h 949325"/>
                  <a:gd name="connsiteX41" fmla="*/ 245019 w 1282700"/>
                  <a:gd name="connsiteY41" fmla="*/ 827087 h 949325"/>
                  <a:gd name="connsiteX42" fmla="*/ 566942 w 1282700"/>
                  <a:gd name="connsiteY42" fmla="*/ 827087 h 949325"/>
                  <a:gd name="connsiteX43" fmla="*/ 566942 w 1282700"/>
                  <a:gd name="connsiteY43" fmla="*/ 656318 h 949325"/>
                  <a:gd name="connsiteX44" fmla="*/ 654050 w 1282700"/>
                  <a:gd name="connsiteY44" fmla="*/ 523497 h 949325"/>
                  <a:gd name="connsiteX45" fmla="*/ 578304 w 1282700"/>
                  <a:gd name="connsiteY45" fmla="*/ 447599 h 949325"/>
                  <a:gd name="connsiteX46" fmla="*/ 540430 w 1282700"/>
                  <a:gd name="connsiteY46" fmla="*/ 428625 h 949325"/>
                  <a:gd name="connsiteX47" fmla="*/ 248807 w 1282700"/>
                  <a:gd name="connsiteY47" fmla="*/ 428625 h 949325"/>
                  <a:gd name="connsiteX48" fmla="*/ 725488 w 1282700"/>
                  <a:gd name="connsiteY48" fmla="*/ 368300 h 949325"/>
                  <a:gd name="connsiteX49" fmla="*/ 865982 w 1282700"/>
                  <a:gd name="connsiteY49" fmla="*/ 466725 h 949325"/>
                  <a:gd name="connsiteX50" fmla="*/ 1006476 w 1282700"/>
                  <a:gd name="connsiteY50" fmla="*/ 368300 h 949325"/>
                  <a:gd name="connsiteX51" fmla="*/ 865982 w 1282700"/>
                  <a:gd name="connsiteY51" fmla="*/ 425084 h 949325"/>
                  <a:gd name="connsiteX52" fmla="*/ 725488 w 1282700"/>
                  <a:gd name="connsiteY52" fmla="*/ 368300 h 949325"/>
                  <a:gd name="connsiteX53" fmla="*/ 866485 w 1282700"/>
                  <a:gd name="connsiteY53" fmla="*/ 136525 h 949325"/>
                  <a:gd name="connsiteX54" fmla="*/ 1048106 w 1282700"/>
                  <a:gd name="connsiteY54" fmla="*/ 315037 h 949325"/>
                  <a:gd name="connsiteX55" fmla="*/ 953512 w 1282700"/>
                  <a:gd name="connsiteY55" fmla="*/ 474559 h 949325"/>
                  <a:gd name="connsiteX56" fmla="*/ 1055674 w 1282700"/>
                  <a:gd name="connsiteY56" fmla="*/ 508742 h 949325"/>
                  <a:gd name="connsiteX57" fmla="*/ 1169187 w 1282700"/>
                  <a:gd name="connsiteY57" fmla="*/ 660667 h 949325"/>
                  <a:gd name="connsiteX58" fmla="*/ 1169187 w 1282700"/>
                  <a:gd name="connsiteY58" fmla="*/ 827785 h 949325"/>
                  <a:gd name="connsiteX59" fmla="*/ 1267565 w 1282700"/>
                  <a:gd name="connsiteY59" fmla="*/ 827785 h 949325"/>
                  <a:gd name="connsiteX60" fmla="*/ 1282700 w 1282700"/>
                  <a:gd name="connsiteY60" fmla="*/ 839179 h 949325"/>
                  <a:gd name="connsiteX61" fmla="*/ 1267565 w 1282700"/>
                  <a:gd name="connsiteY61" fmla="*/ 854372 h 949325"/>
                  <a:gd name="connsiteX62" fmla="*/ 1169187 w 1282700"/>
                  <a:gd name="connsiteY62" fmla="*/ 854372 h 949325"/>
                  <a:gd name="connsiteX63" fmla="*/ 1169187 w 1282700"/>
                  <a:gd name="connsiteY63" fmla="*/ 934133 h 949325"/>
                  <a:gd name="connsiteX64" fmla="*/ 1154052 w 1282700"/>
                  <a:gd name="connsiteY64" fmla="*/ 949325 h 949325"/>
                  <a:gd name="connsiteX65" fmla="*/ 582701 w 1282700"/>
                  <a:gd name="connsiteY65" fmla="*/ 949325 h 949325"/>
                  <a:gd name="connsiteX66" fmla="*/ 567566 w 1282700"/>
                  <a:gd name="connsiteY66" fmla="*/ 934133 h 949325"/>
                  <a:gd name="connsiteX67" fmla="*/ 567566 w 1282700"/>
                  <a:gd name="connsiteY67" fmla="*/ 854372 h 949325"/>
                  <a:gd name="connsiteX68" fmla="*/ 15135 w 1282700"/>
                  <a:gd name="connsiteY68" fmla="*/ 854372 h 949325"/>
                  <a:gd name="connsiteX69" fmla="*/ 0 w 1282700"/>
                  <a:gd name="connsiteY69" fmla="*/ 839179 h 949325"/>
                  <a:gd name="connsiteX70" fmla="*/ 15135 w 1282700"/>
                  <a:gd name="connsiteY70" fmla="*/ 827785 h 949325"/>
                  <a:gd name="connsiteX71" fmla="*/ 94594 w 1282700"/>
                  <a:gd name="connsiteY71" fmla="*/ 827785 h 949325"/>
                  <a:gd name="connsiteX72" fmla="*/ 94594 w 1282700"/>
                  <a:gd name="connsiteY72" fmla="*/ 565714 h 949325"/>
                  <a:gd name="connsiteX73" fmla="*/ 200540 w 1282700"/>
                  <a:gd name="connsiteY73" fmla="*/ 421385 h 949325"/>
                  <a:gd name="connsiteX74" fmla="*/ 245945 w 1282700"/>
                  <a:gd name="connsiteY74" fmla="*/ 398596 h 949325"/>
                  <a:gd name="connsiteX75" fmla="*/ 261080 w 1282700"/>
                  <a:gd name="connsiteY75" fmla="*/ 402394 h 949325"/>
                  <a:gd name="connsiteX76" fmla="*/ 397296 w 1282700"/>
                  <a:gd name="connsiteY76" fmla="*/ 447972 h 949325"/>
                  <a:gd name="connsiteX77" fmla="*/ 533512 w 1282700"/>
                  <a:gd name="connsiteY77" fmla="*/ 402394 h 949325"/>
                  <a:gd name="connsiteX78" fmla="*/ 544864 w 1282700"/>
                  <a:gd name="connsiteY78" fmla="*/ 398596 h 949325"/>
                  <a:gd name="connsiteX79" fmla="*/ 594053 w 1282700"/>
                  <a:gd name="connsiteY79" fmla="*/ 421385 h 949325"/>
                  <a:gd name="connsiteX80" fmla="*/ 681080 w 1282700"/>
                  <a:gd name="connsiteY80" fmla="*/ 508742 h 949325"/>
                  <a:gd name="connsiteX81" fmla="*/ 779458 w 1282700"/>
                  <a:gd name="connsiteY81" fmla="*/ 474559 h 949325"/>
                  <a:gd name="connsiteX82" fmla="*/ 688647 w 1282700"/>
                  <a:gd name="connsiteY82" fmla="*/ 315037 h 949325"/>
                  <a:gd name="connsiteX83" fmla="*/ 866485 w 1282700"/>
                  <a:gd name="connsiteY83" fmla="*/ 136525 h 949325"/>
                  <a:gd name="connsiteX84" fmla="*/ 394494 w 1282700"/>
                  <a:gd name="connsiteY84" fmla="*/ 73025 h 949325"/>
                  <a:gd name="connsiteX85" fmla="*/ 244475 w 1282700"/>
                  <a:gd name="connsiteY85" fmla="*/ 222250 h 949325"/>
                  <a:gd name="connsiteX86" fmla="*/ 394494 w 1282700"/>
                  <a:gd name="connsiteY86" fmla="*/ 371475 h 949325"/>
                  <a:gd name="connsiteX87" fmla="*/ 544513 w 1282700"/>
                  <a:gd name="connsiteY87" fmla="*/ 222250 h 949325"/>
                  <a:gd name="connsiteX88" fmla="*/ 394494 w 1282700"/>
                  <a:gd name="connsiteY88" fmla="*/ 73025 h 949325"/>
                  <a:gd name="connsiteX89" fmla="*/ 324559 w 1282700"/>
                  <a:gd name="connsiteY89" fmla="*/ 0 h 949325"/>
                  <a:gd name="connsiteX90" fmla="*/ 396385 w 1282700"/>
                  <a:gd name="connsiteY90" fmla="*/ 18945 h 949325"/>
                  <a:gd name="connsiteX91" fmla="*/ 464430 w 1282700"/>
                  <a:gd name="connsiteY91" fmla="*/ 0 h 949325"/>
                  <a:gd name="connsiteX92" fmla="*/ 592961 w 1282700"/>
                  <a:gd name="connsiteY92" fmla="*/ 128827 h 949325"/>
                  <a:gd name="connsiteX93" fmla="*/ 592961 w 1282700"/>
                  <a:gd name="connsiteY93" fmla="*/ 257654 h 949325"/>
                  <a:gd name="connsiteX94" fmla="*/ 642105 w 1282700"/>
                  <a:gd name="connsiteY94" fmla="*/ 306911 h 949325"/>
                  <a:gd name="connsiteX95" fmla="*/ 657226 w 1282700"/>
                  <a:gd name="connsiteY95" fmla="*/ 322067 h 949325"/>
                  <a:gd name="connsiteX96" fmla="*/ 642105 w 1282700"/>
                  <a:gd name="connsiteY96" fmla="*/ 337223 h 949325"/>
                  <a:gd name="connsiteX97" fmla="*/ 532476 w 1282700"/>
                  <a:gd name="connsiteY97" fmla="*/ 337223 h 949325"/>
                  <a:gd name="connsiteX98" fmla="*/ 396385 w 1282700"/>
                  <a:gd name="connsiteY98" fmla="*/ 401637 h 949325"/>
                  <a:gd name="connsiteX99" fmla="*/ 256513 w 1282700"/>
                  <a:gd name="connsiteY99" fmla="*/ 337223 h 949325"/>
                  <a:gd name="connsiteX100" fmla="*/ 146884 w 1282700"/>
                  <a:gd name="connsiteY100" fmla="*/ 337223 h 949325"/>
                  <a:gd name="connsiteX101" fmla="*/ 131763 w 1282700"/>
                  <a:gd name="connsiteY101" fmla="*/ 322067 h 949325"/>
                  <a:gd name="connsiteX102" fmla="*/ 146884 w 1282700"/>
                  <a:gd name="connsiteY102" fmla="*/ 306911 h 949325"/>
                  <a:gd name="connsiteX103" fmla="*/ 196028 w 1282700"/>
                  <a:gd name="connsiteY103" fmla="*/ 257654 h 949325"/>
                  <a:gd name="connsiteX104" fmla="*/ 196028 w 1282700"/>
                  <a:gd name="connsiteY104" fmla="*/ 128827 h 949325"/>
                  <a:gd name="connsiteX105" fmla="*/ 324559 w 1282700"/>
                  <a:gd name="connsiteY105" fmla="*/ 0 h 94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282700" h="949325">
                    <a:moveTo>
                      <a:pt x="395288" y="706437"/>
                    </a:moveTo>
                    <a:cubicBezTo>
                      <a:pt x="417207" y="706437"/>
                      <a:pt x="434976" y="724206"/>
                      <a:pt x="434976" y="746125"/>
                    </a:cubicBezTo>
                    <a:cubicBezTo>
                      <a:pt x="434976" y="768044"/>
                      <a:pt x="417207" y="785813"/>
                      <a:pt x="395288" y="785813"/>
                    </a:cubicBezTo>
                    <a:cubicBezTo>
                      <a:pt x="373369" y="785813"/>
                      <a:pt x="355600" y="768044"/>
                      <a:pt x="355600" y="746125"/>
                    </a:cubicBezTo>
                    <a:cubicBezTo>
                      <a:pt x="355600" y="724206"/>
                      <a:pt x="373369" y="706437"/>
                      <a:pt x="395288" y="706437"/>
                    </a:cubicBezTo>
                    <a:close/>
                    <a:moveTo>
                      <a:pt x="395288" y="606425"/>
                    </a:moveTo>
                    <a:cubicBezTo>
                      <a:pt x="417207" y="606425"/>
                      <a:pt x="434976" y="623483"/>
                      <a:pt x="434976" y="644525"/>
                    </a:cubicBezTo>
                    <a:cubicBezTo>
                      <a:pt x="434976" y="665567"/>
                      <a:pt x="417207" y="682625"/>
                      <a:pt x="395288" y="682625"/>
                    </a:cubicBezTo>
                    <a:cubicBezTo>
                      <a:pt x="373369" y="682625"/>
                      <a:pt x="355600" y="665567"/>
                      <a:pt x="355600" y="644525"/>
                    </a:cubicBezTo>
                    <a:cubicBezTo>
                      <a:pt x="355600" y="623483"/>
                      <a:pt x="373369" y="606425"/>
                      <a:pt x="395288" y="606425"/>
                    </a:cubicBezTo>
                    <a:close/>
                    <a:moveTo>
                      <a:pt x="395288" y="508000"/>
                    </a:moveTo>
                    <a:cubicBezTo>
                      <a:pt x="417207" y="508000"/>
                      <a:pt x="434976" y="525058"/>
                      <a:pt x="434976" y="546100"/>
                    </a:cubicBezTo>
                    <a:cubicBezTo>
                      <a:pt x="434976" y="567142"/>
                      <a:pt x="417207" y="584200"/>
                      <a:pt x="395288" y="584200"/>
                    </a:cubicBezTo>
                    <a:cubicBezTo>
                      <a:pt x="373369" y="584200"/>
                      <a:pt x="355600" y="567142"/>
                      <a:pt x="355600" y="546100"/>
                    </a:cubicBezTo>
                    <a:cubicBezTo>
                      <a:pt x="355600" y="525058"/>
                      <a:pt x="373369" y="508000"/>
                      <a:pt x="395288" y="508000"/>
                    </a:cubicBezTo>
                    <a:close/>
                    <a:moveTo>
                      <a:pt x="865676" y="496887"/>
                    </a:moveTo>
                    <a:cubicBezTo>
                      <a:pt x="797536" y="496887"/>
                      <a:pt x="744538" y="508257"/>
                      <a:pt x="695325" y="534787"/>
                    </a:cubicBezTo>
                    <a:cubicBezTo>
                      <a:pt x="657469" y="553737"/>
                      <a:pt x="596900" y="595426"/>
                      <a:pt x="596900" y="656066"/>
                    </a:cubicBezTo>
                    <a:cubicBezTo>
                      <a:pt x="596900" y="656066"/>
                      <a:pt x="596900" y="656066"/>
                      <a:pt x="596900" y="917574"/>
                    </a:cubicBezTo>
                    <a:cubicBezTo>
                      <a:pt x="596900" y="917574"/>
                      <a:pt x="596900" y="917574"/>
                      <a:pt x="687754" y="917574"/>
                    </a:cubicBezTo>
                    <a:cubicBezTo>
                      <a:pt x="687754" y="917574"/>
                      <a:pt x="687754" y="917574"/>
                      <a:pt x="687754" y="735655"/>
                    </a:cubicBezTo>
                    <a:cubicBezTo>
                      <a:pt x="687754" y="728075"/>
                      <a:pt x="691540" y="720495"/>
                      <a:pt x="702896" y="720495"/>
                    </a:cubicBezTo>
                    <a:cubicBezTo>
                      <a:pt x="710467" y="720495"/>
                      <a:pt x="718039" y="728075"/>
                      <a:pt x="718039" y="735655"/>
                    </a:cubicBezTo>
                    <a:cubicBezTo>
                      <a:pt x="718039" y="735655"/>
                      <a:pt x="718039" y="735655"/>
                      <a:pt x="718039" y="917574"/>
                    </a:cubicBezTo>
                    <a:cubicBezTo>
                      <a:pt x="718039" y="917574"/>
                      <a:pt x="718039" y="917574"/>
                      <a:pt x="1017100" y="917574"/>
                    </a:cubicBezTo>
                    <a:cubicBezTo>
                      <a:pt x="1017100" y="917574"/>
                      <a:pt x="1017100" y="917574"/>
                      <a:pt x="1017100" y="735655"/>
                    </a:cubicBezTo>
                    <a:cubicBezTo>
                      <a:pt x="1017100" y="728075"/>
                      <a:pt x="1024671" y="720495"/>
                      <a:pt x="1032242" y="720495"/>
                    </a:cubicBezTo>
                    <a:cubicBezTo>
                      <a:pt x="1039813" y="720495"/>
                      <a:pt x="1047384" y="728075"/>
                      <a:pt x="1047384" y="735655"/>
                    </a:cubicBezTo>
                    <a:cubicBezTo>
                      <a:pt x="1047384" y="735655"/>
                      <a:pt x="1047384" y="735655"/>
                      <a:pt x="1047384" y="917574"/>
                    </a:cubicBezTo>
                    <a:cubicBezTo>
                      <a:pt x="1047384" y="917574"/>
                      <a:pt x="1047384" y="917574"/>
                      <a:pt x="1138238" y="917574"/>
                    </a:cubicBezTo>
                    <a:lnTo>
                      <a:pt x="1138238" y="659856"/>
                    </a:lnTo>
                    <a:cubicBezTo>
                      <a:pt x="1138238" y="591636"/>
                      <a:pt x="1062526" y="546157"/>
                      <a:pt x="1039813" y="534787"/>
                    </a:cubicBezTo>
                    <a:cubicBezTo>
                      <a:pt x="990600" y="508257"/>
                      <a:pt x="937602" y="496887"/>
                      <a:pt x="865676" y="496887"/>
                    </a:cubicBezTo>
                    <a:close/>
                    <a:moveTo>
                      <a:pt x="248807" y="428625"/>
                    </a:moveTo>
                    <a:cubicBezTo>
                      <a:pt x="237445" y="432420"/>
                      <a:pt x="222295" y="440010"/>
                      <a:pt x="210933" y="447599"/>
                    </a:cubicBezTo>
                    <a:cubicBezTo>
                      <a:pt x="191997" y="458984"/>
                      <a:pt x="123825" y="496933"/>
                      <a:pt x="123825" y="565241"/>
                    </a:cubicBezTo>
                    <a:cubicBezTo>
                      <a:pt x="123825" y="565241"/>
                      <a:pt x="123825" y="565241"/>
                      <a:pt x="123825" y="827087"/>
                    </a:cubicBezTo>
                    <a:cubicBezTo>
                      <a:pt x="123825" y="827087"/>
                      <a:pt x="123825" y="827087"/>
                      <a:pt x="214721" y="827087"/>
                    </a:cubicBezTo>
                    <a:cubicBezTo>
                      <a:pt x="214721" y="827087"/>
                      <a:pt x="214721" y="827087"/>
                      <a:pt x="214721" y="641138"/>
                    </a:cubicBezTo>
                    <a:cubicBezTo>
                      <a:pt x="214721" y="633548"/>
                      <a:pt x="222295" y="625959"/>
                      <a:pt x="229870" y="625959"/>
                    </a:cubicBezTo>
                    <a:cubicBezTo>
                      <a:pt x="237445" y="625959"/>
                      <a:pt x="245019" y="633548"/>
                      <a:pt x="245019" y="641138"/>
                    </a:cubicBezTo>
                    <a:cubicBezTo>
                      <a:pt x="245019" y="641138"/>
                      <a:pt x="245019" y="641138"/>
                      <a:pt x="245019" y="827087"/>
                    </a:cubicBezTo>
                    <a:cubicBezTo>
                      <a:pt x="245019" y="827087"/>
                      <a:pt x="245019" y="827087"/>
                      <a:pt x="566942" y="827087"/>
                    </a:cubicBezTo>
                    <a:cubicBezTo>
                      <a:pt x="566942" y="827087"/>
                      <a:pt x="566942" y="827087"/>
                      <a:pt x="566942" y="656318"/>
                    </a:cubicBezTo>
                    <a:cubicBezTo>
                      <a:pt x="566942" y="595600"/>
                      <a:pt x="616177" y="550061"/>
                      <a:pt x="654050" y="523497"/>
                    </a:cubicBezTo>
                    <a:cubicBezTo>
                      <a:pt x="635113" y="481753"/>
                      <a:pt x="593453" y="455189"/>
                      <a:pt x="578304" y="447599"/>
                    </a:cubicBezTo>
                    <a:cubicBezTo>
                      <a:pt x="566942" y="440010"/>
                      <a:pt x="551792" y="432420"/>
                      <a:pt x="540430" y="428625"/>
                    </a:cubicBezTo>
                    <a:cubicBezTo>
                      <a:pt x="453322" y="489343"/>
                      <a:pt x="335915" y="489343"/>
                      <a:pt x="248807" y="428625"/>
                    </a:cubicBezTo>
                    <a:close/>
                    <a:moveTo>
                      <a:pt x="725488" y="368300"/>
                    </a:moveTo>
                    <a:cubicBezTo>
                      <a:pt x="748271" y="425084"/>
                      <a:pt x="801431" y="466725"/>
                      <a:pt x="865982" y="466725"/>
                    </a:cubicBezTo>
                    <a:cubicBezTo>
                      <a:pt x="930533" y="466725"/>
                      <a:pt x="987490" y="425084"/>
                      <a:pt x="1006476" y="368300"/>
                    </a:cubicBezTo>
                    <a:cubicBezTo>
                      <a:pt x="972302" y="402370"/>
                      <a:pt x="915345" y="425084"/>
                      <a:pt x="865982" y="425084"/>
                    </a:cubicBezTo>
                    <a:cubicBezTo>
                      <a:pt x="816619" y="425084"/>
                      <a:pt x="763459" y="402370"/>
                      <a:pt x="725488" y="368300"/>
                    </a:cubicBezTo>
                    <a:close/>
                    <a:moveTo>
                      <a:pt x="866485" y="136525"/>
                    </a:moveTo>
                    <a:cubicBezTo>
                      <a:pt x="968647" y="136525"/>
                      <a:pt x="1048106" y="216286"/>
                      <a:pt x="1048106" y="315037"/>
                    </a:cubicBezTo>
                    <a:cubicBezTo>
                      <a:pt x="1048106" y="383403"/>
                      <a:pt x="1010268" y="444174"/>
                      <a:pt x="953512" y="474559"/>
                    </a:cubicBezTo>
                    <a:cubicBezTo>
                      <a:pt x="991349" y="482155"/>
                      <a:pt x="1021620" y="493549"/>
                      <a:pt x="1055674" y="508742"/>
                    </a:cubicBezTo>
                    <a:cubicBezTo>
                      <a:pt x="1089727" y="527733"/>
                      <a:pt x="1169187" y="577108"/>
                      <a:pt x="1169187" y="660667"/>
                    </a:cubicBezTo>
                    <a:cubicBezTo>
                      <a:pt x="1169187" y="660667"/>
                      <a:pt x="1169187" y="660667"/>
                      <a:pt x="1169187" y="827785"/>
                    </a:cubicBezTo>
                    <a:cubicBezTo>
                      <a:pt x="1169187" y="827785"/>
                      <a:pt x="1169187" y="827785"/>
                      <a:pt x="1267565" y="827785"/>
                    </a:cubicBezTo>
                    <a:cubicBezTo>
                      <a:pt x="1275133" y="827785"/>
                      <a:pt x="1282700" y="831583"/>
                      <a:pt x="1282700" y="839179"/>
                    </a:cubicBezTo>
                    <a:cubicBezTo>
                      <a:pt x="1282700" y="850574"/>
                      <a:pt x="1275133" y="854372"/>
                      <a:pt x="1267565" y="854372"/>
                    </a:cubicBezTo>
                    <a:cubicBezTo>
                      <a:pt x="1267565" y="854372"/>
                      <a:pt x="1267565" y="854372"/>
                      <a:pt x="1169187" y="854372"/>
                    </a:cubicBezTo>
                    <a:cubicBezTo>
                      <a:pt x="1169187" y="854372"/>
                      <a:pt x="1169187" y="854372"/>
                      <a:pt x="1169187" y="934133"/>
                    </a:cubicBezTo>
                    <a:cubicBezTo>
                      <a:pt x="1169187" y="945527"/>
                      <a:pt x="1161619" y="949325"/>
                      <a:pt x="1154052" y="949325"/>
                    </a:cubicBezTo>
                    <a:cubicBezTo>
                      <a:pt x="1154052" y="949325"/>
                      <a:pt x="1154052" y="949325"/>
                      <a:pt x="582701" y="949325"/>
                    </a:cubicBezTo>
                    <a:cubicBezTo>
                      <a:pt x="575134" y="949325"/>
                      <a:pt x="567566" y="945527"/>
                      <a:pt x="567566" y="934133"/>
                    </a:cubicBezTo>
                    <a:cubicBezTo>
                      <a:pt x="567566" y="934133"/>
                      <a:pt x="567566" y="934133"/>
                      <a:pt x="567566" y="854372"/>
                    </a:cubicBezTo>
                    <a:cubicBezTo>
                      <a:pt x="567566" y="854372"/>
                      <a:pt x="567566" y="854372"/>
                      <a:pt x="15135" y="854372"/>
                    </a:cubicBezTo>
                    <a:cubicBezTo>
                      <a:pt x="7568" y="854372"/>
                      <a:pt x="0" y="850574"/>
                      <a:pt x="0" y="839179"/>
                    </a:cubicBezTo>
                    <a:cubicBezTo>
                      <a:pt x="0" y="831583"/>
                      <a:pt x="7568" y="827785"/>
                      <a:pt x="15135" y="827785"/>
                    </a:cubicBezTo>
                    <a:cubicBezTo>
                      <a:pt x="15135" y="827785"/>
                      <a:pt x="15135" y="827785"/>
                      <a:pt x="94594" y="827785"/>
                    </a:cubicBezTo>
                    <a:cubicBezTo>
                      <a:pt x="94594" y="827785"/>
                      <a:pt x="94594" y="827785"/>
                      <a:pt x="94594" y="565714"/>
                    </a:cubicBezTo>
                    <a:cubicBezTo>
                      <a:pt x="94594" y="482155"/>
                      <a:pt x="174054" y="432779"/>
                      <a:pt x="200540" y="421385"/>
                    </a:cubicBezTo>
                    <a:cubicBezTo>
                      <a:pt x="215675" y="413789"/>
                      <a:pt x="230810" y="406192"/>
                      <a:pt x="245945" y="398596"/>
                    </a:cubicBezTo>
                    <a:cubicBezTo>
                      <a:pt x="249729" y="398596"/>
                      <a:pt x="253513" y="398596"/>
                      <a:pt x="261080" y="402394"/>
                    </a:cubicBezTo>
                    <a:cubicBezTo>
                      <a:pt x="298918" y="428981"/>
                      <a:pt x="348107" y="447972"/>
                      <a:pt x="397296" y="447972"/>
                    </a:cubicBezTo>
                    <a:cubicBezTo>
                      <a:pt x="442702" y="447972"/>
                      <a:pt x="491891" y="428981"/>
                      <a:pt x="533512" y="402394"/>
                    </a:cubicBezTo>
                    <a:cubicBezTo>
                      <a:pt x="537296" y="398596"/>
                      <a:pt x="541080" y="398596"/>
                      <a:pt x="544864" y="398596"/>
                    </a:cubicBezTo>
                    <a:cubicBezTo>
                      <a:pt x="559999" y="406192"/>
                      <a:pt x="575134" y="413789"/>
                      <a:pt x="594053" y="421385"/>
                    </a:cubicBezTo>
                    <a:cubicBezTo>
                      <a:pt x="609188" y="428981"/>
                      <a:pt x="658377" y="459366"/>
                      <a:pt x="681080" y="508742"/>
                    </a:cubicBezTo>
                    <a:cubicBezTo>
                      <a:pt x="711350" y="489751"/>
                      <a:pt x="745404" y="482155"/>
                      <a:pt x="779458" y="474559"/>
                    </a:cubicBezTo>
                    <a:cubicBezTo>
                      <a:pt x="726485" y="444174"/>
                      <a:pt x="688647" y="383403"/>
                      <a:pt x="688647" y="315037"/>
                    </a:cubicBezTo>
                    <a:cubicBezTo>
                      <a:pt x="688647" y="216286"/>
                      <a:pt x="768107" y="136525"/>
                      <a:pt x="866485" y="136525"/>
                    </a:cubicBezTo>
                    <a:close/>
                    <a:moveTo>
                      <a:pt x="394494" y="73025"/>
                    </a:moveTo>
                    <a:cubicBezTo>
                      <a:pt x="311641" y="73025"/>
                      <a:pt x="244475" y="139835"/>
                      <a:pt x="244475" y="222250"/>
                    </a:cubicBezTo>
                    <a:cubicBezTo>
                      <a:pt x="244475" y="304665"/>
                      <a:pt x="311641" y="371475"/>
                      <a:pt x="394494" y="371475"/>
                    </a:cubicBezTo>
                    <a:cubicBezTo>
                      <a:pt x="477347" y="371475"/>
                      <a:pt x="544513" y="304665"/>
                      <a:pt x="544513" y="222250"/>
                    </a:cubicBezTo>
                    <a:cubicBezTo>
                      <a:pt x="544513" y="139835"/>
                      <a:pt x="477347" y="73025"/>
                      <a:pt x="394494" y="73025"/>
                    </a:cubicBezTo>
                    <a:close/>
                    <a:moveTo>
                      <a:pt x="324559" y="0"/>
                    </a:moveTo>
                    <a:cubicBezTo>
                      <a:pt x="351021" y="0"/>
                      <a:pt x="373703" y="7578"/>
                      <a:pt x="396385" y="18945"/>
                    </a:cubicBezTo>
                    <a:cubicBezTo>
                      <a:pt x="415286" y="7578"/>
                      <a:pt x="437968" y="0"/>
                      <a:pt x="464430" y="0"/>
                    </a:cubicBezTo>
                    <a:cubicBezTo>
                      <a:pt x="536256" y="0"/>
                      <a:pt x="592961" y="56835"/>
                      <a:pt x="592961" y="128827"/>
                    </a:cubicBezTo>
                    <a:cubicBezTo>
                      <a:pt x="592961" y="128827"/>
                      <a:pt x="592961" y="128827"/>
                      <a:pt x="592961" y="257654"/>
                    </a:cubicBezTo>
                    <a:cubicBezTo>
                      <a:pt x="592961" y="284177"/>
                      <a:pt x="615643" y="306911"/>
                      <a:pt x="642105" y="306911"/>
                    </a:cubicBezTo>
                    <a:cubicBezTo>
                      <a:pt x="649665" y="306911"/>
                      <a:pt x="657226" y="314489"/>
                      <a:pt x="657226" y="322067"/>
                    </a:cubicBezTo>
                    <a:cubicBezTo>
                      <a:pt x="657226" y="329645"/>
                      <a:pt x="649665" y="337223"/>
                      <a:pt x="642105" y="337223"/>
                    </a:cubicBezTo>
                    <a:cubicBezTo>
                      <a:pt x="642105" y="337223"/>
                      <a:pt x="642105" y="337223"/>
                      <a:pt x="532476" y="337223"/>
                    </a:cubicBezTo>
                    <a:cubicBezTo>
                      <a:pt x="498453" y="375114"/>
                      <a:pt x="449309" y="401637"/>
                      <a:pt x="396385" y="401637"/>
                    </a:cubicBezTo>
                    <a:cubicBezTo>
                      <a:pt x="339680" y="401637"/>
                      <a:pt x="290536" y="375114"/>
                      <a:pt x="256513" y="337223"/>
                    </a:cubicBezTo>
                    <a:cubicBezTo>
                      <a:pt x="256513" y="337223"/>
                      <a:pt x="256513" y="337223"/>
                      <a:pt x="146884" y="337223"/>
                    </a:cubicBezTo>
                    <a:cubicBezTo>
                      <a:pt x="139324" y="337223"/>
                      <a:pt x="131763" y="329645"/>
                      <a:pt x="131763" y="322067"/>
                    </a:cubicBezTo>
                    <a:cubicBezTo>
                      <a:pt x="131763" y="314489"/>
                      <a:pt x="139324" y="306911"/>
                      <a:pt x="146884" y="306911"/>
                    </a:cubicBezTo>
                    <a:cubicBezTo>
                      <a:pt x="173346" y="306911"/>
                      <a:pt x="196028" y="284177"/>
                      <a:pt x="196028" y="257654"/>
                    </a:cubicBezTo>
                    <a:cubicBezTo>
                      <a:pt x="196028" y="257654"/>
                      <a:pt x="196028" y="257654"/>
                      <a:pt x="196028" y="128827"/>
                    </a:cubicBezTo>
                    <a:cubicBezTo>
                      <a:pt x="196028" y="56835"/>
                      <a:pt x="252733" y="0"/>
                      <a:pt x="324559" y="0"/>
                    </a:cubicBezTo>
                    <a:close/>
                  </a:path>
                </a:pathLst>
              </a:custGeom>
              <a:solidFill>
                <a:schemeClr val="bg1"/>
              </a:solidFill>
              <a:ln>
                <a:noFill/>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t" anchorCtr="0" compatLnSpc="1">
                <a:prstTxWarp prst="textNoShape">
                  <a:avLst/>
                </a:prstTxWarp>
                <a:noAutofit/>
              </a:bodyPr>
              <a:lstStyle/>
              <a:p>
                <a:endParaRPr lang="en-GB" sz="1600" dirty="0">
                  <a:solidFill>
                    <a:srgbClr val="000000"/>
                  </a:solidFill>
                </a:endParaRPr>
              </a:p>
            </p:txBody>
          </p:sp>
          <p:sp>
            <p:nvSpPr>
              <p:cNvPr id="106" name="Rectangle 105"/>
              <p:cNvSpPr/>
              <p:nvPr/>
            </p:nvSpPr>
            <p:spPr>
              <a:xfrm>
                <a:off x="1378737" y="5349746"/>
                <a:ext cx="38326" cy="479080"/>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rgbClr val="000000"/>
                  </a:solidFill>
                </a:endParaRPr>
              </a:p>
            </p:txBody>
          </p:sp>
        </p:grpSp>
        <p:sp>
          <p:nvSpPr>
            <p:cNvPr id="101" name="TextBox 100"/>
            <p:cNvSpPr txBox="1"/>
            <p:nvPr/>
          </p:nvSpPr>
          <p:spPr>
            <a:xfrm>
              <a:off x="2463448" y="2347087"/>
              <a:ext cx="789990" cy="229294"/>
            </a:xfrm>
            <a:prstGeom prst="rect">
              <a:avLst/>
            </a:prstGeom>
            <a:noFill/>
          </p:spPr>
          <p:txBody>
            <a:bodyPr wrap="square" rtlCol="0" anchor="ctr" anchorCtr="0">
              <a:spAutoFit/>
            </a:bodyPr>
            <a:lstStyle/>
            <a:p>
              <a:pPr algn="ctr">
                <a:lnSpc>
                  <a:spcPct val="89000"/>
                </a:lnSpc>
              </a:pPr>
              <a:r>
                <a:rPr lang="en-US" sz="1000" b="1" dirty="0" smtClean="0">
                  <a:solidFill>
                    <a:schemeClr val="tx2"/>
                  </a:solidFill>
                  <a:ea typeface="Open Sans" panose="020B0606030504020204" pitchFamily="34" charset="0"/>
                  <a:cs typeface="Open Sans" panose="020B0606030504020204" pitchFamily="34" charset="0"/>
                </a:rPr>
                <a:t>348</a:t>
              </a:r>
              <a:endParaRPr lang="en-US" sz="1000" b="1" dirty="0">
                <a:solidFill>
                  <a:srgbClr val="003755"/>
                </a:solidFill>
                <a:ea typeface="Open Sans" panose="020B0606030504020204" pitchFamily="34" charset="0"/>
                <a:cs typeface="Open Sans" panose="020B0606030504020204" pitchFamily="34" charset="0"/>
              </a:endParaRPr>
            </a:p>
          </p:txBody>
        </p:sp>
      </p:grpSp>
      <p:sp>
        <p:nvSpPr>
          <p:cNvPr id="107" name="Title 5"/>
          <p:cNvSpPr>
            <a:spLocks noGrp="1"/>
          </p:cNvSpPr>
          <p:nvPr>
            <p:ph type="title"/>
          </p:nvPr>
        </p:nvSpPr>
        <p:spPr>
          <a:xfrm>
            <a:off x="431900" y="728663"/>
            <a:ext cx="11332800" cy="332399"/>
          </a:xfrm>
        </p:spPr>
        <p:txBody>
          <a:bodyPr/>
          <a:lstStyle/>
          <a:p>
            <a:r>
              <a:rPr lang="en-US" dirty="0" smtClean="0">
                <a:solidFill>
                  <a:schemeClr val="tx2"/>
                </a:solidFill>
              </a:rPr>
              <a:t>Most commonly addressed ESG topics across geography</a:t>
            </a:r>
            <a:endParaRPr lang="en-GB" dirty="0">
              <a:solidFill>
                <a:schemeClr val="tx2"/>
              </a:solidFill>
            </a:endParaRPr>
          </a:p>
        </p:txBody>
      </p:sp>
      <p:grpSp>
        <p:nvGrpSpPr>
          <p:cNvPr id="133" name="Group 132"/>
          <p:cNvGrpSpPr/>
          <p:nvPr/>
        </p:nvGrpSpPr>
        <p:grpSpPr>
          <a:xfrm>
            <a:off x="756644" y="3386428"/>
            <a:ext cx="1193117" cy="594936"/>
            <a:chOff x="616986" y="2832396"/>
            <a:chExt cx="1193117" cy="594936"/>
          </a:xfrm>
        </p:grpSpPr>
        <p:sp>
          <p:nvSpPr>
            <p:cNvPr id="109" name="TextBox 108"/>
            <p:cNvSpPr txBox="1"/>
            <p:nvPr/>
          </p:nvSpPr>
          <p:spPr>
            <a:xfrm>
              <a:off x="616986" y="3242666"/>
              <a:ext cx="1193117" cy="184666"/>
            </a:xfrm>
            <a:prstGeom prst="rect">
              <a:avLst/>
            </a:prstGeom>
            <a:noFill/>
          </p:spPr>
          <p:txBody>
            <a:bodyPr wrap="square" lIns="0" tIns="0" rIns="0" bIns="0" rtlCol="0">
              <a:spAutoFit/>
            </a:bodyPr>
            <a:lstStyle/>
            <a:p>
              <a:r>
                <a:rPr lang="en-US" sz="1200" b="1" dirty="0" smtClean="0">
                  <a:solidFill>
                    <a:srgbClr val="003755"/>
                  </a:solidFill>
                </a:rPr>
                <a:t>ESG Integration</a:t>
              </a:r>
            </a:p>
          </p:txBody>
        </p:sp>
        <p:pic>
          <p:nvPicPr>
            <p:cNvPr id="110" name="USA_US"/>
            <p:cNvPicPr>
              <a:picLocks noChangeAspect="1"/>
            </p:cNvPicPr>
            <p:nvPr>
              <p:custDataLst>
                <p:tags r:id="rId2"/>
              </p:custDataLst>
            </p:nvPr>
          </p:nvPicPr>
          <p:blipFill>
            <a:blip r:embed="rId88" cstate="print">
              <a:extLst>
                <a:ext uri="{28A0092B-C50C-407E-A947-70E740481C1C}">
                  <a14:useLocalDpi xmlns:a14="http://schemas.microsoft.com/office/drawing/2010/main" val="0"/>
                </a:ext>
              </a:extLst>
            </a:blip>
            <a:stretch>
              <a:fillRect/>
            </a:stretch>
          </p:blipFill>
          <p:spPr>
            <a:xfrm>
              <a:off x="1033545" y="2832396"/>
              <a:ext cx="360000" cy="360000"/>
            </a:xfrm>
            <a:prstGeom prst="rect">
              <a:avLst/>
            </a:prstGeom>
          </p:spPr>
        </p:pic>
      </p:grpSp>
      <p:sp>
        <p:nvSpPr>
          <p:cNvPr id="119" name="TextBox 118"/>
          <p:cNvSpPr txBox="1"/>
          <p:nvPr/>
        </p:nvSpPr>
        <p:spPr>
          <a:xfrm>
            <a:off x="5317416" y="1208916"/>
            <a:ext cx="1114754" cy="369332"/>
          </a:xfrm>
          <a:prstGeom prst="rect">
            <a:avLst/>
          </a:prstGeom>
          <a:noFill/>
        </p:spPr>
        <p:txBody>
          <a:bodyPr wrap="square" lIns="0" tIns="0" rIns="0" bIns="0" rtlCol="0">
            <a:spAutoFit/>
          </a:bodyPr>
          <a:lstStyle/>
          <a:p>
            <a:pPr algn="ctr"/>
            <a:r>
              <a:rPr lang="en-US" sz="1200" b="1" dirty="0" smtClean="0">
                <a:solidFill>
                  <a:srgbClr val="003755"/>
                </a:solidFill>
              </a:rPr>
              <a:t>Ownership</a:t>
            </a:r>
          </a:p>
          <a:p>
            <a:pPr algn="ctr"/>
            <a:r>
              <a:rPr lang="en-US" sz="1200" b="1" dirty="0" smtClean="0">
                <a:solidFill>
                  <a:srgbClr val="003755"/>
                </a:solidFill>
              </a:rPr>
              <a:t>Structure</a:t>
            </a:r>
            <a:endParaRPr lang="en-GB" sz="1200" b="1" dirty="0" smtClean="0">
              <a:solidFill>
                <a:srgbClr val="003755"/>
              </a:solidFill>
            </a:endParaRPr>
          </a:p>
        </p:txBody>
      </p:sp>
      <p:sp>
        <p:nvSpPr>
          <p:cNvPr id="126" name="TextBox 125"/>
          <p:cNvSpPr txBox="1"/>
          <p:nvPr/>
        </p:nvSpPr>
        <p:spPr>
          <a:xfrm>
            <a:off x="5855617" y="4434567"/>
            <a:ext cx="1114754" cy="369332"/>
          </a:xfrm>
          <a:prstGeom prst="rect">
            <a:avLst/>
          </a:prstGeom>
          <a:noFill/>
        </p:spPr>
        <p:txBody>
          <a:bodyPr wrap="square" lIns="0" tIns="0" rIns="0" bIns="0" rtlCol="0">
            <a:spAutoFit/>
          </a:bodyPr>
          <a:lstStyle/>
          <a:p>
            <a:pPr algn="ctr"/>
            <a:r>
              <a:rPr lang="en-US" sz="1200" b="1" dirty="0">
                <a:solidFill>
                  <a:srgbClr val="003755"/>
                </a:solidFill>
              </a:rPr>
              <a:t>Energy Efficiency</a:t>
            </a:r>
            <a:endParaRPr lang="en-GB" sz="1200" b="1" dirty="0" smtClean="0">
              <a:solidFill>
                <a:srgbClr val="003755"/>
              </a:solidFill>
            </a:endParaRPr>
          </a:p>
        </p:txBody>
      </p:sp>
      <p:sp>
        <p:nvSpPr>
          <p:cNvPr id="128" name="TextBox 127"/>
          <p:cNvSpPr txBox="1"/>
          <p:nvPr/>
        </p:nvSpPr>
        <p:spPr>
          <a:xfrm>
            <a:off x="7444832" y="2281716"/>
            <a:ext cx="2637218" cy="369332"/>
          </a:xfrm>
          <a:prstGeom prst="rect">
            <a:avLst/>
          </a:prstGeom>
          <a:noFill/>
        </p:spPr>
        <p:txBody>
          <a:bodyPr wrap="square" lIns="0" tIns="0" rIns="0" bIns="0" rtlCol="0">
            <a:spAutoFit/>
          </a:bodyPr>
          <a:lstStyle/>
          <a:p>
            <a:pPr algn="ctr"/>
            <a:r>
              <a:rPr lang="en-US" sz="1200" b="1" dirty="0" smtClean="0">
                <a:solidFill>
                  <a:srgbClr val="003755"/>
                </a:solidFill>
              </a:rPr>
              <a:t>Employee Health </a:t>
            </a:r>
          </a:p>
          <a:p>
            <a:pPr algn="ctr"/>
            <a:r>
              <a:rPr lang="en-US" sz="1200" b="1" dirty="0" smtClean="0">
                <a:solidFill>
                  <a:srgbClr val="003755"/>
                </a:solidFill>
              </a:rPr>
              <a:t>&amp; Safety</a:t>
            </a:r>
          </a:p>
        </p:txBody>
      </p:sp>
      <p:sp>
        <p:nvSpPr>
          <p:cNvPr id="134" name="TextBox 133"/>
          <p:cNvSpPr txBox="1"/>
          <p:nvPr/>
        </p:nvSpPr>
        <p:spPr>
          <a:xfrm>
            <a:off x="7219225" y="4684364"/>
            <a:ext cx="1114754" cy="369332"/>
          </a:xfrm>
          <a:prstGeom prst="rect">
            <a:avLst/>
          </a:prstGeom>
          <a:noFill/>
        </p:spPr>
        <p:txBody>
          <a:bodyPr wrap="square" lIns="0" tIns="0" rIns="0" bIns="0" rtlCol="0">
            <a:spAutoFit/>
          </a:bodyPr>
          <a:lstStyle/>
          <a:p>
            <a:pPr algn="ctr"/>
            <a:r>
              <a:rPr lang="en-US" sz="1200" b="1" dirty="0">
                <a:solidFill>
                  <a:srgbClr val="003755"/>
                </a:solidFill>
              </a:rPr>
              <a:t>Green </a:t>
            </a:r>
            <a:endParaRPr lang="en-US" sz="1200" b="1" dirty="0" smtClean="0">
              <a:solidFill>
                <a:srgbClr val="003755"/>
              </a:solidFill>
            </a:endParaRPr>
          </a:p>
          <a:p>
            <a:pPr algn="ctr"/>
            <a:r>
              <a:rPr lang="en-US" sz="1200" b="1" dirty="0" smtClean="0">
                <a:solidFill>
                  <a:srgbClr val="003755"/>
                </a:solidFill>
              </a:rPr>
              <a:t>Financing</a:t>
            </a:r>
            <a:endParaRPr lang="en-GB" sz="1200" b="1" dirty="0" smtClean="0">
              <a:solidFill>
                <a:srgbClr val="003755"/>
              </a:solidFill>
            </a:endParaRPr>
          </a:p>
        </p:txBody>
      </p:sp>
      <p:sp>
        <p:nvSpPr>
          <p:cNvPr id="135" name="TextBox 134"/>
          <p:cNvSpPr txBox="1"/>
          <p:nvPr/>
        </p:nvSpPr>
        <p:spPr>
          <a:xfrm>
            <a:off x="7443772" y="2964793"/>
            <a:ext cx="1114754" cy="184666"/>
          </a:xfrm>
          <a:prstGeom prst="rect">
            <a:avLst/>
          </a:prstGeom>
          <a:noFill/>
        </p:spPr>
        <p:txBody>
          <a:bodyPr wrap="square" lIns="0" tIns="0" rIns="0" bIns="0" rtlCol="0">
            <a:spAutoFit/>
          </a:bodyPr>
          <a:lstStyle/>
          <a:p>
            <a:pPr algn="ctr"/>
            <a:r>
              <a:rPr lang="en-US" sz="1200" b="1" dirty="0">
                <a:solidFill>
                  <a:srgbClr val="003755"/>
                </a:solidFill>
              </a:rPr>
              <a:t>GHG Emissions</a:t>
            </a:r>
            <a:endParaRPr lang="en-GB" sz="1200" b="1" dirty="0" smtClean="0">
              <a:solidFill>
                <a:srgbClr val="003755"/>
              </a:solidFill>
            </a:endParaRPr>
          </a:p>
        </p:txBody>
      </p:sp>
      <p:sp>
        <p:nvSpPr>
          <p:cNvPr id="136" name="TextBox 135"/>
          <p:cNvSpPr txBox="1"/>
          <p:nvPr/>
        </p:nvSpPr>
        <p:spPr>
          <a:xfrm>
            <a:off x="6768411" y="3311167"/>
            <a:ext cx="1114754" cy="369332"/>
          </a:xfrm>
          <a:prstGeom prst="rect">
            <a:avLst/>
          </a:prstGeom>
          <a:noFill/>
        </p:spPr>
        <p:txBody>
          <a:bodyPr wrap="square" lIns="0" tIns="0" rIns="0" bIns="0" rtlCol="0">
            <a:spAutoFit/>
          </a:bodyPr>
          <a:lstStyle/>
          <a:p>
            <a:pPr algn="ctr"/>
            <a:r>
              <a:rPr lang="en-US" sz="1200" b="1" dirty="0">
                <a:solidFill>
                  <a:srgbClr val="003755"/>
                </a:solidFill>
              </a:rPr>
              <a:t>Executive Compensation</a:t>
            </a:r>
            <a:endParaRPr lang="en-GB" sz="1200" b="1" dirty="0" smtClean="0">
              <a:solidFill>
                <a:srgbClr val="003755"/>
              </a:solidFill>
            </a:endParaRPr>
          </a:p>
        </p:txBody>
      </p:sp>
      <p:sp>
        <p:nvSpPr>
          <p:cNvPr id="137" name="TextBox 136"/>
          <p:cNvSpPr txBox="1"/>
          <p:nvPr/>
        </p:nvSpPr>
        <p:spPr>
          <a:xfrm>
            <a:off x="9784669" y="5948042"/>
            <a:ext cx="1114754" cy="184666"/>
          </a:xfrm>
          <a:prstGeom prst="rect">
            <a:avLst/>
          </a:prstGeom>
          <a:noFill/>
        </p:spPr>
        <p:txBody>
          <a:bodyPr wrap="square" lIns="0" tIns="0" rIns="0" bIns="0" rtlCol="0">
            <a:spAutoFit/>
          </a:bodyPr>
          <a:lstStyle/>
          <a:p>
            <a:pPr algn="ctr"/>
            <a:r>
              <a:rPr lang="en-US" sz="1200" b="1" dirty="0" smtClean="0">
                <a:solidFill>
                  <a:srgbClr val="003755"/>
                </a:solidFill>
              </a:rPr>
              <a:t>Regulations</a:t>
            </a:r>
            <a:endParaRPr lang="en-GB" sz="1200" b="1" dirty="0" smtClean="0">
              <a:solidFill>
                <a:srgbClr val="003755"/>
              </a:solidFill>
            </a:endParaRPr>
          </a:p>
        </p:txBody>
      </p:sp>
      <p:sp>
        <p:nvSpPr>
          <p:cNvPr id="138" name="TextBox 137"/>
          <p:cNvSpPr txBox="1"/>
          <p:nvPr/>
        </p:nvSpPr>
        <p:spPr>
          <a:xfrm>
            <a:off x="9954536" y="3177189"/>
            <a:ext cx="1114754" cy="184666"/>
          </a:xfrm>
          <a:prstGeom prst="rect">
            <a:avLst/>
          </a:prstGeom>
          <a:noFill/>
        </p:spPr>
        <p:txBody>
          <a:bodyPr wrap="square" lIns="0" tIns="0" rIns="0" bIns="0" rtlCol="0">
            <a:spAutoFit/>
          </a:bodyPr>
          <a:lstStyle/>
          <a:p>
            <a:pPr algn="ctr"/>
            <a:r>
              <a:rPr lang="en-US" sz="1200" b="1" dirty="0" smtClean="0">
                <a:solidFill>
                  <a:srgbClr val="003755"/>
                </a:solidFill>
              </a:rPr>
              <a:t>Dividends</a:t>
            </a:r>
            <a:endParaRPr lang="en-GB" sz="1200" b="1" dirty="0" smtClean="0">
              <a:solidFill>
                <a:srgbClr val="003755"/>
              </a:solidFill>
            </a:endParaRPr>
          </a:p>
        </p:txBody>
      </p:sp>
      <p:sp>
        <p:nvSpPr>
          <p:cNvPr id="139" name="TextBox 138"/>
          <p:cNvSpPr txBox="1"/>
          <p:nvPr/>
        </p:nvSpPr>
        <p:spPr>
          <a:xfrm>
            <a:off x="7737749" y="3991621"/>
            <a:ext cx="1114754" cy="369332"/>
          </a:xfrm>
          <a:prstGeom prst="rect">
            <a:avLst/>
          </a:prstGeom>
          <a:noFill/>
        </p:spPr>
        <p:txBody>
          <a:bodyPr wrap="square" lIns="0" tIns="0" rIns="0" bIns="0" rtlCol="0">
            <a:spAutoFit/>
          </a:bodyPr>
          <a:lstStyle/>
          <a:p>
            <a:pPr algn="ctr"/>
            <a:r>
              <a:rPr lang="en-US" sz="1200" b="1" dirty="0">
                <a:solidFill>
                  <a:srgbClr val="003755"/>
                </a:solidFill>
              </a:rPr>
              <a:t>Energy Efficiency</a:t>
            </a:r>
            <a:endParaRPr lang="en-GB" sz="1200" b="1" dirty="0" smtClean="0">
              <a:solidFill>
                <a:srgbClr val="003755"/>
              </a:solidFill>
            </a:endParaRPr>
          </a:p>
        </p:txBody>
      </p:sp>
      <p:sp>
        <p:nvSpPr>
          <p:cNvPr id="140" name="TextBox 139"/>
          <p:cNvSpPr txBox="1"/>
          <p:nvPr/>
        </p:nvSpPr>
        <p:spPr>
          <a:xfrm>
            <a:off x="6755509" y="2411672"/>
            <a:ext cx="1114754" cy="184666"/>
          </a:xfrm>
          <a:prstGeom prst="rect">
            <a:avLst/>
          </a:prstGeom>
          <a:noFill/>
        </p:spPr>
        <p:txBody>
          <a:bodyPr wrap="square" lIns="0" tIns="0" rIns="0" bIns="0" rtlCol="0">
            <a:spAutoFit/>
          </a:bodyPr>
          <a:lstStyle/>
          <a:p>
            <a:pPr algn="ctr"/>
            <a:r>
              <a:rPr lang="en-US" sz="1200" b="1" dirty="0" smtClean="0">
                <a:solidFill>
                  <a:srgbClr val="003755"/>
                </a:solidFill>
              </a:rPr>
              <a:t>Dividends</a:t>
            </a:r>
            <a:endParaRPr lang="en-GB" sz="1200" b="1" dirty="0" smtClean="0">
              <a:solidFill>
                <a:srgbClr val="003755"/>
              </a:solidFill>
            </a:endParaRPr>
          </a:p>
        </p:txBody>
      </p:sp>
      <p:sp>
        <p:nvSpPr>
          <p:cNvPr id="141" name="TextBox 140"/>
          <p:cNvSpPr txBox="1"/>
          <p:nvPr/>
        </p:nvSpPr>
        <p:spPr>
          <a:xfrm>
            <a:off x="5846921" y="4080523"/>
            <a:ext cx="2637218" cy="369332"/>
          </a:xfrm>
          <a:prstGeom prst="rect">
            <a:avLst/>
          </a:prstGeom>
          <a:noFill/>
        </p:spPr>
        <p:txBody>
          <a:bodyPr wrap="square" lIns="0" tIns="0" rIns="0" bIns="0" rtlCol="0">
            <a:spAutoFit/>
          </a:bodyPr>
          <a:lstStyle/>
          <a:p>
            <a:pPr algn="ctr"/>
            <a:r>
              <a:rPr lang="en-US" sz="1200" b="1" dirty="0" smtClean="0">
                <a:solidFill>
                  <a:srgbClr val="003755"/>
                </a:solidFill>
              </a:rPr>
              <a:t>Employee Health </a:t>
            </a:r>
          </a:p>
          <a:p>
            <a:pPr algn="ctr"/>
            <a:r>
              <a:rPr lang="en-US" sz="1200" b="1" dirty="0" smtClean="0">
                <a:solidFill>
                  <a:srgbClr val="003755"/>
                </a:solidFill>
              </a:rPr>
              <a:t>&amp; Safety</a:t>
            </a:r>
          </a:p>
        </p:txBody>
      </p:sp>
      <p:sp>
        <p:nvSpPr>
          <p:cNvPr id="142" name="TextBox 141"/>
          <p:cNvSpPr txBox="1"/>
          <p:nvPr/>
        </p:nvSpPr>
        <p:spPr>
          <a:xfrm>
            <a:off x="6379209" y="3802841"/>
            <a:ext cx="1114754" cy="184666"/>
          </a:xfrm>
          <a:prstGeom prst="rect">
            <a:avLst/>
          </a:prstGeom>
          <a:noFill/>
        </p:spPr>
        <p:txBody>
          <a:bodyPr wrap="square" lIns="0" tIns="0" rIns="0" bIns="0" rtlCol="0">
            <a:spAutoFit/>
          </a:bodyPr>
          <a:lstStyle/>
          <a:p>
            <a:pPr algn="ctr"/>
            <a:r>
              <a:rPr lang="en-US" sz="1200" b="1" dirty="0">
                <a:solidFill>
                  <a:srgbClr val="003755"/>
                </a:solidFill>
              </a:rPr>
              <a:t>GHG Emissions</a:t>
            </a:r>
            <a:endParaRPr lang="en-GB" sz="1200" b="1" dirty="0" smtClean="0">
              <a:solidFill>
                <a:srgbClr val="003755"/>
              </a:solidFill>
            </a:endParaRPr>
          </a:p>
        </p:txBody>
      </p:sp>
      <p:sp>
        <p:nvSpPr>
          <p:cNvPr id="143" name="TextBox 142"/>
          <p:cNvSpPr txBox="1"/>
          <p:nvPr/>
        </p:nvSpPr>
        <p:spPr>
          <a:xfrm>
            <a:off x="7367296" y="4428833"/>
            <a:ext cx="1114754" cy="184666"/>
          </a:xfrm>
          <a:prstGeom prst="rect">
            <a:avLst/>
          </a:prstGeom>
          <a:noFill/>
        </p:spPr>
        <p:txBody>
          <a:bodyPr wrap="square" lIns="0" tIns="0" rIns="0" bIns="0" rtlCol="0">
            <a:spAutoFit/>
          </a:bodyPr>
          <a:lstStyle/>
          <a:p>
            <a:pPr algn="ctr"/>
            <a:r>
              <a:rPr lang="en-US" sz="1200" b="1" dirty="0">
                <a:solidFill>
                  <a:srgbClr val="003755"/>
                </a:solidFill>
              </a:rPr>
              <a:t>GHG Emissions</a:t>
            </a:r>
            <a:endParaRPr lang="en-GB" sz="1200" b="1" dirty="0" smtClean="0">
              <a:solidFill>
                <a:srgbClr val="003755"/>
              </a:solidFill>
            </a:endParaRPr>
          </a:p>
        </p:txBody>
      </p:sp>
      <p:sp>
        <p:nvSpPr>
          <p:cNvPr id="144" name="TextBox 143"/>
          <p:cNvSpPr txBox="1"/>
          <p:nvPr/>
        </p:nvSpPr>
        <p:spPr>
          <a:xfrm>
            <a:off x="7422920" y="6222102"/>
            <a:ext cx="2637218" cy="369332"/>
          </a:xfrm>
          <a:prstGeom prst="rect">
            <a:avLst/>
          </a:prstGeom>
          <a:noFill/>
        </p:spPr>
        <p:txBody>
          <a:bodyPr wrap="square" lIns="0" tIns="0" rIns="0" bIns="0" rtlCol="0">
            <a:spAutoFit/>
          </a:bodyPr>
          <a:lstStyle/>
          <a:p>
            <a:pPr algn="ctr"/>
            <a:r>
              <a:rPr lang="en-US" sz="1200" b="1" dirty="0">
                <a:solidFill>
                  <a:srgbClr val="003755"/>
                </a:solidFill>
              </a:rPr>
              <a:t>Energy </a:t>
            </a:r>
            <a:endParaRPr lang="en-US" sz="1200" b="1" dirty="0" smtClean="0">
              <a:solidFill>
                <a:srgbClr val="003755"/>
              </a:solidFill>
            </a:endParaRPr>
          </a:p>
          <a:p>
            <a:pPr algn="ctr"/>
            <a:r>
              <a:rPr lang="en-US" sz="1200" b="1" dirty="0" smtClean="0">
                <a:solidFill>
                  <a:srgbClr val="003755"/>
                </a:solidFill>
              </a:rPr>
              <a:t>Consumption</a:t>
            </a:r>
          </a:p>
        </p:txBody>
      </p:sp>
      <p:sp>
        <p:nvSpPr>
          <p:cNvPr id="145" name="TextBox 144"/>
          <p:cNvSpPr txBox="1"/>
          <p:nvPr/>
        </p:nvSpPr>
        <p:spPr>
          <a:xfrm>
            <a:off x="5110662" y="3402377"/>
            <a:ext cx="1114754" cy="184666"/>
          </a:xfrm>
          <a:prstGeom prst="rect">
            <a:avLst/>
          </a:prstGeom>
          <a:noFill/>
        </p:spPr>
        <p:txBody>
          <a:bodyPr wrap="square" lIns="0" tIns="0" rIns="0" bIns="0" rtlCol="0">
            <a:spAutoFit/>
          </a:bodyPr>
          <a:lstStyle/>
          <a:p>
            <a:pPr algn="ctr"/>
            <a:r>
              <a:rPr lang="en-US" sz="1200" b="1" dirty="0" err="1" smtClean="0">
                <a:solidFill>
                  <a:srgbClr val="003755"/>
                </a:solidFill>
              </a:rPr>
              <a:t>Digitalisation</a:t>
            </a:r>
            <a:endParaRPr lang="en-GB" sz="1200" b="1" dirty="0" smtClean="0">
              <a:solidFill>
                <a:srgbClr val="003755"/>
              </a:solidFill>
            </a:endParaRPr>
          </a:p>
        </p:txBody>
      </p:sp>
      <p:sp>
        <p:nvSpPr>
          <p:cNvPr id="146" name="TextBox 145"/>
          <p:cNvSpPr txBox="1"/>
          <p:nvPr/>
        </p:nvSpPr>
        <p:spPr>
          <a:xfrm>
            <a:off x="6191506" y="5539854"/>
            <a:ext cx="2637218" cy="369332"/>
          </a:xfrm>
          <a:prstGeom prst="rect">
            <a:avLst/>
          </a:prstGeom>
          <a:noFill/>
        </p:spPr>
        <p:txBody>
          <a:bodyPr wrap="square" lIns="0" tIns="0" rIns="0" bIns="0" rtlCol="0">
            <a:spAutoFit/>
          </a:bodyPr>
          <a:lstStyle/>
          <a:p>
            <a:pPr algn="ctr"/>
            <a:r>
              <a:rPr lang="en-US" sz="1200" b="1" dirty="0" smtClean="0">
                <a:solidFill>
                  <a:srgbClr val="003755"/>
                </a:solidFill>
              </a:rPr>
              <a:t>Employee Health </a:t>
            </a:r>
          </a:p>
          <a:p>
            <a:pPr algn="ctr"/>
            <a:r>
              <a:rPr lang="en-US" sz="1200" b="1" dirty="0" smtClean="0">
                <a:solidFill>
                  <a:srgbClr val="003755"/>
                </a:solidFill>
              </a:rPr>
              <a:t>&amp; Safety</a:t>
            </a:r>
          </a:p>
        </p:txBody>
      </p:sp>
      <p:sp>
        <p:nvSpPr>
          <p:cNvPr id="147" name="TextBox 146"/>
          <p:cNvSpPr txBox="1"/>
          <p:nvPr/>
        </p:nvSpPr>
        <p:spPr>
          <a:xfrm>
            <a:off x="4265621" y="5382866"/>
            <a:ext cx="1114754" cy="369332"/>
          </a:xfrm>
          <a:prstGeom prst="rect">
            <a:avLst/>
          </a:prstGeom>
          <a:noFill/>
        </p:spPr>
        <p:txBody>
          <a:bodyPr wrap="square" lIns="0" tIns="0" rIns="0" bIns="0" rtlCol="0">
            <a:spAutoFit/>
          </a:bodyPr>
          <a:lstStyle/>
          <a:p>
            <a:pPr algn="ctr"/>
            <a:r>
              <a:rPr lang="en-US" sz="1200" b="1" dirty="0" smtClean="0">
                <a:solidFill>
                  <a:srgbClr val="003755"/>
                </a:solidFill>
              </a:rPr>
              <a:t>Sustainable</a:t>
            </a:r>
          </a:p>
          <a:p>
            <a:pPr algn="ctr"/>
            <a:r>
              <a:rPr lang="en-US" sz="1200" b="1" dirty="0" smtClean="0">
                <a:solidFill>
                  <a:srgbClr val="003755"/>
                </a:solidFill>
              </a:rPr>
              <a:t>Products</a:t>
            </a:r>
            <a:endParaRPr lang="en-GB" sz="1200" b="1" dirty="0" smtClean="0">
              <a:solidFill>
                <a:srgbClr val="003755"/>
              </a:solidFill>
            </a:endParaRPr>
          </a:p>
        </p:txBody>
      </p:sp>
      <p:sp>
        <p:nvSpPr>
          <p:cNvPr id="148" name="TextBox 147"/>
          <p:cNvSpPr txBox="1"/>
          <p:nvPr/>
        </p:nvSpPr>
        <p:spPr>
          <a:xfrm>
            <a:off x="4482331" y="5504054"/>
            <a:ext cx="2637218" cy="369332"/>
          </a:xfrm>
          <a:prstGeom prst="rect">
            <a:avLst/>
          </a:prstGeom>
          <a:noFill/>
        </p:spPr>
        <p:txBody>
          <a:bodyPr wrap="square" lIns="0" tIns="0" rIns="0" bIns="0" rtlCol="0">
            <a:spAutoFit/>
          </a:bodyPr>
          <a:lstStyle/>
          <a:p>
            <a:pPr algn="ctr"/>
            <a:r>
              <a:rPr lang="en-US" sz="1200" b="1" dirty="0" smtClean="0">
                <a:solidFill>
                  <a:srgbClr val="003755"/>
                </a:solidFill>
              </a:rPr>
              <a:t>Employee Health </a:t>
            </a:r>
          </a:p>
          <a:p>
            <a:pPr algn="ctr"/>
            <a:r>
              <a:rPr lang="en-US" sz="1200" b="1" dirty="0" smtClean="0">
                <a:solidFill>
                  <a:srgbClr val="003755"/>
                </a:solidFill>
              </a:rPr>
              <a:t>&amp; Safety</a:t>
            </a:r>
          </a:p>
        </p:txBody>
      </p:sp>
      <p:sp>
        <p:nvSpPr>
          <p:cNvPr id="149" name="TextBox 148"/>
          <p:cNvSpPr txBox="1"/>
          <p:nvPr/>
        </p:nvSpPr>
        <p:spPr>
          <a:xfrm>
            <a:off x="6454012" y="4664523"/>
            <a:ext cx="1193117" cy="369332"/>
          </a:xfrm>
          <a:prstGeom prst="rect">
            <a:avLst/>
          </a:prstGeom>
          <a:noFill/>
        </p:spPr>
        <p:txBody>
          <a:bodyPr wrap="square" lIns="0" tIns="0" rIns="0" bIns="0" rtlCol="0">
            <a:spAutoFit/>
          </a:bodyPr>
          <a:lstStyle/>
          <a:p>
            <a:pPr algn="ctr"/>
            <a:r>
              <a:rPr lang="en-US" sz="1200" b="1" dirty="0" smtClean="0">
                <a:solidFill>
                  <a:srgbClr val="003755"/>
                </a:solidFill>
              </a:rPr>
              <a:t>ESG </a:t>
            </a:r>
          </a:p>
          <a:p>
            <a:pPr algn="ctr"/>
            <a:r>
              <a:rPr lang="en-US" sz="1200" b="1" dirty="0" smtClean="0">
                <a:solidFill>
                  <a:srgbClr val="003755"/>
                </a:solidFill>
              </a:rPr>
              <a:t>Integration</a:t>
            </a:r>
          </a:p>
        </p:txBody>
      </p:sp>
      <p:sp>
        <p:nvSpPr>
          <p:cNvPr id="150" name="TextBox 149"/>
          <p:cNvSpPr txBox="1"/>
          <p:nvPr/>
        </p:nvSpPr>
        <p:spPr>
          <a:xfrm>
            <a:off x="5855617" y="3037382"/>
            <a:ext cx="1114754" cy="369332"/>
          </a:xfrm>
          <a:prstGeom prst="rect">
            <a:avLst/>
          </a:prstGeom>
          <a:noFill/>
        </p:spPr>
        <p:txBody>
          <a:bodyPr wrap="square" lIns="0" tIns="0" rIns="0" bIns="0" rtlCol="0">
            <a:spAutoFit/>
          </a:bodyPr>
          <a:lstStyle/>
          <a:p>
            <a:pPr algn="ctr"/>
            <a:r>
              <a:rPr lang="en-US" sz="1200" b="1" dirty="0" smtClean="0">
                <a:solidFill>
                  <a:srgbClr val="003755"/>
                </a:solidFill>
              </a:rPr>
              <a:t>Customer</a:t>
            </a:r>
          </a:p>
          <a:p>
            <a:pPr algn="ctr"/>
            <a:r>
              <a:rPr lang="en-US" sz="1200" b="1" dirty="0" smtClean="0">
                <a:solidFill>
                  <a:srgbClr val="003755"/>
                </a:solidFill>
              </a:rPr>
              <a:t>Welfare</a:t>
            </a:r>
            <a:endParaRPr lang="en-GB" sz="1200" b="1" dirty="0" smtClean="0">
              <a:solidFill>
                <a:srgbClr val="003755"/>
              </a:solidFill>
            </a:endParaRPr>
          </a:p>
        </p:txBody>
      </p:sp>
    </p:spTree>
    <p:extLst>
      <p:ext uri="{BB962C8B-B14F-4D97-AF65-F5344CB8AC3E}">
        <p14:creationId xmlns:p14="http://schemas.microsoft.com/office/powerpoint/2010/main" val="15820353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617"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431900" y="728663"/>
            <a:ext cx="11332800" cy="332399"/>
          </a:xfrm>
        </p:spPr>
        <p:txBody>
          <a:bodyPr/>
          <a:lstStyle/>
          <a:p>
            <a:r>
              <a:rPr lang="en-US" dirty="0" smtClean="0">
                <a:solidFill>
                  <a:schemeClr val="tx2"/>
                </a:solidFill>
              </a:rPr>
              <a:t>Company interactions are mainly with one-to-one and </a:t>
            </a:r>
            <a:r>
              <a:rPr lang="en-US" dirty="0" smtClean="0">
                <a:solidFill>
                  <a:srgbClr val="003755"/>
                </a:solidFill>
              </a:rPr>
              <a:t>with CEO</a:t>
            </a:r>
            <a:endParaRPr lang="en-US" dirty="0">
              <a:solidFill>
                <a:srgbClr val="003755"/>
              </a:solidFill>
            </a:endParaRPr>
          </a:p>
        </p:txBody>
      </p:sp>
      <p:sp>
        <p:nvSpPr>
          <p:cNvPr id="6" name="TextBox 5"/>
          <p:cNvSpPr txBox="1">
            <a:spLocks/>
          </p:cNvSpPr>
          <p:nvPr/>
        </p:nvSpPr>
        <p:spPr>
          <a:xfrm>
            <a:off x="4677564" y="1685655"/>
            <a:ext cx="5400000" cy="2154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buClr>
                <a:srgbClr val="003755"/>
              </a:buClr>
            </a:pPr>
            <a:r>
              <a:rPr lang="en-US" b="1" dirty="0" smtClean="0">
                <a:solidFill>
                  <a:srgbClr val="003755"/>
                </a:solidFill>
              </a:rPr>
              <a:t>Share of meetings by level of participants</a:t>
            </a:r>
            <a:endParaRPr lang="en-US" b="1" dirty="0">
              <a:solidFill>
                <a:srgbClr val="003755"/>
              </a:solidFill>
            </a:endParaRPr>
          </a:p>
        </p:txBody>
      </p:sp>
      <p:sp>
        <p:nvSpPr>
          <p:cNvPr id="8" name="TextBox 7"/>
          <p:cNvSpPr txBox="1">
            <a:spLocks/>
          </p:cNvSpPr>
          <p:nvPr/>
        </p:nvSpPr>
        <p:spPr>
          <a:xfrm>
            <a:off x="431900" y="1685656"/>
            <a:ext cx="5400000" cy="21544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buClr>
                <a:srgbClr val="003755"/>
              </a:buClr>
            </a:pPr>
            <a:r>
              <a:rPr lang="en-US" b="1" dirty="0" smtClean="0">
                <a:solidFill>
                  <a:srgbClr val="003755"/>
                </a:solidFill>
              </a:rPr>
              <a:t>Type of meeting</a:t>
            </a:r>
            <a:endParaRPr lang="en-US" b="1" dirty="0">
              <a:solidFill>
                <a:srgbClr val="003755"/>
              </a:solidFill>
            </a:endParaRPr>
          </a:p>
        </p:txBody>
      </p:sp>
      <p:graphicFrame>
        <p:nvGraphicFramePr>
          <p:cNvPr id="13" name="Chart 12"/>
          <p:cNvGraphicFramePr/>
          <p:nvPr>
            <p:extLst>
              <p:ext uri="{D42A27DB-BD31-4B8C-83A1-F6EECF244321}">
                <p14:modId xmlns:p14="http://schemas.microsoft.com/office/powerpoint/2010/main" val="658673931"/>
              </p:ext>
            </p:extLst>
          </p:nvPr>
        </p:nvGraphicFramePr>
        <p:xfrm>
          <a:off x="335388" y="2279999"/>
          <a:ext cx="3691948" cy="302749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p:cNvGraphicFramePr>
            <a:graphicFrameLocks/>
          </p:cNvGraphicFramePr>
          <p:nvPr>
            <p:extLst>
              <p:ext uri="{D42A27DB-BD31-4B8C-83A1-F6EECF244321}">
                <p14:modId xmlns:p14="http://schemas.microsoft.com/office/powerpoint/2010/main" val="1945139994"/>
              </p:ext>
            </p:extLst>
          </p:nvPr>
        </p:nvGraphicFramePr>
        <p:xfrm>
          <a:off x="4545646" y="2189795"/>
          <a:ext cx="7577528" cy="3834921"/>
        </p:xfrm>
        <a:graphic>
          <a:graphicData uri="http://schemas.openxmlformats.org/drawingml/2006/chart">
            <c:chart xmlns:c="http://schemas.openxmlformats.org/drawingml/2006/chart" xmlns:r="http://schemas.openxmlformats.org/officeDocument/2006/relationships" r:id="rId8"/>
          </a:graphicData>
        </a:graphic>
      </p:graphicFrame>
      <p:grpSp>
        <p:nvGrpSpPr>
          <p:cNvPr id="11" name="Group 10"/>
          <p:cNvGrpSpPr/>
          <p:nvPr/>
        </p:nvGrpSpPr>
        <p:grpSpPr>
          <a:xfrm>
            <a:off x="429768" y="192024"/>
            <a:ext cx="3010402" cy="420262"/>
            <a:chOff x="422044" y="2246444"/>
            <a:chExt cx="3010402" cy="420262"/>
          </a:xfrm>
        </p:grpSpPr>
        <p:grpSp>
          <p:nvGrpSpPr>
            <p:cNvPr id="12" name="Group 11"/>
            <p:cNvGrpSpPr>
              <a:grpSpLocks noChangeAspect="1"/>
            </p:cNvGrpSpPr>
            <p:nvPr/>
          </p:nvGrpSpPr>
          <p:grpSpPr>
            <a:xfrm>
              <a:off x="422044" y="2246444"/>
              <a:ext cx="3010402" cy="420262"/>
              <a:chOff x="487321" y="5086833"/>
              <a:chExt cx="7651443" cy="1004907"/>
            </a:xfrm>
          </p:grpSpPr>
          <p:sp>
            <p:nvSpPr>
              <p:cNvPr id="17" name="Rectangle 16"/>
              <p:cNvSpPr/>
              <p:nvPr/>
            </p:nvSpPr>
            <p:spPr>
              <a:xfrm>
                <a:off x="487321" y="5086833"/>
                <a:ext cx="7651443" cy="1004907"/>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18" name="Oval 17"/>
              <p:cNvSpPr/>
              <p:nvPr/>
            </p:nvSpPr>
            <p:spPr>
              <a:xfrm>
                <a:off x="524978" y="5256069"/>
                <a:ext cx="666433" cy="666433"/>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chemeClr val="tx1"/>
                  </a:solidFill>
                </a:endParaRPr>
              </a:p>
            </p:txBody>
          </p:sp>
          <p:sp>
            <p:nvSpPr>
              <p:cNvPr id="21" name="TextBox 20"/>
              <p:cNvSpPr txBox="1"/>
              <p:nvPr/>
            </p:nvSpPr>
            <p:spPr>
              <a:xfrm>
                <a:off x="1538667" y="5409286"/>
                <a:ext cx="2873981" cy="367968"/>
              </a:xfrm>
              <a:prstGeom prst="rect">
                <a:avLst/>
              </a:prstGeom>
              <a:noFill/>
            </p:spPr>
            <p:txBody>
              <a:bodyPr wrap="square" lIns="0" tIns="0" rIns="0" bIns="0" rtlCol="0">
                <a:spAutoFit/>
              </a:bodyPr>
              <a:lstStyle/>
              <a:p>
                <a:r>
                  <a:rPr lang="en-US" sz="1000" b="1" dirty="0">
                    <a:solidFill>
                      <a:srgbClr val="003755"/>
                    </a:solidFill>
                  </a:rPr>
                  <a:t>Interactions</a:t>
                </a:r>
              </a:p>
            </p:txBody>
          </p:sp>
          <p:sp>
            <p:nvSpPr>
              <p:cNvPr id="22" name="Advisory service"/>
              <p:cNvSpPr>
                <a:spLocks noChangeAspect="1"/>
              </p:cNvSpPr>
              <p:nvPr>
                <p:custDataLst>
                  <p:tags r:id="rId3"/>
                </p:custDataLst>
              </p:nvPr>
            </p:nvSpPr>
            <p:spPr bwMode="auto">
              <a:xfrm>
                <a:off x="617072" y="5409286"/>
                <a:ext cx="486420" cy="360000"/>
              </a:xfrm>
              <a:custGeom>
                <a:avLst/>
                <a:gdLst>
                  <a:gd name="connsiteX0" fmla="*/ 395288 w 1282700"/>
                  <a:gd name="connsiteY0" fmla="*/ 706437 h 949325"/>
                  <a:gd name="connsiteX1" fmla="*/ 434976 w 1282700"/>
                  <a:gd name="connsiteY1" fmla="*/ 746125 h 949325"/>
                  <a:gd name="connsiteX2" fmla="*/ 395288 w 1282700"/>
                  <a:gd name="connsiteY2" fmla="*/ 785813 h 949325"/>
                  <a:gd name="connsiteX3" fmla="*/ 355600 w 1282700"/>
                  <a:gd name="connsiteY3" fmla="*/ 746125 h 949325"/>
                  <a:gd name="connsiteX4" fmla="*/ 395288 w 1282700"/>
                  <a:gd name="connsiteY4" fmla="*/ 706437 h 949325"/>
                  <a:gd name="connsiteX5" fmla="*/ 395288 w 1282700"/>
                  <a:gd name="connsiteY5" fmla="*/ 606425 h 949325"/>
                  <a:gd name="connsiteX6" fmla="*/ 434976 w 1282700"/>
                  <a:gd name="connsiteY6" fmla="*/ 644525 h 949325"/>
                  <a:gd name="connsiteX7" fmla="*/ 395288 w 1282700"/>
                  <a:gd name="connsiteY7" fmla="*/ 682625 h 949325"/>
                  <a:gd name="connsiteX8" fmla="*/ 355600 w 1282700"/>
                  <a:gd name="connsiteY8" fmla="*/ 644525 h 949325"/>
                  <a:gd name="connsiteX9" fmla="*/ 395288 w 1282700"/>
                  <a:gd name="connsiteY9" fmla="*/ 606425 h 949325"/>
                  <a:gd name="connsiteX10" fmla="*/ 395288 w 1282700"/>
                  <a:gd name="connsiteY10" fmla="*/ 508000 h 949325"/>
                  <a:gd name="connsiteX11" fmla="*/ 434976 w 1282700"/>
                  <a:gd name="connsiteY11" fmla="*/ 546100 h 949325"/>
                  <a:gd name="connsiteX12" fmla="*/ 395288 w 1282700"/>
                  <a:gd name="connsiteY12" fmla="*/ 584200 h 949325"/>
                  <a:gd name="connsiteX13" fmla="*/ 355600 w 1282700"/>
                  <a:gd name="connsiteY13" fmla="*/ 546100 h 949325"/>
                  <a:gd name="connsiteX14" fmla="*/ 395288 w 1282700"/>
                  <a:gd name="connsiteY14" fmla="*/ 508000 h 949325"/>
                  <a:gd name="connsiteX15" fmla="*/ 865676 w 1282700"/>
                  <a:gd name="connsiteY15" fmla="*/ 496887 h 949325"/>
                  <a:gd name="connsiteX16" fmla="*/ 695325 w 1282700"/>
                  <a:gd name="connsiteY16" fmla="*/ 534787 h 949325"/>
                  <a:gd name="connsiteX17" fmla="*/ 596900 w 1282700"/>
                  <a:gd name="connsiteY17" fmla="*/ 656066 h 949325"/>
                  <a:gd name="connsiteX18" fmla="*/ 596900 w 1282700"/>
                  <a:gd name="connsiteY18" fmla="*/ 917574 h 949325"/>
                  <a:gd name="connsiteX19" fmla="*/ 687754 w 1282700"/>
                  <a:gd name="connsiteY19" fmla="*/ 917574 h 949325"/>
                  <a:gd name="connsiteX20" fmla="*/ 687754 w 1282700"/>
                  <a:gd name="connsiteY20" fmla="*/ 735655 h 949325"/>
                  <a:gd name="connsiteX21" fmla="*/ 702896 w 1282700"/>
                  <a:gd name="connsiteY21" fmla="*/ 720495 h 949325"/>
                  <a:gd name="connsiteX22" fmla="*/ 718039 w 1282700"/>
                  <a:gd name="connsiteY22" fmla="*/ 735655 h 949325"/>
                  <a:gd name="connsiteX23" fmla="*/ 718039 w 1282700"/>
                  <a:gd name="connsiteY23" fmla="*/ 917574 h 949325"/>
                  <a:gd name="connsiteX24" fmla="*/ 1017100 w 1282700"/>
                  <a:gd name="connsiteY24" fmla="*/ 917574 h 949325"/>
                  <a:gd name="connsiteX25" fmla="*/ 1017100 w 1282700"/>
                  <a:gd name="connsiteY25" fmla="*/ 735655 h 949325"/>
                  <a:gd name="connsiteX26" fmla="*/ 1032242 w 1282700"/>
                  <a:gd name="connsiteY26" fmla="*/ 720495 h 949325"/>
                  <a:gd name="connsiteX27" fmla="*/ 1047384 w 1282700"/>
                  <a:gd name="connsiteY27" fmla="*/ 735655 h 949325"/>
                  <a:gd name="connsiteX28" fmla="*/ 1047384 w 1282700"/>
                  <a:gd name="connsiteY28" fmla="*/ 917574 h 949325"/>
                  <a:gd name="connsiteX29" fmla="*/ 1138238 w 1282700"/>
                  <a:gd name="connsiteY29" fmla="*/ 917574 h 949325"/>
                  <a:gd name="connsiteX30" fmla="*/ 1138238 w 1282700"/>
                  <a:gd name="connsiteY30" fmla="*/ 659856 h 949325"/>
                  <a:gd name="connsiteX31" fmla="*/ 1039813 w 1282700"/>
                  <a:gd name="connsiteY31" fmla="*/ 534787 h 949325"/>
                  <a:gd name="connsiteX32" fmla="*/ 865676 w 1282700"/>
                  <a:gd name="connsiteY32" fmla="*/ 496887 h 949325"/>
                  <a:gd name="connsiteX33" fmla="*/ 248807 w 1282700"/>
                  <a:gd name="connsiteY33" fmla="*/ 428625 h 949325"/>
                  <a:gd name="connsiteX34" fmla="*/ 210933 w 1282700"/>
                  <a:gd name="connsiteY34" fmla="*/ 447599 h 949325"/>
                  <a:gd name="connsiteX35" fmla="*/ 123825 w 1282700"/>
                  <a:gd name="connsiteY35" fmla="*/ 565241 h 949325"/>
                  <a:gd name="connsiteX36" fmla="*/ 123825 w 1282700"/>
                  <a:gd name="connsiteY36" fmla="*/ 827087 h 949325"/>
                  <a:gd name="connsiteX37" fmla="*/ 214721 w 1282700"/>
                  <a:gd name="connsiteY37" fmla="*/ 827087 h 949325"/>
                  <a:gd name="connsiteX38" fmla="*/ 214721 w 1282700"/>
                  <a:gd name="connsiteY38" fmla="*/ 641138 h 949325"/>
                  <a:gd name="connsiteX39" fmla="*/ 229870 w 1282700"/>
                  <a:gd name="connsiteY39" fmla="*/ 625959 h 949325"/>
                  <a:gd name="connsiteX40" fmla="*/ 245019 w 1282700"/>
                  <a:gd name="connsiteY40" fmla="*/ 641138 h 949325"/>
                  <a:gd name="connsiteX41" fmla="*/ 245019 w 1282700"/>
                  <a:gd name="connsiteY41" fmla="*/ 827087 h 949325"/>
                  <a:gd name="connsiteX42" fmla="*/ 566942 w 1282700"/>
                  <a:gd name="connsiteY42" fmla="*/ 827087 h 949325"/>
                  <a:gd name="connsiteX43" fmla="*/ 566942 w 1282700"/>
                  <a:gd name="connsiteY43" fmla="*/ 656318 h 949325"/>
                  <a:gd name="connsiteX44" fmla="*/ 654050 w 1282700"/>
                  <a:gd name="connsiteY44" fmla="*/ 523497 h 949325"/>
                  <a:gd name="connsiteX45" fmla="*/ 578304 w 1282700"/>
                  <a:gd name="connsiteY45" fmla="*/ 447599 h 949325"/>
                  <a:gd name="connsiteX46" fmla="*/ 540430 w 1282700"/>
                  <a:gd name="connsiteY46" fmla="*/ 428625 h 949325"/>
                  <a:gd name="connsiteX47" fmla="*/ 248807 w 1282700"/>
                  <a:gd name="connsiteY47" fmla="*/ 428625 h 949325"/>
                  <a:gd name="connsiteX48" fmla="*/ 725488 w 1282700"/>
                  <a:gd name="connsiteY48" fmla="*/ 368300 h 949325"/>
                  <a:gd name="connsiteX49" fmla="*/ 865982 w 1282700"/>
                  <a:gd name="connsiteY49" fmla="*/ 466725 h 949325"/>
                  <a:gd name="connsiteX50" fmla="*/ 1006476 w 1282700"/>
                  <a:gd name="connsiteY50" fmla="*/ 368300 h 949325"/>
                  <a:gd name="connsiteX51" fmla="*/ 865982 w 1282700"/>
                  <a:gd name="connsiteY51" fmla="*/ 425084 h 949325"/>
                  <a:gd name="connsiteX52" fmla="*/ 725488 w 1282700"/>
                  <a:gd name="connsiteY52" fmla="*/ 368300 h 949325"/>
                  <a:gd name="connsiteX53" fmla="*/ 866485 w 1282700"/>
                  <a:gd name="connsiteY53" fmla="*/ 136525 h 949325"/>
                  <a:gd name="connsiteX54" fmla="*/ 1048106 w 1282700"/>
                  <a:gd name="connsiteY54" fmla="*/ 315037 h 949325"/>
                  <a:gd name="connsiteX55" fmla="*/ 953512 w 1282700"/>
                  <a:gd name="connsiteY55" fmla="*/ 474559 h 949325"/>
                  <a:gd name="connsiteX56" fmla="*/ 1055674 w 1282700"/>
                  <a:gd name="connsiteY56" fmla="*/ 508742 h 949325"/>
                  <a:gd name="connsiteX57" fmla="*/ 1169187 w 1282700"/>
                  <a:gd name="connsiteY57" fmla="*/ 660667 h 949325"/>
                  <a:gd name="connsiteX58" fmla="*/ 1169187 w 1282700"/>
                  <a:gd name="connsiteY58" fmla="*/ 827785 h 949325"/>
                  <a:gd name="connsiteX59" fmla="*/ 1267565 w 1282700"/>
                  <a:gd name="connsiteY59" fmla="*/ 827785 h 949325"/>
                  <a:gd name="connsiteX60" fmla="*/ 1282700 w 1282700"/>
                  <a:gd name="connsiteY60" fmla="*/ 839179 h 949325"/>
                  <a:gd name="connsiteX61" fmla="*/ 1267565 w 1282700"/>
                  <a:gd name="connsiteY61" fmla="*/ 854372 h 949325"/>
                  <a:gd name="connsiteX62" fmla="*/ 1169187 w 1282700"/>
                  <a:gd name="connsiteY62" fmla="*/ 854372 h 949325"/>
                  <a:gd name="connsiteX63" fmla="*/ 1169187 w 1282700"/>
                  <a:gd name="connsiteY63" fmla="*/ 934133 h 949325"/>
                  <a:gd name="connsiteX64" fmla="*/ 1154052 w 1282700"/>
                  <a:gd name="connsiteY64" fmla="*/ 949325 h 949325"/>
                  <a:gd name="connsiteX65" fmla="*/ 582701 w 1282700"/>
                  <a:gd name="connsiteY65" fmla="*/ 949325 h 949325"/>
                  <a:gd name="connsiteX66" fmla="*/ 567566 w 1282700"/>
                  <a:gd name="connsiteY66" fmla="*/ 934133 h 949325"/>
                  <a:gd name="connsiteX67" fmla="*/ 567566 w 1282700"/>
                  <a:gd name="connsiteY67" fmla="*/ 854372 h 949325"/>
                  <a:gd name="connsiteX68" fmla="*/ 15135 w 1282700"/>
                  <a:gd name="connsiteY68" fmla="*/ 854372 h 949325"/>
                  <a:gd name="connsiteX69" fmla="*/ 0 w 1282700"/>
                  <a:gd name="connsiteY69" fmla="*/ 839179 h 949325"/>
                  <a:gd name="connsiteX70" fmla="*/ 15135 w 1282700"/>
                  <a:gd name="connsiteY70" fmla="*/ 827785 h 949325"/>
                  <a:gd name="connsiteX71" fmla="*/ 94594 w 1282700"/>
                  <a:gd name="connsiteY71" fmla="*/ 827785 h 949325"/>
                  <a:gd name="connsiteX72" fmla="*/ 94594 w 1282700"/>
                  <a:gd name="connsiteY72" fmla="*/ 565714 h 949325"/>
                  <a:gd name="connsiteX73" fmla="*/ 200540 w 1282700"/>
                  <a:gd name="connsiteY73" fmla="*/ 421385 h 949325"/>
                  <a:gd name="connsiteX74" fmla="*/ 245945 w 1282700"/>
                  <a:gd name="connsiteY74" fmla="*/ 398596 h 949325"/>
                  <a:gd name="connsiteX75" fmla="*/ 261080 w 1282700"/>
                  <a:gd name="connsiteY75" fmla="*/ 402394 h 949325"/>
                  <a:gd name="connsiteX76" fmla="*/ 397296 w 1282700"/>
                  <a:gd name="connsiteY76" fmla="*/ 447972 h 949325"/>
                  <a:gd name="connsiteX77" fmla="*/ 533512 w 1282700"/>
                  <a:gd name="connsiteY77" fmla="*/ 402394 h 949325"/>
                  <a:gd name="connsiteX78" fmla="*/ 544864 w 1282700"/>
                  <a:gd name="connsiteY78" fmla="*/ 398596 h 949325"/>
                  <a:gd name="connsiteX79" fmla="*/ 594053 w 1282700"/>
                  <a:gd name="connsiteY79" fmla="*/ 421385 h 949325"/>
                  <a:gd name="connsiteX80" fmla="*/ 681080 w 1282700"/>
                  <a:gd name="connsiteY80" fmla="*/ 508742 h 949325"/>
                  <a:gd name="connsiteX81" fmla="*/ 779458 w 1282700"/>
                  <a:gd name="connsiteY81" fmla="*/ 474559 h 949325"/>
                  <a:gd name="connsiteX82" fmla="*/ 688647 w 1282700"/>
                  <a:gd name="connsiteY82" fmla="*/ 315037 h 949325"/>
                  <a:gd name="connsiteX83" fmla="*/ 866485 w 1282700"/>
                  <a:gd name="connsiteY83" fmla="*/ 136525 h 949325"/>
                  <a:gd name="connsiteX84" fmla="*/ 394494 w 1282700"/>
                  <a:gd name="connsiteY84" fmla="*/ 73025 h 949325"/>
                  <a:gd name="connsiteX85" fmla="*/ 244475 w 1282700"/>
                  <a:gd name="connsiteY85" fmla="*/ 222250 h 949325"/>
                  <a:gd name="connsiteX86" fmla="*/ 394494 w 1282700"/>
                  <a:gd name="connsiteY86" fmla="*/ 371475 h 949325"/>
                  <a:gd name="connsiteX87" fmla="*/ 544513 w 1282700"/>
                  <a:gd name="connsiteY87" fmla="*/ 222250 h 949325"/>
                  <a:gd name="connsiteX88" fmla="*/ 394494 w 1282700"/>
                  <a:gd name="connsiteY88" fmla="*/ 73025 h 949325"/>
                  <a:gd name="connsiteX89" fmla="*/ 324559 w 1282700"/>
                  <a:gd name="connsiteY89" fmla="*/ 0 h 949325"/>
                  <a:gd name="connsiteX90" fmla="*/ 396385 w 1282700"/>
                  <a:gd name="connsiteY90" fmla="*/ 18945 h 949325"/>
                  <a:gd name="connsiteX91" fmla="*/ 464430 w 1282700"/>
                  <a:gd name="connsiteY91" fmla="*/ 0 h 949325"/>
                  <a:gd name="connsiteX92" fmla="*/ 592961 w 1282700"/>
                  <a:gd name="connsiteY92" fmla="*/ 128827 h 949325"/>
                  <a:gd name="connsiteX93" fmla="*/ 592961 w 1282700"/>
                  <a:gd name="connsiteY93" fmla="*/ 257654 h 949325"/>
                  <a:gd name="connsiteX94" fmla="*/ 642105 w 1282700"/>
                  <a:gd name="connsiteY94" fmla="*/ 306911 h 949325"/>
                  <a:gd name="connsiteX95" fmla="*/ 657226 w 1282700"/>
                  <a:gd name="connsiteY95" fmla="*/ 322067 h 949325"/>
                  <a:gd name="connsiteX96" fmla="*/ 642105 w 1282700"/>
                  <a:gd name="connsiteY96" fmla="*/ 337223 h 949325"/>
                  <a:gd name="connsiteX97" fmla="*/ 532476 w 1282700"/>
                  <a:gd name="connsiteY97" fmla="*/ 337223 h 949325"/>
                  <a:gd name="connsiteX98" fmla="*/ 396385 w 1282700"/>
                  <a:gd name="connsiteY98" fmla="*/ 401637 h 949325"/>
                  <a:gd name="connsiteX99" fmla="*/ 256513 w 1282700"/>
                  <a:gd name="connsiteY99" fmla="*/ 337223 h 949325"/>
                  <a:gd name="connsiteX100" fmla="*/ 146884 w 1282700"/>
                  <a:gd name="connsiteY100" fmla="*/ 337223 h 949325"/>
                  <a:gd name="connsiteX101" fmla="*/ 131763 w 1282700"/>
                  <a:gd name="connsiteY101" fmla="*/ 322067 h 949325"/>
                  <a:gd name="connsiteX102" fmla="*/ 146884 w 1282700"/>
                  <a:gd name="connsiteY102" fmla="*/ 306911 h 949325"/>
                  <a:gd name="connsiteX103" fmla="*/ 196028 w 1282700"/>
                  <a:gd name="connsiteY103" fmla="*/ 257654 h 949325"/>
                  <a:gd name="connsiteX104" fmla="*/ 196028 w 1282700"/>
                  <a:gd name="connsiteY104" fmla="*/ 128827 h 949325"/>
                  <a:gd name="connsiteX105" fmla="*/ 324559 w 1282700"/>
                  <a:gd name="connsiteY105" fmla="*/ 0 h 94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282700" h="949325">
                    <a:moveTo>
                      <a:pt x="395288" y="706437"/>
                    </a:moveTo>
                    <a:cubicBezTo>
                      <a:pt x="417207" y="706437"/>
                      <a:pt x="434976" y="724206"/>
                      <a:pt x="434976" y="746125"/>
                    </a:cubicBezTo>
                    <a:cubicBezTo>
                      <a:pt x="434976" y="768044"/>
                      <a:pt x="417207" y="785813"/>
                      <a:pt x="395288" y="785813"/>
                    </a:cubicBezTo>
                    <a:cubicBezTo>
                      <a:pt x="373369" y="785813"/>
                      <a:pt x="355600" y="768044"/>
                      <a:pt x="355600" y="746125"/>
                    </a:cubicBezTo>
                    <a:cubicBezTo>
                      <a:pt x="355600" y="724206"/>
                      <a:pt x="373369" y="706437"/>
                      <a:pt x="395288" y="706437"/>
                    </a:cubicBezTo>
                    <a:close/>
                    <a:moveTo>
                      <a:pt x="395288" y="606425"/>
                    </a:moveTo>
                    <a:cubicBezTo>
                      <a:pt x="417207" y="606425"/>
                      <a:pt x="434976" y="623483"/>
                      <a:pt x="434976" y="644525"/>
                    </a:cubicBezTo>
                    <a:cubicBezTo>
                      <a:pt x="434976" y="665567"/>
                      <a:pt x="417207" y="682625"/>
                      <a:pt x="395288" y="682625"/>
                    </a:cubicBezTo>
                    <a:cubicBezTo>
                      <a:pt x="373369" y="682625"/>
                      <a:pt x="355600" y="665567"/>
                      <a:pt x="355600" y="644525"/>
                    </a:cubicBezTo>
                    <a:cubicBezTo>
                      <a:pt x="355600" y="623483"/>
                      <a:pt x="373369" y="606425"/>
                      <a:pt x="395288" y="606425"/>
                    </a:cubicBezTo>
                    <a:close/>
                    <a:moveTo>
                      <a:pt x="395288" y="508000"/>
                    </a:moveTo>
                    <a:cubicBezTo>
                      <a:pt x="417207" y="508000"/>
                      <a:pt x="434976" y="525058"/>
                      <a:pt x="434976" y="546100"/>
                    </a:cubicBezTo>
                    <a:cubicBezTo>
                      <a:pt x="434976" y="567142"/>
                      <a:pt x="417207" y="584200"/>
                      <a:pt x="395288" y="584200"/>
                    </a:cubicBezTo>
                    <a:cubicBezTo>
                      <a:pt x="373369" y="584200"/>
                      <a:pt x="355600" y="567142"/>
                      <a:pt x="355600" y="546100"/>
                    </a:cubicBezTo>
                    <a:cubicBezTo>
                      <a:pt x="355600" y="525058"/>
                      <a:pt x="373369" y="508000"/>
                      <a:pt x="395288" y="508000"/>
                    </a:cubicBezTo>
                    <a:close/>
                    <a:moveTo>
                      <a:pt x="865676" y="496887"/>
                    </a:moveTo>
                    <a:cubicBezTo>
                      <a:pt x="797536" y="496887"/>
                      <a:pt x="744538" y="508257"/>
                      <a:pt x="695325" y="534787"/>
                    </a:cubicBezTo>
                    <a:cubicBezTo>
                      <a:pt x="657469" y="553737"/>
                      <a:pt x="596900" y="595426"/>
                      <a:pt x="596900" y="656066"/>
                    </a:cubicBezTo>
                    <a:cubicBezTo>
                      <a:pt x="596900" y="656066"/>
                      <a:pt x="596900" y="656066"/>
                      <a:pt x="596900" y="917574"/>
                    </a:cubicBezTo>
                    <a:cubicBezTo>
                      <a:pt x="596900" y="917574"/>
                      <a:pt x="596900" y="917574"/>
                      <a:pt x="687754" y="917574"/>
                    </a:cubicBezTo>
                    <a:cubicBezTo>
                      <a:pt x="687754" y="917574"/>
                      <a:pt x="687754" y="917574"/>
                      <a:pt x="687754" y="735655"/>
                    </a:cubicBezTo>
                    <a:cubicBezTo>
                      <a:pt x="687754" y="728075"/>
                      <a:pt x="691540" y="720495"/>
                      <a:pt x="702896" y="720495"/>
                    </a:cubicBezTo>
                    <a:cubicBezTo>
                      <a:pt x="710467" y="720495"/>
                      <a:pt x="718039" y="728075"/>
                      <a:pt x="718039" y="735655"/>
                    </a:cubicBezTo>
                    <a:cubicBezTo>
                      <a:pt x="718039" y="735655"/>
                      <a:pt x="718039" y="735655"/>
                      <a:pt x="718039" y="917574"/>
                    </a:cubicBezTo>
                    <a:cubicBezTo>
                      <a:pt x="718039" y="917574"/>
                      <a:pt x="718039" y="917574"/>
                      <a:pt x="1017100" y="917574"/>
                    </a:cubicBezTo>
                    <a:cubicBezTo>
                      <a:pt x="1017100" y="917574"/>
                      <a:pt x="1017100" y="917574"/>
                      <a:pt x="1017100" y="735655"/>
                    </a:cubicBezTo>
                    <a:cubicBezTo>
                      <a:pt x="1017100" y="728075"/>
                      <a:pt x="1024671" y="720495"/>
                      <a:pt x="1032242" y="720495"/>
                    </a:cubicBezTo>
                    <a:cubicBezTo>
                      <a:pt x="1039813" y="720495"/>
                      <a:pt x="1047384" y="728075"/>
                      <a:pt x="1047384" y="735655"/>
                    </a:cubicBezTo>
                    <a:cubicBezTo>
                      <a:pt x="1047384" y="735655"/>
                      <a:pt x="1047384" y="735655"/>
                      <a:pt x="1047384" y="917574"/>
                    </a:cubicBezTo>
                    <a:cubicBezTo>
                      <a:pt x="1047384" y="917574"/>
                      <a:pt x="1047384" y="917574"/>
                      <a:pt x="1138238" y="917574"/>
                    </a:cubicBezTo>
                    <a:lnTo>
                      <a:pt x="1138238" y="659856"/>
                    </a:lnTo>
                    <a:cubicBezTo>
                      <a:pt x="1138238" y="591636"/>
                      <a:pt x="1062526" y="546157"/>
                      <a:pt x="1039813" y="534787"/>
                    </a:cubicBezTo>
                    <a:cubicBezTo>
                      <a:pt x="990600" y="508257"/>
                      <a:pt x="937602" y="496887"/>
                      <a:pt x="865676" y="496887"/>
                    </a:cubicBezTo>
                    <a:close/>
                    <a:moveTo>
                      <a:pt x="248807" y="428625"/>
                    </a:moveTo>
                    <a:cubicBezTo>
                      <a:pt x="237445" y="432420"/>
                      <a:pt x="222295" y="440010"/>
                      <a:pt x="210933" y="447599"/>
                    </a:cubicBezTo>
                    <a:cubicBezTo>
                      <a:pt x="191997" y="458984"/>
                      <a:pt x="123825" y="496933"/>
                      <a:pt x="123825" y="565241"/>
                    </a:cubicBezTo>
                    <a:cubicBezTo>
                      <a:pt x="123825" y="565241"/>
                      <a:pt x="123825" y="565241"/>
                      <a:pt x="123825" y="827087"/>
                    </a:cubicBezTo>
                    <a:cubicBezTo>
                      <a:pt x="123825" y="827087"/>
                      <a:pt x="123825" y="827087"/>
                      <a:pt x="214721" y="827087"/>
                    </a:cubicBezTo>
                    <a:cubicBezTo>
                      <a:pt x="214721" y="827087"/>
                      <a:pt x="214721" y="827087"/>
                      <a:pt x="214721" y="641138"/>
                    </a:cubicBezTo>
                    <a:cubicBezTo>
                      <a:pt x="214721" y="633548"/>
                      <a:pt x="222295" y="625959"/>
                      <a:pt x="229870" y="625959"/>
                    </a:cubicBezTo>
                    <a:cubicBezTo>
                      <a:pt x="237445" y="625959"/>
                      <a:pt x="245019" y="633548"/>
                      <a:pt x="245019" y="641138"/>
                    </a:cubicBezTo>
                    <a:cubicBezTo>
                      <a:pt x="245019" y="641138"/>
                      <a:pt x="245019" y="641138"/>
                      <a:pt x="245019" y="827087"/>
                    </a:cubicBezTo>
                    <a:cubicBezTo>
                      <a:pt x="245019" y="827087"/>
                      <a:pt x="245019" y="827087"/>
                      <a:pt x="566942" y="827087"/>
                    </a:cubicBezTo>
                    <a:cubicBezTo>
                      <a:pt x="566942" y="827087"/>
                      <a:pt x="566942" y="827087"/>
                      <a:pt x="566942" y="656318"/>
                    </a:cubicBezTo>
                    <a:cubicBezTo>
                      <a:pt x="566942" y="595600"/>
                      <a:pt x="616177" y="550061"/>
                      <a:pt x="654050" y="523497"/>
                    </a:cubicBezTo>
                    <a:cubicBezTo>
                      <a:pt x="635113" y="481753"/>
                      <a:pt x="593453" y="455189"/>
                      <a:pt x="578304" y="447599"/>
                    </a:cubicBezTo>
                    <a:cubicBezTo>
                      <a:pt x="566942" y="440010"/>
                      <a:pt x="551792" y="432420"/>
                      <a:pt x="540430" y="428625"/>
                    </a:cubicBezTo>
                    <a:cubicBezTo>
                      <a:pt x="453322" y="489343"/>
                      <a:pt x="335915" y="489343"/>
                      <a:pt x="248807" y="428625"/>
                    </a:cubicBezTo>
                    <a:close/>
                    <a:moveTo>
                      <a:pt x="725488" y="368300"/>
                    </a:moveTo>
                    <a:cubicBezTo>
                      <a:pt x="748271" y="425084"/>
                      <a:pt x="801431" y="466725"/>
                      <a:pt x="865982" y="466725"/>
                    </a:cubicBezTo>
                    <a:cubicBezTo>
                      <a:pt x="930533" y="466725"/>
                      <a:pt x="987490" y="425084"/>
                      <a:pt x="1006476" y="368300"/>
                    </a:cubicBezTo>
                    <a:cubicBezTo>
                      <a:pt x="972302" y="402370"/>
                      <a:pt x="915345" y="425084"/>
                      <a:pt x="865982" y="425084"/>
                    </a:cubicBezTo>
                    <a:cubicBezTo>
                      <a:pt x="816619" y="425084"/>
                      <a:pt x="763459" y="402370"/>
                      <a:pt x="725488" y="368300"/>
                    </a:cubicBezTo>
                    <a:close/>
                    <a:moveTo>
                      <a:pt x="866485" y="136525"/>
                    </a:moveTo>
                    <a:cubicBezTo>
                      <a:pt x="968647" y="136525"/>
                      <a:pt x="1048106" y="216286"/>
                      <a:pt x="1048106" y="315037"/>
                    </a:cubicBezTo>
                    <a:cubicBezTo>
                      <a:pt x="1048106" y="383403"/>
                      <a:pt x="1010268" y="444174"/>
                      <a:pt x="953512" y="474559"/>
                    </a:cubicBezTo>
                    <a:cubicBezTo>
                      <a:pt x="991349" y="482155"/>
                      <a:pt x="1021620" y="493549"/>
                      <a:pt x="1055674" y="508742"/>
                    </a:cubicBezTo>
                    <a:cubicBezTo>
                      <a:pt x="1089727" y="527733"/>
                      <a:pt x="1169187" y="577108"/>
                      <a:pt x="1169187" y="660667"/>
                    </a:cubicBezTo>
                    <a:cubicBezTo>
                      <a:pt x="1169187" y="660667"/>
                      <a:pt x="1169187" y="660667"/>
                      <a:pt x="1169187" y="827785"/>
                    </a:cubicBezTo>
                    <a:cubicBezTo>
                      <a:pt x="1169187" y="827785"/>
                      <a:pt x="1169187" y="827785"/>
                      <a:pt x="1267565" y="827785"/>
                    </a:cubicBezTo>
                    <a:cubicBezTo>
                      <a:pt x="1275133" y="827785"/>
                      <a:pt x="1282700" y="831583"/>
                      <a:pt x="1282700" y="839179"/>
                    </a:cubicBezTo>
                    <a:cubicBezTo>
                      <a:pt x="1282700" y="850574"/>
                      <a:pt x="1275133" y="854372"/>
                      <a:pt x="1267565" y="854372"/>
                    </a:cubicBezTo>
                    <a:cubicBezTo>
                      <a:pt x="1267565" y="854372"/>
                      <a:pt x="1267565" y="854372"/>
                      <a:pt x="1169187" y="854372"/>
                    </a:cubicBezTo>
                    <a:cubicBezTo>
                      <a:pt x="1169187" y="854372"/>
                      <a:pt x="1169187" y="854372"/>
                      <a:pt x="1169187" y="934133"/>
                    </a:cubicBezTo>
                    <a:cubicBezTo>
                      <a:pt x="1169187" y="945527"/>
                      <a:pt x="1161619" y="949325"/>
                      <a:pt x="1154052" y="949325"/>
                    </a:cubicBezTo>
                    <a:cubicBezTo>
                      <a:pt x="1154052" y="949325"/>
                      <a:pt x="1154052" y="949325"/>
                      <a:pt x="582701" y="949325"/>
                    </a:cubicBezTo>
                    <a:cubicBezTo>
                      <a:pt x="575134" y="949325"/>
                      <a:pt x="567566" y="945527"/>
                      <a:pt x="567566" y="934133"/>
                    </a:cubicBezTo>
                    <a:cubicBezTo>
                      <a:pt x="567566" y="934133"/>
                      <a:pt x="567566" y="934133"/>
                      <a:pt x="567566" y="854372"/>
                    </a:cubicBezTo>
                    <a:cubicBezTo>
                      <a:pt x="567566" y="854372"/>
                      <a:pt x="567566" y="854372"/>
                      <a:pt x="15135" y="854372"/>
                    </a:cubicBezTo>
                    <a:cubicBezTo>
                      <a:pt x="7568" y="854372"/>
                      <a:pt x="0" y="850574"/>
                      <a:pt x="0" y="839179"/>
                    </a:cubicBezTo>
                    <a:cubicBezTo>
                      <a:pt x="0" y="831583"/>
                      <a:pt x="7568" y="827785"/>
                      <a:pt x="15135" y="827785"/>
                    </a:cubicBezTo>
                    <a:cubicBezTo>
                      <a:pt x="15135" y="827785"/>
                      <a:pt x="15135" y="827785"/>
                      <a:pt x="94594" y="827785"/>
                    </a:cubicBezTo>
                    <a:cubicBezTo>
                      <a:pt x="94594" y="827785"/>
                      <a:pt x="94594" y="827785"/>
                      <a:pt x="94594" y="565714"/>
                    </a:cubicBezTo>
                    <a:cubicBezTo>
                      <a:pt x="94594" y="482155"/>
                      <a:pt x="174054" y="432779"/>
                      <a:pt x="200540" y="421385"/>
                    </a:cubicBezTo>
                    <a:cubicBezTo>
                      <a:pt x="215675" y="413789"/>
                      <a:pt x="230810" y="406192"/>
                      <a:pt x="245945" y="398596"/>
                    </a:cubicBezTo>
                    <a:cubicBezTo>
                      <a:pt x="249729" y="398596"/>
                      <a:pt x="253513" y="398596"/>
                      <a:pt x="261080" y="402394"/>
                    </a:cubicBezTo>
                    <a:cubicBezTo>
                      <a:pt x="298918" y="428981"/>
                      <a:pt x="348107" y="447972"/>
                      <a:pt x="397296" y="447972"/>
                    </a:cubicBezTo>
                    <a:cubicBezTo>
                      <a:pt x="442702" y="447972"/>
                      <a:pt x="491891" y="428981"/>
                      <a:pt x="533512" y="402394"/>
                    </a:cubicBezTo>
                    <a:cubicBezTo>
                      <a:pt x="537296" y="398596"/>
                      <a:pt x="541080" y="398596"/>
                      <a:pt x="544864" y="398596"/>
                    </a:cubicBezTo>
                    <a:cubicBezTo>
                      <a:pt x="559999" y="406192"/>
                      <a:pt x="575134" y="413789"/>
                      <a:pt x="594053" y="421385"/>
                    </a:cubicBezTo>
                    <a:cubicBezTo>
                      <a:pt x="609188" y="428981"/>
                      <a:pt x="658377" y="459366"/>
                      <a:pt x="681080" y="508742"/>
                    </a:cubicBezTo>
                    <a:cubicBezTo>
                      <a:pt x="711350" y="489751"/>
                      <a:pt x="745404" y="482155"/>
                      <a:pt x="779458" y="474559"/>
                    </a:cubicBezTo>
                    <a:cubicBezTo>
                      <a:pt x="726485" y="444174"/>
                      <a:pt x="688647" y="383403"/>
                      <a:pt x="688647" y="315037"/>
                    </a:cubicBezTo>
                    <a:cubicBezTo>
                      <a:pt x="688647" y="216286"/>
                      <a:pt x="768107" y="136525"/>
                      <a:pt x="866485" y="136525"/>
                    </a:cubicBezTo>
                    <a:close/>
                    <a:moveTo>
                      <a:pt x="394494" y="73025"/>
                    </a:moveTo>
                    <a:cubicBezTo>
                      <a:pt x="311641" y="73025"/>
                      <a:pt x="244475" y="139835"/>
                      <a:pt x="244475" y="222250"/>
                    </a:cubicBezTo>
                    <a:cubicBezTo>
                      <a:pt x="244475" y="304665"/>
                      <a:pt x="311641" y="371475"/>
                      <a:pt x="394494" y="371475"/>
                    </a:cubicBezTo>
                    <a:cubicBezTo>
                      <a:pt x="477347" y="371475"/>
                      <a:pt x="544513" y="304665"/>
                      <a:pt x="544513" y="222250"/>
                    </a:cubicBezTo>
                    <a:cubicBezTo>
                      <a:pt x="544513" y="139835"/>
                      <a:pt x="477347" y="73025"/>
                      <a:pt x="394494" y="73025"/>
                    </a:cubicBezTo>
                    <a:close/>
                    <a:moveTo>
                      <a:pt x="324559" y="0"/>
                    </a:moveTo>
                    <a:cubicBezTo>
                      <a:pt x="351021" y="0"/>
                      <a:pt x="373703" y="7578"/>
                      <a:pt x="396385" y="18945"/>
                    </a:cubicBezTo>
                    <a:cubicBezTo>
                      <a:pt x="415286" y="7578"/>
                      <a:pt x="437968" y="0"/>
                      <a:pt x="464430" y="0"/>
                    </a:cubicBezTo>
                    <a:cubicBezTo>
                      <a:pt x="536256" y="0"/>
                      <a:pt x="592961" y="56835"/>
                      <a:pt x="592961" y="128827"/>
                    </a:cubicBezTo>
                    <a:cubicBezTo>
                      <a:pt x="592961" y="128827"/>
                      <a:pt x="592961" y="128827"/>
                      <a:pt x="592961" y="257654"/>
                    </a:cubicBezTo>
                    <a:cubicBezTo>
                      <a:pt x="592961" y="284177"/>
                      <a:pt x="615643" y="306911"/>
                      <a:pt x="642105" y="306911"/>
                    </a:cubicBezTo>
                    <a:cubicBezTo>
                      <a:pt x="649665" y="306911"/>
                      <a:pt x="657226" y="314489"/>
                      <a:pt x="657226" y="322067"/>
                    </a:cubicBezTo>
                    <a:cubicBezTo>
                      <a:pt x="657226" y="329645"/>
                      <a:pt x="649665" y="337223"/>
                      <a:pt x="642105" y="337223"/>
                    </a:cubicBezTo>
                    <a:cubicBezTo>
                      <a:pt x="642105" y="337223"/>
                      <a:pt x="642105" y="337223"/>
                      <a:pt x="532476" y="337223"/>
                    </a:cubicBezTo>
                    <a:cubicBezTo>
                      <a:pt x="498453" y="375114"/>
                      <a:pt x="449309" y="401637"/>
                      <a:pt x="396385" y="401637"/>
                    </a:cubicBezTo>
                    <a:cubicBezTo>
                      <a:pt x="339680" y="401637"/>
                      <a:pt x="290536" y="375114"/>
                      <a:pt x="256513" y="337223"/>
                    </a:cubicBezTo>
                    <a:cubicBezTo>
                      <a:pt x="256513" y="337223"/>
                      <a:pt x="256513" y="337223"/>
                      <a:pt x="146884" y="337223"/>
                    </a:cubicBezTo>
                    <a:cubicBezTo>
                      <a:pt x="139324" y="337223"/>
                      <a:pt x="131763" y="329645"/>
                      <a:pt x="131763" y="322067"/>
                    </a:cubicBezTo>
                    <a:cubicBezTo>
                      <a:pt x="131763" y="314489"/>
                      <a:pt x="139324" y="306911"/>
                      <a:pt x="146884" y="306911"/>
                    </a:cubicBezTo>
                    <a:cubicBezTo>
                      <a:pt x="173346" y="306911"/>
                      <a:pt x="196028" y="284177"/>
                      <a:pt x="196028" y="257654"/>
                    </a:cubicBezTo>
                    <a:cubicBezTo>
                      <a:pt x="196028" y="257654"/>
                      <a:pt x="196028" y="257654"/>
                      <a:pt x="196028" y="128827"/>
                    </a:cubicBezTo>
                    <a:cubicBezTo>
                      <a:pt x="196028" y="56835"/>
                      <a:pt x="252733" y="0"/>
                      <a:pt x="324559" y="0"/>
                    </a:cubicBezTo>
                    <a:close/>
                  </a:path>
                </a:pathLst>
              </a:custGeom>
              <a:solidFill>
                <a:schemeClr val="bg1"/>
              </a:solidFill>
              <a:ln>
                <a:noFill/>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t" anchorCtr="0" compatLnSpc="1">
                <a:prstTxWarp prst="textNoShape">
                  <a:avLst/>
                </a:prstTxWarp>
                <a:noAutofit/>
              </a:bodyPr>
              <a:lstStyle/>
              <a:p>
                <a:endParaRPr lang="en-GB" sz="1600" dirty="0">
                  <a:solidFill>
                    <a:srgbClr val="000000"/>
                  </a:solidFill>
                </a:endParaRPr>
              </a:p>
            </p:txBody>
          </p:sp>
          <p:sp>
            <p:nvSpPr>
              <p:cNvPr id="23" name="Rectangle 22"/>
              <p:cNvSpPr/>
              <p:nvPr/>
            </p:nvSpPr>
            <p:spPr>
              <a:xfrm>
                <a:off x="1378737" y="5349746"/>
                <a:ext cx="38326" cy="479080"/>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rgbClr val="000000"/>
                  </a:solidFill>
                </a:endParaRPr>
              </a:p>
            </p:txBody>
          </p:sp>
        </p:grpSp>
        <p:sp>
          <p:nvSpPr>
            <p:cNvPr id="16" name="TextBox 15"/>
            <p:cNvSpPr txBox="1"/>
            <p:nvPr/>
          </p:nvSpPr>
          <p:spPr>
            <a:xfrm>
              <a:off x="2463448" y="2347087"/>
              <a:ext cx="789990" cy="229294"/>
            </a:xfrm>
            <a:prstGeom prst="rect">
              <a:avLst/>
            </a:prstGeom>
            <a:noFill/>
          </p:spPr>
          <p:txBody>
            <a:bodyPr wrap="square" rtlCol="0" anchor="ctr" anchorCtr="0">
              <a:spAutoFit/>
            </a:bodyPr>
            <a:lstStyle/>
            <a:p>
              <a:pPr algn="ctr">
                <a:lnSpc>
                  <a:spcPct val="89000"/>
                </a:lnSpc>
              </a:pPr>
              <a:r>
                <a:rPr lang="en-US" sz="1000" b="1" dirty="0" smtClean="0">
                  <a:solidFill>
                    <a:schemeClr val="tx2"/>
                  </a:solidFill>
                  <a:ea typeface="Open Sans" panose="020B0606030504020204" pitchFamily="34" charset="0"/>
                  <a:cs typeface="Open Sans" panose="020B0606030504020204" pitchFamily="34" charset="0"/>
                </a:rPr>
                <a:t>348</a:t>
              </a:r>
              <a:endParaRPr lang="en-US" sz="1000" b="1" dirty="0">
                <a:solidFill>
                  <a:srgbClr val="003755"/>
                </a:solidFill>
                <a:ea typeface="Open Sans" panose="020B0606030504020204" pitchFamily="34" charset="0"/>
                <a:cs typeface="Open Sans" panose="020B0606030504020204" pitchFamily="34" charset="0"/>
              </a:endParaRPr>
            </a:p>
          </p:txBody>
        </p:sp>
      </p:grpSp>
      <p:cxnSp>
        <p:nvCxnSpPr>
          <p:cNvPr id="24" name="Straight Connector 23"/>
          <p:cNvCxnSpPr/>
          <p:nvPr/>
        </p:nvCxnSpPr>
        <p:spPr>
          <a:xfrm>
            <a:off x="429768" y="2003555"/>
            <a:ext cx="3831397" cy="6895"/>
          </a:xfrm>
          <a:prstGeom prst="line">
            <a:avLst/>
          </a:prstGeom>
          <a:ln w="12700"/>
        </p:spPr>
        <p:style>
          <a:lnRef idx="1">
            <a:schemeClr val="accent3"/>
          </a:lnRef>
          <a:fillRef idx="0">
            <a:schemeClr val="accent3"/>
          </a:fillRef>
          <a:effectRef idx="0">
            <a:schemeClr val="accent3"/>
          </a:effectRef>
          <a:fontRef idx="minor">
            <a:schemeClr val="tx1"/>
          </a:fontRef>
        </p:style>
      </p:cxnSp>
      <p:cxnSp>
        <p:nvCxnSpPr>
          <p:cNvPr id="25" name="Straight Connector 24"/>
          <p:cNvCxnSpPr/>
          <p:nvPr/>
        </p:nvCxnSpPr>
        <p:spPr>
          <a:xfrm>
            <a:off x="4689460" y="2015844"/>
            <a:ext cx="7289900" cy="0"/>
          </a:xfrm>
          <a:prstGeom prst="line">
            <a:avLst/>
          </a:prstGeom>
          <a:ln w="12700"/>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0768813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grpSp>
        <p:nvGrpSpPr>
          <p:cNvPr id="127" name="Europe (3)"/>
          <p:cNvGrpSpPr>
            <a:grpSpLocks noChangeAspect="1"/>
          </p:cNvGrpSpPr>
          <p:nvPr>
            <p:custDataLst>
              <p:tags r:id="rId1"/>
            </p:custDataLst>
          </p:nvPr>
        </p:nvGrpSpPr>
        <p:grpSpPr bwMode="auto">
          <a:xfrm>
            <a:off x="8110846" y="2075857"/>
            <a:ext cx="4071138" cy="4272809"/>
            <a:chOff x="1730" y="-8"/>
            <a:chExt cx="4078" cy="4280"/>
          </a:xfrm>
          <a:solidFill>
            <a:srgbClr val="CBE4EC"/>
          </a:solidFill>
        </p:grpSpPr>
        <p:sp>
          <p:nvSpPr>
            <p:cNvPr id="128" name="Freeform 5"/>
            <p:cNvSpPr>
              <a:spLocks/>
            </p:cNvSpPr>
            <p:nvPr>
              <p:custDataLst>
                <p:tags r:id="rId6"/>
              </p:custDataLst>
            </p:nvPr>
          </p:nvSpPr>
          <p:spPr bwMode="auto">
            <a:xfrm>
              <a:off x="1890" y="3232"/>
              <a:ext cx="1205" cy="952"/>
            </a:xfrm>
            <a:custGeom>
              <a:avLst/>
              <a:gdLst>
                <a:gd name="T0" fmla="*/ 1154 w 1205"/>
                <a:gd name="T1" fmla="*/ 336 h 952"/>
                <a:gd name="T2" fmla="*/ 1036 w 1205"/>
                <a:gd name="T3" fmla="*/ 296 h 952"/>
                <a:gd name="T4" fmla="*/ 910 w 1205"/>
                <a:gd name="T5" fmla="*/ 280 h 952"/>
                <a:gd name="T6" fmla="*/ 859 w 1205"/>
                <a:gd name="T7" fmla="*/ 232 h 952"/>
                <a:gd name="T8" fmla="*/ 784 w 1205"/>
                <a:gd name="T9" fmla="*/ 192 h 952"/>
                <a:gd name="T10" fmla="*/ 716 w 1205"/>
                <a:gd name="T11" fmla="*/ 144 h 952"/>
                <a:gd name="T12" fmla="*/ 666 w 1205"/>
                <a:gd name="T13" fmla="*/ 136 h 952"/>
                <a:gd name="T14" fmla="*/ 598 w 1205"/>
                <a:gd name="T15" fmla="*/ 128 h 952"/>
                <a:gd name="T16" fmla="*/ 522 w 1205"/>
                <a:gd name="T17" fmla="*/ 104 h 952"/>
                <a:gd name="T18" fmla="*/ 387 w 1205"/>
                <a:gd name="T19" fmla="*/ 64 h 952"/>
                <a:gd name="T20" fmla="*/ 320 w 1205"/>
                <a:gd name="T21" fmla="*/ 48 h 952"/>
                <a:gd name="T22" fmla="*/ 202 w 1205"/>
                <a:gd name="T23" fmla="*/ 16 h 952"/>
                <a:gd name="T24" fmla="*/ 168 w 1205"/>
                <a:gd name="T25" fmla="*/ 0 h 952"/>
                <a:gd name="T26" fmla="*/ 135 w 1205"/>
                <a:gd name="T27" fmla="*/ 8 h 952"/>
                <a:gd name="T28" fmla="*/ 109 w 1205"/>
                <a:gd name="T29" fmla="*/ 24 h 952"/>
                <a:gd name="T30" fmla="*/ 17 w 1205"/>
                <a:gd name="T31" fmla="*/ 48 h 952"/>
                <a:gd name="T32" fmla="*/ 25 w 1205"/>
                <a:gd name="T33" fmla="*/ 88 h 952"/>
                <a:gd name="T34" fmla="*/ 34 w 1205"/>
                <a:gd name="T35" fmla="*/ 128 h 952"/>
                <a:gd name="T36" fmla="*/ 67 w 1205"/>
                <a:gd name="T37" fmla="*/ 176 h 952"/>
                <a:gd name="T38" fmla="*/ 84 w 1205"/>
                <a:gd name="T39" fmla="*/ 200 h 952"/>
                <a:gd name="T40" fmla="*/ 93 w 1205"/>
                <a:gd name="T41" fmla="*/ 216 h 952"/>
                <a:gd name="T42" fmla="*/ 143 w 1205"/>
                <a:gd name="T43" fmla="*/ 232 h 952"/>
                <a:gd name="T44" fmla="*/ 194 w 1205"/>
                <a:gd name="T45" fmla="*/ 224 h 952"/>
                <a:gd name="T46" fmla="*/ 236 w 1205"/>
                <a:gd name="T47" fmla="*/ 256 h 952"/>
                <a:gd name="T48" fmla="*/ 253 w 1205"/>
                <a:gd name="T49" fmla="*/ 272 h 952"/>
                <a:gd name="T50" fmla="*/ 261 w 1205"/>
                <a:gd name="T51" fmla="*/ 296 h 952"/>
                <a:gd name="T52" fmla="*/ 202 w 1205"/>
                <a:gd name="T53" fmla="*/ 328 h 952"/>
                <a:gd name="T54" fmla="*/ 177 w 1205"/>
                <a:gd name="T55" fmla="*/ 368 h 952"/>
                <a:gd name="T56" fmla="*/ 160 w 1205"/>
                <a:gd name="T57" fmla="*/ 424 h 952"/>
                <a:gd name="T58" fmla="*/ 143 w 1205"/>
                <a:gd name="T59" fmla="*/ 432 h 952"/>
                <a:gd name="T60" fmla="*/ 126 w 1205"/>
                <a:gd name="T61" fmla="*/ 480 h 952"/>
                <a:gd name="T62" fmla="*/ 76 w 1205"/>
                <a:gd name="T63" fmla="*/ 488 h 952"/>
                <a:gd name="T64" fmla="*/ 109 w 1205"/>
                <a:gd name="T65" fmla="*/ 568 h 952"/>
                <a:gd name="T66" fmla="*/ 101 w 1205"/>
                <a:gd name="T67" fmla="*/ 584 h 952"/>
                <a:gd name="T68" fmla="*/ 67 w 1205"/>
                <a:gd name="T69" fmla="*/ 608 h 952"/>
                <a:gd name="T70" fmla="*/ 67 w 1205"/>
                <a:gd name="T71" fmla="*/ 656 h 952"/>
                <a:gd name="T72" fmla="*/ 84 w 1205"/>
                <a:gd name="T73" fmla="*/ 672 h 952"/>
                <a:gd name="T74" fmla="*/ 17 w 1205"/>
                <a:gd name="T75" fmla="*/ 720 h 952"/>
                <a:gd name="T76" fmla="*/ 0 w 1205"/>
                <a:gd name="T77" fmla="*/ 784 h 952"/>
                <a:gd name="T78" fmla="*/ 59 w 1205"/>
                <a:gd name="T79" fmla="*/ 792 h 952"/>
                <a:gd name="T80" fmla="*/ 109 w 1205"/>
                <a:gd name="T81" fmla="*/ 840 h 952"/>
                <a:gd name="T82" fmla="*/ 118 w 1205"/>
                <a:gd name="T83" fmla="*/ 920 h 952"/>
                <a:gd name="T84" fmla="*/ 219 w 1205"/>
                <a:gd name="T85" fmla="*/ 928 h 952"/>
                <a:gd name="T86" fmla="*/ 295 w 1205"/>
                <a:gd name="T87" fmla="*/ 912 h 952"/>
                <a:gd name="T88" fmla="*/ 379 w 1205"/>
                <a:gd name="T89" fmla="*/ 904 h 952"/>
                <a:gd name="T90" fmla="*/ 539 w 1205"/>
                <a:gd name="T91" fmla="*/ 928 h 952"/>
                <a:gd name="T92" fmla="*/ 598 w 1205"/>
                <a:gd name="T93" fmla="*/ 904 h 952"/>
                <a:gd name="T94" fmla="*/ 649 w 1205"/>
                <a:gd name="T95" fmla="*/ 856 h 952"/>
                <a:gd name="T96" fmla="*/ 725 w 1205"/>
                <a:gd name="T97" fmla="*/ 824 h 952"/>
                <a:gd name="T98" fmla="*/ 784 w 1205"/>
                <a:gd name="T99" fmla="*/ 752 h 952"/>
                <a:gd name="T100" fmla="*/ 809 w 1205"/>
                <a:gd name="T101" fmla="*/ 664 h 952"/>
                <a:gd name="T102" fmla="*/ 842 w 1205"/>
                <a:gd name="T103" fmla="*/ 592 h 952"/>
                <a:gd name="T104" fmla="*/ 927 w 1205"/>
                <a:gd name="T105" fmla="*/ 504 h 952"/>
                <a:gd name="T106" fmla="*/ 944 w 1205"/>
                <a:gd name="T107" fmla="*/ 472 h 952"/>
                <a:gd name="T108" fmla="*/ 1019 w 1205"/>
                <a:gd name="T109" fmla="*/ 440 h 952"/>
                <a:gd name="T110" fmla="*/ 1196 w 1205"/>
                <a:gd name="T111" fmla="*/ 376 h 952"/>
                <a:gd name="T112" fmla="*/ 1205 w 1205"/>
                <a:gd name="T113" fmla="*/ 368 h 952"/>
                <a:gd name="T114" fmla="*/ 1180 w 1205"/>
                <a:gd name="T115" fmla="*/ 352 h 95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205" h="952">
                  <a:moveTo>
                    <a:pt x="1180" y="352"/>
                  </a:moveTo>
                  <a:lnTo>
                    <a:pt x="1154" y="336"/>
                  </a:lnTo>
                  <a:lnTo>
                    <a:pt x="1095" y="320"/>
                  </a:lnTo>
                  <a:lnTo>
                    <a:pt x="1036" y="296"/>
                  </a:lnTo>
                  <a:lnTo>
                    <a:pt x="969" y="288"/>
                  </a:lnTo>
                  <a:lnTo>
                    <a:pt x="910" y="280"/>
                  </a:lnTo>
                  <a:lnTo>
                    <a:pt x="893" y="256"/>
                  </a:lnTo>
                  <a:lnTo>
                    <a:pt x="859" y="232"/>
                  </a:lnTo>
                  <a:lnTo>
                    <a:pt x="817" y="224"/>
                  </a:lnTo>
                  <a:lnTo>
                    <a:pt x="784" y="192"/>
                  </a:lnTo>
                  <a:lnTo>
                    <a:pt x="733" y="152"/>
                  </a:lnTo>
                  <a:lnTo>
                    <a:pt x="716" y="144"/>
                  </a:lnTo>
                  <a:lnTo>
                    <a:pt x="699" y="144"/>
                  </a:lnTo>
                  <a:lnTo>
                    <a:pt x="666" y="136"/>
                  </a:lnTo>
                  <a:lnTo>
                    <a:pt x="632" y="120"/>
                  </a:lnTo>
                  <a:lnTo>
                    <a:pt x="598" y="128"/>
                  </a:lnTo>
                  <a:lnTo>
                    <a:pt x="556" y="104"/>
                  </a:lnTo>
                  <a:lnTo>
                    <a:pt x="522" y="104"/>
                  </a:lnTo>
                  <a:lnTo>
                    <a:pt x="480" y="96"/>
                  </a:lnTo>
                  <a:lnTo>
                    <a:pt x="387" y="64"/>
                  </a:lnTo>
                  <a:lnTo>
                    <a:pt x="362" y="48"/>
                  </a:lnTo>
                  <a:lnTo>
                    <a:pt x="320" y="48"/>
                  </a:lnTo>
                  <a:lnTo>
                    <a:pt x="227" y="32"/>
                  </a:lnTo>
                  <a:lnTo>
                    <a:pt x="202" y="16"/>
                  </a:lnTo>
                  <a:lnTo>
                    <a:pt x="185" y="0"/>
                  </a:lnTo>
                  <a:lnTo>
                    <a:pt x="168" y="0"/>
                  </a:lnTo>
                  <a:lnTo>
                    <a:pt x="143" y="0"/>
                  </a:lnTo>
                  <a:lnTo>
                    <a:pt x="135" y="8"/>
                  </a:lnTo>
                  <a:lnTo>
                    <a:pt x="126" y="24"/>
                  </a:lnTo>
                  <a:lnTo>
                    <a:pt x="109" y="24"/>
                  </a:lnTo>
                  <a:lnTo>
                    <a:pt x="59" y="32"/>
                  </a:lnTo>
                  <a:lnTo>
                    <a:pt x="17" y="48"/>
                  </a:lnTo>
                  <a:lnTo>
                    <a:pt x="25" y="80"/>
                  </a:lnTo>
                  <a:lnTo>
                    <a:pt x="25" y="88"/>
                  </a:lnTo>
                  <a:lnTo>
                    <a:pt x="25" y="104"/>
                  </a:lnTo>
                  <a:lnTo>
                    <a:pt x="34" y="128"/>
                  </a:lnTo>
                  <a:lnTo>
                    <a:pt x="17" y="184"/>
                  </a:lnTo>
                  <a:lnTo>
                    <a:pt x="67" y="176"/>
                  </a:lnTo>
                  <a:lnTo>
                    <a:pt x="84" y="184"/>
                  </a:lnTo>
                  <a:lnTo>
                    <a:pt x="84" y="200"/>
                  </a:lnTo>
                  <a:lnTo>
                    <a:pt x="76" y="208"/>
                  </a:lnTo>
                  <a:lnTo>
                    <a:pt x="93" y="216"/>
                  </a:lnTo>
                  <a:lnTo>
                    <a:pt x="126" y="216"/>
                  </a:lnTo>
                  <a:lnTo>
                    <a:pt x="143" y="232"/>
                  </a:lnTo>
                  <a:lnTo>
                    <a:pt x="168" y="232"/>
                  </a:lnTo>
                  <a:lnTo>
                    <a:pt x="194" y="224"/>
                  </a:lnTo>
                  <a:lnTo>
                    <a:pt x="227" y="240"/>
                  </a:lnTo>
                  <a:lnTo>
                    <a:pt x="236" y="256"/>
                  </a:lnTo>
                  <a:lnTo>
                    <a:pt x="236" y="264"/>
                  </a:lnTo>
                  <a:lnTo>
                    <a:pt x="253" y="272"/>
                  </a:lnTo>
                  <a:lnTo>
                    <a:pt x="261" y="288"/>
                  </a:lnTo>
                  <a:lnTo>
                    <a:pt x="261" y="296"/>
                  </a:lnTo>
                  <a:lnTo>
                    <a:pt x="227" y="312"/>
                  </a:lnTo>
                  <a:lnTo>
                    <a:pt x="202" y="328"/>
                  </a:lnTo>
                  <a:lnTo>
                    <a:pt x="168" y="344"/>
                  </a:lnTo>
                  <a:lnTo>
                    <a:pt x="177" y="368"/>
                  </a:lnTo>
                  <a:lnTo>
                    <a:pt x="160" y="400"/>
                  </a:lnTo>
                  <a:lnTo>
                    <a:pt x="160" y="424"/>
                  </a:lnTo>
                  <a:lnTo>
                    <a:pt x="152" y="432"/>
                  </a:lnTo>
                  <a:lnTo>
                    <a:pt x="143" y="432"/>
                  </a:lnTo>
                  <a:lnTo>
                    <a:pt x="143" y="464"/>
                  </a:lnTo>
                  <a:lnTo>
                    <a:pt x="126" y="480"/>
                  </a:lnTo>
                  <a:lnTo>
                    <a:pt x="101" y="488"/>
                  </a:lnTo>
                  <a:lnTo>
                    <a:pt x="76" y="488"/>
                  </a:lnTo>
                  <a:lnTo>
                    <a:pt x="93" y="552"/>
                  </a:lnTo>
                  <a:lnTo>
                    <a:pt x="109" y="568"/>
                  </a:lnTo>
                  <a:lnTo>
                    <a:pt x="109" y="576"/>
                  </a:lnTo>
                  <a:lnTo>
                    <a:pt x="101" y="584"/>
                  </a:lnTo>
                  <a:lnTo>
                    <a:pt x="76" y="592"/>
                  </a:lnTo>
                  <a:lnTo>
                    <a:pt x="67" y="608"/>
                  </a:lnTo>
                  <a:lnTo>
                    <a:pt x="59" y="632"/>
                  </a:lnTo>
                  <a:lnTo>
                    <a:pt x="67" y="656"/>
                  </a:lnTo>
                  <a:lnTo>
                    <a:pt x="76" y="672"/>
                  </a:lnTo>
                  <a:lnTo>
                    <a:pt x="84" y="672"/>
                  </a:lnTo>
                  <a:lnTo>
                    <a:pt x="59" y="696"/>
                  </a:lnTo>
                  <a:lnTo>
                    <a:pt x="17" y="720"/>
                  </a:lnTo>
                  <a:lnTo>
                    <a:pt x="8" y="752"/>
                  </a:lnTo>
                  <a:lnTo>
                    <a:pt x="0" y="784"/>
                  </a:lnTo>
                  <a:lnTo>
                    <a:pt x="17" y="784"/>
                  </a:lnTo>
                  <a:lnTo>
                    <a:pt x="59" y="792"/>
                  </a:lnTo>
                  <a:lnTo>
                    <a:pt x="93" y="816"/>
                  </a:lnTo>
                  <a:lnTo>
                    <a:pt x="109" y="840"/>
                  </a:lnTo>
                  <a:lnTo>
                    <a:pt x="109" y="880"/>
                  </a:lnTo>
                  <a:lnTo>
                    <a:pt x="118" y="920"/>
                  </a:lnTo>
                  <a:lnTo>
                    <a:pt x="152" y="952"/>
                  </a:lnTo>
                  <a:lnTo>
                    <a:pt x="219" y="928"/>
                  </a:lnTo>
                  <a:lnTo>
                    <a:pt x="253" y="920"/>
                  </a:lnTo>
                  <a:lnTo>
                    <a:pt x="295" y="912"/>
                  </a:lnTo>
                  <a:lnTo>
                    <a:pt x="337" y="896"/>
                  </a:lnTo>
                  <a:lnTo>
                    <a:pt x="379" y="904"/>
                  </a:lnTo>
                  <a:lnTo>
                    <a:pt x="463" y="920"/>
                  </a:lnTo>
                  <a:lnTo>
                    <a:pt x="539" y="928"/>
                  </a:lnTo>
                  <a:lnTo>
                    <a:pt x="573" y="928"/>
                  </a:lnTo>
                  <a:lnTo>
                    <a:pt x="598" y="904"/>
                  </a:lnTo>
                  <a:lnTo>
                    <a:pt x="615" y="872"/>
                  </a:lnTo>
                  <a:lnTo>
                    <a:pt x="649" y="856"/>
                  </a:lnTo>
                  <a:lnTo>
                    <a:pt x="733" y="848"/>
                  </a:lnTo>
                  <a:lnTo>
                    <a:pt x="725" y="824"/>
                  </a:lnTo>
                  <a:lnTo>
                    <a:pt x="733" y="800"/>
                  </a:lnTo>
                  <a:lnTo>
                    <a:pt x="784" y="752"/>
                  </a:lnTo>
                  <a:lnTo>
                    <a:pt x="842" y="720"/>
                  </a:lnTo>
                  <a:lnTo>
                    <a:pt x="809" y="664"/>
                  </a:lnTo>
                  <a:lnTo>
                    <a:pt x="809" y="624"/>
                  </a:lnTo>
                  <a:lnTo>
                    <a:pt x="842" y="592"/>
                  </a:lnTo>
                  <a:lnTo>
                    <a:pt x="885" y="536"/>
                  </a:lnTo>
                  <a:lnTo>
                    <a:pt x="927" y="504"/>
                  </a:lnTo>
                  <a:lnTo>
                    <a:pt x="935" y="504"/>
                  </a:lnTo>
                  <a:lnTo>
                    <a:pt x="944" y="472"/>
                  </a:lnTo>
                  <a:lnTo>
                    <a:pt x="977" y="448"/>
                  </a:lnTo>
                  <a:lnTo>
                    <a:pt x="1019" y="440"/>
                  </a:lnTo>
                  <a:lnTo>
                    <a:pt x="1095" y="432"/>
                  </a:lnTo>
                  <a:lnTo>
                    <a:pt x="1196" y="376"/>
                  </a:lnTo>
                  <a:lnTo>
                    <a:pt x="1205" y="376"/>
                  </a:lnTo>
                  <a:lnTo>
                    <a:pt x="1205" y="368"/>
                  </a:lnTo>
                  <a:lnTo>
                    <a:pt x="1205" y="344"/>
                  </a:lnTo>
                  <a:lnTo>
                    <a:pt x="1180" y="35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29" name="Freeform 6"/>
            <p:cNvSpPr>
              <a:spLocks/>
            </p:cNvSpPr>
            <p:nvPr>
              <p:custDataLst>
                <p:tags r:id="rId7"/>
              </p:custDataLst>
            </p:nvPr>
          </p:nvSpPr>
          <p:spPr bwMode="auto">
            <a:xfrm>
              <a:off x="1730" y="3408"/>
              <a:ext cx="421" cy="616"/>
            </a:xfrm>
            <a:custGeom>
              <a:avLst/>
              <a:gdLst>
                <a:gd name="T0" fmla="*/ 396 w 421"/>
                <a:gd name="T1" fmla="*/ 88 h 616"/>
                <a:gd name="T2" fmla="*/ 387 w 421"/>
                <a:gd name="T3" fmla="*/ 64 h 616"/>
                <a:gd name="T4" fmla="*/ 328 w 421"/>
                <a:gd name="T5" fmla="*/ 56 h 616"/>
                <a:gd name="T6" fmla="*/ 286 w 421"/>
                <a:gd name="T7" fmla="*/ 40 h 616"/>
                <a:gd name="T8" fmla="*/ 236 w 421"/>
                <a:gd name="T9" fmla="*/ 32 h 616"/>
                <a:gd name="T10" fmla="*/ 244 w 421"/>
                <a:gd name="T11" fmla="*/ 8 h 616"/>
                <a:gd name="T12" fmla="*/ 177 w 421"/>
                <a:gd name="T13" fmla="*/ 8 h 616"/>
                <a:gd name="T14" fmla="*/ 160 w 421"/>
                <a:gd name="T15" fmla="*/ 112 h 616"/>
                <a:gd name="T16" fmla="*/ 126 w 421"/>
                <a:gd name="T17" fmla="*/ 208 h 616"/>
                <a:gd name="T18" fmla="*/ 42 w 421"/>
                <a:gd name="T19" fmla="*/ 304 h 616"/>
                <a:gd name="T20" fmla="*/ 8 w 421"/>
                <a:gd name="T21" fmla="*/ 368 h 616"/>
                <a:gd name="T22" fmla="*/ 34 w 421"/>
                <a:gd name="T23" fmla="*/ 384 h 616"/>
                <a:gd name="T24" fmla="*/ 25 w 421"/>
                <a:gd name="T25" fmla="*/ 408 h 616"/>
                <a:gd name="T26" fmla="*/ 67 w 421"/>
                <a:gd name="T27" fmla="*/ 416 h 616"/>
                <a:gd name="T28" fmla="*/ 42 w 421"/>
                <a:gd name="T29" fmla="*/ 512 h 616"/>
                <a:gd name="T30" fmla="*/ 8 w 421"/>
                <a:gd name="T31" fmla="*/ 576 h 616"/>
                <a:gd name="T32" fmla="*/ 8 w 421"/>
                <a:gd name="T33" fmla="*/ 592 h 616"/>
                <a:gd name="T34" fmla="*/ 84 w 421"/>
                <a:gd name="T35" fmla="*/ 600 h 616"/>
                <a:gd name="T36" fmla="*/ 160 w 421"/>
                <a:gd name="T37" fmla="*/ 608 h 616"/>
                <a:gd name="T38" fmla="*/ 177 w 421"/>
                <a:gd name="T39" fmla="*/ 544 h 616"/>
                <a:gd name="T40" fmla="*/ 244 w 421"/>
                <a:gd name="T41" fmla="*/ 496 h 616"/>
                <a:gd name="T42" fmla="*/ 227 w 421"/>
                <a:gd name="T43" fmla="*/ 480 h 616"/>
                <a:gd name="T44" fmla="*/ 227 w 421"/>
                <a:gd name="T45" fmla="*/ 432 h 616"/>
                <a:gd name="T46" fmla="*/ 261 w 421"/>
                <a:gd name="T47" fmla="*/ 408 h 616"/>
                <a:gd name="T48" fmla="*/ 269 w 421"/>
                <a:gd name="T49" fmla="*/ 392 h 616"/>
                <a:gd name="T50" fmla="*/ 236 w 421"/>
                <a:gd name="T51" fmla="*/ 312 h 616"/>
                <a:gd name="T52" fmla="*/ 286 w 421"/>
                <a:gd name="T53" fmla="*/ 304 h 616"/>
                <a:gd name="T54" fmla="*/ 303 w 421"/>
                <a:gd name="T55" fmla="*/ 256 h 616"/>
                <a:gd name="T56" fmla="*/ 320 w 421"/>
                <a:gd name="T57" fmla="*/ 248 h 616"/>
                <a:gd name="T58" fmla="*/ 337 w 421"/>
                <a:gd name="T59" fmla="*/ 192 h 616"/>
                <a:gd name="T60" fmla="*/ 362 w 421"/>
                <a:gd name="T61" fmla="*/ 152 h 616"/>
                <a:gd name="T62" fmla="*/ 421 w 421"/>
                <a:gd name="T63" fmla="*/ 120 h 616"/>
                <a:gd name="T64" fmla="*/ 413 w 421"/>
                <a:gd name="T65" fmla="*/ 96 h 61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21" h="616">
                  <a:moveTo>
                    <a:pt x="413" y="96"/>
                  </a:moveTo>
                  <a:lnTo>
                    <a:pt x="396" y="88"/>
                  </a:lnTo>
                  <a:lnTo>
                    <a:pt x="396" y="80"/>
                  </a:lnTo>
                  <a:lnTo>
                    <a:pt x="387" y="64"/>
                  </a:lnTo>
                  <a:lnTo>
                    <a:pt x="354" y="48"/>
                  </a:lnTo>
                  <a:lnTo>
                    <a:pt x="328" y="56"/>
                  </a:lnTo>
                  <a:lnTo>
                    <a:pt x="303" y="56"/>
                  </a:lnTo>
                  <a:lnTo>
                    <a:pt x="286" y="40"/>
                  </a:lnTo>
                  <a:lnTo>
                    <a:pt x="253" y="40"/>
                  </a:lnTo>
                  <a:lnTo>
                    <a:pt x="236" y="32"/>
                  </a:lnTo>
                  <a:lnTo>
                    <a:pt x="244" y="24"/>
                  </a:lnTo>
                  <a:lnTo>
                    <a:pt x="244" y="8"/>
                  </a:lnTo>
                  <a:lnTo>
                    <a:pt x="227" y="0"/>
                  </a:lnTo>
                  <a:lnTo>
                    <a:pt x="177" y="8"/>
                  </a:lnTo>
                  <a:lnTo>
                    <a:pt x="177" y="40"/>
                  </a:lnTo>
                  <a:lnTo>
                    <a:pt x="160" y="112"/>
                  </a:lnTo>
                  <a:lnTo>
                    <a:pt x="143" y="144"/>
                  </a:lnTo>
                  <a:lnTo>
                    <a:pt x="126" y="208"/>
                  </a:lnTo>
                  <a:lnTo>
                    <a:pt x="92" y="256"/>
                  </a:lnTo>
                  <a:lnTo>
                    <a:pt x="42" y="304"/>
                  </a:lnTo>
                  <a:lnTo>
                    <a:pt x="17" y="352"/>
                  </a:lnTo>
                  <a:lnTo>
                    <a:pt x="8" y="368"/>
                  </a:lnTo>
                  <a:lnTo>
                    <a:pt x="17" y="376"/>
                  </a:lnTo>
                  <a:lnTo>
                    <a:pt x="34" y="384"/>
                  </a:lnTo>
                  <a:lnTo>
                    <a:pt x="25" y="400"/>
                  </a:lnTo>
                  <a:lnTo>
                    <a:pt x="25" y="408"/>
                  </a:lnTo>
                  <a:lnTo>
                    <a:pt x="34" y="416"/>
                  </a:lnTo>
                  <a:lnTo>
                    <a:pt x="67" y="416"/>
                  </a:lnTo>
                  <a:lnTo>
                    <a:pt x="42" y="480"/>
                  </a:lnTo>
                  <a:lnTo>
                    <a:pt x="42" y="512"/>
                  </a:lnTo>
                  <a:lnTo>
                    <a:pt x="25" y="544"/>
                  </a:lnTo>
                  <a:lnTo>
                    <a:pt x="8" y="576"/>
                  </a:lnTo>
                  <a:lnTo>
                    <a:pt x="0" y="592"/>
                  </a:lnTo>
                  <a:lnTo>
                    <a:pt x="8" y="592"/>
                  </a:lnTo>
                  <a:lnTo>
                    <a:pt x="50" y="592"/>
                  </a:lnTo>
                  <a:lnTo>
                    <a:pt x="84" y="600"/>
                  </a:lnTo>
                  <a:lnTo>
                    <a:pt x="126" y="616"/>
                  </a:lnTo>
                  <a:lnTo>
                    <a:pt x="160" y="608"/>
                  </a:lnTo>
                  <a:lnTo>
                    <a:pt x="168" y="576"/>
                  </a:lnTo>
                  <a:lnTo>
                    <a:pt x="177" y="544"/>
                  </a:lnTo>
                  <a:lnTo>
                    <a:pt x="219" y="520"/>
                  </a:lnTo>
                  <a:lnTo>
                    <a:pt x="244" y="496"/>
                  </a:lnTo>
                  <a:lnTo>
                    <a:pt x="236" y="496"/>
                  </a:lnTo>
                  <a:lnTo>
                    <a:pt x="227" y="480"/>
                  </a:lnTo>
                  <a:lnTo>
                    <a:pt x="219" y="456"/>
                  </a:lnTo>
                  <a:lnTo>
                    <a:pt x="227" y="432"/>
                  </a:lnTo>
                  <a:lnTo>
                    <a:pt x="236" y="416"/>
                  </a:lnTo>
                  <a:lnTo>
                    <a:pt x="261" y="408"/>
                  </a:lnTo>
                  <a:lnTo>
                    <a:pt x="269" y="400"/>
                  </a:lnTo>
                  <a:lnTo>
                    <a:pt x="269" y="392"/>
                  </a:lnTo>
                  <a:lnTo>
                    <a:pt x="253" y="376"/>
                  </a:lnTo>
                  <a:lnTo>
                    <a:pt x="236" y="312"/>
                  </a:lnTo>
                  <a:lnTo>
                    <a:pt x="261" y="312"/>
                  </a:lnTo>
                  <a:lnTo>
                    <a:pt x="286" y="304"/>
                  </a:lnTo>
                  <a:lnTo>
                    <a:pt x="303" y="288"/>
                  </a:lnTo>
                  <a:lnTo>
                    <a:pt x="303" y="256"/>
                  </a:lnTo>
                  <a:lnTo>
                    <a:pt x="312" y="256"/>
                  </a:lnTo>
                  <a:lnTo>
                    <a:pt x="320" y="248"/>
                  </a:lnTo>
                  <a:lnTo>
                    <a:pt x="320" y="224"/>
                  </a:lnTo>
                  <a:lnTo>
                    <a:pt x="337" y="192"/>
                  </a:lnTo>
                  <a:lnTo>
                    <a:pt x="328" y="168"/>
                  </a:lnTo>
                  <a:lnTo>
                    <a:pt x="362" y="152"/>
                  </a:lnTo>
                  <a:lnTo>
                    <a:pt x="387" y="136"/>
                  </a:lnTo>
                  <a:lnTo>
                    <a:pt x="421" y="120"/>
                  </a:lnTo>
                  <a:lnTo>
                    <a:pt x="421" y="112"/>
                  </a:lnTo>
                  <a:lnTo>
                    <a:pt x="413" y="96"/>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0" name="Freeform 7"/>
            <p:cNvSpPr>
              <a:spLocks/>
            </p:cNvSpPr>
            <p:nvPr>
              <p:custDataLst>
                <p:tags r:id="rId8"/>
              </p:custDataLst>
            </p:nvPr>
          </p:nvSpPr>
          <p:spPr bwMode="auto">
            <a:xfrm>
              <a:off x="1890" y="3232"/>
              <a:ext cx="1205" cy="952"/>
            </a:xfrm>
            <a:custGeom>
              <a:avLst/>
              <a:gdLst>
                <a:gd name="T0" fmla="*/ 1154 w 1205"/>
                <a:gd name="T1" fmla="*/ 336 h 952"/>
                <a:gd name="T2" fmla="*/ 1036 w 1205"/>
                <a:gd name="T3" fmla="*/ 296 h 952"/>
                <a:gd name="T4" fmla="*/ 910 w 1205"/>
                <a:gd name="T5" fmla="*/ 280 h 952"/>
                <a:gd name="T6" fmla="*/ 859 w 1205"/>
                <a:gd name="T7" fmla="*/ 232 h 952"/>
                <a:gd name="T8" fmla="*/ 784 w 1205"/>
                <a:gd name="T9" fmla="*/ 192 h 952"/>
                <a:gd name="T10" fmla="*/ 716 w 1205"/>
                <a:gd name="T11" fmla="*/ 144 h 952"/>
                <a:gd name="T12" fmla="*/ 666 w 1205"/>
                <a:gd name="T13" fmla="*/ 136 h 952"/>
                <a:gd name="T14" fmla="*/ 598 w 1205"/>
                <a:gd name="T15" fmla="*/ 128 h 952"/>
                <a:gd name="T16" fmla="*/ 522 w 1205"/>
                <a:gd name="T17" fmla="*/ 104 h 952"/>
                <a:gd name="T18" fmla="*/ 387 w 1205"/>
                <a:gd name="T19" fmla="*/ 64 h 952"/>
                <a:gd name="T20" fmla="*/ 320 w 1205"/>
                <a:gd name="T21" fmla="*/ 48 h 952"/>
                <a:gd name="T22" fmla="*/ 202 w 1205"/>
                <a:gd name="T23" fmla="*/ 16 h 952"/>
                <a:gd name="T24" fmla="*/ 168 w 1205"/>
                <a:gd name="T25" fmla="*/ 0 h 952"/>
                <a:gd name="T26" fmla="*/ 135 w 1205"/>
                <a:gd name="T27" fmla="*/ 8 h 952"/>
                <a:gd name="T28" fmla="*/ 109 w 1205"/>
                <a:gd name="T29" fmla="*/ 24 h 952"/>
                <a:gd name="T30" fmla="*/ 17 w 1205"/>
                <a:gd name="T31" fmla="*/ 48 h 952"/>
                <a:gd name="T32" fmla="*/ 25 w 1205"/>
                <a:gd name="T33" fmla="*/ 88 h 952"/>
                <a:gd name="T34" fmla="*/ 34 w 1205"/>
                <a:gd name="T35" fmla="*/ 128 h 952"/>
                <a:gd name="T36" fmla="*/ 67 w 1205"/>
                <a:gd name="T37" fmla="*/ 176 h 952"/>
                <a:gd name="T38" fmla="*/ 84 w 1205"/>
                <a:gd name="T39" fmla="*/ 200 h 952"/>
                <a:gd name="T40" fmla="*/ 93 w 1205"/>
                <a:gd name="T41" fmla="*/ 216 h 952"/>
                <a:gd name="T42" fmla="*/ 143 w 1205"/>
                <a:gd name="T43" fmla="*/ 232 h 952"/>
                <a:gd name="T44" fmla="*/ 194 w 1205"/>
                <a:gd name="T45" fmla="*/ 224 h 952"/>
                <a:gd name="T46" fmla="*/ 236 w 1205"/>
                <a:gd name="T47" fmla="*/ 256 h 952"/>
                <a:gd name="T48" fmla="*/ 253 w 1205"/>
                <a:gd name="T49" fmla="*/ 272 h 952"/>
                <a:gd name="T50" fmla="*/ 261 w 1205"/>
                <a:gd name="T51" fmla="*/ 296 h 952"/>
                <a:gd name="T52" fmla="*/ 202 w 1205"/>
                <a:gd name="T53" fmla="*/ 328 h 952"/>
                <a:gd name="T54" fmla="*/ 177 w 1205"/>
                <a:gd name="T55" fmla="*/ 368 h 952"/>
                <a:gd name="T56" fmla="*/ 160 w 1205"/>
                <a:gd name="T57" fmla="*/ 424 h 952"/>
                <a:gd name="T58" fmla="*/ 143 w 1205"/>
                <a:gd name="T59" fmla="*/ 432 h 952"/>
                <a:gd name="T60" fmla="*/ 126 w 1205"/>
                <a:gd name="T61" fmla="*/ 480 h 952"/>
                <a:gd name="T62" fmla="*/ 76 w 1205"/>
                <a:gd name="T63" fmla="*/ 488 h 952"/>
                <a:gd name="T64" fmla="*/ 109 w 1205"/>
                <a:gd name="T65" fmla="*/ 568 h 952"/>
                <a:gd name="T66" fmla="*/ 101 w 1205"/>
                <a:gd name="T67" fmla="*/ 584 h 952"/>
                <a:gd name="T68" fmla="*/ 67 w 1205"/>
                <a:gd name="T69" fmla="*/ 608 h 952"/>
                <a:gd name="T70" fmla="*/ 67 w 1205"/>
                <a:gd name="T71" fmla="*/ 656 h 952"/>
                <a:gd name="T72" fmla="*/ 84 w 1205"/>
                <a:gd name="T73" fmla="*/ 672 h 952"/>
                <a:gd name="T74" fmla="*/ 17 w 1205"/>
                <a:gd name="T75" fmla="*/ 720 h 952"/>
                <a:gd name="T76" fmla="*/ 0 w 1205"/>
                <a:gd name="T77" fmla="*/ 784 h 952"/>
                <a:gd name="T78" fmla="*/ 59 w 1205"/>
                <a:gd name="T79" fmla="*/ 792 h 952"/>
                <a:gd name="T80" fmla="*/ 109 w 1205"/>
                <a:gd name="T81" fmla="*/ 840 h 952"/>
                <a:gd name="T82" fmla="*/ 118 w 1205"/>
                <a:gd name="T83" fmla="*/ 920 h 952"/>
                <a:gd name="T84" fmla="*/ 219 w 1205"/>
                <a:gd name="T85" fmla="*/ 928 h 952"/>
                <a:gd name="T86" fmla="*/ 295 w 1205"/>
                <a:gd name="T87" fmla="*/ 912 h 952"/>
                <a:gd name="T88" fmla="*/ 379 w 1205"/>
                <a:gd name="T89" fmla="*/ 904 h 952"/>
                <a:gd name="T90" fmla="*/ 539 w 1205"/>
                <a:gd name="T91" fmla="*/ 928 h 952"/>
                <a:gd name="T92" fmla="*/ 598 w 1205"/>
                <a:gd name="T93" fmla="*/ 904 h 952"/>
                <a:gd name="T94" fmla="*/ 649 w 1205"/>
                <a:gd name="T95" fmla="*/ 856 h 952"/>
                <a:gd name="T96" fmla="*/ 725 w 1205"/>
                <a:gd name="T97" fmla="*/ 824 h 952"/>
                <a:gd name="T98" fmla="*/ 784 w 1205"/>
                <a:gd name="T99" fmla="*/ 752 h 952"/>
                <a:gd name="T100" fmla="*/ 809 w 1205"/>
                <a:gd name="T101" fmla="*/ 664 h 952"/>
                <a:gd name="T102" fmla="*/ 842 w 1205"/>
                <a:gd name="T103" fmla="*/ 592 h 952"/>
                <a:gd name="T104" fmla="*/ 927 w 1205"/>
                <a:gd name="T105" fmla="*/ 504 h 952"/>
                <a:gd name="T106" fmla="*/ 944 w 1205"/>
                <a:gd name="T107" fmla="*/ 472 h 952"/>
                <a:gd name="T108" fmla="*/ 944 w 1205"/>
                <a:gd name="T109" fmla="*/ 472 h 952"/>
                <a:gd name="T110" fmla="*/ 1019 w 1205"/>
                <a:gd name="T111" fmla="*/ 440 h 952"/>
                <a:gd name="T112" fmla="*/ 1196 w 1205"/>
                <a:gd name="T113" fmla="*/ 376 h 952"/>
                <a:gd name="T114" fmla="*/ 1205 w 1205"/>
                <a:gd name="T115" fmla="*/ 368 h 952"/>
                <a:gd name="T116" fmla="*/ 1205 w 1205"/>
                <a:gd name="T117" fmla="*/ 344 h 95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205" h="952">
                  <a:moveTo>
                    <a:pt x="1180" y="352"/>
                  </a:moveTo>
                  <a:lnTo>
                    <a:pt x="1154" y="336"/>
                  </a:lnTo>
                  <a:lnTo>
                    <a:pt x="1095" y="320"/>
                  </a:lnTo>
                  <a:lnTo>
                    <a:pt x="1036" y="296"/>
                  </a:lnTo>
                  <a:lnTo>
                    <a:pt x="969" y="288"/>
                  </a:lnTo>
                  <a:lnTo>
                    <a:pt x="910" y="280"/>
                  </a:lnTo>
                  <a:lnTo>
                    <a:pt x="893" y="256"/>
                  </a:lnTo>
                  <a:lnTo>
                    <a:pt x="859" y="232"/>
                  </a:lnTo>
                  <a:lnTo>
                    <a:pt x="817" y="224"/>
                  </a:lnTo>
                  <a:lnTo>
                    <a:pt x="784" y="192"/>
                  </a:lnTo>
                  <a:lnTo>
                    <a:pt x="733" y="152"/>
                  </a:lnTo>
                  <a:lnTo>
                    <a:pt x="716" y="144"/>
                  </a:lnTo>
                  <a:lnTo>
                    <a:pt x="699" y="144"/>
                  </a:lnTo>
                  <a:lnTo>
                    <a:pt x="666" y="136"/>
                  </a:lnTo>
                  <a:lnTo>
                    <a:pt x="632" y="120"/>
                  </a:lnTo>
                  <a:lnTo>
                    <a:pt x="598" y="128"/>
                  </a:lnTo>
                  <a:lnTo>
                    <a:pt x="556" y="104"/>
                  </a:lnTo>
                  <a:lnTo>
                    <a:pt x="522" y="104"/>
                  </a:lnTo>
                  <a:lnTo>
                    <a:pt x="480" y="96"/>
                  </a:lnTo>
                  <a:lnTo>
                    <a:pt x="387" y="64"/>
                  </a:lnTo>
                  <a:lnTo>
                    <a:pt x="362" y="48"/>
                  </a:lnTo>
                  <a:lnTo>
                    <a:pt x="320" y="48"/>
                  </a:lnTo>
                  <a:lnTo>
                    <a:pt x="227" y="32"/>
                  </a:lnTo>
                  <a:lnTo>
                    <a:pt x="202" y="16"/>
                  </a:lnTo>
                  <a:lnTo>
                    <a:pt x="185" y="0"/>
                  </a:lnTo>
                  <a:lnTo>
                    <a:pt x="168" y="0"/>
                  </a:lnTo>
                  <a:lnTo>
                    <a:pt x="143" y="0"/>
                  </a:lnTo>
                  <a:lnTo>
                    <a:pt x="135" y="8"/>
                  </a:lnTo>
                  <a:lnTo>
                    <a:pt x="126" y="24"/>
                  </a:lnTo>
                  <a:lnTo>
                    <a:pt x="109" y="24"/>
                  </a:lnTo>
                  <a:lnTo>
                    <a:pt x="59" y="32"/>
                  </a:lnTo>
                  <a:lnTo>
                    <a:pt x="17" y="48"/>
                  </a:lnTo>
                  <a:lnTo>
                    <a:pt x="25" y="80"/>
                  </a:lnTo>
                  <a:lnTo>
                    <a:pt x="25" y="88"/>
                  </a:lnTo>
                  <a:lnTo>
                    <a:pt x="25" y="104"/>
                  </a:lnTo>
                  <a:lnTo>
                    <a:pt x="34" y="128"/>
                  </a:lnTo>
                  <a:lnTo>
                    <a:pt x="17" y="184"/>
                  </a:lnTo>
                  <a:lnTo>
                    <a:pt x="67" y="176"/>
                  </a:lnTo>
                  <a:lnTo>
                    <a:pt x="84" y="184"/>
                  </a:lnTo>
                  <a:lnTo>
                    <a:pt x="84" y="200"/>
                  </a:lnTo>
                  <a:lnTo>
                    <a:pt x="76" y="208"/>
                  </a:lnTo>
                  <a:lnTo>
                    <a:pt x="93" y="216"/>
                  </a:lnTo>
                  <a:lnTo>
                    <a:pt x="126" y="216"/>
                  </a:lnTo>
                  <a:lnTo>
                    <a:pt x="143" y="232"/>
                  </a:lnTo>
                  <a:lnTo>
                    <a:pt x="168" y="232"/>
                  </a:lnTo>
                  <a:lnTo>
                    <a:pt x="194" y="224"/>
                  </a:lnTo>
                  <a:lnTo>
                    <a:pt x="227" y="240"/>
                  </a:lnTo>
                  <a:lnTo>
                    <a:pt x="236" y="256"/>
                  </a:lnTo>
                  <a:lnTo>
                    <a:pt x="236" y="264"/>
                  </a:lnTo>
                  <a:lnTo>
                    <a:pt x="253" y="272"/>
                  </a:lnTo>
                  <a:lnTo>
                    <a:pt x="261" y="288"/>
                  </a:lnTo>
                  <a:lnTo>
                    <a:pt x="261" y="296"/>
                  </a:lnTo>
                  <a:lnTo>
                    <a:pt x="227" y="312"/>
                  </a:lnTo>
                  <a:lnTo>
                    <a:pt x="202" y="328"/>
                  </a:lnTo>
                  <a:lnTo>
                    <a:pt x="168" y="344"/>
                  </a:lnTo>
                  <a:lnTo>
                    <a:pt x="177" y="368"/>
                  </a:lnTo>
                  <a:lnTo>
                    <a:pt x="160" y="400"/>
                  </a:lnTo>
                  <a:lnTo>
                    <a:pt x="160" y="424"/>
                  </a:lnTo>
                  <a:lnTo>
                    <a:pt x="152" y="432"/>
                  </a:lnTo>
                  <a:lnTo>
                    <a:pt x="143" y="432"/>
                  </a:lnTo>
                  <a:lnTo>
                    <a:pt x="143" y="464"/>
                  </a:lnTo>
                  <a:lnTo>
                    <a:pt x="126" y="480"/>
                  </a:lnTo>
                  <a:lnTo>
                    <a:pt x="101" y="488"/>
                  </a:lnTo>
                  <a:lnTo>
                    <a:pt x="76" y="488"/>
                  </a:lnTo>
                  <a:lnTo>
                    <a:pt x="93" y="552"/>
                  </a:lnTo>
                  <a:lnTo>
                    <a:pt x="109" y="568"/>
                  </a:lnTo>
                  <a:lnTo>
                    <a:pt x="109" y="576"/>
                  </a:lnTo>
                  <a:lnTo>
                    <a:pt x="101" y="584"/>
                  </a:lnTo>
                  <a:lnTo>
                    <a:pt x="76" y="592"/>
                  </a:lnTo>
                  <a:lnTo>
                    <a:pt x="67" y="608"/>
                  </a:lnTo>
                  <a:lnTo>
                    <a:pt x="59" y="632"/>
                  </a:lnTo>
                  <a:lnTo>
                    <a:pt x="67" y="656"/>
                  </a:lnTo>
                  <a:lnTo>
                    <a:pt x="76" y="672"/>
                  </a:lnTo>
                  <a:lnTo>
                    <a:pt x="84" y="672"/>
                  </a:lnTo>
                  <a:lnTo>
                    <a:pt x="59" y="696"/>
                  </a:lnTo>
                  <a:lnTo>
                    <a:pt x="17" y="720"/>
                  </a:lnTo>
                  <a:lnTo>
                    <a:pt x="8" y="752"/>
                  </a:lnTo>
                  <a:lnTo>
                    <a:pt x="0" y="784"/>
                  </a:lnTo>
                  <a:lnTo>
                    <a:pt x="17" y="784"/>
                  </a:lnTo>
                  <a:lnTo>
                    <a:pt x="59" y="792"/>
                  </a:lnTo>
                  <a:lnTo>
                    <a:pt x="93" y="816"/>
                  </a:lnTo>
                  <a:lnTo>
                    <a:pt x="109" y="840"/>
                  </a:lnTo>
                  <a:lnTo>
                    <a:pt x="109" y="880"/>
                  </a:lnTo>
                  <a:lnTo>
                    <a:pt x="118" y="920"/>
                  </a:lnTo>
                  <a:lnTo>
                    <a:pt x="152" y="952"/>
                  </a:lnTo>
                  <a:lnTo>
                    <a:pt x="219" y="928"/>
                  </a:lnTo>
                  <a:lnTo>
                    <a:pt x="253" y="920"/>
                  </a:lnTo>
                  <a:lnTo>
                    <a:pt x="295" y="912"/>
                  </a:lnTo>
                  <a:lnTo>
                    <a:pt x="337" y="896"/>
                  </a:lnTo>
                  <a:lnTo>
                    <a:pt x="379" y="904"/>
                  </a:lnTo>
                  <a:lnTo>
                    <a:pt x="463" y="920"/>
                  </a:lnTo>
                  <a:lnTo>
                    <a:pt x="539" y="928"/>
                  </a:lnTo>
                  <a:lnTo>
                    <a:pt x="573" y="928"/>
                  </a:lnTo>
                  <a:lnTo>
                    <a:pt x="598" y="904"/>
                  </a:lnTo>
                  <a:lnTo>
                    <a:pt x="615" y="872"/>
                  </a:lnTo>
                  <a:lnTo>
                    <a:pt x="649" y="856"/>
                  </a:lnTo>
                  <a:lnTo>
                    <a:pt x="733" y="848"/>
                  </a:lnTo>
                  <a:lnTo>
                    <a:pt x="725" y="824"/>
                  </a:lnTo>
                  <a:lnTo>
                    <a:pt x="733" y="800"/>
                  </a:lnTo>
                  <a:lnTo>
                    <a:pt x="784" y="752"/>
                  </a:lnTo>
                  <a:lnTo>
                    <a:pt x="842" y="720"/>
                  </a:lnTo>
                  <a:lnTo>
                    <a:pt x="809" y="664"/>
                  </a:lnTo>
                  <a:lnTo>
                    <a:pt x="809" y="624"/>
                  </a:lnTo>
                  <a:lnTo>
                    <a:pt x="842" y="592"/>
                  </a:lnTo>
                  <a:lnTo>
                    <a:pt x="885" y="536"/>
                  </a:lnTo>
                  <a:lnTo>
                    <a:pt x="927" y="504"/>
                  </a:lnTo>
                  <a:lnTo>
                    <a:pt x="935" y="504"/>
                  </a:lnTo>
                  <a:lnTo>
                    <a:pt x="944" y="472"/>
                  </a:lnTo>
                  <a:lnTo>
                    <a:pt x="977" y="448"/>
                  </a:lnTo>
                  <a:lnTo>
                    <a:pt x="1019" y="440"/>
                  </a:lnTo>
                  <a:lnTo>
                    <a:pt x="1095" y="432"/>
                  </a:lnTo>
                  <a:lnTo>
                    <a:pt x="1196" y="376"/>
                  </a:lnTo>
                  <a:lnTo>
                    <a:pt x="1205" y="376"/>
                  </a:lnTo>
                  <a:lnTo>
                    <a:pt x="1205" y="368"/>
                  </a:lnTo>
                  <a:lnTo>
                    <a:pt x="1205" y="344"/>
                  </a:lnTo>
                  <a:lnTo>
                    <a:pt x="1180" y="352"/>
                  </a:lnTo>
                  <a:close/>
                </a:path>
              </a:pathLst>
            </a:custGeom>
            <a:solidFill>
              <a:srgbClr val="09B89D"/>
            </a:solidFill>
            <a:ln w="6350" cmpd="sng">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1" name="Freeform 8"/>
            <p:cNvSpPr>
              <a:spLocks/>
            </p:cNvSpPr>
            <p:nvPr>
              <p:custDataLst>
                <p:tags r:id="rId9"/>
              </p:custDataLst>
            </p:nvPr>
          </p:nvSpPr>
          <p:spPr bwMode="auto">
            <a:xfrm>
              <a:off x="1730" y="3408"/>
              <a:ext cx="421" cy="616"/>
            </a:xfrm>
            <a:custGeom>
              <a:avLst/>
              <a:gdLst>
                <a:gd name="T0" fmla="*/ 396 w 421"/>
                <a:gd name="T1" fmla="*/ 88 h 616"/>
                <a:gd name="T2" fmla="*/ 387 w 421"/>
                <a:gd name="T3" fmla="*/ 64 h 616"/>
                <a:gd name="T4" fmla="*/ 328 w 421"/>
                <a:gd name="T5" fmla="*/ 56 h 616"/>
                <a:gd name="T6" fmla="*/ 286 w 421"/>
                <a:gd name="T7" fmla="*/ 40 h 616"/>
                <a:gd name="T8" fmla="*/ 236 w 421"/>
                <a:gd name="T9" fmla="*/ 32 h 616"/>
                <a:gd name="T10" fmla="*/ 244 w 421"/>
                <a:gd name="T11" fmla="*/ 8 h 616"/>
                <a:gd name="T12" fmla="*/ 177 w 421"/>
                <a:gd name="T13" fmla="*/ 8 h 616"/>
                <a:gd name="T14" fmla="*/ 160 w 421"/>
                <a:gd name="T15" fmla="*/ 112 h 616"/>
                <a:gd name="T16" fmla="*/ 126 w 421"/>
                <a:gd name="T17" fmla="*/ 208 h 616"/>
                <a:gd name="T18" fmla="*/ 42 w 421"/>
                <a:gd name="T19" fmla="*/ 304 h 616"/>
                <a:gd name="T20" fmla="*/ 8 w 421"/>
                <a:gd name="T21" fmla="*/ 368 h 616"/>
                <a:gd name="T22" fmla="*/ 34 w 421"/>
                <a:gd name="T23" fmla="*/ 384 h 616"/>
                <a:gd name="T24" fmla="*/ 25 w 421"/>
                <a:gd name="T25" fmla="*/ 408 h 616"/>
                <a:gd name="T26" fmla="*/ 67 w 421"/>
                <a:gd name="T27" fmla="*/ 416 h 616"/>
                <a:gd name="T28" fmla="*/ 42 w 421"/>
                <a:gd name="T29" fmla="*/ 512 h 616"/>
                <a:gd name="T30" fmla="*/ 8 w 421"/>
                <a:gd name="T31" fmla="*/ 576 h 616"/>
                <a:gd name="T32" fmla="*/ 8 w 421"/>
                <a:gd name="T33" fmla="*/ 592 h 616"/>
                <a:gd name="T34" fmla="*/ 84 w 421"/>
                <a:gd name="T35" fmla="*/ 600 h 616"/>
                <a:gd name="T36" fmla="*/ 160 w 421"/>
                <a:gd name="T37" fmla="*/ 608 h 616"/>
                <a:gd name="T38" fmla="*/ 168 w 421"/>
                <a:gd name="T39" fmla="*/ 576 h 616"/>
                <a:gd name="T40" fmla="*/ 219 w 421"/>
                <a:gd name="T41" fmla="*/ 520 h 616"/>
                <a:gd name="T42" fmla="*/ 236 w 421"/>
                <a:gd name="T43" fmla="*/ 496 h 616"/>
                <a:gd name="T44" fmla="*/ 219 w 421"/>
                <a:gd name="T45" fmla="*/ 456 h 616"/>
                <a:gd name="T46" fmla="*/ 236 w 421"/>
                <a:gd name="T47" fmla="*/ 416 h 616"/>
                <a:gd name="T48" fmla="*/ 269 w 421"/>
                <a:gd name="T49" fmla="*/ 400 h 616"/>
                <a:gd name="T50" fmla="*/ 253 w 421"/>
                <a:gd name="T51" fmla="*/ 376 h 616"/>
                <a:gd name="T52" fmla="*/ 261 w 421"/>
                <a:gd name="T53" fmla="*/ 312 h 616"/>
                <a:gd name="T54" fmla="*/ 303 w 421"/>
                <a:gd name="T55" fmla="*/ 288 h 616"/>
                <a:gd name="T56" fmla="*/ 312 w 421"/>
                <a:gd name="T57" fmla="*/ 256 h 616"/>
                <a:gd name="T58" fmla="*/ 320 w 421"/>
                <a:gd name="T59" fmla="*/ 224 h 616"/>
                <a:gd name="T60" fmla="*/ 328 w 421"/>
                <a:gd name="T61" fmla="*/ 168 h 616"/>
                <a:gd name="T62" fmla="*/ 387 w 421"/>
                <a:gd name="T63" fmla="*/ 136 h 616"/>
                <a:gd name="T64" fmla="*/ 421 w 421"/>
                <a:gd name="T65" fmla="*/ 112 h 616"/>
                <a:gd name="T66" fmla="*/ 413 w 421"/>
                <a:gd name="T67" fmla="*/ 96 h 61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21" h="616">
                  <a:moveTo>
                    <a:pt x="413" y="96"/>
                  </a:moveTo>
                  <a:lnTo>
                    <a:pt x="396" y="88"/>
                  </a:lnTo>
                  <a:lnTo>
                    <a:pt x="396" y="80"/>
                  </a:lnTo>
                  <a:lnTo>
                    <a:pt x="387" y="64"/>
                  </a:lnTo>
                  <a:lnTo>
                    <a:pt x="354" y="48"/>
                  </a:lnTo>
                  <a:lnTo>
                    <a:pt x="328" y="56"/>
                  </a:lnTo>
                  <a:lnTo>
                    <a:pt x="303" y="56"/>
                  </a:lnTo>
                  <a:lnTo>
                    <a:pt x="286" y="40"/>
                  </a:lnTo>
                  <a:lnTo>
                    <a:pt x="253" y="40"/>
                  </a:lnTo>
                  <a:lnTo>
                    <a:pt x="236" y="32"/>
                  </a:lnTo>
                  <a:lnTo>
                    <a:pt x="244" y="24"/>
                  </a:lnTo>
                  <a:lnTo>
                    <a:pt x="244" y="8"/>
                  </a:lnTo>
                  <a:lnTo>
                    <a:pt x="227" y="0"/>
                  </a:lnTo>
                  <a:lnTo>
                    <a:pt x="177" y="8"/>
                  </a:lnTo>
                  <a:lnTo>
                    <a:pt x="177" y="40"/>
                  </a:lnTo>
                  <a:lnTo>
                    <a:pt x="160" y="112"/>
                  </a:lnTo>
                  <a:lnTo>
                    <a:pt x="143" y="144"/>
                  </a:lnTo>
                  <a:lnTo>
                    <a:pt x="126" y="208"/>
                  </a:lnTo>
                  <a:lnTo>
                    <a:pt x="92" y="256"/>
                  </a:lnTo>
                  <a:lnTo>
                    <a:pt x="42" y="304"/>
                  </a:lnTo>
                  <a:lnTo>
                    <a:pt x="17" y="352"/>
                  </a:lnTo>
                  <a:lnTo>
                    <a:pt x="8" y="368"/>
                  </a:lnTo>
                  <a:lnTo>
                    <a:pt x="17" y="376"/>
                  </a:lnTo>
                  <a:lnTo>
                    <a:pt x="34" y="384"/>
                  </a:lnTo>
                  <a:lnTo>
                    <a:pt x="25" y="400"/>
                  </a:lnTo>
                  <a:lnTo>
                    <a:pt x="25" y="408"/>
                  </a:lnTo>
                  <a:lnTo>
                    <a:pt x="34" y="416"/>
                  </a:lnTo>
                  <a:lnTo>
                    <a:pt x="67" y="416"/>
                  </a:lnTo>
                  <a:lnTo>
                    <a:pt x="42" y="480"/>
                  </a:lnTo>
                  <a:lnTo>
                    <a:pt x="42" y="512"/>
                  </a:lnTo>
                  <a:lnTo>
                    <a:pt x="25" y="544"/>
                  </a:lnTo>
                  <a:lnTo>
                    <a:pt x="8" y="576"/>
                  </a:lnTo>
                  <a:lnTo>
                    <a:pt x="0" y="592"/>
                  </a:lnTo>
                  <a:lnTo>
                    <a:pt x="8" y="592"/>
                  </a:lnTo>
                  <a:lnTo>
                    <a:pt x="50" y="592"/>
                  </a:lnTo>
                  <a:lnTo>
                    <a:pt x="84" y="600"/>
                  </a:lnTo>
                  <a:lnTo>
                    <a:pt x="126" y="616"/>
                  </a:lnTo>
                  <a:lnTo>
                    <a:pt x="160" y="608"/>
                  </a:lnTo>
                  <a:lnTo>
                    <a:pt x="168" y="576"/>
                  </a:lnTo>
                  <a:lnTo>
                    <a:pt x="177" y="544"/>
                  </a:lnTo>
                  <a:lnTo>
                    <a:pt x="219" y="520"/>
                  </a:lnTo>
                  <a:lnTo>
                    <a:pt x="244" y="496"/>
                  </a:lnTo>
                  <a:lnTo>
                    <a:pt x="236" y="496"/>
                  </a:lnTo>
                  <a:lnTo>
                    <a:pt x="227" y="480"/>
                  </a:lnTo>
                  <a:lnTo>
                    <a:pt x="219" y="456"/>
                  </a:lnTo>
                  <a:lnTo>
                    <a:pt x="227" y="432"/>
                  </a:lnTo>
                  <a:lnTo>
                    <a:pt x="236" y="416"/>
                  </a:lnTo>
                  <a:lnTo>
                    <a:pt x="261" y="408"/>
                  </a:lnTo>
                  <a:lnTo>
                    <a:pt x="269" y="400"/>
                  </a:lnTo>
                  <a:lnTo>
                    <a:pt x="269" y="392"/>
                  </a:lnTo>
                  <a:lnTo>
                    <a:pt x="253" y="376"/>
                  </a:lnTo>
                  <a:lnTo>
                    <a:pt x="236" y="312"/>
                  </a:lnTo>
                  <a:lnTo>
                    <a:pt x="261" y="312"/>
                  </a:lnTo>
                  <a:lnTo>
                    <a:pt x="286" y="304"/>
                  </a:lnTo>
                  <a:lnTo>
                    <a:pt x="303" y="288"/>
                  </a:lnTo>
                  <a:lnTo>
                    <a:pt x="303" y="256"/>
                  </a:lnTo>
                  <a:lnTo>
                    <a:pt x="312" y="256"/>
                  </a:lnTo>
                  <a:lnTo>
                    <a:pt x="320" y="248"/>
                  </a:lnTo>
                  <a:lnTo>
                    <a:pt x="320" y="224"/>
                  </a:lnTo>
                  <a:lnTo>
                    <a:pt x="337" y="192"/>
                  </a:lnTo>
                  <a:lnTo>
                    <a:pt x="328" y="168"/>
                  </a:lnTo>
                  <a:lnTo>
                    <a:pt x="362" y="152"/>
                  </a:lnTo>
                  <a:lnTo>
                    <a:pt x="387" y="136"/>
                  </a:lnTo>
                  <a:lnTo>
                    <a:pt x="421" y="120"/>
                  </a:lnTo>
                  <a:lnTo>
                    <a:pt x="421" y="112"/>
                  </a:lnTo>
                  <a:lnTo>
                    <a:pt x="413" y="96"/>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2" name="Freeform 9"/>
            <p:cNvSpPr>
              <a:spLocks/>
            </p:cNvSpPr>
            <p:nvPr>
              <p:custDataLst>
                <p:tags r:id="rId10"/>
              </p:custDataLst>
            </p:nvPr>
          </p:nvSpPr>
          <p:spPr bwMode="auto">
            <a:xfrm>
              <a:off x="2117" y="1888"/>
              <a:ext cx="396" cy="408"/>
            </a:xfrm>
            <a:custGeom>
              <a:avLst/>
              <a:gdLst>
                <a:gd name="T0" fmla="*/ 363 w 396"/>
                <a:gd name="T1" fmla="*/ 160 h 408"/>
                <a:gd name="T2" fmla="*/ 354 w 396"/>
                <a:gd name="T3" fmla="*/ 136 h 408"/>
                <a:gd name="T4" fmla="*/ 329 w 396"/>
                <a:gd name="T5" fmla="*/ 120 h 408"/>
                <a:gd name="T6" fmla="*/ 295 w 396"/>
                <a:gd name="T7" fmla="*/ 144 h 408"/>
                <a:gd name="T8" fmla="*/ 262 w 396"/>
                <a:gd name="T9" fmla="*/ 96 h 408"/>
                <a:gd name="T10" fmla="*/ 278 w 396"/>
                <a:gd name="T11" fmla="*/ 80 h 408"/>
                <a:gd name="T12" fmla="*/ 278 w 396"/>
                <a:gd name="T13" fmla="*/ 64 h 408"/>
                <a:gd name="T14" fmla="*/ 312 w 396"/>
                <a:gd name="T15" fmla="*/ 64 h 408"/>
                <a:gd name="T16" fmla="*/ 321 w 396"/>
                <a:gd name="T17" fmla="*/ 48 h 408"/>
                <a:gd name="T18" fmla="*/ 329 w 396"/>
                <a:gd name="T19" fmla="*/ 32 h 408"/>
                <a:gd name="T20" fmla="*/ 346 w 396"/>
                <a:gd name="T21" fmla="*/ 24 h 408"/>
                <a:gd name="T22" fmla="*/ 354 w 396"/>
                <a:gd name="T23" fmla="*/ 0 h 408"/>
                <a:gd name="T24" fmla="*/ 329 w 396"/>
                <a:gd name="T25" fmla="*/ 0 h 408"/>
                <a:gd name="T26" fmla="*/ 304 w 396"/>
                <a:gd name="T27" fmla="*/ 8 h 408"/>
                <a:gd name="T28" fmla="*/ 262 w 396"/>
                <a:gd name="T29" fmla="*/ 8 h 408"/>
                <a:gd name="T30" fmla="*/ 253 w 396"/>
                <a:gd name="T31" fmla="*/ 32 h 408"/>
                <a:gd name="T32" fmla="*/ 219 w 396"/>
                <a:gd name="T33" fmla="*/ 56 h 408"/>
                <a:gd name="T34" fmla="*/ 219 w 396"/>
                <a:gd name="T35" fmla="*/ 80 h 408"/>
                <a:gd name="T36" fmla="*/ 186 w 396"/>
                <a:gd name="T37" fmla="*/ 96 h 408"/>
                <a:gd name="T38" fmla="*/ 127 w 396"/>
                <a:gd name="T39" fmla="*/ 72 h 408"/>
                <a:gd name="T40" fmla="*/ 93 w 396"/>
                <a:gd name="T41" fmla="*/ 104 h 408"/>
                <a:gd name="T42" fmla="*/ 110 w 396"/>
                <a:gd name="T43" fmla="*/ 136 h 408"/>
                <a:gd name="T44" fmla="*/ 76 w 396"/>
                <a:gd name="T45" fmla="*/ 160 h 408"/>
                <a:gd name="T46" fmla="*/ 110 w 396"/>
                <a:gd name="T47" fmla="*/ 192 h 408"/>
                <a:gd name="T48" fmla="*/ 152 w 396"/>
                <a:gd name="T49" fmla="*/ 208 h 408"/>
                <a:gd name="T50" fmla="*/ 144 w 396"/>
                <a:gd name="T51" fmla="*/ 224 h 408"/>
                <a:gd name="T52" fmla="*/ 118 w 396"/>
                <a:gd name="T53" fmla="*/ 224 h 408"/>
                <a:gd name="T54" fmla="*/ 102 w 396"/>
                <a:gd name="T55" fmla="*/ 256 h 408"/>
                <a:gd name="T56" fmla="*/ 51 w 396"/>
                <a:gd name="T57" fmla="*/ 272 h 408"/>
                <a:gd name="T58" fmla="*/ 51 w 396"/>
                <a:gd name="T59" fmla="*/ 304 h 408"/>
                <a:gd name="T60" fmla="*/ 9 w 396"/>
                <a:gd name="T61" fmla="*/ 312 h 408"/>
                <a:gd name="T62" fmla="*/ 26 w 396"/>
                <a:gd name="T63" fmla="*/ 328 h 408"/>
                <a:gd name="T64" fmla="*/ 0 w 396"/>
                <a:gd name="T65" fmla="*/ 368 h 408"/>
                <a:gd name="T66" fmla="*/ 26 w 396"/>
                <a:gd name="T67" fmla="*/ 376 h 408"/>
                <a:gd name="T68" fmla="*/ 26 w 396"/>
                <a:gd name="T69" fmla="*/ 400 h 408"/>
                <a:gd name="T70" fmla="*/ 59 w 396"/>
                <a:gd name="T71" fmla="*/ 408 h 408"/>
                <a:gd name="T72" fmla="*/ 160 w 396"/>
                <a:gd name="T73" fmla="*/ 408 h 408"/>
                <a:gd name="T74" fmla="*/ 228 w 396"/>
                <a:gd name="T75" fmla="*/ 376 h 408"/>
                <a:gd name="T76" fmla="*/ 287 w 396"/>
                <a:gd name="T77" fmla="*/ 376 h 408"/>
                <a:gd name="T78" fmla="*/ 329 w 396"/>
                <a:gd name="T79" fmla="*/ 392 h 408"/>
                <a:gd name="T80" fmla="*/ 329 w 396"/>
                <a:gd name="T81" fmla="*/ 360 h 408"/>
                <a:gd name="T82" fmla="*/ 354 w 396"/>
                <a:gd name="T83" fmla="*/ 328 h 408"/>
                <a:gd name="T84" fmla="*/ 371 w 396"/>
                <a:gd name="T85" fmla="*/ 304 h 408"/>
                <a:gd name="T86" fmla="*/ 388 w 396"/>
                <a:gd name="T87" fmla="*/ 232 h 408"/>
                <a:gd name="T88" fmla="*/ 380 w 396"/>
                <a:gd name="T89" fmla="*/ 208 h 408"/>
                <a:gd name="T90" fmla="*/ 371 w 396"/>
                <a:gd name="T91" fmla="*/ 176 h 408"/>
                <a:gd name="T92" fmla="*/ 396 w 396"/>
                <a:gd name="T93" fmla="*/ 168 h 408"/>
                <a:gd name="T94" fmla="*/ 380 w 396"/>
                <a:gd name="T95" fmla="*/ 160 h 408"/>
                <a:gd name="T96" fmla="*/ 363 w 396"/>
                <a:gd name="T97" fmla="*/ 160 h 4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96" h="408">
                  <a:moveTo>
                    <a:pt x="363" y="160"/>
                  </a:moveTo>
                  <a:lnTo>
                    <a:pt x="354" y="136"/>
                  </a:lnTo>
                  <a:lnTo>
                    <a:pt x="329" y="120"/>
                  </a:lnTo>
                  <a:lnTo>
                    <a:pt x="295" y="144"/>
                  </a:lnTo>
                  <a:lnTo>
                    <a:pt x="262" y="96"/>
                  </a:lnTo>
                  <a:lnTo>
                    <a:pt x="278" y="80"/>
                  </a:lnTo>
                  <a:lnTo>
                    <a:pt x="278" y="64"/>
                  </a:lnTo>
                  <a:lnTo>
                    <a:pt x="312" y="64"/>
                  </a:lnTo>
                  <a:lnTo>
                    <a:pt x="321" y="48"/>
                  </a:lnTo>
                  <a:lnTo>
                    <a:pt x="329" y="32"/>
                  </a:lnTo>
                  <a:lnTo>
                    <a:pt x="346" y="24"/>
                  </a:lnTo>
                  <a:lnTo>
                    <a:pt x="354" y="0"/>
                  </a:lnTo>
                  <a:lnTo>
                    <a:pt x="329" y="0"/>
                  </a:lnTo>
                  <a:lnTo>
                    <a:pt x="304" y="8"/>
                  </a:lnTo>
                  <a:lnTo>
                    <a:pt x="262" y="8"/>
                  </a:lnTo>
                  <a:lnTo>
                    <a:pt x="253" y="32"/>
                  </a:lnTo>
                  <a:lnTo>
                    <a:pt x="219" y="56"/>
                  </a:lnTo>
                  <a:lnTo>
                    <a:pt x="219" y="80"/>
                  </a:lnTo>
                  <a:lnTo>
                    <a:pt x="186" y="96"/>
                  </a:lnTo>
                  <a:lnTo>
                    <a:pt x="127" y="72"/>
                  </a:lnTo>
                  <a:lnTo>
                    <a:pt x="93" y="104"/>
                  </a:lnTo>
                  <a:lnTo>
                    <a:pt x="110" y="136"/>
                  </a:lnTo>
                  <a:lnTo>
                    <a:pt x="76" y="160"/>
                  </a:lnTo>
                  <a:lnTo>
                    <a:pt x="110" y="192"/>
                  </a:lnTo>
                  <a:lnTo>
                    <a:pt x="152" y="208"/>
                  </a:lnTo>
                  <a:lnTo>
                    <a:pt x="144" y="224"/>
                  </a:lnTo>
                  <a:lnTo>
                    <a:pt x="118" y="224"/>
                  </a:lnTo>
                  <a:lnTo>
                    <a:pt x="102" y="256"/>
                  </a:lnTo>
                  <a:lnTo>
                    <a:pt x="51" y="272"/>
                  </a:lnTo>
                  <a:lnTo>
                    <a:pt x="51" y="304"/>
                  </a:lnTo>
                  <a:lnTo>
                    <a:pt x="9" y="312"/>
                  </a:lnTo>
                  <a:lnTo>
                    <a:pt x="26" y="328"/>
                  </a:lnTo>
                  <a:lnTo>
                    <a:pt x="0" y="368"/>
                  </a:lnTo>
                  <a:lnTo>
                    <a:pt x="26" y="376"/>
                  </a:lnTo>
                  <a:lnTo>
                    <a:pt x="26" y="400"/>
                  </a:lnTo>
                  <a:lnTo>
                    <a:pt x="59" y="408"/>
                  </a:lnTo>
                  <a:lnTo>
                    <a:pt x="160" y="408"/>
                  </a:lnTo>
                  <a:lnTo>
                    <a:pt x="228" y="376"/>
                  </a:lnTo>
                  <a:lnTo>
                    <a:pt x="287" y="376"/>
                  </a:lnTo>
                  <a:lnTo>
                    <a:pt x="329" y="392"/>
                  </a:lnTo>
                  <a:lnTo>
                    <a:pt x="329" y="360"/>
                  </a:lnTo>
                  <a:lnTo>
                    <a:pt x="354" y="328"/>
                  </a:lnTo>
                  <a:lnTo>
                    <a:pt x="371" y="304"/>
                  </a:lnTo>
                  <a:lnTo>
                    <a:pt x="388" y="232"/>
                  </a:lnTo>
                  <a:lnTo>
                    <a:pt x="380" y="208"/>
                  </a:lnTo>
                  <a:lnTo>
                    <a:pt x="371" y="176"/>
                  </a:lnTo>
                  <a:lnTo>
                    <a:pt x="396" y="168"/>
                  </a:lnTo>
                  <a:lnTo>
                    <a:pt x="380" y="160"/>
                  </a:lnTo>
                  <a:lnTo>
                    <a:pt x="363" y="160"/>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3" name="Freeform 10"/>
            <p:cNvSpPr>
              <a:spLocks/>
            </p:cNvSpPr>
            <p:nvPr>
              <p:custDataLst>
                <p:tags r:id="rId11"/>
              </p:custDataLst>
            </p:nvPr>
          </p:nvSpPr>
          <p:spPr bwMode="auto">
            <a:xfrm>
              <a:off x="2379" y="1912"/>
              <a:ext cx="202" cy="144"/>
            </a:xfrm>
            <a:custGeom>
              <a:avLst/>
              <a:gdLst>
                <a:gd name="T0" fmla="*/ 185 w 202"/>
                <a:gd name="T1" fmla="*/ 72 h 144"/>
                <a:gd name="T2" fmla="*/ 177 w 202"/>
                <a:gd name="T3" fmla="*/ 48 h 144"/>
                <a:gd name="T4" fmla="*/ 177 w 202"/>
                <a:gd name="T5" fmla="*/ 16 h 144"/>
                <a:gd name="T6" fmla="*/ 151 w 202"/>
                <a:gd name="T7" fmla="*/ 0 h 144"/>
                <a:gd name="T8" fmla="*/ 126 w 202"/>
                <a:gd name="T9" fmla="*/ 0 h 144"/>
                <a:gd name="T10" fmla="*/ 109 w 202"/>
                <a:gd name="T11" fmla="*/ 0 h 144"/>
                <a:gd name="T12" fmla="*/ 84 w 202"/>
                <a:gd name="T13" fmla="*/ 0 h 144"/>
                <a:gd name="T14" fmla="*/ 84 w 202"/>
                <a:gd name="T15" fmla="*/ 8 h 144"/>
                <a:gd name="T16" fmla="*/ 84 w 202"/>
                <a:gd name="T17" fmla="*/ 0 h 144"/>
                <a:gd name="T18" fmla="*/ 67 w 202"/>
                <a:gd name="T19" fmla="*/ 8 h 144"/>
                <a:gd name="T20" fmla="*/ 59 w 202"/>
                <a:gd name="T21" fmla="*/ 24 h 144"/>
                <a:gd name="T22" fmla="*/ 50 w 202"/>
                <a:gd name="T23" fmla="*/ 40 h 144"/>
                <a:gd name="T24" fmla="*/ 16 w 202"/>
                <a:gd name="T25" fmla="*/ 40 h 144"/>
                <a:gd name="T26" fmla="*/ 16 w 202"/>
                <a:gd name="T27" fmla="*/ 56 h 144"/>
                <a:gd name="T28" fmla="*/ 0 w 202"/>
                <a:gd name="T29" fmla="*/ 72 h 144"/>
                <a:gd name="T30" fmla="*/ 33 w 202"/>
                <a:gd name="T31" fmla="*/ 120 h 144"/>
                <a:gd name="T32" fmla="*/ 67 w 202"/>
                <a:gd name="T33" fmla="*/ 96 h 144"/>
                <a:gd name="T34" fmla="*/ 92 w 202"/>
                <a:gd name="T35" fmla="*/ 112 h 144"/>
                <a:gd name="T36" fmla="*/ 101 w 202"/>
                <a:gd name="T37" fmla="*/ 136 h 144"/>
                <a:gd name="T38" fmla="*/ 118 w 202"/>
                <a:gd name="T39" fmla="*/ 136 h 144"/>
                <a:gd name="T40" fmla="*/ 134 w 202"/>
                <a:gd name="T41" fmla="*/ 144 h 144"/>
                <a:gd name="T42" fmla="*/ 143 w 202"/>
                <a:gd name="T43" fmla="*/ 144 h 144"/>
                <a:gd name="T44" fmla="*/ 168 w 202"/>
                <a:gd name="T45" fmla="*/ 128 h 144"/>
                <a:gd name="T46" fmla="*/ 193 w 202"/>
                <a:gd name="T47" fmla="*/ 120 h 144"/>
                <a:gd name="T48" fmla="*/ 202 w 202"/>
                <a:gd name="T49" fmla="*/ 88 h 144"/>
                <a:gd name="T50" fmla="*/ 185 w 202"/>
                <a:gd name="T51" fmla="*/ 72 h 14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02" h="144">
                  <a:moveTo>
                    <a:pt x="185" y="72"/>
                  </a:moveTo>
                  <a:lnTo>
                    <a:pt x="177" y="48"/>
                  </a:lnTo>
                  <a:lnTo>
                    <a:pt x="177" y="16"/>
                  </a:lnTo>
                  <a:lnTo>
                    <a:pt x="151" y="0"/>
                  </a:lnTo>
                  <a:lnTo>
                    <a:pt x="126" y="0"/>
                  </a:lnTo>
                  <a:lnTo>
                    <a:pt x="109" y="0"/>
                  </a:lnTo>
                  <a:lnTo>
                    <a:pt x="84" y="0"/>
                  </a:lnTo>
                  <a:lnTo>
                    <a:pt x="84" y="8"/>
                  </a:lnTo>
                  <a:lnTo>
                    <a:pt x="84" y="0"/>
                  </a:lnTo>
                  <a:lnTo>
                    <a:pt x="67" y="8"/>
                  </a:lnTo>
                  <a:lnTo>
                    <a:pt x="59" y="24"/>
                  </a:lnTo>
                  <a:lnTo>
                    <a:pt x="50" y="40"/>
                  </a:lnTo>
                  <a:lnTo>
                    <a:pt x="16" y="40"/>
                  </a:lnTo>
                  <a:lnTo>
                    <a:pt x="16" y="56"/>
                  </a:lnTo>
                  <a:lnTo>
                    <a:pt x="0" y="72"/>
                  </a:lnTo>
                  <a:lnTo>
                    <a:pt x="33" y="120"/>
                  </a:lnTo>
                  <a:lnTo>
                    <a:pt x="67" y="96"/>
                  </a:lnTo>
                  <a:lnTo>
                    <a:pt x="92" y="112"/>
                  </a:lnTo>
                  <a:lnTo>
                    <a:pt x="101" y="136"/>
                  </a:lnTo>
                  <a:lnTo>
                    <a:pt x="118" y="136"/>
                  </a:lnTo>
                  <a:lnTo>
                    <a:pt x="134" y="144"/>
                  </a:lnTo>
                  <a:lnTo>
                    <a:pt x="143" y="144"/>
                  </a:lnTo>
                  <a:lnTo>
                    <a:pt x="168" y="128"/>
                  </a:lnTo>
                  <a:lnTo>
                    <a:pt x="193" y="120"/>
                  </a:lnTo>
                  <a:lnTo>
                    <a:pt x="202" y="88"/>
                  </a:lnTo>
                  <a:lnTo>
                    <a:pt x="185" y="7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4" name="Freeform 11"/>
            <p:cNvSpPr>
              <a:spLocks/>
            </p:cNvSpPr>
            <p:nvPr>
              <p:custDataLst>
                <p:tags r:id="rId12"/>
              </p:custDataLst>
            </p:nvPr>
          </p:nvSpPr>
          <p:spPr bwMode="auto">
            <a:xfrm>
              <a:off x="2429" y="1536"/>
              <a:ext cx="666" cy="1016"/>
            </a:xfrm>
            <a:custGeom>
              <a:avLst/>
              <a:gdLst>
                <a:gd name="T0" fmla="*/ 337 w 666"/>
                <a:gd name="T1" fmla="*/ 96 h 1016"/>
                <a:gd name="T2" fmla="*/ 421 w 666"/>
                <a:gd name="T3" fmla="*/ 24 h 1016"/>
                <a:gd name="T4" fmla="*/ 270 w 666"/>
                <a:gd name="T5" fmla="*/ 24 h 1016"/>
                <a:gd name="T6" fmla="*/ 253 w 666"/>
                <a:gd name="T7" fmla="*/ 80 h 1016"/>
                <a:gd name="T8" fmla="*/ 202 w 666"/>
                <a:gd name="T9" fmla="*/ 136 h 1016"/>
                <a:gd name="T10" fmla="*/ 169 w 666"/>
                <a:gd name="T11" fmla="*/ 200 h 1016"/>
                <a:gd name="T12" fmla="*/ 202 w 666"/>
                <a:gd name="T13" fmla="*/ 232 h 1016"/>
                <a:gd name="T14" fmla="*/ 169 w 666"/>
                <a:gd name="T15" fmla="*/ 320 h 1016"/>
                <a:gd name="T16" fmla="*/ 186 w 666"/>
                <a:gd name="T17" fmla="*/ 344 h 1016"/>
                <a:gd name="T18" fmla="*/ 228 w 666"/>
                <a:gd name="T19" fmla="*/ 320 h 1016"/>
                <a:gd name="T20" fmla="*/ 186 w 666"/>
                <a:gd name="T21" fmla="*/ 424 h 1016"/>
                <a:gd name="T22" fmla="*/ 236 w 666"/>
                <a:gd name="T23" fmla="*/ 464 h 1016"/>
                <a:gd name="T24" fmla="*/ 303 w 666"/>
                <a:gd name="T25" fmla="*/ 448 h 1016"/>
                <a:gd name="T26" fmla="*/ 287 w 666"/>
                <a:gd name="T27" fmla="*/ 496 h 1016"/>
                <a:gd name="T28" fmla="*/ 329 w 666"/>
                <a:gd name="T29" fmla="*/ 576 h 1016"/>
                <a:gd name="T30" fmla="*/ 295 w 666"/>
                <a:gd name="T31" fmla="*/ 648 h 1016"/>
                <a:gd name="T32" fmla="*/ 202 w 666"/>
                <a:gd name="T33" fmla="*/ 624 h 1016"/>
                <a:gd name="T34" fmla="*/ 160 w 666"/>
                <a:gd name="T35" fmla="*/ 680 h 1016"/>
                <a:gd name="T36" fmla="*/ 211 w 666"/>
                <a:gd name="T37" fmla="*/ 744 h 1016"/>
                <a:gd name="T38" fmla="*/ 101 w 666"/>
                <a:gd name="T39" fmla="*/ 776 h 1016"/>
                <a:gd name="T40" fmla="*/ 101 w 666"/>
                <a:gd name="T41" fmla="*/ 808 h 1016"/>
                <a:gd name="T42" fmla="*/ 169 w 666"/>
                <a:gd name="T43" fmla="*/ 824 h 1016"/>
                <a:gd name="T44" fmla="*/ 219 w 666"/>
                <a:gd name="T45" fmla="*/ 864 h 1016"/>
                <a:gd name="T46" fmla="*/ 295 w 666"/>
                <a:gd name="T47" fmla="*/ 848 h 1016"/>
                <a:gd name="T48" fmla="*/ 228 w 666"/>
                <a:gd name="T49" fmla="*/ 896 h 1016"/>
                <a:gd name="T50" fmla="*/ 127 w 666"/>
                <a:gd name="T51" fmla="*/ 904 h 1016"/>
                <a:gd name="T52" fmla="*/ 0 w 666"/>
                <a:gd name="T53" fmla="*/ 984 h 1016"/>
                <a:gd name="T54" fmla="*/ 51 w 666"/>
                <a:gd name="T55" fmla="*/ 1016 h 1016"/>
                <a:gd name="T56" fmla="*/ 93 w 666"/>
                <a:gd name="T57" fmla="*/ 976 h 1016"/>
                <a:gd name="T58" fmla="*/ 219 w 666"/>
                <a:gd name="T59" fmla="*/ 960 h 1016"/>
                <a:gd name="T60" fmla="*/ 337 w 666"/>
                <a:gd name="T61" fmla="*/ 984 h 1016"/>
                <a:gd name="T62" fmla="*/ 421 w 666"/>
                <a:gd name="T63" fmla="*/ 968 h 1016"/>
                <a:gd name="T64" fmla="*/ 573 w 666"/>
                <a:gd name="T65" fmla="*/ 968 h 1016"/>
                <a:gd name="T66" fmla="*/ 624 w 666"/>
                <a:gd name="T67" fmla="*/ 928 h 1016"/>
                <a:gd name="T68" fmla="*/ 590 w 666"/>
                <a:gd name="T69" fmla="*/ 872 h 1016"/>
                <a:gd name="T70" fmla="*/ 649 w 666"/>
                <a:gd name="T71" fmla="*/ 840 h 1016"/>
                <a:gd name="T72" fmla="*/ 666 w 666"/>
                <a:gd name="T73" fmla="*/ 760 h 1016"/>
                <a:gd name="T74" fmla="*/ 539 w 666"/>
                <a:gd name="T75" fmla="*/ 728 h 1016"/>
                <a:gd name="T76" fmla="*/ 523 w 666"/>
                <a:gd name="T77" fmla="*/ 632 h 1016"/>
                <a:gd name="T78" fmla="*/ 539 w 666"/>
                <a:gd name="T79" fmla="*/ 576 h 1016"/>
                <a:gd name="T80" fmla="*/ 480 w 666"/>
                <a:gd name="T81" fmla="*/ 512 h 1016"/>
                <a:gd name="T82" fmla="*/ 455 w 666"/>
                <a:gd name="T83" fmla="*/ 392 h 1016"/>
                <a:gd name="T84" fmla="*/ 413 w 666"/>
                <a:gd name="T85" fmla="*/ 344 h 1016"/>
                <a:gd name="T86" fmla="*/ 337 w 666"/>
                <a:gd name="T87" fmla="*/ 320 h 1016"/>
                <a:gd name="T88" fmla="*/ 388 w 666"/>
                <a:gd name="T89" fmla="*/ 280 h 1016"/>
                <a:gd name="T90" fmla="*/ 447 w 666"/>
                <a:gd name="T91" fmla="*/ 224 h 1016"/>
                <a:gd name="T92" fmla="*/ 489 w 666"/>
                <a:gd name="T93" fmla="*/ 144 h 1016"/>
                <a:gd name="T94" fmla="*/ 379 w 666"/>
                <a:gd name="T95" fmla="*/ 120 h 101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666" h="1016">
                  <a:moveTo>
                    <a:pt x="329" y="128"/>
                  </a:moveTo>
                  <a:lnTo>
                    <a:pt x="354" y="104"/>
                  </a:lnTo>
                  <a:lnTo>
                    <a:pt x="337" y="96"/>
                  </a:lnTo>
                  <a:lnTo>
                    <a:pt x="388" y="64"/>
                  </a:lnTo>
                  <a:lnTo>
                    <a:pt x="413" y="56"/>
                  </a:lnTo>
                  <a:lnTo>
                    <a:pt x="421" y="24"/>
                  </a:lnTo>
                  <a:lnTo>
                    <a:pt x="320" y="16"/>
                  </a:lnTo>
                  <a:lnTo>
                    <a:pt x="287" y="0"/>
                  </a:lnTo>
                  <a:lnTo>
                    <a:pt x="270" y="24"/>
                  </a:lnTo>
                  <a:lnTo>
                    <a:pt x="253" y="40"/>
                  </a:lnTo>
                  <a:lnTo>
                    <a:pt x="245" y="56"/>
                  </a:lnTo>
                  <a:lnTo>
                    <a:pt x="253" y="80"/>
                  </a:lnTo>
                  <a:lnTo>
                    <a:pt x="219" y="88"/>
                  </a:lnTo>
                  <a:lnTo>
                    <a:pt x="202" y="104"/>
                  </a:lnTo>
                  <a:lnTo>
                    <a:pt x="202" y="136"/>
                  </a:lnTo>
                  <a:lnTo>
                    <a:pt x="202" y="160"/>
                  </a:lnTo>
                  <a:lnTo>
                    <a:pt x="186" y="184"/>
                  </a:lnTo>
                  <a:lnTo>
                    <a:pt x="169" y="200"/>
                  </a:lnTo>
                  <a:lnTo>
                    <a:pt x="135" y="248"/>
                  </a:lnTo>
                  <a:lnTo>
                    <a:pt x="160" y="256"/>
                  </a:lnTo>
                  <a:lnTo>
                    <a:pt x="202" y="232"/>
                  </a:lnTo>
                  <a:lnTo>
                    <a:pt x="186" y="264"/>
                  </a:lnTo>
                  <a:lnTo>
                    <a:pt x="177" y="296"/>
                  </a:lnTo>
                  <a:lnTo>
                    <a:pt x="169" y="320"/>
                  </a:lnTo>
                  <a:lnTo>
                    <a:pt x="143" y="376"/>
                  </a:lnTo>
                  <a:lnTo>
                    <a:pt x="169" y="376"/>
                  </a:lnTo>
                  <a:lnTo>
                    <a:pt x="186" y="344"/>
                  </a:lnTo>
                  <a:lnTo>
                    <a:pt x="202" y="304"/>
                  </a:lnTo>
                  <a:lnTo>
                    <a:pt x="211" y="328"/>
                  </a:lnTo>
                  <a:lnTo>
                    <a:pt x="228" y="320"/>
                  </a:lnTo>
                  <a:lnTo>
                    <a:pt x="219" y="344"/>
                  </a:lnTo>
                  <a:lnTo>
                    <a:pt x="228" y="360"/>
                  </a:lnTo>
                  <a:lnTo>
                    <a:pt x="186" y="424"/>
                  </a:lnTo>
                  <a:lnTo>
                    <a:pt x="194" y="472"/>
                  </a:lnTo>
                  <a:lnTo>
                    <a:pt x="202" y="440"/>
                  </a:lnTo>
                  <a:lnTo>
                    <a:pt x="236" y="464"/>
                  </a:lnTo>
                  <a:lnTo>
                    <a:pt x="253" y="456"/>
                  </a:lnTo>
                  <a:lnTo>
                    <a:pt x="278" y="464"/>
                  </a:lnTo>
                  <a:lnTo>
                    <a:pt x="303" y="448"/>
                  </a:lnTo>
                  <a:lnTo>
                    <a:pt x="329" y="456"/>
                  </a:lnTo>
                  <a:lnTo>
                    <a:pt x="295" y="480"/>
                  </a:lnTo>
                  <a:lnTo>
                    <a:pt x="287" y="496"/>
                  </a:lnTo>
                  <a:lnTo>
                    <a:pt x="312" y="544"/>
                  </a:lnTo>
                  <a:lnTo>
                    <a:pt x="329" y="544"/>
                  </a:lnTo>
                  <a:lnTo>
                    <a:pt x="329" y="576"/>
                  </a:lnTo>
                  <a:lnTo>
                    <a:pt x="320" y="576"/>
                  </a:lnTo>
                  <a:lnTo>
                    <a:pt x="312" y="632"/>
                  </a:lnTo>
                  <a:lnTo>
                    <a:pt x="295" y="648"/>
                  </a:lnTo>
                  <a:lnTo>
                    <a:pt x="287" y="640"/>
                  </a:lnTo>
                  <a:lnTo>
                    <a:pt x="236" y="640"/>
                  </a:lnTo>
                  <a:lnTo>
                    <a:pt x="202" y="624"/>
                  </a:lnTo>
                  <a:lnTo>
                    <a:pt x="186" y="632"/>
                  </a:lnTo>
                  <a:lnTo>
                    <a:pt x="202" y="648"/>
                  </a:lnTo>
                  <a:lnTo>
                    <a:pt x="160" y="680"/>
                  </a:lnTo>
                  <a:lnTo>
                    <a:pt x="177" y="688"/>
                  </a:lnTo>
                  <a:lnTo>
                    <a:pt x="202" y="680"/>
                  </a:lnTo>
                  <a:lnTo>
                    <a:pt x="211" y="744"/>
                  </a:lnTo>
                  <a:lnTo>
                    <a:pt x="169" y="760"/>
                  </a:lnTo>
                  <a:lnTo>
                    <a:pt x="143" y="768"/>
                  </a:lnTo>
                  <a:lnTo>
                    <a:pt x="101" y="776"/>
                  </a:lnTo>
                  <a:lnTo>
                    <a:pt x="84" y="784"/>
                  </a:lnTo>
                  <a:lnTo>
                    <a:pt x="93" y="792"/>
                  </a:lnTo>
                  <a:lnTo>
                    <a:pt x="101" y="808"/>
                  </a:lnTo>
                  <a:lnTo>
                    <a:pt x="135" y="824"/>
                  </a:lnTo>
                  <a:lnTo>
                    <a:pt x="152" y="808"/>
                  </a:lnTo>
                  <a:lnTo>
                    <a:pt x="169" y="824"/>
                  </a:lnTo>
                  <a:lnTo>
                    <a:pt x="160" y="840"/>
                  </a:lnTo>
                  <a:lnTo>
                    <a:pt x="194" y="840"/>
                  </a:lnTo>
                  <a:lnTo>
                    <a:pt x="219" y="864"/>
                  </a:lnTo>
                  <a:lnTo>
                    <a:pt x="261" y="864"/>
                  </a:lnTo>
                  <a:lnTo>
                    <a:pt x="278" y="856"/>
                  </a:lnTo>
                  <a:lnTo>
                    <a:pt x="295" y="848"/>
                  </a:lnTo>
                  <a:lnTo>
                    <a:pt x="270" y="872"/>
                  </a:lnTo>
                  <a:lnTo>
                    <a:pt x="261" y="888"/>
                  </a:lnTo>
                  <a:lnTo>
                    <a:pt x="228" y="896"/>
                  </a:lnTo>
                  <a:lnTo>
                    <a:pt x="160" y="888"/>
                  </a:lnTo>
                  <a:lnTo>
                    <a:pt x="152" y="896"/>
                  </a:lnTo>
                  <a:lnTo>
                    <a:pt x="127" y="904"/>
                  </a:lnTo>
                  <a:lnTo>
                    <a:pt x="110" y="928"/>
                  </a:lnTo>
                  <a:lnTo>
                    <a:pt x="42" y="976"/>
                  </a:lnTo>
                  <a:lnTo>
                    <a:pt x="0" y="984"/>
                  </a:lnTo>
                  <a:lnTo>
                    <a:pt x="9" y="992"/>
                  </a:lnTo>
                  <a:lnTo>
                    <a:pt x="34" y="992"/>
                  </a:lnTo>
                  <a:lnTo>
                    <a:pt x="51" y="1016"/>
                  </a:lnTo>
                  <a:lnTo>
                    <a:pt x="68" y="1008"/>
                  </a:lnTo>
                  <a:lnTo>
                    <a:pt x="68" y="992"/>
                  </a:lnTo>
                  <a:lnTo>
                    <a:pt x="93" y="976"/>
                  </a:lnTo>
                  <a:lnTo>
                    <a:pt x="143" y="976"/>
                  </a:lnTo>
                  <a:lnTo>
                    <a:pt x="169" y="1008"/>
                  </a:lnTo>
                  <a:lnTo>
                    <a:pt x="219" y="960"/>
                  </a:lnTo>
                  <a:lnTo>
                    <a:pt x="261" y="952"/>
                  </a:lnTo>
                  <a:lnTo>
                    <a:pt x="295" y="976"/>
                  </a:lnTo>
                  <a:lnTo>
                    <a:pt x="337" y="984"/>
                  </a:lnTo>
                  <a:lnTo>
                    <a:pt x="346" y="968"/>
                  </a:lnTo>
                  <a:lnTo>
                    <a:pt x="388" y="968"/>
                  </a:lnTo>
                  <a:lnTo>
                    <a:pt x="421" y="968"/>
                  </a:lnTo>
                  <a:lnTo>
                    <a:pt x="472" y="968"/>
                  </a:lnTo>
                  <a:lnTo>
                    <a:pt x="506" y="984"/>
                  </a:lnTo>
                  <a:lnTo>
                    <a:pt x="573" y="968"/>
                  </a:lnTo>
                  <a:lnTo>
                    <a:pt x="590" y="952"/>
                  </a:lnTo>
                  <a:lnTo>
                    <a:pt x="624" y="952"/>
                  </a:lnTo>
                  <a:lnTo>
                    <a:pt x="624" y="928"/>
                  </a:lnTo>
                  <a:lnTo>
                    <a:pt x="565" y="912"/>
                  </a:lnTo>
                  <a:lnTo>
                    <a:pt x="590" y="896"/>
                  </a:lnTo>
                  <a:lnTo>
                    <a:pt x="590" y="872"/>
                  </a:lnTo>
                  <a:lnTo>
                    <a:pt x="624" y="872"/>
                  </a:lnTo>
                  <a:lnTo>
                    <a:pt x="624" y="856"/>
                  </a:lnTo>
                  <a:lnTo>
                    <a:pt x="649" y="840"/>
                  </a:lnTo>
                  <a:lnTo>
                    <a:pt x="657" y="816"/>
                  </a:lnTo>
                  <a:lnTo>
                    <a:pt x="666" y="800"/>
                  </a:lnTo>
                  <a:lnTo>
                    <a:pt x="666" y="760"/>
                  </a:lnTo>
                  <a:lnTo>
                    <a:pt x="582" y="728"/>
                  </a:lnTo>
                  <a:lnTo>
                    <a:pt x="565" y="744"/>
                  </a:lnTo>
                  <a:lnTo>
                    <a:pt x="539" y="728"/>
                  </a:lnTo>
                  <a:lnTo>
                    <a:pt x="573" y="704"/>
                  </a:lnTo>
                  <a:lnTo>
                    <a:pt x="556" y="656"/>
                  </a:lnTo>
                  <a:lnTo>
                    <a:pt x="523" y="632"/>
                  </a:lnTo>
                  <a:lnTo>
                    <a:pt x="548" y="632"/>
                  </a:lnTo>
                  <a:lnTo>
                    <a:pt x="539" y="592"/>
                  </a:lnTo>
                  <a:lnTo>
                    <a:pt x="539" y="576"/>
                  </a:lnTo>
                  <a:lnTo>
                    <a:pt x="531" y="560"/>
                  </a:lnTo>
                  <a:lnTo>
                    <a:pt x="523" y="536"/>
                  </a:lnTo>
                  <a:lnTo>
                    <a:pt x="480" y="512"/>
                  </a:lnTo>
                  <a:lnTo>
                    <a:pt x="472" y="480"/>
                  </a:lnTo>
                  <a:lnTo>
                    <a:pt x="455" y="440"/>
                  </a:lnTo>
                  <a:lnTo>
                    <a:pt x="455" y="392"/>
                  </a:lnTo>
                  <a:lnTo>
                    <a:pt x="447" y="376"/>
                  </a:lnTo>
                  <a:lnTo>
                    <a:pt x="421" y="352"/>
                  </a:lnTo>
                  <a:lnTo>
                    <a:pt x="413" y="344"/>
                  </a:lnTo>
                  <a:lnTo>
                    <a:pt x="396" y="328"/>
                  </a:lnTo>
                  <a:lnTo>
                    <a:pt x="362" y="328"/>
                  </a:lnTo>
                  <a:lnTo>
                    <a:pt x="337" y="320"/>
                  </a:lnTo>
                  <a:lnTo>
                    <a:pt x="371" y="312"/>
                  </a:lnTo>
                  <a:lnTo>
                    <a:pt x="396" y="304"/>
                  </a:lnTo>
                  <a:lnTo>
                    <a:pt x="388" y="280"/>
                  </a:lnTo>
                  <a:lnTo>
                    <a:pt x="421" y="264"/>
                  </a:lnTo>
                  <a:lnTo>
                    <a:pt x="421" y="248"/>
                  </a:lnTo>
                  <a:lnTo>
                    <a:pt x="447" y="224"/>
                  </a:lnTo>
                  <a:lnTo>
                    <a:pt x="455" y="192"/>
                  </a:lnTo>
                  <a:lnTo>
                    <a:pt x="489" y="168"/>
                  </a:lnTo>
                  <a:lnTo>
                    <a:pt x="489" y="144"/>
                  </a:lnTo>
                  <a:lnTo>
                    <a:pt x="447" y="144"/>
                  </a:lnTo>
                  <a:lnTo>
                    <a:pt x="430" y="128"/>
                  </a:lnTo>
                  <a:lnTo>
                    <a:pt x="379" y="120"/>
                  </a:lnTo>
                  <a:lnTo>
                    <a:pt x="329" y="128"/>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5" name="Freeform 12"/>
            <p:cNvSpPr>
              <a:spLocks/>
            </p:cNvSpPr>
            <p:nvPr>
              <p:custDataLst>
                <p:tags r:id="rId13"/>
              </p:custDataLst>
            </p:nvPr>
          </p:nvSpPr>
          <p:spPr bwMode="auto">
            <a:xfrm>
              <a:off x="2379" y="1912"/>
              <a:ext cx="202" cy="144"/>
            </a:xfrm>
            <a:custGeom>
              <a:avLst/>
              <a:gdLst>
                <a:gd name="T0" fmla="*/ 185 w 202"/>
                <a:gd name="T1" fmla="*/ 72 h 144"/>
                <a:gd name="T2" fmla="*/ 177 w 202"/>
                <a:gd name="T3" fmla="*/ 48 h 144"/>
                <a:gd name="T4" fmla="*/ 177 w 202"/>
                <a:gd name="T5" fmla="*/ 16 h 144"/>
                <a:gd name="T6" fmla="*/ 151 w 202"/>
                <a:gd name="T7" fmla="*/ 0 h 144"/>
                <a:gd name="T8" fmla="*/ 126 w 202"/>
                <a:gd name="T9" fmla="*/ 0 h 144"/>
                <a:gd name="T10" fmla="*/ 109 w 202"/>
                <a:gd name="T11" fmla="*/ 0 h 144"/>
                <a:gd name="T12" fmla="*/ 84 w 202"/>
                <a:gd name="T13" fmla="*/ 0 h 144"/>
                <a:gd name="T14" fmla="*/ 84 w 202"/>
                <a:gd name="T15" fmla="*/ 8 h 144"/>
                <a:gd name="T16" fmla="*/ 84 w 202"/>
                <a:gd name="T17" fmla="*/ 0 h 144"/>
                <a:gd name="T18" fmla="*/ 67 w 202"/>
                <a:gd name="T19" fmla="*/ 8 h 144"/>
                <a:gd name="T20" fmla="*/ 59 w 202"/>
                <a:gd name="T21" fmla="*/ 24 h 144"/>
                <a:gd name="T22" fmla="*/ 50 w 202"/>
                <a:gd name="T23" fmla="*/ 40 h 144"/>
                <a:gd name="T24" fmla="*/ 16 w 202"/>
                <a:gd name="T25" fmla="*/ 40 h 144"/>
                <a:gd name="T26" fmla="*/ 16 w 202"/>
                <a:gd name="T27" fmla="*/ 56 h 144"/>
                <a:gd name="T28" fmla="*/ 0 w 202"/>
                <a:gd name="T29" fmla="*/ 72 h 144"/>
                <a:gd name="T30" fmla="*/ 33 w 202"/>
                <a:gd name="T31" fmla="*/ 120 h 144"/>
                <a:gd name="T32" fmla="*/ 67 w 202"/>
                <a:gd name="T33" fmla="*/ 96 h 144"/>
                <a:gd name="T34" fmla="*/ 92 w 202"/>
                <a:gd name="T35" fmla="*/ 112 h 144"/>
                <a:gd name="T36" fmla="*/ 101 w 202"/>
                <a:gd name="T37" fmla="*/ 136 h 144"/>
                <a:gd name="T38" fmla="*/ 118 w 202"/>
                <a:gd name="T39" fmla="*/ 136 h 144"/>
                <a:gd name="T40" fmla="*/ 134 w 202"/>
                <a:gd name="T41" fmla="*/ 144 h 144"/>
                <a:gd name="T42" fmla="*/ 143 w 202"/>
                <a:gd name="T43" fmla="*/ 144 h 144"/>
                <a:gd name="T44" fmla="*/ 143 w 202"/>
                <a:gd name="T45" fmla="*/ 144 h 144"/>
                <a:gd name="T46" fmla="*/ 168 w 202"/>
                <a:gd name="T47" fmla="*/ 128 h 144"/>
                <a:gd name="T48" fmla="*/ 193 w 202"/>
                <a:gd name="T49" fmla="*/ 120 h 144"/>
                <a:gd name="T50" fmla="*/ 202 w 202"/>
                <a:gd name="T51" fmla="*/ 88 h 144"/>
                <a:gd name="T52" fmla="*/ 185 w 202"/>
                <a:gd name="T53" fmla="*/ 72 h 14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02" h="144">
                  <a:moveTo>
                    <a:pt x="185" y="72"/>
                  </a:moveTo>
                  <a:lnTo>
                    <a:pt x="177" y="48"/>
                  </a:lnTo>
                  <a:lnTo>
                    <a:pt x="177" y="16"/>
                  </a:lnTo>
                  <a:lnTo>
                    <a:pt x="151" y="0"/>
                  </a:lnTo>
                  <a:lnTo>
                    <a:pt x="126" y="0"/>
                  </a:lnTo>
                  <a:lnTo>
                    <a:pt x="109" y="0"/>
                  </a:lnTo>
                  <a:lnTo>
                    <a:pt x="84" y="0"/>
                  </a:lnTo>
                  <a:lnTo>
                    <a:pt x="84" y="8"/>
                  </a:lnTo>
                  <a:lnTo>
                    <a:pt x="84" y="0"/>
                  </a:lnTo>
                  <a:lnTo>
                    <a:pt x="67" y="8"/>
                  </a:lnTo>
                  <a:lnTo>
                    <a:pt x="59" y="24"/>
                  </a:lnTo>
                  <a:lnTo>
                    <a:pt x="50" y="40"/>
                  </a:lnTo>
                  <a:lnTo>
                    <a:pt x="16" y="40"/>
                  </a:lnTo>
                  <a:lnTo>
                    <a:pt x="16" y="56"/>
                  </a:lnTo>
                  <a:lnTo>
                    <a:pt x="0" y="72"/>
                  </a:lnTo>
                  <a:lnTo>
                    <a:pt x="33" y="120"/>
                  </a:lnTo>
                  <a:lnTo>
                    <a:pt x="67" y="96"/>
                  </a:lnTo>
                  <a:lnTo>
                    <a:pt x="92" y="112"/>
                  </a:lnTo>
                  <a:lnTo>
                    <a:pt x="101" y="136"/>
                  </a:lnTo>
                  <a:lnTo>
                    <a:pt x="118" y="136"/>
                  </a:lnTo>
                  <a:lnTo>
                    <a:pt x="134" y="144"/>
                  </a:lnTo>
                  <a:lnTo>
                    <a:pt x="143" y="144"/>
                  </a:lnTo>
                  <a:lnTo>
                    <a:pt x="168" y="128"/>
                  </a:lnTo>
                  <a:lnTo>
                    <a:pt x="193" y="120"/>
                  </a:lnTo>
                  <a:lnTo>
                    <a:pt x="202" y="88"/>
                  </a:lnTo>
                  <a:lnTo>
                    <a:pt x="185" y="72"/>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6" name="Freeform 13"/>
            <p:cNvSpPr>
              <a:spLocks/>
            </p:cNvSpPr>
            <p:nvPr>
              <p:custDataLst>
                <p:tags r:id="rId14"/>
              </p:custDataLst>
            </p:nvPr>
          </p:nvSpPr>
          <p:spPr bwMode="auto">
            <a:xfrm>
              <a:off x="2429" y="1536"/>
              <a:ext cx="666" cy="1016"/>
            </a:xfrm>
            <a:custGeom>
              <a:avLst/>
              <a:gdLst>
                <a:gd name="T0" fmla="*/ 337 w 666"/>
                <a:gd name="T1" fmla="*/ 96 h 1016"/>
                <a:gd name="T2" fmla="*/ 421 w 666"/>
                <a:gd name="T3" fmla="*/ 24 h 1016"/>
                <a:gd name="T4" fmla="*/ 270 w 666"/>
                <a:gd name="T5" fmla="*/ 24 h 1016"/>
                <a:gd name="T6" fmla="*/ 253 w 666"/>
                <a:gd name="T7" fmla="*/ 80 h 1016"/>
                <a:gd name="T8" fmla="*/ 202 w 666"/>
                <a:gd name="T9" fmla="*/ 136 h 1016"/>
                <a:gd name="T10" fmla="*/ 169 w 666"/>
                <a:gd name="T11" fmla="*/ 200 h 1016"/>
                <a:gd name="T12" fmla="*/ 202 w 666"/>
                <a:gd name="T13" fmla="*/ 232 h 1016"/>
                <a:gd name="T14" fmla="*/ 169 w 666"/>
                <a:gd name="T15" fmla="*/ 320 h 1016"/>
                <a:gd name="T16" fmla="*/ 186 w 666"/>
                <a:gd name="T17" fmla="*/ 344 h 1016"/>
                <a:gd name="T18" fmla="*/ 228 w 666"/>
                <a:gd name="T19" fmla="*/ 320 h 1016"/>
                <a:gd name="T20" fmla="*/ 186 w 666"/>
                <a:gd name="T21" fmla="*/ 424 h 1016"/>
                <a:gd name="T22" fmla="*/ 236 w 666"/>
                <a:gd name="T23" fmla="*/ 464 h 1016"/>
                <a:gd name="T24" fmla="*/ 303 w 666"/>
                <a:gd name="T25" fmla="*/ 448 h 1016"/>
                <a:gd name="T26" fmla="*/ 287 w 666"/>
                <a:gd name="T27" fmla="*/ 496 h 1016"/>
                <a:gd name="T28" fmla="*/ 329 w 666"/>
                <a:gd name="T29" fmla="*/ 576 h 1016"/>
                <a:gd name="T30" fmla="*/ 295 w 666"/>
                <a:gd name="T31" fmla="*/ 648 h 1016"/>
                <a:gd name="T32" fmla="*/ 202 w 666"/>
                <a:gd name="T33" fmla="*/ 624 h 1016"/>
                <a:gd name="T34" fmla="*/ 160 w 666"/>
                <a:gd name="T35" fmla="*/ 680 h 1016"/>
                <a:gd name="T36" fmla="*/ 211 w 666"/>
                <a:gd name="T37" fmla="*/ 744 h 1016"/>
                <a:gd name="T38" fmla="*/ 101 w 666"/>
                <a:gd name="T39" fmla="*/ 776 h 1016"/>
                <a:gd name="T40" fmla="*/ 101 w 666"/>
                <a:gd name="T41" fmla="*/ 808 h 1016"/>
                <a:gd name="T42" fmla="*/ 169 w 666"/>
                <a:gd name="T43" fmla="*/ 824 h 1016"/>
                <a:gd name="T44" fmla="*/ 219 w 666"/>
                <a:gd name="T45" fmla="*/ 864 h 1016"/>
                <a:gd name="T46" fmla="*/ 295 w 666"/>
                <a:gd name="T47" fmla="*/ 848 h 1016"/>
                <a:gd name="T48" fmla="*/ 228 w 666"/>
                <a:gd name="T49" fmla="*/ 896 h 1016"/>
                <a:gd name="T50" fmla="*/ 127 w 666"/>
                <a:gd name="T51" fmla="*/ 904 h 1016"/>
                <a:gd name="T52" fmla="*/ 0 w 666"/>
                <a:gd name="T53" fmla="*/ 984 h 1016"/>
                <a:gd name="T54" fmla="*/ 51 w 666"/>
                <a:gd name="T55" fmla="*/ 1016 h 1016"/>
                <a:gd name="T56" fmla="*/ 93 w 666"/>
                <a:gd name="T57" fmla="*/ 976 h 1016"/>
                <a:gd name="T58" fmla="*/ 219 w 666"/>
                <a:gd name="T59" fmla="*/ 960 h 1016"/>
                <a:gd name="T60" fmla="*/ 337 w 666"/>
                <a:gd name="T61" fmla="*/ 984 h 1016"/>
                <a:gd name="T62" fmla="*/ 421 w 666"/>
                <a:gd name="T63" fmla="*/ 968 h 1016"/>
                <a:gd name="T64" fmla="*/ 573 w 666"/>
                <a:gd name="T65" fmla="*/ 968 h 1016"/>
                <a:gd name="T66" fmla="*/ 624 w 666"/>
                <a:gd name="T67" fmla="*/ 928 h 1016"/>
                <a:gd name="T68" fmla="*/ 590 w 666"/>
                <a:gd name="T69" fmla="*/ 872 h 1016"/>
                <a:gd name="T70" fmla="*/ 649 w 666"/>
                <a:gd name="T71" fmla="*/ 840 h 1016"/>
                <a:gd name="T72" fmla="*/ 666 w 666"/>
                <a:gd name="T73" fmla="*/ 760 h 1016"/>
                <a:gd name="T74" fmla="*/ 539 w 666"/>
                <a:gd name="T75" fmla="*/ 728 h 1016"/>
                <a:gd name="T76" fmla="*/ 523 w 666"/>
                <a:gd name="T77" fmla="*/ 632 h 1016"/>
                <a:gd name="T78" fmla="*/ 539 w 666"/>
                <a:gd name="T79" fmla="*/ 576 h 1016"/>
                <a:gd name="T80" fmla="*/ 480 w 666"/>
                <a:gd name="T81" fmla="*/ 512 h 1016"/>
                <a:gd name="T82" fmla="*/ 455 w 666"/>
                <a:gd name="T83" fmla="*/ 392 h 1016"/>
                <a:gd name="T84" fmla="*/ 413 w 666"/>
                <a:gd name="T85" fmla="*/ 344 h 1016"/>
                <a:gd name="T86" fmla="*/ 337 w 666"/>
                <a:gd name="T87" fmla="*/ 320 h 1016"/>
                <a:gd name="T88" fmla="*/ 388 w 666"/>
                <a:gd name="T89" fmla="*/ 280 h 1016"/>
                <a:gd name="T90" fmla="*/ 447 w 666"/>
                <a:gd name="T91" fmla="*/ 224 h 1016"/>
                <a:gd name="T92" fmla="*/ 489 w 666"/>
                <a:gd name="T93" fmla="*/ 144 h 1016"/>
                <a:gd name="T94" fmla="*/ 379 w 666"/>
                <a:gd name="T95" fmla="*/ 120 h 101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666" h="1016">
                  <a:moveTo>
                    <a:pt x="329" y="128"/>
                  </a:moveTo>
                  <a:lnTo>
                    <a:pt x="354" y="104"/>
                  </a:lnTo>
                  <a:lnTo>
                    <a:pt x="337" y="96"/>
                  </a:lnTo>
                  <a:lnTo>
                    <a:pt x="388" y="64"/>
                  </a:lnTo>
                  <a:lnTo>
                    <a:pt x="413" y="56"/>
                  </a:lnTo>
                  <a:lnTo>
                    <a:pt x="421" y="24"/>
                  </a:lnTo>
                  <a:lnTo>
                    <a:pt x="320" y="16"/>
                  </a:lnTo>
                  <a:lnTo>
                    <a:pt x="287" y="0"/>
                  </a:lnTo>
                  <a:lnTo>
                    <a:pt x="270" y="24"/>
                  </a:lnTo>
                  <a:lnTo>
                    <a:pt x="253" y="40"/>
                  </a:lnTo>
                  <a:lnTo>
                    <a:pt x="245" y="56"/>
                  </a:lnTo>
                  <a:lnTo>
                    <a:pt x="253" y="80"/>
                  </a:lnTo>
                  <a:lnTo>
                    <a:pt x="219" y="88"/>
                  </a:lnTo>
                  <a:lnTo>
                    <a:pt x="202" y="104"/>
                  </a:lnTo>
                  <a:lnTo>
                    <a:pt x="202" y="136"/>
                  </a:lnTo>
                  <a:lnTo>
                    <a:pt x="202" y="160"/>
                  </a:lnTo>
                  <a:lnTo>
                    <a:pt x="186" y="184"/>
                  </a:lnTo>
                  <a:lnTo>
                    <a:pt x="169" y="200"/>
                  </a:lnTo>
                  <a:lnTo>
                    <a:pt x="135" y="248"/>
                  </a:lnTo>
                  <a:lnTo>
                    <a:pt x="160" y="256"/>
                  </a:lnTo>
                  <a:lnTo>
                    <a:pt x="202" y="232"/>
                  </a:lnTo>
                  <a:lnTo>
                    <a:pt x="186" y="264"/>
                  </a:lnTo>
                  <a:lnTo>
                    <a:pt x="177" y="296"/>
                  </a:lnTo>
                  <a:lnTo>
                    <a:pt x="169" y="320"/>
                  </a:lnTo>
                  <a:lnTo>
                    <a:pt x="143" y="376"/>
                  </a:lnTo>
                  <a:lnTo>
                    <a:pt x="169" y="376"/>
                  </a:lnTo>
                  <a:lnTo>
                    <a:pt x="186" y="344"/>
                  </a:lnTo>
                  <a:lnTo>
                    <a:pt x="202" y="304"/>
                  </a:lnTo>
                  <a:lnTo>
                    <a:pt x="211" y="328"/>
                  </a:lnTo>
                  <a:lnTo>
                    <a:pt x="228" y="320"/>
                  </a:lnTo>
                  <a:lnTo>
                    <a:pt x="219" y="344"/>
                  </a:lnTo>
                  <a:lnTo>
                    <a:pt x="228" y="360"/>
                  </a:lnTo>
                  <a:lnTo>
                    <a:pt x="186" y="424"/>
                  </a:lnTo>
                  <a:lnTo>
                    <a:pt x="194" y="472"/>
                  </a:lnTo>
                  <a:lnTo>
                    <a:pt x="202" y="440"/>
                  </a:lnTo>
                  <a:lnTo>
                    <a:pt x="236" y="464"/>
                  </a:lnTo>
                  <a:lnTo>
                    <a:pt x="253" y="456"/>
                  </a:lnTo>
                  <a:lnTo>
                    <a:pt x="278" y="464"/>
                  </a:lnTo>
                  <a:lnTo>
                    <a:pt x="303" y="448"/>
                  </a:lnTo>
                  <a:lnTo>
                    <a:pt x="329" y="456"/>
                  </a:lnTo>
                  <a:lnTo>
                    <a:pt x="295" y="480"/>
                  </a:lnTo>
                  <a:lnTo>
                    <a:pt x="287" y="496"/>
                  </a:lnTo>
                  <a:lnTo>
                    <a:pt x="312" y="544"/>
                  </a:lnTo>
                  <a:lnTo>
                    <a:pt x="329" y="544"/>
                  </a:lnTo>
                  <a:lnTo>
                    <a:pt x="329" y="576"/>
                  </a:lnTo>
                  <a:lnTo>
                    <a:pt x="320" y="576"/>
                  </a:lnTo>
                  <a:lnTo>
                    <a:pt x="312" y="632"/>
                  </a:lnTo>
                  <a:lnTo>
                    <a:pt x="295" y="648"/>
                  </a:lnTo>
                  <a:lnTo>
                    <a:pt x="287" y="640"/>
                  </a:lnTo>
                  <a:lnTo>
                    <a:pt x="236" y="640"/>
                  </a:lnTo>
                  <a:lnTo>
                    <a:pt x="202" y="624"/>
                  </a:lnTo>
                  <a:lnTo>
                    <a:pt x="186" y="632"/>
                  </a:lnTo>
                  <a:lnTo>
                    <a:pt x="202" y="648"/>
                  </a:lnTo>
                  <a:lnTo>
                    <a:pt x="160" y="680"/>
                  </a:lnTo>
                  <a:lnTo>
                    <a:pt x="177" y="688"/>
                  </a:lnTo>
                  <a:lnTo>
                    <a:pt x="202" y="680"/>
                  </a:lnTo>
                  <a:lnTo>
                    <a:pt x="211" y="744"/>
                  </a:lnTo>
                  <a:lnTo>
                    <a:pt x="169" y="760"/>
                  </a:lnTo>
                  <a:lnTo>
                    <a:pt x="143" y="768"/>
                  </a:lnTo>
                  <a:lnTo>
                    <a:pt x="101" y="776"/>
                  </a:lnTo>
                  <a:lnTo>
                    <a:pt x="84" y="784"/>
                  </a:lnTo>
                  <a:lnTo>
                    <a:pt x="93" y="792"/>
                  </a:lnTo>
                  <a:lnTo>
                    <a:pt x="101" y="808"/>
                  </a:lnTo>
                  <a:lnTo>
                    <a:pt x="135" y="824"/>
                  </a:lnTo>
                  <a:lnTo>
                    <a:pt x="152" y="808"/>
                  </a:lnTo>
                  <a:lnTo>
                    <a:pt x="169" y="824"/>
                  </a:lnTo>
                  <a:lnTo>
                    <a:pt x="160" y="840"/>
                  </a:lnTo>
                  <a:lnTo>
                    <a:pt x="194" y="840"/>
                  </a:lnTo>
                  <a:lnTo>
                    <a:pt x="219" y="864"/>
                  </a:lnTo>
                  <a:lnTo>
                    <a:pt x="261" y="864"/>
                  </a:lnTo>
                  <a:lnTo>
                    <a:pt x="278" y="856"/>
                  </a:lnTo>
                  <a:lnTo>
                    <a:pt x="295" y="848"/>
                  </a:lnTo>
                  <a:lnTo>
                    <a:pt x="270" y="872"/>
                  </a:lnTo>
                  <a:lnTo>
                    <a:pt x="261" y="888"/>
                  </a:lnTo>
                  <a:lnTo>
                    <a:pt x="228" y="896"/>
                  </a:lnTo>
                  <a:lnTo>
                    <a:pt x="160" y="888"/>
                  </a:lnTo>
                  <a:lnTo>
                    <a:pt x="152" y="896"/>
                  </a:lnTo>
                  <a:lnTo>
                    <a:pt x="127" y="904"/>
                  </a:lnTo>
                  <a:lnTo>
                    <a:pt x="110" y="928"/>
                  </a:lnTo>
                  <a:lnTo>
                    <a:pt x="42" y="976"/>
                  </a:lnTo>
                  <a:lnTo>
                    <a:pt x="0" y="984"/>
                  </a:lnTo>
                  <a:lnTo>
                    <a:pt x="9" y="992"/>
                  </a:lnTo>
                  <a:lnTo>
                    <a:pt x="34" y="992"/>
                  </a:lnTo>
                  <a:lnTo>
                    <a:pt x="51" y="1016"/>
                  </a:lnTo>
                  <a:lnTo>
                    <a:pt x="68" y="1008"/>
                  </a:lnTo>
                  <a:lnTo>
                    <a:pt x="68" y="992"/>
                  </a:lnTo>
                  <a:lnTo>
                    <a:pt x="93" y="976"/>
                  </a:lnTo>
                  <a:lnTo>
                    <a:pt x="143" y="976"/>
                  </a:lnTo>
                  <a:lnTo>
                    <a:pt x="169" y="1008"/>
                  </a:lnTo>
                  <a:lnTo>
                    <a:pt x="219" y="960"/>
                  </a:lnTo>
                  <a:lnTo>
                    <a:pt x="261" y="952"/>
                  </a:lnTo>
                  <a:lnTo>
                    <a:pt x="295" y="976"/>
                  </a:lnTo>
                  <a:lnTo>
                    <a:pt x="337" y="984"/>
                  </a:lnTo>
                  <a:lnTo>
                    <a:pt x="346" y="968"/>
                  </a:lnTo>
                  <a:lnTo>
                    <a:pt x="388" y="968"/>
                  </a:lnTo>
                  <a:lnTo>
                    <a:pt x="421" y="968"/>
                  </a:lnTo>
                  <a:lnTo>
                    <a:pt x="472" y="968"/>
                  </a:lnTo>
                  <a:lnTo>
                    <a:pt x="506" y="984"/>
                  </a:lnTo>
                  <a:lnTo>
                    <a:pt x="573" y="968"/>
                  </a:lnTo>
                  <a:lnTo>
                    <a:pt x="590" y="952"/>
                  </a:lnTo>
                  <a:lnTo>
                    <a:pt x="624" y="952"/>
                  </a:lnTo>
                  <a:lnTo>
                    <a:pt x="624" y="928"/>
                  </a:lnTo>
                  <a:lnTo>
                    <a:pt x="565" y="912"/>
                  </a:lnTo>
                  <a:lnTo>
                    <a:pt x="590" y="896"/>
                  </a:lnTo>
                  <a:lnTo>
                    <a:pt x="590" y="872"/>
                  </a:lnTo>
                  <a:lnTo>
                    <a:pt x="624" y="872"/>
                  </a:lnTo>
                  <a:lnTo>
                    <a:pt x="624" y="856"/>
                  </a:lnTo>
                  <a:lnTo>
                    <a:pt x="649" y="840"/>
                  </a:lnTo>
                  <a:lnTo>
                    <a:pt x="657" y="816"/>
                  </a:lnTo>
                  <a:lnTo>
                    <a:pt x="666" y="800"/>
                  </a:lnTo>
                  <a:lnTo>
                    <a:pt x="666" y="760"/>
                  </a:lnTo>
                  <a:lnTo>
                    <a:pt x="582" y="728"/>
                  </a:lnTo>
                  <a:lnTo>
                    <a:pt x="565" y="744"/>
                  </a:lnTo>
                  <a:lnTo>
                    <a:pt x="539" y="728"/>
                  </a:lnTo>
                  <a:lnTo>
                    <a:pt x="573" y="704"/>
                  </a:lnTo>
                  <a:lnTo>
                    <a:pt x="556" y="656"/>
                  </a:lnTo>
                  <a:lnTo>
                    <a:pt x="523" y="632"/>
                  </a:lnTo>
                  <a:lnTo>
                    <a:pt x="548" y="632"/>
                  </a:lnTo>
                  <a:lnTo>
                    <a:pt x="539" y="592"/>
                  </a:lnTo>
                  <a:lnTo>
                    <a:pt x="539" y="576"/>
                  </a:lnTo>
                  <a:lnTo>
                    <a:pt x="531" y="560"/>
                  </a:lnTo>
                  <a:lnTo>
                    <a:pt x="523" y="536"/>
                  </a:lnTo>
                  <a:lnTo>
                    <a:pt x="480" y="512"/>
                  </a:lnTo>
                  <a:lnTo>
                    <a:pt x="472" y="480"/>
                  </a:lnTo>
                  <a:lnTo>
                    <a:pt x="455" y="440"/>
                  </a:lnTo>
                  <a:lnTo>
                    <a:pt x="455" y="392"/>
                  </a:lnTo>
                  <a:lnTo>
                    <a:pt x="447" y="376"/>
                  </a:lnTo>
                  <a:lnTo>
                    <a:pt x="421" y="352"/>
                  </a:lnTo>
                  <a:lnTo>
                    <a:pt x="413" y="344"/>
                  </a:lnTo>
                  <a:lnTo>
                    <a:pt x="396" y="328"/>
                  </a:lnTo>
                  <a:lnTo>
                    <a:pt x="362" y="328"/>
                  </a:lnTo>
                  <a:lnTo>
                    <a:pt x="337" y="320"/>
                  </a:lnTo>
                  <a:lnTo>
                    <a:pt x="371" y="312"/>
                  </a:lnTo>
                  <a:lnTo>
                    <a:pt x="396" y="304"/>
                  </a:lnTo>
                  <a:lnTo>
                    <a:pt x="388" y="280"/>
                  </a:lnTo>
                  <a:lnTo>
                    <a:pt x="421" y="264"/>
                  </a:lnTo>
                  <a:lnTo>
                    <a:pt x="421" y="248"/>
                  </a:lnTo>
                  <a:lnTo>
                    <a:pt x="447" y="224"/>
                  </a:lnTo>
                  <a:lnTo>
                    <a:pt x="455" y="192"/>
                  </a:lnTo>
                  <a:lnTo>
                    <a:pt x="489" y="168"/>
                  </a:lnTo>
                  <a:lnTo>
                    <a:pt x="489" y="144"/>
                  </a:lnTo>
                  <a:lnTo>
                    <a:pt x="447" y="144"/>
                  </a:lnTo>
                  <a:lnTo>
                    <a:pt x="430" y="128"/>
                  </a:lnTo>
                  <a:lnTo>
                    <a:pt x="379" y="120"/>
                  </a:lnTo>
                  <a:lnTo>
                    <a:pt x="329" y="128"/>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8" name="Freeform 15"/>
            <p:cNvSpPr>
              <a:spLocks/>
            </p:cNvSpPr>
            <p:nvPr>
              <p:custDataLst>
                <p:tags r:id="rId15"/>
              </p:custDataLst>
            </p:nvPr>
          </p:nvSpPr>
          <p:spPr bwMode="auto">
            <a:xfrm>
              <a:off x="3752" y="1984"/>
              <a:ext cx="67" cy="64"/>
            </a:xfrm>
            <a:custGeom>
              <a:avLst/>
              <a:gdLst>
                <a:gd name="T0" fmla="*/ 0 w 67"/>
                <a:gd name="T1" fmla="*/ 24 h 64"/>
                <a:gd name="T2" fmla="*/ 17 w 67"/>
                <a:gd name="T3" fmla="*/ 56 h 64"/>
                <a:gd name="T4" fmla="*/ 51 w 67"/>
                <a:gd name="T5" fmla="*/ 64 h 64"/>
                <a:gd name="T6" fmla="*/ 67 w 67"/>
                <a:gd name="T7" fmla="*/ 48 h 64"/>
                <a:gd name="T8" fmla="*/ 59 w 67"/>
                <a:gd name="T9" fmla="*/ 0 h 64"/>
                <a:gd name="T10" fmla="*/ 0 w 67"/>
                <a:gd name="T11" fmla="*/ 8 h 64"/>
                <a:gd name="T12" fmla="*/ 0 w 67"/>
                <a:gd name="T13" fmla="*/ 24 h 6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7" h="64">
                  <a:moveTo>
                    <a:pt x="0" y="24"/>
                  </a:moveTo>
                  <a:lnTo>
                    <a:pt x="17" y="56"/>
                  </a:lnTo>
                  <a:lnTo>
                    <a:pt x="51" y="64"/>
                  </a:lnTo>
                  <a:lnTo>
                    <a:pt x="67" y="48"/>
                  </a:lnTo>
                  <a:lnTo>
                    <a:pt x="59" y="0"/>
                  </a:lnTo>
                  <a:lnTo>
                    <a:pt x="0" y="8"/>
                  </a:lnTo>
                  <a:lnTo>
                    <a:pt x="0" y="2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0" name="Freeform 17"/>
            <p:cNvSpPr>
              <a:spLocks/>
            </p:cNvSpPr>
            <p:nvPr>
              <p:custDataLst>
                <p:tags r:id="rId16"/>
              </p:custDataLst>
            </p:nvPr>
          </p:nvSpPr>
          <p:spPr bwMode="auto">
            <a:xfrm>
              <a:off x="3752" y="1984"/>
              <a:ext cx="67" cy="64"/>
            </a:xfrm>
            <a:custGeom>
              <a:avLst/>
              <a:gdLst>
                <a:gd name="T0" fmla="*/ 0 w 67"/>
                <a:gd name="T1" fmla="*/ 24 h 64"/>
                <a:gd name="T2" fmla="*/ 17 w 67"/>
                <a:gd name="T3" fmla="*/ 56 h 64"/>
                <a:gd name="T4" fmla="*/ 51 w 67"/>
                <a:gd name="T5" fmla="*/ 64 h 64"/>
                <a:gd name="T6" fmla="*/ 67 w 67"/>
                <a:gd name="T7" fmla="*/ 48 h 64"/>
                <a:gd name="T8" fmla="*/ 59 w 67"/>
                <a:gd name="T9" fmla="*/ 0 h 64"/>
                <a:gd name="T10" fmla="*/ 0 w 67"/>
                <a:gd name="T11" fmla="*/ 8 h 6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7" h="64">
                  <a:moveTo>
                    <a:pt x="0" y="24"/>
                  </a:moveTo>
                  <a:lnTo>
                    <a:pt x="17" y="56"/>
                  </a:lnTo>
                  <a:lnTo>
                    <a:pt x="51" y="64"/>
                  </a:lnTo>
                  <a:lnTo>
                    <a:pt x="67" y="48"/>
                  </a:lnTo>
                  <a:lnTo>
                    <a:pt x="59" y="0"/>
                  </a:lnTo>
                  <a:lnTo>
                    <a:pt x="0" y="8"/>
                  </a:lnTo>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1" name="Freeform 18"/>
            <p:cNvSpPr>
              <a:spLocks/>
            </p:cNvSpPr>
            <p:nvPr>
              <p:custDataLst>
                <p:tags r:id="rId17"/>
              </p:custDataLst>
            </p:nvPr>
          </p:nvSpPr>
          <p:spPr bwMode="auto">
            <a:xfrm>
              <a:off x="3752" y="1984"/>
              <a:ext cx="67" cy="64"/>
            </a:xfrm>
            <a:custGeom>
              <a:avLst/>
              <a:gdLst>
                <a:gd name="T0" fmla="*/ 0 w 67"/>
                <a:gd name="T1" fmla="*/ 24 h 64"/>
                <a:gd name="T2" fmla="*/ 17 w 67"/>
                <a:gd name="T3" fmla="*/ 56 h 64"/>
                <a:gd name="T4" fmla="*/ 51 w 67"/>
                <a:gd name="T5" fmla="*/ 64 h 64"/>
                <a:gd name="T6" fmla="*/ 67 w 67"/>
                <a:gd name="T7" fmla="*/ 48 h 64"/>
                <a:gd name="T8" fmla="*/ 59 w 67"/>
                <a:gd name="T9" fmla="*/ 0 h 64"/>
                <a:gd name="T10" fmla="*/ 0 w 67"/>
                <a:gd name="T11" fmla="*/ 8 h 6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7" h="64">
                  <a:moveTo>
                    <a:pt x="0" y="24"/>
                  </a:moveTo>
                  <a:lnTo>
                    <a:pt x="17" y="56"/>
                  </a:lnTo>
                  <a:lnTo>
                    <a:pt x="51" y="64"/>
                  </a:lnTo>
                  <a:lnTo>
                    <a:pt x="67" y="48"/>
                  </a:lnTo>
                  <a:lnTo>
                    <a:pt x="59" y="0"/>
                  </a:lnTo>
                  <a:lnTo>
                    <a:pt x="0" y="8"/>
                  </a:lnTo>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2" name="Freeform 19"/>
            <p:cNvSpPr>
              <a:spLocks/>
            </p:cNvSpPr>
            <p:nvPr>
              <p:custDataLst>
                <p:tags r:id="rId18"/>
              </p:custDataLst>
            </p:nvPr>
          </p:nvSpPr>
          <p:spPr bwMode="auto">
            <a:xfrm>
              <a:off x="3845" y="1920"/>
              <a:ext cx="109" cy="176"/>
            </a:xfrm>
            <a:custGeom>
              <a:avLst/>
              <a:gdLst>
                <a:gd name="T0" fmla="*/ 0 w 109"/>
                <a:gd name="T1" fmla="*/ 168 h 176"/>
                <a:gd name="T2" fmla="*/ 50 w 109"/>
                <a:gd name="T3" fmla="*/ 176 h 176"/>
                <a:gd name="T4" fmla="*/ 76 w 109"/>
                <a:gd name="T5" fmla="*/ 144 h 176"/>
                <a:gd name="T6" fmla="*/ 76 w 109"/>
                <a:gd name="T7" fmla="*/ 112 h 176"/>
                <a:gd name="T8" fmla="*/ 109 w 109"/>
                <a:gd name="T9" fmla="*/ 96 h 176"/>
                <a:gd name="T10" fmla="*/ 92 w 109"/>
                <a:gd name="T11" fmla="*/ 72 h 176"/>
                <a:gd name="T12" fmla="*/ 109 w 109"/>
                <a:gd name="T13" fmla="*/ 64 h 176"/>
                <a:gd name="T14" fmla="*/ 101 w 109"/>
                <a:gd name="T15" fmla="*/ 8 h 176"/>
                <a:gd name="T16" fmla="*/ 84 w 109"/>
                <a:gd name="T17" fmla="*/ 0 h 176"/>
                <a:gd name="T18" fmla="*/ 67 w 109"/>
                <a:gd name="T19" fmla="*/ 16 h 176"/>
                <a:gd name="T20" fmla="*/ 59 w 109"/>
                <a:gd name="T21" fmla="*/ 48 h 176"/>
                <a:gd name="T22" fmla="*/ 42 w 109"/>
                <a:gd name="T23" fmla="*/ 16 h 176"/>
                <a:gd name="T24" fmla="*/ 8 w 109"/>
                <a:gd name="T25" fmla="*/ 40 h 176"/>
                <a:gd name="T26" fmla="*/ 0 w 109"/>
                <a:gd name="T27" fmla="*/ 48 h 176"/>
                <a:gd name="T28" fmla="*/ 8 w 109"/>
                <a:gd name="T29" fmla="*/ 72 h 176"/>
                <a:gd name="T30" fmla="*/ 42 w 109"/>
                <a:gd name="T31" fmla="*/ 88 h 176"/>
                <a:gd name="T32" fmla="*/ 50 w 109"/>
                <a:gd name="T33" fmla="*/ 112 h 176"/>
                <a:gd name="T34" fmla="*/ 33 w 109"/>
                <a:gd name="T35" fmla="*/ 144 h 176"/>
                <a:gd name="T36" fmla="*/ 8 w 109"/>
                <a:gd name="T37" fmla="*/ 136 h 176"/>
                <a:gd name="T38" fmla="*/ 0 w 109"/>
                <a:gd name="T39" fmla="*/ 168 h 1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9" h="176">
                  <a:moveTo>
                    <a:pt x="0" y="168"/>
                  </a:moveTo>
                  <a:lnTo>
                    <a:pt x="50" y="176"/>
                  </a:lnTo>
                  <a:lnTo>
                    <a:pt x="76" y="144"/>
                  </a:lnTo>
                  <a:lnTo>
                    <a:pt x="76" y="112"/>
                  </a:lnTo>
                  <a:lnTo>
                    <a:pt x="109" y="96"/>
                  </a:lnTo>
                  <a:lnTo>
                    <a:pt x="92" y="72"/>
                  </a:lnTo>
                  <a:lnTo>
                    <a:pt x="109" y="64"/>
                  </a:lnTo>
                  <a:lnTo>
                    <a:pt x="101" y="8"/>
                  </a:lnTo>
                  <a:lnTo>
                    <a:pt x="84" y="0"/>
                  </a:lnTo>
                  <a:lnTo>
                    <a:pt x="67" y="16"/>
                  </a:lnTo>
                  <a:lnTo>
                    <a:pt x="59" y="48"/>
                  </a:lnTo>
                  <a:lnTo>
                    <a:pt x="42" y="16"/>
                  </a:lnTo>
                  <a:lnTo>
                    <a:pt x="8" y="40"/>
                  </a:lnTo>
                  <a:lnTo>
                    <a:pt x="0" y="48"/>
                  </a:lnTo>
                  <a:lnTo>
                    <a:pt x="8" y="72"/>
                  </a:lnTo>
                  <a:lnTo>
                    <a:pt x="42" y="88"/>
                  </a:lnTo>
                  <a:lnTo>
                    <a:pt x="50" y="112"/>
                  </a:lnTo>
                  <a:lnTo>
                    <a:pt x="33" y="144"/>
                  </a:lnTo>
                  <a:lnTo>
                    <a:pt x="8" y="136"/>
                  </a:lnTo>
                  <a:lnTo>
                    <a:pt x="0" y="168"/>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3" name="Freeform 20"/>
            <p:cNvSpPr>
              <a:spLocks/>
            </p:cNvSpPr>
            <p:nvPr>
              <p:custDataLst>
                <p:tags r:id="rId19"/>
              </p:custDataLst>
            </p:nvPr>
          </p:nvSpPr>
          <p:spPr bwMode="auto">
            <a:xfrm>
              <a:off x="4039" y="4048"/>
              <a:ext cx="328" cy="208"/>
            </a:xfrm>
            <a:custGeom>
              <a:avLst/>
              <a:gdLst>
                <a:gd name="T0" fmla="*/ 0 w 328"/>
                <a:gd name="T1" fmla="*/ 80 h 208"/>
                <a:gd name="T2" fmla="*/ 0 w 328"/>
                <a:gd name="T3" fmla="*/ 56 h 208"/>
                <a:gd name="T4" fmla="*/ 25 w 328"/>
                <a:gd name="T5" fmla="*/ 32 h 208"/>
                <a:gd name="T6" fmla="*/ 50 w 328"/>
                <a:gd name="T7" fmla="*/ 48 h 208"/>
                <a:gd name="T8" fmla="*/ 67 w 328"/>
                <a:gd name="T9" fmla="*/ 32 h 208"/>
                <a:gd name="T10" fmla="*/ 92 w 328"/>
                <a:gd name="T11" fmla="*/ 24 h 208"/>
                <a:gd name="T12" fmla="*/ 101 w 328"/>
                <a:gd name="T13" fmla="*/ 32 h 208"/>
                <a:gd name="T14" fmla="*/ 117 w 328"/>
                <a:gd name="T15" fmla="*/ 40 h 208"/>
                <a:gd name="T16" fmla="*/ 134 w 328"/>
                <a:gd name="T17" fmla="*/ 48 h 208"/>
                <a:gd name="T18" fmla="*/ 160 w 328"/>
                <a:gd name="T19" fmla="*/ 40 h 208"/>
                <a:gd name="T20" fmla="*/ 210 w 328"/>
                <a:gd name="T21" fmla="*/ 40 h 208"/>
                <a:gd name="T22" fmla="*/ 235 w 328"/>
                <a:gd name="T23" fmla="*/ 32 h 208"/>
                <a:gd name="T24" fmla="*/ 252 w 328"/>
                <a:gd name="T25" fmla="*/ 16 h 208"/>
                <a:gd name="T26" fmla="*/ 261 w 328"/>
                <a:gd name="T27" fmla="*/ 16 h 208"/>
                <a:gd name="T28" fmla="*/ 286 w 328"/>
                <a:gd name="T29" fmla="*/ 24 h 208"/>
                <a:gd name="T30" fmla="*/ 294 w 328"/>
                <a:gd name="T31" fmla="*/ 8 h 208"/>
                <a:gd name="T32" fmla="*/ 320 w 328"/>
                <a:gd name="T33" fmla="*/ 0 h 208"/>
                <a:gd name="T34" fmla="*/ 328 w 328"/>
                <a:gd name="T35" fmla="*/ 16 h 208"/>
                <a:gd name="T36" fmla="*/ 311 w 328"/>
                <a:gd name="T37" fmla="*/ 56 h 208"/>
                <a:gd name="T38" fmla="*/ 303 w 328"/>
                <a:gd name="T39" fmla="*/ 80 h 208"/>
                <a:gd name="T40" fmla="*/ 286 w 328"/>
                <a:gd name="T41" fmla="*/ 104 h 208"/>
                <a:gd name="T42" fmla="*/ 286 w 328"/>
                <a:gd name="T43" fmla="*/ 112 h 208"/>
                <a:gd name="T44" fmla="*/ 303 w 328"/>
                <a:gd name="T45" fmla="*/ 128 h 208"/>
                <a:gd name="T46" fmla="*/ 320 w 328"/>
                <a:gd name="T47" fmla="*/ 160 h 208"/>
                <a:gd name="T48" fmla="*/ 303 w 328"/>
                <a:gd name="T49" fmla="*/ 176 h 208"/>
                <a:gd name="T50" fmla="*/ 303 w 328"/>
                <a:gd name="T51" fmla="*/ 208 h 208"/>
                <a:gd name="T52" fmla="*/ 269 w 328"/>
                <a:gd name="T53" fmla="*/ 200 h 208"/>
                <a:gd name="T54" fmla="*/ 227 w 328"/>
                <a:gd name="T55" fmla="*/ 192 h 208"/>
                <a:gd name="T56" fmla="*/ 202 w 328"/>
                <a:gd name="T57" fmla="*/ 152 h 208"/>
                <a:gd name="T58" fmla="*/ 168 w 328"/>
                <a:gd name="T59" fmla="*/ 160 h 208"/>
                <a:gd name="T60" fmla="*/ 143 w 328"/>
                <a:gd name="T61" fmla="*/ 144 h 208"/>
                <a:gd name="T62" fmla="*/ 126 w 328"/>
                <a:gd name="T63" fmla="*/ 128 h 208"/>
                <a:gd name="T64" fmla="*/ 109 w 328"/>
                <a:gd name="T65" fmla="*/ 128 h 208"/>
                <a:gd name="T66" fmla="*/ 84 w 328"/>
                <a:gd name="T67" fmla="*/ 112 h 208"/>
                <a:gd name="T68" fmla="*/ 67 w 328"/>
                <a:gd name="T69" fmla="*/ 112 h 208"/>
                <a:gd name="T70" fmla="*/ 50 w 328"/>
                <a:gd name="T71" fmla="*/ 96 h 208"/>
                <a:gd name="T72" fmla="*/ 25 w 328"/>
                <a:gd name="T73" fmla="*/ 104 h 208"/>
                <a:gd name="T74" fmla="*/ 0 w 328"/>
                <a:gd name="T75" fmla="*/ 80 h 2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28" h="208">
                  <a:moveTo>
                    <a:pt x="0" y="80"/>
                  </a:moveTo>
                  <a:lnTo>
                    <a:pt x="0" y="56"/>
                  </a:lnTo>
                  <a:lnTo>
                    <a:pt x="25" y="32"/>
                  </a:lnTo>
                  <a:lnTo>
                    <a:pt x="50" y="48"/>
                  </a:lnTo>
                  <a:lnTo>
                    <a:pt x="67" y="32"/>
                  </a:lnTo>
                  <a:lnTo>
                    <a:pt x="92" y="24"/>
                  </a:lnTo>
                  <a:lnTo>
                    <a:pt x="101" y="32"/>
                  </a:lnTo>
                  <a:lnTo>
                    <a:pt x="117" y="40"/>
                  </a:lnTo>
                  <a:lnTo>
                    <a:pt x="134" y="48"/>
                  </a:lnTo>
                  <a:lnTo>
                    <a:pt x="160" y="40"/>
                  </a:lnTo>
                  <a:lnTo>
                    <a:pt x="210" y="40"/>
                  </a:lnTo>
                  <a:lnTo>
                    <a:pt x="235" y="32"/>
                  </a:lnTo>
                  <a:lnTo>
                    <a:pt x="252" y="16"/>
                  </a:lnTo>
                  <a:lnTo>
                    <a:pt x="261" y="16"/>
                  </a:lnTo>
                  <a:lnTo>
                    <a:pt x="286" y="24"/>
                  </a:lnTo>
                  <a:lnTo>
                    <a:pt x="294" y="8"/>
                  </a:lnTo>
                  <a:lnTo>
                    <a:pt x="320" y="0"/>
                  </a:lnTo>
                  <a:lnTo>
                    <a:pt x="328" y="16"/>
                  </a:lnTo>
                  <a:lnTo>
                    <a:pt x="311" y="56"/>
                  </a:lnTo>
                  <a:lnTo>
                    <a:pt x="303" y="80"/>
                  </a:lnTo>
                  <a:lnTo>
                    <a:pt x="286" y="104"/>
                  </a:lnTo>
                  <a:lnTo>
                    <a:pt x="286" y="112"/>
                  </a:lnTo>
                  <a:lnTo>
                    <a:pt x="303" y="128"/>
                  </a:lnTo>
                  <a:lnTo>
                    <a:pt x="320" y="160"/>
                  </a:lnTo>
                  <a:lnTo>
                    <a:pt x="303" y="176"/>
                  </a:lnTo>
                  <a:lnTo>
                    <a:pt x="303" y="208"/>
                  </a:lnTo>
                  <a:lnTo>
                    <a:pt x="269" y="200"/>
                  </a:lnTo>
                  <a:lnTo>
                    <a:pt x="227" y="192"/>
                  </a:lnTo>
                  <a:lnTo>
                    <a:pt x="202" y="152"/>
                  </a:lnTo>
                  <a:lnTo>
                    <a:pt x="168" y="160"/>
                  </a:lnTo>
                  <a:lnTo>
                    <a:pt x="143" y="144"/>
                  </a:lnTo>
                  <a:lnTo>
                    <a:pt x="126" y="128"/>
                  </a:lnTo>
                  <a:lnTo>
                    <a:pt x="109" y="128"/>
                  </a:lnTo>
                  <a:lnTo>
                    <a:pt x="84" y="112"/>
                  </a:lnTo>
                  <a:lnTo>
                    <a:pt x="67" y="112"/>
                  </a:lnTo>
                  <a:lnTo>
                    <a:pt x="50" y="96"/>
                  </a:lnTo>
                  <a:lnTo>
                    <a:pt x="25" y="104"/>
                  </a:lnTo>
                  <a:lnTo>
                    <a:pt x="0" y="8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4" name="Freeform 21"/>
            <p:cNvSpPr>
              <a:spLocks/>
            </p:cNvSpPr>
            <p:nvPr>
              <p:custDataLst>
                <p:tags r:id="rId20"/>
              </p:custDataLst>
            </p:nvPr>
          </p:nvSpPr>
          <p:spPr bwMode="auto">
            <a:xfrm>
              <a:off x="3845" y="1920"/>
              <a:ext cx="109" cy="176"/>
            </a:xfrm>
            <a:custGeom>
              <a:avLst/>
              <a:gdLst>
                <a:gd name="T0" fmla="*/ 0 w 109"/>
                <a:gd name="T1" fmla="*/ 168 h 176"/>
                <a:gd name="T2" fmla="*/ 50 w 109"/>
                <a:gd name="T3" fmla="*/ 176 h 176"/>
                <a:gd name="T4" fmla="*/ 76 w 109"/>
                <a:gd name="T5" fmla="*/ 144 h 176"/>
                <a:gd name="T6" fmla="*/ 76 w 109"/>
                <a:gd name="T7" fmla="*/ 112 h 176"/>
                <a:gd name="T8" fmla="*/ 109 w 109"/>
                <a:gd name="T9" fmla="*/ 96 h 176"/>
                <a:gd name="T10" fmla="*/ 92 w 109"/>
                <a:gd name="T11" fmla="*/ 72 h 176"/>
                <a:gd name="T12" fmla="*/ 109 w 109"/>
                <a:gd name="T13" fmla="*/ 64 h 176"/>
                <a:gd name="T14" fmla="*/ 101 w 109"/>
                <a:gd name="T15" fmla="*/ 8 h 176"/>
                <a:gd name="T16" fmla="*/ 84 w 109"/>
                <a:gd name="T17" fmla="*/ 0 h 176"/>
                <a:gd name="T18" fmla="*/ 67 w 109"/>
                <a:gd name="T19" fmla="*/ 16 h 176"/>
                <a:gd name="T20" fmla="*/ 59 w 109"/>
                <a:gd name="T21" fmla="*/ 48 h 176"/>
                <a:gd name="T22" fmla="*/ 42 w 109"/>
                <a:gd name="T23" fmla="*/ 16 h 176"/>
                <a:gd name="T24" fmla="*/ 8 w 109"/>
                <a:gd name="T25" fmla="*/ 40 h 176"/>
                <a:gd name="T26" fmla="*/ 0 w 109"/>
                <a:gd name="T27" fmla="*/ 48 h 176"/>
                <a:gd name="T28" fmla="*/ 8 w 109"/>
                <a:gd name="T29" fmla="*/ 72 h 176"/>
                <a:gd name="T30" fmla="*/ 42 w 109"/>
                <a:gd name="T31" fmla="*/ 88 h 176"/>
                <a:gd name="T32" fmla="*/ 50 w 109"/>
                <a:gd name="T33" fmla="*/ 112 h 176"/>
                <a:gd name="T34" fmla="*/ 33 w 109"/>
                <a:gd name="T35" fmla="*/ 144 h 176"/>
                <a:gd name="T36" fmla="*/ 8 w 109"/>
                <a:gd name="T37" fmla="*/ 136 h 176"/>
                <a:gd name="T38" fmla="*/ 0 w 109"/>
                <a:gd name="T39" fmla="*/ 168 h 1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9" h="176">
                  <a:moveTo>
                    <a:pt x="0" y="168"/>
                  </a:moveTo>
                  <a:lnTo>
                    <a:pt x="50" y="176"/>
                  </a:lnTo>
                  <a:lnTo>
                    <a:pt x="76" y="144"/>
                  </a:lnTo>
                  <a:lnTo>
                    <a:pt x="76" y="112"/>
                  </a:lnTo>
                  <a:lnTo>
                    <a:pt x="109" y="96"/>
                  </a:lnTo>
                  <a:lnTo>
                    <a:pt x="92" y="72"/>
                  </a:lnTo>
                  <a:lnTo>
                    <a:pt x="109" y="64"/>
                  </a:lnTo>
                  <a:lnTo>
                    <a:pt x="101" y="8"/>
                  </a:lnTo>
                  <a:lnTo>
                    <a:pt x="84" y="0"/>
                  </a:lnTo>
                  <a:lnTo>
                    <a:pt x="67" y="16"/>
                  </a:lnTo>
                  <a:lnTo>
                    <a:pt x="59" y="48"/>
                  </a:lnTo>
                  <a:lnTo>
                    <a:pt x="42" y="16"/>
                  </a:lnTo>
                  <a:lnTo>
                    <a:pt x="8" y="40"/>
                  </a:lnTo>
                  <a:lnTo>
                    <a:pt x="0" y="48"/>
                  </a:lnTo>
                  <a:lnTo>
                    <a:pt x="8" y="72"/>
                  </a:lnTo>
                  <a:lnTo>
                    <a:pt x="42" y="88"/>
                  </a:lnTo>
                  <a:lnTo>
                    <a:pt x="50" y="112"/>
                  </a:lnTo>
                  <a:lnTo>
                    <a:pt x="33" y="144"/>
                  </a:lnTo>
                  <a:lnTo>
                    <a:pt x="8" y="136"/>
                  </a:lnTo>
                  <a:lnTo>
                    <a:pt x="0" y="168"/>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5" name="Freeform 22"/>
            <p:cNvSpPr>
              <a:spLocks/>
            </p:cNvSpPr>
            <p:nvPr>
              <p:custDataLst>
                <p:tags r:id="rId21"/>
              </p:custDataLst>
            </p:nvPr>
          </p:nvSpPr>
          <p:spPr bwMode="auto">
            <a:xfrm>
              <a:off x="4039" y="4048"/>
              <a:ext cx="328" cy="208"/>
            </a:xfrm>
            <a:custGeom>
              <a:avLst/>
              <a:gdLst>
                <a:gd name="T0" fmla="*/ 0 w 328"/>
                <a:gd name="T1" fmla="*/ 80 h 208"/>
                <a:gd name="T2" fmla="*/ 0 w 328"/>
                <a:gd name="T3" fmla="*/ 56 h 208"/>
                <a:gd name="T4" fmla="*/ 25 w 328"/>
                <a:gd name="T5" fmla="*/ 32 h 208"/>
                <a:gd name="T6" fmla="*/ 50 w 328"/>
                <a:gd name="T7" fmla="*/ 48 h 208"/>
                <a:gd name="T8" fmla="*/ 67 w 328"/>
                <a:gd name="T9" fmla="*/ 32 h 208"/>
                <a:gd name="T10" fmla="*/ 92 w 328"/>
                <a:gd name="T11" fmla="*/ 24 h 208"/>
                <a:gd name="T12" fmla="*/ 101 w 328"/>
                <a:gd name="T13" fmla="*/ 32 h 208"/>
                <a:gd name="T14" fmla="*/ 117 w 328"/>
                <a:gd name="T15" fmla="*/ 40 h 208"/>
                <a:gd name="T16" fmla="*/ 134 w 328"/>
                <a:gd name="T17" fmla="*/ 48 h 208"/>
                <a:gd name="T18" fmla="*/ 160 w 328"/>
                <a:gd name="T19" fmla="*/ 40 h 208"/>
                <a:gd name="T20" fmla="*/ 210 w 328"/>
                <a:gd name="T21" fmla="*/ 40 h 208"/>
                <a:gd name="T22" fmla="*/ 235 w 328"/>
                <a:gd name="T23" fmla="*/ 32 h 208"/>
                <a:gd name="T24" fmla="*/ 252 w 328"/>
                <a:gd name="T25" fmla="*/ 16 h 208"/>
                <a:gd name="T26" fmla="*/ 261 w 328"/>
                <a:gd name="T27" fmla="*/ 16 h 208"/>
                <a:gd name="T28" fmla="*/ 286 w 328"/>
                <a:gd name="T29" fmla="*/ 24 h 208"/>
                <a:gd name="T30" fmla="*/ 294 w 328"/>
                <a:gd name="T31" fmla="*/ 8 h 208"/>
                <a:gd name="T32" fmla="*/ 320 w 328"/>
                <a:gd name="T33" fmla="*/ 0 h 208"/>
                <a:gd name="T34" fmla="*/ 328 w 328"/>
                <a:gd name="T35" fmla="*/ 16 h 208"/>
                <a:gd name="T36" fmla="*/ 311 w 328"/>
                <a:gd name="T37" fmla="*/ 56 h 208"/>
                <a:gd name="T38" fmla="*/ 303 w 328"/>
                <a:gd name="T39" fmla="*/ 80 h 208"/>
                <a:gd name="T40" fmla="*/ 286 w 328"/>
                <a:gd name="T41" fmla="*/ 104 h 208"/>
                <a:gd name="T42" fmla="*/ 286 w 328"/>
                <a:gd name="T43" fmla="*/ 112 h 208"/>
                <a:gd name="T44" fmla="*/ 303 w 328"/>
                <a:gd name="T45" fmla="*/ 128 h 208"/>
                <a:gd name="T46" fmla="*/ 320 w 328"/>
                <a:gd name="T47" fmla="*/ 160 h 208"/>
                <a:gd name="T48" fmla="*/ 303 w 328"/>
                <a:gd name="T49" fmla="*/ 176 h 208"/>
                <a:gd name="T50" fmla="*/ 303 w 328"/>
                <a:gd name="T51" fmla="*/ 208 h 208"/>
                <a:gd name="T52" fmla="*/ 269 w 328"/>
                <a:gd name="T53" fmla="*/ 200 h 208"/>
                <a:gd name="T54" fmla="*/ 227 w 328"/>
                <a:gd name="T55" fmla="*/ 192 h 208"/>
                <a:gd name="T56" fmla="*/ 202 w 328"/>
                <a:gd name="T57" fmla="*/ 152 h 208"/>
                <a:gd name="T58" fmla="*/ 168 w 328"/>
                <a:gd name="T59" fmla="*/ 160 h 208"/>
                <a:gd name="T60" fmla="*/ 143 w 328"/>
                <a:gd name="T61" fmla="*/ 144 h 208"/>
                <a:gd name="T62" fmla="*/ 126 w 328"/>
                <a:gd name="T63" fmla="*/ 128 h 208"/>
                <a:gd name="T64" fmla="*/ 109 w 328"/>
                <a:gd name="T65" fmla="*/ 128 h 208"/>
                <a:gd name="T66" fmla="*/ 84 w 328"/>
                <a:gd name="T67" fmla="*/ 112 h 208"/>
                <a:gd name="T68" fmla="*/ 67 w 328"/>
                <a:gd name="T69" fmla="*/ 112 h 208"/>
                <a:gd name="T70" fmla="*/ 50 w 328"/>
                <a:gd name="T71" fmla="*/ 96 h 208"/>
                <a:gd name="T72" fmla="*/ 25 w 328"/>
                <a:gd name="T73" fmla="*/ 104 h 208"/>
                <a:gd name="T74" fmla="*/ 0 w 328"/>
                <a:gd name="T75" fmla="*/ 80 h 2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28" h="208">
                  <a:moveTo>
                    <a:pt x="0" y="80"/>
                  </a:moveTo>
                  <a:lnTo>
                    <a:pt x="0" y="56"/>
                  </a:lnTo>
                  <a:lnTo>
                    <a:pt x="25" y="32"/>
                  </a:lnTo>
                  <a:lnTo>
                    <a:pt x="50" y="48"/>
                  </a:lnTo>
                  <a:lnTo>
                    <a:pt x="67" y="32"/>
                  </a:lnTo>
                  <a:lnTo>
                    <a:pt x="92" y="24"/>
                  </a:lnTo>
                  <a:lnTo>
                    <a:pt x="101" y="32"/>
                  </a:lnTo>
                  <a:lnTo>
                    <a:pt x="117" y="40"/>
                  </a:lnTo>
                  <a:lnTo>
                    <a:pt x="134" y="48"/>
                  </a:lnTo>
                  <a:lnTo>
                    <a:pt x="160" y="40"/>
                  </a:lnTo>
                  <a:lnTo>
                    <a:pt x="210" y="40"/>
                  </a:lnTo>
                  <a:lnTo>
                    <a:pt x="235" y="32"/>
                  </a:lnTo>
                  <a:lnTo>
                    <a:pt x="252" y="16"/>
                  </a:lnTo>
                  <a:lnTo>
                    <a:pt x="261" y="16"/>
                  </a:lnTo>
                  <a:lnTo>
                    <a:pt x="286" y="24"/>
                  </a:lnTo>
                  <a:lnTo>
                    <a:pt x="294" y="8"/>
                  </a:lnTo>
                  <a:lnTo>
                    <a:pt x="320" y="0"/>
                  </a:lnTo>
                  <a:lnTo>
                    <a:pt x="328" y="16"/>
                  </a:lnTo>
                  <a:lnTo>
                    <a:pt x="311" y="56"/>
                  </a:lnTo>
                  <a:lnTo>
                    <a:pt x="303" y="80"/>
                  </a:lnTo>
                  <a:lnTo>
                    <a:pt x="286" y="104"/>
                  </a:lnTo>
                  <a:lnTo>
                    <a:pt x="286" y="112"/>
                  </a:lnTo>
                  <a:lnTo>
                    <a:pt x="303" y="128"/>
                  </a:lnTo>
                  <a:lnTo>
                    <a:pt x="320" y="160"/>
                  </a:lnTo>
                  <a:lnTo>
                    <a:pt x="303" y="176"/>
                  </a:lnTo>
                  <a:lnTo>
                    <a:pt x="303" y="208"/>
                  </a:lnTo>
                  <a:lnTo>
                    <a:pt x="269" y="200"/>
                  </a:lnTo>
                  <a:lnTo>
                    <a:pt x="227" y="192"/>
                  </a:lnTo>
                  <a:lnTo>
                    <a:pt x="202" y="152"/>
                  </a:lnTo>
                  <a:lnTo>
                    <a:pt x="168" y="160"/>
                  </a:lnTo>
                  <a:lnTo>
                    <a:pt x="143" y="144"/>
                  </a:lnTo>
                  <a:lnTo>
                    <a:pt x="126" y="128"/>
                  </a:lnTo>
                  <a:lnTo>
                    <a:pt x="109" y="128"/>
                  </a:lnTo>
                  <a:lnTo>
                    <a:pt x="84" y="112"/>
                  </a:lnTo>
                  <a:lnTo>
                    <a:pt x="67" y="112"/>
                  </a:lnTo>
                  <a:lnTo>
                    <a:pt x="50" y="96"/>
                  </a:lnTo>
                  <a:lnTo>
                    <a:pt x="25" y="104"/>
                  </a:lnTo>
                  <a:lnTo>
                    <a:pt x="0" y="80"/>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6" name="Freeform 23"/>
            <p:cNvSpPr>
              <a:spLocks/>
            </p:cNvSpPr>
            <p:nvPr>
              <p:custDataLst>
                <p:tags r:id="rId22"/>
              </p:custDataLst>
            </p:nvPr>
          </p:nvSpPr>
          <p:spPr bwMode="auto">
            <a:xfrm>
              <a:off x="5286" y="4200"/>
              <a:ext cx="311" cy="72"/>
            </a:xfrm>
            <a:custGeom>
              <a:avLst/>
              <a:gdLst>
                <a:gd name="T0" fmla="*/ 0 w 311"/>
                <a:gd name="T1" fmla="*/ 24 h 72"/>
                <a:gd name="T2" fmla="*/ 8 w 311"/>
                <a:gd name="T3" fmla="*/ 56 h 72"/>
                <a:gd name="T4" fmla="*/ 33 w 311"/>
                <a:gd name="T5" fmla="*/ 64 h 72"/>
                <a:gd name="T6" fmla="*/ 67 w 311"/>
                <a:gd name="T7" fmla="*/ 64 h 72"/>
                <a:gd name="T8" fmla="*/ 126 w 311"/>
                <a:gd name="T9" fmla="*/ 56 h 72"/>
                <a:gd name="T10" fmla="*/ 143 w 311"/>
                <a:gd name="T11" fmla="*/ 56 h 72"/>
                <a:gd name="T12" fmla="*/ 143 w 311"/>
                <a:gd name="T13" fmla="*/ 72 h 72"/>
                <a:gd name="T14" fmla="*/ 193 w 311"/>
                <a:gd name="T15" fmla="*/ 72 h 72"/>
                <a:gd name="T16" fmla="*/ 219 w 311"/>
                <a:gd name="T17" fmla="*/ 56 h 72"/>
                <a:gd name="T18" fmla="*/ 252 w 311"/>
                <a:gd name="T19" fmla="*/ 56 h 72"/>
                <a:gd name="T20" fmla="*/ 278 w 311"/>
                <a:gd name="T21" fmla="*/ 40 h 72"/>
                <a:gd name="T22" fmla="*/ 311 w 311"/>
                <a:gd name="T23" fmla="*/ 32 h 72"/>
                <a:gd name="T24" fmla="*/ 311 w 311"/>
                <a:gd name="T25" fmla="*/ 0 h 72"/>
                <a:gd name="T26" fmla="*/ 286 w 311"/>
                <a:gd name="T27" fmla="*/ 16 h 72"/>
                <a:gd name="T28" fmla="*/ 269 w 311"/>
                <a:gd name="T29" fmla="*/ 24 h 72"/>
                <a:gd name="T30" fmla="*/ 252 w 311"/>
                <a:gd name="T31" fmla="*/ 24 h 72"/>
                <a:gd name="T32" fmla="*/ 244 w 311"/>
                <a:gd name="T33" fmla="*/ 8 h 72"/>
                <a:gd name="T34" fmla="*/ 219 w 311"/>
                <a:gd name="T35" fmla="*/ 16 h 72"/>
                <a:gd name="T36" fmla="*/ 168 w 311"/>
                <a:gd name="T37" fmla="*/ 24 h 72"/>
                <a:gd name="T38" fmla="*/ 168 w 311"/>
                <a:gd name="T39" fmla="*/ 8 h 72"/>
                <a:gd name="T40" fmla="*/ 84 w 311"/>
                <a:gd name="T41" fmla="*/ 40 h 72"/>
                <a:gd name="T42" fmla="*/ 75 w 311"/>
                <a:gd name="T43" fmla="*/ 16 h 72"/>
                <a:gd name="T44" fmla="*/ 59 w 311"/>
                <a:gd name="T45" fmla="*/ 8 h 72"/>
                <a:gd name="T46" fmla="*/ 59 w 311"/>
                <a:gd name="T47" fmla="*/ 24 h 72"/>
                <a:gd name="T48" fmla="*/ 33 w 311"/>
                <a:gd name="T49" fmla="*/ 24 h 72"/>
                <a:gd name="T50" fmla="*/ 16 w 311"/>
                <a:gd name="T51" fmla="*/ 0 h 72"/>
                <a:gd name="T52" fmla="*/ 16 w 311"/>
                <a:gd name="T53" fmla="*/ 16 h 72"/>
                <a:gd name="T54" fmla="*/ 0 w 311"/>
                <a:gd name="T55" fmla="*/ 24 h 7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11" h="72">
                  <a:moveTo>
                    <a:pt x="0" y="24"/>
                  </a:moveTo>
                  <a:lnTo>
                    <a:pt x="8" y="56"/>
                  </a:lnTo>
                  <a:lnTo>
                    <a:pt x="33" y="64"/>
                  </a:lnTo>
                  <a:lnTo>
                    <a:pt x="67" y="64"/>
                  </a:lnTo>
                  <a:lnTo>
                    <a:pt x="126" y="56"/>
                  </a:lnTo>
                  <a:lnTo>
                    <a:pt x="143" y="56"/>
                  </a:lnTo>
                  <a:lnTo>
                    <a:pt x="143" y="72"/>
                  </a:lnTo>
                  <a:lnTo>
                    <a:pt x="193" y="72"/>
                  </a:lnTo>
                  <a:lnTo>
                    <a:pt x="219" y="56"/>
                  </a:lnTo>
                  <a:lnTo>
                    <a:pt x="252" y="56"/>
                  </a:lnTo>
                  <a:lnTo>
                    <a:pt x="278" y="40"/>
                  </a:lnTo>
                  <a:lnTo>
                    <a:pt x="311" y="32"/>
                  </a:lnTo>
                  <a:lnTo>
                    <a:pt x="311" y="0"/>
                  </a:lnTo>
                  <a:lnTo>
                    <a:pt x="286" y="16"/>
                  </a:lnTo>
                  <a:lnTo>
                    <a:pt x="269" y="24"/>
                  </a:lnTo>
                  <a:lnTo>
                    <a:pt x="252" y="24"/>
                  </a:lnTo>
                  <a:lnTo>
                    <a:pt x="244" y="8"/>
                  </a:lnTo>
                  <a:lnTo>
                    <a:pt x="219" y="16"/>
                  </a:lnTo>
                  <a:lnTo>
                    <a:pt x="168" y="24"/>
                  </a:lnTo>
                  <a:lnTo>
                    <a:pt x="168" y="8"/>
                  </a:lnTo>
                  <a:lnTo>
                    <a:pt x="84" y="40"/>
                  </a:lnTo>
                  <a:lnTo>
                    <a:pt x="75" y="16"/>
                  </a:lnTo>
                  <a:lnTo>
                    <a:pt x="59" y="8"/>
                  </a:lnTo>
                  <a:lnTo>
                    <a:pt x="59" y="24"/>
                  </a:lnTo>
                  <a:lnTo>
                    <a:pt x="33" y="24"/>
                  </a:lnTo>
                  <a:lnTo>
                    <a:pt x="16" y="0"/>
                  </a:lnTo>
                  <a:lnTo>
                    <a:pt x="16" y="16"/>
                  </a:lnTo>
                  <a:lnTo>
                    <a:pt x="0" y="2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7" name="Freeform 24"/>
            <p:cNvSpPr>
              <a:spLocks/>
            </p:cNvSpPr>
            <p:nvPr>
              <p:custDataLst>
                <p:tags r:id="rId23"/>
              </p:custDataLst>
            </p:nvPr>
          </p:nvSpPr>
          <p:spPr bwMode="auto">
            <a:xfrm>
              <a:off x="3584" y="3712"/>
              <a:ext cx="168" cy="288"/>
            </a:xfrm>
            <a:custGeom>
              <a:avLst/>
              <a:gdLst>
                <a:gd name="T0" fmla="*/ 0 w 168"/>
                <a:gd name="T1" fmla="*/ 40 h 288"/>
                <a:gd name="T2" fmla="*/ 33 w 168"/>
                <a:gd name="T3" fmla="*/ 48 h 288"/>
                <a:gd name="T4" fmla="*/ 59 w 168"/>
                <a:gd name="T5" fmla="*/ 40 h 288"/>
                <a:gd name="T6" fmla="*/ 101 w 168"/>
                <a:gd name="T7" fmla="*/ 8 h 288"/>
                <a:gd name="T8" fmla="*/ 109 w 168"/>
                <a:gd name="T9" fmla="*/ 0 h 288"/>
                <a:gd name="T10" fmla="*/ 143 w 168"/>
                <a:gd name="T11" fmla="*/ 16 h 288"/>
                <a:gd name="T12" fmla="*/ 143 w 168"/>
                <a:gd name="T13" fmla="*/ 32 h 288"/>
                <a:gd name="T14" fmla="*/ 168 w 168"/>
                <a:gd name="T15" fmla="*/ 96 h 288"/>
                <a:gd name="T16" fmla="*/ 151 w 168"/>
                <a:gd name="T17" fmla="*/ 120 h 288"/>
                <a:gd name="T18" fmla="*/ 168 w 168"/>
                <a:gd name="T19" fmla="*/ 152 h 288"/>
                <a:gd name="T20" fmla="*/ 143 w 168"/>
                <a:gd name="T21" fmla="*/ 256 h 288"/>
                <a:gd name="T22" fmla="*/ 117 w 168"/>
                <a:gd name="T23" fmla="*/ 248 h 288"/>
                <a:gd name="T24" fmla="*/ 92 w 168"/>
                <a:gd name="T25" fmla="*/ 248 h 288"/>
                <a:gd name="T26" fmla="*/ 84 w 168"/>
                <a:gd name="T27" fmla="*/ 264 h 288"/>
                <a:gd name="T28" fmla="*/ 67 w 168"/>
                <a:gd name="T29" fmla="*/ 280 h 288"/>
                <a:gd name="T30" fmla="*/ 42 w 168"/>
                <a:gd name="T31" fmla="*/ 288 h 288"/>
                <a:gd name="T32" fmla="*/ 25 w 168"/>
                <a:gd name="T33" fmla="*/ 248 h 288"/>
                <a:gd name="T34" fmla="*/ 25 w 168"/>
                <a:gd name="T35" fmla="*/ 200 h 288"/>
                <a:gd name="T36" fmla="*/ 33 w 168"/>
                <a:gd name="T37" fmla="*/ 176 h 288"/>
                <a:gd name="T38" fmla="*/ 25 w 168"/>
                <a:gd name="T39" fmla="*/ 160 h 288"/>
                <a:gd name="T40" fmla="*/ 33 w 168"/>
                <a:gd name="T41" fmla="*/ 136 h 288"/>
                <a:gd name="T42" fmla="*/ 33 w 168"/>
                <a:gd name="T43" fmla="*/ 112 h 288"/>
                <a:gd name="T44" fmla="*/ 25 w 168"/>
                <a:gd name="T45" fmla="*/ 80 h 288"/>
                <a:gd name="T46" fmla="*/ 0 w 168"/>
                <a:gd name="T47" fmla="*/ 72 h 288"/>
                <a:gd name="T48" fmla="*/ 0 w 168"/>
                <a:gd name="T49" fmla="*/ 40 h 28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68" h="288">
                  <a:moveTo>
                    <a:pt x="0" y="40"/>
                  </a:moveTo>
                  <a:lnTo>
                    <a:pt x="33" y="48"/>
                  </a:lnTo>
                  <a:lnTo>
                    <a:pt x="59" y="40"/>
                  </a:lnTo>
                  <a:lnTo>
                    <a:pt x="101" y="8"/>
                  </a:lnTo>
                  <a:lnTo>
                    <a:pt x="109" y="0"/>
                  </a:lnTo>
                  <a:lnTo>
                    <a:pt x="143" y="16"/>
                  </a:lnTo>
                  <a:lnTo>
                    <a:pt x="143" y="32"/>
                  </a:lnTo>
                  <a:lnTo>
                    <a:pt x="168" y="96"/>
                  </a:lnTo>
                  <a:lnTo>
                    <a:pt x="151" y="120"/>
                  </a:lnTo>
                  <a:lnTo>
                    <a:pt x="168" y="152"/>
                  </a:lnTo>
                  <a:lnTo>
                    <a:pt x="143" y="256"/>
                  </a:lnTo>
                  <a:lnTo>
                    <a:pt x="117" y="248"/>
                  </a:lnTo>
                  <a:lnTo>
                    <a:pt x="92" y="248"/>
                  </a:lnTo>
                  <a:lnTo>
                    <a:pt x="84" y="264"/>
                  </a:lnTo>
                  <a:lnTo>
                    <a:pt x="67" y="280"/>
                  </a:lnTo>
                  <a:lnTo>
                    <a:pt x="42" y="288"/>
                  </a:lnTo>
                  <a:lnTo>
                    <a:pt x="25" y="248"/>
                  </a:lnTo>
                  <a:lnTo>
                    <a:pt x="25" y="200"/>
                  </a:lnTo>
                  <a:lnTo>
                    <a:pt x="33" y="176"/>
                  </a:lnTo>
                  <a:lnTo>
                    <a:pt x="25" y="160"/>
                  </a:lnTo>
                  <a:lnTo>
                    <a:pt x="33" y="136"/>
                  </a:lnTo>
                  <a:lnTo>
                    <a:pt x="33" y="112"/>
                  </a:lnTo>
                  <a:lnTo>
                    <a:pt x="25" y="80"/>
                  </a:lnTo>
                  <a:lnTo>
                    <a:pt x="0" y="72"/>
                  </a:lnTo>
                  <a:lnTo>
                    <a:pt x="0" y="4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8" name="Freeform 25"/>
            <p:cNvSpPr>
              <a:spLocks/>
            </p:cNvSpPr>
            <p:nvPr>
              <p:custDataLst>
                <p:tags r:id="rId24"/>
              </p:custDataLst>
            </p:nvPr>
          </p:nvSpPr>
          <p:spPr bwMode="auto">
            <a:xfrm>
              <a:off x="5286" y="4200"/>
              <a:ext cx="311" cy="72"/>
            </a:xfrm>
            <a:custGeom>
              <a:avLst/>
              <a:gdLst>
                <a:gd name="T0" fmla="*/ 0 w 311"/>
                <a:gd name="T1" fmla="*/ 24 h 72"/>
                <a:gd name="T2" fmla="*/ 8 w 311"/>
                <a:gd name="T3" fmla="*/ 56 h 72"/>
                <a:gd name="T4" fmla="*/ 33 w 311"/>
                <a:gd name="T5" fmla="*/ 64 h 72"/>
                <a:gd name="T6" fmla="*/ 67 w 311"/>
                <a:gd name="T7" fmla="*/ 64 h 72"/>
                <a:gd name="T8" fmla="*/ 126 w 311"/>
                <a:gd name="T9" fmla="*/ 56 h 72"/>
                <a:gd name="T10" fmla="*/ 143 w 311"/>
                <a:gd name="T11" fmla="*/ 56 h 72"/>
                <a:gd name="T12" fmla="*/ 143 w 311"/>
                <a:gd name="T13" fmla="*/ 72 h 72"/>
                <a:gd name="T14" fmla="*/ 193 w 311"/>
                <a:gd name="T15" fmla="*/ 72 h 72"/>
                <a:gd name="T16" fmla="*/ 219 w 311"/>
                <a:gd name="T17" fmla="*/ 56 h 72"/>
                <a:gd name="T18" fmla="*/ 252 w 311"/>
                <a:gd name="T19" fmla="*/ 56 h 72"/>
                <a:gd name="T20" fmla="*/ 278 w 311"/>
                <a:gd name="T21" fmla="*/ 40 h 72"/>
                <a:gd name="T22" fmla="*/ 311 w 311"/>
                <a:gd name="T23" fmla="*/ 32 h 72"/>
                <a:gd name="T24" fmla="*/ 311 w 311"/>
                <a:gd name="T25" fmla="*/ 0 h 72"/>
                <a:gd name="T26" fmla="*/ 286 w 311"/>
                <a:gd name="T27" fmla="*/ 16 h 72"/>
                <a:gd name="T28" fmla="*/ 269 w 311"/>
                <a:gd name="T29" fmla="*/ 24 h 72"/>
                <a:gd name="T30" fmla="*/ 252 w 311"/>
                <a:gd name="T31" fmla="*/ 24 h 72"/>
                <a:gd name="T32" fmla="*/ 244 w 311"/>
                <a:gd name="T33" fmla="*/ 8 h 72"/>
                <a:gd name="T34" fmla="*/ 219 w 311"/>
                <a:gd name="T35" fmla="*/ 16 h 72"/>
                <a:gd name="T36" fmla="*/ 168 w 311"/>
                <a:gd name="T37" fmla="*/ 24 h 72"/>
                <a:gd name="T38" fmla="*/ 168 w 311"/>
                <a:gd name="T39" fmla="*/ 8 h 72"/>
                <a:gd name="T40" fmla="*/ 84 w 311"/>
                <a:gd name="T41" fmla="*/ 40 h 72"/>
                <a:gd name="T42" fmla="*/ 75 w 311"/>
                <a:gd name="T43" fmla="*/ 16 h 72"/>
                <a:gd name="T44" fmla="*/ 59 w 311"/>
                <a:gd name="T45" fmla="*/ 8 h 72"/>
                <a:gd name="T46" fmla="*/ 59 w 311"/>
                <a:gd name="T47" fmla="*/ 24 h 72"/>
                <a:gd name="T48" fmla="*/ 33 w 311"/>
                <a:gd name="T49" fmla="*/ 24 h 72"/>
                <a:gd name="T50" fmla="*/ 16 w 311"/>
                <a:gd name="T51" fmla="*/ 0 h 72"/>
                <a:gd name="T52" fmla="*/ 16 w 311"/>
                <a:gd name="T53" fmla="*/ 16 h 72"/>
                <a:gd name="T54" fmla="*/ 0 w 311"/>
                <a:gd name="T55" fmla="*/ 24 h 7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11" h="72">
                  <a:moveTo>
                    <a:pt x="0" y="24"/>
                  </a:moveTo>
                  <a:lnTo>
                    <a:pt x="8" y="56"/>
                  </a:lnTo>
                  <a:lnTo>
                    <a:pt x="33" y="64"/>
                  </a:lnTo>
                  <a:lnTo>
                    <a:pt x="67" y="64"/>
                  </a:lnTo>
                  <a:lnTo>
                    <a:pt x="126" y="56"/>
                  </a:lnTo>
                  <a:lnTo>
                    <a:pt x="143" y="56"/>
                  </a:lnTo>
                  <a:lnTo>
                    <a:pt x="143" y="72"/>
                  </a:lnTo>
                  <a:lnTo>
                    <a:pt x="193" y="72"/>
                  </a:lnTo>
                  <a:lnTo>
                    <a:pt x="219" y="56"/>
                  </a:lnTo>
                  <a:lnTo>
                    <a:pt x="252" y="56"/>
                  </a:lnTo>
                  <a:lnTo>
                    <a:pt x="278" y="40"/>
                  </a:lnTo>
                  <a:lnTo>
                    <a:pt x="311" y="32"/>
                  </a:lnTo>
                  <a:lnTo>
                    <a:pt x="311" y="0"/>
                  </a:lnTo>
                  <a:lnTo>
                    <a:pt x="286" y="16"/>
                  </a:lnTo>
                  <a:lnTo>
                    <a:pt x="269" y="24"/>
                  </a:lnTo>
                  <a:lnTo>
                    <a:pt x="252" y="24"/>
                  </a:lnTo>
                  <a:lnTo>
                    <a:pt x="244" y="8"/>
                  </a:lnTo>
                  <a:lnTo>
                    <a:pt x="219" y="16"/>
                  </a:lnTo>
                  <a:lnTo>
                    <a:pt x="168" y="24"/>
                  </a:lnTo>
                  <a:lnTo>
                    <a:pt x="168" y="8"/>
                  </a:lnTo>
                  <a:lnTo>
                    <a:pt x="84" y="40"/>
                  </a:lnTo>
                  <a:lnTo>
                    <a:pt x="75" y="16"/>
                  </a:lnTo>
                  <a:lnTo>
                    <a:pt x="59" y="8"/>
                  </a:lnTo>
                  <a:lnTo>
                    <a:pt x="59" y="24"/>
                  </a:lnTo>
                  <a:lnTo>
                    <a:pt x="33" y="24"/>
                  </a:lnTo>
                  <a:lnTo>
                    <a:pt x="16" y="0"/>
                  </a:lnTo>
                  <a:lnTo>
                    <a:pt x="16" y="16"/>
                  </a:lnTo>
                  <a:lnTo>
                    <a:pt x="0" y="24"/>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9" name="Freeform 26"/>
            <p:cNvSpPr>
              <a:spLocks/>
            </p:cNvSpPr>
            <p:nvPr>
              <p:custDataLst>
                <p:tags r:id="rId25"/>
              </p:custDataLst>
            </p:nvPr>
          </p:nvSpPr>
          <p:spPr bwMode="auto">
            <a:xfrm>
              <a:off x="3584" y="3712"/>
              <a:ext cx="168" cy="288"/>
            </a:xfrm>
            <a:custGeom>
              <a:avLst/>
              <a:gdLst>
                <a:gd name="T0" fmla="*/ 0 w 168"/>
                <a:gd name="T1" fmla="*/ 40 h 288"/>
                <a:gd name="T2" fmla="*/ 33 w 168"/>
                <a:gd name="T3" fmla="*/ 48 h 288"/>
                <a:gd name="T4" fmla="*/ 59 w 168"/>
                <a:gd name="T5" fmla="*/ 40 h 288"/>
                <a:gd name="T6" fmla="*/ 101 w 168"/>
                <a:gd name="T7" fmla="*/ 8 h 288"/>
                <a:gd name="T8" fmla="*/ 109 w 168"/>
                <a:gd name="T9" fmla="*/ 0 h 288"/>
                <a:gd name="T10" fmla="*/ 143 w 168"/>
                <a:gd name="T11" fmla="*/ 16 h 288"/>
                <a:gd name="T12" fmla="*/ 143 w 168"/>
                <a:gd name="T13" fmla="*/ 32 h 288"/>
                <a:gd name="T14" fmla="*/ 168 w 168"/>
                <a:gd name="T15" fmla="*/ 96 h 288"/>
                <a:gd name="T16" fmla="*/ 151 w 168"/>
                <a:gd name="T17" fmla="*/ 120 h 288"/>
                <a:gd name="T18" fmla="*/ 168 w 168"/>
                <a:gd name="T19" fmla="*/ 152 h 288"/>
                <a:gd name="T20" fmla="*/ 143 w 168"/>
                <a:gd name="T21" fmla="*/ 256 h 288"/>
                <a:gd name="T22" fmla="*/ 117 w 168"/>
                <a:gd name="T23" fmla="*/ 248 h 288"/>
                <a:gd name="T24" fmla="*/ 92 w 168"/>
                <a:gd name="T25" fmla="*/ 248 h 288"/>
                <a:gd name="T26" fmla="*/ 84 w 168"/>
                <a:gd name="T27" fmla="*/ 264 h 288"/>
                <a:gd name="T28" fmla="*/ 67 w 168"/>
                <a:gd name="T29" fmla="*/ 280 h 288"/>
                <a:gd name="T30" fmla="*/ 42 w 168"/>
                <a:gd name="T31" fmla="*/ 288 h 288"/>
                <a:gd name="T32" fmla="*/ 25 w 168"/>
                <a:gd name="T33" fmla="*/ 248 h 288"/>
                <a:gd name="T34" fmla="*/ 25 w 168"/>
                <a:gd name="T35" fmla="*/ 200 h 288"/>
                <a:gd name="T36" fmla="*/ 33 w 168"/>
                <a:gd name="T37" fmla="*/ 176 h 288"/>
                <a:gd name="T38" fmla="*/ 25 w 168"/>
                <a:gd name="T39" fmla="*/ 160 h 288"/>
                <a:gd name="T40" fmla="*/ 33 w 168"/>
                <a:gd name="T41" fmla="*/ 136 h 288"/>
                <a:gd name="T42" fmla="*/ 33 w 168"/>
                <a:gd name="T43" fmla="*/ 112 h 288"/>
                <a:gd name="T44" fmla="*/ 25 w 168"/>
                <a:gd name="T45" fmla="*/ 80 h 288"/>
                <a:gd name="T46" fmla="*/ 0 w 168"/>
                <a:gd name="T47" fmla="*/ 72 h 288"/>
                <a:gd name="T48" fmla="*/ 0 w 168"/>
                <a:gd name="T49" fmla="*/ 40 h 28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68" h="288">
                  <a:moveTo>
                    <a:pt x="0" y="40"/>
                  </a:moveTo>
                  <a:lnTo>
                    <a:pt x="33" y="48"/>
                  </a:lnTo>
                  <a:lnTo>
                    <a:pt x="59" y="40"/>
                  </a:lnTo>
                  <a:lnTo>
                    <a:pt x="101" y="8"/>
                  </a:lnTo>
                  <a:lnTo>
                    <a:pt x="109" y="0"/>
                  </a:lnTo>
                  <a:lnTo>
                    <a:pt x="143" y="16"/>
                  </a:lnTo>
                  <a:lnTo>
                    <a:pt x="143" y="32"/>
                  </a:lnTo>
                  <a:lnTo>
                    <a:pt x="168" y="96"/>
                  </a:lnTo>
                  <a:lnTo>
                    <a:pt x="151" y="120"/>
                  </a:lnTo>
                  <a:lnTo>
                    <a:pt x="168" y="152"/>
                  </a:lnTo>
                  <a:lnTo>
                    <a:pt x="143" y="256"/>
                  </a:lnTo>
                  <a:lnTo>
                    <a:pt x="117" y="248"/>
                  </a:lnTo>
                  <a:lnTo>
                    <a:pt x="92" y="248"/>
                  </a:lnTo>
                  <a:lnTo>
                    <a:pt x="84" y="264"/>
                  </a:lnTo>
                  <a:lnTo>
                    <a:pt x="67" y="280"/>
                  </a:lnTo>
                  <a:lnTo>
                    <a:pt x="42" y="288"/>
                  </a:lnTo>
                  <a:lnTo>
                    <a:pt x="25" y="248"/>
                  </a:lnTo>
                  <a:lnTo>
                    <a:pt x="25" y="200"/>
                  </a:lnTo>
                  <a:lnTo>
                    <a:pt x="33" y="176"/>
                  </a:lnTo>
                  <a:lnTo>
                    <a:pt x="25" y="160"/>
                  </a:lnTo>
                  <a:lnTo>
                    <a:pt x="33" y="136"/>
                  </a:lnTo>
                  <a:lnTo>
                    <a:pt x="33" y="112"/>
                  </a:lnTo>
                  <a:lnTo>
                    <a:pt x="25" y="80"/>
                  </a:lnTo>
                  <a:lnTo>
                    <a:pt x="0" y="72"/>
                  </a:lnTo>
                  <a:lnTo>
                    <a:pt x="0" y="40"/>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0" name="Freeform 27"/>
            <p:cNvSpPr>
              <a:spLocks/>
            </p:cNvSpPr>
            <p:nvPr>
              <p:custDataLst>
                <p:tags r:id="rId26"/>
              </p:custDataLst>
            </p:nvPr>
          </p:nvSpPr>
          <p:spPr bwMode="auto">
            <a:xfrm>
              <a:off x="3626" y="3496"/>
              <a:ext cx="101" cy="192"/>
            </a:xfrm>
            <a:custGeom>
              <a:avLst/>
              <a:gdLst>
                <a:gd name="T0" fmla="*/ 75 w 101"/>
                <a:gd name="T1" fmla="*/ 32 h 192"/>
                <a:gd name="T2" fmla="*/ 75 w 101"/>
                <a:gd name="T3" fmla="*/ 0 h 192"/>
                <a:gd name="T4" fmla="*/ 92 w 101"/>
                <a:gd name="T5" fmla="*/ 0 h 192"/>
                <a:gd name="T6" fmla="*/ 92 w 101"/>
                <a:gd name="T7" fmla="*/ 40 h 192"/>
                <a:gd name="T8" fmla="*/ 101 w 101"/>
                <a:gd name="T9" fmla="*/ 56 h 192"/>
                <a:gd name="T10" fmla="*/ 101 w 101"/>
                <a:gd name="T11" fmla="*/ 104 h 192"/>
                <a:gd name="T12" fmla="*/ 92 w 101"/>
                <a:gd name="T13" fmla="*/ 120 h 192"/>
                <a:gd name="T14" fmla="*/ 92 w 101"/>
                <a:gd name="T15" fmla="*/ 152 h 192"/>
                <a:gd name="T16" fmla="*/ 67 w 101"/>
                <a:gd name="T17" fmla="*/ 192 h 192"/>
                <a:gd name="T18" fmla="*/ 50 w 101"/>
                <a:gd name="T19" fmla="*/ 192 h 192"/>
                <a:gd name="T20" fmla="*/ 25 w 101"/>
                <a:gd name="T21" fmla="*/ 176 h 192"/>
                <a:gd name="T22" fmla="*/ 33 w 101"/>
                <a:gd name="T23" fmla="*/ 160 h 192"/>
                <a:gd name="T24" fmla="*/ 17 w 101"/>
                <a:gd name="T25" fmla="*/ 152 h 192"/>
                <a:gd name="T26" fmla="*/ 33 w 101"/>
                <a:gd name="T27" fmla="*/ 136 h 192"/>
                <a:gd name="T28" fmla="*/ 8 w 101"/>
                <a:gd name="T29" fmla="*/ 128 h 192"/>
                <a:gd name="T30" fmla="*/ 25 w 101"/>
                <a:gd name="T31" fmla="*/ 112 h 192"/>
                <a:gd name="T32" fmla="*/ 8 w 101"/>
                <a:gd name="T33" fmla="*/ 96 h 192"/>
                <a:gd name="T34" fmla="*/ 0 w 101"/>
                <a:gd name="T35" fmla="*/ 72 h 192"/>
                <a:gd name="T36" fmla="*/ 17 w 101"/>
                <a:gd name="T37" fmla="*/ 64 h 192"/>
                <a:gd name="T38" fmla="*/ 17 w 101"/>
                <a:gd name="T39" fmla="*/ 48 h 192"/>
                <a:gd name="T40" fmla="*/ 42 w 101"/>
                <a:gd name="T41" fmla="*/ 40 h 192"/>
                <a:gd name="T42" fmla="*/ 75 w 101"/>
                <a:gd name="T43" fmla="*/ 32 h 19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01" h="192">
                  <a:moveTo>
                    <a:pt x="75" y="32"/>
                  </a:moveTo>
                  <a:lnTo>
                    <a:pt x="75" y="0"/>
                  </a:lnTo>
                  <a:lnTo>
                    <a:pt x="92" y="0"/>
                  </a:lnTo>
                  <a:lnTo>
                    <a:pt x="92" y="40"/>
                  </a:lnTo>
                  <a:lnTo>
                    <a:pt x="101" y="56"/>
                  </a:lnTo>
                  <a:lnTo>
                    <a:pt x="101" y="104"/>
                  </a:lnTo>
                  <a:lnTo>
                    <a:pt x="92" y="120"/>
                  </a:lnTo>
                  <a:lnTo>
                    <a:pt x="92" y="152"/>
                  </a:lnTo>
                  <a:lnTo>
                    <a:pt x="67" y="192"/>
                  </a:lnTo>
                  <a:lnTo>
                    <a:pt x="50" y="192"/>
                  </a:lnTo>
                  <a:lnTo>
                    <a:pt x="25" y="176"/>
                  </a:lnTo>
                  <a:lnTo>
                    <a:pt x="33" y="160"/>
                  </a:lnTo>
                  <a:lnTo>
                    <a:pt x="17" y="152"/>
                  </a:lnTo>
                  <a:lnTo>
                    <a:pt x="33" y="136"/>
                  </a:lnTo>
                  <a:lnTo>
                    <a:pt x="8" y="128"/>
                  </a:lnTo>
                  <a:lnTo>
                    <a:pt x="25" y="112"/>
                  </a:lnTo>
                  <a:lnTo>
                    <a:pt x="8" y="96"/>
                  </a:lnTo>
                  <a:lnTo>
                    <a:pt x="0" y="72"/>
                  </a:lnTo>
                  <a:lnTo>
                    <a:pt x="17" y="64"/>
                  </a:lnTo>
                  <a:lnTo>
                    <a:pt x="17" y="48"/>
                  </a:lnTo>
                  <a:lnTo>
                    <a:pt x="42" y="40"/>
                  </a:lnTo>
                  <a:lnTo>
                    <a:pt x="75" y="3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1" name="Freeform 28"/>
            <p:cNvSpPr>
              <a:spLocks/>
            </p:cNvSpPr>
            <p:nvPr>
              <p:custDataLst>
                <p:tags r:id="rId27"/>
              </p:custDataLst>
            </p:nvPr>
          </p:nvSpPr>
          <p:spPr bwMode="auto">
            <a:xfrm>
              <a:off x="3626" y="3496"/>
              <a:ext cx="101" cy="192"/>
            </a:xfrm>
            <a:custGeom>
              <a:avLst/>
              <a:gdLst>
                <a:gd name="T0" fmla="*/ 75 w 101"/>
                <a:gd name="T1" fmla="*/ 32 h 192"/>
                <a:gd name="T2" fmla="*/ 75 w 101"/>
                <a:gd name="T3" fmla="*/ 0 h 192"/>
                <a:gd name="T4" fmla="*/ 92 w 101"/>
                <a:gd name="T5" fmla="*/ 0 h 192"/>
                <a:gd name="T6" fmla="*/ 92 w 101"/>
                <a:gd name="T7" fmla="*/ 40 h 192"/>
                <a:gd name="T8" fmla="*/ 101 w 101"/>
                <a:gd name="T9" fmla="*/ 56 h 192"/>
                <a:gd name="T10" fmla="*/ 101 w 101"/>
                <a:gd name="T11" fmla="*/ 104 h 192"/>
                <a:gd name="T12" fmla="*/ 92 w 101"/>
                <a:gd name="T13" fmla="*/ 120 h 192"/>
                <a:gd name="T14" fmla="*/ 92 w 101"/>
                <a:gd name="T15" fmla="*/ 152 h 192"/>
                <a:gd name="T16" fmla="*/ 67 w 101"/>
                <a:gd name="T17" fmla="*/ 192 h 192"/>
                <a:gd name="T18" fmla="*/ 50 w 101"/>
                <a:gd name="T19" fmla="*/ 192 h 192"/>
                <a:gd name="T20" fmla="*/ 25 w 101"/>
                <a:gd name="T21" fmla="*/ 176 h 192"/>
                <a:gd name="T22" fmla="*/ 33 w 101"/>
                <a:gd name="T23" fmla="*/ 160 h 192"/>
                <a:gd name="T24" fmla="*/ 17 w 101"/>
                <a:gd name="T25" fmla="*/ 152 h 192"/>
                <a:gd name="T26" fmla="*/ 33 w 101"/>
                <a:gd name="T27" fmla="*/ 136 h 192"/>
                <a:gd name="T28" fmla="*/ 8 w 101"/>
                <a:gd name="T29" fmla="*/ 128 h 192"/>
                <a:gd name="T30" fmla="*/ 25 w 101"/>
                <a:gd name="T31" fmla="*/ 112 h 192"/>
                <a:gd name="T32" fmla="*/ 8 w 101"/>
                <a:gd name="T33" fmla="*/ 96 h 192"/>
                <a:gd name="T34" fmla="*/ 0 w 101"/>
                <a:gd name="T35" fmla="*/ 72 h 192"/>
                <a:gd name="T36" fmla="*/ 17 w 101"/>
                <a:gd name="T37" fmla="*/ 64 h 192"/>
                <a:gd name="T38" fmla="*/ 17 w 101"/>
                <a:gd name="T39" fmla="*/ 48 h 192"/>
                <a:gd name="T40" fmla="*/ 42 w 101"/>
                <a:gd name="T41" fmla="*/ 40 h 192"/>
                <a:gd name="T42" fmla="*/ 75 w 101"/>
                <a:gd name="T43" fmla="*/ 32 h 19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01" h="192">
                  <a:moveTo>
                    <a:pt x="75" y="32"/>
                  </a:moveTo>
                  <a:lnTo>
                    <a:pt x="75" y="0"/>
                  </a:lnTo>
                  <a:lnTo>
                    <a:pt x="92" y="0"/>
                  </a:lnTo>
                  <a:lnTo>
                    <a:pt x="92" y="40"/>
                  </a:lnTo>
                  <a:lnTo>
                    <a:pt x="101" y="56"/>
                  </a:lnTo>
                  <a:lnTo>
                    <a:pt x="101" y="104"/>
                  </a:lnTo>
                  <a:lnTo>
                    <a:pt x="92" y="120"/>
                  </a:lnTo>
                  <a:lnTo>
                    <a:pt x="92" y="152"/>
                  </a:lnTo>
                  <a:lnTo>
                    <a:pt x="67" y="192"/>
                  </a:lnTo>
                  <a:lnTo>
                    <a:pt x="50" y="192"/>
                  </a:lnTo>
                  <a:lnTo>
                    <a:pt x="25" y="176"/>
                  </a:lnTo>
                  <a:lnTo>
                    <a:pt x="33" y="160"/>
                  </a:lnTo>
                  <a:lnTo>
                    <a:pt x="17" y="152"/>
                  </a:lnTo>
                  <a:lnTo>
                    <a:pt x="33" y="136"/>
                  </a:lnTo>
                  <a:lnTo>
                    <a:pt x="8" y="128"/>
                  </a:lnTo>
                  <a:lnTo>
                    <a:pt x="25" y="112"/>
                  </a:lnTo>
                  <a:lnTo>
                    <a:pt x="8" y="96"/>
                  </a:lnTo>
                  <a:lnTo>
                    <a:pt x="0" y="72"/>
                  </a:lnTo>
                  <a:lnTo>
                    <a:pt x="17" y="64"/>
                  </a:lnTo>
                  <a:lnTo>
                    <a:pt x="17" y="48"/>
                  </a:lnTo>
                  <a:lnTo>
                    <a:pt x="42" y="40"/>
                  </a:lnTo>
                  <a:lnTo>
                    <a:pt x="75" y="32"/>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2" name="Freeform 31"/>
            <p:cNvSpPr>
              <a:spLocks/>
            </p:cNvSpPr>
            <p:nvPr>
              <p:custDataLst>
                <p:tags r:id="rId28"/>
              </p:custDataLst>
            </p:nvPr>
          </p:nvSpPr>
          <p:spPr bwMode="auto">
            <a:xfrm>
              <a:off x="3457" y="3008"/>
              <a:ext cx="1180" cy="1080"/>
            </a:xfrm>
            <a:custGeom>
              <a:avLst/>
              <a:gdLst>
                <a:gd name="T0" fmla="*/ 1121 w 1180"/>
                <a:gd name="T1" fmla="*/ 728 h 1080"/>
                <a:gd name="T2" fmla="*/ 1003 w 1180"/>
                <a:gd name="T3" fmla="*/ 672 h 1080"/>
                <a:gd name="T4" fmla="*/ 935 w 1180"/>
                <a:gd name="T5" fmla="*/ 616 h 1080"/>
                <a:gd name="T6" fmla="*/ 902 w 1180"/>
                <a:gd name="T7" fmla="*/ 584 h 1080"/>
                <a:gd name="T8" fmla="*/ 817 w 1180"/>
                <a:gd name="T9" fmla="*/ 592 h 1080"/>
                <a:gd name="T10" fmla="*/ 733 w 1180"/>
                <a:gd name="T11" fmla="*/ 528 h 1080"/>
                <a:gd name="T12" fmla="*/ 683 w 1180"/>
                <a:gd name="T13" fmla="*/ 448 h 1080"/>
                <a:gd name="T14" fmla="*/ 556 w 1180"/>
                <a:gd name="T15" fmla="*/ 344 h 1080"/>
                <a:gd name="T16" fmla="*/ 523 w 1180"/>
                <a:gd name="T17" fmla="*/ 280 h 1080"/>
                <a:gd name="T18" fmla="*/ 548 w 1180"/>
                <a:gd name="T19" fmla="*/ 240 h 1080"/>
                <a:gd name="T20" fmla="*/ 531 w 1180"/>
                <a:gd name="T21" fmla="*/ 216 h 1080"/>
                <a:gd name="T22" fmla="*/ 556 w 1180"/>
                <a:gd name="T23" fmla="*/ 184 h 1080"/>
                <a:gd name="T24" fmla="*/ 649 w 1180"/>
                <a:gd name="T25" fmla="*/ 144 h 1080"/>
                <a:gd name="T26" fmla="*/ 649 w 1180"/>
                <a:gd name="T27" fmla="*/ 56 h 1080"/>
                <a:gd name="T28" fmla="*/ 514 w 1180"/>
                <a:gd name="T29" fmla="*/ 0 h 1080"/>
                <a:gd name="T30" fmla="*/ 405 w 1180"/>
                <a:gd name="T31" fmla="*/ 40 h 1080"/>
                <a:gd name="T32" fmla="*/ 354 w 1180"/>
                <a:gd name="T33" fmla="*/ 64 h 1080"/>
                <a:gd name="T34" fmla="*/ 295 w 1180"/>
                <a:gd name="T35" fmla="*/ 80 h 1080"/>
                <a:gd name="T36" fmla="*/ 228 w 1180"/>
                <a:gd name="T37" fmla="*/ 152 h 1080"/>
                <a:gd name="T38" fmla="*/ 118 w 1180"/>
                <a:gd name="T39" fmla="*/ 136 h 1080"/>
                <a:gd name="T40" fmla="*/ 42 w 1180"/>
                <a:gd name="T41" fmla="*/ 208 h 1080"/>
                <a:gd name="T42" fmla="*/ 25 w 1180"/>
                <a:gd name="T43" fmla="*/ 272 h 1080"/>
                <a:gd name="T44" fmla="*/ 93 w 1180"/>
                <a:gd name="T45" fmla="*/ 352 h 1080"/>
                <a:gd name="T46" fmla="*/ 93 w 1180"/>
                <a:gd name="T47" fmla="*/ 392 h 1080"/>
                <a:gd name="T48" fmla="*/ 160 w 1180"/>
                <a:gd name="T49" fmla="*/ 344 h 1080"/>
                <a:gd name="T50" fmla="*/ 202 w 1180"/>
                <a:gd name="T51" fmla="*/ 320 h 1080"/>
                <a:gd name="T52" fmla="*/ 261 w 1180"/>
                <a:gd name="T53" fmla="*/ 352 h 1080"/>
                <a:gd name="T54" fmla="*/ 312 w 1180"/>
                <a:gd name="T55" fmla="*/ 368 h 1080"/>
                <a:gd name="T56" fmla="*/ 337 w 1180"/>
                <a:gd name="T57" fmla="*/ 424 h 1080"/>
                <a:gd name="T58" fmla="*/ 371 w 1180"/>
                <a:gd name="T59" fmla="*/ 496 h 1080"/>
                <a:gd name="T60" fmla="*/ 430 w 1180"/>
                <a:gd name="T61" fmla="*/ 552 h 1080"/>
                <a:gd name="T62" fmla="*/ 497 w 1180"/>
                <a:gd name="T63" fmla="*/ 592 h 1080"/>
                <a:gd name="T64" fmla="*/ 607 w 1180"/>
                <a:gd name="T65" fmla="*/ 680 h 1080"/>
                <a:gd name="T66" fmla="*/ 649 w 1180"/>
                <a:gd name="T67" fmla="*/ 688 h 1080"/>
                <a:gd name="T68" fmla="*/ 742 w 1180"/>
                <a:gd name="T69" fmla="*/ 744 h 1080"/>
                <a:gd name="T70" fmla="*/ 775 w 1180"/>
                <a:gd name="T71" fmla="*/ 752 h 1080"/>
                <a:gd name="T72" fmla="*/ 809 w 1180"/>
                <a:gd name="T73" fmla="*/ 768 h 1080"/>
                <a:gd name="T74" fmla="*/ 851 w 1180"/>
                <a:gd name="T75" fmla="*/ 824 h 1080"/>
                <a:gd name="T76" fmla="*/ 927 w 1180"/>
                <a:gd name="T77" fmla="*/ 856 h 1080"/>
                <a:gd name="T78" fmla="*/ 978 w 1180"/>
                <a:gd name="T79" fmla="*/ 984 h 1080"/>
                <a:gd name="T80" fmla="*/ 935 w 1180"/>
                <a:gd name="T81" fmla="*/ 1000 h 1080"/>
                <a:gd name="T82" fmla="*/ 927 w 1180"/>
                <a:gd name="T83" fmla="*/ 1040 h 1080"/>
                <a:gd name="T84" fmla="*/ 935 w 1180"/>
                <a:gd name="T85" fmla="*/ 1072 h 1080"/>
                <a:gd name="T86" fmla="*/ 978 w 1180"/>
                <a:gd name="T87" fmla="*/ 1072 h 1080"/>
                <a:gd name="T88" fmla="*/ 1011 w 1180"/>
                <a:gd name="T89" fmla="*/ 1000 h 1080"/>
                <a:gd name="T90" fmla="*/ 1070 w 1180"/>
                <a:gd name="T91" fmla="*/ 952 h 1080"/>
                <a:gd name="T92" fmla="*/ 1053 w 1180"/>
                <a:gd name="T93" fmla="*/ 888 h 1080"/>
                <a:gd name="T94" fmla="*/ 1003 w 1180"/>
                <a:gd name="T95" fmla="*/ 864 h 1080"/>
                <a:gd name="T96" fmla="*/ 1011 w 1180"/>
                <a:gd name="T97" fmla="*/ 800 h 1080"/>
                <a:gd name="T98" fmla="*/ 1045 w 1180"/>
                <a:gd name="T99" fmla="*/ 768 h 1080"/>
                <a:gd name="T100" fmla="*/ 1146 w 1180"/>
                <a:gd name="T101" fmla="*/ 792 h 1080"/>
                <a:gd name="T102" fmla="*/ 1180 w 1180"/>
                <a:gd name="T103" fmla="*/ 784 h 108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180" h="1080">
                  <a:moveTo>
                    <a:pt x="1155" y="752"/>
                  </a:moveTo>
                  <a:lnTo>
                    <a:pt x="1121" y="728"/>
                  </a:lnTo>
                  <a:lnTo>
                    <a:pt x="1087" y="712"/>
                  </a:lnTo>
                  <a:lnTo>
                    <a:pt x="1003" y="672"/>
                  </a:lnTo>
                  <a:lnTo>
                    <a:pt x="919" y="632"/>
                  </a:lnTo>
                  <a:lnTo>
                    <a:pt x="935" y="616"/>
                  </a:lnTo>
                  <a:lnTo>
                    <a:pt x="927" y="600"/>
                  </a:lnTo>
                  <a:lnTo>
                    <a:pt x="902" y="584"/>
                  </a:lnTo>
                  <a:lnTo>
                    <a:pt x="868" y="592"/>
                  </a:lnTo>
                  <a:lnTo>
                    <a:pt x="817" y="592"/>
                  </a:lnTo>
                  <a:lnTo>
                    <a:pt x="775" y="568"/>
                  </a:lnTo>
                  <a:lnTo>
                    <a:pt x="733" y="528"/>
                  </a:lnTo>
                  <a:lnTo>
                    <a:pt x="708" y="488"/>
                  </a:lnTo>
                  <a:lnTo>
                    <a:pt x="683" y="448"/>
                  </a:lnTo>
                  <a:lnTo>
                    <a:pt x="641" y="408"/>
                  </a:lnTo>
                  <a:lnTo>
                    <a:pt x="556" y="344"/>
                  </a:lnTo>
                  <a:lnTo>
                    <a:pt x="523" y="296"/>
                  </a:lnTo>
                  <a:lnTo>
                    <a:pt x="523" y="280"/>
                  </a:lnTo>
                  <a:lnTo>
                    <a:pt x="539" y="256"/>
                  </a:lnTo>
                  <a:lnTo>
                    <a:pt x="548" y="240"/>
                  </a:lnTo>
                  <a:lnTo>
                    <a:pt x="539" y="224"/>
                  </a:lnTo>
                  <a:lnTo>
                    <a:pt x="531" y="216"/>
                  </a:lnTo>
                  <a:lnTo>
                    <a:pt x="531" y="200"/>
                  </a:lnTo>
                  <a:lnTo>
                    <a:pt x="556" y="184"/>
                  </a:lnTo>
                  <a:lnTo>
                    <a:pt x="641" y="152"/>
                  </a:lnTo>
                  <a:lnTo>
                    <a:pt x="649" y="144"/>
                  </a:lnTo>
                  <a:lnTo>
                    <a:pt x="641" y="88"/>
                  </a:lnTo>
                  <a:lnTo>
                    <a:pt x="649" y="56"/>
                  </a:lnTo>
                  <a:lnTo>
                    <a:pt x="531" y="24"/>
                  </a:lnTo>
                  <a:lnTo>
                    <a:pt x="514" y="0"/>
                  </a:lnTo>
                  <a:lnTo>
                    <a:pt x="438" y="8"/>
                  </a:lnTo>
                  <a:lnTo>
                    <a:pt x="405" y="40"/>
                  </a:lnTo>
                  <a:lnTo>
                    <a:pt x="371" y="32"/>
                  </a:lnTo>
                  <a:lnTo>
                    <a:pt x="354" y="64"/>
                  </a:lnTo>
                  <a:lnTo>
                    <a:pt x="320" y="64"/>
                  </a:lnTo>
                  <a:lnTo>
                    <a:pt x="295" y="80"/>
                  </a:lnTo>
                  <a:lnTo>
                    <a:pt x="253" y="72"/>
                  </a:lnTo>
                  <a:lnTo>
                    <a:pt x="228" y="152"/>
                  </a:lnTo>
                  <a:lnTo>
                    <a:pt x="160" y="72"/>
                  </a:lnTo>
                  <a:lnTo>
                    <a:pt x="118" y="136"/>
                  </a:lnTo>
                  <a:lnTo>
                    <a:pt x="25" y="144"/>
                  </a:lnTo>
                  <a:lnTo>
                    <a:pt x="42" y="208"/>
                  </a:lnTo>
                  <a:lnTo>
                    <a:pt x="0" y="232"/>
                  </a:lnTo>
                  <a:lnTo>
                    <a:pt x="25" y="272"/>
                  </a:lnTo>
                  <a:lnTo>
                    <a:pt x="17" y="320"/>
                  </a:lnTo>
                  <a:lnTo>
                    <a:pt x="93" y="352"/>
                  </a:lnTo>
                  <a:lnTo>
                    <a:pt x="76" y="392"/>
                  </a:lnTo>
                  <a:lnTo>
                    <a:pt x="93" y="392"/>
                  </a:lnTo>
                  <a:lnTo>
                    <a:pt x="135" y="376"/>
                  </a:lnTo>
                  <a:lnTo>
                    <a:pt x="160" y="344"/>
                  </a:lnTo>
                  <a:lnTo>
                    <a:pt x="177" y="328"/>
                  </a:lnTo>
                  <a:lnTo>
                    <a:pt x="202" y="320"/>
                  </a:lnTo>
                  <a:lnTo>
                    <a:pt x="244" y="336"/>
                  </a:lnTo>
                  <a:lnTo>
                    <a:pt x="261" y="352"/>
                  </a:lnTo>
                  <a:lnTo>
                    <a:pt x="278" y="368"/>
                  </a:lnTo>
                  <a:lnTo>
                    <a:pt x="312" y="368"/>
                  </a:lnTo>
                  <a:lnTo>
                    <a:pt x="329" y="384"/>
                  </a:lnTo>
                  <a:lnTo>
                    <a:pt x="337" y="424"/>
                  </a:lnTo>
                  <a:lnTo>
                    <a:pt x="362" y="472"/>
                  </a:lnTo>
                  <a:lnTo>
                    <a:pt x="371" y="496"/>
                  </a:lnTo>
                  <a:lnTo>
                    <a:pt x="396" y="512"/>
                  </a:lnTo>
                  <a:lnTo>
                    <a:pt x="430" y="552"/>
                  </a:lnTo>
                  <a:lnTo>
                    <a:pt x="472" y="576"/>
                  </a:lnTo>
                  <a:lnTo>
                    <a:pt x="497" y="592"/>
                  </a:lnTo>
                  <a:lnTo>
                    <a:pt x="514" y="608"/>
                  </a:lnTo>
                  <a:lnTo>
                    <a:pt x="607" y="680"/>
                  </a:lnTo>
                  <a:lnTo>
                    <a:pt x="624" y="696"/>
                  </a:lnTo>
                  <a:lnTo>
                    <a:pt x="649" y="688"/>
                  </a:lnTo>
                  <a:lnTo>
                    <a:pt x="708" y="712"/>
                  </a:lnTo>
                  <a:lnTo>
                    <a:pt x="742" y="744"/>
                  </a:lnTo>
                  <a:lnTo>
                    <a:pt x="767" y="744"/>
                  </a:lnTo>
                  <a:lnTo>
                    <a:pt x="775" y="752"/>
                  </a:lnTo>
                  <a:lnTo>
                    <a:pt x="775" y="768"/>
                  </a:lnTo>
                  <a:lnTo>
                    <a:pt x="809" y="768"/>
                  </a:lnTo>
                  <a:lnTo>
                    <a:pt x="826" y="800"/>
                  </a:lnTo>
                  <a:lnTo>
                    <a:pt x="851" y="824"/>
                  </a:lnTo>
                  <a:lnTo>
                    <a:pt x="893" y="840"/>
                  </a:lnTo>
                  <a:lnTo>
                    <a:pt x="927" y="856"/>
                  </a:lnTo>
                  <a:lnTo>
                    <a:pt x="944" y="904"/>
                  </a:lnTo>
                  <a:lnTo>
                    <a:pt x="978" y="984"/>
                  </a:lnTo>
                  <a:lnTo>
                    <a:pt x="952" y="984"/>
                  </a:lnTo>
                  <a:lnTo>
                    <a:pt x="935" y="1000"/>
                  </a:lnTo>
                  <a:lnTo>
                    <a:pt x="935" y="1016"/>
                  </a:lnTo>
                  <a:lnTo>
                    <a:pt x="927" y="1040"/>
                  </a:lnTo>
                  <a:lnTo>
                    <a:pt x="919" y="1056"/>
                  </a:lnTo>
                  <a:lnTo>
                    <a:pt x="935" y="1072"/>
                  </a:lnTo>
                  <a:lnTo>
                    <a:pt x="952" y="1080"/>
                  </a:lnTo>
                  <a:lnTo>
                    <a:pt x="978" y="1072"/>
                  </a:lnTo>
                  <a:lnTo>
                    <a:pt x="994" y="1040"/>
                  </a:lnTo>
                  <a:lnTo>
                    <a:pt x="1011" y="1000"/>
                  </a:lnTo>
                  <a:lnTo>
                    <a:pt x="1028" y="960"/>
                  </a:lnTo>
                  <a:lnTo>
                    <a:pt x="1070" y="952"/>
                  </a:lnTo>
                  <a:lnTo>
                    <a:pt x="1070" y="904"/>
                  </a:lnTo>
                  <a:lnTo>
                    <a:pt x="1053" y="888"/>
                  </a:lnTo>
                  <a:lnTo>
                    <a:pt x="1028" y="880"/>
                  </a:lnTo>
                  <a:lnTo>
                    <a:pt x="1003" y="864"/>
                  </a:lnTo>
                  <a:lnTo>
                    <a:pt x="994" y="848"/>
                  </a:lnTo>
                  <a:lnTo>
                    <a:pt x="1011" y="800"/>
                  </a:lnTo>
                  <a:lnTo>
                    <a:pt x="1028" y="776"/>
                  </a:lnTo>
                  <a:lnTo>
                    <a:pt x="1045" y="768"/>
                  </a:lnTo>
                  <a:lnTo>
                    <a:pt x="1104" y="776"/>
                  </a:lnTo>
                  <a:lnTo>
                    <a:pt x="1146" y="792"/>
                  </a:lnTo>
                  <a:lnTo>
                    <a:pt x="1180" y="824"/>
                  </a:lnTo>
                  <a:lnTo>
                    <a:pt x="1180" y="784"/>
                  </a:lnTo>
                  <a:lnTo>
                    <a:pt x="1155" y="75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3" name="Freeform 32"/>
            <p:cNvSpPr>
              <a:spLocks/>
            </p:cNvSpPr>
            <p:nvPr>
              <p:custDataLst>
                <p:tags r:id="rId29"/>
              </p:custDataLst>
            </p:nvPr>
          </p:nvSpPr>
          <p:spPr bwMode="auto">
            <a:xfrm>
              <a:off x="2463" y="2496"/>
              <a:ext cx="1146" cy="1088"/>
            </a:xfrm>
            <a:custGeom>
              <a:avLst/>
              <a:gdLst>
                <a:gd name="T0" fmla="*/ 969 w 1146"/>
                <a:gd name="T1" fmla="*/ 600 h 1088"/>
                <a:gd name="T2" fmla="*/ 944 w 1146"/>
                <a:gd name="T3" fmla="*/ 584 h 1088"/>
                <a:gd name="T4" fmla="*/ 986 w 1146"/>
                <a:gd name="T5" fmla="*/ 520 h 1088"/>
                <a:gd name="T6" fmla="*/ 1019 w 1146"/>
                <a:gd name="T7" fmla="*/ 472 h 1088"/>
                <a:gd name="T8" fmla="*/ 1087 w 1146"/>
                <a:gd name="T9" fmla="*/ 448 h 1088"/>
                <a:gd name="T10" fmla="*/ 1112 w 1146"/>
                <a:gd name="T11" fmla="*/ 320 h 1088"/>
                <a:gd name="T12" fmla="*/ 1095 w 1146"/>
                <a:gd name="T13" fmla="*/ 272 h 1088"/>
                <a:gd name="T14" fmla="*/ 1011 w 1146"/>
                <a:gd name="T15" fmla="*/ 248 h 1088"/>
                <a:gd name="T16" fmla="*/ 927 w 1146"/>
                <a:gd name="T17" fmla="*/ 208 h 1088"/>
                <a:gd name="T18" fmla="*/ 851 w 1146"/>
                <a:gd name="T19" fmla="*/ 136 h 1088"/>
                <a:gd name="T20" fmla="*/ 809 w 1146"/>
                <a:gd name="T21" fmla="*/ 112 h 1088"/>
                <a:gd name="T22" fmla="*/ 767 w 1146"/>
                <a:gd name="T23" fmla="*/ 88 h 1088"/>
                <a:gd name="T24" fmla="*/ 708 w 1146"/>
                <a:gd name="T25" fmla="*/ 48 h 1088"/>
                <a:gd name="T26" fmla="*/ 666 w 1146"/>
                <a:gd name="T27" fmla="*/ 0 h 1088"/>
                <a:gd name="T28" fmla="*/ 598 w 1146"/>
                <a:gd name="T29" fmla="*/ 24 h 1088"/>
                <a:gd name="T30" fmla="*/ 564 w 1146"/>
                <a:gd name="T31" fmla="*/ 104 h 1088"/>
                <a:gd name="T32" fmla="*/ 489 w 1146"/>
                <a:gd name="T33" fmla="*/ 136 h 1088"/>
                <a:gd name="T34" fmla="*/ 455 w 1146"/>
                <a:gd name="T35" fmla="*/ 168 h 1088"/>
                <a:gd name="T36" fmla="*/ 413 w 1146"/>
                <a:gd name="T37" fmla="*/ 184 h 1088"/>
                <a:gd name="T38" fmla="*/ 345 w 1146"/>
                <a:gd name="T39" fmla="*/ 160 h 1088"/>
                <a:gd name="T40" fmla="*/ 269 w 1146"/>
                <a:gd name="T41" fmla="*/ 144 h 1088"/>
                <a:gd name="T42" fmla="*/ 303 w 1146"/>
                <a:gd name="T43" fmla="*/ 256 h 1088"/>
                <a:gd name="T44" fmla="*/ 211 w 1146"/>
                <a:gd name="T45" fmla="*/ 240 h 1088"/>
                <a:gd name="T46" fmla="*/ 177 w 1146"/>
                <a:gd name="T47" fmla="*/ 232 h 1088"/>
                <a:gd name="T48" fmla="*/ 126 w 1146"/>
                <a:gd name="T49" fmla="*/ 208 h 1088"/>
                <a:gd name="T50" fmla="*/ 84 w 1146"/>
                <a:gd name="T51" fmla="*/ 216 h 1088"/>
                <a:gd name="T52" fmla="*/ 8 w 1146"/>
                <a:gd name="T53" fmla="*/ 232 h 1088"/>
                <a:gd name="T54" fmla="*/ 8 w 1146"/>
                <a:gd name="T55" fmla="*/ 248 h 1088"/>
                <a:gd name="T56" fmla="*/ 25 w 1146"/>
                <a:gd name="T57" fmla="*/ 272 h 1088"/>
                <a:gd name="T58" fmla="*/ 17 w 1146"/>
                <a:gd name="T59" fmla="*/ 288 h 1088"/>
                <a:gd name="T60" fmla="*/ 42 w 1146"/>
                <a:gd name="T61" fmla="*/ 312 h 1088"/>
                <a:gd name="T62" fmla="*/ 109 w 1146"/>
                <a:gd name="T63" fmla="*/ 328 h 1088"/>
                <a:gd name="T64" fmla="*/ 160 w 1146"/>
                <a:gd name="T65" fmla="*/ 368 h 1088"/>
                <a:gd name="T66" fmla="*/ 194 w 1146"/>
                <a:gd name="T67" fmla="*/ 400 h 1088"/>
                <a:gd name="T68" fmla="*/ 211 w 1146"/>
                <a:gd name="T69" fmla="*/ 448 h 1088"/>
                <a:gd name="T70" fmla="*/ 269 w 1146"/>
                <a:gd name="T71" fmla="*/ 536 h 1088"/>
                <a:gd name="T72" fmla="*/ 278 w 1146"/>
                <a:gd name="T73" fmla="*/ 584 h 1088"/>
                <a:gd name="T74" fmla="*/ 295 w 1146"/>
                <a:gd name="T75" fmla="*/ 640 h 1088"/>
                <a:gd name="T76" fmla="*/ 236 w 1146"/>
                <a:gd name="T77" fmla="*/ 776 h 1088"/>
                <a:gd name="T78" fmla="*/ 177 w 1146"/>
                <a:gd name="T79" fmla="*/ 872 h 1088"/>
                <a:gd name="T80" fmla="*/ 160 w 1146"/>
                <a:gd name="T81" fmla="*/ 888 h 1088"/>
                <a:gd name="T82" fmla="*/ 244 w 1146"/>
                <a:gd name="T83" fmla="*/ 960 h 1088"/>
                <a:gd name="T84" fmla="*/ 320 w 1146"/>
                <a:gd name="T85" fmla="*/ 992 h 1088"/>
                <a:gd name="T86" fmla="*/ 396 w 1146"/>
                <a:gd name="T87" fmla="*/ 1024 h 1088"/>
                <a:gd name="T88" fmla="*/ 522 w 1146"/>
                <a:gd name="T89" fmla="*/ 1056 h 1088"/>
                <a:gd name="T90" fmla="*/ 607 w 1146"/>
                <a:gd name="T91" fmla="*/ 1088 h 1088"/>
                <a:gd name="T92" fmla="*/ 640 w 1146"/>
                <a:gd name="T93" fmla="*/ 1064 h 1088"/>
                <a:gd name="T94" fmla="*/ 632 w 1146"/>
                <a:gd name="T95" fmla="*/ 992 h 1088"/>
                <a:gd name="T96" fmla="*/ 682 w 1146"/>
                <a:gd name="T97" fmla="*/ 944 h 1088"/>
                <a:gd name="T98" fmla="*/ 750 w 1146"/>
                <a:gd name="T99" fmla="*/ 928 h 1088"/>
                <a:gd name="T100" fmla="*/ 876 w 1146"/>
                <a:gd name="T101" fmla="*/ 968 h 1088"/>
                <a:gd name="T102" fmla="*/ 944 w 1146"/>
                <a:gd name="T103" fmla="*/ 984 h 1088"/>
                <a:gd name="T104" fmla="*/ 969 w 1146"/>
                <a:gd name="T105" fmla="*/ 968 h 1088"/>
                <a:gd name="T106" fmla="*/ 1019 w 1146"/>
                <a:gd name="T107" fmla="*/ 928 h 1088"/>
                <a:gd name="T108" fmla="*/ 1087 w 1146"/>
                <a:gd name="T109" fmla="*/ 864 h 1088"/>
                <a:gd name="T110" fmla="*/ 1019 w 1146"/>
                <a:gd name="T111" fmla="*/ 784 h 1088"/>
                <a:gd name="T112" fmla="*/ 1036 w 1146"/>
                <a:gd name="T113" fmla="*/ 720 h 1088"/>
                <a:gd name="T114" fmla="*/ 1036 w 1146"/>
                <a:gd name="T115" fmla="*/ 656 h 1088"/>
                <a:gd name="T116" fmla="*/ 1011 w 1146"/>
                <a:gd name="T117" fmla="*/ 616 h 10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146" h="1088">
                  <a:moveTo>
                    <a:pt x="1011" y="616"/>
                  </a:moveTo>
                  <a:lnTo>
                    <a:pt x="969" y="600"/>
                  </a:lnTo>
                  <a:lnTo>
                    <a:pt x="935" y="616"/>
                  </a:lnTo>
                  <a:lnTo>
                    <a:pt x="944" y="584"/>
                  </a:lnTo>
                  <a:lnTo>
                    <a:pt x="977" y="544"/>
                  </a:lnTo>
                  <a:lnTo>
                    <a:pt x="986" y="520"/>
                  </a:lnTo>
                  <a:lnTo>
                    <a:pt x="1011" y="504"/>
                  </a:lnTo>
                  <a:lnTo>
                    <a:pt x="1019" y="472"/>
                  </a:lnTo>
                  <a:lnTo>
                    <a:pt x="1053" y="464"/>
                  </a:lnTo>
                  <a:lnTo>
                    <a:pt x="1087" y="448"/>
                  </a:lnTo>
                  <a:lnTo>
                    <a:pt x="1104" y="360"/>
                  </a:lnTo>
                  <a:lnTo>
                    <a:pt x="1112" y="320"/>
                  </a:lnTo>
                  <a:lnTo>
                    <a:pt x="1146" y="288"/>
                  </a:lnTo>
                  <a:lnTo>
                    <a:pt x="1095" y="272"/>
                  </a:lnTo>
                  <a:lnTo>
                    <a:pt x="1036" y="256"/>
                  </a:lnTo>
                  <a:lnTo>
                    <a:pt x="1011" y="248"/>
                  </a:lnTo>
                  <a:lnTo>
                    <a:pt x="986" y="216"/>
                  </a:lnTo>
                  <a:lnTo>
                    <a:pt x="927" y="208"/>
                  </a:lnTo>
                  <a:lnTo>
                    <a:pt x="868" y="168"/>
                  </a:lnTo>
                  <a:lnTo>
                    <a:pt x="851" y="136"/>
                  </a:lnTo>
                  <a:lnTo>
                    <a:pt x="809" y="144"/>
                  </a:lnTo>
                  <a:lnTo>
                    <a:pt x="809" y="112"/>
                  </a:lnTo>
                  <a:lnTo>
                    <a:pt x="767" y="96"/>
                  </a:lnTo>
                  <a:lnTo>
                    <a:pt x="767" y="88"/>
                  </a:lnTo>
                  <a:lnTo>
                    <a:pt x="733" y="72"/>
                  </a:lnTo>
                  <a:lnTo>
                    <a:pt x="708" y="48"/>
                  </a:lnTo>
                  <a:lnTo>
                    <a:pt x="682" y="16"/>
                  </a:lnTo>
                  <a:lnTo>
                    <a:pt x="666" y="0"/>
                  </a:lnTo>
                  <a:lnTo>
                    <a:pt x="623" y="8"/>
                  </a:lnTo>
                  <a:lnTo>
                    <a:pt x="598" y="24"/>
                  </a:lnTo>
                  <a:lnTo>
                    <a:pt x="581" y="88"/>
                  </a:lnTo>
                  <a:lnTo>
                    <a:pt x="564" y="104"/>
                  </a:lnTo>
                  <a:lnTo>
                    <a:pt x="539" y="120"/>
                  </a:lnTo>
                  <a:lnTo>
                    <a:pt x="489" y="136"/>
                  </a:lnTo>
                  <a:lnTo>
                    <a:pt x="463" y="144"/>
                  </a:lnTo>
                  <a:lnTo>
                    <a:pt x="455" y="168"/>
                  </a:lnTo>
                  <a:lnTo>
                    <a:pt x="446" y="184"/>
                  </a:lnTo>
                  <a:lnTo>
                    <a:pt x="413" y="184"/>
                  </a:lnTo>
                  <a:lnTo>
                    <a:pt x="362" y="168"/>
                  </a:lnTo>
                  <a:lnTo>
                    <a:pt x="345" y="160"/>
                  </a:lnTo>
                  <a:lnTo>
                    <a:pt x="328" y="144"/>
                  </a:lnTo>
                  <a:lnTo>
                    <a:pt x="269" y="144"/>
                  </a:lnTo>
                  <a:lnTo>
                    <a:pt x="295" y="200"/>
                  </a:lnTo>
                  <a:lnTo>
                    <a:pt x="303" y="256"/>
                  </a:lnTo>
                  <a:lnTo>
                    <a:pt x="253" y="248"/>
                  </a:lnTo>
                  <a:lnTo>
                    <a:pt x="211" y="240"/>
                  </a:lnTo>
                  <a:lnTo>
                    <a:pt x="194" y="248"/>
                  </a:lnTo>
                  <a:lnTo>
                    <a:pt x="177" y="232"/>
                  </a:lnTo>
                  <a:lnTo>
                    <a:pt x="152" y="208"/>
                  </a:lnTo>
                  <a:lnTo>
                    <a:pt x="126" y="208"/>
                  </a:lnTo>
                  <a:lnTo>
                    <a:pt x="109" y="216"/>
                  </a:lnTo>
                  <a:lnTo>
                    <a:pt x="84" y="216"/>
                  </a:lnTo>
                  <a:lnTo>
                    <a:pt x="34" y="216"/>
                  </a:lnTo>
                  <a:lnTo>
                    <a:pt x="8" y="232"/>
                  </a:lnTo>
                  <a:lnTo>
                    <a:pt x="0" y="240"/>
                  </a:lnTo>
                  <a:lnTo>
                    <a:pt x="8" y="248"/>
                  </a:lnTo>
                  <a:lnTo>
                    <a:pt x="50" y="272"/>
                  </a:lnTo>
                  <a:lnTo>
                    <a:pt x="25" y="272"/>
                  </a:lnTo>
                  <a:lnTo>
                    <a:pt x="17" y="280"/>
                  </a:lnTo>
                  <a:lnTo>
                    <a:pt x="17" y="288"/>
                  </a:lnTo>
                  <a:lnTo>
                    <a:pt x="25" y="304"/>
                  </a:lnTo>
                  <a:lnTo>
                    <a:pt x="42" y="312"/>
                  </a:lnTo>
                  <a:lnTo>
                    <a:pt x="76" y="320"/>
                  </a:lnTo>
                  <a:lnTo>
                    <a:pt x="109" y="328"/>
                  </a:lnTo>
                  <a:lnTo>
                    <a:pt x="135" y="352"/>
                  </a:lnTo>
                  <a:lnTo>
                    <a:pt x="160" y="368"/>
                  </a:lnTo>
                  <a:lnTo>
                    <a:pt x="185" y="376"/>
                  </a:lnTo>
                  <a:lnTo>
                    <a:pt x="194" y="400"/>
                  </a:lnTo>
                  <a:lnTo>
                    <a:pt x="219" y="424"/>
                  </a:lnTo>
                  <a:lnTo>
                    <a:pt x="211" y="448"/>
                  </a:lnTo>
                  <a:lnTo>
                    <a:pt x="244" y="512"/>
                  </a:lnTo>
                  <a:lnTo>
                    <a:pt x="269" y="536"/>
                  </a:lnTo>
                  <a:lnTo>
                    <a:pt x="286" y="560"/>
                  </a:lnTo>
                  <a:lnTo>
                    <a:pt x="278" y="584"/>
                  </a:lnTo>
                  <a:lnTo>
                    <a:pt x="253" y="592"/>
                  </a:lnTo>
                  <a:lnTo>
                    <a:pt x="295" y="640"/>
                  </a:lnTo>
                  <a:lnTo>
                    <a:pt x="269" y="632"/>
                  </a:lnTo>
                  <a:lnTo>
                    <a:pt x="236" y="776"/>
                  </a:lnTo>
                  <a:lnTo>
                    <a:pt x="202" y="848"/>
                  </a:lnTo>
                  <a:lnTo>
                    <a:pt x="177" y="872"/>
                  </a:lnTo>
                  <a:lnTo>
                    <a:pt x="143" y="880"/>
                  </a:lnTo>
                  <a:lnTo>
                    <a:pt x="160" y="888"/>
                  </a:lnTo>
                  <a:lnTo>
                    <a:pt x="211" y="928"/>
                  </a:lnTo>
                  <a:lnTo>
                    <a:pt x="244" y="960"/>
                  </a:lnTo>
                  <a:lnTo>
                    <a:pt x="278" y="968"/>
                  </a:lnTo>
                  <a:lnTo>
                    <a:pt x="320" y="992"/>
                  </a:lnTo>
                  <a:lnTo>
                    <a:pt x="337" y="1016"/>
                  </a:lnTo>
                  <a:lnTo>
                    <a:pt x="396" y="1024"/>
                  </a:lnTo>
                  <a:lnTo>
                    <a:pt x="463" y="1032"/>
                  </a:lnTo>
                  <a:lnTo>
                    <a:pt x="522" y="1056"/>
                  </a:lnTo>
                  <a:lnTo>
                    <a:pt x="581" y="1072"/>
                  </a:lnTo>
                  <a:lnTo>
                    <a:pt x="607" y="1088"/>
                  </a:lnTo>
                  <a:lnTo>
                    <a:pt x="632" y="1080"/>
                  </a:lnTo>
                  <a:lnTo>
                    <a:pt x="640" y="1064"/>
                  </a:lnTo>
                  <a:lnTo>
                    <a:pt x="623" y="1032"/>
                  </a:lnTo>
                  <a:lnTo>
                    <a:pt x="632" y="992"/>
                  </a:lnTo>
                  <a:lnTo>
                    <a:pt x="649" y="968"/>
                  </a:lnTo>
                  <a:lnTo>
                    <a:pt x="682" y="944"/>
                  </a:lnTo>
                  <a:lnTo>
                    <a:pt x="716" y="928"/>
                  </a:lnTo>
                  <a:lnTo>
                    <a:pt x="750" y="928"/>
                  </a:lnTo>
                  <a:lnTo>
                    <a:pt x="842" y="952"/>
                  </a:lnTo>
                  <a:lnTo>
                    <a:pt x="876" y="968"/>
                  </a:lnTo>
                  <a:lnTo>
                    <a:pt x="910" y="984"/>
                  </a:lnTo>
                  <a:lnTo>
                    <a:pt x="944" y="984"/>
                  </a:lnTo>
                  <a:lnTo>
                    <a:pt x="960" y="976"/>
                  </a:lnTo>
                  <a:lnTo>
                    <a:pt x="969" y="968"/>
                  </a:lnTo>
                  <a:lnTo>
                    <a:pt x="977" y="960"/>
                  </a:lnTo>
                  <a:lnTo>
                    <a:pt x="1019" y="928"/>
                  </a:lnTo>
                  <a:lnTo>
                    <a:pt x="1070" y="904"/>
                  </a:lnTo>
                  <a:lnTo>
                    <a:pt x="1087" y="864"/>
                  </a:lnTo>
                  <a:lnTo>
                    <a:pt x="1011" y="832"/>
                  </a:lnTo>
                  <a:lnTo>
                    <a:pt x="1019" y="784"/>
                  </a:lnTo>
                  <a:lnTo>
                    <a:pt x="994" y="744"/>
                  </a:lnTo>
                  <a:lnTo>
                    <a:pt x="1036" y="720"/>
                  </a:lnTo>
                  <a:lnTo>
                    <a:pt x="1019" y="656"/>
                  </a:lnTo>
                  <a:lnTo>
                    <a:pt x="1036" y="656"/>
                  </a:lnTo>
                  <a:lnTo>
                    <a:pt x="1019" y="632"/>
                  </a:lnTo>
                  <a:lnTo>
                    <a:pt x="1011" y="616"/>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4" name="Freeform 33"/>
            <p:cNvSpPr>
              <a:spLocks/>
            </p:cNvSpPr>
            <p:nvPr>
              <p:custDataLst>
                <p:tags r:id="rId30"/>
              </p:custDataLst>
            </p:nvPr>
          </p:nvSpPr>
          <p:spPr bwMode="auto">
            <a:xfrm>
              <a:off x="3457" y="3008"/>
              <a:ext cx="1180" cy="1080"/>
            </a:xfrm>
            <a:custGeom>
              <a:avLst/>
              <a:gdLst>
                <a:gd name="T0" fmla="*/ 1121 w 1180"/>
                <a:gd name="T1" fmla="*/ 728 h 1080"/>
                <a:gd name="T2" fmla="*/ 1003 w 1180"/>
                <a:gd name="T3" fmla="*/ 672 h 1080"/>
                <a:gd name="T4" fmla="*/ 935 w 1180"/>
                <a:gd name="T5" fmla="*/ 616 h 1080"/>
                <a:gd name="T6" fmla="*/ 902 w 1180"/>
                <a:gd name="T7" fmla="*/ 584 h 1080"/>
                <a:gd name="T8" fmla="*/ 817 w 1180"/>
                <a:gd name="T9" fmla="*/ 592 h 1080"/>
                <a:gd name="T10" fmla="*/ 733 w 1180"/>
                <a:gd name="T11" fmla="*/ 528 h 1080"/>
                <a:gd name="T12" fmla="*/ 683 w 1180"/>
                <a:gd name="T13" fmla="*/ 448 h 1080"/>
                <a:gd name="T14" fmla="*/ 556 w 1180"/>
                <a:gd name="T15" fmla="*/ 344 h 1080"/>
                <a:gd name="T16" fmla="*/ 523 w 1180"/>
                <a:gd name="T17" fmla="*/ 280 h 1080"/>
                <a:gd name="T18" fmla="*/ 548 w 1180"/>
                <a:gd name="T19" fmla="*/ 240 h 1080"/>
                <a:gd name="T20" fmla="*/ 531 w 1180"/>
                <a:gd name="T21" fmla="*/ 216 h 1080"/>
                <a:gd name="T22" fmla="*/ 556 w 1180"/>
                <a:gd name="T23" fmla="*/ 184 h 1080"/>
                <a:gd name="T24" fmla="*/ 649 w 1180"/>
                <a:gd name="T25" fmla="*/ 144 h 1080"/>
                <a:gd name="T26" fmla="*/ 649 w 1180"/>
                <a:gd name="T27" fmla="*/ 56 h 1080"/>
                <a:gd name="T28" fmla="*/ 514 w 1180"/>
                <a:gd name="T29" fmla="*/ 0 h 1080"/>
                <a:gd name="T30" fmla="*/ 405 w 1180"/>
                <a:gd name="T31" fmla="*/ 40 h 1080"/>
                <a:gd name="T32" fmla="*/ 354 w 1180"/>
                <a:gd name="T33" fmla="*/ 64 h 1080"/>
                <a:gd name="T34" fmla="*/ 295 w 1180"/>
                <a:gd name="T35" fmla="*/ 80 h 1080"/>
                <a:gd name="T36" fmla="*/ 228 w 1180"/>
                <a:gd name="T37" fmla="*/ 152 h 1080"/>
                <a:gd name="T38" fmla="*/ 118 w 1180"/>
                <a:gd name="T39" fmla="*/ 136 h 1080"/>
                <a:gd name="T40" fmla="*/ 42 w 1180"/>
                <a:gd name="T41" fmla="*/ 208 h 1080"/>
                <a:gd name="T42" fmla="*/ 25 w 1180"/>
                <a:gd name="T43" fmla="*/ 272 h 1080"/>
                <a:gd name="T44" fmla="*/ 93 w 1180"/>
                <a:gd name="T45" fmla="*/ 352 h 1080"/>
                <a:gd name="T46" fmla="*/ 93 w 1180"/>
                <a:gd name="T47" fmla="*/ 392 h 1080"/>
                <a:gd name="T48" fmla="*/ 160 w 1180"/>
                <a:gd name="T49" fmla="*/ 344 h 1080"/>
                <a:gd name="T50" fmla="*/ 202 w 1180"/>
                <a:gd name="T51" fmla="*/ 320 h 1080"/>
                <a:gd name="T52" fmla="*/ 261 w 1180"/>
                <a:gd name="T53" fmla="*/ 352 h 1080"/>
                <a:gd name="T54" fmla="*/ 312 w 1180"/>
                <a:gd name="T55" fmla="*/ 368 h 1080"/>
                <a:gd name="T56" fmla="*/ 337 w 1180"/>
                <a:gd name="T57" fmla="*/ 424 h 1080"/>
                <a:gd name="T58" fmla="*/ 371 w 1180"/>
                <a:gd name="T59" fmla="*/ 496 h 1080"/>
                <a:gd name="T60" fmla="*/ 430 w 1180"/>
                <a:gd name="T61" fmla="*/ 552 h 1080"/>
                <a:gd name="T62" fmla="*/ 497 w 1180"/>
                <a:gd name="T63" fmla="*/ 592 h 1080"/>
                <a:gd name="T64" fmla="*/ 607 w 1180"/>
                <a:gd name="T65" fmla="*/ 680 h 1080"/>
                <a:gd name="T66" fmla="*/ 649 w 1180"/>
                <a:gd name="T67" fmla="*/ 688 h 1080"/>
                <a:gd name="T68" fmla="*/ 742 w 1180"/>
                <a:gd name="T69" fmla="*/ 744 h 1080"/>
                <a:gd name="T70" fmla="*/ 775 w 1180"/>
                <a:gd name="T71" fmla="*/ 752 h 1080"/>
                <a:gd name="T72" fmla="*/ 809 w 1180"/>
                <a:gd name="T73" fmla="*/ 768 h 1080"/>
                <a:gd name="T74" fmla="*/ 851 w 1180"/>
                <a:gd name="T75" fmla="*/ 824 h 1080"/>
                <a:gd name="T76" fmla="*/ 927 w 1180"/>
                <a:gd name="T77" fmla="*/ 856 h 1080"/>
                <a:gd name="T78" fmla="*/ 978 w 1180"/>
                <a:gd name="T79" fmla="*/ 984 h 1080"/>
                <a:gd name="T80" fmla="*/ 935 w 1180"/>
                <a:gd name="T81" fmla="*/ 1000 h 1080"/>
                <a:gd name="T82" fmla="*/ 927 w 1180"/>
                <a:gd name="T83" fmla="*/ 1040 h 1080"/>
                <a:gd name="T84" fmla="*/ 935 w 1180"/>
                <a:gd name="T85" fmla="*/ 1072 h 1080"/>
                <a:gd name="T86" fmla="*/ 978 w 1180"/>
                <a:gd name="T87" fmla="*/ 1072 h 1080"/>
                <a:gd name="T88" fmla="*/ 1011 w 1180"/>
                <a:gd name="T89" fmla="*/ 1000 h 1080"/>
                <a:gd name="T90" fmla="*/ 1070 w 1180"/>
                <a:gd name="T91" fmla="*/ 952 h 1080"/>
                <a:gd name="T92" fmla="*/ 1053 w 1180"/>
                <a:gd name="T93" fmla="*/ 888 h 1080"/>
                <a:gd name="T94" fmla="*/ 1003 w 1180"/>
                <a:gd name="T95" fmla="*/ 864 h 1080"/>
                <a:gd name="T96" fmla="*/ 1011 w 1180"/>
                <a:gd name="T97" fmla="*/ 800 h 1080"/>
                <a:gd name="T98" fmla="*/ 1045 w 1180"/>
                <a:gd name="T99" fmla="*/ 768 h 1080"/>
                <a:gd name="T100" fmla="*/ 1146 w 1180"/>
                <a:gd name="T101" fmla="*/ 792 h 1080"/>
                <a:gd name="T102" fmla="*/ 1180 w 1180"/>
                <a:gd name="T103" fmla="*/ 784 h 1080"/>
                <a:gd name="T104" fmla="*/ 1155 w 1180"/>
                <a:gd name="T105" fmla="*/ 752 h 108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180" h="1080">
                  <a:moveTo>
                    <a:pt x="1155" y="752"/>
                  </a:moveTo>
                  <a:lnTo>
                    <a:pt x="1121" y="728"/>
                  </a:lnTo>
                  <a:lnTo>
                    <a:pt x="1087" y="712"/>
                  </a:lnTo>
                  <a:lnTo>
                    <a:pt x="1003" y="672"/>
                  </a:lnTo>
                  <a:lnTo>
                    <a:pt x="919" y="632"/>
                  </a:lnTo>
                  <a:lnTo>
                    <a:pt x="935" y="616"/>
                  </a:lnTo>
                  <a:lnTo>
                    <a:pt x="927" y="600"/>
                  </a:lnTo>
                  <a:lnTo>
                    <a:pt x="902" y="584"/>
                  </a:lnTo>
                  <a:lnTo>
                    <a:pt x="868" y="592"/>
                  </a:lnTo>
                  <a:lnTo>
                    <a:pt x="817" y="592"/>
                  </a:lnTo>
                  <a:lnTo>
                    <a:pt x="775" y="568"/>
                  </a:lnTo>
                  <a:lnTo>
                    <a:pt x="733" y="528"/>
                  </a:lnTo>
                  <a:lnTo>
                    <a:pt x="708" y="488"/>
                  </a:lnTo>
                  <a:lnTo>
                    <a:pt x="683" y="448"/>
                  </a:lnTo>
                  <a:lnTo>
                    <a:pt x="641" y="408"/>
                  </a:lnTo>
                  <a:lnTo>
                    <a:pt x="556" y="344"/>
                  </a:lnTo>
                  <a:lnTo>
                    <a:pt x="523" y="296"/>
                  </a:lnTo>
                  <a:lnTo>
                    <a:pt x="523" y="280"/>
                  </a:lnTo>
                  <a:lnTo>
                    <a:pt x="539" y="256"/>
                  </a:lnTo>
                  <a:lnTo>
                    <a:pt x="548" y="240"/>
                  </a:lnTo>
                  <a:lnTo>
                    <a:pt x="539" y="224"/>
                  </a:lnTo>
                  <a:lnTo>
                    <a:pt x="531" y="216"/>
                  </a:lnTo>
                  <a:lnTo>
                    <a:pt x="531" y="200"/>
                  </a:lnTo>
                  <a:lnTo>
                    <a:pt x="556" y="184"/>
                  </a:lnTo>
                  <a:lnTo>
                    <a:pt x="641" y="152"/>
                  </a:lnTo>
                  <a:lnTo>
                    <a:pt x="649" y="144"/>
                  </a:lnTo>
                  <a:lnTo>
                    <a:pt x="641" y="88"/>
                  </a:lnTo>
                  <a:lnTo>
                    <a:pt x="649" y="56"/>
                  </a:lnTo>
                  <a:lnTo>
                    <a:pt x="531" y="24"/>
                  </a:lnTo>
                  <a:lnTo>
                    <a:pt x="514" y="0"/>
                  </a:lnTo>
                  <a:lnTo>
                    <a:pt x="438" y="8"/>
                  </a:lnTo>
                  <a:lnTo>
                    <a:pt x="405" y="40"/>
                  </a:lnTo>
                  <a:lnTo>
                    <a:pt x="371" y="32"/>
                  </a:lnTo>
                  <a:lnTo>
                    <a:pt x="354" y="64"/>
                  </a:lnTo>
                  <a:lnTo>
                    <a:pt x="320" y="64"/>
                  </a:lnTo>
                  <a:lnTo>
                    <a:pt x="295" y="80"/>
                  </a:lnTo>
                  <a:lnTo>
                    <a:pt x="253" y="72"/>
                  </a:lnTo>
                  <a:lnTo>
                    <a:pt x="228" y="152"/>
                  </a:lnTo>
                  <a:lnTo>
                    <a:pt x="160" y="72"/>
                  </a:lnTo>
                  <a:lnTo>
                    <a:pt x="118" y="136"/>
                  </a:lnTo>
                  <a:lnTo>
                    <a:pt x="25" y="144"/>
                  </a:lnTo>
                  <a:lnTo>
                    <a:pt x="42" y="208"/>
                  </a:lnTo>
                  <a:lnTo>
                    <a:pt x="0" y="232"/>
                  </a:lnTo>
                  <a:lnTo>
                    <a:pt x="25" y="272"/>
                  </a:lnTo>
                  <a:lnTo>
                    <a:pt x="17" y="320"/>
                  </a:lnTo>
                  <a:lnTo>
                    <a:pt x="93" y="352"/>
                  </a:lnTo>
                  <a:lnTo>
                    <a:pt x="76" y="392"/>
                  </a:lnTo>
                  <a:lnTo>
                    <a:pt x="93" y="392"/>
                  </a:lnTo>
                  <a:lnTo>
                    <a:pt x="135" y="376"/>
                  </a:lnTo>
                  <a:lnTo>
                    <a:pt x="160" y="344"/>
                  </a:lnTo>
                  <a:lnTo>
                    <a:pt x="177" y="328"/>
                  </a:lnTo>
                  <a:lnTo>
                    <a:pt x="202" y="320"/>
                  </a:lnTo>
                  <a:lnTo>
                    <a:pt x="244" y="336"/>
                  </a:lnTo>
                  <a:lnTo>
                    <a:pt x="261" y="352"/>
                  </a:lnTo>
                  <a:lnTo>
                    <a:pt x="278" y="368"/>
                  </a:lnTo>
                  <a:lnTo>
                    <a:pt x="312" y="368"/>
                  </a:lnTo>
                  <a:lnTo>
                    <a:pt x="329" y="384"/>
                  </a:lnTo>
                  <a:lnTo>
                    <a:pt x="337" y="424"/>
                  </a:lnTo>
                  <a:lnTo>
                    <a:pt x="362" y="472"/>
                  </a:lnTo>
                  <a:lnTo>
                    <a:pt x="371" y="496"/>
                  </a:lnTo>
                  <a:lnTo>
                    <a:pt x="396" y="512"/>
                  </a:lnTo>
                  <a:lnTo>
                    <a:pt x="430" y="552"/>
                  </a:lnTo>
                  <a:lnTo>
                    <a:pt x="472" y="576"/>
                  </a:lnTo>
                  <a:lnTo>
                    <a:pt x="497" y="592"/>
                  </a:lnTo>
                  <a:lnTo>
                    <a:pt x="514" y="608"/>
                  </a:lnTo>
                  <a:lnTo>
                    <a:pt x="607" y="680"/>
                  </a:lnTo>
                  <a:lnTo>
                    <a:pt x="624" y="696"/>
                  </a:lnTo>
                  <a:lnTo>
                    <a:pt x="649" y="688"/>
                  </a:lnTo>
                  <a:lnTo>
                    <a:pt x="708" y="712"/>
                  </a:lnTo>
                  <a:lnTo>
                    <a:pt x="742" y="744"/>
                  </a:lnTo>
                  <a:lnTo>
                    <a:pt x="767" y="744"/>
                  </a:lnTo>
                  <a:lnTo>
                    <a:pt x="775" y="752"/>
                  </a:lnTo>
                  <a:lnTo>
                    <a:pt x="775" y="768"/>
                  </a:lnTo>
                  <a:lnTo>
                    <a:pt x="809" y="768"/>
                  </a:lnTo>
                  <a:lnTo>
                    <a:pt x="826" y="800"/>
                  </a:lnTo>
                  <a:lnTo>
                    <a:pt x="851" y="824"/>
                  </a:lnTo>
                  <a:lnTo>
                    <a:pt x="893" y="840"/>
                  </a:lnTo>
                  <a:lnTo>
                    <a:pt x="927" y="856"/>
                  </a:lnTo>
                  <a:lnTo>
                    <a:pt x="944" y="904"/>
                  </a:lnTo>
                  <a:lnTo>
                    <a:pt x="978" y="984"/>
                  </a:lnTo>
                  <a:lnTo>
                    <a:pt x="952" y="984"/>
                  </a:lnTo>
                  <a:lnTo>
                    <a:pt x="935" y="1000"/>
                  </a:lnTo>
                  <a:lnTo>
                    <a:pt x="935" y="1016"/>
                  </a:lnTo>
                  <a:lnTo>
                    <a:pt x="927" y="1040"/>
                  </a:lnTo>
                  <a:lnTo>
                    <a:pt x="919" y="1056"/>
                  </a:lnTo>
                  <a:lnTo>
                    <a:pt x="935" y="1072"/>
                  </a:lnTo>
                  <a:lnTo>
                    <a:pt x="952" y="1080"/>
                  </a:lnTo>
                  <a:lnTo>
                    <a:pt x="978" y="1072"/>
                  </a:lnTo>
                  <a:lnTo>
                    <a:pt x="994" y="1040"/>
                  </a:lnTo>
                  <a:lnTo>
                    <a:pt x="1011" y="1000"/>
                  </a:lnTo>
                  <a:lnTo>
                    <a:pt x="1028" y="960"/>
                  </a:lnTo>
                  <a:lnTo>
                    <a:pt x="1070" y="952"/>
                  </a:lnTo>
                  <a:lnTo>
                    <a:pt x="1070" y="904"/>
                  </a:lnTo>
                  <a:lnTo>
                    <a:pt x="1053" y="888"/>
                  </a:lnTo>
                  <a:lnTo>
                    <a:pt x="1028" y="880"/>
                  </a:lnTo>
                  <a:lnTo>
                    <a:pt x="1003" y="864"/>
                  </a:lnTo>
                  <a:lnTo>
                    <a:pt x="994" y="848"/>
                  </a:lnTo>
                  <a:lnTo>
                    <a:pt x="1011" y="800"/>
                  </a:lnTo>
                  <a:lnTo>
                    <a:pt x="1028" y="776"/>
                  </a:lnTo>
                  <a:lnTo>
                    <a:pt x="1045" y="768"/>
                  </a:lnTo>
                  <a:lnTo>
                    <a:pt x="1104" y="776"/>
                  </a:lnTo>
                  <a:lnTo>
                    <a:pt x="1146" y="792"/>
                  </a:lnTo>
                  <a:lnTo>
                    <a:pt x="1180" y="824"/>
                  </a:lnTo>
                  <a:lnTo>
                    <a:pt x="1180" y="784"/>
                  </a:lnTo>
                  <a:lnTo>
                    <a:pt x="1155" y="752"/>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5" name="Freeform 34"/>
            <p:cNvSpPr>
              <a:spLocks/>
            </p:cNvSpPr>
            <p:nvPr>
              <p:custDataLst>
                <p:tags r:id="rId31"/>
              </p:custDataLst>
            </p:nvPr>
          </p:nvSpPr>
          <p:spPr bwMode="auto">
            <a:xfrm>
              <a:off x="2463" y="2496"/>
              <a:ext cx="1146" cy="1088"/>
            </a:xfrm>
            <a:custGeom>
              <a:avLst/>
              <a:gdLst>
                <a:gd name="T0" fmla="*/ 969 w 1146"/>
                <a:gd name="T1" fmla="*/ 600 h 1088"/>
                <a:gd name="T2" fmla="*/ 944 w 1146"/>
                <a:gd name="T3" fmla="*/ 584 h 1088"/>
                <a:gd name="T4" fmla="*/ 986 w 1146"/>
                <a:gd name="T5" fmla="*/ 520 h 1088"/>
                <a:gd name="T6" fmla="*/ 1019 w 1146"/>
                <a:gd name="T7" fmla="*/ 472 h 1088"/>
                <a:gd name="T8" fmla="*/ 1087 w 1146"/>
                <a:gd name="T9" fmla="*/ 448 h 1088"/>
                <a:gd name="T10" fmla="*/ 1112 w 1146"/>
                <a:gd name="T11" fmla="*/ 320 h 1088"/>
                <a:gd name="T12" fmla="*/ 1095 w 1146"/>
                <a:gd name="T13" fmla="*/ 272 h 1088"/>
                <a:gd name="T14" fmla="*/ 1011 w 1146"/>
                <a:gd name="T15" fmla="*/ 248 h 1088"/>
                <a:gd name="T16" fmla="*/ 927 w 1146"/>
                <a:gd name="T17" fmla="*/ 208 h 1088"/>
                <a:gd name="T18" fmla="*/ 851 w 1146"/>
                <a:gd name="T19" fmla="*/ 136 h 1088"/>
                <a:gd name="T20" fmla="*/ 809 w 1146"/>
                <a:gd name="T21" fmla="*/ 112 h 1088"/>
                <a:gd name="T22" fmla="*/ 767 w 1146"/>
                <a:gd name="T23" fmla="*/ 88 h 1088"/>
                <a:gd name="T24" fmla="*/ 708 w 1146"/>
                <a:gd name="T25" fmla="*/ 48 h 1088"/>
                <a:gd name="T26" fmla="*/ 666 w 1146"/>
                <a:gd name="T27" fmla="*/ 0 h 1088"/>
                <a:gd name="T28" fmla="*/ 598 w 1146"/>
                <a:gd name="T29" fmla="*/ 24 h 1088"/>
                <a:gd name="T30" fmla="*/ 564 w 1146"/>
                <a:gd name="T31" fmla="*/ 104 h 1088"/>
                <a:gd name="T32" fmla="*/ 489 w 1146"/>
                <a:gd name="T33" fmla="*/ 136 h 1088"/>
                <a:gd name="T34" fmla="*/ 455 w 1146"/>
                <a:gd name="T35" fmla="*/ 168 h 1088"/>
                <a:gd name="T36" fmla="*/ 413 w 1146"/>
                <a:gd name="T37" fmla="*/ 184 h 1088"/>
                <a:gd name="T38" fmla="*/ 345 w 1146"/>
                <a:gd name="T39" fmla="*/ 160 h 1088"/>
                <a:gd name="T40" fmla="*/ 269 w 1146"/>
                <a:gd name="T41" fmla="*/ 144 h 1088"/>
                <a:gd name="T42" fmla="*/ 303 w 1146"/>
                <a:gd name="T43" fmla="*/ 256 h 1088"/>
                <a:gd name="T44" fmla="*/ 211 w 1146"/>
                <a:gd name="T45" fmla="*/ 240 h 1088"/>
                <a:gd name="T46" fmla="*/ 177 w 1146"/>
                <a:gd name="T47" fmla="*/ 232 h 1088"/>
                <a:gd name="T48" fmla="*/ 126 w 1146"/>
                <a:gd name="T49" fmla="*/ 208 h 1088"/>
                <a:gd name="T50" fmla="*/ 84 w 1146"/>
                <a:gd name="T51" fmla="*/ 216 h 1088"/>
                <a:gd name="T52" fmla="*/ 8 w 1146"/>
                <a:gd name="T53" fmla="*/ 232 h 1088"/>
                <a:gd name="T54" fmla="*/ 8 w 1146"/>
                <a:gd name="T55" fmla="*/ 248 h 1088"/>
                <a:gd name="T56" fmla="*/ 25 w 1146"/>
                <a:gd name="T57" fmla="*/ 272 h 1088"/>
                <a:gd name="T58" fmla="*/ 17 w 1146"/>
                <a:gd name="T59" fmla="*/ 288 h 1088"/>
                <a:gd name="T60" fmla="*/ 42 w 1146"/>
                <a:gd name="T61" fmla="*/ 312 h 1088"/>
                <a:gd name="T62" fmla="*/ 109 w 1146"/>
                <a:gd name="T63" fmla="*/ 328 h 1088"/>
                <a:gd name="T64" fmla="*/ 160 w 1146"/>
                <a:gd name="T65" fmla="*/ 368 h 1088"/>
                <a:gd name="T66" fmla="*/ 194 w 1146"/>
                <a:gd name="T67" fmla="*/ 400 h 1088"/>
                <a:gd name="T68" fmla="*/ 211 w 1146"/>
                <a:gd name="T69" fmla="*/ 448 h 1088"/>
                <a:gd name="T70" fmla="*/ 269 w 1146"/>
                <a:gd name="T71" fmla="*/ 536 h 1088"/>
                <a:gd name="T72" fmla="*/ 278 w 1146"/>
                <a:gd name="T73" fmla="*/ 584 h 1088"/>
                <a:gd name="T74" fmla="*/ 295 w 1146"/>
                <a:gd name="T75" fmla="*/ 640 h 1088"/>
                <a:gd name="T76" fmla="*/ 236 w 1146"/>
                <a:gd name="T77" fmla="*/ 776 h 1088"/>
                <a:gd name="T78" fmla="*/ 177 w 1146"/>
                <a:gd name="T79" fmla="*/ 872 h 1088"/>
                <a:gd name="T80" fmla="*/ 160 w 1146"/>
                <a:gd name="T81" fmla="*/ 888 h 1088"/>
                <a:gd name="T82" fmla="*/ 244 w 1146"/>
                <a:gd name="T83" fmla="*/ 960 h 1088"/>
                <a:gd name="T84" fmla="*/ 320 w 1146"/>
                <a:gd name="T85" fmla="*/ 992 h 1088"/>
                <a:gd name="T86" fmla="*/ 396 w 1146"/>
                <a:gd name="T87" fmla="*/ 1024 h 1088"/>
                <a:gd name="T88" fmla="*/ 522 w 1146"/>
                <a:gd name="T89" fmla="*/ 1056 h 1088"/>
                <a:gd name="T90" fmla="*/ 607 w 1146"/>
                <a:gd name="T91" fmla="*/ 1088 h 1088"/>
                <a:gd name="T92" fmla="*/ 632 w 1146"/>
                <a:gd name="T93" fmla="*/ 1080 h 1088"/>
                <a:gd name="T94" fmla="*/ 623 w 1146"/>
                <a:gd name="T95" fmla="*/ 1032 h 1088"/>
                <a:gd name="T96" fmla="*/ 649 w 1146"/>
                <a:gd name="T97" fmla="*/ 968 h 1088"/>
                <a:gd name="T98" fmla="*/ 716 w 1146"/>
                <a:gd name="T99" fmla="*/ 928 h 1088"/>
                <a:gd name="T100" fmla="*/ 842 w 1146"/>
                <a:gd name="T101" fmla="*/ 952 h 1088"/>
                <a:gd name="T102" fmla="*/ 910 w 1146"/>
                <a:gd name="T103" fmla="*/ 984 h 1088"/>
                <a:gd name="T104" fmla="*/ 960 w 1146"/>
                <a:gd name="T105" fmla="*/ 976 h 1088"/>
                <a:gd name="T106" fmla="*/ 977 w 1146"/>
                <a:gd name="T107" fmla="*/ 960 h 1088"/>
                <a:gd name="T108" fmla="*/ 1070 w 1146"/>
                <a:gd name="T109" fmla="*/ 904 h 1088"/>
                <a:gd name="T110" fmla="*/ 1011 w 1146"/>
                <a:gd name="T111" fmla="*/ 832 h 1088"/>
                <a:gd name="T112" fmla="*/ 994 w 1146"/>
                <a:gd name="T113" fmla="*/ 744 h 1088"/>
                <a:gd name="T114" fmla="*/ 1019 w 1146"/>
                <a:gd name="T115" fmla="*/ 656 h 1088"/>
                <a:gd name="T116" fmla="*/ 1019 w 1146"/>
                <a:gd name="T117" fmla="*/ 632 h 10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146" h="1088">
                  <a:moveTo>
                    <a:pt x="1011" y="616"/>
                  </a:moveTo>
                  <a:lnTo>
                    <a:pt x="969" y="600"/>
                  </a:lnTo>
                  <a:lnTo>
                    <a:pt x="935" y="616"/>
                  </a:lnTo>
                  <a:lnTo>
                    <a:pt x="944" y="584"/>
                  </a:lnTo>
                  <a:lnTo>
                    <a:pt x="977" y="544"/>
                  </a:lnTo>
                  <a:lnTo>
                    <a:pt x="986" y="520"/>
                  </a:lnTo>
                  <a:lnTo>
                    <a:pt x="1011" y="504"/>
                  </a:lnTo>
                  <a:lnTo>
                    <a:pt x="1019" y="472"/>
                  </a:lnTo>
                  <a:lnTo>
                    <a:pt x="1053" y="464"/>
                  </a:lnTo>
                  <a:lnTo>
                    <a:pt x="1087" y="448"/>
                  </a:lnTo>
                  <a:lnTo>
                    <a:pt x="1104" y="360"/>
                  </a:lnTo>
                  <a:lnTo>
                    <a:pt x="1112" y="320"/>
                  </a:lnTo>
                  <a:lnTo>
                    <a:pt x="1146" y="288"/>
                  </a:lnTo>
                  <a:lnTo>
                    <a:pt x="1095" y="272"/>
                  </a:lnTo>
                  <a:lnTo>
                    <a:pt x="1036" y="256"/>
                  </a:lnTo>
                  <a:lnTo>
                    <a:pt x="1011" y="248"/>
                  </a:lnTo>
                  <a:lnTo>
                    <a:pt x="986" y="216"/>
                  </a:lnTo>
                  <a:lnTo>
                    <a:pt x="927" y="208"/>
                  </a:lnTo>
                  <a:lnTo>
                    <a:pt x="868" y="168"/>
                  </a:lnTo>
                  <a:lnTo>
                    <a:pt x="851" y="136"/>
                  </a:lnTo>
                  <a:lnTo>
                    <a:pt x="809" y="144"/>
                  </a:lnTo>
                  <a:lnTo>
                    <a:pt x="809" y="112"/>
                  </a:lnTo>
                  <a:lnTo>
                    <a:pt x="767" y="96"/>
                  </a:lnTo>
                  <a:lnTo>
                    <a:pt x="767" y="88"/>
                  </a:lnTo>
                  <a:lnTo>
                    <a:pt x="733" y="72"/>
                  </a:lnTo>
                  <a:lnTo>
                    <a:pt x="708" y="48"/>
                  </a:lnTo>
                  <a:lnTo>
                    <a:pt x="682" y="16"/>
                  </a:lnTo>
                  <a:lnTo>
                    <a:pt x="666" y="0"/>
                  </a:lnTo>
                  <a:lnTo>
                    <a:pt x="623" y="8"/>
                  </a:lnTo>
                  <a:lnTo>
                    <a:pt x="598" y="24"/>
                  </a:lnTo>
                  <a:lnTo>
                    <a:pt x="581" y="88"/>
                  </a:lnTo>
                  <a:lnTo>
                    <a:pt x="564" y="104"/>
                  </a:lnTo>
                  <a:lnTo>
                    <a:pt x="539" y="120"/>
                  </a:lnTo>
                  <a:lnTo>
                    <a:pt x="489" y="136"/>
                  </a:lnTo>
                  <a:lnTo>
                    <a:pt x="463" y="144"/>
                  </a:lnTo>
                  <a:lnTo>
                    <a:pt x="455" y="168"/>
                  </a:lnTo>
                  <a:lnTo>
                    <a:pt x="446" y="184"/>
                  </a:lnTo>
                  <a:lnTo>
                    <a:pt x="413" y="184"/>
                  </a:lnTo>
                  <a:lnTo>
                    <a:pt x="362" y="168"/>
                  </a:lnTo>
                  <a:lnTo>
                    <a:pt x="345" y="160"/>
                  </a:lnTo>
                  <a:lnTo>
                    <a:pt x="328" y="144"/>
                  </a:lnTo>
                  <a:lnTo>
                    <a:pt x="269" y="144"/>
                  </a:lnTo>
                  <a:lnTo>
                    <a:pt x="295" y="200"/>
                  </a:lnTo>
                  <a:lnTo>
                    <a:pt x="303" y="256"/>
                  </a:lnTo>
                  <a:lnTo>
                    <a:pt x="253" y="248"/>
                  </a:lnTo>
                  <a:lnTo>
                    <a:pt x="211" y="240"/>
                  </a:lnTo>
                  <a:lnTo>
                    <a:pt x="194" y="248"/>
                  </a:lnTo>
                  <a:lnTo>
                    <a:pt x="177" y="232"/>
                  </a:lnTo>
                  <a:lnTo>
                    <a:pt x="152" y="208"/>
                  </a:lnTo>
                  <a:lnTo>
                    <a:pt x="126" y="208"/>
                  </a:lnTo>
                  <a:lnTo>
                    <a:pt x="109" y="216"/>
                  </a:lnTo>
                  <a:lnTo>
                    <a:pt x="84" y="216"/>
                  </a:lnTo>
                  <a:lnTo>
                    <a:pt x="34" y="216"/>
                  </a:lnTo>
                  <a:lnTo>
                    <a:pt x="8" y="232"/>
                  </a:lnTo>
                  <a:lnTo>
                    <a:pt x="0" y="240"/>
                  </a:lnTo>
                  <a:lnTo>
                    <a:pt x="8" y="248"/>
                  </a:lnTo>
                  <a:lnTo>
                    <a:pt x="50" y="272"/>
                  </a:lnTo>
                  <a:lnTo>
                    <a:pt x="25" y="272"/>
                  </a:lnTo>
                  <a:lnTo>
                    <a:pt x="17" y="280"/>
                  </a:lnTo>
                  <a:lnTo>
                    <a:pt x="17" y="288"/>
                  </a:lnTo>
                  <a:lnTo>
                    <a:pt x="25" y="304"/>
                  </a:lnTo>
                  <a:lnTo>
                    <a:pt x="42" y="312"/>
                  </a:lnTo>
                  <a:lnTo>
                    <a:pt x="76" y="320"/>
                  </a:lnTo>
                  <a:lnTo>
                    <a:pt x="109" y="328"/>
                  </a:lnTo>
                  <a:lnTo>
                    <a:pt x="135" y="352"/>
                  </a:lnTo>
                  <a:lnTo>
                    <a:pt x="160" y="368"/>
                  </a:lnTo>
                  <a:lnTo>
                    <a:pt x="185" y="376"/>
                  </a:lnTo>
                  <a:lnTo>
                    <a:pt x="194" y="400"/>
                  </a:lnTo>
                  <a:lnTo>
                    <a:pt x="219" y="424"/>
                  </a:lnTo>
                  <a:lnTo>
                    <a:pt x="211" y="448"/>
                  </a:lnTo>
                  <a:lnTo>
                    <a:pt x="244" y="512"/>
                  </a:lnTo>
                  <a:lnTo>
                    <a:pt x="269" y="536"/>
                  </a:lnTo>
                  <a:lnTo>
                    <a:pt x="286" y="560"/>
                  </a:lnTo>
                  <a:lnTo>
                    <a:pt x="278" y="584"/>
                  </a:lnTo>
                  <a:lnTo>
                    <a:pt x="253" y="592"/>
                  </a:lnTo>
                  <a:lnTo>
                    <a:pt x="295" y="640"/>
                  </a:lnTo>
                  <a:lnTo>
                    <a:pt x="269" y="632"/>
                  </a:lnTo>
                  <a:lnTo>
                    <a:pt x="236" y="776"/>
                  </a:lnTo>
                  <a:lnTo>
                    <a:pt x="202" y="848"/>
                  </a:lnTo>
                  <a:lnTo>
                    <a:pt x="177" y="872"/>
                  </a:lnTo>
                  <a:lnTo>
                    <a:pt x="143" y="880"/>
                  </a:lnTo>
                  <a:lnTo>
                    <a:pt x="160" y="888"/>
                  </a:lnTo>
                  <a:lnTo>
                    <a:pt x="211" y="928"/>
                  </a:lnTo>
                  <a:lnTo>
                    <a:pt x="244" y="960"/>
                  </a:lnTo>
                  <a:lnTo>
                    <a:pt x="278" y="968"/>
                  </a:lnTo>
                  <a:lnTo>
                    <a:pt x="320" y="992"/>
                  </a:lnTo>
                  <a:lnTo>
                    <a:pt x="337" y="1016"/>
                  </a:lnTo>
                  <a:lnTo>
                    <a:pt x="396" y="1024"/>
                  </a:lnTo>
                  <a:lnTo>
                    <a:pt x="463" y="1032"/>
                  </a:lnTo>
                  <a:lnTo>
                    <a:pt x="522" y="1056"/>
                  </a:lnTo>
                  <a:lnTo>
                    <a:pt x="581" y="1072"/>
                  </a:lnTo>
                  <a:lnTo>
                    <a:pt x="607" y="1088"/>
                  </a:lnTo>
                  <a:lnTo>
                    <a:pt x="632" y="1080"/>
                  </a:lnTo>
                  <a:lnTo>
                    <a:pt x="640" y="1064"/>
                  </a:lnTo>
                  <a:lnTo>
                    <a:pt x="623" y="1032"/>
                  </a:lnTo>
                  <a:lnTo>
                    <a:pt x="632" y="992"/>
                  </a:lnTo>
                  <a:lnTo>
                    <a:pt x="649" y="968"/>
                  </a:lnTo>
                  <a:lnTo>
                    <a:pt x="682" y="944"/>
                  </a:lnTo>
                  <a:lnTo>
                    <a:pt x="716" y="928"/>
                  </a:lnTo>
                  <a:lnTo>
                    <a:pt x="750" y="928"/>
                  </a:lnTo>
                  <a:lnTo>
                    <a:pt x="842" y="952"/>
                  </a:lnTo>
                  <a:lnTo>
                    <a:pt x="876" y="968"/>
                  </a:lnTo>
                  <a:lnTo>
                    <a:pt x="910" y="984"/>
                  </a:lnTo>
                  <a:lnTo>
                    <a:pt x="944" y="984"/>
                  </a:lnTo>
                  <a:lnTo>
                    <a:pt x="960" y="976"/>
                  </a:lnTo>
                  <a:lnTo>
                    <a:pt x="969" y="968"/>
                  </a:lnTo>
                  <a:lnTo>
                    <a:pt x="977" y="960"/>
                  </a:lnTo>
                  <a:lnTo>
                    <a:pt x="1019" y="928"/>
                  </a:lnTo>
                  <a:lnTo>
                    <a:pt x="1070" y="904"/>
                  </a:lnTo>
                  <a:lnTo>
                    <a:pt x="1087" y="864"/>
                  </a:lnTo>
                  <a:lnTo>
                    <a:pt x="1011" y="832"/>
                  </a:lnTo>
                  <a:lnTo>
                    <a:pt x="1019" y="784"/>
                  </a:lnTo>
                  <a:lnTo>
                    <a:pt x="994" y="744"/>
                  </a:lnTo>
                  <a:lnTo>
                    <a:pt x="1036" y="720"/>
                  </a:lnTo>
                  <a:lnTo>
                    <a:pt x="1019" y="656"/>
                  </a:lnTo>
                  <a:lnTo>
                    <a:pt x="1036" y="656"/>
                  </a:lnTo>
                  <a:lnTo>
                    <a:pt x="1019" y="632"/>
                  </a:lnTo>
                  <a:lnTo>
                    <a:pt x="1011" y="616"/>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6" name="Freeform 35"/>
            <p:cNvSpPr>
              <a:spLocks/>
            </p:cNvSpPr>
            <p:nvPr>
              <p:custDataLst>
                <p:tags r:id="rId32"/>
              </p:custDataLst>
            </p:nvPr>
          </p:nvSpPr>
          <p:spPr bwMode="auto">
            <a:xfrm>
              <a:off x="3129" y="2472"/>
              <a:ext cx="328" cy="232"/>
            </a:xfrm>
            <a:custGeom>
              <a:avLst/>
              <a:gdLst>
                <a:gd name="T0" fmla="*/ 278 w 328"/>
                <a:gd name="T1" fmla="*/ 184 h 232"/>
                <a:gd name="T2" fmla="*/ 286 w 328"/>
                <a:gd name="T3" fmla="*/ 168 h 232"/>
                <a:gd name="T4" fmla="*/ 311 w 328"/>
                <a:gd name="T5" fmla="*/ 160 h 232"/>
                <a:gd name="T6" fmla="*/ 328 w 328"/>
                <a:gd name="T7" fmla="*/ 144 h 232"/>
                <a:gd name="T8" fmla="*/ 328 w 328"/>
                <a:gd name="T9" fmla="*/ 112 h 232"/>
                <a:gd name="T10" fmla="*/ 303 w 328"/>
                <a:gd name="T11" fmla="*/ 88 h 232"/>
                <a:gd name="T12" fmla="*/ 269 w 328"/>
                <a:gd name="T13" fmla="*/ 72 h 232"/>
                <a:gd name="T14" fmla="*/ 278 w 328"/>
                <a:gd name="T15" fmla="*/ 48 h 232"/>
                <a:gd name="T16" fmla="*/ 261 w 328"/>
                <a:gd name="T17" fmla="*/ 24 h 232"/>
                <a:gd name="T18" fmla="*/ 219 w 328"/>
                <a:gd name="T19" fmla="*/ 16 h 232"/>
                <a:gd name="T20" fmla="*/ 168 w 328"/>
                <a:gd name="T21" fmla="*/ 8 h 232"/>
                <a:gd name="T22" fmla="*/ 134 w 328"/>
                <a:gd name="T23" fmla="*/ 24 h 232"/>
                <a:gd name="T24" fmla="*/ 101 w 328"/>
                <a:gd name="T25" fmla="*/ 16 h 232"/>
                <a:gd name="T26" fmla="*/ 75 w 328"/>
                <a:gd name="T27" fmla="*/ 0 h 232"/>
                <a:gd name="T28" fmla="*/ 42 w 328"/>
                <a:gd name="T29" fmla="*/ 16 h 232"/>
                <a:gd name="T30" fmla="*/ 0 w 328"/>
                <a:gd name="T31" fmla="*/ 24 h 232"/>
                <a:gd name="T32" fmla="*/ 16 w 328"/>
                <a:gd name="T33" fmla="*/ 40 h 232"/>
                <a:gd name="T34" fmla="*/ 42 w 328"/>
                <a:gd name="T35" fmla="*/ 72 h 232"/>
                <a:gd name="T36" fmla="*/ 67 w 328"/>
                <a:gd name="T37" fmla="*/ 96 h 232"/>
                <a:gd name="T38" fmla="*/ 101 w 328"/>
                <a:gd name="T39" fmla="*/ 112 h 232"/>
                <a:gd name="T40" fmla="*/ 101 w 328"/>
                <a:gd name="T41" fmla="*/ 120 h 232"/>
                <a:gd name="T42" fmla="*/ 143 w 328"/>
                <a:gd name="T43" fmla="*/ 136 h 232"/>
                <a:gd name="T44" fmla="*/ 143 w 328"/>
                <a:gd name="T45" fmla="*/ 168 h 232"/>
                <a:gd name="T46" fmla="*/ 185 w 328"/>
                <a:gd name="T47" fmla="*/ 160 h 232"/>
                <a:gd name="T48" fmla="*/ 202 w 328"/>
                <a:gd name="T49" fmla="*/ 192 h 232"/>
                <a:gd name="T50" fmla="*/ 261 w 328"/>
                <a:gd name="T51" fmla="*/ 232 h 232"/>
                <a:gd name="T52" fmla="*/ 278 w 328"/>
                <a:gd name="T53" fmla="*/ 232 h 232"/>
                <a:gd name="T54" fmla="*/ 278 w 328"/>
                <a:gd name="T55" fmla="*/ 208 h 232"/>
                <a:gd name="T56" fmla="*/ 278 w 328"/>
                <a:gd name="T57" fmla="*/ 184 h 23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28" h="232">
                  <a:moveTo>
                    <a:pt x="278" y="184"/>
                  </a:moveTo>
                  <a:lnTo>
                    <a:pt x="286" y="168"/>
                  </a:lnTo>
                  <a:lnTo>
                    <a:pt x="311" y="160"/>
                  </a:lnTo>
                  <a:lnTo>
                    <a:pt x="328" y="144"/>
                  </a:lnTo>
                  <a:lnTo>
                    <a:pt x="328" y="112"/>
                  </a:lnTo>
                  <a:lnTo>
                    <a:pt x="303" y="88"/>
                  </a:lnTo>
                  <a:lnTo>
                    <a:pt x="269" y="72"/>
                  </a:lnTo>
                  <a:lnTo>
                    <a:pt x="278" y="48"/>
                  </a:lnTo>
                  <a:lnTo>
                    <a:pt x="261" y="24"/>
                  </a:lnTo>
                  <a:lnTo>
                    <a:pt x="219" y="16"/>
                  </a:lnTo>
                  <a:lnTo>
                    <a:pt x="168" y="8"/>
                  </a:lnTo>
                  <a:lnTo>
                    <a:pt x="134" y="24"/>
                  </a:lnTo>
                  <a:lnTo>
                    <a:pt x="101" y="16"/>
                  </a:lnTo>
                  <a:lnTo>
                    <a:pt x="75" y="0"/>
                  </a:lnTo>
                  <a:lnTo>
                    <a:pt x="42" y="16"/>
                  </a:lnTo>
                  <a:lnTo>
                    <a:pt x="0" y="24"/>
                  </a:lnTo>
                  <a:lnTo>
                    <a:pt x="16" y="40"/>
                  </a:lnTo>
                  <a:lnTo>
                    <a:pt x="42" y="72"/>
                  </a:lnTo>
                  <a:lnTo>
                    <a:pt x="67" y="96"/>
                  </a:lnTo>
                  <a:lnTo>
                    <a:pt x="101" y="112"/>
                  </a:lnTo>
                  <a:lnTo>
                    <a:pt x="101" y="120"/>
                  </a:lnTo>
                  <a:lnTo>
                    <a:pt x="143" y="136"/>
                  </a:lnTo>
                  <a:lnTo>
                    <a:pt x="143" y="168"/>
                  </a:lnTo>
                  <a:lnTo>
                    <a:pt x="185" y="160"/>
                  </a:lnTo>
                  <a:lnTo>
                    <a:pt x="202" y="192"/>
                  </a:lnTo>
                  <a:lnTo>
                    <a:pt x="261" y="232"/>
                  </a:lnTo>
                  <a:lnTo>
                    <a:pt x="278" y="232"/>
                  </a:lnTo>
                  <a:lnTo>
                    <a:pt x="278" y="208"/>
                  </a:lnTo>
                  <a:lnTo>
                    <a:pt x="278" y="184"/>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7" name="Freeform 36"/>
            <p:cNvSpPr>
              <a:spLocks/>
            </p:cNvSpPr>
            <p:nvPr>
              <p:custDataLst>
                <p:tags r:id="rId33"/>
              </p:custDataLst>
            </p:nvPr>
          </p:nvSpPr>
          <p:spPr bwMode="auto">
            <a:xfrm>
              <a:off x="3407" y="2632"/>
              <a:ext cx="59" cy="80"/>
            </a:xfrm>
            <a:custGeom>
              <a:avLst/>
              <a:gdLst>
                <a:gd name="T0" fmla="*/ 25 w 59"/>
                <a:gd name="T1" fmla="*/ 24 h 80"/>
                <a:gd name="T2" fmla="*/ 25 w 59"/>
                <a:gd name="T3" fmla="*/ 0 h 80"/>
                <a:gd name="T4" fmla="*/ 8 w 59"/>
                <a:gd name="T5" fmla="*/ 8 h 80"/>
                <a:gd name="T6" fmla="*/ 0 w 59"/>
                <a:gd name="T7" fmla="*/ 24 h 80"/>
                <a:gd name="T8" fmla="*/ 0 w 59"/>
                <a:gd name="T9" fmla="*/ 48 h 80"/>
                <a:gd name="T10" fmla="*/ 0 w 59"/>
                <a:gd name="T11" fmla="*/ 72 h 80"/>
                <a:gd name="T12" fmla="*/ 42 w 59"/>
                <a:gd name="T13" fmla="*/ 80 h 80"/>
                <a:gd name="T14" fmla="*/ 59 w 59"/>
                <a:gd name="T15" fmla="*/ 48 h 80"/>
                <a:gd name="T16" fmla="*/ 25 w 59"/>
                <a:gd name="T17" fmla="*/ 24 h 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9" h="80">
                  <a:moveTo>
                    <a:pt x="25" y="24"/>
                  </a:moveTo>
                  <a:lnTo>
                    <a:pt x="25" y="0"/>
                  </a:lnTo>
                  <a:lnTo>
                    <a:pt x="8" y="8"/>
                  </a:lnTo>
                  <a:lnTo>
                    <a:pt x="0" y="24"/>
                  </a:lnTo>
                  <a:lnTo>
                    <a:pt x="0" y="48"/>
                  </a:lnTo>
                  <a:lnTo>
                    <a:pt x="0" y="72"/>
                  </a:lnTo>
                  <a:lnTo>
                    <a:pt x="42" y="80"/>
                  </a:lnTo>
                  <a:lnTo>
                    <a:pt x="59" y="48"/>
                  </a:lnTo>
                  <a:lnTo>
                    <a:pt x="25" y="2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8" name="Freeform 37"/>
            <p:cNvSpPr>
              <a:spLocks/>
            </p:cNvSpPr>
            <p:nvPr>
              <p:custDataLst>
                <p:tags r:id="rId34"/>
              </p:custDataLst>
            </p:nvPr>
          </p:nvSpPr>
          <p:spPr bwMode="auto">
            <a:xfrm>
              <a:off x="3204" y="2232"/>
              <a:ext cx="337" cy="320"/>
            </a:xfrm>
            <a:custGeom>
              <a:avLst/>
              <a:gdLst>
                <a:gd name="T0" fmla="*/ 236 w 337"/>
                <a:gd name="T1" fmla="*/ 280 h 320"/>
                <a:gd name="T2" fmla="*/ 236 w 337"/>
                <a:gd name="T3" fmla="*/ 232 h 320"/>
                <a:gd name="T4" fmla="*/ 236 w 337"/>
                <a:gd name="T5" fmla="*/ 200 h 320"/>
                <a:gd name="T6" fmla="*/ 287 w 337"/>
                <a:gd name="T7" fmla="*/ 192 h 320"/>
                <a:gd name="T8" fmla="*/ 287 w 337"/>
                <a:gd name="T9" fmla="*/ 168 h 320"/>
                <a:gd name="T10" fmla="*/ 312 w 337"/>
                <a:gd name="T11" fmla="*/ 160 h 320"/>
                <a:gd name="T12" fmla="*/ 321 w 337"/>
                <a:gd name="T13" fmla="*/ 128 h 320"/>
                <a:gd name="T14" fmla="*/ 295 w 337"/>
                <a:gd name="T15" fmla="*/ 104 h 320"/>
                <a:gd name="T16" fmla="*/ 321 w 337"/>
                <a:gd name="T17" fmla="*/ 96 h 320"/>
                <a:gd name="T18" fmla="*/ 337 w 337"/>
                <a:gd name="T19" fmla="*/ 56 h 320"/>
                <a:gd name="T20" fmla="*/ 329 w 337"/>
                <a:gd name="T21" fmla="*/ 16 h 320"/>
                <a:gd name="T22" fmla="*/ 321 w 337"/>
                <a:gd name="T23" fmla="*/ 16 h 320"/>
                <a:gd name="T24" fmla="*/ 304 w 337"/>
                <a:gd name="T25" fmla="*/ 0 h 320"/>
                <a:gd name="T26" fmla="*/ 278 w 337"/>
                <a:gd name="T27" fmla="*/ 0 h 320"/>
                <a:gd name="T28" fmla="*/ 219 w 337"/>
                <a:gd name="T29" fmla="*/ 16 h 320"/>
                <a:gd name="T30" fmla="*/ 203 w 337"/>
                <a:gd name="T31" fmla="*/ 24 h 320"/>
                <a:gd name="T32" fmla="*/ 194 w 337"/>
                <a:gd name="T33" fmla="*/ 48 h 320"/>
                <a:gd name="T34" fmla="*/ 203 w 337"/>
                <a:gd name="T35" fmla="*/ 72 h 320"/>
                <a:gd name="T36" fmla="*/ 219 w 337"/>
                <a:gd name="T37" fmla="*/ 96 h 320"/>
                <a:gd name="T38" fmla="*/ 228 w 337"/>
                <a:gd name="T39" fmla="*/ 112 h 320"/>
                <a:gd name="T40" fmla="*/ 211 w 337"/>
                <a:gd name="T41" fmla="*/ 128 h 320"/>
                <a:gd name="T42" fmla="*/ 186 w 337"/>
                <a:gd name="T43" fmla="*/ 136 h 320"/>
                <a:gd name="T44" fmla="*/ 160 w 337"/>
                <a:gd name="T45" fmla="*/ 120 h 320"/>
                <a:gd name="T46" fmla="*/ 169 w 337"/>
                <a:gd name="T47" fmla="*/ 72 h 320"/>
                <a:gd name="T48" fmla="*/ 160 w 337"/>
                <a:gd name="T49" fmla="*/ 56 h 320"/>
                <a:gd name="T50" fmla="*/ 152 w 337"/>
                <a:gd name="T51" fmla="*/ 32 h 320"/>
                <a:gd name="T52" fmla="*/ 110 w 337"/>
                <a:gd name="T53" fmla="*/ 128 h 320"/>
                <a:gd name="T54" fmla="*/ 76 w 337"/>
                <a:gd name="T55" fmla="*/ 168 h 320"/>
                <a:gd name="T56" fmla="*/ 68 w 337"/>
                <a:gd name="T57" fmla="*/ 216 h 320"/>
                <a:gd name="T58" fmla="*/ 42 w 337"/>
                <a:gd name="T59" fmla="*/ 216 h 320"/>
                <a:gd name="T60" fmla="*/ 34 w 337"/>
                <a:gd name="T61" fmla="*/ 216 h 320"/>
                <a:gd name="T62" fmla="*/ 26 w 337"/>
                <a:gd name="T63" fmla="*/ 232 h 320"/>
                <a:gd name="T64" fmla="*/ 0 w 337"/>
                <a:gd name="T65" fmla="*/ 240 h 320"/>
                <a:gd name="T66" fmla="*/ 26 w 337"/>
                <a:gd name="T67" fmla="*/ 256 h 320"/>
                <a:gd name="T68" fmla="*/ 59 w 337"/>
                <a:gd name="T69" fmla="*/ 264 h 320"/>
                <a:gd name="T70" fmla="*/ 93 w 337"/>
                <a:gd name="T71" fmla="*/ 248 h 320"/>
                <a:gd name="T72" fmla="*/ 144 w 337"/>
                <a:gd name="T73" fmla="*/ 256 h 320"/>
                <a:gd name="T74" fmla="*/ 186 w 337"/>
                <a:gd name="T75" fmla="*/ 264 h 320"/>
                <a:gd name="T76" fmla="*/ 203 w 337"/>
                <a:gd name="T77" fmla="*/ 288 h 320"/>
                <a:gd name="T78" fmla="*/ 194 w 337"/>
                <a:gd name="T79" fmla="*/ 312 h 320"/>
                <a:gd name="T80" fmla="*/ 219 w 337"/>
                <a:gd name="T81" fmla="*/ 320 h 320"/>
                <a:gd name="T82" fmla="*/ 219 w 337"/>
                <a:gd name="T83" fmla="*/ 296 h 320"/>
                <a:gd name="T84" fmla="*/ 236 w 337"/>
                <a:gd name="T85" fmla="*/ 280 h 32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37" h="320">
                  <a:moveTo>
                    <a:pt x="236" y="280"/>
                  </a:moveTo>
                  <a:lnTo>
                    <a:pt x="236" y="232"/>
                  </a:lnTo>
                  <a:lnTo>
                    <a:pt x="236" y="200"/>
                  </a:lnTo>
                  <a:lnTo>
                    <a:pt x="287" y="192"/>
                  </a:lnTo>
                  <a:lnTo>
                    <a:pt x="287" y="168"/>
                  </a:lnTo>
                  <a:lnTo>
                    <a:pt x="312" y="160"/>
                  </a:lnTo>
                  <a:lnTo>
                    <a:pt x="321" y="128"/>
                  </a:lnTo>
                  <a:lnTo>
                    <a:pt x="295" y="104"/>
                  </a:lnTo>
                  <a:lnTo>
                    <a:pt x="321" y="96"/>
                  </a:lnTo>
                  <a:lnTo>
                    <a:pt x="337" y="56"/>
                  </a:lnTo>
                  <a:lnTo>
                    <a:pt x="329" y="16"/>
                  </a:lnTo>
                  <a:lnTo>
                    <a:pt x="321" y="16"/>
                  </a:lnTo>
                  <a:lnTo>
                    <a:pt x="304" y="0"/>
                  </a:lnTo>
                  <a:lnTo>
                    <a:pt x="278" y="0"/>
                  </a:lnTo>
                  <a:lnTo>
                    <a:pt x="219" y="16"/>
                  </a:lnTo>
                  <a:lnTo>
                    <a:pt x="203" y="24"/>
                  </a:lnTo>
                  <a:lnTo>
                    <a:pt x="194" y="48"/>
                  </a:lnTo>
                  <a:lnTo>
                    <a:pt x="203" y="72"/>
                  </a:lnTo>
                  <a:lnTo>
                    <a:pt x="219" y="96"/>
                  </a:lnTo>
                  <a:lnTo>
                    <a:pt x="228" y="112"/>
                  </a:lnTo>
                  <a:lnTo>
                    <a:pt x="211" y="128"/>
                  </a:lnTo>
                  <a:lnTo>
                    <a:pt x="186" y="136"/>
                  </a:lnTo>
                  <a:lnTo>
                    <a:pt x="160" y="120"/>
                  </a:lnTo>
                  <a:lnTo>
                    <a:pt x="169" y="72"/>
                  </a:lnTo>
                  <a:lnTo>
                    <a:pt x="160" y="56"/>
                  </a:lnTo>
                  <a:lnTo>
                    <a:pt x="152" y="32"/>
                  </a:lnTo>
                  <a:lnTo>
                    <a:pt x="110" y="128"/>
                  </a:lnTo>
                  <a:lnTo>
                    <a:pt x="76" y="168"/>
                  </a:lnTo>
                  <a:lnTo>
                    <a:pt x="68" y="216"/>
                  </a:lnTo>
                  <a:lnTo>
                    <a:pt x="42" y="216"/>
                  </a:lnTo>
                  <a:lnTo>
                    <a:pt x="34" y="216"/>
                  </a:lnTo>
                  <a:lnTo>
                    <a:pt x="26" y="232"/>
                  </a:lnTo>
                  <a:lnTo>
                    <a:pt x="0" y="240"/>
                  </a:lnTo>
                  <a:lnTo>
                    <a:pt x="26" y="256"/>
                  </a:lnTo>
                  <a:lnTo>
                    <a:pt x="59" y="264"/>
                  </a:lnTo>
                  <a:lnTo>
                    <a:pt x="93" y="248"/>
                  </a:lnTo>
                  <a:lnTo>
                    <a:pt x="144" y="256"/>
                  </a:lnTo>
                  <a:lnTo>
                    <a:pt x="186" y="264"/>
                  </a:lnTo>
                  <a:lnTo>
                    <a:pt x="203" y="288"/>
                  </a:lnTo>
                  <a:lnTo>
                    <a:pt x="194" y="312"/>
                  </a:lnTo>
                  <a:lnTo>
                    <a:pt x="219" y="320"/>
                  </a:lnTo>
                  <a:lnTo>
                    <a:pt x="219" y="296"/>
                  </a:lnTo>
                  <a:lnTo>
                    <a:pt x="236" y="28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9" name="Freeform 38"/>
            <p:cNvSpPr>
              <a:spLocks/>
            </p:cNvSpPr>
            <p:nvPr>
              <p:custDataLst>
                <p:tags r:id="rId35"/>
              </p:custDataLst>
            </p:nvPr>
          </p:nvSpPr>
          <p:spPr bwMode="auto">
            <a:xfrm>
              <a:off x="3407" y="2632"/>
              <a:ext cx="59" cy="80"/>
            </a:xfrm>
            <a:custGeom>
              <a:avLst/>
              <a:gdLst>
                <a:gd name="T0" fmla="*/ 25 w 59"/>
                <a:gd name="T1" fmla="*/ 24 h 80"/>
                <a:gd name="T2" fmla="*/ 25 w 59"/>
                <a:gd name="T3" fmla="*/ 0 h 80"/>
                <a:gd name="T4" fmla="*/ 8 w 59"/>
                <a:gd name="T5" fmla="*/ 8 h 80"/>
                <a:gd name="T6" fmla="*/ 0 w 59"/>
                <a:gd name="T7" fmla="*/ 24 h 80"/>
                <a:gd name="T8" fmla="*/ 0 w 59"/>
                <a:gd name="T9" fmla="*/ 48 h 80"/>
                <a:gd name="T10" fmla="*/ 0 w 59"/>
                <a:gd name="T11" fmla="*/ 72 h 80"/>
                <a:gd name="T12" fmla="*/ 42 w 59"/>
                <a:gd name="T13" fmla="*/ 80 h 80"/>
                <a:gd name="T14" fmla="*/ 59 w 59"/>
                <a:gd name="T15" fmla="*/ 48 h 80"/>
                <a:gd name="T16" fmla="*/ 25 w 59"/>
                <a:gd name="T17" fmla="*/ 24 h 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9" h="80">
                  <a:moveTo>
                    <a:pt x="25" y="24"/>
                  </a:moveTo>
                  <a:lnTo>
                    <a:pt x="25" y="0"/>
                  </a:lnTo>
                  <a:lnTo>
                    <a:pt x="8" y="8"/>
                  </a:lnTo>
                  <a:lnTo>
                    <a:pt x="0" y="24"/>
                  </a:lnTo>
                  <a:lnTo>
                    <a:pt x="0" y="48"/>
                  </a:lnTo>
                  <a:lnTo>
                    <a:pt x="0" y="72"/>
                  </a:lnTo>
                  <a:lnTo>
                    <a:pt x="42" y="80"/>
                  </a:lnTo>
                  <a:lnTo>
                    <a:pt x="59" y="48"/>
                  </a:lnTo>
                  <a:lnTo>
                    <a:pt x="25" y="24"/>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0" name="Freeform 39"/>
            <p:cNvSpPr>
              <a:spLocks/>
            </p:cNvSpPr>
            <p:nvPr>
              <p:custDataLst>
                <p:tags r:id="rId36"/>
              </p:custDataLst>
            </p:nvPr>
          </p:nvSpPr>
          <p:spPr bwMode="auto">
            <a:xfrm>
              <a:off x="3204" y="2232"/>
              <a:ext cx="337" cy="320"/>
            </a:xfrm>
            <a:custGeom>
              <a:avLst/>
              <a:gdLst>
                <a:gd name="T0" fmla="*/ 236 w 337"/>
                <a:gd name="T1" fmla="*/ 280 h 320"/>
                <a:gd name="T2" fmla="*/ 236 w 337"/>
                <a:gd name="T3" fmla="*/ 232 h 320"/>
                <a:gd name="T4" fmla="*/ 236 w 337"/>
                <a:gd name="T5" fmla="*/ 200 h 320"/>
                <a:gd name="T6" fmla="*/ 287 w 337"/>
                <a:gd name="T7" fmla="*/ 192 h 320"/>
                <a:gd name="T8" fmla="*/ 287 w 337"/>
                <a:gd name="T9" fmla="*/ 168 h 320"/>
                <a:gd name="T10" fmla="*/ 312 w 337"/>
                <a:gd name="T11" fmla="*/ 160 h 320"/>
                <a:gd name="T12" fmla="*/ 321 w 337"/>
                <a:gd name="T13" fmla="*/ 128 h 320"/>
                <a:gd name="T14" fmla="*/ 295 w 337"/>
                <a:gd name="T15" fmla="*/ 104 h 320"/>
                <a:gd name="T16" fmla="*/ 321 w 337"/>
                <a:gd name="T17" fmla="*/ 96 h 320"/>
                <a:gd name="T18" fmla="*/ 337 w 337"/>
                <a:gd name="T19" fmla="*/ 56 h 320"/>
                <a:gd name="T20" fmla="*/ 329 w 337"/>
                <a:gd name="T21" fmla="*/ 16 h 320"/>
                <a:gd name="T22" fmla="*/ 321 w 337"/>
                <a:gd name="T23" fmla="*/ 16 h 320"/>
                <a:gd name="T24" fmla="*/ 304 w 337"/>
                <a:gd name="T25" fmla="*/ 0 h 320"/>
                <a:gd name="T26" fmla="*/ 278 w 337"/>
                <a:gd name="T27" fmla="*/ 0 h 320"/>
                <a:gd name="T28" fmla="*/ 219 w 337"/>
                <a:gd name="T29" fmla="*/ 16 h 320"/>
                <a:gd name="T30" fmla="*/ 203 w 337"/>
                <a:gd name="T31" fmla="*/ 24 h 320"/>
                <a:gd name="T32" fmla="*/ 194 w 337"/>
                <a:gd name="T33" fmla="*/ 48 h 320"/>
                <a:gd name="T34" fmla="*/ 203 w 337"/>
                <a:gd name="T35" fmla="*/ 72 h 320"/>
                <a:gd name="T36" fmla="*/ 219 w 337"/>
                <a:gd name="T37" fmla="*/ 96 h 320"/>
                <a:gd name="T38" fmla="*/ 228 w 337"/>
                <a:gd name="T39" fmla="*/ 112 h 320"/>
                <a:gd name="T40" fmla="*/ 211 w 337"/>
                <a:gd name="T41" fmla="*/ 128 h 320"/>
                <a:gd name="T42" fmla="*/ 186 w 337"/>
                <a:gd name="T43" fmla="*/ 136 h 320"/>
                <a:gd name="T44" fmla="*/ 160 w 337"/>
                <a:gd name="T45" fmla="*/ 120 h 320"/>
                <a:gd name="T46" fmla="*/ 169 w 337"/>
                <a:gd name="T47" fmla="*/ 72 h 320"/>
                <a:gd name="T48" fmla="*/ 160 w 337"/>
                <a:gd name="T49" fmla="*/ 56 h 320"/>
                <a:gd name="T50" fmla="*/ 152 w 337"/>
                <a:gd name="T51" fmla="*/ 32 h 320"/>
                <a:gd name="T52" fmla="*/ 110 w 337"/>
                <a:gd name="T53" fmla="*/ 128 h 320"/>
                <a:gd name="T54" fmla="*/ 76 w 337"/>
                <a:gd name="T55" fmla="*/ 168 h 320"/>
                <a:gd name="T56" fmla="*/ 68 w 337"/>
                <a:gd name="T57" fmla="*/ 216 h 320"/>
                <a:gd name="T58" fmla="*/ 42 w 337"/>
                <a:gd name="T59" fmla="*/ 216 h 320"/>
                <a:gd name="T60" fmla="*/ 34 w 337"/>
                <a:gd name="T61" fmla="*/ 216 h 320"/>
                <a:gd name="T62" fmla="*/ 26 w 337"/>
                <a:gd name="T63" fmla="*/ 232 h 320"/>
                <a:gd name="T64" fmla="*/ 0 w 337"/>
                <a:gd name="T65" fmla="*/ 240 h 320"/>
                <a:gd name="T66" fmla="*/ 26 w 337"/>
                <a:gd name="T67" fmla="*/ 256 h 320"/>
                <a:gd name="T68" fmla="*/ 59 w 337"/>
                <a:gd name="T69" fmla="*/ 264 h 320"/>
                <a:gd name="T70" fmla="*/ 93 w 337"/>
                <a:gd name="T71" fmla="*/ 248 h 320"/>
                <a:gd name="T72" fmla="*/ 144 w 337"/>
                <a:gd name="T73" fmla="*/ 256 h 320"/>
                <a:gd name="T74" fmla="*/ 186 w 337"/>
                <a:gd name="T75" fmla="*/ 264 h 320"/>
                <a:gd name="T76" fmla="*/ 203 w 337"/>
                <a:gd name="T77" fmla="*/ 288 h 320"/>
                <a:gd name="T78" fmla="*/ 194 w 337"/>
                <a:gd name="T79" fmla="*/ 312 h 320"/>
                <a:gd name="T80" fmla="*/ 219 w 337"/>
                <a:gd name="T81" fmla="*/ 320 h 320"/>
                <a:gd name="T82" fmla="*/ 219 w 337"/>
                <a:gd name="T83" fmla="*/ 296 h 320"/>
                <a:gd name="T84" fmla="*/ 236 w 337"/>
                <a:gd name="T85" fmla="*/ 280 h 32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37" h="320">
                  <a:moveTo>
                    <a:pt x="236" y="280"/>
                  </a:moveTo>
                  <a:lnTo>
                    <a:pt x="236" y="232"/>
                  </a:lnTo>
                  <a:lnTo>
                    <a:pt x="236" y="200"/>
                  </a:lnTo>
                  <a:lnTo>
                    <a:pt x="287" y="192"/>
                  </a:lnTo>
                  <a:lnTo>
                    <a:pt x="287" y="168"/>
                  </a:lnTo>
                  <a:lnTo>
                    <a:pt x="312" y="160"/>
                  </a:lnTo>
                  <a:lnTo>
                    <a:pt x="321" y="128"/>
                  </a:lnTo>
                  <a:lnTo>
                    <a:pt x="295" y="104"/>
                  </a:lnTo>
                  <a:lnTo>
                    <a:pt x="321" y="96"/>
                  </a:lnTo>
                  <a:lnTo>
                    <a:pt x="337" y="56"/>
                  </a:lnTo>
                  <a:lnTo>
                    <a:pt x="329" y="16"/>
                  </a:lnTo>
                  <a:lnTo>
                    <a:pt x="321" y="16"/>
                  </a:lnTo>
                  <a:lnTo>
                    <a:pt x="304" y="0"/>
                  </a:lnTo>
                  <a:lnTo>
                    <a:pt x="278" y="0"/>
                  </a:lnTo>
                  <a:lnTo>
                    <a:pt x="219" y="16"/>
                  </a:lnTo>
                  <a:lnTo>
                    <a:pt x="203" y="24"/>
                  </a:lnTo>
                  <a:lnTo>
                    <a:pt x="194" y="48"/>
                  </a:lnTo>
                  <a:lnTo>
                    <a:pt x="203" y="72"/>
                  </a:lnTo>
                  <a:lnTo>
                    <a:pt x="219" y="96"/>
                  </a:lnTo>
                  <a:lnTo>
                    <a:pt x="228" y="112"/>
                  </a:lnTo>
                  <a:lnTo>
                    <a:pt x="211" y="128"/>
                  </a:lnTo>
                  <a:lnTo>
                    <a:pt x="186" y="136"/>
                  </a:lnTo>
                  <a:lnTo>
                    <a:pt x="160" y="120"/>
                  </a:lnTo>
                  <a:lnTo>
                    <a:pt x="169" y="72"/>
                  </a:lnTo>
                  <a:lnTo>
                    <a:pt x="160" y="56"/>
                  </a:lnTo>
                  <a:lnTo>
                    <a:pt x="152" y="32"/>
                  </a:lnTo>
                  <a:lnTo>
                    <a:pt x="110" y="128"/>
                  </a:lnTo>
                  <a:lnTo>
                    <a:pt x="76" y="168"/>
                  </a:lnTo>
                  <a:lnTo>
                    <a:pt x="68" y="216"/>
                  </a:lnTo>
                  <a:lnTo>
                    <a:pt x="42" y="216"/>
                  </a:lnTo>
                  <a:lnTo>
                    <a:pt x="34" y="216"/>
                  </a:lnTo>
                  <a:lnTo>
                    <a:pt x="26" y="232"/>
                  </a:lnTo>
                  <a:lnTo>
                    <a:pt x="0" y="240"/>
                  </a:lnTo>
                  <a:lnTo>
                    <a:pt x="26" y="256"/>
                  </a:lnTo>
                  <a:lnTo>
                    <a:pt x="59" y="264"/>
                  </a:lnTo>
                  <a:lnTo>
                    <a:pt x="93" y="248"/>
                  </a:lnTo>
                  <a:lnTo>
                    <a:pt x="144" y="256"/>
                  </a:lnTo>
                  <a:lnTo>
                    <a:pt x="186" y="264"/>
                  </a:lnTo>
                  <a:lnTo>
                    <a:pt x="203" y="288"/>
                  </a:lnTo>
                  <a:lnTo>
                    <a:pt x="194" y="312"/>
                  </a:lnTo>
                  <a:lnTo>
                    <a:pt x="219" y="320"/>
                  </a:lnTo>
                  <a:lnTo>
                    <a:pt x="219" y="296"/>
                  </a:lnTo>
                  <a:lnTo>
                    <a:pt x="236" y="280"/>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1" name="Freeform 40"/>
            <p:cNvSpPr>
              <a:spLocks/>
            </p:cNvSpPr>
            <p:nvPr>
              <p:custDataLst>
                <p:tags r:id="rId37"/>
              </p:custDataLst>
            </p:nvPr>
          </p:nvSpPr>
          <p:spPr bwMode="auto">
            <a:xfrm>
              <a:off x="3617" y="1744"/>
              <a:ext cx="211" cy="344"/>
            </a:xfrm>
            <a:custGeom>
              <a:avLst/>
              <a:gdLst>
                <a:gd name="T0" fmla="*/ 143 w 211"/>
                <a:gd name="T1" fmla="*/ 344 h 344"/>
                <a:gd name="T2" fmla="*/ 118 w 211"/>
                <a:gd name="T3" fmla="*/ 312 h 344"/>
                <a:gd name="T4" fmla="*/ 143 w 211"/>
                <a:gd name="T5" fmla="*/ 312 h 344"/>
                <a:gd name="T6" fmla="*/ 127 w 211"/>
                <a:gd name="T7" fmla="*/ 280 h 344"/>
                <a:gd name="T8" fmla="*/ 127 w 211"/>
                <a:gd name="T9" fmla="*/ 248 h 344"/>
                <a:gd name="T10" fmla="*/ 169 w 211"/>
                <a:gd name="T11" fmla="*/ 184 h 344"/>
                <a:gd name="T12" fmla="*/ 186 w 211"/>
                <a:gd name="T13" fmla="*/ 192 h 344"/>
                <a:gd name="T14" fmla="*/ 211 w 211"/>
                <a:gd name="T15" fmla="*/ 136 h 344"/>
                <a:gd name="T16" fmla="*/ 177 w 211"/>
                <a:gd name="T17" fmla="*/ 112 h 344"/>
                <a:gd name="T18" fmla="*/ 169 w 211"/>
                <a:gd name="T19" fmla="*/ 72 h 344"/>
                <a:gd name="T20" fmla="*/ 177 w 211"/>
                <a:gd name="T21" fmla="*/ 24 h 344"/>
                <a:gd name="T22" fmla="*/ 177 w 211"/>
                <a:gd name="T23" fmla="*/ 8 h 344"/>
                <a:gd name="T24" fmla="*/ 160 w 211"/>
                <a:gd name="T25" fmla="*/ 0 h 344"/>
                <a:gd name="T26" fmla="*/ 135 w 211"/>
                <a:gd name="T27" fmla="*/ 8 h 344"/>
                <a:gd name="T28" fmla="*/ 127 w 211"/>
                <a:gd name="T29" fmla="*/ 24 h 344"/>
                <a:gd name="T30" fmla="*/ 101 w 211"/>
                <a:gd name="T31" fmla="*/ 40 h 344"/>
                <a:gd name="T32" fmla="*/ 76 w 211"/>
                <a:gd name="T33" fmla="*/ 48 h 344"/>
                <a:gd name="T34" fmla="*/ 51 w 211"/>
                <a:gd name="T35" fmla="*/ 56 h 344"/>
                <a:gd name="T36" fmla="*/ 34 w 211"/>
                <a:gd name="T37" fmla="*/ 72 h 344"/>
                <a:gd name="T38" fmla="*/ 26 w 211"/>
                <a:gd name="T39" fmla="*/ 96 h 344"/>
                <a:gd name="T40" fmla="*/ 42 w 211"/>
                <a:gd name="T41" fmla="*/ 112 h 344"/>
                <a:gd name="T42" fmla="*/ 17 w 211"/>
                <a:gd name="T43" fmla="*/ 120 h 344"/>
                <a:gd name="T44" fmla="*/ 9 w 211"/>
                <a:gd name="T45" fmla="*/ 144 h 344"/>
                <a:gd name="T46" fmla="*/ 9 w 211"/>
                <a:gd name="T47" fmla="*/ 168 h 344"/>
                <a:gd name="T48" fmla="*/ 26 w 211"/>
                <a:gd name="T49" fmla="*/ 192 h 344"/>
                <a:gd name="T50" fmla="*/ 0 w 211"/>
                <a:gd name="T51" fmla="*/ 208 h 344"/>
                <a:gd name="T52" fmla="*/ 0 w 211"/>
                <a:gd name="T53" fmla="*/ 224 h 344"/>
                <a:gd name="T54" fmla="*/ 26 w 211"/>
                <a:gd name="T55" fmla="*/ 272 h 344"/>
                <a:gd name="T56" fmla="*/ 42 w 211"/>
                <a:gd name="T57" fmla="*/ 256 h 344"/>
                <a:gd name="T58" fmla="*/ 51 w 211"/>
                <a:gd name="T59" fmla="*/ 304 h 344"/>
                <a:gd name="T60" fmla="*/ 59 w 211"/>
                <a:gd name="T61" fmla="*/ 328 h 344"/>
                <a:gd name="T62" fmla="*/ 84 w 211"/>
                <a:gd name="T63" fmla="*/ 336 h 344"/>
                <a:gd name="T64" fmla="*/ 143 w 211"/>
                <a:gd name="T65" fmla="*/ 344 h 3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1" h="344">
                  <a:moveTo>
                    <a:pt x="143" y="344"/>
                  </a:moveTo>
                  <a:lnTo>
                    <a:pt x="118" y="312"/>
                  </a:lnTo>
                  <a:lnTo>
                    <a:pt x="143" y="312"/>
                  </a:lnTo>
                  <a:lnTo>
                    <a:pt x="127" y="280"/>
                  </a:lnTo>
                  <a:lnTo>
                    <a:pt x="127" y="248"/>
                  </a:lnTo>
                  <a:lnTo>
                    <a:pt x="169" y="184"/>
                  </a:lnTo>
                  <a:lnTo>
                    <a:pt x="186" y="192"/>
                  </a:lnTo>
                  <a:lnTo>
                    <a:pt x="211" y="136"/>
                  </a:lnTo>
                  <a:lnTo>
                    <a:pt x="177" y="112"/>
                  </a:lnTo>
                  <a:lnTo>
                    <a:pt x="169" y="72"/>
                  </a:lnTo>
                  <a:lnTo>
                    <a:pt x="177" y="24"/>
                  </a:lnTo>
                  <a:lnTo>
                    <a:pt x="177" y="8"/>
                  </a:lnTo>
                  <a:lnTo>
                    <a:pt x="160" y="0"/>
                  </a:lnTo>
                  <a:lnTo>
                    <a:pt x="135" y="8"/>
                  </a:lnTo>
                  <a:lnTo>
                    <a:pt x="127" y="24"/>
                  </a:lnTo>
                  <a:lnTo>
                    <a:pt x="101" y="40"/>
                  </a:lnTo>
                  <a:lnTo>
                    <a:pt x="76" y="48"/>
                  </a:lnTo>
                  <a:lnTo>
                    <a:pt x="51" y="56"/>
                  </a:lnTo>
                  <a:lnTo>
                    <a:pt x="34" y="72"/>
                  </a:lnTo>
                  <a:lnTo>
                    <a:pt x="26" y="96"/>
                  </a:lnTo>
                  <a:lnTo>
                    <a:pt x="42" y="112"/>
                  </a:lnTo>
                  <a:lnTo>
                    <a:pt x="17" y="120"/>
                  </a:lnTo>
                  <a:lnTo>
                    <a:pt x="9" y="144"/>
                  </a:lnTo>
                  <a:lnTo>
                    <a:pt x="9" y="168"/>
                  </a:lnTo>
                  <a:lnTo>
                    <a:pt x="26" y="192"/>
                  </a:lnTo>
                  <a:lnTo>
                    <a:pt x="0" y="208"/>
                  </a:lnTo>
                  <a:lnTo>
                    <a:pt x="0" y="224"/>
                  </a:lnTo>
                  <a:lnTo>
                    <a:pt x="26" y="272"/>
                  </a:lnTo>
                  <a:lnTo>
                    <a:pt x="42" y="256"/>
                  </a:lnTo>
                  <a:lnTo>
                    <a:pt x="51" y="304"/>
                  </a:lnTo>
                  <a:lnTo>
                    <a:pt x="59" y="328"/>
                  </a:lnTo>
                  <a:lnTo>
                    <a:pt x="84" y="336"/>
                  </a:lnTo>
                  <a:lnTo>
                    <a:pt x="143" y="34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2" name="Freeform 41"/>
            <p:cNvSpPr>
              <a:spLocks/>
            </p:cNvSpPr>
            <p:nvPr>
              <p:custDataLst>
                <p:tags r:id="rId38"/>
              </p:custDataLst>
            </p:nvPr>
          </p:nvSpPr>
          <p:spPr bwMode="auto">
            <a:xfrm>
              <a:off x="3428" y="2084"/>
              <a:ext cx="750" cy="888"/>
            </a:xfrm>
            <a:custGeom>
              <a:avLst/>
              <a:gdLst>
                <a:gd name="T0" fmla="*/ 228 w 750"/>
                <a:gd name="T1" fmla="*/ 848 h 888"/>
                <a:gd name="T2" fmla="*/ 354 w 750"/>
                <a:gd name="T3" fmla="*/ 888 h 888"/>
                <a:gd name="T4" fmla="*/ 447 w 750"/>
                <a:gd name="T5" fmla="*/ 880 h 888"/>
                <a:gd name="T6" fmla="*/ 557 w 750"/>
                <a:gd name="T7" fmla="*/ 848 h 888"/>
                <a:gd name="T8" fmla="*/ 616 w 750"/>
                <a:gd name="T9" fmla="*/ 832 h 888"/>
                <a:gd name="T10" fmla="*/ 632 w 750"/>
                <a:gd name="T11" fmla="*/ 776 h 888"/>
                <a:gd name="T12" fmla="*/ 675 w 750"/>
                <a:gd name="T13" fmla="*/ 744 h 888"/>
                <a:gd name="T14" fmla="*/ 607 w 750"/>
                <a:gd name="T15" fmla="*/ 656 h 888"/>
                <a:gd name="T16" fmla="*/ 557 w 750"/>
                <a:gd name="T17" fmla="*/ 584 h 888"/>
                <a:gd name="T18" fmla="*/ 557 w 750"/>
                <a:gd name="T19" fmla="*/ 520 h 888"/>
                <a:gd name="T20" fmla="*/ 641 w 750"/>
                <a:gd name="T21" fmla="*/ 488 h 888"/>
                <a:gd name="T22" fmla="*/ 691 w 750"/>
                <a:gd name="T23" fmla="*/ 440 h 888"/>
                <a:gd name="T24" fmla="*/ 750 w 750"/>
                <a:gd name="T25" fmla="*/ 456 h 888"/>
                <a:gd name="T26" fmla="*/ 725 w 750"/>
                <a:gd name="T27" fmla="*/ 360 h 888"/>
                <a:gd name="T28" fmla="*/ 717 w 750"/>
                <a:gd name="T29" fmla="*/ 280 h 888"/>
                <a:gd name="T30" fmla="*/ 666 w 750"/>
                <a:gd name="T31" fmla="*/ 216 h 888"/>
                <a:gd name="T32" fmla="*/ 683 w 750"/>
                <a:gd name="T33" fmla="*/ 136 h 888"/>
                <a:gd name="T34" fmla="*/ 641 w 750"/>
                <a:gd name="T35" fmla="*/ 80 h 888"/>
                <a:gd name="T36" fmla="*/ 616 w 750"/>
                <a:gd name="T37" fmla="*/ 32 h 888"/>
                <a:gd name="T38" fmla="*/ 582 w 750"/>
                <a:gd name="T39" fmla="*/ 32 h 888"/>
                <a:gd name="T40" fmla="*/ 557 w 750"/>
                <a:gd name="T41" fmla="*/ 40 h 888"/>
                <a:gd name="T42" fmla="*/ 540 w 750"/>
                <a:gd name="T43" fmla="*/ 40 h 888"/>
                <a:gd name="T44" fmla="*/ 481 w 750"/>
                <a:gd name="T45" fmla="*/ 72 h 888"/>
                <a:gd name="T46" fmla="*/ 439 w 750"/>
                <a:gd name="T47" fmla="*/ 96 h 888"/>
                <a:gd name="T48" fmla="*/ 430 w 750"/>
                <a:gd name="T49" fmla="*/ 64 h 888"/>
                <a:gd name="T50" fmla="*/ 396 w 750"/>
                <a:gd name="T51" fmla="*/ 56 h 888"/>
                <a:gd name="T52" fmla="*/ 346 w 750"/>
                <a:gd name="T53" fmla="*/ 16 h 888"/>
                <a:gd name="T54" fmla="*/ 253 w 750"/>
                <a:gd name="T55" fmla="*/ 0 h 888"/>
                <a:gd name="T56" fmla="*/ 245 w 750"/>
                <a:gd name="T57" fmla="*/ 40 h 888"/>
                <a:gd name="T58" fmla="*/ 278 w 750"/>
                <a:gd name="T59" fmla="*/ 112 h 888"/>
                <a:gd name="T60" fmla="*/ 236 w 750"/>
                <a:gd name="T61" fmla="*/ 112 h 888"/>
                <a:gd name="T62" fmla="*/ 220 w 750"/>
                <a:gd name="T63" fmla="*/ 136 h 888"/>
                <a:gd name="T64" fmla="*/ 186 w 750"/>
                <a:gd name="T65" fmla="*/ 128 h 888"/>
                <a:gd name="T66" fmla="*/ 110 w 750"/>
                <a:gd name="T67" fmla="*/ 144 h 888"/>
                <a:gd name="T68" fmla="*/ 118 w 750"/>
                <a:gd name="T69" fmla="*/ 208 h 888"/>
                <a:gd name="T70" fmla="*/ 76 w 750"/>
                <a:gd name="T71" fmla="*/ 256 h 888"/>
                <a:gd name="T72" fmla="*/ 93 w 750"/>
                <a:gd name="T73" fmla="*/ 312 h 888"/>
                <a:gd name="T74" fmla="*/ 68 w 750"/>
                <a:gd name="T75" fmla="*/ 344 h 888"/>
                <a:gd name="T76" fmla="*/ 17 w 750"/>
                <a:gd name="T77" fmla="*/ 384 h 888"/>
                <a:gd name="T78" fmla="*/ 0 w 750"/>
                <a:gd name="T79" fmla="*/ 448 h 888"/>
                <a:gd name="T80" fmla="*/ 9 w 750"/>
                <a:gd name="T81" fmla="*/ 480 h 888"/>
                <a:gd name="T82" fmla="*/ 34 w 750"/>
                <a:gd name="T83" fmla="*/ 536 h 888"/>
                <a:gd name="T84" fmla="*/ 9 w 750"/>
                <a:gd name="T85" fmla="*/ 552 h 888"/>
                <a:gd name="T86" fmla="*/ 43 w 750"/>
                <a:gd name="T87" fmla="*/ 600 h 888"/>
                <a:gd name="T88" fmla="*/ 51 w 750"/>
                <a:gd name="T89" fmla="*/ 664 h 888"/>
                <a:gd name="T90" fmla="*/ 135 w 750"/>
                <a:gd name="T91" fmla="*/ 688 h 888"/>
                <a:gd name="T92" fmla="*/ 152 w 750"/>
                <a:gd name="T93" fmla="*/ 736 h 888"/>
                <a:gd name="T94" fmla="*/ 127 w 750"/>
                <a:gd name="T95" fmla="*/ 864 h 888"/>
                <a:gd name="T96" fmla="*/ 144 w 750"/>
                <a:gd name="T97" fmla="*/ 872 h 88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50" h="888">
                  <a:moveTo>
                    <a:pt x="194" y="864"/>
                  </a:moveTo>
                  <a:lnTo>
                    <a:pt x="228" y="848"/>
                  </a:lnTo>
                  <a:lnTo>
                    <a:pt x="312" y="872"/>
                  </a:lnTo>
                  <a:lnTo>
                    <a:pt x="354" y="888"/>
                  </a:lnTo>
                  <a:lnTo>
                    <a:pt x="388" y="872"/>
                  </a:lnTo>
                  <a:lnTo>
                    <a:pt x="447" y="880"/>
                  </a:lnTo>
                  <a:lnTo>
                    <a:pt x="489" y="872"/>
                  </a:lnTo>
                  <a:lnTo>
                    <a:pt x="557" y="848"/>
                  </a:lnTo>
                  <a:lnTo>
                    <a:pt x="616" y="864"/>
                  </a:lnTo>
                  <a:lnTo>
                    <a:pt x="616" y="832"/>
                  </a:lnTo>
                  <a:lnTo>
                    <a:pt x="599" y="800"/>
                  </a:lnTo>
                  <a:lnTo>
                    <a:pt x="632" y="776"/>
                  </a:lnTo>
                  <a:lnTo>
                    <a:pt x="641" y="744"/>
                  </a:lnTo>
                  <a:lnTo>
                    <a:pt x="675" y="744"/>
                  </a:lnTo>
                  <a:lnTo>
                    <a:pt x="683" y="712"/>
                  </a:lnTo>
                  <a:lnTo>
                    <a:pt x="607" y="656"/>
                  </a:lnTo>
                  <a:lnTo>
                    <a:pt x="548" y="608"/>
                  </a:lnTo>
                  <a:lnTo>
                    <a:pt x="557" y="584"/>
                  </a:lnTo>
                  <a:lnTo>
                    <a:pt x="523" y="544"/>
                  </a:lnTo>
                  <a:lnTo>
                    <a:pt x="557" y="520"/>
                  </a:lnTo>
                  <a:lnTo>
                    <a:pt x="599" y="512"/>
                  </a:lnTo>
                  <a:lnTo>
                    <a:pt x="641" y="488"/>
                  </a:lnTo>
                  <a:lnTo>
                    <a:pt x="683" y="472"/>
                  </a:lnTo>
                  <a:lnTo>
                    <a:pt x="691" y="440"/>
                  </a:lnTo>
                  <a:lnTo>
                    <a:pt x="725" y="440"/>
                  </a:lnTo>
                  <a:lnTo>
                    <a:pt x="750" y="456"/>
                  </a:lnTo>
                  <a:lnTo>
                    <a:pt x="750" y="392"/>
                  </a:lnTo>
                  <a:lnTo>
                    <a:pt x="725" y="360"/>
                  </a:lnTo>
                  <a:lnTo>
                    <a:pt x="742" y="320"/>
                  </a:lnTo>
                  <a:lnTo>
                    <a:pt x="717" y="280"/>
                  </a:lnTo>
                  <a:lnTo>
                    <a:pt x="717" y="248"/>
                  </a:lnTo>
                  <a:lnTo>
                    <a:pt x="666" y="216"/>
                  </a:lnTo>
                  <a:lnTo>
                    <a:pt x="691" y="168"/>
                  </a:lnTo>
                  <a:lnTo>
                    <a:pt x="683" y="136"/>
                  </a:lnTo>
                  <a:lnTo>
                    <a:pt x="675" y="88"/>
                  </a:lnTo>
                  <a:lnTo>
                    <a:pt x="641" y="80"/>
                  </a:lnTo>
                  <a:lnTo>
                    <a:pt x="607" y="64"/>
                  </a:lnTo>
                  <a:lnTo>
                    <a:pt x="616" y="32"/>
                  </a:lnTo>
                  <a:lnTo>
                    <a:pt x="590" y="16"/>
                  </a:lnTo>
                  <a:lnTo>
                    <a:pt x="582" y="32"/>
                  </a:lnTo>
                  <a:lnTo>
                    <a:pt x="573" y="48"/>
                  </a:lnTo>
                  <a:lnTo>
                    <a:pt x="557" y="40"/>
                  </a:lnTo>
                  <a:lnTo>
                    <a:pt x="548" y="40"/>
                  </a:lnTo>
                  <a:lnTo>
                    <a:pt x="540" y="40"/>
                  </a:lnTo>
                  <a:lnTo>
                    <a:pt x="514" y="64"/>
                  </a:lnTo>
                  <a:lnTo>
                    <a:pt x="481" y="72"/>
                  </a:lnTo>
                  <a:lnTo>
                    <a:pt x="464" y="96"/>
                  </a:lnTo>
                  <a:lnTo>
                    <a:pt x="439" y="96"/>
                  </a:lnTo>
                  <a:lnTo>
                    <a:pt x="413" y="88"/>
                  </a:lnTo>
                  <a:lnTo>
                    <a:pt x="430" y="64"/>
                  </a:lnTo>
                  <a:lnTo>
                    <a:pt x="422" y="32"/>
                  </a:lnTo>
                  <a:lnTo>
                    <a:pt x="396" y="56"/>
                  </a:lnTo>
                  <a:lnTo>
                    <a:pt x="346" y="40"/>
                  </a:lnTo>
                  <a:lnTo>
                    <a:pt x="346" y="16"/>
                  </a:lnTo>
                  <a:lnTo>
                    <a:pt x="337" y="8"/>
                  </a:lnTo>
                  <a:lnTo>
                    <a:pt x="253" y="0"/>
                  </a:lnTo>
                  <a:lnTo>
                    <a:pt x="270" y="24"/>
                  </a:lnTo>
                  <a:lnTo>
                    <a:pt x="245" y="40"/>
                  </a:lnTo>
                  <a:lnTo>
                    <a:pt x="245" y="64"/>
                  </a:lnTo>
                  <a:lnTo>
                    <a:pt x="278" y="112"/>
                  </a:lnTo>
                  <a:lnTo>
                    <a:pt x="253" y="112"/>
                  </a:lnTo>
                  <a:lnTo>
                    <a:pt x="236" y="112"/>
                  </a:lnTo>
                  <a:lnTo>
                    <a:pt x="228" y="128"/>
                  </a:lnTo>
                  <a:lnTo>
                    <a:pt x="220" y="136"/>
                  </a:lnTo>
                  <a:lnTo>
                    <a:pt x="211" y="136"/>
                  </a:lnTo>
                  <a:lnTo>
                    <a:pt x="186" y="128"/>
                  </a:lnTo>
                  <a:lnTo>
                    <a:pt x="135" y="128"/>
                  </a:lnTo>
                  <a:lnTo>
                    <a:pt x="110" y="144"/>
                  </a:lnTo>
                  <a:lnTo>
                    <a:pt x="110" y="168"/>
                  </a:lnTo>
                  <a:lnTo>
                    <a:pt x="118" y="208"/>
                  </a:lnTo>
                  <a:lnTo>
                    <a:pt x="102" y="248"/>
                  </a:lnTo>
                  <a:lnTo>
                    <a:pt x="76" y="256"/>
                  </a:lnTo>
                  <a:lnTo>
                    <a:pt x="102" y="280"/>
                  </a:lnTo>
                  <a:lnTo>
                    <a:pt x="93" y="312"/>
                  </a:lnTo>
                  <a:lnTo>
                    <a:pt x="68" y="320"/>
                  </a:lnTo>
                  <a:lnTo>
                    <a:pt x="68" y="344"/>
                  </a:lnTo>
                  <a:lnTo>
                    <a:pt x="17" y="352"/>
                  </a:lnTo>
                  <a:lnTo>
                    <a:pt x="17" y="384"/>
                  </a:lnTo>
                  <a:lnTo>
                    <a:pt x="17" y="432"/>
                  </a:lnTo>
                  <a:lnTo>
                    <a:pt x="0" y="448"/>
                  </a:lnTo>
                  <a:lnTo>
                    <a:pt x="0" y="472"/>
                  </a:lnTo>
                  <a:lnTo>
                    <a:pt x="9" y="480"/>
                  </a:lnTo>
                  <a:lnTo>
                    <a:pt x="34" y="504"/>
                  </a:lnTo>
                  <a:lnTo>
                    <a:pt x="34" y="536"/>
                  </a:lnTo>
                  <a:lnTo>
                    <a:pt x="17" y="552"/>
                  </a:lnTo>
                  <a:lnTo>
                    <a:pt x="9" y="552"/>
                  </a:lnTo>
                  <a:lnTo>
                    <a:pt x="9" y="576"/>
                  </a:lnTo>
                  <a:lnTo>
                    <a:pt x="43" y="600"/>
                  </a:lnTo>
                  <a:lnTo>
                    <a:pt x="26" y="632"/>
                  </a:lnTo>
                  <a:lnTo>
                    <a:pt x="51" y="664"/>
                  </a:lnTo>
                  <a:lnTo>
                    <a:pt x="76" y="672"/>
                  </a:lnTo>
                  <a:lnTo>
                    <a:pt x="135" y="688"/>
                  </a:lnTo>
                  <a:lnTo>
                    <a:pt x="186" y="704"/>
                  </a:lnTo>
                  <a:lnTo>
                    <a:pt x="152" y="736"/>
                  </a:lnTo>
                  <a:lnTo>
                    <a:pt x="144" y="776"/>
                  </a:lnTo>
                  <a:lnTo>
                    <a:pt x="127" y="864"/>
                  </a:lnTo>
                  <a:lnTo>
                    <a:pt x="118" y="864"/>
                  </a:lnTo>
                  <a:lnTo>
                    <a:pt x="144" y="872"/>
                  </a:lnTo>
                  <a:lnTo>
                    <a:pt x="194" y="86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3" name="Freeform 42"/>
            <p:cNvSpPr>
              <a:spLocks/>
            </p:cNvSpPr>
            <p:nvPr>
              <p:custDataLst>
                <p:tags r:id="rId39"/>
              </p:custDataLst>
            </p:nvPr>
          </p:nvSpPr>
          <p:spPr bwMode="auto">
            <a:xfrm>
              <a:off x="3617" y="1744"/>
              <a:ext cx="211" cy="344"/>
            </a:xfrm>
            <a:custGeom>
              <a:avLst/>
              <a:gdLst>
                <a:gd name="T0" fmla="*/ 143 w 211"/>
                <a:gd name="T1" fmla="*/ 344 h 344"/>
                <a:gd name="T2" fmla="*/ 118 w 211"/>
                <a:gd name="T3" fmla="*/ 312 h 344"/>
                <a:gd name="T4" fmla="*/ 143 w 211"/>
                <a:gd name="T5" fmla="*/ 312 h 344"/>
                <a:gd name="T6" fmla="*/ 127 w 211"/>
                <a:gd name="T7" fmla="*/ 280 h 344"/>
                <a:gd name="T8" fmla="*/ 127 w 211"/>
                <a:gd name="T9" fmla="*/ 248 h 344"/>
                <a:gd name="T10" fmla="*/ 169 w 211"/>
                <a:gd name="T11" fmla="*/ 184 h 344"/>
                <a:gd name="T12" fmla="*/ 186 w 211"/>
                <a:gd name="T13" fmla="*/ 192 h 344"/>
                <a:gd name="T14" fmla="*/ 211 w 211"/>
                <a:gd name="T15" fmla="*/ 136 h 344"/>
                <a:gd name="T16" fmla="*/ 177 w 211"/>
                <a:gd name="T17" fmla="*/ 112 h 344"/>
                <a:gd name="T18" fmla="*/ 169 w 211"/>
                <a:gd name="T19" fmla="*/ 72 h 344"/>
                <a:gd name="T20" fmla="*/ 177 w 211"/>
                <a:gd name="T21" fmla="*/ 24 h 344"/>
                <a:gd name="T22" fmla="*/ 177 w 211"/>
                <a:gd name="T23" fmla="*/ 8 h 344"/>
                <a:gd name="T24" fmla="*/ 160 w 211"/>
                <a:gd name="T25" fmla="*/ 0 h 344"/>
                <a:gd name="T26" fmla="*/ 135 w 211"/>
                <a:gd name="T27" fmla="*/ 8 h 344"/>
                <a:gd name="T28" fmla="*/ 127 w 211"/>
                <a:gd name="T29" fmla="*/ 24 h 344"/>
                <a:gd name="T30" fmla="*/ 101 w 211"/>
                <a:gd name="T31" fmla="*/ 40 h 344"/>
                <a:gd name="T32" fmla="*/ 76 w 211"/>
                <a:gd name="T33" fmla="*/ 48 h 344"/>
                <a:gd name="T34" fmla="*/ 51 w 211"/>
                <a:gd name="T35" fmla="*/ 56 h 344"/>
                <a:gd name="T36" fmla="*/ 34 w 211"/>
                <a:gd name="T37" fmla="*/ 72 h 344"/>
                <a:gd name="T38" fmla="*/ 26 w 211"/>
                <a:gd name="T39" fmla="*/ 96 h 344"/>
                <a:gd name="T40" fmla="*/ 42 w 211"/>
                <a:gd name="T41" fmla="*/ 112 h 344"/>
                <a:gd name="T42" fmla="*/ 17 w 211"/>
                <a:gd name="T43" fmla="*/ 120 h 344"/>
                <a:gd name="T44" fmla="*/ 9 w 211"/>
                <a:gd name="T45" fmla="*/ 144 h 344"/>
                <a:gd name="T46" fmla="*/ 9 w 211"/>
                <a:gd name="T47" fmla="*/ 168 h 344"/>
                <a:gd name="T48" fmla="*/ 26 w 211"/>
                <a:gd name="T49" fmla="*/ 192 h 344"/>
                <a:gd name="T50" fmla="*/ 0 w 211"/>
                <a:gd name="T51" fmla="*/ 208 h 344"/>
                <a:gd name="T52" fmla="*/ 0 w 211"/>
                <a:gd name="T53" fmla="*/ 224 h 344"/>
                <a:gd name="T54" fmla="*/ 26 w 211"/>
                <a:gd name="T55" fmla="*/ 272 h 344"/>
                <a:gd name="T56" fmla="*/ 42 w 211"/>
                <a:gd name="T57" fmla="*/ 256 h 344"/>
                <a:gd name="T58" fmla="*/ 51 w 211"/>
                <a:gd name="T59" fmla="*/ 304 h 344"/>
                <a:gd name="T60" fmla="*/ 59 w 211"/>
                <a:gd name="T61" fmla="*/ 328 h 344"/>
                <a:gd name="T62" fmla="*/ 84 w 211"/>
                <a:gd name="T63" fmla="*/ 336 h 344"/>
                <a:gd name="T64" fmla="*/ 143 w 211"/>
                <a:gd name="T65" fmla="*/ 344 h 3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1" h="344">
                  <a:moveTo>
                    <a:pt x="143" y="344"/>
                  </a:moveTo>
                  <a:lnTo>
                    <a:pt x="118" y="312"/>
                  </a:lnTo>
                  <a:lnTo>
                    <a:pt x="143" y="312"/>
                  </a:lnTo>
                  <a:lnTo>
                    <a:pt x="127" y="280"/>
                  </a:lnTo>
                  <a:lnTo>
                    <a:pt x="127" y="248"/>
                  </a:lnTo>
                  <a:lnTo>
                    <a:pt x="169" y="184"/>
                  </a:lnTo>
                  <a:lnTo>
                    <a:pt x="186" y="192"/>
                  </a:lnTo>
                  <a:lnTo>
                    <a:pt x="211" y="136"/>
                  </a:lnTo>
                  <a:lnTo>
                    <a:pt x="177" y="112"/>
                  </a:lnTo>
                  <a:lnTo>
                    <a:pt x="169" y="72"/>
                  </a:lnTo>
                  <a:lnTo>
                    <a:pt x="177" y="24"/>
                  </a:lnTo>
                  <a:lnTo>
                    <a:pt x="177" y="8"/>
                  </a:lnTo>
                  <a:lnTo>
                    <a:pt x="160" y="0"/>
                  </a:lnTo>
                  <a:lnTo>
                    <a:pt x="135" y="8"/>
                  </a:lnTo>
                  <a:lnTo>
                    <a:pt x="127" y="24"/>
                  </a:lnTo>
                  <a:lnTo>
                    <a:pt x="101" y="40"/>
                  </a:lnTo>
                  <a:lnTo>
                    <a:pt x="76" y="48"/>
                  </a:lnTo>
                  <a:lnTo>
                    <a:pt x="51" y="56"/>
                  </a:lnTo>
                  <a:lnTo>
                    <a:pt x="34" y="72"/>
                  </a:lnTo>
                  <a:lnTo>
                    <a:pt x="26" y="96"/>
                  </a:lnTo>
                  <a:lnTo>
                    <a:pt x="42" y="112"/>
                  </a:lnTo>
                  <a:lnTo>
                    <a:pt x="17" y="120"/>
                  </a:lnTo>
                  <a:lnTo>
                    <a:pt x="9" y="144"/>
                  </a:lnTo>
                  <a:lnTo>
                    <a:pt x="9" y="168"/>
                  </a:lnTo>
                  <a:lnTo>
                    <a:pt x="26" y="192"/>
                  </a:lnTo>
                  <a:lnTo>
                    <a:pt x="0" y="208"/>
                  </a:lnTo>
                  <a:lnTo>
                    <a:pt x="0" y="224"/>
                  </a:lnTo>
                  <a:lnTo>
                    <a:pt x="26" y="272"/>
                  </a:lnTo>
                  <a:lnTo>
                    <a:pt x="42" y="256"/>
                  </a:lnTo>
                  <a:lnTo>
                    <a:pt x="51" y="304"/>
                  </a:lnTo>
                  <a:lnTo>
                    <a:pt x="59" y="328"/>
                  </a:lnTo>
                  <a:lnTo>
                    <a:pt x="84" y="336"/>
                  </a:lnTo>
                  <a:lnTo>
                    <a:pt x="143" y="344"/>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4" name="Freeform 43"/>
            <p:cNvSpPr>
              <a:spLocks/>
            </p:cNvSpPr>
            <p:nvPr>
              <p:custDataLst>
                <p:tags r:id="rId40"/>
              </p:custDataLst>
            </p:nvPr>
          </p:nvSpPr>
          <p:spPr bwMode="auto">
            <a:xfrm>
              <a:off x="3423" y="2080"/>
              <a:ext cx="750" cy="888"/>
            </a:xfrm>
            <a:custGeom>
              <a:avLst/>
              <a:gdLst>
                <a:gd name="T0" fmla="*/ 228 w 750"/>
                <a:gd name="T1" fmla="*/ 848 h 888"/>
                <a:gd name="T2" fmla="*/ 354 w 750"/>
                <a:gd name="T3" fmla="*/ 888 h 888"/>
                <a:gd name="T4" fmla="*/ 447 w 750"/>
                <a:gd name="T5" fmla="*/ 880 h 888"/>
                <a:gd name="T6" fmla="*/ 557 w 750"/>
                <a:gd name="T7" fmla="*/ 848 h 888"/>
                <a:gd name="T8" fmla="*/ 616 w 750"/>
                <a:gd name="T9" fmla="*/ 832 h 888"/>
                <a:gd name="T10" fmla="*/ 632 w 750"/>
                <a:gd name="T11" fmla="*/ 776 h 888"/>
                <a:gd name="T12" fmla="*/ 675 w 750"/>
                <a:gd name="T13" fmla="*/ 744 h 888"/>
                <a:gd name="T14" fmla="*/ 607 w 750"/>
                <a:gd name="T15" fmla="*/ 656 h 888"/>
                <a:gd name="T16" fmla="*/ 557 w 750"/>
                <a:gd name="T17" fmla="*/ 584 h 888"/>
                <a:gd name="T18" fmla="*/ 557 w 750"/>
                <a:gd name="T19" fmla="*/ 520 h 888"/>
                <a:gd name="T20" fmla="*/ 641 w 750"/>
                <a:gd name="T21" fmla="*/ 488 h 888"/>
                <a:gd name="T22" fmla="*/ 691 w 750"/>
                <a:gd name="T23" fmla="*/ 440 h 888"/>
                <a:gd name="T24" fmla="*/ 750 w 750"/>
                <a:gd name="T25" fmla="*/ 456 h 888"/>
                <a:gd name="T26" fmla="*/ 725 w 750"/>
                <a:gd name="T27" fmla="*/ 360 h 888"/>
                <a:gd name="T28" fmla="*/ 717 w 750"/>
                <a:gd name="T29" fmla="*/ 280 h 888"/>
                <a:gd name="T30" fmla="*/ 666 w 750"/>
                <a:gd name="T31" fmla="*/ 216 h 888"/>
                <a:gd name="T32" fmla="*/ 683 w 750"/>
                <a:gd name="T33" fmla="*/ 136 h 888"/>
                <a:gd name="T34" fmla="*/ 641 w 750"/>
                <a:gd name="T35" fmla="*/ 80 h 888"/>
                <a:gd name="T36" fmla="*/ 616 w 750"/>
                <a:gd name="T37" fmla="*/ 32 h 888"/>
                <a:gd name="T38" fmla="*/ 582 w 750"/>
                <a:gd name="T39" fmla="*/ 32 h 888"/>
                <a:gd name="T40" fmla="*/ 557 w 750"/>
                <a:gd name="T41" fmla="*/ 40 h 888"/>
                <a:gd name="T42" fmla="*/ 540 w 750"/>
                <a:gd name="T43" fmla="*/ 40 h 888"/>
                <a:gd name="T44" fmla="*/ 481 w 750"/>
                <a:gd name="T45" fmla="*/ 72 h 888"/>
                <a:gd name="T46" fmla="*/ 439 w 750"/>
                <a:gd name="T47" fmla="*/ 96 h 888"/>
                <a:gd name="T48" fmla="*/ 430 w 750"/>
                <a:gd name="T49" fmla="*/ 64 h 888"/>
                <a:gd name="T50" fmla="*/ 396 w 750"/>
                <a:gd name="T51" fmla="*/ 56 h 888"/>
                <a:gd name="T52" fmla="*/ 346 w 750"/>
                <a:gd name="T53" fmla="*/ 16 h 888"/>
                <a:gd name="T54" fmla="*/ 253 w 750"/>
                <a:gd name="T55" fmla="*/ 0 h 888"/>
                <a:gd name="T56" fmla="*/ 245 w 750"/>
                <a:gd name="T57" fmla="*/ 40 h 888"/>
                <a:gd name="T58" fmla="*/ 278 w 750"/>
                <a:gd name="T59" fmla="*/ 112 h 888"/>
                <a:gd name="T60" fmla="*/ 236 w 750"/>
                <a:gd name="T61" fmla="*/ 112 h 888"/>
                <a:gd name="T62" fmla="*/ 220 w 750"/>
                <a:gd name="T63" fmla="*/ 136 h 888"/>
                <a:gd name="T64" fmla="*/ 186 w 750"/>
                <a:gd name="T65" fmla="*/ 128 h 888"/>
                <a:gd name="T66" fmla="*/ 110 w 750"/>
                <a:gd name="T67" fmla="*/ 144 h 888"/>
                <a:gd name="T68" fmla="*/ 118 w 750"/>
                <a:gd name="T69" fmla="*/ 208 h 888"/>
                <a:gd name="T70" fmla="*/ 76 w 750"/>
                <a:gd name="T71" fmla="*/ 256 h 888"/>
                <a:gd name="T72" fmla="*/ 93 w 750"/>
                <a:gd name="T73" fmla="*/ 312 h 888"/>
                <a:gd name="T74" fmla="*/ 68 w 750"/>
                <a:gd name="T75" fmla="*/ 344 h 888"/>
                <a:gd name="T76" fmla="*/ 17 w 750"/>
                <a:gd name="T77" fmla="*/ 384 h 888"/>
                <a:gd name="T78" fmla="*/ 0 w 750"/>
                <a:gd name="T79" fmla="*/ 448 h 888"/>
                <a:gd name="T80" fmla="*/ 9 w 750"/>
                <a:gd name="T81" fmla="*/ 480 h 888"/>
                <a:gd name="T82" fmla="*/ 34 w 750"/>
                <a:gd name="T83" fmla="*/ 536 h 888"/>
                <a:gd name="T84" fmla="*/ 9 w 750"/>
                <a:gd name="T85" fmla="*/ 552 h 888"/>
                <a:gd name="T86" fmla="*/ 43 w 750"/>
                <a:gd name="T87" fmla="*/ 600 h 888"/>
                <a:gd name="T88" fmla="*/ 26 w 750"/>
                <a:gd name="T89" fmla="*/ 632 h 888"/>
                <a:gd name="T90" fmla="*/ 76 w 750"/>
                <a:gd name="T91" fmla="*/ 672 h 888"/>
                <a:gd name="T92" fmla="*/ 186 w 750"/>
                <a:gd name="T93" fmla="*/ 704 h 888"/>
                <a:gd name="T94" fmla="*/ 144 w 750"/>
                <a:gd name="T95" fmla="*/ 776 h 888"/>
                <a:gd name="T96" fmla="*/ 118 w 750"/>
                <a:gd name="T97" fmla="*/ 864 h 888"/>
                <a:gd name="T98" fmla="*/ 194 w 750"/>
                <a:gd name="T99" fmla="*/ 864 h 88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750" h="888">
                  <a:moveTo>
                    <a:pt x="194" y="864"/>
                  </a:moveTo>
                  <a:lnTo>
                    <a:pt x="228" y="848"/>
                  </a:lnTo>
                  <a:lnTo>
                    <a:pt x="312" y="872"/>
                  </a:lnTo>
                  <a:lnTo>
                    <a:pt x="354" y="888"/>
                  </a:lnTo>
                  <a:lnTo>
                    <a:pt x="388" y="872"/>
                  </a:lnTo>
                  <a:lnTo>
                    <a:pt x="447" y="880"/>
                  </a:lnTo>
                  <a:lnTo>
                    <a:pt x="489" y="872"/>
                  </a:lnTo>
                  <a:lnTo>
                    <a:pt x="557" y="848"/>
                  </a:lnTo>
                  <a:lnTo>
                    <a:pt x="616" y="864"/>
                  </a:lnTo>
                  <a:lnTo>
                    <a:pt x="616" y="832"/>
                  </a:lnTo>
                  <a:lnTo>
                    <a:pt x="599" y="800"/>
                  </a:lnTo>
                  <a:lnTo>
                    <a:pt x="632" y="776"/>
                  </a:lnTo>
                  <a:lnTo>
                    <a:pt x="641" y="744"/>
                  </a:lnTo>
                  <a:lnTo>
                    <a:pt x="675" y="744"/>
                  </a:lnTo>
                  <a:lnTo>
                    <a:pt x="683" y="712"/>
                  </a:lnTo>
                  <a:lnTo>
                    <a:pt x="607" y="656"/>
                  </a:lnTo>
                  <a:lnTo>
                    <a:pt x="548" y="608"/>
                  </a:lnTo>
                  <a:lnTo>
                    <a:pt x="557" y="584"/>
                  </a:lnTo>
                  <a:lnTo>
                    <a:pt x="523" y="544"/>
                  </a:lnTo>
                  <a:lnTo>
                    <a:pt x="557" y="520"/>
                  </a:lnTo>
                  <a:lnTo>
                    <a:pt x="599" y="512"/>
                  </a:lnTo>
                  <a:lnTo>
                    <a:pt x="641" y="488"/>
                  </a:lnTo>
                  <a:lnTo>
                    <a:pt x="683" y="472"/>
                  </a:lnTo>
                  <a:lnTo>
                    <a:pt x="691" y="440"/>
                  </a:lnTo>
                  <a:lnTo>
                    <a:pt x="725" y="440"/>
                  </a:lnTo>
                  <a:lnTo>
                    <a:pt x="750" y="456"/>
                  </a:lnTo>
                  <a:lnTo>
                    <a:pt x="750" y="392"/>
                  </a:lnTo>
                  <a:lnTo>
                    <a:pt x="725" y="360"/>
                  </a:lnTo>
                  <a:lnTo>
                    <a:pt x="742" y="320"/>
                  </a:lnTo>
                  <a:lnTo>
                    <a:pt x="717" y="280"/>
                  </a:lnTo>
                  <a:lnTo>
                    <a:pt x="717" y="248"/>
                  </a:lnTo>
                  <a:lnTo>
                    <a:pt x="666" y="216"/>
                  </a:lnTo>
                  <a:lnTo>
                    <a:pt x="691" y="168"/>
                  </a:lnTo>
                  <a:lnTo>
                    <a:pt x="683" y="136"/>
                  </a:lnTo>
                  <a:lnTo>
                    <a:pt x="675" y="88"/>
                  </a:lnTo>
                  <a:lnTo>
                    <a:pt x="641" y="80"/>
                  </a:lnTo>
                  <a:lnTo>
                    <a:pt x="607" y="64"/>
                  </a:lnTo>
                  <a:lnTo>
                    <a:pt x="616" y="32"/>
                  </a:lnTo>
                  <a:lnTo>
                    <a:pt x="590" y="16"/>
                  </a:lnTo>
                  <a:lnTo>
                    <a:pt x="582" y="32"/>
                  </a:lnTo>
                  <a:lnTo>
                    <a:pt x="573" y="48"/>
                  </a:lnTo>
                  <a:lnTo>
                    <a:pt x="557" y="40"/>
                  </a:lnTo>
                  <a:lnTo>
                    <a:pt x="548" y="40"/>
                  </a:lnTo>
                  <a:lnTo>
                    <a:pt x="540" y="40"/>
                  </a:lnTo>
                  <a:lnTo>
                    <a:pt x="514" y="64"/>
                  </a:lnTo>
                  <a:lnTo>
                    <a:pt x="481" y="72"/>
                  </a:lnTo>
                  <a:lnTo>
                    <a:pt x="464" y="96"/>
                  </a:lnTo>
                  <a:lnTo>
                    <a:pt x="439" y="96"/>
                  </a:lnTo>
                  <a:lnTo>
                    <a:pt x="413" y="88"/>
                  </a:lnTo>
                  <a:lnTo>
                    <a:pt x="430" y="64"/>
                  </a:lnTo>
                  <a:lnTo>
                    <a:pt x="422" y="32"/>
                  </a:lnTo>
                  <a:lnTo>
                    <a:pt x="396" y="56"/>
                  </a:lnTo>
                  <a:lnTo>
                    <a:pt x="346" y="40"/>
                  </a:lnTo>
                  <a:lnTo>
                    <a:pt x="346" y="16"/>
                  </a:lnTo>
                  <a:lnTo>
                    <a:pt x="337" y="8"/>
                  </a:lnTo>
                  <a:lnTo>
                    <a:pt x="253" y="0"/>
                  </a:lnTo>
                  <a:lnTo>
                    <a:pt x="270" y="24"/>
                  </a:lnTo>
                  <a:lnTo>
                    <a:pt x="245" y="40"/>
                  </a:lnTo>
                  <a:lnTo>
                    <a:pt x="245" y="64"/>
                  </a:lnTo>
                  <a:lnTo>
                    <a:pt x="278" y="112"/>
                  </a:lnTo>
                  <a:lnTo>
                    <a:pt x="253" y="112"/>
                  </a:lnTo>
                  <a:lnTo>
                    <a:pt x="236" y="112"/>
                  </a:lnTo>
                  <a:lnTo>
                    <a:pt x="228" y="128"/>
                  </a:lnTo>
                  <a:lnTo>
                    <a:pt x="220" y="136"/>
                  </a:lnTo>
                  <a:lnTo>
                    <a:pt x="211" y="136"/>
                  </a:lnTo>
                  <a:lnTo>
                    <a:pt x="186" y="128"/>
                  </a:lnTo>
                  <a:lnTo>
                    <a:pt x="135" y="128"/>
                  </a:lnTo>
                  <a:lnTo>
                    <a:pt x="110" y="144"/>
                  </a:lnTo>
                  <a:lnTo>
                    <a:pt x="110" y="168"/>
                  </a:lnTo>
                  <a:lnTo>
                    <a:pt x="118" y="208"/>
                  </a:lnTo>
                  <a:lnTo>
                    <a:pt x="102" y="248"/>
                  </a:lnTo>
                  <a:lnTo>
                    <a:pt x="76" y="256"/>
                  </a:lnTo>
                  <a:lnTo>
                    <a:pt x="102" y="280"/>
                  </a:lnTo>
                  <a:lnTo>
                    <a:pt x="93" y="312"/>
                  </a:lnTo>
                  <a:lnTo>
                    <a:pt x="68" y="320"/>
                  </a:lnTo>
                  <a:lnTo>
                    <a:pt x="68" y="344"/>
                  </a:lnTo>
                  <a:lnTo>
                    <a:pt x="17" y="352"/>
                  </a:lnTo>
                  <a:lnTo>
                    <a:pt x="17" y="384"/>
                  </a:lnTo>
                  <a:lnTo>
                    <a:pt x="17" y="432"/>
                  </a:lnTo>
                  <a:lnTo>
                    <a:pt x="0" y="448"/>
                  </a:lnTo>
                  <a:lnTo>
                    <a:pt x="0" y="472"/>
                  </a:lnTo>
                  <a:lnTo>
                    <a:pt x="9" y="480"/>
                  </a:lnTo>
                  <a:lnTo>
                    <a:pt x="34" y="504"/>
                  </a:lnTo>
                  <a:lnTo>
                    <a:pt x="34" y="536"/>
                  </a:lnTo>
                  <a:lnTo>
                    <a:pt x="17" y="552"/>
                  </a:lnTo>
                  <a:lnTo>
                    <a:pt x="9" y="552"/>
                  </a:lnTo>
                  <a:lnTo>
                    <a:pt x="9" y="576"/>
                  </a:lnTo>
                  <a:lnTo>
                    <a:pt x="43" y="600"/>
                  </a:lnTo>
                  <a:lnTo>
                    <a:pt x="26" y="632"/>
                  </a:lnTo>
                  <a:lnTo>
                    <a:pt x="51" y="664"/>
                  </a:lnTo>
                  <a:lnTo>
                    <a:pt x="76" y="672"/>
                  </a:lnTo>
                  <a:lnTo>
                    <a:pt x="135" y="688"/>
                  </a:lnTo>
                  <a:lnTo>
                    <a:pt x="186" y="704"/>
                  </a:lnTo>
                  <a:lnTo>
                    <a:pt x="152" y="736"/>
                  </a:lnTo>
                  <a:lnTo>
                    <a:pt x="144" y="776"/>
                  </a:lnTo>
                  <a:lnTo>
                    <a:pt x="127" y="864"/>
                  </a:lnTo>
                  <a:lnTo>
                    <a:pt x="118" y="864"/>
                  </a:lnTo>
                  <a:lnTo>
                    <a:pt x="144" y="872"/>
                  </a:lnTo>
                  <a:lnTo>
                    <a:pt x="194" y="864"/>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5" name="Freeform 44"/>
            <p:cNvSpPr>
              <a:spLocks/>
            </p:cNvSpPr>
            <p:nvPr>
              <p:custDataLst>
                <p:tags r:id="rId41"/>
              </p:custDataLst>
            </p:nvPr>
          </p:nvSpPr>
          <p:spPr bwMode="auto">
            <a:xfrm>
              <a:off x="3398" y="2928"/>
              <a:ext cx="421" cy="232"/>
            </a:xfrm>
            <a:custGeom>
              <a:avLst/>
              <a:gdLst>
                <a:gd name="T0" fmla="*/ 371 w 421"/>
                <a:gd name="T1" fmla="*/ 104 h 232"/>
                <a:gd name="T2" fmla="*/ 354 w 421"/>
                <a:gd name="T3" fmla="*/ 88 h 232"/>
                <a:gd name="T4" fmla="*/ 329 w 421"/>
                <a:gd name="T5" fmla="*/ 72 h 232"/>
                <a:gd name="T6" fmla="*/ 337 w 421"/>
                <a:gd name="T7" fmla="*/ 32 h 232"/>
                <a:gd name="T8" fmla="*/ 337 w 421"/>
                <a:gd name="T9" fmla="*/ 24 h 232"/>
                <a:gd name="T10" fmla="*/ 253 w 421"/>
                <a:gd name="T11" fmla="*/ 0 h 232"/>
                <a:gd name="T12" fmla="*/ 219 w 421"/>
                <a:gd name="T13" fmla="*/ 16 h 232"/>
                <a:gd name="T14" fmla="*/ 169 w 421"/>
                <a:gd name="T15" fmla="*/ 24 h 232"/>
                <a:gd name="T16" fmla="*/ 143 w 421"/>
                <a:gd name="T17" fmla="*/ 16 h 232"/>
                <a:gd name="T18" fmla="*/ 118 w 421"/>
                <a:gd name="T19" fmla="*/ 32 h 232"/>
                <a:gd name="T20" fmla="*/ 84 w 421"/>
                <a:gd name="T21" fmla="*/ 40 h 232"/>
                <a:gd name="T22" fmla="*/ 76 w 421"/>
                <a:gd name="T23" fmla="*/ 72 h 232"/>
                <a:gd name="T24" fmla="*/ 51 w 421"/>
                <a:gd name="T25" fmla="*/ 88 h 232"/>
                <a:gd name="T26" fmla="*/ 42 w 421"/>
                <a:gd name="T27" fmla="*/ 112 h 232"/>
                <a:gd name="T28" fmla="*/ 9 w 421"/>
                <a:gd name="T29" fmla="*/ 152 h 232"/>
                <a:gd name="T30" fmla="*/ 0 w 421"/>
                <a:gd name="T31" fmla="*/ 184 h 232"/>
                <a:gd name="T32" fmla="*/ 34 w 421"/>
                <a:gd name="T33" fmla="*/ 168 h 232"/>
                <a:gd name="T34" fmla="*/ 76 w 421"/>
                <a:gd name="T35" fmla="*/ 184 h 232"/>
                <a:gd name="T36" fmla="*/ 84 w 421"/>
                <a:gd name="T37" fmla="*/ 200 h 232"/>
                <a:gd name="T38" fmla="*/ 101 w 421"/>
                <a:gd name="T39" fmla="*/ 224 h 232"/>
                <a:gd name="T40" fmla="*/ 177 w 421"/>
                <a:gd name="T41" fmla="*/ 216 h 232"/>
                <a:gd name="T42" fmla="*/ 219 w 421"/>
                <a:gd name="T43" fmla="*/ 152 h 232"/>
                <a:gd name="T44" fmla="*/ 287 w 421"/>
                <a:gd name="T45" fmla="*/ 232 h 232"/>
                <a:gd name="T46" fmla="*/ 312 w 421"/>
                <a:gd name="T47" fmla="*/ 152 h 232"/>
                <a:gd name="T48" fmla="*/ 354 w 421"/>
                <a:gd name="T49" fmla="*/ 160 h 232"/>
                <a:gd name="T50" fmla="*/ 379 w 421"/>
                <a:gd name="T51" fmla="*/ 144 h 232"/>
                <a:gd name="T52" fmla="*/ 413 w 421"/>
                <a:gd name="T53" fmla="*/ 144 h 232"/>
                <a:gd name="T54" fmla="*/ 421 w 421"/>
                <a:gd name="T55" fmla="*/ 136 h 232"/>
                <a:gd name="T56" fmla="*/ 413 w 421"/>
                <a:gd name="T57" fmla="*/ 96 h 232"/>
                <a:gd name="T58" fmla="*/ 371 w 421"/>
                <a:gd name="T59" fmla="*/ 104 h 23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1" h="232">
                  <a:moveTo>
                    <a:pt x="371" y="104"/>
                  </a:moveTo>
                  <a:lnTo>
                    <a:pt x="354" y="88"/>
                  </a:lnTo>
                  <a:lnTo>
                    <a:pt x="329" y="72"/>
                  </a:lnTo>
                  <a:lnTo>
                    <a:pt x="337" y="32"/>
                  </a:lnTo>
                  <a:lnTo>
                    <a:pt x="337" y="24"/>
                  </a:lnTo>
                  <a:lnTo>
                    <a:pt x="253" y="0"/>
                  </a:lnTo>
                  <a:lnTo>
                    <a:pt x="219" y="16"/>
                  </a:lnTo>
                  <a:lnTo>
                    <a:pt x="169" y="24"/>
                  </a:lnTo>
                  <a:lnTo>
                    <a:pt x="143" y="16"/>
                  </a:lnTo>
                  <a:lnTo>
                    <a:pt x="118" y="32"/>
                  </a:lnTo>
                  <a:lnTo>
                    <a:pt x="84" y="40"/>
                  </a:lnTo>
                  <a:lnTo>
                    <a:pt x="76" y="72"/>
                  </a:lnTo>
                  <a:lnTo>
                    <a:pt x="51" y="88"/>
                  </a:lnTo>
                  <a:lnTo>
                    <a:pt x="42" y="112"/>
                  </a:lnTo>
                  <a:lnTo>
                    <a:pt x="9" y="152"/>
                  </a:lnTo>
                  <a:lnTo>
                    <a:pt x="0" y="184"/>
                  </a:lnTo>
                  <a:lnTo>
                    <a:pt x="34" y="168"/>
                  </a:lnTo>
                  <a:lnTo>
                    <a:pt x="76" y="184"/>
                  </a:lnTo>
                  <a:lnTo>
                    <a:pt x="84" y="200"/>
                  </a:lnTo>
                  <a:lnTo>
                    <a:pt x="101" y="224"/>
                  </a:lnTo>
                  <a:lnTo>
                    <a:pt x="177" y="216"/>
                  </a:lnTo>
                  <a:lnTo>
                    <a:pt x="219" y="152"/>
                  </a:lnTo>
                  <a:lnTo>
                    <a:pt x="287" y="232"/>
                  </a:lnTo>
                  <a:lnTo>
                    <a:pt x="312" y="152"/>
                  </a:lnTo>
                  <a:lnTo>
                    <a:pt x="354" y="160"/>
                  </a:lnTo>
                  <a:lnTo>
                    <a:pt x="379" y="144"/>
                  </a:lnTo>
                  <a:lnTo>
                    <a:pt x="413" y="144"/>
                  </a:lnTo>
                  <a:lnTo>
                    <a:pt x="421" y="136"/>
                  </a:lnTo>
                  <a:lnTo>
                    <a:pt x="413" y="96"/>
                  </a:lnTo>
                  <a:lnTo>
                    <a:pt x="371" y="10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6" name="Freeform 45"/>
            <p:cNvSpPr>
              <a:spLocks/>
            </p:cNvSpPr>
            <p:nvPr>
              <p:custDataLst>
                <p:tags r:id="rId42"/>
              </p:custDataLst>
            </p:nvPr>
          </p:nvSpPr>
          <p:spPr bwMode="auto">
            <a:xfrm>
              <a:off x="3727" y="2760"/>
              <a:ext cx="682" cy="312"/>
            </a:xfrm>
            <a:custGeom>
              <a:avLst/>
              <a:gdLst>
                <a:gd name="T0" fmla="*/ 472 w 682"/>
                <a:gd name="T1" fmla="*/ 304 h 312"/>
                <a:gd name="T2" fmla="*/ 505 w 682"/>
                <a:gd name="T3" fmla="*/ 280 h 312"/>
                <a:gd name="T4" fmla="*/ 556 w 682"/>
                <a:gd name="T5" fmla="*/ 280 h 312"/>
                <a:gd name="T6" fmla="*/ 598 w 682"/>
                <a:gd name="T7" fmla="*/ 272 h 312"/>
                <a:gd name="T8" fmla="*/ 598 w 682"/>
                <a:gd name="T9" fmla="*/ 248 h 312"/>
                <a:gd name="T10" fmla="*/ 623 w 682"/>
                <a:gd name="T11" fmla="*/ 224 h 312"/>
                <a:gd name="T12" fmla="*/ 632 w 682"/>
                <a:gd name="T13" fmla="*/ 184 h 312"/>
                <a:gd name="T14" fmla="*/ 632 w 682"/>
                <a:gd name="T15" fmla="*/ 144 h 312"/>
                <a:gd name="T16" fmla="*/ 674 w 682"/>
                <a:gd name="T17" fmla="*/ 128 h 312"/>
                <a:gd name="T18" fmla="*/ 682 w 682"/>
                <a:gd name="T19" fmla="*/ 96 h 312"/>
                <a:gd name="T20" fmla="*/ 649 w 682"/>
                <a:gd name="T21" fmla="*/ 72 h 312"/>
                <a:gd name="T22" fmla="*/ 649 w 682"/>
                <a:gd name="T23" fmla="*/ 24 h 312"/>
                <a:gd name="T24" fmla="*/ 564 w 682"/>
                <a:gd name="T25" fmla="*/ 24 h 312"/>
                <a:gd name="T26" fmla="*/ 488 w 682"/>
                <a:gd name="T27" fmla="*/ 0 h 312"/>
                <a:gd name="T28" fmla="*/ 463 w 682"/>
                <a:gd name="T29" fmla="*/ 48 h 312"/>
                <a:gd name="T30" fmla="*/ 413 w 682"/>
                <a:gd name="T31" fmla="*/ 64 h 312"/>
                <a:gd name="T32" fmla="*/ 371 w 682"/>
                <a:gd name="T33" fmla="*/ 40 h 312"/>
                <a:gd name="T34" fmla="*/ 371 w 682"/>
                <a:gd name="T35" fmla="*/ 64 h 312"/>
                <a:gd name="T36" fmla="*/ 337 w 682"/>
                <a:gd name="T37" fmla="*/ 64 h 312"/>
                <a:gd name="T38" fmla="*/ 328 w 682"/>
                <a:gd name="T39" fmla="*/ 96 h 312"/>
                <a:gd name="T40" fmla="*/ 295 w 682"/>
                <a:gd name="T41" fmla="*/ 120 h 312"/>
                <a:gd name="T42" fmla="*/ 312 w 682"/>
                <a:gd name="T43" fmla="*/ 152 h 312"/>
                <a:gd name="T44" fmla="*/ 312 w 682"/>
                <a:gd name="T45" fmla="*/ 184 h 312"/>
                <a:gd name="T46" fmla="*/ 253 w 682"/>
                <a:gd name="T47" fmla="*/ 168 h 312"/>
                <a:gd name="T48" fmla="*/ 185 w 682"/>
                <a:gd name="T49" fmla="*/ 192 h 312"/>
                <a:gd name="T50" fmla="*/ 143 w 682"/>
                <a:gd name="T51" fmla="*/ 200 h 312"/>
                <a:gd name="T52" fmla="*/ 84 w 682"/>
                <a:gd name="T53" fmla="*/ 192 h 312"/>
                <a:gd name="T54" fmla="*/ 50 w 682"/>
                <a:gd name="T55" fmla="*/ 208 h 312"/>
                <a:gd name="T56" fmla="*/ 8 w 682"/>
                <a:gd name="T57" fmla="*/ 200 h 312"/>
                <a:gd name="T58" fmla="*/ 0 w 682"/>
                <a:gd name="T59" fmla="*/ 240 h 312"/>
                <a:gd name="T60" fmla="*/ 25 w 682"/>
                <a:gd name="T61" fmla="*/ 256 h 312"/>
                <a:gd name="T62" fmla="*/ 42 w 682"/>
                <a:gd name="T63" fmla="*/ 272 h 312"/>
                <a:gd name="T64" fmla="*/ 84 w 682"/>
                <a:gd name="T65" fmla="*/ 264 h 312"/>
                <a:gd name="T66" fmla="*/ 92 w 682"/>
                <a:gd name="T67" fmla="*/ 304 h 312"/>
                <a:gd name="T68" fmla="*/ 101 w 682"/>
                <a:gd name="T69" fmla="*/ 280 h 312"/>
                <a:gd name="T70" fmla="*/ 135 w 682"/>
                <a:gd name="T71" fmla="*/ 288 h 312"/>
                <a:gd name="T72" fmla="*/ 168 w 682"/>
                <a:gd name="T73" fmla="*/ 256 h 312"/>
                <a:gd name="T74" fmla="*/ 244 w 682"/>
                <a:gd name="T75" fmla="*/ 248 h 312"/>
                <a:gd name="T76" fmla="*/ 261 w 682"/>
                <a:gd name="T77" fmla="*/ 272 h 312"/>
                <a:gd name="T78" fmla="*/ 379 w 682"/>
                <a:gd name="T79" fmla="*/ 304 h 312"/>
                <a:gd name="T80" fmla="*/ 379 w 682"/>
                <a:gd name="T81" fmla="*/ 312 h 312"/>
                <a:gd name="T82" fmla="*/ 413 w 682"/>
                <a:gd name="T83" fmla="*/ 304 h 312"/>
                <a:gd name="T84" fmla="*/ 472 w 682"/>
                <a:gd name="T85" fmla="*/ 304 h 3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82" h="312">
                  <a:moveTo>
                    <a:pt x="472" y="304"/>
                  </a:moveTo>
                  <a:lnTo>
                    <a:pt x="505" y="280"/>
                  </a:lnTo>
                  <a:lnTo>
                    <a:pt x="556" y="280"/>
                  </a:lnTo>
                  <a:lnTo>
                    <a:pt x="598" y="272"/>
                  </a:lnTo>
                  <a:lnTo>
                    <a:pt x="598" y="248"/>
                  </a:lnTo>
                  <a:lnTo>
                    <a:pt x="623" y="224"/>
                  </a:lnTo>
                  <a:lnTo>
                    <a:pt x="632" y="184"/>
                  </a:lnTo>
                  <a:lnTo>
                    <a:pt x="632" y="144"/>
                  </a:lnTo>
                  <a:lnTo>
                    <a:pt x="674" y="128"/>
                  </a:lnTo>
                  <a:lnTo>
                    <a:pt x="682" y="96"/>
                  </a:lnTo>
                  <a:lnTo>
                    <a:pt x="649" y="72"/>
                  </a:lnTo>
                  <a:lnTo>
                    <a:pt x="649" y="24"/>
                  </a:lnTo>
                  <a:lnTo>
                    <a:pt x="564" y="24"/>
                  </a:lnTo>
                  <a:lnTo>
                    <a:pt x="488" y="0"/>
                  </a:lnTo>
                  <a:lnTo>
                    <a:pt x="463" y="48"/>
                  </a:lnTo>
                  <a:lnTo>
                    <a:pt x="413" y="64"/>
                  </a:lnTo>
                  <a:lnTo>
                    <a:pt x="371" y="40"/>
                  </a:lnTo>
                  <a:lnTo>
                    <a:pt x="371" y="64"/>
                  </a:lnTo>
                  <a:lnTo>
                    <a:pt x="337" y="64"/>
                  </a:lnTo>
                  <a:lnTo>
                    <a:pt x="328" y="96"/>
                  </a:lnTo>
                  <a:lnTo>
                    <a:pt x="295" y="120"/>
                  </a:lnTo>
                  <a:lnTo>
                    <a:pt x="312" y="152"/>
                  </a:lnTo>
                  <a:lnTo>
                    <a:pt x="312" y="184"/>
                  </a:lnTo>
                  <a:lnTo>
                    <a:pt x="253" y="168"/>
                  </a:lnTo>
                  <a:lnTo>
                    <a:pt x="185" y="192"/>
                  </a:lnTo>
                  <a:lnTo>
                    <a:pt x="143" y="200"/>
                  </a:lnTo>
                  <a:lnTo>
                    <a:pt x="84" y="192"/>
                  </a:lnTo>
                  <a:lnTo>
                    <a:pt x="50" y="208"/>
                  </a:lnTo>
                  <a:lnTo>
                    <a:pt x="8" y="200"/>
                  </a:lnTo>
                  <a:lnTo>
                    <a:pt x="0" y="240"/>
                  </a:lnTo>
                  <a:lnTo>
                    <a:pt x="25" y="256"/>
                  </a:lnTo>
                  <a:lnTo>
                    <a:pt x="42" y="272"/>
                  </a:lnTo>
                  <a:lnTo>
                    <a:pt x="84" y="264"/>
                  </a:lnTo>
                  <a:lnTo>
                    <a:pt x="92" y="304"/>
                  </a:lnTo>
                  <a:lnTo>
                    <a:pt x="101" y="280"/>
                  </a:lnTo>
                  <a:lnTo>
                    <a:pt x="135" y="288"/>
                  </a:lnTo>
                  <a:lnTo>
                    <a:pt x="168" y="256"/>
                  </a:lnTo>
                  <a:lnTo>
                    <a:pt x="244" y="248"/>
                  </a:lnTo>
                  <a:lnTo>
                    <a:pt x="261" y="272"/>
                  </a:lnTo>
                  <a:lnTo>
                    <a:pt x="379" y="304"/>
                  </a:lnTo>
                  <a:lnTo>
                    <a:pt x="379" y="312"/>
                  </a:lnTo>
                  <a:lnTo>
                    <a:pt x="413" y="304"/>
                  </a:lnTo>
                  <a:lnTo>
                    <a:pt x="472" y="30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7" name="Freeform 46"/>
            <p:cNvSpPr>
              <a:spLocks/>
            </p:cNvSpPr>
            <p:nvPr>
              <p:custDataLst>
                <p:tags r:id="rId43"/>
              </p:custDataLst>
            </p:nvPr>
          </p:nvSpPr>
          <p:spPr bwMode="auto">
            <a:xfrm>
              <a:off x="3398" y="2928"/>
              <a:ext cx="421" cy="232"/>
            </a:xfrm>
            <a:custGeom>
              <a:avLst/>
              <a:gdLst>
                <a:gd name="T0" fmla="*/ 371 w 421"/>
                <a:gd name="T1" fmla="*/ 104 h 232"/>
                <a:gd name="T2" fmla="*/ 354 w 421"/>
                <a:gd name="T3" fmla="*/ 88 h 232"/>
                <a:gd name="T4" fmla="*/ 329 w 421"/>
                <a:gd name="T5" fmla="*/ 72 h 232"/>
                <a:gd name="T6" fmla="*/ 337 w 421"/>
                <a:gd name="T7" fmla="*/ 32 h 232"/>
                <a:gd name="T8" fmla="*/ 337 w 421"/>
                <a:gd name="T9" fmla="*/ 24 h 232"/>
                <a:gd name="T10" fmla="*/ 253 w 421"/>
                <a:gd name="T11" fmla="*/ 0 h 232"/>
                <a:gd name="T12" fmla="*/ 219 w 421"/>
                <a:gd name="T13" fmla="*/ 16 h 232"/>
                <a:gd name="T14" fmla="*/ 169 w 421"/>
                <a:gd name="T15" fmla="*/ 24 h 232"/>
                <a:gd name="T16" fmla="*/ 143 w 421"/>
                <a:gd name="T17" fmla="*/ 16 h 232"/>
                <a:gd name="T18" fmla="*/ 118 w 421"/>
                <a:gd name="T19" fmla="*/ 32 h 232"/>
                <a:gd name="T20" fmla="*/ 84 w 421"/>
                <a:gd name="T21" fmla="*/ 40 h 232"/>
                <a:gd name="T22" fmla="*/ 76 w 421"/>
                <a:gd name="T23" fmla="*/ 72 h 232"/>
                <a:gd name="T24" fmla="*/ 51 w 421"/>
                <a:gd name="T25" fmla="*/ 88 h 232"/>
                <a:gd name="T26" fmla="*/ 42 w 421"/>
                <a:gd name="T27" fmla="*/ 112 h 232"/>
                <a:gd name="T28" fmla="*/ 9 w 421"/>
                <a:gd name="T29" fmla="*/ 152 h 232"/>
                <a:gd name="T30" fmla="*/ 0 w 421"/>
                <a:gd name="T31" fmla="*/ 184 h 232"/>
                <a:gd name="T32" fmla="*/ 34 w 421"/>
                <a:gd name="T33" fmla="*/ 168 h 232"/>
                <a:gd name="T34" fmla="*/ 76 w 421"/>
                <a:gd name="T35" fmla="*/ 184 h 232"/>
                <a:gd name="T36" fmla="*/ 84 w 421"/>
                <a:gd name="T37" fmla="*/ 200 h 232"/>
                <a:gd name="T38" fmla="*/ 101 w 421"/>
                <a:gd name="T39" fmla="*/ 224 h 232"/>
                <a:gd name="T40" fmla="*/ 177 w 421"/>
                <a:gd name="T41" fmla="*/ 216 h 232"/>
                <a:gd name="T42" fmla="*/ 219 w 421"/>
                <a:gd name="T43" fmla="*/ 152 h 232"/>
                <a:gd name="T44" fmla="*/ 287 w 421"/>
                <a:gd name="T45" fmla="*/ 232 h 232"/>
                <a:gd name="T46" fmla="*/ 312 w 421"/>
                <a:gd name="T47" fmla="*/ 152 h 232"/>
                <a:gd name="T48" fmla="*/ 354 w 421"/>
                <a:gd name="T49" fmla="*/ 160 h 232"/>
                <a:gd name="T50" fmla="*/ 379 w 421"/>
                <a:gd name="T51" fmla="*/ 144 h 232"/>
                <a:gd name="T52" fmla="*/ 413 w 421"/>
                <a:gd name="T53" fmla="*/ 144 h 232"/>
                <a:gd name="T54" fmla="*/ 421 w 421"/>
                <a:gd name="T55" fmla="*/ 136 h 232"/>
                <a:gd name="T56" fmla="*/ 413 w 421"/>
                <a:gd name="T57" fmla="*/ 96 h 232"/>
                <a:gd name="T58" fmla="*/ 371 w 421"/>
                <a:gd name="T59" fmla="*/ 104 h 23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1" h="232">
                  <a:moveTo>
                    <a:pt x="371" y="104"/>
                  </a:moveTo>
                  <a:lnTo>
                    <a:pt x="354" y="88"/>
                  </a:lnTo>
                  <a:lnTo>
                    <a:pt x="329" y="72"/>
                  </a:lnTo>
                  <a:lnTo>
                    <a:pt x="337" y="32"/>
                  </a:lnTo>
                  <a:lnTo>
                    <a:pt x="337" y="24"/>
                  </a:lnTo>
                  <a:lnTo>
                    <a:pt x="253" y="0"/>
                  </a:lnTo>
                  <a:lnTo>
                    <a:pt x="219" y="16"/>
                  </a:lnTo>
                  <a:lnTo>
                    <a:pt x="169" y="24"/>
                  </a:lnTo>
                  <a:lnTo>
                    <a:pt x="143" y="16"/>
                  </a:lnTo>
                  <a:lnTo>
                    <a:pt x="118" y="32"/>
                  </a:lnTo>
                  <a:lnTo>
                    <a:pt x="84" y="40"/>
                  </a:lnTo>
                  <a:lnTo>
                    <a:pt x="76" y="72"/>
                  </a:lnTo>
                  <a:lnTo>
                    <a:pt x="51" y="88"/>
                  </a:lnTo>
                  <a:lnTo>
                    <a:pt x="42" y="112"/>
                  </a:lnTo>
                  <a:lnTo>
                    <a:pt x="9" y="152"/>
                  </a:lnTo>
                  <a:lnTo>
                    <a:pt x="0" y="184"/>
                  </a:lnTo>
                  <a:lnTo>
                    <a:pt x="34" y="168"/>
                  </a:lnTo>
                  <a:lnTo>
                    <a:pt x="76" y="184"/>
                  </a:lnTo>
                  <a:lnTo>
                    <a:pt x="84" y="200"/>
                  </a:lnTo>
                  <a:lnTo>
                    <a:pt x="101" y="224"/>
                  </a:lnTo>
                  <a:lnTo>
                    <a:pt x="177" y="216"/>
                  </a:lnTo>
                  <a:lnTo>
                    <a:pt x="219" y="152"/>
                  </a:lnTo>
                  <a:lnTo>
                    <a:pt x="287" y="232"/>
                  </a:lnTo>
                  <a:lnTo>
                    <a:pt x="312" y="152"/>
                  </a:lnTo>
                  <a:lnTo>
                    <a:pt x="354" y="160"/>
                  </a:lnTo>
                  <a:lnTo>
                    <a:pt x="379" y="144"/>
                  </a:lnTo>
                  <a:lnTo>
                    <a:pt x="413" y="144"/>
                  </a:lnTo>
                  <a:lnTo>
                    <a:pt x="421" y="136"/>
                  </a:lnTo>
                  <a:lnTo>
                    <a:pt x="413" y="96"/>
                  </a:lnTo>
                  <a:lnTo>
                    <a:pt x="371" y="104"/>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8" name="Freeform 47"/>
            <p:cNvSpPr>
              <a:spLocks/>
            </p:cNvSpPr>
            <p:nvPr>
              <p:custDataLst>
                <p:tags r:id="rId44"/>
              </p:custDataLst>
            </p:nvPr>
          </p:nvSpPr>
          <p:spPr bwMode="auto">
            <a:xfrm>
              <a:off x="3727" y="2760"/>
              <a:ext cx="682" cy="312"/>
            </a:xfrm>
            <a:custGeom>
              <a:avLst/>
              <a:gdLst>
                <a:gd name="T0" fmla="*/ 472 w 682"/>
                <a:gd name="T1" fmla="*/ 304 h 312"/>
                <a:gd name="T2" fmla="*/ 505 w 682"/>
                <a:gd name="T3" fmla="*/ 280 h 312"/>
                <a:gd name="T4" fmla="*/ 556 w 682"/>
                <a:gd name="T5" fmla="*/ 280 h 312"/>
                <a:gd name="T6" fmla="*/ 598 w 682"/>
                <a:gd name="T7" fmla="*/ 272 h 312"/>
                <a:gd name="T8" fmla="*/ 598 w 682"/>
                <a:gd name="T9" fmla="*/ 248 h 312"/>
                <a:gd name="T10" fmla="*/ 623 w 682"/>
                <a:gd name="T11" fmla="*/ 224 h 312"/>
                <a:gd name="T12" fmla="*/ 632 w 682"/>
                <a:gd name="T13" fmla="*/ 184 h 312"/>
                <a:gd name="T14" fmla="*/ 632 w 682"/>
                <a:gd name="T15" fmla="*/ 144 h 312"/>
                <a:gd name="T16" fmla="*/ 674 w 682"/>
                <a:gd name="T17" fmla="*/ 128 h 312"/>
                <a:gd name="T18" fmla="*/ 682 w 682"/>
                <a:gd name="T19" fmla="*/ 96 h 312"/>
                <a:gd name="T20" fmla="*/ 649 w 682"/>
                <a:gd name="T21" fmla="*/ 72 h 312"/>
                <a:gd name="T22" fmla="*/ 649 w 682"/>
                <a:gd name="T23" fmla="*/ 24 h 312"/>
                <a:gd name="T24" fmla="*/ 564 w 682"/>
                <a:gd name="T25" fmla="*/ 24 h 312"/>
                <a:gd name="T26" fmla="*/ 488 w 682"/>
                <a:gd name="T27" fmla="*/ 0 h 312"/>
                <a:gd name="T28" fmla="*/ 463 w 682"/>
                <a:gd name="T29" fmla="*/ 48 h 312"/>
                <a:gd name="T30" fmla="*/ 413 w 682"/>
                <a:gd name="T31" fmla="*/ 64 h 312"/>
                <a:gd name="T32" fmla="*/ 371 w 682"/>
                <a:gd name="T33" fmla="*/ 40 h 312"/>
                <a:gd name="T34" fmla="*/ 371 w 682"/>
                <a:gd name="T35" fmla="*/ 64 h 312"/>
                <a:gd name="T36" fmla="*/ 337 w 682"/>
                <a:gd name="T37" fmla="*/ 64 h 312"/>
                <a:gd name="T38" fmla="*/ 328 w 682"/>
                <a:gd name="T39" fmla="*/ 96 h 312"/>
                <a:gd name="T40" fmla="*/ 295 w 682"/>
                <a:gd name="T41" fmla="*/ 120 h 312"/>
                <a:gd name="T42" fmla="*/ 312 w 682"/>
                <a:gd name="T43" fmla="*/ 152 h 312"/>
                <a:gd name="T44" fmla="*/ 312 w 682"/>
                <a:gd name="T45" fmla="*/ 184 h 312"/>
                <a:gd name="T46" fmla="*/ 253 w 682"/>
                <a:gd name="T47" fmla="*/ 168 h 312"/>
                <a:gd name="T48" fmla="*/ 185 w 682"/>
                <a:gd name="T49" fmla="*/ 192 h 312"/>
                <a:gd name="T50" fmla="*/ 143 w 682"/>
                <a:gd name="T51" fmla="*/ 200 h 312"/>
                <a:gd name="T52" fmla="*/ 84 w 682"/>
                <a:gd name="T53" fmla="*/ 192 h 312"/>
                <a:gd name="T54" fmla="*/ 50 w 682"/>
                <a:gd name="T55" fmla="*/ 208 h 312"/>
                <a:gd name="T56" fmla="*/ 8 w 682"/>
                <a:gd name="T57" fmla="*/ 200 h 312"/>
                <a:gd name="T58" fmla="*/ 0 w 682"/>
                <a:gd name="T59" fmla="*/ 240 h 312"/>
                <a:gd name="T60" fmla="*/ 25 w 682"/>
                <a:gd name="T61" fmla="*/ 256 h 312"/>
                <a:gd name="T62" fmla="*/ 42 w 682"/>
                <a:gd name="T63" fmla="*/ 272 h 312"/>
                <a:gd name="T64" fmla="*/ 84 w 682"/>
                <a:gd name="T65" fmla="*/ 264 h 312"/>
                <a:gd name="T66" fmla="*/ 92 w 682"/>
                <a:gd name="T67" fmla="*/ 304 h 312"/>
                <a:gd name="T68" fmla="*/ 101 w 682"/>
                <a:gd name="T69" fmla="*/ 280 h 312"/>
                <a:gd name="T70" fmla="*/ 135 w 682"/>
                <a:gd name="T71" fmla="*/ 288 h 312"/>
                <a:gd name="T72" fmla="*/ 168 w 682"/>
                <a:gd name="T73" fmla="*/ 256 h 312"/>
                <a:gd name="T74" fmla="*/ 244 w 682"/>
                <a:gd name="T75" fmla="*/ 248 h 312"/>
                <a:gd name="T76" fmla="*/ 261 w 682"/>
                <a:gd name="T77" fmla="*/ 272 h 312"/>
                <a:gd name="T78" fmla="*/ 379 w 682"/>
                <a:gd name="T79" fmla="*/ 304 h 312"/>
                <a:gd name="T80" fmla="*/ 379 w 682"/>
                <a:gd name="T81" fmla="*/ 312 h 312"/>
                <a:gd name="T82" fmla="*/ 413 w 682"/>
                <a:gd name="T83" fmla="*/ 304 h 312"/>
                <a:gd name="T84" fmla="*/ 472 w 682"/>
                <a:gd name="T85" fmla="*/ 304 h 3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82" h="312">
                  <a:moveTo>
                    <a:pt x="472" y="304"/>
                  </a:moveTo>
                  <a:lnTo>
                    <a:pt x="505" y="280"/>
                  </a:lnTo>
                  <a:lnTo>
                    <a:pt x="556" y="280"/>
                  </a:lnTo>
                  <a:lnTo>
                    <a:pt x="598" y="272"/>
                  </a:lnTo>
                  <a:lnTo>
                    <a:pt x="598" y="248"/>
                  </a:lnTo>
                  <a:lnTo>
                    <a:pt x="623" y="224"/>
                  </a:lnTo>
                  <a:lnTo>
                    <a:pt x="632" y="184"/>
                  </a:lnTo>
                  <a:lnTo>
                    <a:pt x="632" y="144"/>
                  </a:lnTo>
                  <a:lnTo>
                    <a:pt x="674" y="128"/>
                  </a:lnTo>
                  <a:lnTo>
                    <a:pt x="682" y="96"/>
                  </a:lnTo>
                  <a:lnTo>
                    <a:pt x="649" y="72"/>
                  </a:lnTo>
                  <a:lnTo>
                    <a:pt x="649" y="24"/>
                  </a:lnTo>
                  <a:lnTo>
                    <a:pt x="564" y="24"/>
                  </a:lnTo>
                  <a:lnTo>
                    <a:pt x="488" y="0"/>
                  </a:lnTo>
                  <a:lnTo>
                    <a:pt x="463" y="48"/>
                  </a:lnTo>
                  <a:lnTo>
                    <a:pt x="413" y="64"/>
                  </a:lnTo>
                  <a:lnTo>
                    <a:pt x="371" y="40"/>
                  </a:lnTo>
                  <a:lnTo>
                    <a:pt x="371" y="64"/>
                  </a:lnTo>
                  <a:lnTo>
                    <a:pt x="337" y="64"/>
                  </a:lnTo>
                  <a:lnTo>
                    <a:pt x="328" y="96"/>
                  </a:lnTo>
                  <a:lnTo>
                    <a:pt x="295" y="120"/>
                  </a:lnTo>
                  <a:lnTo>
                    <a:pt x="312" y="152"/>
                  </a:lnTo>
                  <a:lnTo>
                    <a:pt x="312" y="184"/>
                  </a:lnTo>
                  <a:lnTo>
                    <a:pt x="253" y="168"/>
                  </a:lnTo>
                  <a:lnTo>
                    <a:pt x="185" y="192"/>
                  </a:lnTo>
                  <a:lnTo>
                    <a:pt x="143" y="200"/>
                  </a:lnTo>
                  <a:lnTo>
                    <a:pt x="84" y="192"/>
                  </a:lnTo>
                  <a:lnTo>
                    <a:pt x="50" y="208"/>
                  </a:lnTo>
                  <a:lnTo>
                    <a:pt x="8" y="200"/>
                  </a:lnTo>
                  <a:lnTo>
                    <a:pt x="0" y="240"/>
                  </a:lnTo>
                  <a:lnTo>
                    <a:pt x="25" y="256"/>
                  </a:lnTo>
                  <a:lnTo>
                    <a:pt x="42" y="272"/>
                  </a:lnTo>
                  <a:lnTo>
                    <a:pt x="84" y="264"/>
                  </a:lnTo>
                  <a:lnTo>
                    <a:pt x="92" y="304"/>
                  </a:lnTo>
                  <a:lnTo>
                    <a:pt x="101" y="280"/>
                  </a:lnTo>
                  <a:lnTo>
                    <a:pt x="135" y="288"/>
                  </a:lnTo>
                  <a:lnTo>
                    <a:pt x="168" y="256"/>
                  </a:lnTo>
                  <a:lnTo>
                    <a:pt x="244" y="248"/>
                  </a:lnTo>
                  <a:lnTo>
                    <a:pt x="261" y="272"/>
                  </a:lnTo>
                  <a:lnTo>
                    <a:pt x="379" y="304"/>
                  </a:lnTo>
                  <a:lnTo>
                    <a:pt x="379" y="312"/>
                  </a:lnTo>
                  <a:lnTo>
                    <a:pt x="413" y="304"/>
                  </a:lnTo>
                  <a:lnTo>
                    <a:pt x="472" y="304"/>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9" name="Freeform 48"/>
            <p:cNvSpPr>
              <a:spLocks/>
            </p:cNvSpPr>
            <p:nvPr>
              <p:custDataLst>
                <p:tags r:id="rId45"/>
              </p:custDataLst>
            </p:nvPr>
          </p:nvSpPr>
          <p:spPr bwMode="auto">
            <a:xfrm>
              <a:off x="3946" y="2512"/>
              <a:ext cx="581" cy="312"/>
            </a:xfrm>
            <a:custGeom>
              <a:avLst/>
              <a:gdLst>
                <a:gd name="T0" fmla="*/ 497 w 581"/>
                <a:gd name="T1" fmla="*/ 248 h 312"/>
                <a:gd name="T2" fmla="*/ 531 w 581"/>
                <a:gd name="T3" fmla="*/ 200 h 312"/>
                <a:gd name="T4" fmla="*/ 556 w 581"/>
                <a:gd name="T5" fmla="*/ 176 h 312"/>
                <a:gd name="T6" fmla="*/ 581 w 581"/>
                <a:gd name="T7" fmla="*/ 152 h 312"/>
                <a:gd name="T8" fmla="*/ 564 w 581"/>
                <a:gd name="T9" fmla="*/ 120 h 312"/>
                <a:gd name="T10" fmla="*/ 522 w 581"/>
                <a:gd name="T11" fmla="*/ 112 h 312"/>
                <a:gd name="T12" fmla="*/ 480 w 581"/>
                <a:gd name="T13" fmla="*/ 104 h 312"/>
                <a:gd name="T14" fmla="*/ 463 w 581"/>
                <a:gd name="T15" fmla="*/ 80 h 312"/>
                <a:gd name="T16" fmla="*/ 413 w 581"/>
                <a:gd name="T17" fmla="*/ 64 h 312"/>
                <a:gd name="T18" fmla="*/ 413 w 581"/>
                <a:gd name="T19" fmla="*/ 88 h 312"/>
                <a:gd name="T20" fmla="*/ 387 w 581"/>
                <a:gd name="T21" fmla="*/ 104 h 312"/>
                <a:gd name="T22" fmla="*/ 345 w 581"/>
                <a:gd name="T23" fmla="*/ 72 h 312"/>
                <a:gd name="T24" fmla="*/ 354 w 581"/>
                <a:gd name="T25" fmla="*/ 40 h 312"/>
                <a:gd name="T26" fmla="*/ 312 w 581"/>
                <a:gd name="T27" fmla="*/ 40 h 312"/>
                <a:gd name="T28" fmla="*/ 269 w 581"/>
                <a:gd name="T29" fmla="*/ 24 h 312"/>
                <a:gd name="T30" fmla="*/ 227 w 581"/>
                <a:gd name="T31" fmla="*/ 0 h 312"/>
                <a:gd name="T32" fmla="*/ 227 w 581"/>
                <a:gd name="T33" fmla="*/ 24 h 312"/>
                <a:gd name="T34" fmla="*/ 202 w 581"/>
                <a:gd name="T35" fmla="*/ 8 h 312"/>
                <a:gd name="T36" fmla="*/ 168 w 581"/>
                <a:gd name="T37" fmla="*/ 8 h 312"/>
                <a:gd name="T38" fmla="*/ 160 w 581"/>
                <a:gd name="T39" fmla="*/ 40 h 312"/>
                <a:gd name="T40" fmla="*/ 118 w 581"/>
                <a:gd name="T41" fmla="*/ 56 h 312"/>
                <a:gd name="T42" fmla="*/ 76 w 581"/>
                <a:gd name="T43" fmla="*/ 80 h 312"/>
                <a:gd name="T44" fmla="*/ 34 w 581"/>
                <a:gd name="T45" fmla="*/ 88 h 312"/>
                <a:gd name="T46" fmla="*/ 0 w 581"/>
                <a:gd name="T47" fmla="*/ 112 h 312"/>
                <a:gd name="T48" fmla="*/ 34 w 581"/>
                <a:gd name="T49" fmla="*/ 152 h 312"/>
                <a:gd name="T50" fmla="*/ 25 w 581"/>
                <a:gd name="T51" fmla="*/ 176 h 312"/>
                <a:gd name="T52" fmla="*/ 84 w 581"/>
                <a:gd name="T53" fmla="*/ 224 h 312"/>
                <a:gd name="T54" fmla="*/ 160 w 581"/>
                <a:gd name="T55" fmla="*/ 280 h 312"/>
                <a:gd name="T56" fmla="*/ 152 w 581"/>
                <a:gd name="T57" fmla="*/ 288 h 312"/>
                <a:gd name="T58" fmla="*/ 194 w 581"/>
                <a:gd name="T59" fmla="*/ 312 h 312"/>
                <a:gd name="T60" fmla="*/ 244 w 581"/>
                <a:gd name="T61" fmla="*/ 296 h 312"/>
                <a:gd name="T62" fmla="*/ 269 w 581"/>
                <a:gd name="T63" fmla="*/ 248 h 312"/>
                <a:gd name="T64" fmla="*/ 345 w 581"/>
                <a:gd name="T65" fmla="*/ 272 h 312"/>
                <a:gd name="T66" fmla="*/ 430 w 581"/>
                <a:gd name="T67" fmla="*/ 272 h 312"/>
                <a:gd name="T68" fmla="*/ 430 w 581"/>
                <a:gd name="T69" fmla="*/ 280 h 312"/>
                <a:gd name="T70" fmla="*/ 455 w 581"/>
                <a:gd name="T71" fmla="*/ 248 h 312"/>
                <a:gd name="T72" fmla="*/ 497 w 581"/>
                <a:gd name="T73" fmla="*/ 248 h 31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81" h="312">
                  <a:moveTo>
                    <a:pt x="497" y="248"/>
                  </a:moveTo>
                  <a:lnTo>
                    <a:pt x="531" y="200"/>
                  </a:lnTo>
                  <a:lnTo>
                    <a:pt x="556" y="176"/>
                  </a:lnTo>
                  <a:lnTo>
                    <a:pt x="581" y="152"/>
                  </a:lnTo>
                  <a:lnTo>
                    <a:pt x="564" y="120"/>
                  </a:lnTo>
                  <a:lnTo>
                    <a:pt x="522" y="112"/>
                  </a:lnTo>
                  <a:lnTo>
                    <a:pt x="480" y="104"/>
                  </a:lnTo>
                  <a:lnTo>
                    <a:pt x="463" y="80"/>
                  </a:lnTo>
                  <a:lnTo>
                    <a:pt x="413" y="64"/>
                  </a:lnTo>
                  <a:lnTo>
                    <a:pt x="413" y="88"/>
                  </a:lnTo>
                  <a:lnTo>
                    <a:pt x="387" y="104"/>
                  </a:lnTo>
                  <a:lnTo>
                    <a:pt x="345" y="72"/>
                  </a:lnTo>
                  <a:lnTo>
                    <a:pt x="354" y="40"/>
                  </a:lnTo>
                  <a:lnTo>
                    <a:pt x="312" y="40"/>
                  </a:lnTo>
                  <a:lnTo>
                    <a:pt x="269" y="24"/>
                  </a:lnTo>
                  <a:lnTo>
                    <a:pt x="227" y="0"/>
                  </a:lnTo>
                  <a:lnTo>
                    <a:pt x="227" y="24"/>
                  </a:lnTo>
                  <a:lnTo>
                    <a:pt x="202" y="8"/>
                  </a:lnTo>
                  <a:lnTo>
                    <a:pt x="168" y="8"/>
                  </a:lnTo>
                  <a:lnTo>
                    <a:pt x="160" y="40"/>
                  </a:lnTo>
                  <a:lnTo>
                    <a:pt x="118" y="56"/>
                  </a:lnTo>
                  <a:lnTo>
                    <a:pt x="76" y="80"/>
                  </a:lnTo>
                  <a:lnTo>
                    <a:pt x="34" y="88"/>
                  </a:lnTo>
                  <a:lnTo>
                    <a:pt x="0" y="112"/>
                  </a:lnTo>
                  <a:lnTo>
                    <a:pt x="34" y="152"/>
                  </a:lnTo>
                  <a:lnTo>
                    <a:pt x="25" y="176"/>
                  </a:lnTo>
                  <a:lnTo>
                    <a:pt x="84" y="224"/>
                  </a:lnTo>
                  <a:lnTo>
                    <a:pt x="160" y="280"/>
                  </a:lnTo>
                  <a:lnTo>
                    <a:pt x="152" y="288"/>
                  </a:lnTo>
                  <a:lnTo>
                    <a:pt x="194" y="312"/>
                  </a:lnTo>
                  <a:lnTo>
                    <a:pt x="244" y="296"/>
                  </a:lnTo>
                  <a:lnTo>
                    <a:pt x="269" y="248"/>
                  </a:lnTo>
                  <a:lnTo>
                    <a:pt x="345" y="272"/>
                  </a:lnTo>
                  <a:lnTo>
                    <a:pt x="430" y="272"/>
                  </a:lnTo>
                  <a:lnTo>
                    <a:pt x="430" y="280"/>
                  </a:lnTo>
                  <a:lnTo>
                    <a:pt x="455" y="248"/>
                  </a:lnTo>
                  <a:lnTo>
                    <a:pt x="497" y="248"/>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0" name="Freeform 49"/>
            <p:cNvSpPr>
              <a:spLocks/>
            </p:cNvSpPr>
            <p:nvPr>
              <p:custDataLst>
                <p:tags r:id="rId46"/>
              </p:custDataLst>
            </p:nvPr>
          </p:nvSpPr>
          <p:spPr bwMode="auto">
            <a:xfrm>
              <a:off x="4098" y="3000"/>
              <a:ext cx="278" cy="200"/>
            </a:xfrm>
            <a:custGeom>
              <a:avLst/>
              <a:gdLst>
                <a:gd name="T0" fmla="*/ 50 w 278"/>
                <a:gd name="T1" fmla="*/ 192 h 200"/>
                <a:gd name="T2" fmla="*/ 92 w 278"/>
                <a:gd name="T3" fmla="*/ 160 h 200"/>
                <a:gd name="T4" fmla="*/ 117 w 278"/>
                <a:gd name="T5" fmla="*/ 176 h 200"/>
                <a:gd name="T6" fmla="*/ 151 w 278"/>
                <a:gd name="T7" fmla="*/ 184 h 200"/>
                <a:gd name="T8" fmla="*/ 168 w 278"/>
                <a:gd name="T9" fmla="*/ 152 h 200"/>
                <a:gd name="T10" fmla="*/ 202 w 278"/>
                <a:gd name="T11" fmla="*/ 144 h 200"/>
                <a:gd name="T12" fmla="*/ 202 w 278"/>
                <a:gd name="T13" fmla="*/ 104 h 200"/>
                <a:gd name="T14" fmla="*/ 235 w 278"/>
                <a:gd name="T15" fmla="*/ 64 h 200"/>
                <a:gd name="T16" fmla="*/ 278 w 278"/>
                <a:gd name="T17" fmla="*/ 48 h 200"/>
                <a:gd name="T18" fmla="*/ 235 w 278"/>
                <a:gd name="T19" fmla="*/ 0 h 200"/>
                <a:gd name="T20" fmla="*/ 227 w 278"/>
                <a:gd name="T21" fmla="*/ 8 h 200"/>
                <a:gd name="T22" fmla="*/ 227 w 278"/>
                <a:gd name="T23" fmla="*/ 32 h 200"/>
                <a:gd name="T24" fmla="*/ 185 w 278"/>
                <a:gd name="T25" fmla="*/ 40 h 200"/>
                <a:gd name="T26" fmla="*/ 134 w 278"/>
                <a:gd name="T27" fmla="*/ 40 h 200"/>
                <a:gd name="T28" fmla="*/ 101 w 278"/>
                <a:gd name="T29" fmla="*/ 64 h 200"/>
                <a:gd name="T30" fmla="*/ 42 w 278"/>
                <a:gd name="T31" fmla="*/ 64 h 200"/>
                <a:gd name="T32" fmla="*/ 8 w 278"/>
                <a:gd name="T33" fmla="*/ 72 h 200"/>
                <a:gd name="T34" fmla="*/ 0 w 278"/>
                <a:gd name="T35" fmla="*/ 96 h 200"/>
                <a:gd name="T36" fmla="*/ 8 w 278"/>
                <a:gd name="T37" fmla="*/ 152 h 200"/>
                <a:gd name="T38" fmla="*/ 0 w 278"/>
                <a:gd name="T39" fmla="*/ 160 h 200"/>
                <a:gd name="T40" fmla="*/ 25 w 278"/>
                <a:gd name="T41" fmla="*/ 152 h 200"/>
                <a:gd name="T42" fmla="*/ 8 w 278"/>
                <a:gd name="T43" fmla="*/ 176 h 200"/>
                <a:gd name="T44" fmla="*/ 8 w 278"/>
                <a:gd name="T45" fmla="*/ 200 h 200"/>
                <a:gd name="T46" fmla="*/ 16 w 278"/>
                <a:gd name="T47" fmla="*/ 200 h 200"/>
                <a:gd name="T48" fmla="*/ 50 w 278"/>
                <a:gd name="T49" fmla="*/ 192 h 2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78" h="200">
                  <a:moveTo>
                    <a:pt x="50" y="192"/>
                  </a:moveTo>
                  <a:lnTo>
                    <a:pt x="92" y="160"/>
                  </a:lnTo>
                  <a:lnTo>
                    <a:pt x="117" y="176"/>
                  </a:lnTo>
                  <a:lnTo>
                    <a:pt x="151" y="184"/>
                  </a:lnTo>
                  <a:lnTo>
                    <a:pt x="168" y="152"/>
                  </a:lnTo>
                  <a:lnTo>
                    <a:pt x="202" y="144"/>
                  </a:lnTo>
                  <a:lnTo>
                    <a:pt x="202" y="104"/>
                  </a:lnTo>
                  <a:lnTo>
                    <a:pt x="235" y="64"/>
                  </a:lnTo>
                  <a:lnTo>
                    <a:pt x="278" y="48"/>
                  </a:lnTo>
                  <a:lnTo>
                    <a:pt x="235" y="0"/>
                  </a:lnTo>
                  <a:lnTo>
                    <a:pt x="227" y="8"/>
                  </a:lnTo>
                  <a:lnTo>
                    <a:pt x="227" y="32"/>
                  </a:lnTo>
                  <a:lnTo>
                    <a:pt x="185" y="40"/>
                  </a:lnTo>
                  <a:lnTo>
                    <a:pt x="134" y="40"/>
                  </a:lnTo>
                  <a:lnTo>
                    <a:pt x="101" y="64"/>
                  </a:lnTo>
                  <a:lnTo>
                    <a:pt x="42" y="64"/>
                  </a:lnTo>
                  <a:lnTo>
                    <a:pt x="8" y="72"/>
                  </a:lnTo>
                  <a:lnTo>
                    <a:pt x="0" y="96"/>
                  </a:lnTo>
                  <a:lnTo>
                    <a:pt x="8" y="152"/>
                  </a:lnTo>
                  <a:lnTo>
                    <a:pt x="0" y="160"/>
                  </a:lnTo>
                  <a:lnTo>
                    <a:pt x="25" y="152"/>
                  </a:lnTo>
                  <a:lnTo>
                    <a:pt x="8" y="176"/>
                  </a:lnTo>
                  <a:lnTo>
                    <a:pt x="8" y="200"/>
                  </a:lnTo>
                  <a:lnTo>
                    <a:pt x="16" y="200"/>
                  </a:lnTo>
                  <a:lnTo>
                    <a:pt x="50" y="19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1" name="Freeform 50"/>
            <p:cNvSpPr>
              <a:spLocks/>
            </p:cNvSpPr>
            <p:nvPr>
              <p:custDataLst>
                <p:tags r:id="rId47"/>
              </p:custDataLst>
            </p:nvPr>
          </p:nvSpPr>
          <p:spPr bwMode="auto">
            <a:xfrm>
              <a:off x="4106" y="3056"/>
              <a:ext cx="548" cy="416"/>
            </a:xfrm>
            <a:custGeom>
              <a:avLst/>
              <a:gdLst>
                <a:gd name="T0" fmla="*/ 388 w 548"/>
                <a:gd name="T1" fmla="*/ 360 h 416"/>
                <a:gd name="T2" fmla="*/ 379 w 548"/>
                <a:gd name="T3" fmla="*/ 344 h 416"/>
                <a:gd name="T4" fmla="*/ 345 w 548"/>
                <a:gd name="T5" fmla="*/ 328 h 416"/>
                <a:gd name="T6" fmla="*/ 320 w 548"/>
                <a:gd name="T7" fmla="*/ 296 h 416"/>
                <a:gd name="T8" fmla="*/ 270 w 548"/>
                <a:gd name="T9" fmla="*/ 264 h 416"/>
                <a:gd name="T10" fmla="*/ 236 w 548"/>
                <a:gd name="T11" fmla="*/ 216 h 416"/>
                <a:gd name="T12" fmla="*/ 202 w 548"/>
                <a:gd name="T13" fmla="*/ 200 h 416"/>
                <a:gd name="T14" fmla="*/ 219 w 548"/>
                <a:gd name="T15" fmla="*/ 152 h 416"/>
                <a:gd name="T16" fmla="*/ 236 w 548"/>
                <a:gd name="T17" fmla="*/ 152 h 416"/>
                <a:gd name="T18" fmla="*/ 270 w 548"/>
                <a:gd name="T19" fmla="*/ 168 h 416"/>
                <a:gd name="T20" fmla="*/ 278 w 548"/>
                <a:gd name="T21" fmla="*/ 144 h 416"/>
                <a:gd name="T22" fmla="*/ 312 w 548"/>
                <a:gd name="T23" fmla="*/ 136 h 416"/>
                <a:gd name="T24" fmla="*/ 354 w 548"/>
                <a:gd name="T25" fmla="*/ 144 h 416"/>
                <a:gd name="T26" fmla="*/ 404 w 548"/>
                <a:gd name="T27" fmla="*/ 152 h 416"/>
                <a:gd name="T28" fmla="*/ 438 w 548"/>
                <a:gd name="T29" fmla="*/ 144 h 416"/>
                <a:gd name="T30" fmla="*/ 472 w 548"/>
                <a:gd name="T31" fmla="*/ 152 h 416"/>
                <a:gd name="T32" fmla="*/ 522 w 548"/>
                <a:gd name="T33" fmla="*/ 160 h 416"/>
                <a:gd name="T34" fmla="*/ 522 w 548"/>
                <a:gd name="T35" fmla="*/ 128 h 416"/>
                <a:gd name="T36" fmla="*/ 548 w 548"/>
                <a:gd name="T37" fmla="*/ 120 h 416"/>
                <a:gd name="T38" fmla="*/ 522 w 548"/>
                <a:gd name="T39" fmla="*/ 112 h 416"/>
                <a:gd name="T40" fmla="*/ 497 w 548"/>
                <a:gd name="T41" fmla="*/ 80 h 416"/>
                <a:gd name="T42" fmla="*/ 480 w 548"/>
                <a:gd name="T43" fmla="*/ 48 h 416"/>
                <a:gd name="T44" fmla="*/ 421 w 548"/>
                <a:gd name="T45" fmla="*/ 72 h 416"/>
                <a:gd name="T46" fmla="*/ 388 w 548"/>
                <a:gd name="T47" fmla="*/ 72 h 416"/>
                <a:gd name="T48" fmla="*/ 379 w 548"/>
                <a:gd name="T49" fmla="*/ 48 h 416"/>
                <a:gd name="T50" fmla="*/ 345 w 548"/>
                <a:gd name="T51" fmla="*/ 56 h 416"/>
                <a:gd name="T52" fmla="*/ 320 w 548"/>
                <a:gd name="T53" fmla="*/ 40 h 416"/>
                <a:gd name="T54" fmla="*/ 295 w 548"/>
                <a:gd name="T55" fmla="*/ 16 h 416"/>
                <a:gd name="T56" fmla="*/ 261 w 548"/>
                <a:gd name="T57" fmla="*/ 0 h 416"/>
                <a:gd name="T58" fmla="*/ 227 w 548"/>
                <a:gd name="T59" fmla="*/ 8 h 416"/>
                <a:gd name="T60" fmla="*/ 194 w 548"/>
                <a:gd name="T61" fmla="*/ 48 h 416"/>
                <a:gd name="T62" fmla="*/ 194 w 548"/>
                <a:gd name="T63" fmla="*/ 88 h 416"/>
                <a:gd name="T64" fmla="*/ 160 w 548"/>
                <a:gd name="T65" fmla="*/ 96 h 416"/>
                <a:gd name="T66" fmla="*/ 143 w 548"/>
                <a:gd name="T67" fmla="*/ 128 h 416"/>
                <a:gd name="T68" fmla="*/ 109 w 548"/>
                <a:gd name="T69" fmla="*/ 120 h 416"/>
                <a:gd name="T70" fmla="*/ 84 w 548"/>
                <a:gd name="T71" fmla="*/ 104 h 416"/>
                <a:gd name="T72" fmla="*/ 42 w 548"/>
                <a:gd name="T73" fmla="*/ 136 h 416"/>
                <a:gd name="T74" fmla="*/ 8 w 548"/>
                <a:gd name="T75" fmla="*/ 144 h 416"/>
                <a:gd name="T76" fmla="*/ 0 w 548"/>
                <a:gd name="T77" fmla="*/ 144 h 416"/>
                <a:gd name="T78" fmla="*/ 0 w 548"/>
                <a:gd name="T79" fmla="*/ 152 h 416"/>
                <a:gd name="T80" fmla="*/ 34 w 548"/>
                <a:gd name="T81" fmla="*/ 216 h 416"/>
                <a:gd name="T82" fmla="*/ 84 w 548"/>
                <a:gd name="T83" fmla="*/ 152 h 416"/>
                <a:gd name="T84" fmla="*/ 84 w 548"/>
                <a:gd name="T85" fmla="*/ 216 h 416"/>
                <a:gd name="T86" fmla="*/ 126 w 548"/>
                <a:gd name="T87" fmla="*/ 192 h 416"/>
                <a:gd name="T88" fmla="*/ 126 w 548"/>
                <a:gd name="T89" fmla="*/ 240 h 416"/>
                <a:gd name="T90" fmla="*/ 177 w 548"/>
                <a:gd name="T91" fmla="*/ 264 h 416"/>
                <a:gd name="T92" fmla="*/ 160 w 548"/>
                <a:gd name="T93" fmla="*/ 272 h 416"/>
                <a:gd name="T94" fmla="*/ 219 w 548"/>
                <a:gd name="T95" fmla="*/ 312 h 416"/>
                <a:gd name="T96" fmla="*/ 227 w 548"/>
                <a:gd name="T97" fmla="*/ 336 h 416"/>
                <a:gd name="T98" fmla="*/ 253 w 548"/>
                <a:gd name="T99" fmla="*/ 352 h 416"/>
                <a:gd name="T100" fmla="*/ 312 w 548"/>
                <a:gd name="T101" fmla="*/ 360 h 416"/>
                <a:gd name="T102" fmla="*/ 371 w 548"/>
                <a:gd name="T103" fmla="*/ 384 h 416"/>
                <a:gd name="T104" fmla="*/ 312 w 548"/>
                <a:gd name="T105" fmla="*/ 392 h 416"/>
                <a:gd name="T106" fmla="*/ 413 w 548"/>
                <a:gd name="T107" fmla="*/ 416 h 416"/>
                <a:gd name="T108" fmla="*/ 413 w 548"/>
                <a:gd name="T109" fmla="*/ 384 h 416"/>
                <a:gd name="T110" fmla="*/ 388 w 548"/>
                <a:gd name="T111" fmla="*/ 360 h 41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48" h="416">
                  <a:moveTo>
                    <a:pt x="388" y="360"/>
                  </a:moveTo>
                  <a:lnTo>
                    <a:pt x="379" y="344"/>
                  </a:lnTo>
                  <a:lnTo>
                    <a:pt x="345" y="328"/>
                  </a:lnTo>
                  <a:lnTo>
                    <a:pt x="320" y="296"/>
                  </a:lnTo>
                  <a:lnTo>
                    <a:pt x="270" y="264"/>
                  </a:lnTo>
                  <a:lnTo>
                    <a:pt x="236" y="216"/>
                  </a:lnTo>
                  <a:lnTo>
                    <a:pt x="202" y="200"/>
                  </a:lnTo>
                  <a:lnTo>
                    <a:pt x="219" y="152"/>
                  </a:lnTo>
                  <a:lnTo>
                    <a:pt x="236" y="152"/>
                  </a:lnTo>
                  <a:lnTo>
                    <a:pt x="270" y="168"/>
                  </a:lnTo>
                  <a:lnTo>
                    <a:pt x="278" y="144"/>
                  </a:lnTo>
                  <a:lnTo>
                    <a:pt x="312" y="136"/>
                  </a:lnTo>
                  <a:lnTo>
                    <a:pt x="354" y="144"/>
                  </a:lnTo>
                  <a:lnTo>
                    <a:pt x="404" y="152"/>
                  </a:lnTo>
                  <a:lnTo>
                    <a:pt x="438" y="144"/>
                  </a:lnTo>
                  <a:lnTo>
                    <a:pt x="472" y="152"/>
                  </a:lnTo>
                  <a:lnTo>
                    <a:pt x="522" y="160"/>
                  </a:lnTo>
                  <a:lnTo>
                    <a:pt x="522" y="128"/>
                  </a:lnTo>
                  <a:lnTo>
                    <a:pt x="548" y="120"/>
                  </a:lnTo>
                  <a:lnTo>
                    <a:pt x="522" y="112"/>
                  </a:lnTo>
                  <a:lnTo>
                    <a:pt x="497" y="80"/>
                  </a:lnTo>
                  <a:lnTo>
                    <a:pt x="480" y="48"/>
                  </a:lnTo>
                  <a:lnTo>
                    <a:pt x="421" y="72"/>
                  </a:lnTo>
                  <a:lnTo>
                    <a:pt x="388" y="72"/>
                  </a:lnTo>
                  <a:lnTo>
                    <a:pt x="379" y="48"/>
                  </a:lnTo>
                  <a:lnTo>
                    <a:pt x="345" y="56"/>
                  </a:lnTo>
                  <a:lnTo>
                    <a:pt x="320" y="40"/>
                  </a:lnTo>
                  <a:lnTo>
                    <a:pt x="295" y="16"/>
                  </a:lnTo>
                  <a:lnTo>
                    <a:pt x="261" y="0"/>
                  </a:lnTo>
                  <a:lnTo>
                    <a:pt x="227" y="8"/>
                  </a:lnTo>
                  <a:lnTo>
                    <a:pt x="194" y="48"/>
                  </a:lnTo>
                  <a:lnTo>
                    <a:pt x="194" y="88"/>
                  </a:lnTo>
                  <a:lnTo>
                    <a:pt x="160" y="96"/>
                  </a:lnTo>
                  <a:lnTo>
                    <a:pt x="143" y="128"/>
                  </a:lnTo>
                  <a:lnTo>
                    <a:pt x="109" y="120"/>
                  </a:lnTo>
                  <a:lnTo>
                    <a:pt x="84" y="104"/>
                  </a:lnTo>
                  <a:lnTo>
                    <a:pt x="42" y="136"/>
                  </a:lnTo>
                  <a:lnTo>
                    <a:pt x="8" y="144"/>
                  </a:lnTo>
                  <a:lnTo>
                    <a:pt x="0" y="144"/>
                  </a:lnTo>
                  <a:lnTo>
                    <a:pt x="0" y="152"/>
                  </a:lnTo>
                  <a:lnTo>
                    <a:pt x="34" y="216"/>
                  </a:lnTo>
                  <a:lnTo>
                    <a:pt x="84" y="152"/>
                  </a:lnTo>
                  <a:lnTo>
                    <a:pt x="84" y="216"/>
                  </a:lnTo>
                  <a:lnTo>
                    <a:pt x="126" y="192"/>
                  </a:lnTo>
                  <a:lnTo>
                    <a:pt x="126" y="240"/>
                  </a:lnTo>
                  <a:lnTo>
                    <a:pt x="177" y="264"/>
                  </a:lnTo>
                  <a:lnTo>
                    <a:pt x="160" y="272"/>
                  </a:lnTo>
                  <a:lnTo>
                    <a:pt x="219" y="312"/>
                  </a:lnTo>
                  <a:lnTo>
                    <a:pt x="227" y="336"/>
                  </a:lnTo>
                  <a:lnTo>
                    <a:pt x="253" y="352"/>
                  </a:lnTo>
                  <a:lnTo>
                    <a:pt x="312" y="360"/>
                  </a:lnTo>
                  <a:lnTo>
                    <a:pt x="371" y="384"/>
                  </a:lnTo>
                  <a:lnTo>
                    <a:pt x="312" y="392"/>
                  </a:lnTo>
                  <a:lnTo>
                    <a:pt x="413" y="416"/>
                  </a:lnTo>
                  <a:lnTo>
                    <a:pt x="413" y="384"/>
                  </a:lnTo>
                  <a:lnTo>
                    <a:pt x="388" y="36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2" name="Freeform 51"/>
            <p:cNvSpPr>
              <a:spLocks/>
            </p:cNvSpPr>
            <p:nvPr>
              <p:custDataLst>
                <p:tags r:id="rId48"/>
              </p:custDataLst>
            </p:nvPr>
          </p:nvSpPr>
          <p:spPr bwMode="auto">
            <a:xfrm>
              <a:off x="4098" y="3000"/>
              <a:ext cx="278" cy="200"/>
            </a:xfrm>
            <a:custGeom>
              <a:avLst/>
              <a:gdLst>
                <a:gd name="T0" fmla="*/ 50 w 278"/>
                <a:gd name="T1" fmla="*/ 192 h 200"/>
                <a:gd name="T2" fmla="*/ 92 w 278"/>
                <a:gd name="T3" fmla="*/ 160 h 200"/>
                <a:gd name="T4" fmla="*/ 117 w 278"/>
                <a:gd name="T5" fmla="*/ 176 h 200"/>
                <a:gd name="T6" fmla="*/ 151 w 278"/>
                <a:gd name="T7" fmla="*/ 184 h 200"/>
                <a:gd name="T8" fmla="*/ 168 w 278"/>
                <a:gd name="T9" fmla="*/ 152 h 200"/>
                <a:gd name="T10" fmla="*/ 202 w 278"/>
                <a:gd name="T11" fmla="*/ 144 h 200"/>
                <a:gd name="T12" fmla="*/ 202 w 278"/>
                <a:gd name="T13" fmla="*/ 104 h 200"/>
                <a:gd name="T14" fmla="*/ 235 w 278"/>
                <a:gd name="T15" fmla="*/ 64 h 200"/>
                <a:gd name="T16" fmla="*/ 278 w 278"/>
                <a:gd name="T17" fmla="*/ 48 h 200"/>
                <a:gd name="T18" fmla="*/ 235 w 278"/>
                <a:gd name="T19" fmla="*/ 0 h 200"/>
                <a:gd name="T20" fmla="*/ 227 w 278"/>
                <a:gd name="T21" fmla="*/ 8 h 200"/>
                <a:gd name="T22" fmla="*/ 227 w 278"/>
                <a:gd name="T23" fmla="*/ 32 h 200"/>
                <a:gd name="T24" fmla="*/ 185 w 278"/>
                <a:gd name="T25" fmla="*/ 40 h 200"/>
                <a:gd name="T26" fmla="*/ 134 w 278"/>
                <a:gd name="T27" fmla="*/ 40 h 200"/>
                <a:gd name="T28" fmla="*/ 101 w 278"/>
                <a:gd name="T29" fmla="*/ 64 h 200"/>
                <a:gd name="T30" fmla="*/ 42 w 278"/>
                <a:gd name="T31" fmla="*/ 64 h 200"/>
                <a:gd name="T32" fmla="*/ 8 w 278"/>
                <a:gd name="T33" fmla="*/ 72 h 200"/>
                <a:gd name="T34" fmla="*/ 0 w 278"/>
                <a:gd name="T35" fmla="*/ 96 h 200"/>
                <a:gd name="T36" fmla="*/ 8 w 278"/>
                <a:gd name="T37" fmla="*/ 152 h 200"/>
                <a:gd name="T38" fmla="*/ 0 w 278"/>
                <a:gd name="T39" fmla="*/ 160 h 200"/>
                <a:gd name="T40" fmla="*/ 25 w 278"/>
                <a:gd name="T41" fmla="*/ 152 h 200"/>
                <a:gd name="T42" fmla="*/ 8 w 278"/>
                <a:gd name="T43" fmla="*/ 176 h 200"/>
                <a:gd name="T44" fmla="*/ 8 w 278"/>
                <a:gd name="T45" fmla="*/ 200 h 200"/>
                <a:gd name="T46" fmla="*/ 16 w 278"/>
                <a:gd name="T47" fmla="*/ 200 h 200"/>
                <a:gd name="T48" fmla="*/ 50 w 278"/>
                <a:gd name="T49" fmla="*/ 192 h 2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78" h="200">
                  <a:moveTo>
                    <a:pt x="50" y="192"/>
                  </a:moveTo>
                  <a:lnTo>
                    <a:pt x="92" y="160"/>
                  </a:lnTo>
                  <a:lnTo>
                    <a:pt x="117" y="176"/>
                  </a:lnTo>
                  <a:lnTo>
                    <a:pt x="151" y="184"/>
                  </a:lnTo>
                  <a:lnTo>
                    <a:pt x="168" y="152"/>
                  </a:lnTo>
                  <a:lnTo>
                    <a:pt x="202" y="144"/>
                  </a:lnTo>
                  <a:lnTo>
                    <a:pt x="202" y="104"/>
                  </a:lnTo>
                  <a:lnTo>
                    <a:pt x="235" y="64"/>
                  </a:lnTo>
                  <a:lnTo>
                    <a:pt x="278" y="48"/>
                  </a:lnTo>
                  <a:lnTo>
                    <a:pt x="235" y="0"/>
                  </a:lnTo>
                  <a:lnTo>
                    <a:pt x="227" y="8"/>
                  </a:lnTo>
                  <a:lnTo>
                    <a:pt x="227" y="32"/>
                  </a:lnTo>
                  <a:lnTo>
                    <a:pt x="185" y="40"/>
                  </a:lnTo>
                  <a:lnTo>
                    <a:pt x="134" y="40"/>
                  </a:lnTo>
                  <a:lnTo>
                    <a:pt x="101" y="64"/>
                  </a:lnTo>
                  <a:lnTo>
                    <a:pt x="42" y="64"/>
                  </a:lnTo>
                  <a:lnTo>
                    <a:pt x="8" y="72"/>
                  </a:lnTo>
                  <a:lnTo>
                    <a:pt x="0" y="96"/>
                  </a:lnTo>
                  <a:lnTo>
                    <a:pt x="8" y="152"/>
                  </a:lnTo>
                  <a:lnTo>
                    <a:pt x="0" y="160"/>
                  </a:lnTo>
                  <a:lnTo>
                    <a:pt x="25" y="152"/>
                  </a:lnTo>
                  <a:lnTo>
                    <a:pt x="8" y="176"/>
                  </a:lnTo>
                  <a:lnTo>
                    <a:pt x="8" y="200"/>
                  </a:lnTo>
                  <a:lnTo>
                    <a:pt x="16" y="200"/>
                  </a:lnTo>
                  <a:lnTo>
                    <a:pt x="50" y="192"/>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3" name="Freeform 52"/>
            <p:cNvSpPr>
              <a:spLocks/>
            </p:cNvSpPr>
            <p:nvPr>
              <p:custDataLst>
                <p:tags r:id="rId49"/>
              </p:custDataLst>
            </p:nvPr>
          </p:nvSpPr>
          <p:spPr bwMode="auto">
            <a:xfrm>
              <a:off x="4106" y="3056"/>
              <a:ext cx="548" cy="416"/>
            </a:xfrm>
            <a:custGeom>
              <a:avLst/>
              <a:gdLst>
                <a:gd name="T0" fmla="*/ 388 w 548"/>
                <a:gd name="T1" fmla="*/ 360 h 416"/>
                <a:gd name="T2" fmla="*/ 379 w 548"/>
                <a:gd name="T3" fmla="*/ 344 h 416"/>
                <a:gd name="T4" fmla="*/ 345 w 548"/>
                <a:gd name="T5" fmla="*/ 328 h 416"/>
                <a:gd name="T6" fmla="*/ 320 w 548"/>
                <a:gd name="T7" fmla="*/ 296 h 416"/>
                <a:gd name="T8" fmla="*/ 270 w 548"/>
                <a:gd name="T9" fmla="*/ 264 h 416"/>
                <a:gd name="T10" fmla="*/ 236 w 548"/>
                <a:gd name="T11" fmla="*/ 216 h 416"/>
                <a:gd name="T12" fmla="*/ 202 w 548"/>
                <a:gd name="T13" fmla="*/ 200 h 416"/>
                <a:gd name="T14" fmla="*/ 219 w 548"/>
                <a:gd name="T15" fmla="*/ 152 h 416"/>
                <a:gd name="T16" fmla="*/ 236 w 548"/>
                <a:gd name="T17" fmla="*/ 152 h 416"/>
                <a:gd name="T18" fmla="*/ 270 w 548"/>
                <a:gd name="T19" fmla="*/ 168 h 416"/>
                <a:gd name="T20" fmla="*/ 278 w 548"/>
                <a:gd name="T21" fmla="*/ 144 h 416"/>
                <a:gd name="T22" fmla="*/ 312 w 548"/>
                <a:gd name="T23" fmla="*/ 136 h 416"/>
                <a:gd name="T24" fmla="*/ 354 w 548"/>
                <a:gd name="T25" fmla="*/ 144 h 416"/>
                <a:gd name="T26" fmla="*/ 404 w 548"/>
                <a:gd name="T27" fmla="*/ 152 h 416"/>
                <a:gd name="T28" fmla="*/ 438 w 548"/>
                <a:gd name="T29" fmla="*/ 144 h 416"/>
                <a:gd name="T30" fmla="*/ 472 w 548"/>
                <a:gd name="T31" fmla="*/ 152 h 416"/>
                <a:gd name="T32" fmla="*/ 522 w 548"/>
                <a:gd name="T33" fmla="*/ 160 h 416"/>
                <a:gd name="T34" fmla="*/ 522 w 548"/>
                <a:gd name="T35" fmla="*/ 128 h 416"/>
                <a:gd name="T36" fmla="*/ 548 w 548"/>
                <a:gd name="T37" fmla="*/ 120 h 416"/>
                <a:gd name="T38" fmla="*/ 522 w 548"/>
                <a:gd name="T39" fmla="*/ 112 h 416"/>
                <a:gd name="T40" fmla="*/ 497 w 548"/>
                <a:gd name="T41" fmla="*/ 80 h 416"/>
                <a:gd name="T42" fmla="*/ 480 w 548"/>
                <a:gd name="T43" fmla="*/ 48 h 416"/>
                <a:gd name="T44" fmla="*/ 421 w 548"/>
                <a:gd name="T45" fmla="*/ 72 h 416"/>
                <a:gd name="T46" fmla="*/ 388 w 548"/>
                <a:gd name="T47" fmla="*/ 72 h 416"/>
                <a:gd name="T48" fmla="*/ 379 w 548"/>
                <a:gd name="T49" fmla="*/ 48 h 416"/>
                <a:gd name="T50" fmla="*/ 345 w 548"/>
                <a:gd name="T51" fmla="*/ 56 h 416"/>
                <a:gd name="T52" fmla="*/ 320 w 548"/>
                <a:gd name="T53" fmla="*/ 40 h 416"/>
                <a:gd name="T54" fmla="*/ 295 w 548"/>
                <a:gd name="T55" fmla="*/ 16 h 416"/>
                <a:gd name="T56" fmla="*/ 261 w 548"/>
                <a:gd name="T57" fmla="*/ 0 h 416"/>
                <a:gd name="T58" fmla="*/ 227 w 548"/>
                <a:gd name="T59" fmla="*/ 8 h 416"/>
                <a:gd name="T60" fmla="*/ 194 w 548"/>
                <a:gd name="T61" fmla="*/ 48 h 416"/>
                <a:gd name="T62" fmla="*/ 194 w 548"/>
                <a:gd name="T63" fmla="*/ 88 h 416"/>
                <a:gd name="T64" fmla="*/ 160 w 548"/>
                <a:gd name="T65" fmla="*/ 96 h 416"/>
                <a:gd name="T66" fmla="*/ 143 w 548"/>
                <a:gd name="T67" fmla="*/ 128 h 416"/>
                <a:gd name="T68" fmla="*/ 109 w 548"/>
                <a:gd name="T69" fmla="*/ 120 h 416"/>
                <a:gd name="T70" fmla="*/ 84 w 548"/>
                <a:gd name="T71" fmla="*/ 104 h 416"/>
                <a:gd name="T72" fmla="*/ 42 w 548"/>
                <a:gd name="T73" fmla="*/ 136 h 416"/>
                <a:gd name="T74" fmla="*/ 8 w 548"/>
                <a:gd name="T75" fmla="*/ 144 h 416"/>
                <a:gd name="T76" fmla="*/ 0 w 548"/>
                <a:gd name="T77" fmla="*/ 144 h 416"/>
                <a:gd name="T78" fmla="*/ 0 w 548"/>
                <a:gd name="T79" fmla="*/ 152 h 416"/>
                <a:gd name="T80" fmla="*/ 34 w 548"/>
                <a:gd name="T81" fmla="*/ 216 h 416"/>
                <a:gd name="T82" fmla="*/ 84 w 548"/>
                <a:gd name="T83" fmla="*/ 152 h 416"/>
                <a:gd name="T84" fmla="*/ 84 w 548"/>
                <a:gd name="T85" fmla="*/ 216 h 416"/>
                <a:gd name="T86" fmla="*/ 126 w 548"/>
                <a:gd name="T87" fmla="*/ 192 h 416"/>
                <a:gd name="T88" fmla="*/ 126 w 548"/>
                <a:gd name="T89" fmla="*/ 240 h 416"/>
                <a:gd name="T90" fmla="*/ 177 w 548"/>
                <a:gd name="T91" fmla="*/ 264 h 416"/>
                <a:gd name="T92" fmla="*/ 160 w 548"/>
                <a:gd name="T93" fmla="*/ 272 h 416"/>
                <a:gd name="T94" fmla="*/ 219 w 548"/>
                <a:gd name="T95" fmla="*/ 312 h 416"/>
                <a:gd name="T96" fmla="*/ 227 w 548"/>
                <a:gd name="T97" fmla="*/ 336 h 416"/>
                <a:gd name="T98" fmla="*/ 253 w 548"/>
                <a:gd name="T99" fmla="*/ 352 h 416"/>
                <a:gd name="T100" fmla="*/ 312 w 548"/>
                <a:gd name="T101" fmla="*/ 360 h 416"/>
                <a:gd name="T102" fmla="*/ 371 w 548"/>
                <a:gd name="T103" fmla="*/ 384 h 416"/>
                <a:gd name="T104" fmla="*/ 312 w 548"/>
                <a:gd name="T105" fmla="*/ 392 h 416"/>
                <a:gd name="T106" fmla="*/ 413 w 548"/>
                <a:gd name="T107" fmla="*/ 416 h 416"/>
                <a:gd name="T108" fmla="*/ 413 w 548"/>
                <a:gd name="T109" fmla="*/ 384 h 416"/>
                <a:gd name="T110" fmla="*/ 388 w 548"/>
                <a:gd name="T111" fmla="*/ 360 h 41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48" h="416">
                  <a:moveTo>
                    <a:pt x="388" y="360"/>
                  </a:moveTo>
                  <a:lnTo>
                    <a:pt x="379" y="344"/>
                  </a:lnTo>
                  <a:lnTo>
                    <a:pt x="345" y="328"/>
                  </a:lnTo>
                  <a:lnTo>
                    <a:pt x="320" y="296"/>
                  </a:lnTo>
                  <a:lnTo>
                    <a:pt x="270" y="264"/>
                  </a:lnTo>
                  <a:lnTo>
                    <a:pt x="236" y="216"/>
                  </a:lnTo>
                  <a:lnTo>
                    <a:pt x="202" y="200"/>
                  </a:lnTo>
                  <a:lnTo>
                    <a:pt x="219" y="152"/>
                  </a:lnTo>
                  <a:lnTo>
                    <a:pt x="236" y="152"/>
                  </a:lnTo>
                  <a:lnTo>
                    <a:pt x="270" y="168"/>
                  </a:lnTo>
                  <a:lnTo>
                    <a:pt x="278" y="144"/>
                  </a:lnTo>
                  <a:lnTo>
                    <a:pt x="312" y="136"/>
                  </a:lnTo>
                  <a:lnTo>
                    <a:pt x="354" y="144"/>
                  </a:lnTo>
                  <a:lnTo>
                    <a:pt x="404" y="152"/>
                  </a:lnTo>
                  <a:lnTo>
                    <a:pt x="438" y="144"/>
                  </a:lnTo>
                  <a:lnTo>
                    <a:pt x="472" y="152"/>
                  </a:lnTo>
                  <a:lnTo>
                    <a:pt x="522" y="160"/>
                  </a:lnTo>
                  <a:lnTo>
                    <a:pt x="522" y="128"/>
                  </a:lnTo>
                  <a:lnTo>
                    <a:pt x="548" y="120"/>
                  </a:lnTo>
                  <a:lnTo>
                    <a:pt x="522" y="112"/>
                  </a:lnTo>
                  <a:lnTo>
                    <a:pt x="497" y="80"/>
                  </a:lnTo>
                  <a:lnTo>
                    <a:pt x="480" y="48"/>
                  </a:lnTo>
                  <a:lnTo>
                    <a:pt x="421" y="72"/>
                  </a:lnTo>
                  <a:lnTo>
                    <a:pt x="388" y="72"/>
                  </a:lnTo>
                  <a:lnTo>
                    <a:pt x="379" y="48"/>
                  </a:lnTo>
                  <a:lnTo>
                    <a:pt x="345" y="56"/>
                  </a:lnTo>
                  <a:lnTo>
                    <a:pt x="320" y="40"/>
                  </a:lnTo>
                  <a:lnTo>
                    <a:pt x="295" y="16"/>
                  </a:lnTo>
                  <a:lnTo>
                    <a:pt x="261" y="0"/>
                  </a:lnTo>
                  <a:lnTo>
                    <a:pt x="227" y="8"/>
                  </a:lnTo>
                  <a:lnTo>
                    <a:pt x="194" y="48"/>
                  </a:lnTo>
                  <a:lnTo>
                    <a:pt x="194" y="88"/>
                  </a:lnTo>
                  <a:lnTo>
                    <a:pt x="160" y="96"/>
                  </a:lnTo>
                  <a:lnTo>
                    <a:pt x="143" y="128"/>
                  </a:lnTo>
                  <a:lnTo>
                    <a:pt x="109" y="120"/>
                  </a:lnTo>
                  <a:lnTo>
                    <a:pt x="84" y="104"/>
                  </a:lnTo>
                  <a:lnTo>
                    <a:pt x="42" y="136"/>
                  </a:lnTo>
                  <a:lnTo>
                    <a:pt x="8" y="144"/>
                  </a:lnTo>
                  <a:lnTo>
                    <a:pt x="0" y="144"/>
                  </a:lnTo>
                  <a:lnTo>
                    <a:pt x="0" y="152"/>
                  </a:lnTo>
                  <a:lnTo>
                    <a:pt x="34" y="216"/>
                  </a:lnTo>
                  <a:lnTo>
                    <a:pt x="84" y="152"/>
                  </a:lnTo>
                  <a:lnTo>
                    <a:pt x="84" y="216"/>
                  </a:lnTo>
                  <a:lnTo>
                    <a:pt x="126" y="192"/>
                  </a:lnTo>
                  <a:lnTo>
                    <a:pt x="126" y="240"/>
                  </a:lnTo>
                  <a:lnTo>
                    <a:pt x="177" y="264"/>
                  </a:lnTo>
                  <a:lnTo>
                    <a:pt x="160" y="272"/>
                  </a:lnTo>
                  <a:lnTo>
                    <a:pt x="219" y="312"/>
                  </a:lnTo>
                  <a:lnTo>
                    <a:pt x="227" y="336"/>
                  </a:lnTo>
                  <a:lnTo>
                    <a:pt x="253" y="352"/>
                  </a:lnTo>
                  <a:lnTo>
                    <a:pt x="312" y="360"/>
                  </a:lnTo>
                  <a:lnTo>
                    <a:pt x="371" y="384"/>
                  </a:lnTo>
                  <a:lnTo>
                    <a:pt x="312" y="392"/>
                  </a:lnTo>
                  <a:lnTo>
                    <a:pt x="413" y="416"/>
                  </a:lnTo>
                  <a:lnTo>
                    <a:pt x="413" y="384"/>
                  </a:lnTo>
                  <a:lnTo>
                    <a:pt x="388" y="360"/>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4" name="Freeform 53"/>
            <p:cNvSpPr>
              <a:spLocks/>
            </p:cNvSpPr>
            <p:nvPr>
              <p:custDataLst>
                <p:tags r:id="rId50"/>
              </p:custDataLst>
            </p:nvPr>
          </p:nvSpPr>
          <p:spPr bwMode="auto">
            <a:xfrm>
              <a:off x="4308" y="3192"/>
              <a:ext cx="388" cy="320"/>
            </a:xfrm>
            <a:custGeom>
              <a:avLst/>
              <a:gdLst>
                <a:gd name="T0" fmla="*/ 287 w 388"/>
                <a:gd name="T1" fmla="*/ 264 h 320"/>
                <a:gd name="T2" fmla="*/ 312 w 388"/>
                <a:gd name="T3" fmla="*/ 248 h 320"/>
                <a:gd name="T4" fmla="*/ 320 w 388"/>
                <a:gd name="T5" fmla="*/ 216 h 320"/>
                <a:gd name="T6" fmla="*/ 346 w 388"/>
                <a:gd name="T7" fmla="*/ 216 h 320"/>
                <a:gd name="T8" fmla="*/ 337 w 388"/>
                <a:gd name="T9" fmla="*/ 192 h 320"/>
                <a:gd name="T10" fmla="*/ 388 w 388"/>
                <a:gd name="T11" fmla="*/ 176 h 320"/>
                <a:gd name="T12" fmla="*/ 362 w 388"/>
                <a:gd name="T13" fmla="*/ 136 h 320"/>
                <a:gd name="T14" fmla="*/ 388 w 388"/>
                <a:gd name="T15" fmla="*/ 120 h 320"/>
                <a:gd name="T16" fmla="*/ 346 w 388"/>
                <a:gd name="T17" fmla="*/ 96 h 320"/>
                <a:gd name="T18" fmla="*/ 337 w 388"/>
                <a:gd name="T19" fmla="*/ 64 h 320"/>
                <a:gd name="T20" fmla="*/ 337 w 388"/>
                <a:gd name="T21" fmla="*/ 32 h 320"/>
                <a:gd name="T22" fmla="*/ 304 w 388"/>
                <a:gd name="T23" fmla="*/ 32 h 320"/>
                <a:gd name="T24" fmla="*/ 295 w 388"/>
                <a:gd name="T25" fmla="*/ 16 h 320"/>
                <a:gd name="T26" fmla="*/ 270 w 388"/>
                <a:gd name="T27" fmla="*/ 16 h 320"/>
                <a:gd name="T28" fmla="*/ 236 w 388"/>
                <a:gd name="T29" fmla="*/ 8 h 320"/>
                <a:gd name="T30" fmla="*/ 202 w 388"/>
                <a:gd name="T31" fmla="*/ 16 h 320"/>
                <a:gd name="T32" fmla="*/ 152 w 388"/>
                <a:gd name="T33" fmla="*/ 8 h 320"/>
                <a:gd name="T34" fmla="*/ 110 w 388"/>
                <a:gd name="T35" fmla="*/ 0 h 320"/>
                <a:gd name="T36" fmla="*/ 76 w 388"/>
                <a:gd name="T37" fmla="*/ 8 h 320"/>
                <a:gd name="T38" fmla="*/ 68 w 388"/>
                <a:gd name="T39" fmla="*/ 32 h 320"/>
                <a:gd name="T40" fmla="*/ 34 w 388"/>
                <a:gd name="T41" fmla="*/ 16 h 320"/>
                <a:gd name="T42" fmla="*/ 17 w 388"/>
                <a:gd name="T43" fmla="*/ 16 h 320"/>
                <a:gd name="T44" fmla="*/ 0 w 388"/>
                <a:gd name="T45" fmla="*/ 64 h 320"/>
                <a:gd name="T46" fmla="*/ 34 w 388"/>
                <a:gd name="T47" fmla="*/ 80 h 320"/>
                <a:gd name="T48" fmla="*/ 68 w 388"/>
                <a:gd name="T49" fmla="*/ 128 h 320"/>
                <a:gd name="T50" fmla="*/ 118 w 388"/>
                <a:gd name="T51" fmla="*/ 160 h 320"/>
                <a:gd name="T52" fmla="*/ 143 w 388"/>
                <a:gd name="T53" fmla="*/ 192 h 320"/>
                <a:gd name="T54" fmla="*/ 177 w 388"/>
                <a:gd name="T55" fmla="*/ 208 h 320"/>
                <a:gd name="T56" fmla="*/ 186 w 388"/>
                <a:gd name="T57" fmla="*/ 224 h 320"/>
                <a:gd name="T58" fmla="*/ 211 w 388"/>
                <a:gd name="T59" fmla="*/ 248 h 320"/>
                <a:gd name="T60" fmla="*/ 211 w 388"/>
                <a:gd name="T61" fmla="*/ 280 h 320"/>
                <a:gd name="T62" fmla="*/ 295 w 388"/>
                <a:gd name="T63" fmla="*/ 320 h 320"/>
                <a:gd name="T64" fmla="*/ 295 w 388"/>
                <a:gd name="T65" fmla="*/ 280 h 320"/>
                <a:gd name="T66" fmla="*/ 287 w 388"/>
                <a:gd name="T67" fmla="*/ 264 h 32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88" h="320">
                  <a:moveTo>
                    <a:pt x="287" y="264"/>
                  </a:moveTo>
                  <a:lnTo>
                    <a:pt x="312" y="248"/>
                  </a:lnTo>
                  <a:lnTo>
                    <a:pt x="320" y="216"/>
                  </a:lnTo>
                  <a:lnTo>
                    <a:pt x="346" y="216"/>
                  </a:lnTo>
                  <a:lnTo>
                    <a:pt x="337" y="192"/>
                  </a:lnTo>
                  <a:lnTo>
                    <a:pt x="388" y="176"/>
                  </a:lnTo>
                  <a:lnTo>
                    <a:pt x="362" y="136"/>
                  </a:lnTo>
                  <a:lnTo>
                    <a:pt x="388" y="120"/>
                  </a:lnTo>
                  <a:lnTo>
                    <a:pt x="346" y="96"/>
                  </a:lnTo>
                  <a:lnTo>
                    <a:pt x="337" y="64"/>
                  </a:lnTo>
                  <a:lnTo>
                    <a:pt x="337" y="32"/>
                  </a:lnTo>
                  <a:lnTo>
                    <a:pt x="304" y="32"/>
                  </a:lnTo>
                  <a:lnTo>
                    <a:pt x="295" y="16"/>
                  </a:lnTo>
                  <a:lnTo>
                    <a:pt x="270" y="16"/>
                  </a:lnTo>
                  <a:lnTo>
                    <a:pt x="236" y="8"/>
                  </a:lnTo>
                  <a:lnTo>
                    <a:pt x="202" y="16"/>
                  </a:lnTo>
                  <a:lnTo>
                    <a:pt x="152" y="8"/>
                  </a:lnTo>
                  <a:lnTo>
                    <a:pt x="110" y="0"/>
                  </a:lnTo>
                  <a:lnTo>
                    <a:pt x="76" y="8"/>
                  </a:lnTo>
                  <a:lnTo>
                    <a:pt x="68" y="32"/>
                  </a:lnTo>
                  <a:lnTo>
                    <a:pt x="34" y="16"/>
                  </a:lnTo>
                  <a:lnTo>
                    <a:pt x="17" y="16"/>
                  </a:lnTo>
                  <a:lnTo>
                    <a:pt x="0" y="64"/>
                  </a:lnTo>
                  <a:lnTo>
                    <a:pt x="34" y="80"/>
                  </a:lnTo>
                  <a:lnTo>
                    <a:pt x="68" y="128"/>
                  </a:lnTo>
                  <a:lnTo>
                    <a:pt x="118" y="160"/>
                  </a:lnTo>
                  <a:lnTo>
                    <a:pt x="143" y="192"/>
                  </a:lnTo>
                  <a:lnTo>
                    <a:pt x="177" y="208"/>
                  </a:lnTo>
                  <a:lnTo>
                    <a:pt x="186" y="224"/>
                  </a:lnTo>
                  <a:lnTo>
                    <a:pt x="211" y="248"/>
                  </a:lnTo>
                  <a:lnTo>
                    <a:pt x="211" y="280"/>
                  </a:lnTo>
                  <a:lnTo>
                    <a:pt x="295" y="320"/>
                  </a:lnTo>
                  <a:lnTo>
                    <a:pt x="295" y="280"/>
                  </a:lnTo>
                  <a:lnTo>
                    <a:pt x="287" y="26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5" name="Freeform 54"/>
            <p:cNvSpPr>
              <a:spLocks/>
            </p:cNvSpPr>
            <p:nvPr>
              <p:custDataLst>
                <p:tags r:id="rId51"/>
              </p:custDataLst>
            </p:nvPr>
          </p:nvSpPr>
          <p:spPr bwMode="auto">
            <a:xfrm>
              <a:off x="4333" y="2760"/>
              <a:ext cx="573" cy="368"/>
            </a:xfrm>
            <a:custGeom>
              <a:avLst/>
              <a:gdLst>
                <a:gd name="T0" fmla="*/ 295 w 573"/>
                <a:gd name="T1" fmla="*/ 320 h 368"/>
                <a:gd name="T2" fmla="*/ 329 w 573"/>
                <a:gd name="T3" fmla="*/ 304 h 368"/>
                <a:gd name="T4" fmla="*/ 380 w 573"/>
                <a:gd name="T5" fmla="*/ 304 h 368"/>
                <a:gd name="T6" fmla="*/ 413 w 573"/>
                <a:gd name="T7" fmla="*/ 288 h 368"/>
                <a:gd name="T8" fmla="*/ 439 w 573"/>
                <a:gd name="T9" fmla="*/ 272 h 368"/>
                <a:gd name="T10" fmla="*/ 455 w 573"/>
                <a:gd name="T11" fmla="*/ 264 h 368"/>
                <a:gd name="T12" fmla="*/ 464 w 573"/>
                <a:gd name="T13" fmla="*/ 224 h 368"/>
                <a:gd name="T14" fmla="*/ 472 w 573"/>
                <a:gd name="T15" fmla="*/ 200 h 368"/>
                <a:gd name="T16" fmla="*/ 498 w 573"/>
                <a:gd name="T17" fmla="*/ 168 h 368"/>
                <a:gd name="T18" fmla="*/ 523 w 573"/>
                <a:gd name="T19" fmla="*/ 112 h 368"/>
                <a:gd name="T20" fmla="*/ 548 w 573"/>
                <a:gd name="T21" fmla="*/ 72 h 368"/>
                <a:gd name="T22" fmla="*/ 573 w 573"/>
                <a:gd name="T23" fmla="*/ 48 h 368"/>
                <a:gd name="T24" fmla="*/ 548 w 573"/>
                <a:gd name="T25" fmla="*/ 24 h 368"/>
                <a:gd name="T26" fmla="*/ 514 w 573"/>
                <a:gd name="T27" fmla="*/ 0 h 368"/>
                <a:gd name="T28" fmla="*/ 472 w 573"/>
                <a:gd name="T29" fmla="*/ 8 h 368"/>
                <a:gd name="T30" fmla="*/ 447 w 573"/>
                <a:gd name="T31" fmla="*/ 0 h 368"/>
                <a:gd name="T32" fmla="*/ 405 w 573"/>
                <a:gd name="T33" fmla="*/ 8 h 368"/>
                <a:gd name="T34" fmla="*/ 371 w 573"/>
                <a:gd name="T35" fmla="*/ 8 h 368"/>
                <a:gd name="T36" fmla="*/ 329 w 573"/>
                <a:gd name="T37" fmla="*/ 56 h 368"/>
                <a:gd name="T38" fmla="*/ 287 w 573"/>
                <a:gd name="T39" fmla="*/ 48 h 368"/>
                <a:gd name="T40" fmla="*/ 279 w 573"/>
                <a:gd name="T41" fmla="*/ 64 h 368"/>
                <a:gd name="T42" fmla="*/ 228 w 573"/>
                <a:gd name="T43" fmla="*/ 80 h 368"/>
                <a:gd name="T44" fmla="*/ 228 w 573"/>
                <a:gd name="T45" fmla="*/ 112 h 368"/>
                <a:gd name="T46" fmla="*/ 110 w 573"/>
                <a:gd name="T47" fmla="*/ 128 h 368"/>
                <a:gd name="T48" fmla="*/ 85 w 573"/>
                <a:gd name="T49" fmla="*/ 112 h 368"/>
                <a:gd name="T50" fmla="*/ 68 w 573"/>
                <a:gd name="T51" fmla="*/ 104 h 368"/>
                <a:gd name="T52" fmla="*/ 68 w 573"/>
                <a:gd name="T53" fmla="*/ 128 h 368"/>
                <a:gd name="T54" fmla="*/ 26 w 573"/>
                <a:gd name="T55" fmla="*/ 144 h 368"/>
                <a:gd name="T56" fmla="*/ 26 w 573"/>
                <a:gd name="T57" fmla="*/ 184 h 368"/>
                <a:gd name="T58" fmla="*/ 17 w 573"/>
                <a:gd name="T59" fmla="*/ 224 h 368"/>
                <a:gd name="T60" fmla="*/ 0 w 573"/>
                <a:gd name="T61" fmla="*/ 240 h 368"/>
                <a:gd name="T62" fmla="*/ 43 w 573"/>
                <a:gd name="T63" fmla="*/ 288 h 368"/>
                <a:gd name="T64" fmla="*/ 34 w 573"/>
                <a:gd name="T65" fmla="*/ 296 h 368"/>
                <a:gd name="T66" fmla="*/ 68 w 573"/>
                <a:gd name="T67" fmla="*/ 312 h 368"/>
                <a:gd name="T68" fmla="*/ 93 w 573"/>
                <a:gd name="T69" fmla="*/ 336 h 368"/>
                <a:gd name="T70" fmla="*/ 118 w 573"/>
                <a:gd name="T71" fmla="*/ 352 h 368"/>
                <a:gd name="T72" fmla="*/ 152 w 573"/>
                <a:gd name="T73" fmla="*/ 344 h 368"/>
                <a:gd name="T74" fmla="*/ 161 w 573"/>
                <a:gd name="T75" fmla="*/ 368 h 368"/>
                <a:gd name="T76" fmla="*/ 194 w 573"/>
                <a:gd name="T77" fmla="*/ 368 h 368"/>
                <a:gd name="T78" fmla="*/ 253 w 573"/>
                <a:gd name="T79" fmla="*/ 344 h 368"/>
                <a:gd name="T80" fmla="*/ 262 w 573"/>
                <a:gd name="T81" fmla="*/ 344 h 368"/>
                <a:gd name="T82" fmla="*/ 270 w 573"/>
                <a:gd name="T83" fmla="*/ 320 h 368"/>
                <a:gd name="T84" fmla="*/ 295 w 573"/>
                <a:gd name="T85" fmla="*/ 320 h 3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3" h="368">
                  <a:moveTo>
                    <a:pt x="295" y="320"/>
                  </a:moveTo>
                  <a:lnTo>
                    <a:pt x="329" y="304"/>
                  </a:lnTo>
                  <a:lnTo>
                    <a:pt x="380" y="304"/>
                  </a:lnTo>
                  <a:lnTo>
                    <a:pt x="413" y="288"/>
                  </a:lnTo>
                  <a:lnTo>
                    <a:pt x="439" y="272"/>
                  </a:lnTo>
                  <a:lnTo>
                    <a:pt x="455" y="264"/>
                  </a:lnTo>
                  <a:lnTo>
                    <a:pt x="464" y="224"/>
                  </a:lnTo>
                  <a:lnTo>
                    <a:pt x="472" y="200"/>
                  </a:lnTo>
                  <a:lnTo>
                    <a:pt x="498" y="168"/>
                  </a:lnTo>
                  <a:lnTo>
                    <a:pt x="523" y="112"/>
                  </a:lnTo>
                  <a:lnTo>
                    <a:pt x="548" y="72"/>
                  </a:lnTo>
                  <a:lnTo>
                    <a:pt x="573" y="48"/>
                  </a:lnTo>
                  <a:lnTo>
                    <a:pt x="548" y="24"/>
                  </a:lnTo>
                  <a:lnTo>
                    <a:pt x="514" y="0"/>
                  </a:lnTo>
                  <a:lnTo>
                    <a:pt x="472" y="8"/>
                  </a:lnTo>
                  <a:lnTo>
                    <a:pt x="447" y="0"/>
                  </a:lnTo>
                  <a:lnTo>
                    <a:pt x="405" y="8"/>
                  </a:lnTo>
                  <a:lnTo>
                    <a:pt x="371" y="8"/>
                  </a:lnTo>
                  <a:lnTo>
                    <a:pt x="329" y="56"/>
                  </a:lnTo>
                  <a:lnTo>
                    <a:pt x="287" y="48"/>
                  </a:lnTo>
                  <a:lnTo>
                    <a:pt x="279" y="64"/>
                  </a:lnTo>
                  <a:lnTo>
                    <a:pt x="228" y="80"/>
                  </a:lnTo>
                  <a:lnTo>
                    <a:pt x="228" y="112"/>
                  </a:lnTo>
                  <a:lnTo>
                    <a:pt x="110" y="128"/>
                  </a:lnTo>
                  <a:lnTo>
                    <a:pt x="85" y="112"/>
                  </a:lnTo>
                  <a:lnTo>
                    <a:pt x="68" y="104"/>
                  </a:lnTo>
                  <a:lnTo>
                    <a:pt x="68" y="128"/>
                  </a:lnTo>
                  <a:lnTo>
                    <a:pt x="26" y="144"/>
                  </a:lnTo>
                  <a:lnTo>
                    <a:pt x="26" y="184"/>
                  </a:lnTo>
                  <a:lnTo>
                    <a:pt x="17" y="224"/>
                  </a:lnTo>
                  <a:lnTo>
                    <a:pt x="0" y="240"/>
                  </a:lnTo>
                  <a:lnTo>
                    <a:pt x="43" y="288"/>
                  </a:lnTo>
                  <a:lnTo>
                    <a:pt x="34" y="296"/>
                  </a:lnTo>
                  <a:lnTo>
                    <a:pt x="68" y="312"/>
                  </a:lnTo>
                  <a:lnTo>
                    <a:pt x="93" y="336"/>
                  </a:lnTo>
                  <a:lnTo>
                    <a:pt x="118" y="352"/>
                  </a:lnTo>
                  <a:lnTo>
                    <a:pt x="152" y="344"/>
                  </a:lnTo>
                  <a:lnTo>
                    <a:pt x="161" y="368"/>
                  </a:lnTo>
                  <a:lnTo>
                    <a:pt x="194" y="368"/>
                  </a:lnTo>
                  <a:lnTo>
                    <a:pt x="253" y="344"/>
                  </a:lnTo>
                  <a:lnTo>
                    <a:pt x="262" y="344"/>
                  </a:lnTo>
                  <a:lnTo>
                    <a:pt x="270" y="320"/>
                  </a:lnTo>
                  <a:lnTo>
                    <a:pt x="295" y="32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6" name="Freeform 55"/>
            <p:cNvSpPr>
              <a:spLocks/>
            </p:cNvSpPr>
            <p:nvPr>
              <p:custDataLst>
                <p:tags r:id="rId52"/>
              </p:custDataLst>
            </p:nvPr>
          </p:nvSpPr>
          <p:spPr bwMode="auto">
            <a:xfrm>
              <a:off x="4308" y="3192"/>
              <a:ext cx="388" cy="320"/>
            </a:xfrm>
            <a:custGeom>
              <a:avLst/>
              <a:gdLst>
                <a:gd name="T0" fmla="*/ 287 w 388"/>
                <a:gd name="T1" fmla="*/ 264 h 320"/>
                <a:gd name="T2" fmla="*/ 312 w 388"/>
                <a:gd name="T3" fmla="*/ 248 h 320"/>
                <a:gd name="T4" fmla="*/ 320 w 388"/>
                <a:gd name="T5" fmla="*/ 216 h 320"/>
                <a:gd name="T6" fmla="*/ 346 w 388"/>
                <a:gd name="T7" fmla="*/ 216 h 320"/>
                <a:gd name="T8" fmla="*/ 337 w 388"/>
                <a:gd name="T9" fmla="*/ 192 h 320"/>
                <a:gd name="T10" fmla="*/ 388 w 388"/>
                <a:gd name="T11" fmla="*/ 176 h 320"/>
                <a:gd name="T12" fmla="*/ 362 w 388"/>
                <a:gd name="T13" fmla="*/ 136 h 320"/>
                <a:gd name="T14" fmla="*/ 388 w 388"/>
                <a:gd name="T15" fmla="*/ 120 h 320"/>
                <a:gd name="T16" fmla="*/ 346 w 388"/>
                <a:gd name="T17" fmla="*/ 96 h 320"/>
                <a:gd name="T18" fmla="*/ 337 w 388"/>
                <a:gd name="T19" fmla="*/ 64 h 320"/>
                <a:gd name="T20" fmla="*/ 337 w 388"/>
                <a:gd name="T21" fmla="*/ 32 h 320"/>
                <a:gd name="T22" fmla="*/ 304 w 388"/>
                <a:gd name="T23" fmla="*/ 32 h 320"/>
                <a:gd name="T24" fmla="*/ 295 w 388"/>
                <a:gd name="T25" fmla="*/ 16 h 320"/>
                <a:gd name="T26" fmla="*/ 270 w 388"/>
                <a:gd name="T27" fmla="*/ 16 h 320"/>
                <a:gd name="T28" fmla="*/ 236 w 388"/>
                <a:gd name="T29" fmla="*/ 8 h 320"/>
                <a:gd name="T30" fmla="*/ 202 w 388"/>
                <a:gd name="T31" fmla="*/ 16 h 320"/>
                <a:gd name="T32" fmla="*/ 152 w 388"/>
                <a:gd name="T33" fmla="*/ 8 h 320"/>
                <a:gd name="T34" fmla="*/ 110 w 388"/>
                <a:gd name="T35" fmla="*/ 0 h 320"/>
                <a:gd name="T36" fmla="*/ 76 w 388"/>
                <a:gd name="T37" fmla="*/ 8 h 320"/>
                <a:gd name="T38" fmla="*/ 68 w 388"/>
                <a:gd name="T39" fmla="*/ 32 h 320"/>
                <a:gd name="T40" fmla="*/ 34 w 388"/>
                <a:gd name="T41" fmla="*/ 16 h 320"/>
                <a:gd name="T42" fmla="*/ 17 w 388"/>
                <a:gd name="T43" fmla="*/ 16 h 320"/>
                <a:gd name="T44" fmla="*/ 0 w 388"/>
                <a:gd name="T45" fmla="*/ 64 h 320"/>
                <a:gd name="T46" fmla="*/ 34 w 388"/>
                <a:gd name="T47" fmla="*/ 80 h 320"/>
                <a:gd name="T48" fmla="*/ 68 w 388"/>
                <a:gd name="T49" fmla="*/ 128 h 320"/>
                <a:gd name="T50" fmla="*/ 118 w 388"/>
                <a:gd name="T51" fmla="*/ 160 h 320"/>
                <a:gd name="T52" fmla="*/ 143 w 388"/>
                <a:gd name="T53" fmla="*/ 192 h 320"/>
                <a:gd name="T54" fmla="*/ 177 w 388"/>
                <a:gd name="T55" fmla="*/ 208 h 320"/>
                <a:gd name="T56" fmla="*/ 186 w 388"/>
                <a:gd name="T57" fmla="*/ 224 h 320"/>
                <a:gd name="T58" fmla="*/ 211 w 388"/>
                <a:gd name="T59" fmla="*/ 248 h 320"/>
                <a:gd name="T60" fmla="*/ 211 w 388"/>
                <a:gd name="T61" fmla="*/ 280 h 320"/>
                <a:gd name="T62" fmla="*/ 295 w 388"/>
                <a:gd name="T63" fmla="*/ 320 h 320"/>
                <a:gd name="T64" fmla="*/ 295 w 388"/>
                <a:gd name="T65" fmla="*/ 280 h 320"/>
                <a:gd name="T66" fmla="*/ 287 w 388"/>
                <a:gd name="T67" fmla="*/ 264 h 32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88" h="320">
                  <a:moveTo>
                    <a:pt x="287" y="264"/>
                  </a:moveTo>
                  <a:lnTo>
                    <a:pt x="312" y="248"/>
                  </a:lnTo>
                  <a:lnTo>
                    <a:pt x="320" y="216"/>
                  </a:lnTo>
                  <a:lnTo>
                    <a:pt x="346" y="216"/>
                  </a:lnTo>
                  <a:lnTo>
                    <a:pt x="337" y="192"/>
                  </a:lnTo>
                  <a:lnTo>
                    <a:pt x="388" y="176"/>
                  </a:lnTo>
                  <a:lnTo>
                    <a:pt x="362" y="136"/>
                  </a:lnTo>
                  <a:lnTo>
                    <a:pt x="388" y="120"/>
                  </a:lnTo>
                  <a:lnTo>
                    <a:pt x="346" y="96"/>
                  </a:lnTo>
                  <a:lnTo>
                    <a:pt x="337" y="64"/>
                  </a:lnTo>
                  <a:lnTo>
                    <a:pt x="337" y="32"/>
                  </a:lnTo>
                  <a:lnTo>
                    <a:pt x="304" y="32"/>
                  </a:lnTo>
                  <a:lnTo>
                    <a:pt x="295" y="16"/>
                  </a:lnTo>
                  <a:lnTo>
                    <a:pt x="270" y="16"/>
                  </a:lnTo>
                  <a:lnTo>
                    <a:pt x="236" y="8"/>
                  </a:lnTo>
                  <a:lnTo>
                    <a:pt x="202" y="16"/>
                  </a:lnTo>
                  <a:lnTo>
                    <a:pt x="152" y="8"/>
                  </a:lnTo>
                  <a:lnTo>
                    <a:pt x="110" y="0"/>
                  </a:lnTo>
                  <a:lnTo>
                    <a:pt x="76" y="8"/>
                  </a:lnTo>
                  <a:lnTo>
                    <a:pt x="68" y="32"/>
                  </a:lnTo>
                  <a:lnTo>
                    <a:pt x="34" y="16"/>
                  </a:lnTo>
                  <a:lnTo>
                    <a:pt x="17" y="16"/>
                  </a:lnTo>
                  <a:lnTo>
                    <a:pt x="0" y="64"/>
                  </a:lnTo>
                  <a:lnTo>
                    <a:pt x="34" y="80"/>
                  </a:lnTo>
                  <a:lnTo>
                    <a:pt x="68" y="128"/>
                  </a:lnTo>
                  <a:lnTo>
                    <a:pt x="118" y="160"/>
                  </a:lnTo>
                  <a:lnTo>
                    <a:pt x="143" y="192"/>
                  </a:lnTo>
                  <a:lnTo>
                    <a:pt x="177" y="208"/>
                  </a:lnTo>
                  <a:lnTo>
                    <a:pt x="186" y="224"/>
                  </a:lnTo>
                  <a:lnTo>
                    <a:pt x="211" y="248"/>
                  </a:lnTo>
                  <a:lnTo>
                    <a:pt x="211" y="280"/>
                  </a:lnTo>
                  <a:lnTo>
                    <a:pt x="295" y="320"/>
                  </a:lnTo>
                  <a:lnTo>
                    <a:pt x="295" y="280"/>
                  </a:lnTo>
                  <a:lnTo>
                    <a:pt x="287" y="264"/>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7" name="Freeform 56"/>
            <p:cNvSpPr>
              <a:spLocks/>
            </p:cNvSpPr>
            <p:nvPr>
              <p:custDataLst>
                <p:tags r:id="rId53"/>
              </p:custDataLst>
            </p:nvPr>
          </p:nvSpPr>
          <p:spPr bwMode="auto">
            <a:xfrm>
              <a:off x="4333" y="2760"/>
              <a:ext cx="573" cy="368"/>
            </a:xfrm>
            <a:custGeom>
              <a:avLst/>
              <a:gdLst>
                <a:gd name="T0" fmla="*/ 295 w 573"/>
                <a:gd name="T1" fmla="*/ 320 h 368"/>
                <a:gd name="T2" fmla="*/ 329 w 573"/>
                <a:gd name="T3" fmla="*/ 304 h 368"/>
                <a:gd name="T4" fmla="*/ 380 w 573"/>
                <a:gd name="T5" fmla="*/ 304 h 368"/>
                <a:gd name="T6" fmla="*/ 413 w 573"/>
                <a:gd name="T7" fmla="*/ 288 h 368"/>
                <a:gd name="T8" fmla="*/ 439 w 573"/>
                <a:gd name="T9" fmla="*/ 272 h 368"/>
                <a:gd name="T10" fmla="*/ 455 w 573"/>
                <a:gd name="T11" fmla="*/ 264 h 368"/>
                <a:gd name="T12" fmla="*/ 464 w 573"/>
                <a:gd name="T13" fmla="*/ 224 h 368"/>
                <a:gd name="T14" fmla="*/ 472 w 573"/>
                <a:gd name="T15" fmla="*/ 200 h 368"/>
                <a:gd name="T16" fmla="*/ 498 w 573"/>
                <a:gd name="T17" fmla="*/ 168 h 368"/>
                <a:gd name="T18" fmla="*/ 523 w 573"/>
                <a:gd name="T19" fmla="*/ 112 h 368"/>
                <a:gd name="T20" fmla="*/ 548 w 573"/>
                <a:gd name="T21" fmla="*/ 72 h 368"/>
                <a:gd name="T22" fmla="*/ 573 w 573"/>
                <a:gd name="T23" fmla="*/ 48 h 368"/>
                <a:gd name="T24" fmla="*/ 548 w 573"/>
                <a:gd name="T25" fmla="*/ 24 h 368"/>
                <a:gd name="T26" fmla="*/ 514 w 573"/>
                <a:gd name="T27" fmla="*/ 0 h 368"/>
                <a:gd name="T28" fmla="*/ 472 w 573"/>
                <a:gd name="T29" fmla="*/ 8 h 368"/>
                <a:gd name="T30" fmla="*/ 447 w 573"/>
                <a:gd name="T31" fmla="*/ 0 h 368"/>
                <a:gd name="T32" fmla="*/ 405 w 573"/>
                <a:gd name="T33" fmla="*/ 8 h 368"/>
                <a:gd name="T34" fmla="*/ 371 w 573"/>
                <a:gd name="T35" fmla="*/ 8 h 368"/>
                <a:gd name="T36" fmla="*/ 329 w 573"/>
                <a:gd name="T37" fmla="*/ 56 h 368"/>
                <a:gd name="T38" fmla="*/ 287 w 573"/>
                <a:gd name="T39" fmla="*/ 48 h 368"/>
                <a:gd name="T40" fmla="*/ 279 w 573"/>
                <a:gd name="T41" fmla="*/ 64 h 368"/>
                <a:gd name="T42" fmla="*/ 228 w 573"/>
                <a:gd name="T43" fmla="*/ 80 h 368"/>
                <a:gd name="T44" fmla="*/ 228 w 573"/>
                <a:gd name="T45" fmla="*/ 112 h 368"/>
                <a:gd name="T46" fmla="*/ 110 w 573"/>
                <a:gd name="T47" fmla="*/ 128 h 368"/>
                <a:gd name="T48" fmla="*/ 85 w 573"/>
                <a:gd name="T49" fmla="*/ 112 h 368"/>
                <a:gd name="T50" fmla="*/ 68 w 573"/>
                <a:gd name="T51" fmla="*/ 104 h 368"/>
                <a:gd name="T52" fmla="*/ 68 w 573"/>
                <a:gd name="T53" fmla="*/ 128 h 368"/>
                <a:gd name="T54" fmla="*/ 26 w 573"/>
                <a:gd name="T55" fmla="*/ 144 h 368"/>
                <a:gd name="T56" fmla="*/ 26 w 573"/>
                <a:gd name="T57" fmla="*/ 184 h 368"/>
                <a:gd name="T58" fmla="*/ 17 w 573"/>
                <a:gd name="T59" fmla="*/ 224 h 368"/>
                <a:gd name="T60" fmla="*/ 0 w 573"/>
                <a:gd name="T61" fmla="*/ 240 h 368"/>
                <a:gd name="T62" fmla="*/ 43 w 573"/>
                <a:gd name="T63" fmla="*/ 288 h 368"/>
                <a:gd name="T64" fmla="*/ 34 w 573"/>
                <a:gd name="T65" fmla="*/ 296 h 368"/>
                <a:gd name="T66" fmla="*/ 68 w 573"/>
                <a:gd name="T67" fmla="*/ 312 h 368"/>
                <a:gd name="T68" fmla="*/ 93 w 573"/>
                <a:gd name="T69" fmla="*/ 336 h 368"/>
                <a:gd name="T70" fmla="*/ 118 w 573"/>
                <a:gd name="T71" fmla="*/ 352 h 368"/>
                <a:gd name="T72" fmla="*/ 152 w 573"/>
                <a:gd name="T73" fmla="*/ 344 h 368"/>
                <a:gd name="T74" fmla="*/ 161 w 573"/>
                <a:gd name="T75" fmla="*/ 368 h 368"/>
                <a:gd name="T76" fmla="*/ 194 w 573"/>
                <a:gd name="T77" fmla="*/ 368 h 368"/>
                <a:gd name="T78" fmla="*/ 253 w 573"/>
                <a:gd name="T79" fmla="*/ 344 h 368"/>
                <a:gd name="T80" fmla="*/ 262 w 573"/>
                <a:gd name="T81" fmla="*/ 344 h 368"/>
                <a:gd name="T82" fmla="*/ 270 w 573"/>
                <a:gd name="T83" fmla="*/ 320 h 368"/>
                <a:gd name="T84" fmla="*/ 295 w 573"/>
                <a:gd name="T85" fmla="*/ 320 h 3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3" h="368">
                  <a:moveTo>
                    <a:pt x="295" y="320"/>
                  </a:moveTo>
                  <a:lnTo>
                    <a:pt x="329" y="304"/>
                  </a:lnTo>
                  <a:lnTo>
                    <a:pt x="380" y="304"/>
                  </a:lnTo>
                  <a:lnTo>
                    <a:pt x="413" y="288"/>
                  </a:lnTo>
                  <a:lnTo>
                    <a:pt x="439" y="272"/>
                  </a:lnTo>
                  <a:lnTo>
                    <a:pt x="455" y="264"/>
                  </a:lnTo>
                  <a:lnTo>
                    <a:pt x="464" y="224"/>
                  </a:lnTo>
                  <a:lnTo>
                    <a:pt x="472" y="200"/>
                  </a:lnTo>
                  <a:lnTo>
                    <a:pt x="498" y="168"/>
                  </a:lnTo>
                  <a:lnTo>
                    <a:pt x="523" y="112"/>
                  </a:lnTo>
                  <a:lnTo>
                    <a:pt x="548" y="72"/>
                  </a:lnTo>
                  <a:lnTo>
                    <a:pt x="573" y="48"/>
                  </a:lnTo>
                  <a:lnTo>
                    <a:pt x="548" y="24"/>
                  </a:lnTo>
                  <a:lnTo>
                    <a:pt x="514" y="0"/>
                  </a:lnTo>
                  <a:lnTo>
                    <a:pt x="472" y="8"/>
                  </a:lnTo>
                  <a:lnTo>
                    <a:pt x="447" y="0"/>
                  </a:lnTo>
                  <a:lnTo>
                    <a:pt x="405" y="8"/>
                  </a:lnTo>
                  <a:lnTo>
                    <a:pt x="371" y="8"/>
                  </a:lnTo>
                  <a:lnTo>
                    <a:pt x="329" y="56"/>
                  </a:lnTo>
                  <a:lnTo>
                    <a:pt x="287" y="48"/>
                  </a:lnTo>
                  <a:lnTo>
                    <a:pt x="279" y="64"/>
                  </a:lnTo>
                  <a:lnTo>
                    <a:pt x="228" y="80"/>
                  </a:lnTo>
                  <a:lnTo>
                    <a:pt x="228" y="112"/>
                  </a:lnTo>
                  <a:lnTo>
                    <a:pt x="110" y="128"/>
                  </a:lnTo>
                  <a:lnTo>
                    <a:pt x="85" y="112"/>
                  </a:lnTo>
                  <a:lnTo>
                    <a:pt x="68" y="104"/>
                  </a:lnTo>
                  <a:lnTo>
                    <a:pt x="68" y="128"/>
                  </a:lnTo>
                  <a:lnTo>
                    <a:pt x="26" y="144"/>
                  </a:lnTo>
                  <a:lnTo>
                    <a:pt x="26" y="184"/>
                  </a:lnTo>
                  <a:lnTo>
                    <a:pt x="17" y="224"/>
                  </a:lnTo>
                  <a:lnTo>
                    <a:pt x="0" y="240"/>
                  </a:lnTo>
                  <a:lnTo>
                    <a:pt x="43" y="288"/>
                  </a:lnTo>
                  <a:lnTo>
                    <a:pt x="34" y="296"/>
                  </a:lnTo>
                  <a:lnTo>
                    <a:pt x="68" y="312"/>
                  </a:lnTo>
                  <a:lnTo>
                    <a:pt x="93" y="336"/>
                  </a:lnTo>
                  <a:lnTo>
                    <a:pt x="118" y="352"/>
                  </a:lnTo>
                  <a:lnTo>
                    <a:pt x="152" y="344"/>
                  </a:lnTo>
                  <a:lnTo>
                    <a:pt x="161" y="368"/>
                  </a:lnTo>
                  <a:lnTo>
                    <a:pt x="194" y="368"/>
                  </a:lnTo>
                  <a:lnTo>
                    <a:pt x="253" y="344"/>
                  </a:lnTo>
                  <a:lnTo>
                    <a:pt x="262" y="344"/>
                  </a:lnTo>
                  <a:lnTo>
                    <a:pt x="270" y="320"/>
                  </a:lnTo>
                  <a:lnTo>
                    <a:pt x="295" y="320"/>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8" name="Freeform 57"/>
            <p:cNvSpPr>
              <a:spLocks/>
            </p:cNvSpPr>
            <p:nvPr>
              <p:custDataLst>
                <p:tags r:id="rId54"/>
              </p:custDataLst>
            </p:nvPr>
          </p:nvSpPr>
          <p:spPr bwMode="auto">
            <a:xfrm>
              <a:off x="4788" y="2760"/>
              <a:ext cx="26" cy="8"/>
            </a:xfrm>
            <a:custGeom>
              <a:avLst/>
              <a:gdLst>
                <a:gd name="T0" fmla="*/ 17 w 26"/>
                <a:gd name="T1" fmla="*/ 8 h 8"/>
                <a:gd name="T2" fmla="*/ 26 w 26"/>
                <a:gd name="T3" fmla="*/ 8 h 8"/>
                <a:gd name="T4" fmla="*/ 0 w 26"/>
                <a:gd name="T5" fmla="*/ 0 h 8"/>
                <a:gd name="T6" fmla="*/ 17 w 26"/>
                <a:gd name="T7" fmla="*/ 8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6" h="8">
                  <a:moveTo>
                    <a:pt x="17" y="8"/>
                  </a:moveTo>
                  <a:lnTo>
                    <a:pt x="26" y="8"/>
                  </a:lnTo>
                  <a:lnTo>
                    <a:pt x="0" y="0"/>
                  </a:lnTo>
                  <a:lnTo>
                    <a:pt x="17" y="8"/>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9" name="Freeform 58"/>
            <p:cNvSpPr>
              <a:spLocks/>
            </p:cNvSpPr>
            <p:nvPr>
              <p:custDataLst>
                <p:tags r:id="rId55"/>
              </p:custDataLst>
            </p:nvPr>
          </p:nvSpPr>
          <p:spPr bwMode="auto">
            <a:xfrm>
              <a:off x="4814" y="2768"/>
              <a:ext cx="17" cy="1"/>
            </a:xfrm>
            <a:custGeom>
              <a:avLst/>
              <a:gdLst>
                <a:gd name="T0" fmla="*/ 17 w 17"/>
                <a:gd name="T1" fmla="*/ 0 h 1"/>
                <a:gd name="T2" fmla="*/ 0 w 17"/>
                <a:gd name="T3" fmla="*/ 0 h 1"/>
                <a:gd name="T4" fmla="*/ 17 w 17"/>
                <a:gd name="T5" fmla="*/ 0 h 1"/>
                <a:gd name="T6" fmla="*/ 0 60000 65536"/>
                <a:gd name="T7" fmla="*/ 0 60000 65536"/>
                <a:gd name="T8" fmla="*/ 0 60000 65536"/>
              </a:gdLst>
              <a:ahLst/>
              <a:cxnLst>
                <a:cxn ang="T6">
                  <a:pos x="T0" y="T1"/>
                </a:cxn>
                <a:cxn ang="T7">
                  <a:pos x="T2" y="T3"/>
                </a:cxn>
                <a:cxn ang="T8">
                  <a:pos x="T4" y="T5"/>
                </a:cxn>
              </a:cxnLst>
              <a:rect l="0" t="0" r="r" b="b"/>
              <a:pathLst>
                <a:path w="17" h="1">
                  <a:moveTo>
                    <a:pt x="17" y="0"/>
                  </a:moveTo>
                  <a:lnTo>
                    <a:pt x="0" y="0"/>
                  </a:lnTo>
                  <a:lnTo>
                    <a:pt x="17" y="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0" name="Line 59"/>
            <p:cNvSpPr>
              <a:spLocks noChangeShapeType="1"/>
            </p:cNvSpPr>
            <p:nvPr>
              <p:custDataLst>
                <p:tags r:id="rId56"/>
              </p:custDataLst>
            </p:nvPr>
          </p:nvSpPr>
          <p:spPr bwMode="auto">
            <a:xfrm flipV="1">
              <a:off x="4805" y="2760"/>
              <a:ext cx="26" cy="8"/>
            </a:xfrm>
            <a:prstGeom prst="line">
              <a:avLst/>
            </a:pr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1" name="Line 60"/>
            <p:cNvSpPr>
              <a:spLocks noChangeShapeType="1"/>
            </p:cNvSpPr>
            <p:nvPr>
              <p:custDataLst>
                <p:tags r:id="rId57"/>
              </p:custDataLst>
            </p:nvPr>
          </p:nvSpPr>
          <p:spPr bwMode="auto">
            <a:xfrm flipV="1">
              <a:off x="4805" y="2760"/>
              <a:ext cx="26" cy="8"/>
            </a:xfrm>
            <a:prstGeom prst="line">
              <a:avLst/>
            </a:pr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2" name="Freeform 61"/>
            <p:cNvSpPr>
              <a:spLocks/>
            </p:cNvSpPr>
            <p:nvPr>
              <p:custDataLst>
                <p:tags r:id="rId58"/>
              </p:custDataLst>
            </p:nvPr>
          </p:nvSpPr>
          <p:spPr bwMode="auto">
            <a:xfrm>
              <a:off x="4780" y="2760"/>
              <a:ext cx="8" cy="1"/>
            </a:xfrm>
            <a:custGeom>
              <a:avLst/>
              <a:gdLst>
                <a:gd name="T0" fmla="*/ 0 w 8"/>
                <a:gd name="T1" fmla="*/ 0 h 1"/>
                <a:gd name="T2" fmla="*/ 8 w 8"/>
                <a:gd name="T3" fmla="*/ 0 h 1"/>
                <a:gd name="T4" fmla="*/ 0 w 8"/>
                <a:gd name="T5" fmla="*/ 0 h 1"/>
                <a:gd name="T6" fmla="*/ 0 60000 65536"/>
                <a:gd name="T7" fmla="*/ 0 60000 65536"/>
                <a:gd name="T8" fmla="*/ 0 60000 65536"/>
              </a:gdLst>
              <a:ahLst/>
              <a:cxnLst>
                <a:cxn ang="T6">
                  <a:pos x="T0" y="T1"/>
                </a:cxn>
                <a:cxn ang="T7">
                  <a:pos x="T2" y="T3"/>
                </a:cxn>
                <a:cxn ang="T8">
                  <a:pos x="T4" y="T5"/>
                </a:cxn>
              </a:cxnLst>
              <a:rect l="0" t="0" r="r" b="b"/>
              <a:pathLst>
                <a:path w="8" h="1">
                  <a:moveTo>
                    <a:pt x="0" y="0"/>
                  </a:moveTo>
                  <a:lnTo>
                    <a:pt x="8" y="0"/>
                  </a:lnTo>
                  <a:lnTo>
                    <a:pt x="0" y="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3" name="Freeform 62"/>
            <p:cNvSpPr>
              <a:spLocks/>
            </p:cNvSpPr>
            <p:nvPr>
              <p:custDataLst>
                <p:tags r:id="rId59"/>
              </p:custDataLst>
            </p:nvPr>
          </p:nvSpPr>
          <p:spPr bwMode="auto">
            <a:xfrm>
              <a:off x="4527" y="2664"/>
              <a:ext cx="26" cy="16"/>
            </a:xfrm>
            <a:custGeom>
              <a:avLst/>
              <a:gdLst>
                <a:gd name="T0" fmla="*/ 26 w 26"/>
                <a:gd name="T1" fmla="*/ 16 h 16"/>
                <a:gd name="T2" fmla="*/ 0 w 26"/>
                <a:gd name="T3" fmla="*/ 0 h 16"/>
                <a:gd name="T4" fmla="*/ 0 w 26"/>
                <a:gd name="T5" fmla="*/ 8 h 16"/>
                <a:gd name="T6" fmla="*/ 17 w 26"/>
                <a:gd name="T7" fmla="*/ 16 h 16"/>
                <a:gd name="T8" fmla="*/ 26 w 26"/>
                <a:gd name="T9" fmla="*/ 16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6">
                  <a:moveTo>
                    <a:pt x="26" y="16"/>
                  </a:moveTo>
                  <a:lnTo>
                    <a:pt x="0" y="0"/>
                  </a:lnTo>
                  <a:lnTo>
                    <a:pt x="0" y="8"/>
                  </a:lnTo>
                  <a:lnTo>
                    <a:pt x="17" y="16"/>
                  </a:lnTo>
                  <a:lnTo>
                    <a:pt x="26" y="16"/>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4" name="Freeform 63"/>
            <p:cNvSpPr>
              <a:spLocks/>
            </p:cNvSpPr>
            <p:nvPr>
              <p:custDataLst>
                <p:tags r:id="rId60"/>
              </p:custDataLst>
            </p:nvPr>
          </p:nvSpPr>
          <p:spPr bwMode="auto">
            <a:xfrm>
              <a:off x="4780" y="2760"/>
              <a:ext cx="8" cy="1"/>
            </a:xfrm>
            <a:custGeom>
              <a:avLst/>
              <a:gdLst>
                <a:gd name="T0" fmla="*/ 0 w 8"/>
                <a:gd name="T1" fmla="*/ 0 h 1"/>
                <a:gd name="T2" fmla="*/ 8 w 8"/>
                <a:gd name="T3" fmla="*/ 0 h 1"/>
                <a:gd name="T4" fmla="*/ 0 w 8"/>
                <a:gd name="T5" fmla="*/ 0 h 1"/>
                <a:gd name="T6" fmla="*/ 0 w 8"/>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
                  <a:moveTo>
                    <a:pt x="0" y="0"/>
                  </a:moveTo>
                  <a:lnTo>
                    <a:pt x="8" y="0"/>
                  </a:lnTo>
                  <a:lnTo>
                    <a:pt x="0" y="0"/>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5" name="Freeform 64"/>
            <p:cNvSpPr>
              <a:spLocks/>
            </p:cNvSpPr>
            <p:nvPr>
              <p:custDataLst>
                <p:tags r:id="rId61"/>
              </p:custDataLst>
            </p:nvPr>
          </p:nvSpPr>
          <p:spPr bwMode="auto">
            <a:xfrm>
              <a:off x="4527" y="2664"/>
              <a:ext cx="26" cy="16"/>
            </a:xfrm>
            <a:custGeom>
              <a:avLst/>
              <a:gdLst>
                <a:gd name="T0" fmla="*/ 26 w 26"/>
                <a:gd name="T1" fmla="*/ 16 h 16"/>
                <a:gd name="T2" fmla="*/ 0 w 26"/>
                <a:gd name="T3" fmla="*/ 0 h 16"/>
                <a:gd name="T4" fmla="*/ 0 w 26"/>
                <a:gd name="T5" fmla="*/ 8 h 16"/>
                <a:gd name="T6" fmla="*/ 17 w 26"/>
                <a:gd name="T7" fmla="*/ 16 h 16"/>
                <a:gd name="T8" fmla="*/ 26 w 26"/>
                <a:gd name="T9" fmla="*/ 16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6">
                  <a:moveTo>
                    <a:pt x="26" y="16"/>
                  </a:moveTo>
                  <a:lnTo>
                    <a:pt x="0" y="0"/>
                  </a:lnTo>
                  <a:lnTo>
                    <a:pt x="0" y="8"/>
                  </a:lnTo>
                  <a:lnTo>
                    <a:pt x="17" y="16"/>
                  </a:lnTo>
                  <a:lnTo>
                    <a:pt x="26" y="16"/>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6" name="Freeform 65"/>
            <p:cNvSpPr>
              <a:spLocks/>
            </p:cNvSpPr>
            <p:nvPr>
              <p:custDataLst>
                <p:tags r:id="rId62"/>
              </p:custDataLst>
            </p:nvPr>
          </p:nvSpPr>
          <p:spPr bwMode="auto">
            <a:xfrm>
              <a:off x="4376" y="2656"/>
              <a:ext cx="480" cy="232"/>
            </a:xfrm>
            <a:custGeom>
              <a:avLst/>
              <a:gdLst>
                <a:gd name="T0" fmla="*/ 421 w 480"/>
                <a:gd name="T1" fmla="*/ 8 h 232"/>
                <a:gd name="T2" fmla="*/ 396 w 480"/>
                <a:gd name="T3" fmla="*/ 0 h 232"/>
                <a:gd name="T4" fmla="*/ 353 w 480"/>
                <a:gd name="T5" fmla="*/ 0 h 232"/>
                <a:gd name="T6" fmla="*/ 328 w 480"/>
                <a:gd name="T7" fmla="*/ 16 h 232"/>
                <a:gd name="T8" fmla="*/ 294 w 480"/>
                <a:gd name="T9" fmla="*/ 16 h 232"/>
                <a:gd name="T10" fmla="*/ 269 w 480"/>
                <a:gd name="T11" fmla="*/ 40 h 232"/>
                <a:gd name="T12" fmla="*/ 244 w 480"/>
                <a:gd name="T13" fmla="*/ 40 h 232"/>
                <a:gd name="T14" fmla="*/ 236 w 480"/>
                <a:gd name="T15" fmla="*/ 24 h 232"/>
                <a:gd name="T16" fmla="*/ 210 w 480"/>
                <a:gd name="T17" fmla="*/ 0 h 232"/>
                <a:gd name="T18" fmla="*/ 177 w 480"/>
                <a:gd name="T19" fmla="*/ 24 h 232"/>
                <a:gd name="T20" fmla="*/ 168 w 480"/>
                <a:gd name="T21" fmla="*/ 24 h 232"/>
                <a:gd name="T22" fmla="*/ 151 w 480"/>
                <a:gd name="T23" fmla="*/ 16 h 232"/>
                <a:gd name="T24" fmla="*/ 126 w 480"/>
                <a:gd name="T25" fmla="*/ 32 h 232"/>
                <a:gd name="T26" fmla="*/ 101 w 480"/>
                <a:gd name="T27" fmla="*/ 56 h 232"/>
                <a:gd name="T28" fmla="*/ 67 w 480"/>
                <a:gd name="T29" fmla="*/ 104 h 232"/>
                <a:gd name="T30" fmla="*/ 25 w 480"/>
                <a:gd name="T31" fmla="*/ 104 h 232"/>
                <a:gd name="T32" fmla="*/ 0 w 480"/>
                <a:gd name="T33" fmla="*/ 136 h 232"/>
                <a:gd name="T34" fmla="*/ 0 w 480"/>
                <a:gd name="T35" fmla="*/ 176 h 232"/>
                <a:gd name="T36" fmla="*/ 33 w 480"/>
                <a:gd name="T37" fmla="*/ 200 h 232"/>
                <a:gd name="T38" fmla="*/ 25 w 480"/>
                <a:gd name="T39" fmla="*/ 208 h 232"/>
                <a:gd name="T40" fmla="*/ 42 w 480"/>
                <a:gd name="T41" fmla="*/ 216 h 232"/>
                <a:gd name="T42" fmla="*/ 67 w 480"/>
                <a:gd name="T43" fmla="*/ 232 h 232"/>
                <a:gd name="T44" fmla="*/ 185 w 480"/>
                <a:gd name="T45" fmla="*/ 216 h 232"/>
                <a:gd name="T46" fmla="*/ 185 w 480"/>
                <a:gd name="T47" fmla="*/ 184 h 232"/>
                <a:gd name="T48" fmla="*/ 236 w 480"/>
                <a:gd name="T49" fmla="*/ 168 h 232"/>
                <a:gd name="T50" fmla="*/ 244 w 480"/>
                <a:gd name="T51" fmla="*/ 152 h 232"/>
                <a:gd name="T52" fmla="*/ 286 w 480"/>
                <a:gd name="T53" fmla="*/ 160 h 232"/>
                <a:gd name="T54" fmla="*/ 328 w 480"/>
                <a:gd name="T55" fmla="*/ 112 h 232"/>
                <a:gd name="T56" fmla="*/ 362 w 480"/>
                <a:gd name="T57" fmla="*/ 112 h 232"/>
                <a:gd name="T58" fmla="*/ 404 w 480"/>
                <a:gd name="T59" fmla="*/ 104 h 232"/>
                <a:gd name="T60" fmla="*/ 412 w 480"/>
                <a:gd name="T61" fmla="*/ 104 h 232"/>
                <a:gd name="T62" fmla="*/ 438 w 480"/>
                <a:gd name="T63" fmla="*/ 112 h 232"/>
                <a:gd name="T64" fmla="*/ 455 w 480"/>
                <a:gd name="T65" fmla="*/ 112 h 232"/>
                <a:gd name="T66" fmla="*/ 463 w 480"/>
                <a:gd name="T67" fmla="*/ 64 h 232"/>
                <a:gd name="T68" fmla="*/ 480 w 480"/>
                <a:gd name="T69" fmla="*/ 16 h 232"/>
                <a:gd name="T70" fmla="*/ 421 w 480"/>
                <a:gd name="T71" fmla="*/ 8 h 2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480" h="232">
                  <a:moveTo>
                    <a:pt x="421" y="8"/>
                  </a:moveTo>
                  <a:lnTo>
                    <a:pt x="396" y="0"/>
                  </a:lnTo>
                  <a:lnTo>
                    <a:pt x="353" y="0"/>
                  </a:lnTo>
                  <a:lnTo>
                    <a:pt x="328" y="16"/>
                  </a:lnTo>
                  <a:lnTo>
                    <a:pt x="294" y="16"/>
                  </a:lnTo>
                  <a:lnTo>
                    <a:pt x="269" y="40"/>
                  </a:lnTo>
                  <a:lnTo>
                    <a:pt x="244" y="40"/>
                  </a:lnTo>
                  <a:lnTo>
                    <a:pt x="236" y="24"/>
                  </a:lnTo>
                  <a:lnTo>
                    <a:pt x="210" y="0"/>
                  </a:lnTo>
                  <a:lnTo>
                    <a:pt x="177" y="24"/>
                  </a:lnTo>
                  <a:lnTo>
                    <a:pt x="168" y="24"/>
                  </a:lnTo>
                  <a:lnTo>
                    <a:pt x="151" y="16"/>
                  </a:lnTo>
                  <a:lnTo>
                    <a:pt x="126" y="32"/>
                  </a:lnTo>
                  <a:lnTo>
                    <a:pt x="101" y="56"/>
                  </a:lnTo>
                  <a:lnTo>
                    <a:pt x="67" y="104"/>
                  </a:lnTo>
                  <a:lnTo>
                    <a:pt x="25" y="104"/>
                  </a:lnTo>
                  <a:lnTo>
                    <a:pt x="0" y="136"/>
                  </a:lnTo>
                  <a:lnTo>
                    <a:pt x="0" y="176"/>
                  </a:lnTo>
                  <a:lnTo>
                    <a:pt x="33" y="200"/>
                  </a:lnTo>
                  <a:lnTo>
                    <a:pt x="25" y="208"/>
                  </a:lnTo>
                  <a:lnTo>
                    <a:pt x="42" y="216"/>
                  </a:lnTo>
                  <a:lnTo>
                    <a:pt x="67" y="232"/>
                  </a:lnTo>
                  <a:lnTo>
                    <a:pt x="185" y="216"/>
                  </a:lnTo>
                  <a:lnTo>
                    <a:pt x="185" y="184"/>
                  </a:lnTo>
                  <a:lnTo>
                    <a:pt x="236" y="168"/>
                  </a:lnTo>
                  <a:lnTo>
                    <a:pt x="244" y="152"/>
                  </a:lnTo>
                  <a:lnTo>
                    <a:pt x="286" y="160"/>
                  </a:lnTo>
                  <a:lnTo>
                    <a:pt x="328" y="112"/>
                  </a:lnTo>
                  <a:lnTo>
                    <a:pt x="362" y="112"/>
                  </a:lnTo>
                  <a:lnTo>
                    <a:pt x="404" y="104"/>
                  </a:lnTo>
                  <a:lnTo>
                    <a:pt x="412" y="104"/>
                  </a:lnTo>
                  <a:lnTo>
                    <a:pt x="438" y="112"/>
                  </a:lnTo>
                  <a:lnTo>
                    <a:pt x="455" y="112"/>
                  </a:lnTo>
                  <a:lnTo>
                    <a:pt x="463" y="64"/>
                  </a:lnTo>
                  <a:lnTo>
                    <a:pt x="480" y="16"/>
                  </a:lnTo>
                  <a:lnTo>
                    <a:pt x="421" y="8"/>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7" name="Freeform 66"/>
            <p:cNvSpPr>
              <a:spLocks/>
            </p:cNvSpPr>
            <p:nvPr>
              <p:custDataLst>
                <p:tags r:id="rId63"/>
              </p:custDataLst>
            </p:nvPr>
          </p:nvSpPr>
          <p:spPr bwMode="auto">
            <a:xfrm>
              <a:off x="4595" y="3056"/>
              <a:ext cx="438" cy="504"/>
            </a:xfrm>
            <a:custGeom>
              <a:avLst/>
              <a:gdLst>
                <a:gd name="T0" fmla="*/ 126 w 438"/>
                <a:gd name="T1" fmla="*/ 424 h 504"/>
                <a:gd name="T2" fmla="*/ 160 w 438"/>
                <a:gd name="T3" fmla="*/ 440 h 504"/>
                <a:gd name="T4" fmla="*/ 185 w 438"/>
                <a:gd name="T5" fmla="*/ 440 h 504"/>
                <a:gd name="T6" fmla="*/ 202 w 438"/>
                <a:gd name="T7" fmla="*/ 456 h 504"/>
                <a:gd name="T8" fmla="*/ 236 w 438"/>
                <a:gd name="T9" fmla="*/ 496 h 504"/>
                <a:gd name="T10" fmla="*/ 252 w 438"/>
                <a:gd name="T11" fmla="*/ 504 h 504"/>
                <a:gd name="T12" fmla="*/ 261 w 438"/>
                <a:gd name="T13" fmla="*/ 472 h 504"/>
                <a:gd name="T14" fmla="*/ 286 w 438"/>
                <a:gd name="T15" fmla="*/ 464 h 504"/>
                <a:gd name="T16" fmla="*/ 311 w 438"/>
                <a:gd name="T17" fmla="*/ 456 h 504"/>
                <a:gd name="T18" fmla="*/ 370 w 438"/>
                <a:gd name="T19" fmla="*/ 432 h 504"/>
                <a:gd name="T20" fmla="*/ 413 w 438"/>
                <a:gd name="T21" fmla="*/ 432 h 504"/>
                <a:gd name="T22" fmla="*/ 421 w 438"/>
                <a:gd name="T23" fmla="*/ 400 h 504"/>
                <a:gd name="T24" fmla="*/ 404 w 438"/>
                <a:gd name="T25" fmla="*/ 392 h 504"/>
                <a:gd name="T26" fmla="*/ 404 w 438"/>
                <a:gd name="T27" fmla="*/ 360 h 504"/>
                <a:gd name="T28" fmla="*/ 421 w 438"/>
                <a:gd name="T29" fmla="*/ 352 h 504"/>
                <a:gd name="T30" fmla="*/ 438 w 438"/>
                <a:gd name="T31" fmla="*/ 312 h 504"/>
                <a:gd name="T32" fmla="*/ 396 w 438"/>
                <a:gd name="T33" fmla="*/ 280 h 504"/>
                <a:gd name="T34" fmla="*/ 379 w 438"/>
                <a:gd name="T35" fmla="*/ 248 h 504"/>
                <a:gd name="T36" fmla="*/ 370 w 438"/>
                <a:gd name="T37" fmla="*/ 216 h 504"/>
                <a:gd name="T38" fmla="*/ 387 w 438"/>
                <a:gd name="T39" fmla="*/ 184 h 504"/>
                <a:gd name="T40" fmla="*/ 370 w 438"/>
                <a:gd name="T41" fmla="*/ 176 h 504"/>
                <a:gd name="T42" fmla="*/ 370 w 438"/>
                <a:gd name="T43" fmla="*/ 136 h 504"/>
                <a:gd name="T44" fmla="*/ 328 w 438"/>
                <a:gd name="T45" fmla="*/ 160 h 504"/>
                <a:gd name="T46" fmla="*/ 286 w 438"/>
                <a:gd name="T47" fmla="*/ 144 h 504"/>
                <a:gd name="T48" fmla="*/ 244 w 438"/>
                <a:gd name="T49" fmla="*/ 136 h 504"/>
                <a:gd name="T50" fmla="*/ 261 w 438"/>
                <a:gd name="T51" fmla="*/ 104 h 504"/>
                <a:gd name="T52" fmla="*/ 219 w 438"/>
                <a:gd name="T53" fmla="*/ 88 h 504"/>
                <a:gd name="T54" fmla="*/ 185 w 438"/>
                <a:gd name="T55" fmla="*/ 64 h 504"/>
                <a:gd name="T56" fmla="*/ 177 w 438"/>
                <a:gd name="T57" fmla="*/ 40 h 504"/>
                <a:gd name="T58" fmla="*/ 143 w 438"/>
                <a:gd name="T59" fmla="*/ 16 h 504"/>
                <a:gd name="T60" fmla="*/ 126 w 438"/>
                <a:gd name="T61" fmla="*/ 0 h 504"/>
                <a:gd name="T62" fmla="*/ 118 w 438"/>
                <a:gd name="T63" fmla="*/ 8 h 504"/>
                <a:gd name="T64" fmla="*/ 67 w 438"/>
                <a:gd name="T65" fmla="*/ 8 h 504"/>
                <a:gd name="T66" fmla="*/ 33 w 438"/>
                <a:gd name="T67" fmla="*/ 24 h 504"/>
                <a:gd name="T68" fmla="*/ 8 w 438"/>
                <a:gd name="T69" fmla="*/ 24 h 504"/>
                <a:gd name="T70" fmla="*/ 0 w 438"/>
                <a:gd name="T71" fmla="*/ 48 h 504"/>
                <a:gd name="T72" fmla="*/ 8 w 438"/>
                <a:gd name="T73" fmla="*/ 80 h 504"/>
                <a:gd name="T74" fmla="*/ 33 w 438"/>
                <a:gd name="T75" fmla="*/ 112 h 504"/>
                <a:gd name="T76" fmla="*/ 59 w 438"/>
                <a:gd name="T77" fmla="*/ 120 h 504"/>
                <a:gd name="T78" fmla="*/ 33 w 438"/>
                <a:gd name="T79" fmla="*/ 128 h 504"/>
                <a:gd name="T80" fmla="*/ 33 w 438"/>
                <a:gd name="T81" fmla="*/ 160 h 504"/>
                <a:gd name="T82" fmla="*/ 8 w 438"/>
                <a:gd name="T83" fmla="*/ 152 h 504"/>
                <a:gd name="T84" fmla="*/ 17 w 438"/>
                <a:gd name="T85" fmla="*/ 168 h 504"/>
                <a:gd name="T86" fmla="*/ 50 w 438"/>
                <a:gd name="T87" fmla="*/ 168 h 504"/>
                <a:gd name="T88" fmla="*/ 50 w 438"/>
                <a:gd name="T89" fmla="*/ 200 h 504"/>
                <a:gd name="T90" fmla="*/ 59 w 438"/>
                <a:gd name="T91" fmla="*/ 232 h 504"/>
                <a:gd name="T92" fmla="*/ 101 w 438"/>
                <a:gd name="T93" fmla="*/ 256 h 504"/>
                <a:gd name="T94" fmla="*/ 75 w 438"/>
                <a:gd name="T95" fmla="*/ 272 h 504"/>
                <a:gd name="T96" fmla="*/ 101 w 438"/>
                <a:gd name="T97" fmla="*/ 312 h 504"/>
                <a:gd name="T98" fmla="*/ 50 w 438"/>
                <a:gd name="T99" fmla="*/ 328 h 504"/>
                <a:gd name="T100" fmla="*/ 59 w 438"/>
                <a:gd name="T101" fmla="*/ 352 h 504"/>
                <a:gd name="T102" fmla="*/ 33 w 438"/>
                <a:gd name="T103" fmla="*/ 352 h 504"/>
                <a:gd name="T104" fmla="*/ 25 w 438"/>
                <a:gd name="T105" fmla="*/ 384 h 504"/>
                <a:gd name="T106" fmla="*/ 0 w 438"/>
                <a:gd name="T107" fmla="*/ 400 h 504"/>
                <a:gd name="T108" fmla="*/ 8 w 438"/>
                <a:gd name="T109" fmla="*/ 416 h 504"/>
                <a:gd name="T110" fmla="*/ 8 w 438"/>
                <a:gd name="T111" fmla="*/ 456 h 504"/>
                <a:gd name="T112" fmla="*/ 17 w 438"/>
                <a:gd name="T113" fmla="*/ 456 h 504"/>
                <a:gd name="T114" fmla="*/ 101 w 438"/>
                <a:gd name="T115" fmla="*/ 504 h 504"/>
                <a:gd name="T116" fmla="*/ 101 w 438"/>
                <a:gd name="T117" fmla="*/ 496 h 504"/>
                <a:gd name="T118" fmla="*/ 126 w 438"/>
                <a:gd name="T119" fmla="*/ 424 h 5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38" h="504">
                  <a:moveTo>
                    <a:pt x="126" y="424"/>
                  </a:moveTo>
                  <a:lnTo>
                    <a:pt x="160" y="440"/>
                  </a:lnTo>
                  <a:lnTo>
                    <a:pt x="185" y="440"/>
                  </a:lnTo>
                  <a:lnTo>
                    <a:pt x="202" y="456"/>
                  </a:lnTo>
                  <a:lnTo>
                    <a:pt x="236" y="496"/>
                  </a:lnTo>
                  <a:lnTo>
                    <a:pt x="252" y="504"/>
                  </a:lnTo>
                  <a:lnTo>
                    <a:pt x="261" y="472"/>
                  </a:lnTo>
                  <a:lnTo>
                    <a:pt x="286" y="464"/>
                  </a:lnTo>
                  <a:lnTo>
                    <a:pt x="311" y="456"/>
                  </a:lnTo>
                  <a:lnTo>
                    <a:pt x="370" y="432"/>
                  </a:lnTo>
                  <a:lnTo>
                    <a:pt x="413" y="432"/>
                  </a:lnTo>
                  <a:lnTo>
                    <a:pt x="421" y="400"/>
                  </a:lnTo>
                  <a:lnTo>
                    <a:pt x="404" y="392"/>
                  </a:lnTo>
                  <a:lnTo>
                    <a:pt x="404" y="360"/>
                  </a:lnTo>
                  <a:lnTo>
                    <a:pt x="421" y="352"/>
                  </a:lnTo>
                  <a:lnTo>
                    <a:pt x="438" y="312"/>
                  </a:lnTo>
                  <a:lnTo>
                    <a:pt x="396" y="280"/>
                  </a:lnTo>
                  <a:lnTo>
                    <a:pt x="379" y="248"/>
                  </a:lnTo>
                  <a:lnTo>
                    <a:pt x="370" y="216"/>
                  </a:lnTo>
                  <a:lnTo>
                    <a:pt x="387" y="184"/>
                  </a:lnTo>
                  <a:lnTo>
                    <a:pt x="370" y="176"/>
                  </a:lnTo>
                  <a:lnTo>
                    <a:pt x="370" y="136"/>
                  </a:lnTo>
                  <a:lnTo>
                    <a:pt x="328" y="160"/>
                  </a:lnTo>
                  <a:lnTo>
                    <a:pt x="286" y="144"/>
                  </a:lnTo>
                  <a:lnTo>
                    <a:pt x="244" y="136"/>
                  </a:lnTo>
                  <a:lnTo>
                    <a:pt x="261" y="104"/>
                  </a:lnTo>
                  <a:lnTo>
                    <a:pt x="219" y="88"/>
                  </a:lnTo>
                  <a:lnTo>
                    <a:pt x="185" y="64"/>
                  </a:lnTo>
                  <a:lnTo>
                    <a:pt x="177" y="40"/>
                  </a:lnTo>
                  <a:lnTo>
                    <a:pt x="143" y="16"/>
                  </a:lnTo>
                  <a:lnTo>
                    <a:pt x="126" y="0"/>
                  </a:lnTo>
                  <a:lnTo>
                    <a:pt x="118" y="8"/>
                  </a:lnTo>
                  <a:lnTo>
                    <a:pt x="67" y="8"/>
                  </a:lnTo>
                  <a:lnTo>
                    <a:pt x="33" y="24"/>
                  </a:lnTo>
                  <a:lnTo>
                    <a:pt x="8" y="24"/>
                  </a:lnTo>
                  <a:lnTo>
                    <a:pt x="0" y="48"/>
                  </a:lnTo>
                  <a:lnTo>
                    <a:pt x="8" y="80"/>
                  </a:lnTo>
                  <a:lnTo>
                    <a:pt x="33" y="112"/>
                  </a:lnTo>
                  <a:lnTo>
                    <a:pt x="59" y="120"/>
                  </a:lnTo>
                  <a:lnTo>
                    <a:pt x="33" y="128"/>
                  </a:lnTo>
                  <a:lnTo>
                    <a:pt x="33" y="160"/>
                  </a:lnTo>
                  <a:lnTo>
                    <a:pt x="8" y="152"/>
                  </a:lnTo>
                  <a:lnTo>
                    <a:pt x="17" y="168"/>
                  </a:lnTo>
                  <a:lnTo>
                    <a:pt x="50" y="168"/>
                  </a:lnTo>
                  <a:lnTo>
                    <a:pt x="50" y="200"/>
                  </a:lnTo>
                  <a:lnTo>
                    <a:pt x="59" y="232"/>
                  </a:lnTo>
                  <a:lnTo>
                    <a:pt x="101" y="256"/>
                  </a:lnTo>
                  <a:lnTo>
                    <a:pt x="75" y="272"/>
                  </a:lnTo>
                  <a:lnTo>
                    <a:pt x="101" y="312"/>
                  </a:lnTo>
                  <a:lnTo>
                    <a:pt x="50" y="328"/>
                  </a:lnTo>
                  <a:lnTo>
                    <a:pt x="59" y="352"/>
                  </a:lnTo>
                  <a:lnTo>
                    <a:pt x="33" y="352"/>
                  </a:lnTo>
                  <a:lnTo>
                    <a:pt x="25" y="384"/>
                  </a:lnTo>
                  <a:lnTo>
                    <a:pt x="0" y="400"/>
                  </a:lnTo>
                  <a:lnTo>
                    <a:pt x="8" y="416"/>
                  </a:lnTo>
                  <a:lnTo>
                    <a:pt x="8" y="456"/>
                  </a:lnTo>
                  <a:lnTo>
                    <a:pt x="17" y="456"/>
                  </a:lnTo>
                  <a:lnTo>
                    <a:pt x="101" y="504"/>
                  </a:lnTo>
                  <a:lnTo>
                    <a:pt x="101" y="496"/>
                  </a:lnTo>
                  <a:lnTo>
                    <a:pt x="126" y="42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8" name="Freeform 67"/>
            <p:cNvSpPr>
              <a:spLocks/>
            </p:cNvSpPr>
            <p:nvPr>
              <p:custDataLst>
                <p:tags r:id="rId64"/>
              </p:custDataLst>
            </p:nvPr>
          </p:nvSpPr>
          <p:spPr bwMode="auto">
            <a:xfrm>
              <a:off x="4376" y="2656"/>
              <a:ext cx="480" cy="232"/>
            </a:xfrm>
            <a:custGeom>
              <a:avLst/>
              <a:gdLst>
                <a:gd name="T0" fmla="*/ 421 w 480"/>
                <a:gd name="T1" fmla="*/ 8 h 232"/>
                <a:gd name="T2" fmla="*/ 396 w 480"/>
                <a:gd name="T3" fmla="*/ 0 h 232"/>
                <a:gd name="T4" fmla="*/ 353 w 480"/>
                <a:gd name="T5" fmla="*/ 0 h 232"/>
                <a:gd name="T6" fmla="*/ 328 w 480"/>
                <a:gd name="T7" fmla="*/ 16 h 232"/>
                <a:gd name="T8" fmla="*/ 294 w 480"/>
                <a:gd name="T9" fmla="*/ 16 h 232"/>
                <a:gd name="T10" fmla="*/ 269 w 480"/>
                <a:gd name="T11" fmla="*/ 40 h 232"/>
                <a:gd name="T12" fmla="*/ 244 w 480"/>
                <a:gd name="T13" fmla="*/ 40 h 232"/>
                <a:gd name="T14" fmla="*/ 236 w 480"/>
                <a:gd name="T15" fmla="*/ 24 h 232"/>
                <a:gd name="T16" fmla="*/ 210 w 480"/>
                <a:gd name="T17" fmla="*/ 0 h 232"/>
                <a:gd name="T18" fmla="*/ 177 w 480"/>
                <a:gd name="T19" fmla="*/ 24 h 232"/>
                <a:gd name="T20" fmla="*/ 168 w 480"/>
                <a:gd name="T21" fmla="*/ 24 h 232"/>
                <a:gd name="T22" fmla="*/ 151 w 480"/>
                <a:gd name="T23" fmla="*/ 16 h 232"/>
                <a:gd name="T24" fmla="*/ 126 w 480"/>
                <a:gd name="T25" fmla="*/ 32 h 232"/>
                <a:gd name="T26" fmla="*/ 101 w 480"/>
                <a:gd name="T27" fmla="*/ 56 h 232"/>
                <a:gd name="T28" fmla="*/ 67 w 480"/>
                <a:gd name="T29" fmla="*/ 104 h 232"/>
                <a:gd name="T30" fmla="*/ 25 w 480"/>
                <a:gd name="T31" fmla="*/ 104 h 232"/>
                <a:gd name="T32" fmla="*/ 0 w 480"/>
                <a:gd name="T33" fmla="*/ 136 h 232"/>
                <a:gd name="T34" fmla="*/ 0 w 480"/>
                <a:gd name="T35" fmla="*/ 176 h 232"/>
                <a:gd name="T36" fmla="*/ 33 w 480"/>
                <a:gd name="T37" fmla="*/ 200 h 232"/>
                <a:gd name="T38" fmla="*/ 25 w 480"/>
                <a:gd name="T39" fmla="*/ 208 h 232"/>
                <a:gd name="T40" fmla="*/ 42 w 480"/>
                <a:gd name="T41" fmla="*/ 216 h 232"/>
                <a:gd name="T42" fmla="*/ 67 w 480"/>
                <a:gd name="T43" fmla="*/ 232 h 232"/>
                <a:gd name="T44" fmla="*/ 185 w 480"/>
                <a:gd name="T45" fmla="*/ 216 h 232"/>
                <a:gd name="T46" fmla="*/ 185 w 480"/>
                <a:gd name="T47" fmla="*/ 184 h 232"/>
                <a:gd name="T48" fmla="*/ 236 w 480"/>
                <a:gd name="T49" fmla="*/ 168 h 232"/>
                <a:gd name="T50" fmla="*/ 244 w 480"/>
                <a:gd name="T51" fmla="*/ 152 h 232"/>
                <a:gd name="T52" fmla="*/ 286 w 480"/>
                <a:gd name="T53" fmla="*/ 160 h 232"/>
                <a:gd name="T54" fmla="*/ 328 w 480"/>
                <a:gd name="T55" fmla="*/ 112 h 232"/>
                <a:gd name="T56" fmla="*/ 362 w 480"/>
                <a:gd name="T57" fmla="*/ 112 h 232"/>
                <a:gd name="T58" fmla="*/ 404 w 480"/>
                <a:gd name="T59" fmla="*/ 104 h 232"/>
                <a:gd name="T60" fmla="*/ 404 w 480"/>
                <a:gd name="T61" fmla="*/ 104 h 232"/>
                <a:gd name="T62" fmla="*/ 412 w 480"/>
                <a:gd name="T63" fmla="*/ 104 h 232"/>
                <a:gd name="T64" fmla="*/ 438 w 480"/>
                <a:gd name="T65" fmla="*/ 112 h 232"/>
                <a:gd name="T66" fmla="*/ 455 w 480"/>
                <a:gd name="T67" fmla="*/ 112 h 232"/>
                <a:gd name="T68" fmla="*/ 463 w 480"/>
                <a:gd name="T69" fmla="*/ 64 h 232"/>
                <a:gd name="T70" fmla="*/ 480 w 480"/>
                <a:gd name="T71" fmla="*/ 16 h 232"/>
                <a:gd name="T72" fmla="*/ 421 w 480"/>
                <a:gd name="T73" fmla="*/ 8 h 23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80" h="232">
                  <a:moveTo>
                    <a:pt x="421" y="8"/>
                  </a:moveTo>
                  <a:lnTo>
                    <a:pt x="396" y="0"/>
                  </a:lnTo>
                  <a:lnTo>
                    <a:pt x="353" y="0"/>
                  </a:lnTo>
                  <a:lnTo>
                    <a:pt x="328" y="16"/>
                  </a:lnTo>
                  <a:lnTo>
                    <a:pt x="294" y="16"/>
                  </a:lnTo>
                  <a:lnTo>
                    <a:pt x="269" y="40"/>
                  </a:lnTo>
                  <a:lnTo>
                    <a:pt x="244" y="40"/>
                  </a:lnTo>
                  <a:lnTo>
                    <a:pt x="236" y="24"/>
                  </a:lnTo>
                  <a:lnTo>
                    <a:pt x="210" y="0"/>
                  </a:lnTo>
                  <a:lnTo>
                    <a:pt x="177" y="24"/>
                  </a:lnTo>
                  <a:lnTo>
                    <a:pt x="168" y="24"/>
                  </a:lnTo>
                  <a:lnTo>
                    <a:pt x="151" y="16"/>
                  </a:lnTo>
                  <a:lnTo>
                    <a:pt x="126" y="32"/>
                  </a:lnTo>
                  <a:lnTo>
                    <a:pt x="101" y="56"/>
                  </a:lnTo>
                  <a:lnTo>
                    <a:pt x="67" y="104"/>
                  </a:lnTo>
                  <a:lnTo>
                    <a:pt x="25" y="104"/>
                  </a:lnTo>
                  <a:lnTo>
                    <a:pt x="0" y="136"/>
                  </a:lnTo>
                  <a:lnTo>
                    <a:pt x="0" y="176"/>
                  </a:lnTo>
                  <a:lnTo>
                    <a:pt x="33" y="200"/>
                  </a:lnTo>
                  <a:lnTo>
                    <a:pt x="25" y="208"/>
                  </a:lnTo>
                  <a:lnTo>
                    <a:pt x="42" y="216"/>
                  </a:lnTo>
                  <a:lnTo>
                    <a:pt x="67" y="232"/>
                  </a:lnTo>
                  <a:lnTo>
                    <a:pt x="185" y="216"/>
                  </a:lnTo>
                  <a:lnTo>
                    <a:pt x="185" y="184"/>
                  </a:lnTo>
                  <a:lnTo>
                    <a:pt x="236" y="168"/>
                  </a:lnTo>
                  <a:lnTo>
                    <a:pt x="244" y="152"/>
                  </a:lnTo>
                  <a:lnTo>
                    <a:pt x="286" y="160"/>
                  </a:lnTo>
                  <a:lnTo>
                    <a:pt x="328" y="112"/>
                  </a:lnTo>
                  <a:lnTo>
                    <a:pt x="362" y="112"/>
                  </a:lnTo>
                  <a:lnTo>
                    <a:pt x="404" y="104"/>
                  </a:lnTo>
                  <a:lnTo>
                    <a:pt x="412" y="104"/>
                  </a:lnTo>
                  <a:lnTo>
                    <a:pt x="438" y="112"/>
                  </a:lnTo>
                  <a:lnTo>
                    <a:pt x="455" y="112"/>
                  </a:lnTo>
                  <a:lnTo>
                    <a:pt x="463" y="64"/>
                  </a:lnTo>
                  <a:lnTo>
                    <a:pt x="480" y="16"/>
                  </a:lnTo>
                  <a:lnTo>
                    <a:pt x="421" y="8"/>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9" name="Freeform 68"/>
            <p:cNvSpPr>
              <a:spLocks/>
            </p:cNvSpPr>
            <p:nvPr>
              <p:custDataLst>
                <p:tags r:id="rId65"/>
              </p:custDataLst>
            </p:nvPr>
          </p:nvSpPr>
          <p:spPr bwMode="auto">
            <a:xfrm>
              <a:off x="4595" y="3056"/>
              <a:ext cx="438" cy="504"/>
            </a:xfrm>
            <a:custGeom>
              <a:avLst/>
              <a:gdLst>
                <a:gd name="T0" fmla="*/ 126 w 438"/>
                <a:gd name="T1" fmla="*/ 424 h 504"/>
                <a:gd name="T2" fmla="*/ 160 w 438"/>
                <a:gd name="T3" fmla="*/ 440 h 504"/>
                <a:gd name="T4" fmla="*/ 185 w 438"/>
                <a:gd name="T5" fmla="*/ 440 h 504"/>
                <a:gd name="T6" fmla="*/ 202 w 438"/>
                <a:gd name="T7" fmla="*/ 456 h 504"/>
                <a:gd name="T8" fmla="*/ 236 w 438"/>
                <a:gd name="T9" fmla="*/ 496 h 504"/>
                <a:gd name="T10" fmla="*/ 252 w 438"/>
                <a:gd name="T11" fmla="*/ 504 h 504"/>
                <a:gd name="T12" fmla="*/ 261 w 438"/>
                <a:gd name="T13" fmla="*/ 472 h 504"/>
                <a:gd name="T14" fmla="*/ 286 w 438"/>
                <a:gd name="T15" fmla="*/ 464 h 504"/>
                <a:gd name="T16" fmla="*/ 311 w 438"/>
                <a:gd name="T17" fmla="*/ 456 h 504"/>
                <a:gd name="T18" fmla="*/ 370 w 438"/>
                <a:gd name="T19" fmla="*/ 432 h 504"/>
                <a:gd name="T20" fmla="*/ 413 w 438"/>
                <a:gd name="T21" fmla="*/ 432 h 504"/>
                <a:gd name="T22" fmla="*/ 421 w 438"/>
                <a:gd name="T23" fmla="*/ 400 h 504"/>
                <a:gd name="T24" fmla="*/ 404 w 438"/>
                <a:gd name="T25" fmla="*/ 392 h 504"/>
                <a:gd name="T26" fmla="*/ 404 w 438"/>
                <a:gd name="T27" fmla="*/ 360 h 504"/>
                <a:gd name="T28" fmla="*/ 421 w 438"/>
                <a:gd name="T29" fmla="*/ 352 h 504"/>
                <a:gd name="T30" fmla="*/ 438 w 438"/>
                <a:gd name="T31" fmla="*/ 312 h 504"/>
                <a:gd name="T32" fmla="*/ 396 w 438"/>
                <a:gd name="T33" fmla="*/ 280 h 504"/>
                <a:gd name="T34" fmla="*/ 379 w 438"/>
                <a:gd name="T35" fmla="*/ 248 h 504"/>
                <a:gd name="T36" fmla="*/ 370 w 438"/>
                <a:gd name="T37" fmla="*/ 216 h 504"/>
                <a:gd name="T38" fmla="*/ 387 w 438"/>
                <a:gd name="T39" fmla="*/ 184 h 504"/>
                <a:gd name="T40" fmla="*/ 370 w 438"/>
                <a:gd name="T41" fmla="*/ 176 h 504"/>
                <a:gd name="T42" fmla="*/ 370 w 438"/>
                <a:gd name="T43" fmla="*/ 136 h 504"/>
                <a:gd name="T44" fmla="*/ 328 w 438"/>
                <a:gd name="T45" fmla="*/ 160 h 504"/>
                <a:gd name="T46" fmla="*/ 286 w 438"/>
                <a:gd name="T47" fmla="*/ 144 h 504"/>
                <a:gd name="T48" fmla="*/ 244 w 438"/>
                <a:gd name="T49" fmla="*/ 136 h 504"/>
                <a:gd name="T50" fmla="*/ 261 w 438"/>
                <a:gd name="T51" fmla="*/ 104 h 504"/>
                <a:gd name="T52" fmla="*/ 219 w 438"/>
                <a:gd name="T53" fmla="*/ 88 h 504"/>
                <a:gd name="T54" fmla="*/ 185 w 438"/>
                <a:gd name="T55" fmla="*/ 64 h 504"/>
                <a:gd name="T56" fmla="*/ 177 w 438"/>
                <a:gd name="T57" fmla="*/ 40 h 504"/>
                <a:gd name="T58" fmla="*/ 143 w 438"/>
                <a:gd name="T59" fmla="*/ 16 h 504"/>
                <a:gd name="T60" fmla="*/ 126 w 438"/>
                <a:gd name="T61" fmla="*/ 0 h 504"/>
                <a:gd name="T62" fmla="*/ 118 w 438"/>
                <a:gd name="T63" fmla="*/ 8 h 504"/>
                <a:gd name="T64" fmla="*/ 67 w 438"/>
                <a:gd name="T65" fmla="*/ 8 h 504"/>
                <a:gd name="T66" fmla="*/ 33 w 438"/>
                <a:gd name="T67" fmla="*/ 24 h 504"/>
                <a:gd name="T68" fmla="*/ 8 w 438"/>
                <a:gd name="T69" fmla="*/ 24 h 504"/>
                <a:gd name="T70" fmla="*/ 0 w 438"/>
                <a:gd name="T71" fmla="*/ 48 h 504"/>
                <a:gd name="T72" fmla="*/ 8 w 438"/>
                <a:gd name="T73" fmla="*/ 80 h 504"/>
                <a:gd name="T74" fmla="*/ 33 w 438"/>
                <a:gd name="T75" fmla="*/ 112 h 504"/>
                <a:gd name="T76" fmla="*/ 59 w 438"/>
                <a:gd name="T77" fmla="*/ 120 h 504"/>
                <a:gd name="T78" fmla="*/ 33 w 438"/>
                <a:gd name="T79" fmla="*/ 128 h 504"/>
                <a:gd name="T80" fmla="*/ 33 w 438"/>
                <a:gd name="T81" fmla="*/ 160 h 504"/>
                <a:gd name="T82" fmla="*/ 8 w 438"/>
                <a:gd name="T83" fmla="*/ 152 h 504"/>
                <a:gd name="T84" fmla="*/ 17 w 438"/>
                <a:gd name="T85" fmla="*/ 168 h 504"/>
                <a:gd name="T86" fmla="*/ 50 w 438"/>
                <a:gd name="T87" fmla="*/ 168 h 504"/>
                <a:gd name="T88" fmla="*/ 50 w 438"/>
                <a:gd name="T89" fmla="*/ 200 h 504"/>
                <a:gd name="T90" fmla="*/ 59 w 438"/>
                <a:gd name="T91" fmla="*/ 232 h 504"/>
                <a:gd name="T92" fmla="*/ 101 w 438"/>
                <a:gd name="T93" fmla="*/ 256 h 504"/>
                <a:gd name="T94" fmla="*/ 75 w 438"/>
                <a:gd name="T95" fmla="*/ 272 h 504"/>
                <a:gd name="T96" fmla="*/ 101 w 438"/>
                <a:gd name="T97" fmla="*/ 312 h 504"/>
                <a:gd name="T98" fmla="*/ 50 w 438"/>
                <a:gd name="T99" fmla="*/ 328 h 504"/>
                <a:gd name="T100" fmla="*/ 59 w 438"/>
                <a:gd name="T101" fmla="*/ 352 h 504"/>
                <a:gd name="T102" fmla="*/ 33 w 438"/>
                <a:gd name="T103" fmla="*/ 352 h 504"/>
                <a:gd name="T104" fmla="*/ 25 w 438"/>
                <a:gd name="T105" fmla="*/ 384 h 504"/>
                <a:gd name="T106" fmla="*/ 0 w 438"/>
                <a:gd name="T107" fmla="*/ 400 h 504"/>
                <a:gd name="T108" fmla="*/ 8 w 438"/>
                <a:gd name="T109" fmla="*/ 416 h 504"/>
                <a:gd name="T110" fmla="*/ 8 w 438"/>
                <a:gd name="T111" fmla="*/ 456 h 504"/>
                <a:gd name="T112" fmla="*/ 17 w 438"/>
                <a:gd name="T113" fmla="*/ 456 h 504"/>
                <a:gd name="T114" fmla="*/ 101 w 438"/>
                <a:gd name="T115" fmla="*/ 504 h 504"/>
                <a:gd name="T116" fmla="*/ 101 w 438"/>
                <a:gd name="T117" fmla="*/ 496 h 504"/>
                <a:gd name="T118" fmla="*/ 126 w 438"/>
                <a:gd name="T119" fmla="*/ 424 h 5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38" h="504">
                  <a:moveTo>
                    <a:pt x="126" y="424"/>
                  </a:moveTo>
                  <a:lnTo>
                    <a:pt x="160" y="440"/>
                  </a:lnTo>
                  <a:lnTo>
                    <a:pt x="185" y="440"/>
                  </a:lnTo>
                  <a:lnTo>
                    <a:pt x="202" y="456"/>
                  </a:lnTo>
                  <a:lnTo>
                    <a:pt x="236" y="496"/>
                  </a:lnTo>
                  <a:lnTo>
                    <a:pt x="252" y="504"/>
                  </a:lnTo>
                  <a:lnTo>
                    <a:pt x="261" y="472"/>
                  </a:lnTo>
                  <a:lnTo>
                    <a:pt x="286" y="464"/>
                  </a:lnTo>
                  <a:lnTo>
                    <a:pt x="311" y="456"/>
                  </a:lnTo>
                  <a:lnTo>
                    <a:pt x="370" y="432"/>
                  </a:lnTo>
                  <a:lnTo>
                    <a:pt x="413" y="432"/>
                  </a:lnTo>
                  <a:lnTo>
                    <a:pt x="421" y="400"/>
                  </a:lnTo>
                  <a:lnTo>
                    <a:pt x="404" y="392"/>
                  </a:lnTo>
                  <a:lnTo>
                    <a:pt x="404" y="360"/>
                  </a:lnTo>
                  <a:lnTo>
                    <a:pt x="421" y="352"/>
                  </a:lnTo>
                  <a:lnTo>
                    <a:pt x="438" y="312"/>
                  </a:lnTo>
                  <a:lnTo>
                    <a:pt x="396" y="280"/>
                  </a:lnTo>
                  <a:lnTo>
                    <a:pt x="379" y="248"/>
                  </a:lnTo>
                  <a:lnTo>
                    <a:pt x="370" y="216"/>
                  </a:lnTo>
                  <a:lnTo>
                    <a:pt x="387" y="184"/>
                  </a:lnTo>
                  <a:lnTo>
                    <a:pt x="370" y="176"/>
                  </a:lnTo>
                  <a:lnTo>
                    <a:pt x="370" y="136"/>
                  </a:lnTo>
                  <a:lnTo>
                    <a:pt x="328" y="160"/>
                  </a:lnTo>
                  <a:lnTo>
                    <a:pt x="286" y="144"/>
                  </a:lnTo>
                  <a:lnTo>
                    <a:pt x="244" y="136"/>
                  </a:lnTo>
                  <a:lnTo>
                    <a:pt x="261" y="104"/>
                  </a:lnTo>
                  <a:lnTo>
                    <a:pt x="219" y="88"/>
                  </a:lnTo>
                  <a:lnTo>
                    <a:pt x="185" y="64"/>
                  </a:lnTo>
                  <a:lnTo>
                    <a:pt x="177" y="40"/>
                  </a:lnTo>
                  <a:lnTo>
                    <a:pt x="143" y="16"/>
                  </a:lnTo>
                  <a:lnTo>
                    <a:pt x="126" y="0"/>
                  </a:lnTo>
                  <a:lnTo>
                    <a:pt x="118" y="8"/>
                  </a:lnTo>
                  <a:lnTo>
                    <a:pt x="67" y="8"/>
                  </a:lnTo>
                  <a:lnTo>
                    <a:pt x="33" y="24"/>
                  </a:lnTo>
                  <a:lnTo>
                    <a:pt x="8" y="24"/>
                  </a:lnTo>
                  <a:lnTo>
                    <a:pt x="0" y="48"/>
                  </a:lnTo>
                  <a:lnTo>
                    <a:pt x="8" y="80"/>
                  </a:lnTo>
                  <a:lnTo>
                    <a:pt x="33" y="112"/>
                  </a:lnTo>
                  <a:lnTo>
                    <a:pt x="59" y="120"/>
                  </a:lnTo>
                  <a:lnTo>
                    <a:pt x="33" y="128"/>
                  </a:lnTo>
                  <a:lnTo>
                    <a:pt x="33" y="160"/>
                  </a:lnTo>
                  <a:lnTo>
                    <a:pt x="8" y="152"/>
                  </a:lnTo>
                  <a:lnTo>
                    <a:pt x="17" y="168"/>
                  </a:lnTo>
                  <a:lnTo>
                    <a:pt x="50" y="168"/>
                  </a:lnTo>
                  <a:lnTo>
                    <a:pt x="50" y="200"/>
                  </a:lnTo>
                  <a:lnTo>
                    <a:pt x="59" y="232"/>
                  </a:lnTo>
                  <a:lnTo>
                    <a:pt x="101" y="256"/>
                  </a:lnTo>
                  <a:lnTo>
                    <a:pt x="75" y="272"/>
                  </a:lnTo>
                  <a:lnTo>
                    <a:pt x="101" y="312"/>
                  </a:lnTo>
                  <a:lnTo>
                    <a:pt x="50" y="328"/>
                  </a:lnTo>
                  <a:lnTo>
                    <a:pt x="59" y="352"/>
                  </a:lnTo>
                  <a:lnTo>
                    <a:pt x="33" y="352"/>
                  </a:lnTo>
                  <a:lnTo>
                    <a:pt x="25" y="384"/>
                  </a:lnTo>
                  <a:lnTo>
                    <a:pt x="0" y="400"/>
                  </a:lnTo>
                  <a:lnTo>
                    <a:pt x="8" y="416"/>
                  </a:lnTo>
                  <a:lnTo>
                    <a:pt x="8" y="456"/>
                  </a:lnTo>
                  <a:lnTo>
                    <a:pt x="17" y="456"/>
                  </a:lnTo>
                  <a:lnTo>
                    <a:pt x="101" y="504"/>
                  </a:lnTo>
                  <a:lnTo>
                    <a:pt x="101" y="496"/>
                  </a:lnTo>
                  <a:lnTo>
                    <a:pt x="126" y="424"/>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0" name="Freeform 69"/>
            <p:cNvSpPr>
              <a:spLocks/>
            </p:cNvSpPr>
            <p:nvPr>
              <p:custDataLst>
                <p:tags r:id="rId66"/>
              </p:custDataLst>
            </p:nvPr>
          </p:nvSpPr>
          <p:spPr bwMode="auto">
            <a:xfrm>
              <a:off x="4696" y="3480"/>
              <a:ext cx="210" cy="352"/>
            </a:xfrm>
            <a:custGeom>
              <a:avLst/>
              <a:gdLst>
                <a:gd name="T0" fmla="*/ 151 w 210"/>
                <a:gd name="T1" fmla="*/ 304 h 352"/>
                <a:gd name="T2" fmla="*/ 185 w 210"/>
                <a:gd name="T3" fmla="*/ 288 h 352"/>
                <a:gd name="T4" fmla="*/ 185 w 210"/>
                <a:gd name="T5" fmla="*/ 248 h 352"/>
                <a:gd name="T6" fmla="*/ 210 w 210"/>
                <a:gd name="T7" fmla="*/ 232 h 352"/>
                <a:gd name="T8" fmla="*/ 194 w 210"/>
                <a:gd name="T9" fmla="*/ 192 h 352"/>
                <a:gd name="T10" fmla="*/ 168 w 210"/>
                <a:gd name="T11" fmla="*/ 184 h 352"/>
                <a:gd name="T12" fmla="*/ 143 w 210"/>
                <a:gd name="T13" fmla="*/ 152 h 352"/>
                <a:gd name="T14" fmla="*/ 135 w 210"/>
                <a:gd name="T15" fmla="*/ 96 h 352"/>
                <a:gd name="T16" fmla="*/ 135 w 210"/>
                <a:gd name="T17" fmla="*/ 72 h 352"/>
                <a:gd name="T18" fmla="*/ 101 w 210"/>
                <a:gd name="T19" fmla="*/ 32 h 352"/>
                <a:gd name="T20" fmla="*/ 84 w 210"/>
                <a:gd name="T21" fmla="*/ 16 h 352"/>
                <a:gd name="T22" fmla="*/ 59 w 210"/>
                <a:gd name="T23" fmla="*/ 16 h 352"/>
                <a:gd name="T24" fmla="*/ 25 w 210"/>
                <a:gd name="T25" fmla="*/ 0 h 352"/>
                <a:gd name="T26" fmla="*/ 0 w 210"/>
                <a:gd name="T27" fmla="*/ 72 h 352"/>
                <a:gd name="T28" fmla="*/ 0 w 210"/>
                <a:gd name="T29" fmla="*/ 80 h 352"/>
                <a:gd name="T30" fmla="*/ 17 w 210"/>
                <a:gd name="T31" fmla="*/ 88 h 352"/>
                <a:gd name="T32" fmla="*/ 33 w 210"/>
                <a:gd name="T33" fmla="*/ 104 h 352"/>
                <a:gd name="T34" fmla="*/ 33 w 210"/>
                <a:gd name="T35" fmla="*/ 120 h 352"/>
                <a:gd name="T36" fmla="*/ 33 w 210"/>
                <a:gd name="T37" fmla="*/ 160 h 352"/>
                <a:gd name="T38" fmla="*/ 42 w 210"/>
                <a:gd name="T39" fmla="*/ 248 h 352"/>
                <a:gd name="T40" fmla="*/ 67 w 210"/>
                <a:gd name="T41" fmla="*/ 288 h 352"/>
                <a:gd name="T42" fmla="*/ 109 w 210"/>
                <a:gd name="T43" fmla="*/ 320 h 352"/>
                <a:gd name="T44" fmla="*/ 135 w 210"/>
                <a:gd name="T45" fmla="*/ 352 h 352"/>
                <a:gd name="T46" fmla="*/ 151 w 210"/>
                <a:gd name="T47" fmla="*/ 344 h 352"/>
                <a:gd name="T48" fmla="*/ 151 w 210"/>
                <a:gd name="T49" fmla="*/ 304 h 3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10" h="352">
                  <a:moveTo>
                    <a:pt x="151" y="304"/>
                  </a:moveTo>
                  <a:lnTo>
                    <a:pt x="185" y="288"/>
                  </a:lnTo>
                  <a:lnTo>
                    <a:pt x="185" y="248"/>
                  </a:lnTo>
                  <a:lnTo>
                    <a:pt x="210" y="232"/>
                  </a:lnTo>
                  <a:lnTo>
                    <a:pt x="194" y="192"/>
                  </a:lnTo>
                  <a:lnTo>
                    <a:pt x="168" y="184"/>
                  </a:lnTo>
                  <a:lnTo>
                    <a:pt x="143" y="152"/>
                  </a:lnTo>
                  <a:lnTo>
                    <a:pt x="135" y="96"/>
                  </a:lnTo>
                  <a:lnTo>
                    <a:pt x="135" y="72"/>
                  </a:lnTo>
                  <a:lnTo>
                    <a:pt x="101" y="32"/>
                  </a:lnTo>
                  <a:lnTo>
                    <a:pt x="84" y="16"/>
                  </a:lnTo>
                  <a:lnTo>
                    <a:pt x="59" y="16"/>
                  </a:lnTo>
                  <a:lnTo>
                    <a:pt x="25" y="0"/>
                  </a:lnTo>
                  <a:lnTo>
                    <a:pt x="0" y="72"/>
                  </a:lnTo>
                  <a:lnTo>
                    <a:pt x="0" y="80"/>
                  </a:lnTo>
                  <a:lnTo>
                    <a:pt x="17" y="88"/>
                  </a:lnTo>
                  <a:lnTo>
                    <a:pt x="33" y="104"/>
                  </a:lnTo>
                  <a:lnTo>
                    <a:pt x="33" y="120"/>
                  </a:lnTo>
                  <a:lnTo>
                    <a:pt x="33" y="160"/>
                  </a:lnTo>
                  <a:lnTo>
                    <a:pt x="42" y="248"/>
                  </a:lnTo>
                  <a:lnTo>
                    <a:pt x="67" y="288"/>
                  </a:lnTo>
                  <a:lnTo>
                    <a:pt x="109" y="320"/>
                  </a:lnTo>
                  <a:lnTo>
                    <a:pt x="135" y="352"/>
                  </a:lnTo>
                  <a:lnTo>
                    <a:pt x="151" y="344"/>
                  </a:lnTo>
                  <a:lnTo>
                    <a:pt x="151" y="30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1" name="Freeform 70"/>
            <p:cNvSpPr>
              <a:spLocks/>
            </p:cNvSpPr>
            <p:nvPr>
              <p:custDataLst>
                <p:tags r:id="rId67"/>
              </p:custDataLst>
            </p:nvPr>
          </p:nvSpPr>
          <p:spPr bwMode="auto">
            <a:xfrm>
              <a:off x="4831" y="3480"/>
              <a:ext cx="606" cy="704"/>
            </a:xfrm>
            <a:custGeom>
              <a:avLst/>
              <a:gdLst>
                <a:gd name="T0" fmla="*/ 606 w 606"/>
                <a:gd name="T1" fmla="*/ 24 h 704"/>
                <a:gd name="T2" fmla="*/ 556 w 606"/>
                <a:gd name="T3" fmla="*/ 0 h 704"/>
                <a:gd name="T4" fmla="*/ 530 w 606"/>
                <a:gd name="T5" fmla="*/ 56 h 704"/>
                <a:gd name="T6" fmla="*/ 446 w 606"/>
                <a:gd name="T7" fmla="*/ 72 h 704"/>
                <a:gd name="T8" fmla="*/ 379 w 606"/>
                <a:gd name="T9" fmla="*/ 56 h 704"/>
                <a:gd name="T10" fmla="*/ 286 w 606"/>
                <a:gd name="T11" fmla="*/ 104 h 704"/>
                <a:gd name="T12" fmla="*/ 236 w 606"/>
                <a:gd name="T13" fmla="*/ 136 h 704"/>
                <a:gd name="T14" fmla="*/ 134 w 606"/>
                <a:gd name="T15" fmla="*/ 184 h 704"/>
                <a:gd name="T16" fmla="*/ 75 w 606"/>
                <a:gd name="T17" fmla="*/ 200 h 704"/>
                <a:gd name="T18" fmla="*/ 75 w 606"/>
                <a:gd name="T19" fmla="*/ 232 h 704"/>
                <a:gd name="T20" fmla="*/ 50 w 606"/>
                <a:gd name="T21" fmla="*/ 288 h 704"/>
                <a:gd name="T22" fmla="*/ 16 w 606"/>
                <a:gd name="T23" fmla="*/ 344 h 704"/>
                <a:gd name="T24" fmla="*/ 33 w 606"/>
                <a:gd name="T25" fmla="*/ 392 h 704"/>
                <a:gd name="T26" fmla="*/ 59 w 606"/>
                <a:gd name="T27" fmla="*/ 464 h 704"/>
                <a:gd name="T28" fmla="*/ 118 w 606"/>
                <a:gd name="T29" fmla="*/ 480 h 704"/>
                <a:gd name="T30" fmla="*/ 286 w 606"/>
                <a:gd name="T31" fmla="*/ 472 h 704"/>
                <a:gd name="T32" fmla="*/ 337 w 606"/>
                <a:gd name="T33" fmla="*/ 496 h 704"/>
                <a:gd name="T34" fmla="*/ 294 w 606"/>
                <a:gd name="T35" fmla="*/ 512 h 704"/>
                <a:gd name="T36" fmla="*/ 210 w 606"/>
                <a:gd name="T37" fmla="*/ 488 h 704"/>
                <a:gd name="T38" fmla="*/ 160 w 606"/>
                <a:gd name="T39" fmla="*/ 512 h 704"/>
                <a:gd name="T40" fmla="*/ 160 w 606"/>
                <a:gd name="T41" fmla="*/ 568 h 704"/>
                <a:gd name="T42" fmla="*/ 202 w 606"/>
                <a:gd name="T43" fmla="*/ 592 h 704"/>
                <a:gd name="T44" fmla="*/ 236 w 606"/>
                <a:gd name="T45" fmla="*/ 672 h 704"/>
                <a:gd name="T46" fmla="*/ 278 w 606"/>
                <a:gd name="T47" fmla="*/ 656 h 704"/>
                <a:gd name="T48" fmla="*/ 337 w 606"/>
                <a:gd name="T49" fmla="*/ 656 h 704"/>
                <a:gd name="T50" fmla="*/ 328 w 606"/>
                <a:gd name="T51" fmla="*/ 568 h 704"/>
                <a:gd name="T52" fmla="*/ 370 w 606"/>
                <a:gd name="T53" fmla="*/ 584 h 704"/>
                <a:gd name="T54" fmla="*/ 387 w 606"/>
                <a:gd name="T55" fmla="*/ 576 h 704"/>
                <a:gd name="T56" fmla="*/ 353 w 606"/>
                <a:gd name="T57" fmla="*/ 528 h 704"/>
                <a:gd name="T58" fmla="*/ 455 w 606"/>
                <a:gd name="T59" fmla="*/ 528 h 704"/>
                <a:gd name="T60" fmla="*/ 438 w 606"/>
                <a:gd name="T61" fmla="*/ 464 h 704"/>
                <a:gd name="T62" fmla="*/ 438 w 606"/>
                <a:gd name="T63" fmla="*/ 448 h 704"/>
                <a:gd name="T64" fmla="*/ 480 w 606"/>
                <a:gd name="T65" fmla="*/ 480 h 704"/>
                <a:gd name="T66" fmla="*/ 463 w 606"/>
                <a:gd name="T67" fmla="*/ 440 h 704"/>
                <a:gd name="T68" fmla="*/ 353 w 606"/>
                <a:gd name="T69" fmla="*/ 384 h 704"/>
                <a:gd name="T70" fmla="*/ 337 w 606"/>
                <a:gd name="T71" fmla="*/ 400 h 704"/>
                <a:gd name="T72" fmla="*/ 311 w 606"/>
                <a:gd name="T73" fmla="*/ 408 h 704"/>
                <a:gd name="T74" fmla="*/ 294 w 606"/>
                <a:gd name="T75" fmla="*/ 376 h 704"/>
                <a:gd name="T76" fmla="*/ 337 w 606"/>
                <a:gd name="T77" fmla="*/ 360 h 704"/>
                <a:gd name="T78" fmla="*/ 320 w 606"/>
                <a:gd name="T79" fmla="*/ 320 h 704"/>
                <a:gd name="T80" fmla="*/ 236 w 606"/>
                <a:gd name="T81" fmla="*/ 240 h 704"/>
                <a:gd name="T82" fmla="*/ 261 w 606"/>
                <a:gd name="T83" fmla="*/ 200 h 704"/>
                <a:gd name="T84" fmla="*/ 294 w 606"/>
                <a:gd name="T85" fmla="*/ 232 h 704"/>
                <a:gd name="T86" fmla="*/ 337 w 606"/>
                <a:gd name="T87" fmla="*/ 264 h 704"/>
                <a:gd name="T88" fmla="*/ 362 w 606"/>
                <a:gd name="T89" fmla="*/ 208 h 704"/>
                <a:gd name="T90" fmla="*/ 387 w 606"/>
                <a:gd name="T91" fmla="*/ 144 h 704"/>
                <a:gd name="T92" fmla="*/ 497 w 606"/>
                <a:gd name="T93" fmla="*/ 112 h 704"/>
                <a:gd name="T94" fmla="*/ 564 w 606"/>
                <a:gd name="T95" fmla="*/ 112 h 704"/>
                <a:gd name="T96" fmla="*/ 598 w 606"/>
                <a:gd name="T97" fmla="*/ 96 h 7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06" h="704">
                  <a:moveTo>
                    <a:pt x="589" y="72"/>
                  </a:moveTo>
                  <a:lnTo>
                    <a:pt x="606" y="24"/>
                  </a:lnTo>
                  <a:lnTo>
                    <a:pt x="581" y="0"/>
                  </a:lnTo>
                  <a:lnTo>
                    <a:pt x="556" y="0"/>
                  </a:lnTo>
                  <a:lnTo>
                    <a:pt x="564" y="40"/>
                  </a:lnTo>
                  <a:lnTo>
                    <a:pt x="530" y="56"/>
                  </a:lnTo>
                  <a:lnTo>
                    <a:pt x="471" y="72"/>
                  </a:lnTo>
                  <a:lnTo>
                    <a:pt x="446" y="72"/>
                  </a:lnTo>
                  <a:lnTo>
                    <a:pt x="412" y="72"/>
                  </a:lnTo>
                  <a:lnTo>
                    <a:pt x="379" y="56"/>
                  </a:lnTo>
                  <a:lnTo>
                    <a:pt x="328" y="88"/>
                  </a:lnTo>
                  <a:lnTo>
                    <a:pt x="286" y="104"/>
                  </a:lnTo>
                  <a:lnTo>
                    <a:pt x="244" y="104"/>
                  </a:lnTo>
                  <a:lnTo>
                    <a:pt x="236" y="136"/>
                  </a:lnTo>
                  <a:lnTo>
                    <a:pt x="168" y="144"/>
                  </a:lnTo>
                  <a:lnTo>
                    <a:pt x="134" y="184"/>
                  </a:lnTo>
                  <a:lnTo>
                    <a:pt x="109" y="184"/>
                  </a:lnTo>
                  <a:lnTo>
                    <a:pt x="75" y="200"/>
                  </a:lnTo>
                  <a:lnTo>
                    <a:pt x="67" y="200"/>
                  </a:lnTo>
                  <a:lnTo>
                    <a:pt x="75" y="232"/>
                  </a:lnTo>
                  <a:lnTo>
                    <a:pt x="50" y="248"/>
                  </a:lnTo>
                  <a:lnTo>
                    <a:pt x="50" y="288"/>
                  </a:lnTo>
                  <a:lnTo>
                    <a:pt x="16" y="304"/>
                  </a:lnTo>
                  <a:lnTo>
                    <a:pt x="16" y="344"/>
                  </a:lnTo>
                  <a:lnTo>
                    <a:pt x="0" y="352"/>
                  </a:lnTo>
                  <a:lnTo>
                    <a:pt x="33" y="392"/>
                  </a:lnTo>
                  <a:lnTo>
                    <a:pt x="75" y="424"/>
                  </a:lnTo>
                  <a:lnTo>
                    <a:pt x="59" y="464"/>
                  </a:lnTo>
                  <a:lnTo>
                    <a:pt x="92" y="464"/>
                  </a:lnTo>
                  <a:lnTo>
                    <a:pt x="118" y="480"/>
                  </a:lnTo>
                  <a:lnTo>
                    <a:pt x="202" y="480"/>
                  </a:lnTo>
                  <a:lnTo>
                    <a:pt x="286" y="472"/>
                  </a:lnTo>
                  <a:lnTo>
                    <a:pt x="362" y="480"/>
                  </a:lnTo>
                  <a:lnTo>
                    <a:pt x="337" y="496"/>
                  </a:lnTo>
                  <a:lnTo>
                    <a:pt x="328" y="512"/>
                  </a:lnTo>
                  <a:lnTo>
                    <a:pt x="294" y="512"/>
                  </a:lnTo>
                  <a:lnTo>
                    <a:pt x="261" y="504"/>
                  </a:lnTo>
                  <a:lnTo>
                    <a:pt x="210" y="488"/>
                  </a:lnTo>
                  <a:lnTo>
                    <a:pt x="185" y="504"/>
                  </a:lnTo>
                  <a:lnTo>
                    <a:pt x="160" y="512"/>
                  </a:lnTo>
                  <a:lnTo>
                    <a:pt x="134" y="552"/>
                  </a:lnTo>
                  <a:lnTo>
                    <a:pt x="160" y="568"/>
                  </a:lnTo>
                  <a:lnTo>
                    <a:pt x="185" y="584"/>
                  </a:lnTo>
                  <a:lnTo>
                    <a:pt x="202" y="592"/>
                  </a:lnTo>
                  <a:lnTo>
                    <a:pt x="210" y="624"/>
                  </a:lnTo>
                  <a:lnTo>
                    <a:pt x="236" y="672"/>
                  </a:lnTo>
                  <a:lnTo>
                    <a:pt x="252" y="648"/>
                  </a:lnTo>
                  <a:lnTo>
                    <a:pt x="278" y="656"/>
                  </a:lnTo>
                  <a:lnTo>
                    <a:pt x="311" y="704"/>
                  </a:lnTo>
                  <a:lnTo>
                    <a:pt x="337" y="656"/>
                  </a:lnTo>
                  <a:lnTo>
                    <a:pt x="396" y="688"/>
                  </a:lnTo>
                  <a:lnTo>
                    <a:pt x="328" y="568"/>
                  </a:lnTo>
                  <a:lnTo>
                    <a:pt x="353" y="576"/>
                  </a:lnTo>
                  <a:lnTo>
                    <a:pt x="370" y="584"/>
                  </a:lnTo>
                  <a:lnTo>
                    <a:pt x="370" y="600"/>
                  </a:lnTo>
                  <a:lnTo>
                    <a:pt x="387" y="576"/>
                  </a:lnTo>
                  <a:lnTo>
                    <a:pt x="412" y="560"/>
                  </a:lnTo>
                  <a:lnTo>
                    <a:pt x="353" y="528"/>
                  </a:lnTo>
                  <a:lnTo>
                    <a:pt x="404" y="512"/>
                  </a:lnTo>
                  <a:lnTo>
                    <a:pt x="455" y="528"/>
                  </a:lnTo>
                  <a:lnTo>
                    <a:pt x="446" y="488"/>
                  </a:lnTo>
                  <a:lnTo>
                    <a:pt x="438" y="464"/>
                  </a:lnTo>
                  <a:lnTo>
                    <a:pt x="412" y="448"/>
                  </a:lnTo>
                  <a:lnTo>
                    <a:pt x="438" y="448"/>
                  </a:lnTo>
                  <a:lnTo>
                    <a:pt x="455" y="464"/>
                  </a:lnTo>
                  <a:lnTo>
                    <a:pt x="480" y="480"/>
                  </a:lnTo>
                  <a:lnTo>
                    <a:pt x="514" y="472"/>
                  </a:lnTo>
                  <a:lnTo>
                    <a:pt x="463" y="440"/>
                  </a:lnTo>
                  <a:lnTo>
                    <a:pt x="421" y="408"/>
                  </a:lnTo>
                  <a:lnTo>
                    <a:pt x="353" y="384"/>
                  </a:lnTo>
                  <a:lnTo>
                    <a:pt x="337" y="384"/>
                  </a:lnTo>
                  <a:lnTo>
                    <a:pt x="337" y="400"/>
                  </a:lnTo>
                  <a:lnTo>
                    <a:pt x="345" y="416"/>
                  </a:lnTo>
                  <a:lnTo>
                    <a:pt x="311" y="408"/>
                  </a:lnTo>
                  <a:lnTo>
                    <a:pt x="294" y="400"/>
                  </a:lnTo>
                  <a:lnTo>
                    <a:pt x="294" y="376"/>
                  </a:lnTo>
                  <a:lnTo>
                    <a:pt x="294" y="352"/>
                  </a:lnTo>
                  <a:lnTo>
                    <a:pt x="337" y="360"/>
                  </a:lnTo>
                  <a:lnTo>
                    <a:pt x="337" y="336"/>
                  </a:lnTo>
                  <a:lnTo>
                    <a:pt x="320" y="320"/>
                  </a:lnTo>
                  <a:lnTo>
                    <a:pt x="269" y="288"/>
                  </a:lnTo>
                  <a:lnTo>
                    <a:pt x="236" y="240"/>
                  </a:lnTo>
                  <a:lnTo>
                    <a:pt x="244" y="224"/>
                  </a:lnTo>
                  <a:lnTo>
                    <a:pt x="261" y="200"/>
                  </a:lnTo>
                  <a:lnTo>
                    <a:pt x="269" y="224"/>
                  </a:lnTo>
                  <a:lnTo>
                    <a:pt x="294" y="232"/>
                  </a:lnTo>
                  <a:lnTo>
                    <a:pt x="320" y="240"/>
                  </a:lnTo>
                  <a:lnTo>
                    <a:pt x="337" y="264"/>
                  </a:lnTo>
                  <a:lnTo>
                    <a:pt x="337" y="232"/>
                  </a:lnTo>
                  <a:lnTo>
                    <a:pt x="362" y="208"/>
                  </a:lnTo>
                  <a:lnTo>
                    <a:pt x="370" y="160"/>
                  </a:lnTo>
                  <a:lnTo>
                    <a:pt x="387" y="144"/>
                  </a:lnTo>
                  <a:lnTo>
                    <a:pt x="412" y="136"/>
                  </a:lnTo>
                  <a:lnTo>
                    <a:pt x="497" y="112"/>
                  </a:lnTo>
                  <a:lnTo>
                    <a:pt x="539" y="112"/>
                  </a:lnTo>
                  <a:lnTo>
                    <a:pt x="564" y="112"/>
                  </a:lnTo>
                  <a:lnTo>
                    <a:pt x="573" y="128"/>
                  </a:lnTo>
                  <a:lnTo>
                    <a:pt x="598" y="96"/>
                  </a:lnTo>
                  <a:lnTo>
                    <a:pt x="589" y="7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2" name="Freeform 71"/>
            <p:cNvSpPr>
              <a:spLocks/>
            </p:cNvSpPr>
            <p:nvPr>
              <p:custDataLst>
                <p:tags r:id="rId68"/>
              </p:custDataLst>
            </p:nvPr>
          </p:nvSpPr>
          <p:spPr bwMode="auto">
            <a:xfrm>
              <a:off x="4696" y="3480"/>
              <a:ext cx="210" cy="352"/>
            </a:xfrm>
            <a:custGeom>
              <a:avLst/>
              <a:gdLst>
                <a:gd name="T0" fmla="*/ 151 w 210"/>
                <a:gd name="T1" fmla="*/ 304 h 352"/>
                <a:gd name="T2" fmla="*/ 185 w 210"/>
                <a:gd name="T3" fmla="*/ 288 h 352"/>
                <a:gd name="T4" fmla="*/ 185 w 210"/>
                <a:gd name="T5" fmla="*/ 248 h 352"/>
                <a:gd name="T6" fmla="*/ 210 w 210"/>
                <a:gd name="T7" fmla="*/ 232 h 352"/>
                <a:gd name="T8" fmla="*/ 194 w 210"/>
                <a:gd name="T9" fmla="*/ 192 h 352"/>
                <a:gd name="T10" fmla="*/ 168 w 210"/>
                <a:gd name="T11" fmla="*/ 184 h 352"/>
                <a:gd name="T12" fmla="*/ 143 w 210"/>
                <a:gd name="T13" fmla="*/ 152 h 352"/>
                <a:gd name="T14" fmla="*/ 135 w 210"/>
                <a:gd name="T15" fmla="*/ 96 h 352"/>
                <a:gd name="T16" fmla="*/ 135 w 210"/>
                <a:gd name="T17" fmla="*/ 72 h 352"/>
                <a:gd name="T18" fmla="*/ 135 w 210"/>
                <a:gd name="T19" fmla="*/ 72 h 352"/>
                <a:gd name="T20" fmla="*/ 101 w 210"/>
                <a:gd name="T21" fmla="*/ 32 h 352"/>
                <a:gd name="T22" fmla="*/ 84 w 210"/>
                <a:gd name="T23" fmla="*/ 16 h 352"/>
                <a:gd name="T24" fmla="*/ 59 w 210"/>
                <a:gd name="T25" fmla="*/ 16 h 352"/>
                <a:gd name="T26" fmla="*/ 25 w 210"/>
                <a:gd name="T27" fmla="*/ 0 h 352"/>
                <a:gd name="T28" fmla="*/ 0 w 210"/>
                <a:gd name="T29" fmla="*/ 72 h 352"/>
                <a:gd name="T30" fmla="*/ 0 w 210"/>
                <a:gd name="T31" fmla="*/ 80 h 352"/>
                <a:gd name="T32" fmla="*/ 17 w 210"/>
                <a:gd name="T33" fmla="*/ 88 h 352"/>
                <a:gd name="T34" fmla="*/ 33 w 210"/>
                <a:gd name="T35" fmla="*/ 104 h 352"/>
                <a:gd name="T36" fmla="*/ 33 w 210"/>
                <a:gd name="T37" fmla="*/ 120 h 352"/>
                <a:gd name="T38" fmla="*/ 33 w 210"/>
                <a:gd name="T39" fmla="*/ 160 h 352"/>
                <a:gd name="T40" fmla="*/ 42 w 210"/>
                <a:gd name="T41" fmla="*/ 248 h 352"/>
                <a:gd name="T42" fmla="*/ 67 w 210"/>
                <a:gd name="T43" fmla="*/ 288 h 352"/>
                <a:gd name="T44" fmla="*/ 109 w 210"/>
                <a:gd name="T45" fmla="*/ 320 h 352"/>
                <a:gd name="T46" fmla="*/ 135 w 210"/>
                <a:gd name="T47" fmla="*/ 352 h 352"/>
                <a:gd name="T48" fmla="*/ 151 w 210"/>
                <a:gd name="T49" fmla="*/ 344 h 352"/>
                <a:gd name="T50" fmla="*/ 151 w 210"/>
                <a:gd name="T51" fmla="*/ 304 h 3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10" h="352">
                  <a:moveTo>
                    <a:pt x="151" y="304"/>
                  </a:moveTo>
                  <a:lnTo>
                    <a:pt x="185" y="288"/>
                  </a:lnTo>
                  <a:lnTo>
                    <a:pt x="185" y="248"/>
                  </a:lnTo>
                  <a:lnTo>
                    <a:pt x="210" y="232"/>
                  </a:lnTo>
                  <a:lnTo>
                    <a:pt x="194" y="192"/>
                  </a:lnTo>
                  <a:lnTo>
                    <a:pt x="168" y="184"/>
                  </a:lnTo>
                  <a:lnTo>
                    <a:pt x="143" y="152"/>
                  </a:lnTo>
                  <a:lnTo>
                    <a:pt x="135" y="96"/>
                  </a:lnTo>
                  <a:lnTo>
                    <a:pt x="135" y="72"/>
                  </a:lnTo>
                  <a:lnTo>
                    <a:pt x="101" y="32"/>
                  </a:lnTo>
                  <a:lnTo>
                    <a:pt x="84" y="16"/>
                  </a:lnTo>
                  <a:lnTo>
                    <a:pt x="59" y="16"/>
                  </a:lnTo>
                  <a:lnTo>
                    <a:pt x="25" y="0"/>
                  </a:lnTo>
                  <a:lnTo>
                    <a:pt x="0" y="72"/>
                  </a:lnTo>
                  <a:lnTo>
                    <a:pt x="0" y="80"/>
                  </a:lnTo>
                  <a:lnTo>
                    <a:pt x="17" y="88"/>
                  </a:lnTo>
                  <a:lnTo>
                    <a:pt x="33" y="104"/>
                  </a:lnTo>
                  <a:lnTo>
                    <a:pt x="33" y="120"/>
                  </a:lnTo>
                  <a:lnTo>
                    <a:pt x="33" y="160"/>
                  </a:lnTo>
                  <a:lnTo>
                    <a:pt x="42" y="248"/>
                  </a:lnTo>
                  <a:lnTo>
                    <a:pt x="67" y="288"/>
                  </a:lnTo>
                  <a:lnTo>
                    <a:pt x="109" y="320"/>
                  </a:lnTo>
                  <a:lnTo>
                    <a:pt x="135" y="352"/>
                  </a:lnTo>
                  <a:lnTo>
                    <a:pt x="151" y="344"/>
                  </a:lnTo>
                  <a:lnTo>
                    <a:pt x="151" y="304"/>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3" name="Freeform 72"/>
            <p:cNvSpPr>
              <a:spLocks/>
            </p:cNvSpPr>
            <p:nvPr>
              <p:custDataLst>
                <p:tags r:id="rId69"/>
              </p:custDataLst>
            </p:nvPr>
          </p:nvSpPr>
          <p:spPr bwMode="auto">
            <a:xfrm>
              <a:off x="4831" y="3480"/>
              <a:ext cx="606" cy="704"/>
            </a:xfrm>
            <a:custGeom>
              <a:avLst/>
              <a:gdLst>
                <a:gd name="T0" fmla="*/ 606 w 606"/>
                <a:gd name="T1" fmla="*/ 24 h 704"/>
                <a:gd name="T2" fmla="*/ 556 w 606"/>
                <a:gd name="T3" fmla="*/ 0 h 704"/>
                <a:gd name="T4" fmla="*/ 530 w 606"/>
                <a:gd name="T5" fmla="*/ 56 h 704"/>
                <a:gd name="T6" fmla="*/ 446 w 606"/>
                <a:gd name="T7" fmla="*/ 72 h 704"/>
                <a:gd name="T8" fmla="*/ 379 w 606"/>
                <a:gd name="T9" fmla="*/ 56 h 704"/>
                <a:gd name="T10" fmla="*/ 286 w 606"/>
                <a:gd name="T11" fmla="*/ 104 h 704"/>
                <a:gd name="T12" fmla="*/ 236 w 606"/>
                <a:gd name="T13" fmla="*/ 136 h 704"/>
                <a:gd name="T14" fmla="*/ 134 w 606"/>
                <a:gd name="T15" fmla="*/ 184 h 704"/>
                <a:gd name="T16" fmla="*/ 75 w 606"/>
                <a:gd name="T17" fmla="*/ 200 h 704"/>
                <a:gd name="T18" fmla="*/ 75 w 606"/>
                <a:gd name="T19" fmla="*/ 232 h 704"/>
                <a:gd name="T20" fmla="*/ 50 w 606"/>
                <a:gd name="T21" fmla="*/ 288 h 704"/>
                <a:gd name="T22" fmla="*/ 16 w 606"/>
                <a:gd name="T23" fmla="*/ 344 h 704"/>
                <a:gd name="T24" fmla="*/ 33 w 606"/>
                <a:gd name="T25" fmla="*/ 392 h 704"/>
                <a:gd name="T26" fmla="*/ 59 w 606"/>
                <a:gd name="T27" fmla="*/ 464 h 704"/>
                <a:gd name="T28" fmla="*/ 118 w 606"/>
                <a:gd name="T29" fmla="*/ 480 h 704"/>
                <a:gd name="T30" fmla="*/ 286 w 606"/>
                <a:gd name="T31" fmla="*/ 472 h 704"/>
                <a:gd name="T32" fmla="*/ 337 w 606"/>
                <a:gd name="T33" fmla="*/ 496 h 704"/>
                <a:gd name="T34" fmla="*/ 294 w 606"/>
                <a:gd name="T35" fmla="*/ 512 h 704"/>
                <a:gd name="T36" fmla="*/ 210 w 606"/>
                <a:gd name="T37" fmla="*/ 488 h 704"/>
                <a:gd name="T38" fmla="*/ 160 w 606"/>
                <a:gd name="T39" fmla="*/ 512 h 704"/>
                <a:gd name="T40" fmla="*/ 160 w 606"/>
                <a:gd name="T41" fmla="*/ 568 h 704"/>
                <a:gd name="T42" fmla="*/ 202 w 606"/>
                <a:gd name="T43" fmla="*/ 592 h 704"/>
                <a:gd name="T44" fmla="*/ 236 w 606"/>
                <a:gd name="T45" fmla="*/ 672 h 704"/>
                <a:gd name="T46" fmla="*/ 278 w 606"/>
                <a:gd name="T47" fmla="*/ 656 h 704"/>
                <a:gd name="T48" fmla="*/ 337 w 606"/>
                <a:gd name="T49" fmla="*/ 656 h 704"/>
                <a:gd name="T50" fmla="*/ 328 w 606"/>
                <a:gd name="T51" fmla="*/ 568 h 704"/>
                <a:gd name="T52" fmla="*/ 370 w 606"/>
                <a:gd name="T53" fmla="*/ 584 h 704"/>
                <a:gd name="T54" fmla="*/ 387 w 606"/>
                <a:gd name="T55" fmla="*/ 576 h 704"/>
                <a:gd name="T56" fmla="*/ 353 w 606"/>
                <a:gd name="T57" fmla="*/ 528 h 704"/>
                <a:gd name="T58" fmla="*/ 455 w 606"/>
                <a:gd name="T59" fmla="*/ 528 h 704"/>
                <a:gd name="T60" fmla="*/ 438 w 606"/>
                <a:gd name="T61" fmla="*/ 464 h 704"/>
                <a:gd name="T62" fmla="*/ 438 w 606"/>
                <a:gd name="T63" fmla="*/ 448 h 704"/>
                <a:gd name="T64" fmla="*/ 480 w 606"/>
                <a:gd name="T65" fmla="*/ 480 h 704"/>
                <a:gd name="T66" fmla="*/ 463 w 606"/>
                <a:gd name="T67" fmla="*/ 440 h 704"/>
                <a:gd name="T68" fmla="*/ 353 w 606"/>
                <a:gd name="T69" fmla="*/ 384 h 704"/>
                <a:gd name="T70" fmla="*/ 337 w 606"/>
                <a:gd name="T71" fmla="*/ 400 h 704"/>
                <a:gd name="T72" fmla="*/ 311 w 606"/>
                <a:gd name="T73" fmla="*/ 408 h 704"/>
                <a:gd name="T74" fmla="*/ 294 w 606"/>
                <a:gd name="T75" fmla="*/ 376 h 704"/>
                <a:gd name="T76" fmla="*/ 337 w 606"/>
                <a:gd name="T77" fmla="*/ 360 h 704"/>
                <a:gd name="T78" fmla="*/ 320 w 606"/>
                <a:gd name="T79" fmla="*/ 320 h 704"/>
                <a:gd name="T80" fmla="*/ 236 w 606"/>
                <a:gd name="T81" fmla="*/ 240 h 704"/>
                <a:gd name="T82" fmla="*/ 261 w 606"/>
                <a:gd name="T83" fmla="*/ 200 h 704"/>
                <a:gd name="T84" fmla="*/ 294 w 606"/>
                <a:gd name="T85" fmla="*/ 232 h 704"/>
                <a:gd name="T86" fmla="*/ 337 w 606"/>
                <a:gd name="T87" fmla="*/ 264 h 704"/>
                <a:gd name="T88" fmla="*/ 362 w 606"/>
                <a:gd name="T89" fmla="*/ 208 h 704"/>
                <a:gd name="T90" fmla="*/ 387 w 606"/>
                <a:gd name="T91" fmla="*/ 144 h 704"/>
                <a:gd name="T92" fmla="*/ 497 w 606"/>
                <a:gd name="T93" fmla="*/ 112 h 704"/>
                <a:gd name="T94" fmla="*/ 564 w 606"/>
                <a:gd name="T95" fmla="*/ 112 h 704"/>
                <a:gd name="T96" fmla="*/ 598 w 606"/>
                <a:gd name="T97" fmla="*/ 96 h 7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06" h="704">
                  <a:moveTo>
                    <a:pt x="589" y="72"/>
                  </a:moveTo>
                  <a:lnTo>
                    <a:pt x="606" y="24"/>
                  </a:lnTo>
                  <a:lnTo>
                    <a:pt x="581" y="0"/>
                  </a:lnTo>
                  <a:lnTo>
                    <a:pt x="556" y="0"/>
                  </a:lnTo>
                  <a:lnTo>
                    <a:pt x="564" y="40"/>
                  </a:lnTo>
                  <a:lnTo>
                    <a:pt x="530" y="56"/>
                  </a:lnTo>
                  <a:lnTo>
                    <a:pt x="471" y="72"/>
                  </a:lnTo>
                  <a:lnTo>
                    <a:pt x="446" y="72"/>
                  </a:lnTo>
                  <a:lnTo>
                    <a:pt x="412" y="72"/>
                  </a:lnTo>
                  <a:lnTo>
                    <a:pt x="379" y="56"/>
                  </a:lnTo>
                  <a:lnTo>
                    <a:pt x="328" y="88"/>
                  </a:lnTo>
                  <a:lnTo>
                    <a:pt x="286" y="104"/>
                  </a:lnTo>
                  <a:lnTo>
                    <a:pt x="244" y="104"/>
                  </a:lnTo>
                  <a:lnTo>
                    <a:pt x="236" y="136"/>
                  </a:lnTo>
                  <a:lnTo>
                    <a:pt x="168" y="144"/>
                  </a:lnTo>
                  <a:lnTo>
                    <a:pt x="134" y="184"/>
                  </a:lnTo>
                  <a:lnTo>
                    <a:pt x="109" y="184"/>
                  </a:lnTo>
                  <a:lnTo>
                    <a:pt x="75" y="200"/>
                  </a:lnTo>
                  <a:lnTo>
                    <a:pt x="67" y="200"/>
                  </a:lnTo>
                  <a:lnTo>
                    <a:pt x="75" y="232"/>
                  </a:lnTo>
                  <a:lnTo>
                    <a:pt x="50" y="248"/>
                  </a:lnTo>
                  <a:lnTo>
                    <a:pt x="50" y="288"/>
                  </a:lnTo>
                  <a:lnTo>
                    <a:pt x="16" y="304"/>
                  </a:lnTo>
                  <a:lnTo>
                    <a:pt x="16" y="344"/>
                  </a:lnTo>
                  <a:lnTo>
                    <a:pt x="0" y="352"/>
                  </a:lnTo>
                  <a:lnTo>
                    <a:pt x="33" y="392"/>
                  </a:lnTo>
                  <a:lnTo>
                    <a:pt x="75" y="424"/>
                  </a:lnTo>
                  <a:lnTo>
                    <a:pt x="59" y="464"/>
                  </a:lnTo>
                  <a:lnTo>
                    <a:pt x="92" y="464"/>
                  </a:lnTo>
                  <a:lnTo>
                    <a:pt x="118" y="480"/>
                  </a:lnTo>
                  <a:lnTo>
                    <a:pt x="202" y="480"/>
                  </a:lnTo>
                  <a:lnTo>
                    <a:pt x="286" y="472"/>
                  </a:lnTo>
                  <a:lnTo>
                    <a:pt x="362" y="480"/>
                  </a:lnTo>
                  <a:lnTo>
                    <a:pt x="337" y="496"/>
                  </a:lnTo>
                  <a:lnTo>
                    <a:pt x="328" y="512"/>
                  </a:lnTo>
                  <a:lnTo>
                    <a:pt x="294" y="512"/>
                  </a:lnTo>
                  <a:lnTo>
                    <a:pt x="261" y="504"/>
                  </a:lnTo>
                  <a:lnTo>
                    <a:pt x="210" y="488"/>
                  </a:lnTo>
                  <a:lnTo>
                    <a:pt x="185" y="504"/>
                  </a:lnTo>
                  <a:lnTo>
                    <a:pt x="160" y="512"/>
                  </a:lnTo>
                  <a:lnTo>
                    <a:pt x="134" y="552"/>
                  </a:lnTo>
                  <a:lnTo>
                    <a:pt x="160" y="568"/>
                  </a:lnTo>
                  <a:lnTo>
                    <a:pt x="185" y="584"/>
                  </a:lnTo>
                  <a:lnTo>
                    <a:pt x="202" y="592"/>
                  </a:lnTo>
                  <a:lnTo>
                    <a:pt x="210" y="624"/>
                  </a:lnTo>
                  <a:lnTo>
                    <a:pt x="236" y="672"/>
                  </a:lnTo>
                  <a:lnTo>
                    <a:pt x="252" y="648"/>
                  </a:lnTo>
                  <a:lnTo>
                    <a:pt x="278" y="656"/>
                  </a:lnTo>
                  <a:lnTo>
                    <a:pt x="311" y="704"/>
                  </a:lnTo>
                  <a:lnTo>
                    <a:pt x="337" y="656"/>
                  </a:lnTo>
                  <a:lnTo>
                    <a:pt x="396" y="688"/>
                  </a:lnTo>
                  <a:lnTo>
                    <a:pt x="328" y="568"/>
                  </a:lnTo>
                  <a:lnTo>
                    <a:pt x="353" y="576"/>
                  </a:lnTo>
                  <a:lnTo>
                    <a:pt x="370" y="584"/>
                  </a:lnTo>
                  <a:lnTo>
                    <a:pt x="370" y="600"/>
                  </a:lnTo>
                  <a:lnTo>
                    <a:pt x="387" y="576"/>
                  </a:lnTo>
                  <a:lnTo>
                    <a:pt x="412" y="560"/>
                  </a:lnTo>
                  <a:lnTo>
                    <a:pt x="353" y="528"/>
                  </a:lnTo>
                  <a:lnTo>
                    <a:pt x="404" y="512"/>
                  </a:lnTo>
                  <a:lnTo>
                    <a:pt x="455" y="528"/>
                  </a:lnTo>
                  <a:lnTo>
                    <a:pt x="446" y="488"/>
                  </a:lnTo>
                  <a:lnTo>
                    <a:pt x="438" y="464"/>
                  </a:lnTo>
                  <a:lnTo>
                    <a:pt x="412" y="448"/>
                  </a:lnTo>
                  <a:lnTo>
                    <a:pt x="438" y="448"/>
                  </a:lnTo>
                  <a:lnTo>
                    <a:pt x="455" y="464"/>
                  </a:lnTo>
                  <a:lnTo>
                    <a:pt x="480" y="480"/>
                  </a:lnTo>
                  <a:lnTo>
                    <a:pt x="514" y="472"/>
                  </a:lnTo>
                  <a:lnTo>
                    <a:pt x="463" y="440"/>
                  </a:lnTo>
                  <a:lnTo>
                    <a:pt x="421" y="408"/>
                  </a:lnTo>
                  <a:lnTo>
                    <a:pt x="353" y="384"/>
                  </a:lnTo>
                  <a:lnTo>
                    <a:pt x="337" y="384"/>
                  </a:lnTo>
                  <a:lnTo>
                    <a:pt x="337" y="400"/>
                  </a:lnTo>
                  <a:lnTo>
                    <a:pt x="345" y="416"/>
                  </a:lnTo>
                  <a:lnTo>
                    <a:pt x="311" y="408"/>
                  </a:lnTo>
                  <a:lnTo>
                    <a:pt x="294" y="400"/>
                  </a:lnTo>
                  <a:lnTo>
                    <a:pt x="294" y="376"/>
                  </a:lnTo>
                  <a:lnTo>
                    <a:pt x="294" y="352"/>
                  </a:lnTo>
                  <a:lnTo>
                    <a:pt x="337" y="360"/>
                  </a:lnTo>
                  <a:lnTo>
                    <a:pt x="337" y="336"/>
                  </a:lnTo>
                  <a:lnTo>
                    <a:pt x="320" y="320"/>
                  </a:lnTo>
                  <a:lnTo>
                    <a:pt x="269" y="288"/>
                  </a:lnTo>
                  <a:lnTo>
                    <a:pt x="236" y="240"/>
                  </a:lnTo>
                  <a:lnTo>
                    <a:pt x="244" y="224"/>
                  </a:lnTo>
                  <a:lnTo>
                    <a:pt x="261" y="200"/>
                  </a:lnTo>
                  <a:lnTo>
                    <a:pt x="269" y="224"/>
                  </a:lnTo>
                  <a:lnTo>
                    <a:pt x="294" y="232"/>
                  </a:lnTo>
                  <a:lnTo>
                    <a:pt x="320" y="240"/>
                  </a:lnTo>
                  <a:lnTo>
                    <a:pt x="337" y="264"/>
                  </a:lnTo>
                  <a:lnTo>
                    <a:pt x="337" y="232"/>
                  </a:lnTo>
                  <a:lnTo>
                    <a:pt x="362" y="208"/>
                  </a:lnTo>
                  <a:lnTo>
                    <a:pt x="370" y="160"/>
                  </a:lnTo>
                  <a:lnTo>
                    <a:pt x="387" y="144"/>
                  </a:lnTo>
                  <a:lnTo>
                    <a:pt x="412" y="136"/>
                  </a:lnTo>
                  <a:lnTo>
                    <a:pt x="497" y="112"/>
                  </a:lnTo>
                  <a:lnTo>
                    <a:pt x="539" y="112"/>
                  </a:lnTo>
                  <a:lnTo>
                    <a:pt x="564" y="112"/>
                  </a:lnTo>
                  <a:lnTo>
                    <a:pt x="573" y="128"/>
                  </a:lnTo>
                  <a:lnTo>
                    <a:pt x="598" y="96"/>
                  </a:lnTo>
                  <a:lnTo>
                    <a:pt x="589" y="72"/>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4" name="Freeform 73"/>
            <p:cNvSpPr>
              <a:spLocks/>
            </p:cNvSpPr>
            <p:nvPr>
              <p:custDataLst>
                <p:tags r:id="rId70"/>
              </p:custDataLst>
            </p:nvPr>
          </p:nvSpPr>
          <p:spPr bwMode="auto">
            <a:xfrm>
              <a:off x="4831" y="3488"/>
              <a:ext cx="244" cy="192"/>
            </a:xfrm>
            <a:custGeom>
              <a:avLst/>
              <a:gdLst>
                <a:gd name="T0" fmla="*/ 227 w 244"/>
                <a:gd name="T1" fmla="*/ 32 h 192"/>
                <a:gd name="T2" fmla="*/ 185 w 244"/>
                <a:gd name="T3" fmla="*/ 16 h 192"/>
                <a:gd name="T4" fmla="*/ 177 w 244"/>
                <a:gd name="T5" fmla="*/ 0 h 192"/>
                <a:gd name="T6" fmla="*/ 134 w 244"/>
                <a:gd name="T7" fmla="*/ 0 h 192"/>
                <a:gd name="T8" fmla="*/ 75 w 244"/>
                <a:gd name="T9" fmla="*/ 24 h 192"/>
                <a:gd name="T10" fmla="*/ 50 w 244"/>
                <a:gd name="T11" fmla="*/ 32 h 192"/>
                <a:gd name="T12" fmla="*/ 25 w 244"/>
                <a:gd name="T13" fmla="*/ 40 h 192"/>
                <a:gd name="T14" fmla="*/ 16 w 244"/>
                <a:gd name="T15" fmla="*/ 72 h 192"/>
                <a:gd name="T16" fmla="*/ 0 w 244"/>
                <a:gd name="T17" fmla="*/ 64 h 192"/>
                <a:gd name="T18" fmla="*/ 0 w 244"/>
                <a:gd name="T19" fmla="*/ 88 h 192"/>
                <a:gd name="T20" fmla="*/ 8 w 244"/>
                <a:gd name="T21" fmla="*/ 144 h 192"/>
                <a:gd name="T22" fmla="*/ 33 w 244"/>
                <a:gd name="T23" fmla="*/ 176 h 192"/>
                <a:gd name="T24" fmla="*/ 59 w 244"/>
                <a:gd name="T25" fmla="*/ 184 h 192"/>
                <a:gd name="T26" fmla="*/ 67 w 244"/>
                <a:gd name="T27" fmla="*/ 192 h 192"/>
                <a:gd name="T28" fmla="*/ 75 w 244"/>
                <a:gd name="T29" fmla="*/ 192 h 192"/>
                <a:gd name="T30" fmla="*/ 109 w 244"/>
                <a:gd name="T31" fmla="*/ 176 h 192"/>
                <a:gd name="T32" fmla="*/ 134 w 244"/>
                <a:gd name="T33" fmla="*/ 176 h 192"/>
                <a:gd name="T34" fmla="*/ 168 w 244"/>
                <a:gd name="T35" fmla="*/ 136 h 192"/>
                <a:gd name="T36" fmla="*/ 236 w 244"/>
                <a:gd name="T37" fmla="*/ 128 h 192"/>
                <a:gd name="T38" fmla="*/ 244 w 244"/>
                <a:gd name="T39" fmla="*/ 104 h 192"/>
                <a:gd name="T40" fmla="*/ 244 w 244"/>
                <a:gd name="T41" fmla="*/ 64 h 192"/>
                <a:gd name="T42" fmla="*/ 227 w 244"/>
                <a:gd name="T43" fmla="*/ 32 h 19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44" h="192">
                  <a:moveTo>
                    <a:pt x="227" y="32"/>
                  </a:moveTo>
                  <a:lnTo>
                    <a:pt x="185" y="16"/>
                  </a:lnTo>
                  <a:lnTo>
                    <a:pt x="177" y="0"/>
                  </a:lnTo>
                  <a:lnTo>
                    <a:pt x="134" y="0"/>
                  </a:lnTo>
                  <a:lnTo>
                    <a:pt x="75" y="24"/>
                  </a:lnTo>
                  <a:lnTo>
                    <a:pt x="50" y="32"/>
                  </a:lnTo>
                  <a:lnTo>
                    <a:pt x="25" y="40"/>
                  </a:lnTo>
                  <a:lnTo>
                    <a:pt x="16" y="72"/>
                  </a:lnTo>
                  <a:lnTo>
                    <a:pt x="0" y="64"/>
                  </a:lnTo>
                  <a:lnTo>
                    <a:pt x="0" y="88"/>
                  </a:lnTo>
                  <a:lnTo>
                    <a:pt x="8" y="144"/>
                  </a:lnTo>
                  <a:lnTo>
                    <a:pt x="33" y="176"/>
                  </a:lnTo>
                  <a:lnTo>
                    <a:pt x="59" y="184"/>
                  </a:lnTo>
                  <a:lnTo>
                    <a:pt x="67" y="192"/>
                  </a:lnTo>
                  <a:lnTo>
                    <a:pt x="75" y="192"/>
                  </a:lnTo>
                  <a:lnTo>
                    <a:pt x="109" y="176"/>
                  </a:lnTo>
                  <a:lnTo>
                    <a:pt x="134" y="176"/>
                  </a:lnTo>
                  <a:lnTo>
                    <a:pt x="168" y="136"/>
                  </a:lnTo>
                  <a:lnTo>
                    <a:pt x="236" y="128"/>
                  </a:lnTo>
                  <a:lnTo>
                    <a:pt x="244" y="104"/>
                  </a:lnTo>
                  <a:lnTo>
                    <a:pt x="244" y="64"/>
                  </a:lnTo>
                  <a:lnTo>
                    <a:pt x="227" y="3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5" name="Freeform 74"/>
            <p:cNvSpPr>
              <a:spLocks/>
            </p:cNvSpPr>
            <p:nvPr>
              <p:custDataLst>
                <p:tags r:id="rId71"/>
              </p:custDataLst>
            </p:nvPr>
          </p:nvSpPr>
          <p:spPr bwMode="auto">
            <a:xfrm>
              <a:off x="4965" y="3184"/>
              <a:ext cx="590" cy="408"/>
            </a:xfrm>
            <a:custGeom>
              <a:avLst/>
              <a:gdLst>
                <a:gd name="T0" fmla="*/ 455 w 590"/>
                <a:gd name="T1" fmla="*/ 256 h 408"/>
                <a:gd name="T2" fmla="*/ 489 w 590"/>
                <a:gd name="T3" fmla="*/ 248 h 408"/>
                <a:gd name="T4" fmla="*/ 514 w 590"/>
                <a:gd name="T5" fmla="*/ 232 h 408"/>
                <a:gd name="T6" fmla="*/ 565 w 590"/>
                <a:gd name="T7" fmla="*/ 240 h 408"/>
                <a:gd name="T8" fmla="*/ 590 w 590"/>
                <a:gd name="T9" fmla="*/ 232 h 408"/>
                <a:gd name="T10" fmla="*/ 565 w 590"/>
                <a:gd name="T11" fmla="*/ 200 h 408"/>
                <a:gd name="T12" fmla="*/ 523 w 590"/>
                <a:gd name="T13" fmla="*/ 176 h 408"/>
                <a:gd name="T14" fmla="*/ 548 w 590"/>
                <a:gd name="T15" fmla="*/ 144 h 408"/>
                <a:gd name="T16" fmla="*/ 548 w 590"/>
                <a:gd name="T17" fmla="*/ 104 h 408"/>
                <a:gd name="T18" fmla="*/ 548 w 590"/>
                <a:gd name="T19" fmla="*/ 72 h 408"/>
                <a:gd name="T20" fmla="*/ 573 w 590"/>
                <a:gd name="T21" fmla="*/ 64 h 408"/>
                <a:gd name="T22" fmla="*/ 582 w 590"/>
                <a:gd name="T23" fmla="*/ 48 h 408"/>
                <a:gd name="T24" fmla="*/ 582 w 590"/>
                <a:gd name="T25" fmla="*/ 32 h 408"/>
                <a:gd name="T26" fmla="*/ 582 w 590"/>
                <a:gd name="T27" fmla="*/ 16 h 408"/>
                <a:gd name="T28" fmla="*/ 531 w 590"/>
                <a:gd name="T29" fmla="*/ 16 h 408"/>
                <a:gd name="T30" fmla="*/ 523 w 590"/>
                <a:gd name="T31" fmla="*/ 0 h 408"/>
                <a:gd name="T32" fmla="*/ 481 w 590"/>
                <a:gd name="T33" fmla="*/ 8 h 408"/>
                <a:gd name="T34" fmla="*/ 455 w 590"/>
                <a:gd name="T35" fmla="*/ 0 h 408"/>
                <a:gd name="T36" fmla="*/ 413 w 590"/>
                <a:gd name="T37" fmla="*/ 8 h 408"/>
                <a:gd name="T38" fmla="*/ 363 w 590"/>
                <a:gd name="T39" fmla="*/ 24 h 408"/>
                <a:gd name="T40" fmla="*/ 321 w 590"/>
                <a:gd name="T41" fmla="*/ 80 h 408"/>
                <a:gd name="T42" fmla="*/ 270 w 590"/>
                <a:gd name="T43" fmla="*/ 88 h 408"/>
                <a:gd name="T44" fmla="*/ 219 w 590"/>
                <a:gd name="T45" fmla="*/ 88 h 408"/>
                <a:gd name="T46" fmla="*/ 194 w 590"/>
                <a:gd name="T47" fmla="*/ 88 h 408"/>
                <a:gd name="T48" fmla="*/ 169 w 590"/>
                <a:gd name="T49" fmla="*/ 112 h 408"/>
                <a:gd name="T50" fmla="*/ 76 w 590"/>
                <a:gd name="T51" fmla="*/ 112 h 408"/>
                <a:gd name="T52" fmla="*/ 43 w 590"/>
                <a:gd name="T53" fmla="*/ 104 h 408"/>
                <a:gd name="T54" fmla="*/ 43 w 590"/>
                <a:gd name="T55" fmla="*/ 80 h 408"/>
                <a:gd name="T56" fmla="*/ 9 w 590"/>
                <a:gd name="T57" fmla="*/ 64 h 408"/>
                <a:gd name="T58" fmla="*/ 0 w 590"/>
                <a:gd name="T59" fmla="*/ 88 h 408"/>
                <a:gd name="T60" fmla="*/ 9 w 590"/>
                <a:gd name="T61" fmla="*/ 120 h 408"/>
                <a:gd name="T62" fmla="*/ 26 w 590"/>
                <a:gd name="T63" fmla="*/ 152 h 408"/>
                <a:gd name="T64" fmla="*/ 68 w 590"/>
                <a:gd name="T65" fmla="*/ 184 h 408"/>
                <a:gd name="T66" fmla="*/ 51 w 590"/>
                <a:gd name="T67" fmla="*/ 224 h 408"/>
                <a:gd name="T68" fmla="*/ 34 w 590"/>
                <a:gd name="T69" fmla="*/ 232 h 408"/>
                <a:gd name="T70" fmla="*/ 34 w 590"/>
                <a:gd name="T71" fmla="*/ 264 h 408"/>
                <a:gd name="T72" fmla="*/ 51 w 590"/>
                <a:gd name="T73" fmla="*/ 272 h 408"/>
                <a:gd name="T74" fmla="*/ 43 w 590"/>
                <a:gd name="T75" fmla="*/ 304 h 408"/>
                <a:gd name="T76" fmla="*/ 51 w 590"/>
                <a:gd name="T77" fmla="*/ 320 h 408"/>
                <a:gd name="T78" fmla="*/ 93 w 590"/>
                <a:gd name="T79" fmla="*/ 336 h 408"/>
                <a:gd name="T80" fmla="*/ 110 w 590"/>
                <a:gd name="T81" fmla="*/ 368 h 408"/>
                <a:gd name="T82" fmla="*/ 110 w 590"/>
                <a:gd name="T83" fmla="*/ 408 h 408"/>
                <a:gd name="T84" fmla="*/ 110 w 590"/>
                <a:gd name="T85" fmla="*/ 400 h 408"/>
                <a:gd name="T86" fmla="*/ 152 w 590"/>
                <a:gd name="T87" fmla="*/ 400 h 408"/>
                <a:gd name="T88" fmla="*/ 194 w 590"/>
                <a:gd name="T89" fmla="*/ 384 h 408"/>
                <a:gd name="T90" fmla="*/ 245 w 590"/>
                <a:gd name="T91" fmla="*/ 352 h 408"/>
                <a:gd name="T92" fmla="*/ 278 w 590"/>
                <a:gd name="T93" fmla="*/ 368 h 408"/>
                <a:gd name="T94" fmla="*/ 312 w 590"/>
                <a:gd name="T95" fmla="*/ 368 h 408"/>
                <a:gd name="T96" fmla="*/ 337 w 590"/>
                <a:gd name="T97" fmla="*/ 368 h 408"/>
                <a:gd name="T98" fmla="*/ 396 w 590"/>
                <a:gd name="T99" fmla="*/ 352 h 408"/>
                <a:gd name="T100" fmla="*/ 430 w 590"/>
                <a:gd name="T101" fmla="*/ 336 h 408"/>
                <a:gd name="T102" fmla="*/ 422 w 590"/>
                <a:gd name="T103" fmla="*/ 296 h 408"/>
                <a:gd name="T104" fmla="*/ 447 w 590"/>
                <a:gd name="T105" fmla="*/ 296 h 408"/>
                <a:gd name="T106" fmla="*/ 455 w 590"/>
                <a:gd name="T107" fmla="*/ 280 h 408"/>
                <a:gd name="T108" fmla="*/ 455 w 590"/>
                <a:gd name="T109" fmla="*/ 256 h 40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90" h="408">
                  <a:moveTo>
                    <a:pt x="455" y="256"/>
                  </a:moveTo>
                  <a:lnTo>
                    <a:pt x="489" y="248"/>
                  </a:lnTo>
                  <a:lnTo>
                    <a:pt x="514" y="232"/>
                  </a:lnTo>
                  <a:lnTo>
                    <a:pt x="565" y="240"/>
                  </a:lnTo>
                  <a:lnTo>
                    <a:pt x="590" y="232"/>
                  </a:lnTo>
                  <a:lnTo>
                    <a:pt x="565" y="200"/>
                  </a:lnTo>
                  <a:lnTo>
                    <a:pt x="523" y="176"/>
                  </a:lnTo>
                  <a:lnTo>
                    <a:pt x="548" y="144"/>
                  </a:lnTo>
                  <a:lnTo>
                    <a:pt x="548" y="104"/>
                  </a:lnTo>
                  <a:lnTo>
                    <a:pt x="548" y="72"/>
                  </a:lnTo>
                  <a:lnTo>
                    <a:pt x="573" y="64"/>
                  </a:lnTo>
                  <a:lnTo>
                    <a:pt x="582" y="48"/>
                  </a:lnTo>
                  <a:lnTo>
                    <a:pt x="582" y="32"/>
                  </a:lnTo>
                  <a:lnTo>
                    <a:pt x="582" y="16"/>
                  </a:lnTo>
                  <a:lnTo>
                    <a:pt x="531" y="16"/>
                  </a:lnTo>
                  <a:lnTo>
                    <a:pt x="523" y="0"/>
                  </a:lnTo>
                  <a:lnTo>
                    <a:pt x="481" y="8"/>
                  </a:lnTo>
                  <a:lnTo>
                    <a:pt x="455" y="0"/>
                  </a:lnTo>
                  <a:lnTo>
                    <a:pt x="413" y="8"/>
                  </a:lnTo>
                  <a:lnTo>
                    <a:pt x="363" y="24"/>
                  </a:lnTo>
                  <a:lnTo>
                    <a:pt x="321" y="80"/>
                  </a:lnTo>
                  <a:lnTo>
                    <a:pt x="270" y="88"/>
                  </a:lnTo>
                  <a:lnTo>
                    <a:pt x="219" y="88"/>
                  </a:lnTo>
                  <a:lnTo>
                    <a:pt x="194" y="88"/>
                  </a:lnTo>
                  <a:lnTo>
                    <a:pt x="169" y="112"/>
                  </a:lnTo>
                  <a:lnTo>
                    <a:pt x="76" y="112"/>
                  </a:lnTo>
                  <a:lnTo>
                    <a:pt x="43" y="104"/>
                  </a:lnTo>
                  <a:lnTo>
                    <a:pt x="43" y="80"/>
                  </a:lnTo>
                  <a:lnTo>
                    <a:pt x="9" y="64"/>
                  </a:lnTo>
                  <a:lnTo>
                    <a:pt x="0" y="88"/>
                  </a:lnTo>
                  <a:lnTo>
                    <a:pt x="9" y="120"/>
                  </a:lnTo>
                  <a:lnTo>
                    <a:pt x="26" y="152"/>
                  </a:lnTo>
                  <a:lnTo>
                    <a:pt x="68" y="184"/>
                  </a:lnTo>
                  <a:lnTo>
                    <a:pt x="51" y="224"/>
                  </a:lnTo>
                  <a:lnTo>
                    <a:pt x="34" y="232"/>
                  </a:lnTo>
                  <a:lnTo>
                    <a:pt x="34" y="264"/>
                  </a:lnTo>
                  <a:lnTo>
                    <a:pt x="51" y="272"/>
                  </a:lnTo>
                  <a:lnTo>
                    <a:pt x="43" y="304"/>
                  </a:lnTo>
                  <a:lnTo>
                    <a:pt x="51" y="320"/>
                  </a:lnTo>
                  <a:lnTo>
                    <a:pt x="93" y="336"/>
                  </a:lnTo>
                  <a:lnTo>
                    <a:pt x="110" y="368"/>
                  </a:lnTo>
                  <a:lnTo>
                    <a:pt x="110" y="408"/>
                  </a:lnTo>
                  <a:lnTo>
                    <a:pt x="110" y="400"/>
                  </a:lnTo>
                  <a:lnTo>
                    <a:pt x="152" y="400"/>
                  </a:lnTo>
                  <a:lnTo>
                    <a:pt x="194" y="384"/>
                  </a:lnTo>
                  <a:lnTo>
                    <a:pt x="245" y="352"/>
                  </a:lnTo>
                  <a:lnTo>
                    <a:pt x="278" y="368"/>
                  </a:lnTo>
                  <a:lnTo>
                    <a:pt x="312" y="368"/>
                  </a:lnTo>
                  <a:lnTo>
                    <a:pt x="337" y="368"/>
                  </a:lnTo>
                  <a:lnTo>
                    <a:pt x="396" y="352"/>
                  </a:lnTo>
                  <a:lnTo>
                    <a:pt x="430" y="336"/>
                  </a:lnTo>
                  <a:lnTo>
                    <a:pt x="422" y="296"/>
                  </a:lnTo>
                  <a:lnTo>
                    <a:pt x="447" y="296"/>
                  </a:lnTo>
                  <a:lnTo>
                    <a:pt x="455" y="280"/>
                  </a:lnTo>
                  <a:lnTo>
                    <a:pt x="455" y="256"/>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6" name="Freeform 75"/>
            <p:cNvSpPr>
              <a:spLocks/>
            </p:cNvSpPr>
            <p:nvPr>
              <p:custDataLst>
                <p:tags r:id="rId72"/>
              </p:custDataLst>
            </p:nvPr>
          </p:nvSpPr>
          <p:spPr bwMode="auto">
            <a:xfrm>
              <a:off x="4831" y="3488"/>
              <a:ext cx="244" cy="192"/>
            </a:xfrm>
            <a:custGeom>
              <a:avLst/>
              <a:gdLst>
                <a:gd name="T0" fmla="*/ 227 w 244"/>
                <a:gd name="T1" fmla="*/ 32 h 192"/>
                <a:gd name="T2" fmla="*/ 185 w 244"/>
                <a:gd name="T3" fmla="*/ 16 h 192"/>
                <a:gd name="T4" fmla="*/ 177 w 244"/>
                <a:gd name="T5" fmla="*/ 0 h 192"/>
                <a:gd name="T6" fmla="*/ 177 w 244"/>
                <a:gd name="T7" fmla="*/ 0 h 192"/>
                <a:gd name="T8" fmla="*/ 134 w 244"/>
                <a:gd name="T9" fmla="*/ 0 h 192"/>
                <a:gd name="T10" fmla="*/ 75 w 244"/>
                <a:gd name="T11" fmla="*/ 24 h 192"/>
                <a:gd name="T12" fmla="*/ 50 w 244"/>
                <a:gd name="T13" fmla="*/ 32 h 192"/>
                <a:gd name="T14" fmla="*/ 25 w 244"/>
                <a:gd name="T15" fmla="*/ 40 h 192"/>
                <a:gd name="T16" fmla="*/ 16 w 244"/>
                <a:gd name="T17" fmla="*/ 72 h 192"/>
                <a:gd name="T18" fmla="*/ 0 w 244"/>
                <a:gd name="T19" fmla="*/ 64 h 192"/>
                <a:gd name="T20" fmla="*/ 0 w 244"/>
                <a:gd name="T21" fmla="*/ 88 h 192"/>
                <a:gd name="T22" fmla="*/ 8 w 244"/>
                <a:gd name="T23" fmla="*/ 144 h 192"/>
                <a:gd name="T24" fmla="*/ 33 w 244"/>
                <a:gd name="T25" fmla="*/ 176 h 192"/>
                <a:gd name="T26" fmla="*/ 59 w 244"/>
                <a:gd name="T27" fmla="*/ 184 h 192"/>
                <a:gd name="T28" fmla="*/ 67 w 244"/>
                <a:gd name="T29" fmla="*/ 192 h 192"/>
                <a:gd name="T30" fmla="*/ 75 w 244"/>
                <a:gd name="T31" fmla="*/ 192 h 192"/>
                <a:gd name="T32" fmla="*/ 109 w 244"/>
                <a:gd name="T33" fmla="*/ 176 h 192"/>
                <a:gd name="T34" fmla="*/ 134 w 244"/>
                <a:gd name="T35" fmla="*/ 176 h 192"/>
                <a:gd name="T36" fmla="*/ 168 w 244"/>
                <a:gd name="T37" fmla="*/ 136 h 192"/>
                <a:gd name="T38" fmla="*/ 236 w 244"/>
                <a:gd name="T39" fmla="*/ 128 h 192"/>
                <a:gd name="T40" fmla="*/ 244 w 244"/>
                <a:gd name="T41" fmla="*/ 104 h 192"/>
                <a:gd name="T42" fmla="*/ 244 w 244"/>
                <a:gd name="T43" fmla="*/ 64 h 192"/>
                <a:gd name="T44" fmla="*/ 227 w 244"/>
                <a:gd name="T45" fmla="*/ 32 h 1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44" h="192">
                  <a:moveTo>
                    <a:pt x="227" y="32"/>
                  </a:moveTo>
                  <a:lnTo>
                    <a:pt x="185" y="16"/>
                  </a:lnTo>
                  <a:lnTo>
                    <a:pt x="177" y="0"/>
                  </a:lnTo>
                  <a:lnTo>
                    <a:pt x="134" y="0"/>
                  </a:lnTo>
                  <a:lnTo>
                    <a:pt x="75" y="24"/>
                  </a:lnTo>
                  <a:lnTo>
                    <a:pt x="50" y="32"/>
                  </a:lnTo>
                  <a:lnTo>
                    <a:pt x="25" y="40"/>
                  </a:lnTo>
                  <a:lnTo>
                    <a:pt x="16" y="72"/>
                  </a:lnTo>
                  <a:lnTo>
                    <a:pt x="0" y="64"/>
                  </a:lnTo>
                  <a:lnTo>
                    <a:pt x="0" y="88"/>
                  </a:lnTo>
                  <a:lnTo>
                    <a:pt x="8" y="144"/>
                  </a:lnTo>
                  <a:lnTo>
                    <a:pt x="33" y="176"/>
                  </a:lnTo>
                  <a:lnTo>
                    <a:pt x="59" y="184"/>
                  </a:lnTo>
                  <a:lnTo>
                    <a:pt x="67" y="192"/>
                  </a:lnTo>
                  <a:lnTo>
                    <a:pt x="75" y="192"/>
                  </a:lnTo>
                  <a:lnTo>
                    <a:pt x="109" y="176"/>
                  </a:lnTo>
                  <a:lnTo>
                    <a:pt x="134" y="176"/>
                  </a:lnTo>
                  <a:lnTo>
                    <a:pt x="168" y="136"/>
                  </a:lnTo>
                  <a:lnTo>
                    <a:pt x="236" y="128"/>
                  </a:lnTo>
                  <a:lnTo>
                    <a:pt x="244" y="104"/>
                  </a:lnTo>
                  <a:lnTo>
                    <a:pt x="244" y="64"/>
                  </a:lnTo>
                  <a:lnTo>
                    <a:pt x="227" y="32"/>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7" name="Freeform 76"/>
            <p:cNvSpPr>
              <a:spLocks/>
            </p:cNvSpPr>
            <p:nvPr>
              <p:custDataLst>
                <p:tags r:id="rId73"/>
              </p:custDataLst>
            </p:nvPr>
          </p:nvSpPr>
          <p:spPr bwMode="auto">
            <a:xfrm>
              <a:off x="4965" y="3184"/>
              <a:ext cx="590" cy="408"/>
            </a:xfrm>
            <a:custGeom>
              <a:avLst/>
              <a:gdLst>
                <a:gd name="T0" fmla="*/ 455 w 590"/>
                <a:gd name="T1" fmla="*/ 256 h 408"/>
                <a:gd name="T2" fmla="*/ 489 w 590"/>
                <a:gd name="T3" fmla="*/ 248 h 408"/>
                <a:gd name="T4" fmla="*/ 514 w 590"/>
                <a:gd name="T5" fmla="*/ 232 h 408"/>
                <a:gd name="T6" fmla="*/ 565 w 590"/>
                <a:gd name="T7" fmla="*/ 240 h 408"/>
                <a:gd name="T8" fmla="*/ 590 w 590"/>
                <a:gd name="T9" fmla="*/ 232 h 408"/>
                <a:gd name="T10" fmla="*/ 565 w 590"/>
                <a:gd name="T11" fmla="*/ 200 h 408"/>
                <a:gd name="T12" fmla="*/ 523 w 590"/>
                <a:gd name="T13" fmla="*/ 176 h 408"/>
                <a:gd name="T14" fmla="*/ 548 w 590"/>
                <a:gd name="T15" fmla="*/ 144 h 408"/>
                <a:gd name="T16" fmla="*/ 548 w 590"/>
                <a:gd name="T17" fmla="*/ 104 h 408"/>
                <a:gd name="T18" fmla="*/ 548 w 590"/>
                <a:gd name="T19" fmla="*/ 72 h 408"/>
                <a:gd name="T20" fmla="*/ 573 w 590"/>
                <a:gd name="T21" fmla="*/ 64 h 408"/>
                <a:gd name="T22" fmla="*/ 582 w 590"/>
                <a:gd name="T23" fmla="*/ 48 h 408"/>
                <a:gd name="T24" fmla="*/ 582 w 590"/>
                <a:gd name="T25" fmla="*/ 32 h 408"/>
                <a:gd name="T26" fmla="*/ 582 w 590"/>
                <a:gd name="T27" fmla="*/ 16 h 408"/>
                <a:gd name="T28" fmla="*/ 531 w 590"/>
                <a:gd name="T29" fmla="*/ 16 h 408"/>
                <a:gd name="T30" fmla="*/ 523 w 590"/>
                <a:gd name="T31" fmla="*/ 0 h 408"/>
                <a:gd name="T32" fmla="*/ 481 w 590"/>
                <a:gd name="T33" fmla="*/ 8 h 408"/>
                <a:gd name="T34" fmla="*/ 455 w 590"/>
                <a:gd name="T35" fmla="*/ 0 h 408"/>
                <a:gd name="T36" fmla="*/ 413 w 590"/>
                <a:gd name="T37" fmla="*/ 8 h 408"/>
                <a:gd name="T38" fmla="*/ 363 w 590"/>
                <a:gd name="T39" fmla="*/ 24 h 408"/>
                <a:gd name="T40" fmla="*/ 321 w 590"/>
                <a:gd name="T41" fmla="*/ 80 h 408"/>
                <a:gd name="T42" fmla="*/ 270 w 590"/>
                <a:gd name="T43" fmla="*/ 88 h 408"/>
                <a:gd name="T44" fmla="*/ 219 w 590"/>
                <a:gd name="T45" fmla="*/ 88 h 408"/>
                <a:gd name="T46" fmla="*/ 194 w 590"/>
                <a:gd name="T47" fmla="*/ 88 h 408"/>
                <a:gd name="T48" fmla="*/ 169 w 590"/>
                <a:gd name="T49" fmla="*/ 112 h 408"/>
                <a:gd name="T50" fmla="*/ 76 w 590"/>
                <a:gd name="T51" fmla="*/ 112 h 408"/>
                <a:gd name="T52" fmla="*/ 43 w 590"/>
                <a:gd name="T53" fmla="*/ 104 h 408"/>
                <a:gd name="T54" fmla="*/ 43 w 590"/>
                <a:gd name="T55" fmla="*/ 80 h 408"/>
                <a:gd name="T56" fmla="*/ 9 w 590"/>
                <a:gd name="T57" fmla="*/ 64 h 408"/>
                <a:gd name="T58" fmla="*/ 0 w 590"/>
                <a:gd name="T59" fmla="*/ 88 h 408"/>
                <a:gd name="T60" fmla="*/ 9 w 590"/>
                <a:gd name="T61" fmla="*/ 120 h 408"/>
                <a:gd name="T62" fmla="*/ 26 w 590"/>
                <a:gd name="T63" fmla="*/ 152 h 408"/>
                <a:gd name="T64" fmla="*/ 68 w 590"/>
                <a:gd name="T65" fmla="*/ 184 h 408"/>
                <a:gd name="T66" fmla="*/ 51 w 590"/>
                <a:gd name="T67" fmla="*/ 224 h 408"/>
                <a:gd name="T68" fmla="*/ 34 w 590"/>
                <a:gd name="T69" fmla="*/ 232 h 408"/>
                <a:gd name="T70" fmla="*/ 34 w 590"/>
                <a:gd name="T71" fmla="*/ 264 h 408"/>
                <a:gd name="T72" fmla="*/ 51 w 590"/>
                <a:gd name="T73" fmla="*/ 272 h 408"/>
                <a:gd name="T74" fmla="*/ 43 w 590"/>
                <a:gd name="T75" fmla="*/ 304 h 408"/>
                <a:gd name="T76" fmla="*/ 51 w 590"/>
                <a:gd name="T77" fmla="*/ 320 h 408"/>
                <a:gd name="T78" fmla="*/ 93 w 590"/>
                <a:gd name="T79" fmla="*/ 336 h 408"/>
                <a:gd name="T80" fmla="*/ 110 w 590"/>
                <a:gd name="T81" fmla="*/ 368 h 408"/>
                <a:gd name="T82" fmla="*/ 110 w 590"/>
                <a:gd name="T83" fmla="*/ 408 h 408"/>
                <a:gd name="T84" fmla="*/ 110 w 590"/>
                <a:gd name="T85" fmla="*/ 400 h 408"/>
                <a:gd name="T86" fmla="*/ 152 w 590"/>
                <a:gd name="T87" fmla="*/ 400 h 408"/>
                <a:gd name="T88" fmla="*/ 194 w 590"/>
                <a:gd name="T89" fmla="*/ 384 h 408"/>
                <a:gd name="T90" fmla="*/ 245 w 590"/>
                <a:gd name="T91" fmla="*/ 352 h 408"/>
                <a:gd name="T92" fmla="*/ 278 w 590"/>
                <a:gd name="T93" fmla="*/ 368 h 408"/>
                <a:gd name="T94" fmla="*/ 312 w 590"/>
                <a:gd name="T95" fmla="*/ 368 h 408"/>
                <a:gd name="T96" fmla="*/ 337 w 590"/>
                <a:gd name="T97" fmla="*/ 368 h 408"/>
                <a:gd name="T98" fmla="*/ 396 w 590"/>
                <a:gd name="T99" fmla="*/ 352 h 408"/>
                <a:gd name="T100" fmla="*/ 430 w 590"/>
                <a:gd name="T101" fmla="*/ 336 h 408"/>
                <a:gd name="T102" fmla="*/ 422 w 590"/>
                <a:gd name="T103" fmla="*/ 296 h 408"/>
                <a:gd name="T104" fmla="*/ 447 w 590"/>
                <a:gd name="T105" fmla="*/ 296 h 408"/>
                <a:gd name="T106" fmla="*/ 447 w 590"/>
                <a:gd name="T107" fmla="*/ 296 h 408"/>
                <a:gd name="T108" fmla="*/ 455 w 590"/>
                <a:gd name="T109" fmla="*/ 280 h 408"/>
                <a:gd name="T110" fmla="*/ 455 w 590"/>
                <a:gd name="T111" fmla="*/ 256 h 4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90" h="408">
                  <a:moveTo>
                    <a:pt x="455" y="256"/>
                  </a:moveTo>
                  <a:lnTo>
                    <a:pt x="489" y="248"/>
                  </a:lnTo>
                  <a:lnTo>
                    <a:pt x="514" y="232"/>
                  </a:lnTo>
                  <a:lnTo>
                    <a:pt x="565" y="240"/>
                  </a:lnTo>
                  <a:lnTo>
                    <a:pt x="590" y="232"/>
                  </a:lnTo>
                  <a:lnTo>
                    <a:pt x="565" y="200"/>
                  </a:lnTo>
                  <a:lnTo>
                    <a:pt x="523" y="176"/>
                  </a:lnTo>
                  <a:lnTo>
                    <a:pt x="548" y="144"/>
                  </a:lnTo>
                  <a:lnTo>
                    <a:pt x="548" y="104"/>
                  </a:lnTo>
                  <a:lnTo>
                    <a:pt x="548" y="72"/>
                  </a:lnTo>
                  <a:lnTo>
                    <a:pt x="573" y="64"/>
                  </a:lnTo>
                  <a:lnTo>
                    <a:pt x="582" y="48"/>
                  </a:lnTo>
                  <a:lnTo>
                    <a:pt x="582" y="32"/>
                  </a:lnTo>
                  <a:lnTo>
                    <a:pt x="582" y="16"/>
                  </a:lnTo>
                  <a:lnTo>
                    <a:pt x="531" y="16"/>
                  </a:lnTo>
                  <a:lnTo>
                    <a:pt x="523" y="0"/>
                  </a:lnTo>
                  <a:lnTo>
                    <a:pt x="481" y="8"/>
                  </a:lnTo>
                  <a:lnTo>
                    <a:pt x="455" y="0"/>
                  </a:lnTo>
                  <a:lnTo>
                    <a:pt x="413" y="8"/>
                  </a:lnTo>
                  <a:lnTo>
                    <a:pt x="363" y="24"/>
                  </a:lnTo>
                  <a:lnTo>
                    <a:pt x="321" y="80"/>
                  </a:lnTo>
                  <a:lnTo>
                    <a:pt x="270" y="88"/>
                  </a:lnTo>
                  <a:lnTo>
                    <a:pt x="219" y="88"/>
                  </a:lnTo>
                  <a:lnTo>
                    <a:pt x="194" y="88"/>
                  </a:lnTo>
                  <a:lnTo>
                    <a:pt x="169" y="112"/>
                  </a:lnTo>
                  <a:lnTo>
                    <a:pt x="76" y="112"/>
                  </a:lnTo>
                  <a:lnTo>
                    <a:pt x="43" y="104"/>
                  </a:lnTo>
                  <a:lnTo>
                    <a:pt x="43" y="80"/>
                  </a:lnTo>
                  <a:lnTo>
                    <a:pt x="9" y="64"/>
                  </a:lnTo>
                  <a:lnTo>
                    <a:pt x="0" y="88"/>
                  </a:lnTo>
                  <a:lnTo>
                    <a:pt x="9" y="120"/>
                  </a:lnTo>
                  <a:lnTo>
                    <a:pt x="26" y="152"/>
                  </a:lnTo>
                  <a:lnTo>
                    <a:pt x="68" y="184"/>
                  </a:lnTo>
                  <a:lnTo>
                    <a:pt x="51" y="224"/>
                  </a:lnTo>
                  <a:lnTo>
                    <a:pt x="34" y="232"/>
                  </a:lnTo>
                  <a:lnTo>
                    <a:pt x="34" y="264"/>
                  </a:lnTo>
                  <a:lnTo>
                    <a:pt x="51" y="272"/>
                  </a:lnTo>
                  <a:lnTo>
                    <a:pt x="43" y="304"/>
                  </a:lnTo>
                  <a:lnTo>
                    <a:pt x="51" y="320"/>
                  </a:lnTo>
                  <a:lnTo>
                    <a:pt x="93" y="336"/>
                  </a:lnTo>
                  <a:lnTo>
                    <a:pt x="110" y="368"/>
                  </a:lnTo>
                  <a:lnTo>
                    <a:pt x="110" y="408"/>
                  </a:lnTo>
                  <a:lnTo>
                    <a:pt x="110" y="400"/>
                  </a:lnTo>
                  <a:lnTo>
                    <a:pt x="152" y="400"/>
                  </a:lnTo>
                  <a:lnTo>
                    <a:pt x="194" y="384"/>
                  </a:lnTo>
                  <a:lnTo>
                    <a:pt x="245" y="352"/>
                  </a:lnTo>
                  <a:lnTo>
                    <a:pt x="278" y="368"/>
                  </a:lnTo>
                  <a:lnTo>
                    <a:pt x="312" y="368"/>
                  </a:lnTo>
                  <a:lnTo>
                    <a:pt x="337" y="368"/>
                  </a:lnTo>
                  <a:lnTo>
                    <a:pt x="396" y="352"/>
                  </a:lnTo>
                  <a:lnTo>
                    <a:pt x="430" y="336"/>
                  </a:lnTo>
                  <a:lnTo>
                    <a:pt x="422" y="296"/>
                  </a:lnTo>
                  <a:lnTo>
                    <a:pt x="447" y="296"/>
                  </a:lnTo>
                  <a:lnTo>
                    <a:pt x="455" y="280"/>
                  </a:lnTo>
                  <a:lnTo>
                    <a:pt x="455" y="256"/>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8" name="Freeform 77"/>
            <p:cNvSpPr>
              <a:spLocks/>
            </p:cNvSpPr>
            <p:nvPr>
              <p:custDataLst>
                <p:tags r:id="rId74"/>
              </p:custDataLst>
            </p:nvPr>
          </p:nvSpPr>
          <p:spPr bwMode="auto">
            <a:xfrm>
              <a:off x="5404" y="3416"/>
              <a:ext cx="364" cy="616"/>
            </a:xfrm>
            <a:custGeom>
              <a:avLst/>
              <a:gdLst>
                <a:gd name="T0" fmla="*/ 219 w 364"/>
                <a:gd name="T1" fmla="*/ 40 h 616"/>
                <a:gd name="T2" fmla="*/ 151 w 364"/>
                <a:gd name="T3" fmla="*/ 0 h 616"/>
                <a:gd name="T4" fmla="*/ 75 w 364"/>
                <a:gd name="T5" fmla="*/ 0 h 616"/>
                <a:gd name="T6" fmla="*/ 16 w 364"/>
                <a:gd name="T7" fmla="*/ 24 h 616"/>
                <a:gd name="T8" fmla="*/ 8 w 364"/>
                <a:gd name="T9" fmla="*/ 64 h 616"/>
                <a:gd name="T10" fmla="*/ 16 w 364"/>
                <a:gd name="T11" fmla="*/ 136 h 616"/>
                <a:gd name="T12" fmla="*/ 0 w 364"/>
                <a:gd name="T13" fmla="*/ 192 h 616"/>
                <a:gd name="T14" fmla="*/ 67 w 364"/>
                <a:gd name="T15" fmla="*/ 184 h 616"/>
                <a:gd name="T16" fmla="*/ 33 w 364"/>
                <a:gd name="T17" fmla="*/ 256 h 616"/>
                <a:gd name="T18" fmla="*/ 118 w 364"/>
                <a:gd name="T19" fmla="*/ 312 h 616"/>
                <a:gd name="T20" fmla="*/ 160 w 364"/>
                <a:gd name="T21" fmla="*/ 384 h 616"/>
                <a:gd name="T22" fmla="*/ 168 w 364"/>
                <a:gd name="T23" fmla="*/ 432 h 616"/>
                <a:gd name="T24" fmla="*/ 101 w 364"/>
                <a:gd name="T25" fmla="*/ 440 h 616"/>
                <a:gd name="T26" fmla="*/ 126 w 364"/>
                <a:gd name="T27" fmla="*/ 496 h 616"/>
                <a:gd name="T28" fmla="*/ 168 w 364"/>
                <a:gd name="T29" fmla="*/ 480 h 616"/>
                <a:gd name="T30" fmla="*/ 219 w 364"/>
                <a:gd name="T31" fmla="*/ 504 h 616"/>
                <a:gd name="T32" fmla="*/ 235 w 364"/>
                <a:gd name="T33" fmla="*/ 560 h 616"/>
                <a:gd name="T34" fmla="*/ 244 w 364"/>
                <a:gd name="T35" fmla="*/ 592 h 616"/>
                <a:gd name="T36" fmla="*/ 261 w 364"/>
                <a:gd name="T37" fmla="*/ 600 h 616"/>
                <a:gd name="T38" fmla="*/ 337 w 364"/>
                <a:gd name="T39" fmla="*/ 616 h 616"/>
                <a:gd name="T40" fmla="*/ 360 w 364"/>
                <a:gd name="T41" fmla="*/ 578 h 616"/>
                <a:gd name="T42" fmla="*/ 303 w 364"/>
                <a:gd name="T43" fmla="*/ 56 h 616"/>
                <a:gd name="T44" fmla="*/ 320 w 364"/>
                <a:gd name="T45" fmla="*/ 152 h 616"/>
                <a:gd name="T46" fmla="*/ 244 w 364"/>
                <a:gd name="T47" fmla="*/ 168 h 616"/>
                <a:gd name="T48" fmla="*/ 151 w 364"/>
                <a:gd name="T49" fmla="*/ 200 h 616"/>
                <a:gd name="T50" fmla="*/ 92 w 364"/>
                <a:gd name="T51" fmla="*/ 208 h 616"/>
                <a:gd name="T52" fmla="*/ 42 w 364"/>
                <a:gd name="T53" fmla="*/ 264 h 616"/>
                <a:gd name="T54" fmla="*/ 59 w 364"/>
                <a:gd name="T55" fmla="*/ 232 h 616"/>
                <a:gd name="T56" fmla="*/ 126 w 364"/>
                <a:gd name="T57" fmla="*/ 168 h 616"/>
                <a:gd name="T58" fmla="*/ 185 w 364"/>
                <a:gd name="T59" fmla="*/ 104 h 616"/>
                <a:gd name="T60" fmla="*/ 286 w 364"/>
                <a:gd name="T61" fmla="*/ 80 h 616"/>
                <a:gd name="T62" fmla="*/ 303 w 364"/>
                <a:gd name="T63" fmla="*/ 96 h 616"/>
                <a:gd name="T64" fmla="*/ 328 w 364"/>
                <a:gd name="T65" fmla="*/ 112 h 616"/>
                <a:gd name="T66" fmla="*/ 303 w 364"/>
                <a:gd name="T67" fmla="*/ 56 h 61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64" h="616">
                  <a:moveTo>
                    <a:pt x="303" y="56"/>
                  </a:moveTo>
                  <a:lnTo>
                    <a:pt x="219" y="40"/>
                  </a:lnTo>
                  <a:lnTo>
                    <a:pt x="185" y="24"/>
                  </a:lnTo>
                  <a:lnTo>
                    <a:pt x="151" y="0"/>
                  </a:lnTo>
                  <a:lnTo>
                    <a:pt x="126" y="8"/>
                  </a:lnTo>
                  <a:lnTo>
                    <a:pt x="75" y="0"/>
                  </a:lnTo>
                  <a:lnTo>
                    <a:pt x="50" y="16"/>
                  </a:lnTo>
                  <a:lnTo>
                    <a:pt x="16" y="24"/>
                  </a:lnTo>
                  <a:lnTo>
                    <a:pt x="16" y="48"/>
                  </a:lnTo>
                  <a:lnTo>
                    <a:pt x="8" y="64"/>
                  </a:lnTo>
                  <a:lnTo>
                    <a:pt x="33" y="88"/>
                  </a:lnTo>
                  <a:lnTo>
                    <a:pt x="16" y="136"/>
                  </a:lnTo>
                  <a:lnTo>
                    <a:pt x="25" y="160"/>
                  </a:lnTo>
                  <a:lnTo>
                    <a:pt x="0" y="192"/>
                  </a:lnTo>
                  <a:lnTo>
                    <a:pt x="0" y="200"/>
                  </a:lnTo>
                  <a:lnTo>
                    <a:pt x="67" y="184"/>
                  </a:lnTo>
                  <a:lnTo>
                    <a:pt x="42" y="216"/>
                  </a:lnTo>
                  <a:lnTo>
                    <a:pt x="33" y="256"/>
                  </a:lnTo>
                  <a:lnTo>
                    <a:pt x="50" y="328"/>
                  </a:lnTo>
                  <a:lnTo>
                    <a:pt x="118" y="312"/>
                  </a:lnTo>
                  <a:lnTo>
                    <a:pt x="118" y="352"/>
                  </a:lnTo>
                  <a:lnTo>
                    <a:pt x="160" y="384"/>
                  </a:lnTo>
                  <a:lnTo>
                    <a:pt x="151" y="408"/>
                  </a:lnTo>
                  <a:lnTo>
                    <a:pt x="168" y="432"/>
                  </a:lnTo>
                  <a:lnTo>
                    <a:pt x="134" y="448"/>
                  </a:lnTo>
                  <a:lnTo>
                    <a:pt x="101" y="440"/>
                  </a:lnTo>
                  <a:lnTo>
                    <a:pt x="101" y="472"/>
                  </a:lnTo>
                  <a:lnTo>
                    <a:pt x="126" y="496"/>
                  </a:lnTo>
                  <a:lnTo>
                    <a:pt x="151" y="480"/>
                  </a:lnTo>
                  <a:lnTo>
                    <a:pt x="168" y="480"/>
                  </a:lnTo>
                  <a:lnTo>
                    <a:pt x="185" y="488"/>
                  </a:lnTo>
                  <a:lnTo>
                    <a:pt x="219" y="504"/>
                  </a:lnTo>
                  <a:lnTo>
                    <a:pt x="227" y="528"/>
                  </a:lnTo>
                  <a:lnTo>
                    <a:pt x="235" y="560"/>
                  </a:lnTo>
                  <a:lnTo>
                    <a:pt x="269" y="576"/>
                  </a:lnTo>
                  <a:lnTo>
                    <a:pt x="244" y="592"/>
                  </a:lnTo>
                  <a:lnTo>
                    <a:pt x="244" y="600"/>
                  </a:lnTo>
                  <a:lnTo>
                    <a:pt x="261" y="600"/>
                  </a:lnTo>
                  <a:lnTo>
                    <a:pt x="345" y="584"/>
                  </a:lnTo>
                  <a:lnTo>
                    <a:pt x="337" y="616"/>
                  </a:lnTo>
                  <a:lnTo>
                    <a:pt x="364" y="602"/>
                  </a:lnTo>
                  <a:lnTo>
                    <a:pt x="360" y="578"/>
                  </a:lnTo>
                  <a:lnTo>
                    <a:pt x="354" y="56"/>
                  </a:lnTo>
                  <a:lnTo>
                    <a:pt x="303" y="56"/>
                  </a:lnTo>
                  <a:lnTo>
                    <a:pt x="286" y="136"/>
                  </a:lnTo>
                  <a:lnTo>
                    <a:pt x="320" y="152"/>
                  </a:lnTo>
                  <a:lnTo>
                    <a:pt x="286" y="168"/>
                  </a:lnTo>
                  <a:lnTo>
                    <a:pt x="244" y="168"/>
                  </a:lnTo>
                  <a:lnTo>
                    <a:pt x="176" y="200"/>
                  </a:lnTo>
                  <a:lnTo>
                    <a:pt x="151" y="200"/>
                  </a:lnTo>
                  <a:lnTo>
                    <a:pt x="134" y="200"/>
                  </a:lnTo>
                  <a:lnTo>
                    <a:pt x="92" y="208"/>
                  </a:lnTo>
                  <a:lnTo>
                    <a:pt x="67" y="232"/>
                  </a:lnTo>
                  <a:lnTo>
                    <a:pt x="42" y="264"/>
                  </a:lnTo>
                  <a:lnTo>
                    <a:pt x="42" y="248"/>
                  </a:lnTo>
                  <a:lnTo>
                    <a:pt x="59" y="232"/>
                  </a:lnTo>
                  <a:lnTo>
                    <a:pt x="84" y="200"/>
                  </a:lnTo>
                  <a:lnTo>
                    <a:pt x="126" y="168"/>
                  </a:lnTo>
                  <a:lnTo>
                    <a:pt x="134" y="120"/>
                  </a:lnTo>
                  <a:lnTo>
                    <a:pt x="185" y="104"/>
                  </a:lnTo>
                  <a:lnTo>
                    <a:pt x="235" y="96"/>
                  </a:lnTo>
                  <a:lnTo>
                    <a:pt x="286" y="80"/>
                  </a:lnTo>
                  <a:lnTo>
                    <a:pt x="294" y="80"/>
                  </a:lnTo>
                  <a:lnTo>
                    <a:pt x="303" y="96"/>
                  </a:lnTo>
                  <a:lnTo>
                    <a:pt x="345" y="104"/>
                  </a:lnTo>
                  <a:lnTo>
                    <a:pt x="328" y="112"/>
                  </a:lnTo>
                  <a:lnTo>
                    <a:pt x="286" y="136"/>
                  </a:lnTo>
                  <a:lnTo>
                    <a:pt x="303" y="56"/>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9" name="Freeform 78"/>
            <p:cNvSpPr>
              <a:spLocks/>
            </p:cNvSpPr>
            <p:nvPr>
              <p:custDataLst>
                <p:tags r:id="rId75"/>
              </p:custDataLst>
            </p:nvPr>
          </p:nvSpPr>
          <p:spPr bwMode="auto">
            <a:xfrm>
              <a:off x="5404" y="3416"/>
              <a:ext cx="362" cy="616"/>
            </a:xfrm>
            <a:custGeom>
              <a:avLst/>
              <a:gdLst>
                <a:gd name="T0" fmla="*/ 303 w 362"/>
                <a:gd name="T1" fmla="*/ 56 h 616"/>
                <a:gd name="T2" fmla="*/ 219 w 362"/>
                <a:gd name="T3" fmla="*/ 40 h 616"/>
                <a:gd name="T4" fmla="*/ 185 w 362"/>
                <a:gd name="T5" fmla="*/ 24 h 616"/>
                <a:gd name="T6" fmla="*/ 151 w 362"/>
                <a:gd name="T7" fmla="*/ 0 h 616"/>
                <a:gd name="T8" fmla="*/ 126 w 362"/>
                <a:gd name="T9" fmla="*/ 8 h 616"/>
                <a:gd name="T10" fmla="*/ 75 w 362"/>
                <a:gd name="T11" fmla="*/ 0 h 616"/>
                <a:gd name="T12" fmla="*/ 50 w 362"/>
                <a:gd name="T13" fmla="*/ 16 h 616"/>
                <a:gd name="T14" fmla="*/ 16 w 362"/>
                <a:gd name="T15" fmla="*/ 24 h 616"/>
                <a:gd name="T16" fmla="*/ 16 w 362"/>
                <a:gd name="T17" fmla="*/ 48 h 616"/>
                <a:gd name="T18" fmla="*/ 8 w 362"/>
                <a:gd name="T19" fmla="*/ 64 h 616"/>
                <a:gd name="T20" fmla="*/ 33 w 362"/>
                <a:gd name="T21" fmla="*/ 88 h 616"/>
                <a:gd name="T22" fmla="*/ 16 w 362"/>
                <a:gd name="T23" fmla="*/ 136 h 616"/>
                <a:gd name="T24" fmla="*/ 25 w 362"/>
                <a:gd name="T25" fmla="*/ 160 h 616"/>
                <a:gd name="T26" fmla="*/ 0 w 362"/>
                <a:gd name="T27" fmla="*/ 192 h 616"/>
                <a:gd name="T28" fmla="*/ 0 w 362"/>
                <a:gd name="T29" fmla="*/ 200 h 616"/>
                <a:gd name="T30" fmla="*/ 67 w 362"/>
                <a:gd name="T31" fmla="*/ 184 h 616"/>
                <a:gd name="T32" fmla="*/ 42 w 362"/>
                <a:gd name="T33" fmla="*/ 216 h 616"/>
                <a:gd name="T34" fmla="*/ 33 w 362"/>
                <a:gd name="T35" fmla="*/ 256 h 616"/>
                <a:gd name="T36" fmla="*/ 50 w 362"/>
                <a:gd name="T37" fmla="*/ 328 h 616"/>
                <a:gd name="T38" fmla="*/ 118 w 362"/>
                <a:gd name="T39" fmla="*/ 312 h 616"/>
                <a:gd name="T40" fmla="*/ 118 w 362"/>
                <a:gd name="T41" fmla="*/ 352 h 616"/>
                <a:gd name="T42" fmla="*/ 160 w 362"/>
                <a:gd name="T43" fmla="*/ 384 h 616"/>
                <a:gd name="T44" fmla="*/ 151 w 362"/>
                <a:gd name="T45" fmla="*/ 408 h 616"/>
                <a:gd name="T46" fmla="*/ 168 w 362"/>
                <a:gd name="T47" fmla="*/ 432 h 616"/>
                <a:gd name="T48" fmla="*/ 134 w 362"/>
                <a:gd name="T49" fmla="*/ 448 h 616"/>
                <a:gd name="T50" fmla="*/ 101 w 362"/>
                <a:gd name="T51" fmla="*/ 440 h 616"/>
                <a:gd name="T52" fmla="*/ 101 w 362"/>
                <a:gd name="T53" fmla="*/ 472 h 616"/>
                <a:gd name="T54" fmla="*/ 126 w 362"/>
                <a:gd name="T55" fmla="*/ 496 h 616"/>
                <a:gd name="T56" fmla="*/ 151 w 362"/>
                <a:gd name="T57" fmla="*/ 480 h 616"/>
                <a:gd name="T58" fmla="*/ 168 w 362"/>
                <a:gd name="T59" fmla="*/ 480 h 616"/>
                <a:gd name="T60" fmla="*/ 185 w 362"/>
                <a:gd name="T61" fmla="*/ 488 h 616"/>
                <a:gd name="T62" fmla="*/ 219 w 362"/>
                <a:gd name="T63" fmla="*/ 504 h 616"/>
                <a:gd name="T64" fmla="*/ 227 w 362"/>
                <a:gd name="T65" fmla="*/ 528 h 616"/>
                <a:gd name="T66" fmla="*/ 235 w 362"/>
                <a:gd name="T67" fmla="*/ 560 h 616"/>
                <a:gd name="T68" fmla="*/ 269 w 362"/>
                <a:gd name="T69" fmla="*/ 576 h 616"/>
                <a:gd name="T70" fmla="*/ 244 w 362"/>
                <a:gd name="T71" fmla="*/ 592 h 616"/>
                <a:gd name="T72" fmla="*/ 244 w 362"/>
                <a:gd name="T73" fmla="*/ 600 h 616"/>
                <a:gd name="T74" fmla="*/ 261 w 362"/>
                <a:gd name="T75" fmla="*/ 600 h 616"/>
                <a:gd name="T76" fmla="*/ 345 w 362"/>
                <a:gd name="T77" fmla="*/ 584 h 616"/>
                <a:gd name="T78" fmla="*/ 337 w 362"/>
                <a:gd name="T79" fmla="*/ 616 h 616"/>
                <a:gd name="T80" fmla="*/ 362 w 362"/>
                <a:gd name="T81" fmla="*/ 600 h 616"/>
                <a:gd name="T82" fmla="*/ 354 w 362"/>
                <a:gd name="T83" fmla="*/ 50 h 616"/>
                <a:gd name="T84" fmla="*/ 303 w 362"/>
                <a:gd name="T85" fmla="*/ 56 h 616"/>
                <a:gd name="T86" fmla="*/ 303 w 362"/>
                <a:gd name="T87" fmla="*/ 56 h 6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62" h="616">
                  <a:moveTo>
                    <a:pt x="303" y="56"/>
                  </a:moveTo>
                  <a:lnTo>
                    <a:pt x="219" y="40"/>
                  </a:lnTo>
                  <a:lnTo>
                    <a:pt x="185" y="24"/>
                  </a:lnTo>
                  <a:lnTo>
                    <a:pt x="151" y="0"/>
                  </a:lnTo>
                  <a:lnTo>
                    <a:pt x="126" y="8"/>
                  </a:lnTo>
                  <a:lnTo>
                    <a:pt x="75" y="0"/>
                  </a:lnTo>
                  <a:lnTo>
                    <a:pt x="50" y="16"/>
                  </a:lnTo>
                  <a:lnTo>
                    <a:pt x="16" y="24"/>
                  </a:lnTo>
                  <a:lnTo>
                    <a:pt x="16" y="48"/>
                  </a:lnTo>
                  <a:lnTo>
                    <a:pt x="8" y="64"/>
                  </a:lnTo>
                  <a:lnTo>
                    <a:pt x="33" y="88"/>
                  </a:lnTo>
                  <a:lnTo>
                    <a:pt x="16" y="136"/>
                  </a:lnTo>
                  <a:lnTo>
                    <a:pt x="25" y="160"/>
                  </a:lnTo>
                  <a:lnTo>
                    <a:pt x="0" y="192"/>
                  </a:lnTo>
                  <a:lnTo>
                    <a:pt x="0" y="200"/>
                  </a:lnTo>
                  <a:lnTo>
                    <a:pt x="67" y="184"/>
                  </a:lnTo>
                  <a:lnTo>
                    <a:pt x="42" y="216"/>
                  </a:lnTo>
                  <a:lnTo>
                    <a:pt x="33" y="256"/>
                  </a:lnTo>
                  <a:lnTo>
                    <a:pt x="50" y="328"/>
                  </a:lnTo>
                  <a:lnTo>
                    <a:pt x="118" y="312"/>
                  </a:lnTo>
                  <a:lnTo>
                    <a:pt x="118" y="352"/>
                  </a:lnTo>
                  <a:lnTo>
                    <a:pt x="160" y="384"/>
                  </a:lnTo>
                  <a:lnTo>
                    <a:pt x="151" y="408"/>
                  </a:lnTo>
                  <a:lnTo>
                    <a:pt x="168" y="432"/>
                  </a:lnTo>
                  <a:lnTo>
                    <a:pt x="134" y="448"/>
                  </a:lnTo>
                  <a:lnTo>
                    <a:pt x="101" y="440"/>
                  </a:lnTo>
                  <a:lnTo>
                    <a:pt x="101" y="472"/>
                  </a:lnTo>
                  <a:lnTo>
                    <a:pt x="126" y="496"/>
                  </a:lnTo>
                  <a:lnTo>
                    <a:pt x="151" y="480"/>
                  </a:lnTo>
                  <a:lnTo>
                    <a:pt x="168" y="480"/>
                  </a:lnTo>
                  <a:lnTo>
                    <a:pt x="185" y="488"/>
                  </a:lnTo>
                  <a:lnTo>
                    <a:pt x="219" y="504"/>
                  </a:lnTo>
                  <a:lnTo>
                    <a:pt x="227" y="528"/>
                  </a:lnTo>
                  <a:lnTo>
                    <a:pt x="235" y="560"/>
                  </a:lnTo>
                  <a:lnTo>
                    <a:pt x="269" y="576"/>
                  </a:lnTo>
                  <a:lnTo>
                    <a:pt x="244" y="592"/>
                  </a:lnTo>
                  <a:lnTo>
                    <a:pt x="244" y="600"/>
                  </a:lnTo>
                  <a:lnTo>
                    <a:pt x="261" y="600"/>
                  </a:lnTo>
                  <a:lnTo>
                    <a:pt x="345" y="584"/>
                  </a:lnTo>
                  <a:lnTo>
                    <a:pt x="337" y="616"/>
                  </a:lnTo>
                  <a:lnTo>
                    <a:pt x="362" y="600"/>
                  </a:lnTo>
                  <a:lnTo>
                    <a:pt x="354" y="50"/>
                  </a:lnTo>
                  <a:lnTo>
                    <a:pt x="303" y="56"/>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0" name="Freeform 79"/>
            <p:cNvSpPr>
              <a:spLocks/>
            </p:cNvSpPr>
            <p:nvPr>
              <p:custDataLst>
                <p:tags r:id="rId76"/>
              </p:custDataLst>
            </p:nvPr>
          </p:nvSpPr>
          <p:spPr bwMode="auto">
            <a:xfrm>
              <a:off x="5446" y="3496"/>
              <a:ext cx="308" cy="184"/>
            </a:xfrm>
            <a:custGeom>
              <a:avLst/>
              <a:gdLst>
                <a:gd name="T0" fmla="*/ 244 w 308"/>
                <a:gd name="T1" fmla="*/ 56 h 184"/>
                <a:gd name="T2" fmla="*/ 278 w 308"/>
                <a:gd name="T3" fmla="*/ 72 h 184"/>
                <a:gd name="T4" fmla="*/ 244 w 308"/>
                <a:gd name="T5" fmla="*/ 88 h 184"/>
                <a:gd name="T6" fmla="*/ 202 w 308"/>
                <a:gd name="T7" fmla="*/ 88 h 184"/>
                <a:gd name="T8" fmla="*/ 134 w 308"/>
                <a:gd name="T9" fmla="*/ 120 h 184"/>
                <a:gd name="T10" fmla="*/ 109 w 308"/>
                <a:gd name="T11" fmla="*/ 120 h 184"/>
                <a:gd name="T12" fmla="*/ 92 w 308"/>
                <a:gd name="T13" fmla="*/ 120 h 184"/>
                <a:gd name="T14" fmla="*/ 50 w 308"/>
                <a:gd name="T15" fmla="*/ 128 h 184"/>
                <a:gd name="T16" fmla="*/ 25 w 308"/>
                <a:gd name="T17" fmla="*/ 152 h 184"/>
                <a:gd name="T18" fmla="*/ 0 w 308"/>
                <a:gd name="T19" fmla="*/ 184 h 184"/>
                <a:gd name="T20" fmla="*/ 0 w 308"/>
                <a:gd name="T21" fmla="*/ 168 h 184"/>
                <a:gd name="T22" fmla="*/ 17 w 308"/>
                <a:gd name="T23" fmla="*/ 152 h 184"/>
                <a:gd name="T24" fmla="*/ 42 w 308"/>
                <a:gd name="T25" fmla="*/ 120 h 184"/>
                <a:gd name="T26" fmla="*/ 84 w 308"/>
                <a:gd name="T27" fmla="*/ 88 h 184"/>
                <a:gd name="T28" fmla="*/ 92 w 308"/>
                <a:gd name="T29" fmla="*/ 40 h 184"/>
                <a:gd name="T30" fmla="*/ 143 w 308"/>
                <a:gd name="T31" fmla="*/ 24 h 184"/>
                <a:gd name="T32" fmla="*/ 193 w 308"/>
                <a:gd name="T33" fmla="*/ 16 h 184"/>
                <a:gd name="T34" fmla="*/ 244 w 308"/>
                <a:gd name="T35" fmla="*/ 0 h 184"/>
                <a:gd name="T36" fmla="*/ 252 w 308"/>
                <a:gd name="T37" fmla="*/ 0 h 184"/>
                <a:gd name="T38" fmla="*/ 261 w 308"/>
                <a:gd name="T39" fmla="*/ 16 h 184"/>
                <a:gd name="T40" fmla="*/ 303 w 308"/>
                <a:gd name="T41" fmla="*/ 24 h 184"/>
                <a:gd name="T42" fmla="*/ 308 w 308"/>
                <a:gd name="T43" fmla="*/ 24 h 184"/>
                <a:gd name="T44" fmla="*/ 286 w 308"/>
                <a:gd name="T45" fmla="*/ 32 h 184"/>
                <a:gd name="T46" fmla="*/ 244 w 308"/>
                <a:gd name="T47" fmla="*/ 56 h 184"/>
                <a:gd name="T48" fmla="*/ 244 w 308"/>
                <a:gd name="T49" fmla="*/ 56 h 18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08" h="184">
                  <a:moveTo>
                    <a:pt x="244" y="56"/>
                  </a:moveTo>
                  <a:lnTo>
                    <a:pt x="278" y="72"/>
                  </a:lnTo>
                  <a:lnTo>
                    <a:pt x="244" y="88"/>
                  </a:lnTo>
                  <a:lnTo>
                    <a:pt x="202" y="88"/>
                  </a:lnTo>
                  <a:lnTo>
                    <a:pt x="134" y="120"/>
                  </a:lnTo>
                  <a:lnTo>
                    <a:pt x="109" y="120"/>
                  </a:lnTo>
                  <a:lnTo>
                    <a:pt x="92" y="120"/>
                  </a:lnTo>
                  <a:lnTo>
                    <a:pt x="50" y="128"/>
                  </a:lnTo>
                  <a:lnTo>
                    <a:pt x="25" y="152"/>
                  </a:lnTo>
                  <a:lnTo>
                    <a:pt x="0" y="184"/>
                  </a:lnTo>
                  <a:lnTo>
                    <a:pt x="0" y="168"/>
                  </a:lnTo>
                  <a:lnTo>
                    <a:pt x="17" y="152"/>
                  </a:lnTo>
                  <a:lnTo>
                    <a:pt x="42" y="120"/>
                  </a:lnTo>
                  <a:lnTo>
                    <a:pt x="84" y="88"/>
                  </a:lnTo>
                  <a:lnTo>
                    <a:pt x="92" y="40"/>
                  </a:lnTo>
                  <a:lnTo>
                    <a:pt x="143" y="24"/>
                  </a:lnTo>
                  <a:lnTo>
                    <a:pt x="193" y="16"/>
                  </a:lnTo>
                  <a:lnTo>
                    <a:pt x="244" y="0"/>
                  </a:lnTo>
                  <a:lnTo>
                    <a:pt x="252" y="0"/>
                  </a:lnTo>
                  <a:lnTo>
                    <a:pt x="261" y="16"/>
                  </a:lnTo>
                  <a:lnTo>
                    <a:pt x="303" y="24"/>
                  </a:lnTo>
                  <a:lnTo>
                    <a:pt x="308" y="24"/>
                  </a:lnTo>
                  <a:lnTo>
                    <a:pt x="286" y="32"/>
                  </a:lnTo>
                  <a:lnTo>
                    <a:pt x="244" y="56"/>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1" name="Freeform 80"/>
            <p:cNvSpPr>
              <a:spLocks/>
            </p:cNvSpPr>
            <p:nvPr>
              <p:custDataLst>
                <p:tags r:id="rId77"/>
              </p:custDataLst>
            </p:nvPr>
          </p:nvSpPr>
          <p:spPr bwMode="auto">
            <a:xfrm>
              <a:off x="4721" y="2704"/>
              <a:ext cx="893" cy="592"/>
            </a:xfrm>
            <a:custGeom>
              <a:avLst/>
              <a:gdLst>
                <a:gd name="T0" fmla="*/ 784 w 893"/>
                <a:gd name="T1" fmla="*/ 312 h 592"/>
                <a:gd name="T2" fmla="*/ 725 w 893"/>
                <a:gd name="T3" fmla="*/ 280 h 592"/>
                <a:gd name="T4" fmla="*/ 708 w 893"/>
                <a:gd name="T5" fmla="*/ 208 h 592"/>
                <a:gd name="T6" fmla="*/ 708 w 893"/>
                <a:gd name="T7" fmla="*/ 168 h 592"/>
                <a:gd name="T8" fmla="*/ 666 w 893"/>
                <a:gd name="T9" fmla="*/ 120 h 592"/>
                <a:gd name="T10" fmla="*/ 632 w 893"/>
                <a:gd name="T11" fmla="*/ 96 h 592"/>
                <a:gd name="T12" fmla="*/ 581 w 893"/>
                <a:gd name="T13" fmla="*/ 56 h 592"/>
                <a:gd name="T14" fmla="*/ 548 w 893"/>
                <a:gd name="T15" fmla="*/ 16 h 592"/>
                <a:gd name="T16" fmla="*/ 506 w 893"/>
                <a:gd name="T17" fmla="*/ 0 h 592"/>
                <a:gd name="T18" fmla="*/ 472 w 893"/>
                <a:gd name="T19" fmla="*/ 48 h 592"/>
                <a:gd name="T20" fmla="*/ 396 w 893"/>
                <a:gd name="T21" fmla="*/ 72 h 592"/>
                <a:gd name="T22" fmla="*/ 371 w 893"/>
                <a:gd name="T23" fmla="*/ 96 h 592"/>
                <a:gd name="T24" fmla="*/ 337 w 893"/>
                <a:gd name="T25" fmla="*/ 80 h 592"/>
                <a:gd name="T26" fmla="*/ 287 w 893"/>
                <a:gd name="T27" fmla="*/ 88 h 592"/>
                <a:gd name="T28" fmla="*/ 253 w 893"/>
                <a:gd name="T29" fmla="*/ 88 h 592"/>
                <a:gd name="T30" fmla="*/ 219 w 893"/>
                <a:gd name="T31" fmla="*/ 80 h 592"/>
                <a:gd name="T32" fmla="*/ 185 w 893"/>
                <a:gd name="T33" fmla="*/ 104 h 592"/>
                <a:gd name="T34" fmla="*/ 160 w 893"/>
                <a:gd name="T35" fmla="*/ 128 h 592"/>
                <a:gd name="T36" fmla="*/ 135 w 893"/>
                <a:gd name="T37" fmla="*/ 168 h 592"/>
                <a:gd name="T38" fmla="*/ 110 w 893"/>
                <a:gd name="T39" fmla="*/ 224 h 592"/>
                <a:gd name="T40" fmla="*/ 84 w 893"/>
                <a:gd name="T41" fmla="*/ 256 h 592"/>
                <a:gd name="T42" fmla="*/ 76 w 893"/>
                <a:gd name="T43" fmla="*/ 280 h 592"/>
                <a:gd name="T44" fmla="*/ 67 w 893"/>
                <a:gd name="T45" fmla="*/ 320 h 592"/>
                <a:gd name="T46" fmla="*/ 51 w 893"/>
                <a:gd name="T47" fmla="*/ 328 h 592"/>
                <a:gd name="T48" fmla="*/ 25 w 893"/>
                <a:gd name="T49" fmla="*/ 344 h 592"/>
                <a:gd name="T50" fmla="*/ 0 w 893"/>
                <a:gd name="T51" fmla="*/ 352 h 592"/>
                <a:gd name="T52" fmla="*/ 17 w 893"/>
                <a:gd name="T53" fmla="*/ 368 h 592"/>
                <a:gd name="T54" fmla="*/ 51 w 893"/>
                <a:gd name="T55" fmla="*/ 392 h 592"/>
                <a:gd name="T56" fmla="*/ 59 w 893"/>
                <a:gd name="T57" fmla="*/ 416 h 592"/>
                <a:gd name="T58" fmla="*/ 93 w 893"/>
                <a:gd name="T59" fmla="*/ 440 h 592"/>
                <a:gd name="T60" fmla="*/ 135 w 893"/>
                <a:gd name="T61" fmla="*/ 456 h 592"/>
                <a:gd name="T62" fmla="*/ 118 w 893"/>
                <a:gd name="T63" fmla="*/ 488 h 592"/>
                <a:gd name="T64" fmla="*/ 160 w 893"/>
                <a:gd name="T65" fmla="*/ 496 h 592"/>
                <a:gd name="T66" fmla="*/ 202 w 893"/>
                <a:gd name="T67" fmla="*/ 512 h 592"/>
                <a:gd name="T68" fmla="*/ 244 w 893"/>
                <a:gd name="T69" fmla="*/ 488 h 592"/>
                <a:gd name="T70" fmla="*/ 244 w 893"/>
                <a:gd name="T71" fmla="*/ 528 h 592"/>
                <a:gd name="T72" fmla="*/ 261 w 893"/>
                <a:gd name="T73" fmla="*/ 536 h 592"/>
                <a:gd name="T74" fmla="*/ 253 w 893"/>
                <a:gd name="T75" fmla="*/ 544 h 592"/>
                <a:gd name="T76" fmla="*/ 287 w 893"/>
                <a:gd name="T77" fmla="*/ 560 h 592"/>
                <a:gd name="T78" fmla="*/ 287 w 893"/>
                <a:gd name="T79" fmla="*/ 584 h 592"/>
                <a:gd name="T80" fmla="*/ 320 w 893"/>
                <a:gd name="T81" fmla="*/ 592 h 592"/>
                <a:gd name="T82" fmla="*/ 413 w 893"/>
                <a:gd name="T83" fmla="*/ 592 h 592"/>
                <a:gd name="T84" fmla="*/ 438 w 893"/>
                <a:gd name="T85" fmla="*/ 568 h 592"/>
                <a:gd name="T86" fmla="*/ 463 w 893"/>
                <a:gd name="T87" fmla="*/ 568 h 592"/>
                <a:gd name="T88" fmla="*/ 514 w 893"/>
                <a:gd name="T89" fmla="*/ 568 h 592"/>
                <a:gd name="T90" fmla="*/ 565 w 893"/>
                <a:gd name="T91" fmla="*/ 560 h 592"/>
                <a:gd name="T92" fmla="*/ 607 w 893"/>
                <a:gd name="T93" fmla="*/ 504 h 592"/>
                <a:gd name="T94" fmla="*/ 657 w 893"/>
                <a:gd name="T95" fmla="*/ 488 h 592"/>
                <a:gd name="T96" fmla="*/ 699 w 893"/>
                <a:gd name="T97" fmla="*/ 480 h 592"/>
                <a:gd name="T98" fmla="*/ 725 w 893"/>
                <a:gd name="T99" fmla="*/ 488 h 592"/>
                <a:gd name="T100" fmla="*/ 767 w 893"/>
                <a:gd name="T101" fmla="*/ 480 h 592"/>
                <a:gd name="T102" fmla="*/ 775 w 893"/>
                <a:gd name="T103" fmla="*/ 496 h 592"/>
                <a:gd name="T104" fmla="*/ 826 w 893"/>
                <a:gd name="T105" fmla="*/ 496 h 592"/>
                <a:gd name="T106" fmla="*/ 834 w 893"/>
                <a:gd name="T107" fmla="*/ 416 h 592"/>
                <a:gd name="T108" fmla="*/ 851 w 893"/>
                <a:gd name="T109" fmla="*/ 376 h 592"/>
                <a:gd name="T110" fmla="*/ 885 w 893"/>
                <a:gd name="T111" fmla="*/ 336 h 592"/>
                <a:gd name="T112" fmla="*/ 893 w 893"/>
                <a:gd name="T113" fmla="*/ 312 h 592"/>
                <a:gd name="T114" fmla="*/ 876 w 893"/>
                <a:gd name="T115" fmla="*/ 288 h 592"/>
                <a:gd name="T116" fmla="*/ 834 w 893"/>
                <a:gd name="T117" fmla="*/ 288 h 592"/>
                <a:gd name="T118" fmla="*/ 784 w 893"/>
                <a:gd name="T119" fmla="*/ 312 h 59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93" h="592">
                  <a:moveTo>
                    <a:pt x="784" y="312"/>
                  </a:moveTo>
                  <a:lnTo>
                    <a:pt x="725" y="280"/>
                  </a:lnTo>
                  <a:lnTo>
                    <a:pt x="708" y="208"/>
                  </a:lnTo>
                  <a:lnTo>
                    <a:pt x="708" y="168"/>
                  </a:lnTo>
                  <a:lnTo>
                    <a:pt x="666" y="120"/>
                  </a:lnTo>
                  <a:lnTo>
                    <a:pt x="632" y="96"/>
                  </a:lnTo>
                  <a:lnTo>
                    <a:pt x="581" y="56"/>
                  </a:lnTo>
                  <a:lnTo>
                    <a:pt x="548" y="16"/>
                  </a:lnTo>
                  <a:lnTo>
                    <a:pt x="506" y="0"/>
                  </a:lnTo>
                  <a:lnTo>
                    <a:pt x="472" y="48"/>
                  </a:lnTo>
                  <a:lnTo>
                    <a:pt x="396" y="72"/>
                  </a:lnTo>
                  <a:lnTo>
                    <a:pt x="371" y="96"/>
                  </a:lnTo>
                  <a:lnTo>
                    <a:pt x="337" y="80"/>
                  </a:lnTo>
                  <a:lnTo>
                    <a:pt x="287" y="88"/>
                  </a:lnTo>
                  <a:lnTo>
                    <a:pt x="253" y="88"/>
                  </a:lnTo>
                  <a:lnTo>
                    <a:pt x="219" y="80"/>
                  </a:lnTo>
                  <a:lnTo>
                    <a:pt x="185" y="104"/>
                  </a:lnTo>
                  <a:lnTo>
                    <a:pt x="160" y="128"/>
                  </a:lnTo>
                  <a:lnTo>
                    <a:pt x="135" y="168"/>
                  </a:lnTo>
                  <a:lnTo>
                    <a:pt x="110" y="224"/>
                  </a:lnTo>
                  <a:lnTo>
                    <a:pt x="84" y="256"/>
                  </a:lnTo>
                  <a:lnTo>
                    <a:pt x="76" y="280"/>
                  </a:lnTo>
                  <a:lnTo>
                    <a:pt x="67" y="320"/>
                  </a:lnTo>
                  <a:lnTo>
                    <a:pt x="51" y="328"/>
                  </a:lnTo>
                  <a:lnTo>
                    <a:pt x="25" y="344"/>
                  </a:lnTo>
                  <a:lnTo>
                    <a:pt x="0" y="352"/>
                  </a:lnTo>
                  <a:lnTo>
                    <a:pt x="17" y="368"/>
                  </a:lnTo>
                  <a:lnTo>
                    <a:pt x="51" y="392"/>
                  </a:lnTo>
                  <a:lnTo>
                    <a:pt x="59" y="416"/>
                  </a:lnTo>
                  <a:lnTo>
                    <a:pt x="93" y="440"/>
                  </a:lnTo>
                  <a:lnTo>
                    <a:pt x="135" y="456"/>
                  </a:lnTo>
                  <a:lnTo>
                    <a:pt x="118" y="488"/>
                  </a:lnTo>
                  <a:lnTo>
                    <a:pt x="160" y="496"/>
                  </a:lnTo>
                  <a:lnTo>
                    <a:pt x="202" y="512"/>
                  </a:lnTo>
                  <a:lnTo>
                    <a:pt x="244" y="488"/>
                  </a:lnTo>
                  <a:lnTo>
                    <a:pt x="244" y="528"/>
                  </a:lnTo>
                  <a:lnTo>
                    <a:pt x="261" y="536"/>
                  </a:lnTo>
                  <a:lnTo>
                    <a:pt x="253" y="544"/>
                  </a:lnTo>
                  <a:lnTo>
                    <a:pt x="287" y="560"/>
                  </a:lnTo>
                  <a:lnTo>
                    <a:pt x="287" y="584"/>
                  </a:lnTo>
                  <a:lnTo>
                    <a:pt x="320" y="592"/>
                  </a:lnTo>
                  <a:lnTo>
                    <a:pt x="413" y="592"/>
                  </a:lnTo>
                  <a:lnTo>
                    <a:pt x="438" y="568"/>
                  </a:lnTo>
                  <a:lnTo>
                    <a:pt x="463" y="568"/>
                  </a:lnTo>
                  <a:lnTo>
                    <a:pt x="514" y="568"/>
                  </a:lnTo>
                  <a:lnTo>
                    <a:pt x="565" y="560"/>
                  </a:lnTo>
                  <a:lnTo>
                    <a:pt x="607" y="504"/>
                  </a:lnTo>
                  <a:lnTo>
                    <a:pt x="657" y="488"/>
                  </a:lnTo>
                  <a:lnTo>
                    <a:pt x="699" y="480"/>
                  </a:lnTo>
                  <a:lnTo>
                    <a:pt x="725" y="488"/>
                  </a:lnTo>
                  <a:lnTo>
                    <a:pt x="767" y="480"/>
                  </a:lnTo>
                  <a:lnTo>
                    <a:pt x="775" y="496"/>
                  </a:lnTo>
                  <a:lnTo>
                    <a:pt x="826" y="496"/>
                  </a:lnTo>
                  <a:lnTo>
                    <a:pt x="834" y="416"/>
                  </a:lnTo>
                  <a:lnTo>
                    <a:pt x="851" y="376"/>
                  </a:lnTo>
                  <a:lnTo>
                    <a:pt x="885" y="336"/>
                  </a:lnTo>
                  <a:lnTo>
                    <a:pt x="893" y="312"/>
                  </a:lnTo>
                  <a:lnTo>
                    <a:pt x="876" y="288"/>
                  </a:lnTo>
                  <a:lnTo>
                    <a:pt x="834" y="288"/>
                  </a:lnTo>
                  <a:lnTo>
                    <a:pt x="784" y="31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2" name="Freeform 81"/>
            <p:cNvSpPr>
              <a:spLocks/>
            </p:cNvSpPr>
            <p:nvPr>
              <p:custDataLst>
                <p:tags r:id="rId78"/>
              </p:custDataLst>
            </p:nvPr>
          </p:nvSpPr>
          <p:spPr bwMode="auto">
            <a:xfrm>
              <a:off x="5235" y="2664"/>
              <a:ext cx="354" cy="336"/>
            </a:xfrm>
            <a:custGeom>
              <a:avLst/>
              <a:gdLst>
                <a:gd name="T0" fmla="*/ 270 w 354"/>
                <a:gd name="T1" fmla="*/ 248 h 336"/>
                <a:gd name="T2" fmla="*/ 253 w 354"/>
                <a:gd name="T3" fmla="*/ 224 h 336"/>
                <a:gd name="T4" fmla="*/ 278 w 354"/>
                <a:gd name="T5" fmla="*/ 200 h 336"/>
                <a:gd name="T6" fmla="*/ 354 w 354"/>
                <a:gd name="T7" fmla="*/ 184 h 336"/>
                <a:gd name="T8" fmla="*/ 337 w 354"/>
                <a:gd name="T9" fmla="*/ 152 h 336"/>
                <a:gd name="T10" fmla="*/ 303 w 354"/>
                <a:gd name="T11" fmla="*/ 120 h 336"/>
                <a:gd name="T12" fmla="*/ 287 w 354"/>
                <a:gd name="T13" fmla="*/ 88 h 336"/>
                <a:gd name="T14" fmla="*/ 236 w 354"/>
                <a:gd name="T15" fmla="*/ 72 h 336"/>
                <a:gd name="T16" fmla="*/ 211 w 354"/>
                <a:gd name="T17" fmla="*/ 24 h 336"/>
                <a:gd name="T18" fmla="*/ 152 w 354"/>
                <a:gd name="T19" fmla="*/ 24 h 336"/>
                <a:gd name="T20" fmla="*/ 84 w 354"/>
                <a:gd name="T21" fmla="*/ 0 h 336"/>
                <a:gd name="T22" fmla="*/ 59 w 354"/>
                <a:gd name="T23" fmla="*/ 24 h 336"/>
                <a:gd name="T24" fmla="*/ 8 w 354"/>
                <a:gd name="T25" fmla="*/ 32 h 336"/>
                <a:gd name="T26" fmla="*/ 0 w 354"/>
                <a:gd name="T27" fmla="*/ 40 h 336"/>
                <a:gd name="T28" fmla="*/ 34 w 354"/>
                <a:gd name="T29" fmla="*/ 56 h 336"/>
                <a:gd name="T30" fmla="*/ 67 w 354"/>
                <a:gd name="T31" fmla="*/ 96 h 336"/>
                <a:gd name="T32" fmla="*/ 118 w 354"/>
                <a:gd name="T33" fmla="*/ 136 h 336"/>
                <a:gd name="T34" fmla="*/ 152 w 354"/>
                <a:gd name="T35" fmla="*/ 160 h 336"/>
                <a:gd name="T36" fmla="*/ 194 w 354"/>
                <a:gd name="T37" fmla="*/ 208 h 336"/>
                <a:gd name="T38" fmla="*/ 194 w 354"/>
                <a:gd name="T39" fmla="*/ 248 h 336"/>
                <a:gd name="T40" fmla="*/ 211 w 354"/>
                <a:gd name="T41" fmla="*/ 320 h 336"/>
                <a:gd name="T42" fmla="*/ 236 w 354"/>
                <a:gd name="T43" fmla="*/ 336 h 336"/>
                <a:gd name="T44" fmla="*/ 253 w 354"/>
                <a:gd name="T45" fmla="*/ 312 h 336"/>
                <a:gd name="T46" fmla="*/ 270 w 354"/>
                <a:gd name="T47" fmla="*/ 248 h 3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54" h="336">
                  <a:moveTo>
                    <a:pt x="270" y="248"/>
                  </a:moveTo>
                  <a:lnTo>
                    <a:pt x="253" y="224"/>
                  </a:lnTo>
                  <a:lnTo>
                    <a:pt x="278" y="200"/>
                  </a:lnTo>
                  <a:lnTo>
                    <a:pt x="354" y="184"/>
                  </a:lnTo>
                  <a:lnTo>
                    <a:pt x="337" y="152"/>
                  </a:lnTo>
                  <a:lnTo>
                    <a:pt x="303" y="120"/>
                  </a:lnTo>
                  <a:lnTo>
                    <a:pt x="287" y="88"/>
                  </a:lnTo>
                  <a:lnTo>
                    <a:pt x="236" y="72"/>
                  </a:lnTo>
                  <a:lnTo>
                    <a:pt x="211" y="24"/>
                  </a:lnTo>
                  <a:lnTo>
                    <a:pt x="152" y="24"/>
                  </a:lnTo>
                  <a:lnTo>
                    <a:pt x="84" y="0"/>
                  </a:lnTo>
                  <a:lnTo>
                    <a:pt x="59" y="24"/>
                  </a:lnTo>
                  <a:lnTo>
                    <a:pt x="8" y="32"/>
                  </a:lnTo>
                  <a:lnTo>
                    <a:pt x="0" y="40"/>
                  </a:lnTo>
                  <a:lnTo>
                    <a:pt x="34" y="56"/>
                  </a:lnTo>
                  <a:lnTo>
                    <a:pt x="67" y="96"/>
                  </a:lnTo>
                  <a:lnTo>
                    <a:pt x="118" y="136"/>
                  </a:lnTo>
                  <a:lnTo>
                    <a:pt x="152" y="160"/>
                  </a:lnTo>
                  <a:lnTo>
                    <a:pt x="194" y="208"/>
                  </a:lnTo>
                  <a:lnTo>
                    <a:pt x="194" y="248"/>
                  </a:lnTo>
                  <a:lnTo>
                    <a:pt x="211" y="320"/>
                  </a:lnTo>
                  <a:lnTo>
                    <a:pt x="236" y="336"/>
                  </a:lnTo>
                  <a:lnTo>
                    <a:pt x="253" y="312"/>
                  </a:lnTo>
                  <a:lnTo>
                    <a:pt x="270" y="248"/>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3" name="Freeform 82"/>
            <p:cNvSpPr>
              <a:spLocks/>
            </p:cNvSpPr>
            <p:nvPr>
              <p:custDataLst>
                <p:tags r:id="rId79"/>
              </p:custDataLst>
            </p:nvPr>
          </p:nvSpPr>
          <p:spPr bwMode="auto">
            <a:xfrm>
              <a:off x="4721" y="2704"/>
              <a:ext cx="893" cy="592"/>
            </a:xfrm>
            <a:custGeom>
              <a:avLst/>
              <a:gdLst>
                <a:gd name="T0" fmla="*/ 784 w 893"/>
                <a:gd name="T1" fmla="*/ 312 h 592"/>
                <a:gd name="T2" fmla="*/ 725 w 893"/>
                <a:gd name="T3" fmla="*/ 280 h 592"/>
                <a:gd name="T4" fmla="*/ 708 w 893"/>
                <a:gd name="T5" fmla="*/ 208 h 592"/>
                <a:gd name="T6" fmla="*/ 708 w 893"/>
                <a:gd name="T7" fmla="*/ 168 h 592"/>
                <a:gd name="T8" fmla="*/ 666 w 893"/>
                <a:gd name="T9" fmla="*/ 120 h 592"/>
                <a:gd name="T10" fmla="*/ 632 w 893"/>
                <a:gd name="T11" fmla="*/ 96 h 592"/>
                <a:gd name="T12" fmla="*/ 581 w 893"/>
                <a:gd name="T13" fmla="*/ 56 h 592"/>
                <a:gd name="T14" fmla="*/ 548 w 893"/>
                <a:gd name="T15" fmla="*/ 16 h 592"/>
                <a:gd name="T16" fmla="*/ 506 w 893"/>
                <a:gd name="T17" fmla="*/ 0 h 592"/>
                <a:gd name="T18" fmla="*/ 472 w 893"/>
                <a:gd name="T19" fmla="*/ 48 h 592"/>
                <a:gd name="T20" fmla="*/ 396 w 893"/>
                <a:gd name="T21" fmla="*/ 72 h 592"/>
                <a:gd name="T22" fmla="*/ 371 w 893"/>
                <a:gd name="T23" fmla="*/ 96 h 592"/>
                <a:gd name="T24" fmla="*/ 337 w 893"/>
                <a:gd name="T25" fmla="*/ 80 h 592"/>
                <a:gd name="T26" fmla="*/ 287 w 893"/>
                <a:gd name="T27" fmla="*/ 88 h 592"/>
                <a:gd name="T28" fmla="*/ 253 w 893"/>
                <a:gd name="T29" fmla="*/ 88 h 592"/>
                <a:gd name="T30" fmla="*/ 219 w 893"/>
                <a:gd name="T31" fmla="*/ 80 h 592"/>
                <a:gd name="T32" fmla="*/ 185 w 893"/>
                <a:gd name="T33" fmla="*/ 104 h 592"/>
                <a:gd name="T34" fmla="*/ 185 w 893"/>
                <a:gd name="T35" fmla="*/ 104 h 592"/>
                <a:gd name="T36" fmla="*/ 160 w 893"/>
                <a:gd name="T37" fmla="*/ 128 h 592"/>
                <a:gd name="T38" fmla="*/ 135 w 893"/>
                <a:gd name="T39" fmla="*/ 168 h 592"/>
                <a:gd name="T40" fmla="*/ 110 w 893"/>
                <a:gd name="T41" fmla="*/ 224 h 592"/>
                <a:gd name="T42" fmla="*/ 84 w 893"/>
                <a:gd name="T43" fmla="*/ 256 h 592"/>
                <a:gd name="T44" fmla="*/ 76 w 893"/>
                <a:gd name="T45" fmla="*/ 280 h 592"/>
                <a:gd name="T46" fmla="*/ 67 w 893"/>
                <a:gd name="T47" fmla="*/ 320 h 592"/>
                <a:gd name="T48" fmla="*/ 51 w 893"/>
                <a:gd name="T49" fmla="*/ 328 h 592"/>
                <a:gd name="T50" fmla="*/ 25 w 893"/>
                <a:gd name="T51" fmla="*/ 344 h 592"/>
                <a:gd name="T52" fmla="*/ 0 w 893"/>
                <a:gd name="T53" fmla="*/ 352 h 592"/>
                <a:gd name="T54" fmla="*/ 17 w 893"/>
                <a:gd name="T55" fmla="*/ 368 h 592"/>
                <a:gd name="T56" fmla="*/ 51 w 893"/>
                <a:gd name="T57" fmla="*/ 392 h 592"/>
                <a:gd name="T58" fmla="*/ 59 w 893"/>
                <a:gd name="T59" fmla="*/ 416 h 592"/>
                <a:gd name="T60" fmla="*/ 93 w 893"/>
                <a:gd name="T61" fmla="*/ 440 h 592"/>
                <a:gd name="T62" fmla="*/ 135 w 893"/>
                <a:gd name="T63" fmla="*/ 456 h 592"/>
                <a:gd name="T64" fmla="*/ 118 w 893"/>
                <a:gd name="T65" fmla="*/ 488 h 592"/>
                <a:gd name="T66" fmla="*/ 160 w 893"/>
                <a:gd name="T67" fmla="*/ 496 h 592"/>
                <a:gd name="T68" fmla="*/ 202 w 893"/>
                <a:gd name="T69" fmla="*/ 512 h 592"/>
                <a:gd name="T70" fmla="*/ 244 w 893"/>
                <a:gd name="T71" fmla="*/ 488 h 592"/>
                <a:gd name="T72" fmla="*/ 244 w 893"/>
                <a:gd name="T73" fmla="*/ 528 h 592"/>
                <a:gd name="T74" fmla="*/ 261 w 893"/>
                <a:gd name="T75" fmla="*/ 536 h 592"/>
                <a:gd name="T76" fmla="*/ 253 w 893"/>
                <a:gd name="T77" fmla="*/ 544 h 592"/>
                <a:gd name="T78" fmla="*/ 287 w 893"/>
                <a:gd name="T79" fmla="*/ 560 h 592"/>
                <a:gd name="T80" fmla="*/ 287 w 893"/>
                <a:gd name="T81" fmla="*/ 584 h 592"/>
                <a:gd name="T82" fmla="*/ 320 w 893"/>
                <a:gd name="T83" fmla="*/ 592 h 592"/>
                <a:gd name="T84" fmla="*/ 413 w 893"/>
                <a:gd name="T85" fmla="*/ 592 h 592"/>
                <a:gd name="T86" fmla="*/ 438 w 893"/>
                <a:gd name="T87" fmla="*/ 568 h 592"/>
                <a:gd name="T88" fmla="*/ 463 w 893"/>
                <a:gd name="T89" fmla="*/ 568 h 592"/>
                <a:gd name="T90" fmla="*/ 514 w 893"/>
                <a:gd name="T91" fmla="*/ 568 h 592"/>
                <a:gd name="T92" fmla="*/ 565 w 893"/>
                <a:gd name="T93" fmla="*/ 560 h 592"/>
                <a:gd name="T94" fmla="*/ 607 w 893"/>
                <a:gd name="T95" fmla="*/ 504 h 592"/>
                <a:gd name="T96" fmla="*/ 657 w 893"/>
                <a:gd name="T97" fmla="*/ 488 h 592"/>
                <a:gd name="T98" fmla="*/ 699 w 893"/>
                <a:gd name="T99" fmla="*/ 480 h 592"/>
                <a:gd name="T100" fmla="*/ 725 w 893"/>
                <a:gd name="T101" fmla="*/ 488 h 592"/>
                <a:gd name="T102" fmla="*/ 767 w 893"/>
                <a:gd name="T103" fmla="*/ 480 h 592"/>
                <a:gd name="T104" fmla="*/ 775 w 893"/>
                <a:gd name="T105" fmla="*/ 496 h 592"/>
                <a:gd name="T106" fmla="*/ 826 w 893"/>
                <a:gd name="T107" fmla="*/ 496 h 592"/>
                <a:gd name="T108" fmla="*/ 834 w 893"/>
                <a:gd name="T109" fmla="*/ 416 h 592"/>
                <a:gd name="T110" fmla="*/ 851 w 893"/>
                <a:gd name="T111" fmla="*/ 376 h 592"/>
                <a:gd name="T112" fmla="*/ 885 w 893"/>
                <a:gd name="T113" fmla="*/ 336 h 592"/>
                <a:gd name="T114" fmla="*/ 893 w 893"/>
                <a:gd name="T115" fmla="*/ 312 h 592"/>
                <a:gd name="T116" fmla="*/ 876 w 893"/>
                <a:gd name="T117" fmla="*/ 288 h 592"/>
                <a:gd name="T118" fmla="*/ 834 w 893"/>
                <a:gd name="T119" fmla="*/ 288 h 592"/>
                <a:gd name="T120" fmla="*/ 784 w 893"/>
                <a:gd name="T121" fmla="*/ 312 h 59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93" h="592">
                  <a:moveTo>
                    <a:pt x="784" y="312"/>
                  </a:moveTo>
                  <a:lnTo>
                    <a:pt x="725" y="280"/>
                  </a:lnTo>
                  <a:lnTo>
                    <a:pt x="708" y="208"/>
                  </a:lnTo>
                  <a:lnTo>
                    <a:pt x="708" y="168"/>
                  </a:lnTo>
                  <a:lnTo>
                    <a:pt x="666" y="120"/>
                  </a:lnTo>
                  <a:lnTo>
                    <a:pt x="632" y="96"/>
                  </a:lnTo>
                  <a:lnTo>
                    <a:pt x="581" y="56"/>
                  </a:lnTo>
                  <a:lnTo>
                    <a:pt x="548" y="16"/>
                  </a:lnTo>
                  <a:lnTo>
                    <a:pt x="506" y="0"/>
                  </a:lnTo>
                  <a:lnTo>
                    <a:pt x="472" y="48"/>
                  </a:lnTo>
                  <a:lnTo>
                    <a:pt x="396" y="72"/>
                  </a:lnTo>
                  <a:lnTo>
                    <a:pt x="371" y="96"/>
                  </a:lnTo>
                  <a:lnTo>
                    <a:pt x="337" y="80"/>
                  </a:lnTo>
                  <a:lnTo>
                    <a:pt x="287" y="88"/>
                  </a:lnTo>
                  <a:lnTo>
                    <a:pt x="253" y="88"/>
                  </a:lnTo>
                  <a:lnTo>
                    <a:pt x="219" y="80"/>
                  </a:lnTo>
                  <a:lnTo>
                    <a:pt x="185" y="104"/>
                  </a:lnTo>
                  <a:lnTo>
                    <a:pt x="160" y="128"/>
                  </a:lnTo>
                  <a:lnTo>
                    <a:pt x="135" y="168"/>
                  </a:lnTo>
                  <a:lnTo>
                    <a:pt x="110" y="224"/>
                  </a:lnTo>
                  <a:lnTo>
                    <a:pt x="84" y="256"/>
                  </a:lnTo>
                  <a:lnTo>
                    <a:pt x="76" y="280"/>
                  </a:lnTo>
                  <a:lnTo>
                    <a:pt x="67" y="320"/>
                  </a:lnTo>
                  <a:lnTo>
                    <a:pt x="51" y="328"/>
                  </a:lnTo>
                  <a:lnTo>
                    <a:pt x="25" y="344"/>
                  </a:lnTo>
                  <a:lnTo>
                    <a:pt x="0" y="352"/>
                  </a:lnTo>
                  <a:lnTo>
                    <a:pt x="17" y="368"/>
                  </a:lnTo>
                  <a:lnTo>
                    <a:pt x="51" y="392"/>
                  </a:lnTo>
                  <a:lnTo>
                    <a:pt x="59" y="416"/>
                  </a:lnTo>
                  <a:lnTo>
                    <a:pt x="93" y="440"/>
                  </a:lnTo>
                  <a:lnTo>
                    <a:pt x="135" y="456"/>
                  </a:lnTo>
                  <a:lnTo>
                    <a:pt x="118" y="488"/>
                  </a:lnTo>
                  <a:lnTo>
                    <a:pt x="160" y="496"/>
                  </a:lnTo>
                  <a:lnTo>
                    <a:pt x="202" y="512"/>
                  </a:lnTo>
                  <a:lnTo>
                    <a:pt x="244" y="488"/>
                  </a:lnTo>
                  <a:lnTo>
                    <a:pt x="244" y="528"/>
                  </a:lnTo>
                  <a:lnTo>
                    <a:pt x="261" y="536"/>
                  </a:lnTo>
                  <a:lnTo>
                    <a:pt x="253" y="544"/>
                  </a:lnTo>
                  <a:lnTo>
                    <a:pt x="287" y="560"/>
                  </a:lnTo>
                  <a:lnTo>
                    <a:pt x="287" y="584"/>
                  </a:lnTo>
                  <a:lnTo>
                    <a:pt x="320" y="592"/>
                  </a:lnTo>
                  <a:lnTo>
                    <a:pt x="413" y="592"/>
                  </a:lnTo>
                  <a:lnTo>
                    <a:pt x="438" y="568"/>
                  </a:lnTo>
                  <a:lnTo>
                    <a:pt x="463" y="568"/>
                  </a:lnTo>
                  <a:lnTo>
                    <a:pt x="514" y="568"/>
                  </a:lnTo>
                  <a:lnTo>
                    <a:pt x="565" y="560"/>
                  </a:lnTo>
                  <a:lnTo>
                    <a:pt x="607" y="504"/>
                  </a:lnTo>
                  <a:lnTo>
                    <a:pt x="657" y="488"/>
                  </a:lnTo>
                  <a:lnTo>
                    <a:pt x="699" y="480"/>
                  </a:lnTo>
                  <a:lnTo>
                    <a:pt x="725" y="488"/>
                  </a:lnTo>
                  <a:lnTo>
                    <a:pt x="767" y="480"/>
                  </a:lnTo>
                  <a:lnTo>
                    <a:pt x="775" y="496"/>
                  </a:lnTo>
                  <a:lnTo>
                    <a:pt x="826" y="496"/>
                  </a:lnTo>
                  <a:lnTo>
                    <a:pt x="834" y="416"/>
                  </a:lnTo>
                  <a:lnTo>
                    <a:pt x="851" y="376"/>
                  </a:lnTo>
                  <a:lnTo>
                    <a:pt x="885" y="336"/>
                  </a:lnTo>
                  <a:lnTo>
                    <a:pt x="893" y="312"/>
                  </a:lnTo>
                  <a:lnTo>
                    <a:pt x="876" y="288"/>
                  </a:lnTo>
                  <a:lnTo>
                    <a:pt x="834" y="288"/>
                  </a:lnTo>
                  <a:lnTo>
                    <a:pt x="784" y="312"/>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5" name="Freeform 84"/>
            <p:cNvSpPr>
              <a:spLocks/>
            </p:cNvSpPr>
            <p:nvPr>
              <p:custDataLst>
                <p:tags r:id="rId80"/>
              </p:custDataLst>
            </p:nvPr>
          </p:nvSpPr>
          <p:spPr bwMode="auto">
            <a:xfrm>
              <a:off x="4089" y="2040"/>
              <a:ext cx="860" cy="656"/>
            </a:xfrm>
            <a:custGeom>
              <a:avLst/>
              <a:gdLst>
                <a:gd name="T0" fmla="*/ 775 w 860"/>
                <a:gd name="T1" fmla="*/ 560 h 656"/>
                <a:gd name="T2" fmla="*/ 826 w 860"/>
                <a:gd name="T3" fmla="*/ 464 h 656"/>
                <a:gd name="T4" fmla="*/ 860 w 860"/>
                <a:gd name="T5" fmla="*/ 456 h 656"/>
                <a:gd name="T6" fmla="*/ 851 w 860"/>
                <a:gd name="T7" fmla="*/ 416 h 656"/>
                <a:gd name="T8" fmla="*/ 817 w 860"/>
                <a:gd name="T9" fmla="*/ 352 h 656"/>
                <a:gd name="T10" fmla="*/ 792 w 860"/>
                <a:gd name="T11" fmla="*/ 320 h 656"/>
                <a:gd name="T12" fmla="*/ 784 w 860"/>
                <a:gd name="T13" fmla="*/ 264 h 656"/>
                <a:gd name="T14" fmla="*/ 750 w 860"/>
                <a:gd name="T15" fmla="*/ 256 h 656"/>
                <a:gd name="T16" fmla="*/ 750 w 860"/>
                <a:gd name="T17" fmla="*/ 232 h 656"/>
                <a:gd name="T18" fmla="*/ 792 w 860"/>
                <a:gd name="T19" fmla="*/ 184 h 656"/>
                <a:gd name="T20" fmla="*/ 750 w 860"/>
                <a:gd name="T21" fmla="*/ 104 h 656"/>
                <a:gd name="T22" fmla="*/ 725 w 860"/>
                <a:gd name="T23" fmla="*/ 40 h 656"/>
                <a:gd name="T24" fmla="*/ 666 w 860"/>
                <a:gd name="T25" fmla="*/ 16 h 656"/>
                <a:gd name="T26" fmla="*/ 531 w 860"/>
                <a:gd name="T27" fmla="*/ 40 h 656"/>
                <a:gd name="T28" fmla="*/ 447 w 860"/>
                <a:gd name="T29" fmla="*/ 24 h 656"/>
                <a:gd name="T30" fmla="*/ 405 w 860"/>
                <a:gd name="T31" fmla="*/ 48 h 656"/>
                <a:gd name="T32" fmla="*/ 362 w 860"/>
                <a:gd name="T33" fmla="*/ 40 h 656"/>
                <a:gd name="T34" fmla="*/ 329 w 860"/>
                <a:gd name="T35" fmla="*/ 24 h 656"/>
                <a:gd name="T36" fmla="*/ 295 w 860"/>
                <a:gd name="T37" fmla="*/ 0 h 656"/>
                <a:gd name="T38" fmla="*/ 253 w 860"/>
                <a:gd name="T39" fmla="*/ 8 h 656"/>
                <a:gd name="T40" fmla="*/ 177 w 860"/>
                <a:gd name="T41" fmla="*/ 40 h 656"/>
                <a:gd name="T42" fmla="*/ 169 w 860"/>
                <a:gd name="T43" fmla="*/ 72 h 656"/>
                <a:gd name="T44" fmla="*/ 126 w 860"/>
                <a:gd name="T45" fmla="*/ 88 h 656"/>
                <a:gd name="T46" fmla="*/ 25 w 860"/>
                <a:gd name="T47" fmla="*/ 128 h 656"/>
                <a:gd name="T48" fmla="*/ 9 w 860"/>
                <a:gd name="T49" fmla="*/ 128 h 656"/>
                <a:gd name="T50" fmla="*/ 17 w 860"/>
                <a:gd name="T51" fmla="*/ 176 h 656"/>
                <a:gd name="T52" fmla="*/ 25 w 860"/>
                <a:gd name="T53" fmla="*/ 208 h 656"/>
                <a:gd name="T54" fmla="*/ 0 w 860"/>
                <a:gd name="T55" fmla="*/ 256 h 656"/>
                <a:gd name="T56" fmla="*/ 51 w 860"/>
                <a:gd name="T57" fmla="*/ 288 h 656"/>
                <a:gd name="T58" fmla="*/ 51 w 860"/>
                <a:gd name="T59" fmla="*/ 320 h 656"/>
                <a:gd name="T60" fmla="*/ 76 w 860"/>
                <a:gd name="T61" fmla="*/ 360 h 656"/>
                <a:gd name="T62" fmla="*/ 59 w 860"/>
                <a:gd name="T63" fmla="*/ 400 h 656"/>
                <a:gd name="T64" fmla="*/ 84 w 860"/>
                <a:gd name="T65" fmla="*/ 432 h 656"/>
                <a:gd name="T66" fmla="*/ 84 w 860"/>
                <a:gd name="T67" fmla="*/ 472 h 656"/>
                <a:gd name="T68" fmla="*/ 126 w 860"/>
                <a:gd name="T69" fmla="*/ 496 h 656"/>
                <a:gd name="T70" fmla="*/ 169 w 860"/>
                <a:gd name="T71" fmla="*/ 512 h 656"/>
                <a:gd name="T72" fmla="*/ 211 w 860"/>
                <a:gd name="T73" fmla="*/ 512 h 656"/>
                <a:gd name="T74" fmla="*/ 202 w 860"/>
                <a:gd name="T75" fmla="*/ 544 h 656"/>
                <a:gd name="T76" fmla="*/ 244 w 860"/>
                <a:gd name="T77" fmla="*/ 576 h 656"/>
                <a:gd name="T78" fmla="*/ 270 w 860"/>
                <a:gd name="T79" fmla="*/ 560 h 656"/>
                <a:gd name="T80" fmla="*/ 270 w 860"/>
                <a:gd name="T81" fmla="*/ 536 h 656"/>
                <a:gd name="T82" fmla="*/ 320 w 860"/>
                <a:gd name="T83" fmla="*/ 552 h 656"/>
                <a:gd name="T84" fmla="*/ 337 w 860"/>
                <a:gd name="T85" fmla="*/ 576 h 656"/>
                <a:gd name="T86" fmla="*/ 379 w 860"/>
                <a:gd name="T87" fmla="*/ 584 h 656"/>
                <a:gd name="T88" fmla="*/ 421 w 860"/>
                <a:gd name="T89" fmla="*/ 592 h 656"/>
                <a:gd name="T90" fmla="*/ 438 w 860"/>
                <a:gd name="T91" fmla="*/ 624 h 656"/>
                <a:gd name="T92" fmla="*/ 464 w 860"/>
                <a:gd name="T93" fmla="*/ 640 h 656"/>
                <a:gd name="T94" fmla="*/ 497 w 860"/>
                <a:gd name="T95" fmla="*/ 616 h 656"/>
                <a:gd name="T96" fmla="*/ 523 w 860"/>
                <a:gd name="T97" fmla="*/ 640 h 656"/>
                <a:gd name="T98" fmla="*/ 531 w 860"/>
                <a:gd name="T99" fmla="*/ 656 h 656"/>
                <a:gd name="T100" fmla="*/ 556 w 860"/>
                <a:gd name="T101" fmla="*/ 656 h 656"/>
                <a:gd name="T102" fmla="*/ 581 w 860"/>
                <a:gd name="T103" fmla="*/ 632 h 656"/>
                <a:gd name="T104" fmla="*/ 615 w 860"/>
                <a:gd name="T105" fmla="*/ 632 h 656"/>
                <a:gd name="T106" fmla="*/ 640 w 860"/>
                <a:gd name="T107" fmla="*/ 616 h 656"/>
                <a:gd name="T108" fmla="*/ 683 w 860"/>
                <a:gd name="T109" fmla="*/ 616 h 656"/>
                <a:gd name="T110" fmla="*/ 708 w 860"/>
                <a:gd name="T111" fmla="*/ 624 h 656"/>
                <a:gd name="T112" fmla="*/ 767 w 860"/>
                <a:gd name="T113" fmla="*/ 632 h 656"/>
                <a:gd name="T114" fmla="*/ 758 w 860"/>
                <a:gd name="T115" fmla="*/ 640 h 656"/>
                <a:gd name="T116" fmla="*/ 792 w 860"/>
                <a:gd name="T117" fmla="*/ 632 h 656"/>
                <a:gd name="T118" fmla="*/ 775 w 860"/>
                <a:gd name="T119" fmla="*/ 560 h 6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60" h="656">
                  <a:moveTo>
                    <a:pt x="775" y="560"/>
                  </a:moveTo>
                  <a:lnTo>
                    <a:pt x="826" y="464"/>
                  </a:lnTo>
                  <a:lnTo>
                    <a:pt x="860" y="456"/>
                  </a:lnTo>
                  <a:lnTo>
                    <a:pt x="851" y="416"/>
                  </a:lnTo>
                  <a:lnTo>
                    <a:pt x="817" y="352"/>
                  </a:lnTo>
                  <a:lnTo>
                    <a:pt x="792" y="320"/>
                  </a:lnTo>
                  <a:lnTo>
                    <a:pt x="784" y="264"/>
                  </a:lnTo>
                  <a:lnTo>
                    <a:pt x="750" y="256"/>
                  </a:lnTo>
                  <a:lnTo>
                    <a:pt x="750" y="232"/>
                  </a:lnTo>
                  <a:lnTo>
                    <a:pt x="792" y="184"/>
                  </a:lnTo>
                  <a:lnTo>
                    <a:pt x="750" y="104"/>
                  </a:lnTo>
                  <a:lnTo>
                    <a:pt x="725" y="40"/>
                  </a:lnTo>
                  <a:lnTo>
                    <a:pt x="666" y="16"/>
                  </a:lnTo>
                  <a:lnTo>
                    <a:pt x="531" y="40"/>
                  </a:lnTo>
                  <a:lnTo>
                    <a:pt x="447" y="24"/>
                  </a:lnTo>
                  <a:lnTo>
                    <a:pt x="405" y="48"/>
                  </a:lnTo>
                  <a:lnTo>
                    <a:pt x="362" y="40"/>
                  </a:lnTo>
                  <a:lnTo>
                    <a:pt x="329" y="24"/>
                  </a:lnTo>
                  <a:lnTo>
                    <a:pt x="295" y="0"/>
                  </a:lnTo>
                  <a:lnTo>
                    <a:pt x="253" y="8"/>
                  </a:lnTo>
                  <a:lnTo>
                    <a:pt x="177" y="40"/>
                  </a:lnTo>
                  <a:lnTo>
                    <a:pt x="169" y="72"/>
                  </a:lnTo>
                  <a:lnTo>
                    <a:pt x="126" y="88"/>
                  </a:lnTo>
                  <a:lnTo>
                    <a:pt x="25" y="128"/>
                  </a:lnTo>
                  <a:lnTo>
                    <a:pt x="9" y="128"/>
                  </a:lnTo>
                  <a:lnTo>
                    <a:pt x="17" y="176"/>
                  </a:lnTo>
                  <a:lnTo>
                    <a:pt x="25" y="208"/>
                  </a:lnTo>
                  <a:lnTo>
                    <a:pt x="0" y="256"/>
                  </a:lnTo>
                  <a:lnTo>
                    <a:pt x="51" y="288"/>
                  </a:lnTo>
                  <a:lnTo>
                    <a:pt x="51" y="320"/>
                  </a:lnTo>
                  <a:lnTo>
                    <a:pt x="76" y="360"/>
                  </a:lnTo>
                  <a:lnTo>
                    <a:pt x="59" y="400"/>
                  </a:lnTo>
                  <a:lnTo>
                    <a:pt x="84" y="432"/>
                  </a:lnTo>
                  <a:lnTo>
                    <a:pt x="84" y="472"/>
                  </a:lnTo>
                  <a:lnTo>
                    <a:pt x="126" y="496"/>
                  </a:lnTo>
                  <a:lnTo>
                    <a:pt x="169" y="512"/>
                  </a:lnTo>
                  <a:lnTo>
                    <a:pt x="211" y="512"/>
                  </a:lnTo>
                  <a:lnTo>
                    <a:pt x="202" y="544"/>
                  </a:lnTo>
                  <a:lnTo>
                    <a:pt x="244" y="576"/>
                  </a:lnTo>
                  <a:lnTo>
                    <a:pt x="270" y="560"/>
                  </a:lnTo>
                  <a:lnTo>
                    <a:pt x="270" y="536"/>
                  </a:lnTo>
                  <a:lnTo>
                    <a:pt x="320" y="552"/>
                  </a:lnTo>
                  <a:lnTo>
                    <a:pt x="337" y="576"/>
                  </a:lnTo>
                  <a:lnTo>
                    <a:pt x="379" y="584"/>
                  </a:lnTo>
                  <a:lnTo>
                    <a:pt x="421" y="592"/>
                  </a:lnTo>
                  <a:lnTo>
                    <a:pt x="438" y="624"/>
                  </a:lnTo>
                  <a:lnTo>
                    <a:pt x="464" y="640"/>
                  </a:lnTo>
                  <a:lnTo>
                    <a:pt x="497" y="616"/>
                  </a:lnTo>
                  <a:lnTo>
                    <a:pt x="523" y="640"/>
                  </a:lnTo>
                  <a:lnTo>
                    <a:pt x="531" y="656"/>
                  </a:lnTo>
                  <a:lnTo>
                    <a:pt x="556" y="656"/>
                  </a:lnTo>
                  <a:lnTo>
                    <a:pt x="581" y="632"/>
                  </a:lnTo>
                  <a:lnTo>
                    <a:pt x="615" y="632"/>
                  </a:lnTo>
                  <a:lnTo>
                    <a:pt x="640" y="616"/>
                  </a:lnTo>
                  <a:lnTo>
                    <a:pt x="683" y="616"/>
                  </a:lnTo>
                  <a:lnTo>
                    <a:pt x="708" y="624"/>
                  </a:lnTo>
                  <a:lnTo>
                    <a:pt x="767" y="632"/>
                  </a:lnTo>
                  <a:lnTo>
                    <a:pt x="758" y="640"/>
                  </a:lnTo>
                  <a:lnTo>
                    <a:pt x="792" y="632"/>
                  </a:lnTo>
                  <a:lnTo>
                    <a:pt x="775" y="56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6" name="Freeform 85"/>
            <p:cNvSpPr>
              <a:spLocks/>
            </p:cNvSpPr>
            <p:nvPr>
              <p:custDataLst>
                <p:tags r:id="rId81"/>
              </p:custDataLst>
            </p:nvPr>
          </p:nvSpPr>
          <p:spPr bwMode="auto">
            <a:xfrm>
              <a:off x="4536" y="1976"/>
              <a:ext cx="210" cy="112"/>
            </a:xfrm>
            <a:custGeom>
              <a:avLst/>
              <a:gdLst>
                <a:gd name="T0" fmla="*/ 168 w 210"/>
                <a:gd name="T1" fmla="*/ 8 h 112"/>
                <a:gd name="T2" fmla="*/ 109 w 210"/>
                <a:gd name="T3" fmla="*/ 8 h 112"/>
                <a:gd name="T4" fmla="*/ 76 w 210"/>
                <a:gd name="T5" fmla="*/ 0 h 112"/>
                <a:gd name="T6" fmla="*/ 67 w 210"/>
                <a:gd name="T7" fmla="*/ 24 h 112"/>
                <a:gd name="T8" fmla="*/ 42 w 210"/>
                <a:gd name="T9" fmla="*/ 32 h 112"/>
                <a:gd name="T10" fmla="*/ 8 w 210"/>
                <a:gd name="T11" fmla="*/ 48 h 112"/>
                <a:gd name="T12" fmla="*/ 8 w 210"/>
                <a:gd name="T13" fmla="*/ 72 h 112"/>
                <a:gd name="T14" fmla="*/ 0 w 210"/>
                <a:gd name="T15" fmla="*/ 96 h 112"/>
                <a:gd name="T16" fmla="*/ 84 w 210"/>
                <a:gd name="T17" fmla="*/ 112 h 112"/>
                <a:gd name="T18" fmla="*/ 210 w 210"/>
                <a:gd name="T19" fmla="*/ 88 h 112"/>
                <a:gd name="T20" fmla="*/ 193 w 210"/>
                <a:gd name="T21" fmla="*/ 16 h 112"/>
                <a:gd name="T22" fmla="*/ 168 w 210"/>
                <a:gd name="T23" fmla="*/ 8 h 1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0" h="112">
                  <a:moveTo>
                    <a:pt x="168" y="8"/>
                  </a:moveTo>
                  <a:lnTo>
                    <a:pt x="109" y="8"/>
                  </a:lnTo>
                  <a:lnTo>
                    <a:pt x="76" y="0"/>
                  </a:lnTo>
                  <a:lnTo>
                    <a:pt x="67" y="24"/>
                  </a:lnTo>
                  <a:lnTo>
                    <a:pt x="42" y="32"/>
                  </a:lnTo>
                  <a:lnTo>
                    <a:pt x="8" y="48"/>
                  </a:lnTo>
                  <a:lnTo>
                    <a:pt x="8" y="72"/>
                  </a:lnTo>
                  <a:lnTo>
                    <a:pt x="0" y="96"/>
                  </a:lnTo>
                  <a:lnTo>
                    <a:pt x="84" y="112"/>
                  </a:lnTo>
                  <a:lnTo>
                    <a:pt x="210" y="88"/>
                  </a:lnTo>
                  <a:lnTo>
                    <a:pt x="193" y="16"/>
                  </a:lnTo>
                  <a:lnTo>
                    <a:pt x="168" y="8"/>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7" name="Freeform 86"/>
            <p:cNvSpPr>
              <a:spLocks/>
            </p:cNvSpPr>
            <p:nvPr>
              <p:custDataLst>
                <p:tags r:id="rId82"/>
              </p:custDataLst>
            </p:nvPr>
          </p:nvSpPr>
          <p:spPr bwMode="auto">
            <a:xfrm>
              <a:off x="4089" y="2040"/>
              <a:ext cx="860" cy="656"/>
            </a:xfrm>
            <a:custGeom>
              <a:avLst/>
              <a:gdLst>
                <a:gd name="T0" fmla="*/ 775 w 860"/>
                <a:gd name="T1" fmla="*/ 560 h 656"/>
                <a:gd name="T2" fmla="*/ 826 w 860"/>
                <a:gd name="T3" fmla="*/ 464 h 656"/>
                <a:gd name="T4" fmla="*/ 860 w 860"/>
                <a:gd name="T5" fmla="*/ 456 h 656"/>
                <a:gd name="T6" fmla="*/ 851 w 860"/>
                <a:gd name="T7" fmla="*/ 416 h 656"/>
                <a:gd name="T8" fmla="*/ 817 w 860"/>
                <a:gd name="T9" fmla="*/ 352 h 656"/>
                <a:gd name="T10" fmla="*/ 792 w 860"/>
                <a:gd name="T11" fmla="*/ 320 h 656"/>
                <a:gd name="T12" fmla="*/ 784 w 860"/>
                <a:gd name="T13" fmla="*/ 264 h 656"/>
                <a:gd name="T14" fmla="*/ 750 w 860"/>
                <a:gd name="T15" fmla="*/ 256 h 656"/>
                <a:gd name="T16" fmla="*/ 750 w 860"/>
                <a:gd name="T17" fmla="*/ 232 h 656"/>
                <a:gd name="T18" fmla="*/ 792 w 860"/>
                <a:gd name="T19" fmla="*/ 184 h 656"/>
                <a:gd name="T20" fmla="*/ 750 w 860"/>
                <a:gd name="T21" fmla="*/ 104 h 656"/>
                <a:gd name="T22" fmla="*/ 725 w 860"/>
                <a:gd name="T23" fmla="*/ 40 h 656"/>
                <a:gd name="T24" fmla="*/ 666 w 860"/>
                <a:gd name="T25" fmla="*/ 16 h 656"/>
                <a:gd name="T26" fmla="*/ 531 w 860"/>
                <a:gd name="T27" fmla="*/ 40 h 656"/>
                <a:gd name="T28" fmla="*/ 447 w 860"/>
                <a:gd name="T29" fmla="*/ 24 h 656"/>
                <a:gd name="T30" fmla="*/ 405 w 860"/>
                <a:gd name="T31" fmla="*/ 48 h 656"/>
                <a:gd name="T32" fmla="*/ 362 w 860"/>
                <a:gd name="T33" fmla="*/ 40 h 656"/>
                <a:gd name="T34" fmla="*/ 329 w 860"/>
                <a:gd name="T35" fmla="*/ 24 h 656"/>
                <a:gd name="T36" fmla="*/ 295 w 860"/>
                <a:gd name="T37" fmla="*/ 0 h 656"/>
                <a:gd name="T38" fmla="*/ 253 w 860"/>
                <a:gd name="T39" fmla="*/ 8 h 656"/>
                <a:gd name="T40" fmla="*/ 177 w 860"/>
                <a:gd name="T41" fmla="*/ 40 h 656"/>
                <a:gd name="T42" fmla="*/ 169 w 860"/>
                <a:gd name="T43" fmla="*/ 72 h 656"/>
                <a:gd name="T44" fmla="*/ 126 w 860"/>
                <a:gd name="T45" fmla="*/ 88 h 656"/>
                <a:gd name="T46" fmla="*/ 25 w 860"/>
                <a:gd name="T47" fmla="*/ 128 h 656"/>
                <a:gd name="T48" fmla="*/ 9 w 860"/>
                <a:gd name="T49" fmla="*/ 128 h 656"/>
                <a:gd name="T50" fmla="*/ 17 w 860"/>
                <a:gd name="T51" fmla="*/ 176 h 656"/>
                <a:gd name="T52" fmla="*/ 25 w 860"/>
                <a:gd name="T53" fmla="*/ 208 h 656"/>
                <a:gd name="T54" fmla="*/ 0 w 860"/>
                <a:gd name="T55" fmla="*/ 256 h 656"/>
                <a:gd name="T56" fmla="*/ 51 w 860"/>
                <a:gd name="T57" fmla="*/ 288 h 656"/>
                <a:gd name="T58" fmla="*/ 51 w 860"/>
                <a:gd name="T59" fmla="*/ 320 h 656"/>
                <a:gd name="T60" fmla="*/ 76 w 860"/>
                <a:gd name="T61" fmla="*/ 360 h 656"/>
                <a:gd name="T62" fmla="*/ 59 w 860"/>
                <a:gd name="T63" fmla="*/ 400 h 656"/>
                <a:gd name="T64" fmla="*/ 84 w 860"/>
                <a:gd name="T65" fmla="*/ 432 h 656"/>
                <a:gd name="T66" fmla="*/ 84 w 860"/>
                <a:gd name="T67" fmla="*/ 472 h 656"/>
                <a:gd name="T68" fmla="*/ 126 w 860"/>
                <a:gd name="T69" fmla="*/ 496 h 656"/>
                <a:gd name="T70" fmla="*/ 169 w 860"/>
                <a:gd name="T71" fmla="*/ 512 h 656"/>
                <a:gd name="T72" fmla="*/ 211 w 860"/>
                <a:gd name="T73" fmla="*/ 512 h 656"/>
                <a:gd name="T74" fmla="*/ 202 w 860"/>
                <a:gd name="T75" fmla="*/ 544 h 656"/>
                <a:gd name="T76" fmla="*/ 244 w 860"/>
                <a:gd name="T77" fmla="*/ 576 h 656"/>
                <a:gd name="T78" fmla="*/ 270 w 860"/>
                <a:gd name="T79" fmla="*/ 560 h 656"/>
                <a:gd name="T80" fmla="*/ 270 w 860"/>
                <a:gd name="T81" fmla="*/ 536 h 656"/>
                <a:gd name="T82" fmla="*/ 320 w 860"/>
                <a:gd name="T83" fmla="*/ 552 h 656"/>
                <a:gd name="T84" fmla="*/ 337 w 860"/>
                <a:gd name="T85" fmla="*/ 576 h 656"/>
                <a:gd name="T86" fmla="*/ 379 w 860"/>
                <a:gd name="T87" fmla="*/ 584 h 656"/>
                <a:gd name="T88" fmla="*/ 421 w 860"/>
                <a:gd name="T89" fmla="*/ 592 h 656"/>
                <a:gd name="T90" fmla="*/ 438 w 860"/>
                <a:gd name="T91" fmla="*/ 624 h 656"/>
                <a:gd name="T92" fmla="*/ 438 w 860"/>
                <a:gd name="T93" fmla="*/ 624 h 656"/>
                <a:gd name="T94" fmla="*/ 464 w 860"/>
                <a:gd name="T95" fmla="*/ 640 h 656"/>
                <a:gd name="T96" fmla="*/ 497 w 860"/>
                <a:gd name="T97" fmla="*/ 616 h 656"/>
                <a:gd name="T98" fmla="*/ 523 w 860"/>
                <a:gd name="T99" fmla="*/ 640 h 656"/>
                <a:gd name="T100" fmla="*/ 531 w 860"/>
                <a:gd name="T101" fmla="*/ 656 h 656"/>
                <a:gd name="T102" fmla="*/ 556 w 860"/>
                <a:gd name="T103" fmla="*/ 656 h 656"/>
                <a:gd name="T104" fmla="*/ 581 w 860"/>
                <a:gd name="T105" fmla="*/ 632 h 656"/>
                <a:gd name="T106" fmla="*/ 615 w 860"/>
                <a:gd name="T107" fmla="*/ 632 h 656"/>
                <a:gd name="T108" fmla="*/ 640 w 860"/>
                <a:gd name="T109" fmla="*/ 616 h 656"/>
                <a:gd name="T110" fmla="*/ 683 w 860"/>
                <a:gd name="T111" fmla="*/ 616 h 656"/>
                <a:gd name="T112" fmla="*/ 708 w 860"/>
                <a:gd name="T113" fmla="*/ 624 h 656"/>
                <a:gd name="T114" fmla="*/ 767 w 860"/>
                <a:gd name="T115" fmla="*/ 632 h 656"/>
                <a:gd name="T116" fmla="*/ 758 w 860"/>
                <a:gd name="T117" fmla="*/ 640 h 656"/>
                <a:gd name="T118" fmla="*/ 792 w 860"/>
                <a:gd name="T119" fmla="*/ 632 h 656"/>
                <a:gd name="T120" fmla="*/ 775 w 860"/>
                <a:gd name="T121" fmla="*/ 560 h 65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60" h="656">
                  <a:moveTo>
                    <a:pt x="775" y="560"/>
                  </a:moveTo>
                  <a:lnTo>
                    <a:pt x="826" y="464"/>
                  </a:lnTo>
                  <a:lnTo>
                    <a:pt x="860" y="456"/>
                  </a:lnTo>
                  <a:lnTo>
                    <a:pt x="851" y="416"/>
                  </a:lnTo>
                  <a:lnTo>
                    <a:pt x="817" y="352"/>
                  </a:lnTo>
                  <a:lnTo>
                    <a:pt x="792" y="320"/>
                  </a:lnTo>
                  <a:lnTo>
                    <a:pt x="784" y="264"/>
                  </a:lnTo>
                  <a:lnTo>
                    <a:pt x="750" y="256"/>
                  </a:lnTo>
                  <a:lnTo>
                    <a:pt x="750" y="232"/>
                  </a:lnTo>
                  <a:lnTo>
                    <a:pt x="792" y="184"/>
                  </a:lnTo>
                  <a:lnTo>
                    <a:pt x="750" y="104"/>
                  </a:lnTo>
                  <a:lnTo>
                    <a:pt x="725" y="40"/>
                  </a:lnTo>
                  <a:lnTo>
                    <a:pt x="666" y="16"/>
                  </a:lnTo>
                  <a:lnTo>
                    <a:pt x="531" y="40"/>
                  </a:lnTo>
                  <a:lnTo>
                    <a:pt x="447" y="24"/>
                  </a:lnTo>
                  <a:lnTo>
                    <a:pt x="405" y="48"/>
                  </a:lnTo>
                  <a:lnTo>
                    <a:pt x="362" y="40"/>
                  </a:lnTo>
                  <a:lnTo>
                    <a:pt x="329" y="24"/>
                  </a:lnTo>
                  <a:lnTo>
                    <a:pt x="295" y="0"/>
                  </a:lnTo>
                  <a:lnTo>
                    <a:pt x="253" y="8"/>
                  </a:lnTo>
                  <a:lnTo>
                    <a:pt x="177" y="40"/>
                  </a:lnTo>
                  <a:lnTo>
                    <a:pt x="169" y="72"/>
                  </a:lnTo>
                  <a:lnTo>
                    <a:pt x="126" y="88"/>
                  </a:lnTo>
                  <a:lnTo>
                    <a:pt x="25" y="128"/>
                  </a:lnTo>
                  <a:lnTo>
                    <a:pt x="9" y="128"/>
                  </a:lnTo>
                  <a:lnTo>
                    <a:pt x="17" y="176"/>
                  </a:lnTo>
                  <a:lnTo>
                    <a:pt x="25" y="208"/>
                  </a:lnTo>
                  <a:lnTo>
                    <a:pt x="0" y="256"/>
                  </a:lnTo>
                  <a:lnTo>
                    <a:pt x="51" y="288"/>
                  </a:lnTo>
                  <a:lnTo>
                    <a:pt x="51" y="320"/>
                  </a:lnTo>
                  <a:lnTo>
                    <a:pt x="76" y="360"/>
                  </a:lnTo>
                  <a:lnTo>
                    <a:pt x="59" y="400"/>
                  </a:lnTo>
                  <a:lnTo>
                    <a:pt x="84" y="432"/>
                  </a:lnTo>
                  <a:lnTo>
                    <a:pt x="84" y="472"/>
                  </a:lnTo>
                  <a:lnTo>
                    <a:pt x="126" y="496"/>
                  </a:lnTo>
                  <a:lnTo>
                    <a:pt x="169" y="512"/>
                  </a:lnTo>
                  <a:lnTo>
                    <a:pt x="211" y="512"/>
                  </a:lnTo>
                  <a:lnTo>
                    <a:pt x="202" y="544"/>
                  </a:lnTo>
                  <a:lnTo>
                    <a:pt x="244" y="576"/>
                  </a:lnTo>
                  <a:lnTo>
                    <a:pt x="270" y="560"/>
                  </a:lnTo>
                  <a:lnTo>
                    <a:pt x="270" y="536"/>
                  </a:lnTo>
                  <a:lnTo>
                    <a:pt x="320" y="552"/>
                  </a:lnTo>
                  <a:lnTo>
                    <a:pt x="337" y="576"/>
                  </a:lnTo>
                  <a:lnTo>
                    <a:pt x="379" y="584"/>
                  </a:lnTo>
                  <a:lnTo>
                    <a:pt x="421" y="592"/>
                  </a:lnTo>
                  <a:lnTo>
                    <a:pt x="438" y="624"/>
                  </a:lnTo>
                  <a:lnTo>
                    <a:pt x="464" y="640"/>
                  </a:lnTo>
                  <a:lnTo>
                    <a:pt x="497" y="616"/>
                  </a:lnTo>
                  <a:lnTo>
                    <a:pt x="523" y="640"/>
                  </a:lnTo>
                  <a:lnTo>
                    <a:pt x="531" y="656"/>
                  </a:lnTo>
                  <a:lnTo>
                    <a:pt x="556" y="656"/>
                  </a:lnTo>
                  <a:lnTo>
                    <a:pt x="581" y="632"/>
                  </a:lnTo>
                  <a:lnTo>
                    <a:pt x="615" y="632"/>
                  </a:lnTo>
                  <a:lnTo>
                    <a:pt x="640" y="616"/>
                  </a:lnTo>
                  <a:lnTo>
                    <a:pt x="683" y="616"/>
                  </a:lnTo>
                  <a:lnTo>
                    <a:pt x="708" y="624"/>
                  </a:lnTo>
                  <a:lnTo>
                    <a:pt x="767" y="632"/>
                  </a:lnTo>
                  <a:lnTo>
                    <a:pt x="758" y="640"/>
                  </a:lnTo>
                  <a:lnTo>
                    <a:pt x="792" y="632"/>
                  </a:lnTo>
                  <a:lnTo>
                    <a:pt x="775" y="560"/>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8" name="Freeform 87"/>
            <p:cNvSpPr>
              <a:spLocks/>
            </p:cNvSpPr>
            <p:nvPr>
              <p:custDataLst>
                <p:tags r:id="rId83"/>
              </p:custDataLst>
            </p:nvPr>
          </p:nvSpPr>
          <p:spPr bwMode="auto">
            <a:xfrm>
              <a:off x="4536" y="1968"/>
              <a:ext cx="210" cy="112"/>
            </a:xfrm>
            <a:custGeom>
              <a:avLst/>
              <a:gdLst>
                <a:gd name="T0" fmla="*/ 168 w 210"/>
                <a:gd name="T1" fmla="*/ 8 h 112"/>
                <a:gd name="T2" fmla="*/ 109 w 210"/>
                <a:gd name="T3" fmla="*/ 8 h 112"/>
                <a:gd name="T4" fmla="*/ 76 w 210"/>
                <a:gd name="T5" fmla="*/ 0 h 112"/>
                <a:gd name="T6" fmla="*/ 67 w 210"/>
                <a:gd name="T7" fmla="*/ 24 h 112"/>
                <a:gd name="T8" fmla="*/ 42 w 210"/>
                <a:gd name="T9" fmla="*/ 32 h 112"/>
                <a:gd name="T10" fmla="*/ 8 w 210"/>
                <a:gd name="T11" fmla="*/ 48 h 112"/>
                <a:gd name="T12" fmla="*/ 8 w 210"/>
                <a:gd name="T13" fmla="*/ 72 h 112"/>
                <a:gd name="T14" fmla="*/ 0 w 210"/>
                <a:gd name="T15" fmla="*/ 96 h 112"/>
                <a:gd name="T16" fmla="*/ 84 w 210"/>
                <a:gd name="T17" fmla="*/ 112 h 112"/>
                <a:gd name="T18" fmla="*/ 210 w 210"/>
                <a:gd name="T19" fmla="*/ 88 h 112"/>
                <a:gd name="T20" fmla="*/ 193 w 210"/>
                <a:gd name="T21" fmla="*/ 16 h 112"/>
                <a:gd name="T22" fmla="*/ 168 w 210"/>
                <a:gd name="T23" fmla="*/ 8 h 1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0" h="112">
                  <a:moveTo>
                    <a:pt x="168" y="8"/>
                  </a:moveTo>
                  <a:lnTo>
                    <a:pt x="109" y="8"/>
                  </a:lnTo>
                  <a:lnTo>
                    <a:pt x="76" y="0"/>
                  </a:lnTo>
                  <a:lnTo>
                    <a:pt x="67" y="24"/>
                  </a:lnTo>
                  <a:lnTo>
                    <a:pt x="42" y="32"/>
                  </a:lnTo>
                  <a:lnTo>
                    <a:pt x="8" y="48"/>
                  </a:lnTo>
                  <a:lnTo>
                    <a:pt x="8" y="72"/>
                  </a:lnTo>
                  <a:lnTo>
                    <a:pt x="0" y="96"/>
                  </a:lnTo>
                  <a:lnTo>
                    <a:pt x="84" y="112"/>
                  </a:lnTo>
                  <a:lnTo>
                    <a:pt x="210" y="88"/>
                  </a:lnTo>
                  <a:lnTo>
                    <a:pt x="193" y="16"/>
                  </a:lnTo>
                  <a:lnTo>
                    <a:pt x="168" y="8"/>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9" name="Freeform 88"/>
            <p:cNvSpPr>
              <a:spLocks/>
            </p:cNvSpPr>
            <p:nvPr>
              <p:custDataLst>
                <p:tags r:id="rId84"/>
              </p:custDataLst>
            </p:nvPr>
          </p:nvSpPr>
          <p:spPr bwMode="auto">
            <a:xfrm>
              <a:off x="4578" y="1792"/>
              <a:ext cx="455" cy="320"/>
            </a:xfrm>
            <a:custGeom>
              <a:avLst/>
              <a:gdLst>
                <a:gd name="T0" fmla="*/ 312 w 455"/>
                <a:gd name="T1" fmla="*/ 304 h 320"/>
                <a:gd name="T2" fmla="*/ 328 w 455"/>
                <a:gd name="T3" fmla="*/ 296 h 320"/>
                <a:gd name="T4" fmla="*/ 320 w 455"/>
                <a:gd name="T5" fmla="*/ 272 h 320"/>
                <a:gd name="T6" fmla="*/ 354 w 455"/>
                <a:gd name="T7" fmla="*/ 264 h 320"/>
                <a:gd name="T8" fmla="*/ 379 w 455"/>
                <a:gd name="T9" fmla="*/ 248 h 320"/>
                <a:gd name="T10" fmla="*/ 404 w 455"/>
                <a:gd name="T11" fmla="*/ 256 h 320"/>
                <a:gd name="T12" fmla="*/ 387 w 455"/>
                <a:gd name="T13" fmla="*/ 224 h 320"/>
                <a:gd name="T14" fmla="*/ 387 w 455"/>
                <a:gd name="T15" fmla="*/ 192 h 320"/>
                <a:gd name="T16" fmla="*/ 387 w 455"/>
                <a:gd name="T17" fmla="*/ 160 h 320"/>
                <a:gd name="T18" fmla="*/ 413 w 455"/>
                <a:gd name="T19" fmla="*/ 152 h 320"/>
                <a:gd name="T20" fmla="*/ 421 w 455"/>
                <a:gd name="T21" fmla="*/ 128 h 320"/>
                <a:gd name="T22" fmla="*/ 446 w 455"/>
                <a:gd name="T23" fmla="*/ 120 h 320"/>
                <a:gd name="T24" fmla="*/ 455 w 455"/>
                <a:gd name="T25" fmla="*/ 104 h 320"/>
                <a:gd name="T26" fmla="*/ 430 w 455"/>
                <a:gd name="T27" fmla="*/ 96 h 320"/>
                <a:gd name="T28" fmla="*/ 430 w 455"/>
                <a:gd name="T29" fmla="*/ 64 h 320"/>
                <a:gd name="T30" fmla="*/ 396 w 455"/>
                <a:gd name="T31" fmla="*/ 56 h 320"/>
                <a:gd name="T32" fmla="*/ 371 w 455"/>
                <a:gd name="T33" fmla="*/ 40 h 320"/>
                <a:gd name="T34" fmla="*/ 337 w 455"/>
                <a:gd name="T35" fmla="*/ 24 h 320"/>
                <a:gd name="T36" fmla="*/ 286 w 455"/>
                <a:gd name="T37" fmla="*/ 16 h 320"/>
                <a:gd name="T38" fmla="*/ 278 w 455"/>
                <a:gd name="T39" fmla="*/ 0 h 320"/>
                <a:gd name="T40" fmla="*/ 227 w 455"/>
                <a:gd name="T41" fmla="*/ 32 h 320"/>
                <a:gd name="T42" fmla="*/ 185 w 455"/>
                <a:gd name="T43" fmla="*/ 24 h 320"/>
                <a:gd name="T44" fmla="*/ 143 w 455"/>
                <a:gd name="T45" fmla="*/ 32 h 320"/>
                <a:gd name="T46" fmla="*/ 84 w 455"/>
                <a:gd name="T47" fmla="*/ 32 h 320"/>
                <a:gd name="T48" fmla="*/ 25 w 455"/>
                <a:gd name="T49" fmla="*/ 64 h 320"/>
                <a:gd name="T50" fmla="*/ 0 w 455"/>
                <a:gd name="T51" fmla="*/ 88 h 320"/>
                <a:gd name="T52" fmla="*/ 8 w 455"/>
                <a:gd name="T53" fmla="*/ 104 h 320"/>
                <a:gd name="T54" fmla="*/ 25 w 455"/>
                <a:gd name="T55" fmla="*/ 168 h 320"/>
                <a:gd name="T56" fmla="*/ 34 w 455"/>
                <a:gd name="T57" fmla="*/ 184 h 320"/>
                <a:gd name="T58" fmla="*/ 67 w 455"/>
                <a:gd name="T59" fmla="*/ 192 h 320"/>
                <a:gd name="T60" fmla="*/ 126 w 455"/>
                <a:gd name="T61" fmla="*/ 192 h 320"/>
                <a:gd name="T62" fmla="*/ 151 w 455"/>
                <a:gd name="T63" fmla="*/ 200 h 320"/>
                <a:gd name="T64" fmla="*/ 168 w 455"/>
                <a:gd name="T65" fmla="*/ 272 h 320"/>
                <a:gd name="T66" fmla="*/ 177 w 455"/>
                <a:gd name="T67" fmla="*/ 272 h 320"/>
                <a:gd name="T68" fmla="*/ 236 w 455"/>
                <a:gd name="T69" fmla="*/ 296 h 320"/>
                <a:gd name="T70" fmla="*/ 244 w 455"/>
                <a:gd name="T71" fmla="*/ 320 h 320"/>
                <a:gd name="T72" fmla="*/ 278 w 455"/>
                <a:gd name="T73" fmla="*/ 296 h 320"/>
                <a:gd name="T74" fmla="*/ 312 w 455"/>
                <a:gd name="T75" fmla="*/ 304 h 3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55" h="320">
                  <a:moveTo>
                    <a:pt x="312" y="304"/>
                  </a:moveTo>
                  <a:lnTo>
                    <a:pt x="328" y="296"/>
                  </a:lnTo>
                  <a:lnTo>
                    <a:pt x="320" y="272"/>
                  </a:lnTo>
                  <a:lnTo>
                    <a:pt x="354" y="264"/>
                  </a:lnTo>
                  <a:lnTo>
                    <a:pt x="379" y="248"/>
                  </a:lnTo>
                  <a:lnTo>
                    <a:pt x="404" y="256"/>
                  </a:lnTo>
                  <a:lnTo>
                    <a:pt x="387" y="224"/>
                  </a:lnTo>
                  <a:lnTo>
                    <a:pt x="387" y="192"/>
                  </a:lnTo>
                  <a:lnTo>
                    <a:pt x="387" y="160"/>
                  </a:lnTo>
                  <a:lnTo>
                    <a:pt x="413" y="152"/>
                  </a:lnTo>
                  <a:lnTo>
                    <a:pt x="421" y="128"/>
                  </a:lnTo>
                  <a:lnTo>
                    <a:pt x="446" y="120"/>
                  </a:lnTo>
                  <a:lnTo>
                    <a:pt x="455" y="104"/>
                  </a:lnTo>
                  <a:lnTo>
                    <a:pt x="430" y="96"/>
                  </a:lnTo>
                  <a:lnTo>
                    <a:pt x="430" y="64"/>
                  </a:lnTo>
                  <a:lnTo>
                    <a:pt x="396" y="56"/>
                  </a:lnTo>
                  <a:lnTo>
                    <a:pt x="371" y="40"/>
                  </a:lnTo>
                  <a:lnTo>
                    <a:pt x="337" y="24"/>
                  </a:lnTo>
                  <a:lnTo>
                    <a:pt x="286" y="16"/>
                  </a:lnTo>
                  <a:lnTo>
                    <a:pt x="278" y="0"/>
                  </a:lnTo>
                  <a:lnTo>
                    <a:pt x="227" y="32"/>
                  </a:lnTo>
                  <a:lnTo>
                    <a:pt x="185" y="24"/>
                  </a:lnTo>
                  <a:lnTo>
                    <a:pt x="143" y="32"/>
                  </a:lnTo>
                  <a:lnTo>
                    <a:pt x="84" y="32"/>
                  </a:lnTo>
                  <a:lnTo>
                    <a:pt x="25" y="64"/>
                  </a:lnTo>
                  <a:lnTo>
                    <a:pt x="0" y="88"/>
                  </a:lnTo>
                  <a:lnTo>
                    <a:pt x="8" y="104"/>
                  </a:lnTo>
                  <a:lnTo>
                    <a:pt x="25" y="168"/>
                  </a:lnTo>
                  <a:lnTo>
                    <a:pt x="34" y="184"/>
                  </a:lnTo>
                  <a:lnTo>
                    <a:pt x="67" y="192"/>
                  </a:lnTo>
                  <a:lnTo>
                    <a:pt x="126" y="192"/>
                  </a:lnTo>
                  <a:lnTo>
                    <a:pt x="151" y="200"/>
                  </a:lnTo>
                  <a:lnTo>
                    <a:pt x="168" y="272"/>
                  </a:lnTo>
                  <a:lnTo>
                    <a:pt x="177" y="272"/>
                  </a:lnTo>
                  <a:lnTo>
                    <a:pt x="236" y="296"/>
                  </a:lnTo>
                  <a:lnTo>
                    <a:pt x="244" y="320"/>
                  </a:lnTo>
                  <a:lnTo>
                    <a:pt x="278" y="296"/>
                  </a:lnTo>
                  <a:lnTo>
                    <a:pt x="312" y="30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10" name="Freeform 89"/>
            <p:cNvSpPr>
              <a:spLocks/>
            </p:cNvSpPr>
            <p:nvPr>
              <p:custDataLst>
                <p:tags r:id="rId85"/>
              </p:custDataLst>
            </p:nvPr>
          </p:nvSpPr>
          <p:spPr bwMode="auto">
            <a:xfrm>
              <a:off x="4831" y="2096"/>
              <a:ext cx="969" cy="928"/>
            </a:xfrm>
            <a:custGeom>
              <a:avLst/>
              <a:gdLst>
                <a:gd name="T0" fmla="*/ 910 w 969"/>
                <a:gd name="T1" fmla="*/ 96 h 928"/>
                <a:gd name="T2" fmla="*/ 910 w 969"/>
                <a:gd name="T3" fmla="*/ 40 h 928"/>
                <a:gd name="T4" fmla="*/ 825 w 969"/>
                <a:gd name="T5" fmla="*/ 0 h 928"/>
                <a:gd name="T6" fmla="*/ 733 w 969"/>
                <a:gd name="T7" fmla="*/ 32 h 928"/>
                <a:gd name="T8" fmla="*/ 691 w 969"/>
                <a:gd name="T9" fmla="*/ 72 h 928"/>
                <a:gd name="T10" fmla="*/ 615 w 969"/>
                <a:gd name="T11" fmla="*/ 160 h 928"/>
                <a:gd name="T12" fmla="*/ 573 w 969"/>
                <a:gd name="T13" fmla="*/ 176 h 928"/>
                <a:gd name="T14" fmla="*/ 505 w 969"/>
                <a:gd name="T15" fmla="*/ 184 h 928"/>
                <a:gd name="T16" fmla="*/ 446 w 969"/>
                <a:gd name="T17" fmla="*/ 200 h 928"/>
                <a:gd name="T18" fmla="*/ 387 w 969"/>
                <a:gd name="T19" fmla="*/ 224 h 928"/>
                <a:gd name="T20" fmla="*/ 294 w 969"/>
                <a:gd name="T21" fmla="*/ 208 h 928"/>
                <a:gd name="T22" fmla="*/ 143 w 969"/>
                <a:gd name="T23" fmla="*/ 224 h 928"/>
                <a:gd name="T24" fmla="*/ 84 w 969"/>
                <a:gd name="T25" fmla="*/ 272 h 928"/>
                <a:gd name="T26" fmla="*/ 75 w 969"/>
                <a:gd name="T27" fmla="*/ 304 h 928"/>
                <a:gd name="T28" fmla="*/ 118 w 969"/>
                <a:gd name="T29" fmla="*/ 408 h 928"/>
                <a:gd name="T30" fmla="*/ 33 w 969"/>
                <a:gd name="T31" fmla="*/ 512 h 928"/>
                <a:gd name="T32" fmla="*/ 16 w 969"/>
                <a:gd name="T33" fmla="*/ 592 h 928"/>
                <a:gd name="T34" fmla="*/ 0 w 969"/>
                <a:gd name="T35" fmla="*/ 680 h 928"/>
                <a:gd name="T36" fmla="*/ 50 w 969"/>
                <a:gd name="T37" fmla="*/ 696 h 928"/>
                <a:gd name="T38" fmla="*/ 109 w 969"/>
                <a:gd name="T39" fmla="*/ 696 h 928"/>
                <a:gd name="T40" fmla="*/ 177 w 969"/>
                <a:gd name="T41" fmla="*/ 704 h 928"/>
                <a:gd name="T42" fmla="*/ 261 w 969"/>
                <a:gd name="T43" fmla="*/ 712 h 928"/>
                <a:gd name="T44" fmla="*/ 362 w 969"/>
                <a:gd name="T45" fmla="*/ 664 h 928"/>
                <a:gd name="T46" fmla="*/ 404 w 969"/>
                <a:gd name="T47" fmla="*/ 616 h 928"/>
                <a:gd name="T48" fmla="*/ 463 w 969"/>
                <a:gd name="T49" fmla="*/ 600 h 928"/>
                <a:gd name="T50" fmla="*/ 556 w 969"/>
                <a:gd name="T51" fmla="*/ 600 h 928"/>
                <a:gd name="T52" fmla="*/ 640 w 969"/>
                <a:gd name="T53" fmla="*/ 648 h 928"/>
                <a:gd name="T54" fmla="*/ 707 w 969"/>
                <a:gd name="T55" fmla="*/ 696 h 928"/>
                <a:gd name="T56" fmla="*/ 758 w 969"/>
                <a:gd name="T57" fmla="*/ 760 h 928"/>
                <a:gd name="T58" fmla="*/ 657 w 969"/>
                <a:gd name="T59" fmla="*/ 800 h 928"/>
                <a:gd name="T60" fmla="*/ 657 w 969"/>
                <a:gd name="T61" fmla="*/ 888 h 928"/>
                <a:gd name="T62" fmla="*/ 674 w 969"/>
                <a:gd name="T63" fmla="*/ 928 h 928"/>
                <a:gd name="T64" fmla="*/ 766 w 969"/>
                <a:gd name="T65" fmla="*/ 904 h 928"/>
                <a:gd name="T66" fmla="*/ 808 w 969"/>
                <a:gd name="T67" fmla="*/ 768 h 928"/>
                <a:gd name="T68" fmla="*/ 867 w 969"/>
                <a:gd name="T69" fmla="*/ 704 h 928"/>
                <a:gd name="T70" fmla="*/ 969 w 969"/>
                <a:gd name="T71" fmla="*/ 688 h 928"/>
                <a:gd name="T72" fmla="*/ 935 w 969"/>
                <a:gd name="T73" fmla="*/ 104 h 92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969" h="928">
                  <a:moveTo>
                    <a:pt x="935" y="104"/>
                  </a:moveTo>
                  <a:lnTo>
                    <a:pt x="910" y="96"/>
                  </a:lnTo>
                  <a:lnTo>
                    <a:pt x="893" y="56"/>
                  </a:lnTo>
                  <a:lnTo>
                    <a:pt x="910" y="40"/>
                  </a:lnTo>
                  <a:lnTo>
                    <a:pt x="867" y="16"/>
                  </a:lnTo>
                  <a:lnTo>
                    <a:pt x="825" y="0"/>
                  </a:lnTo>
                  <a:lnTo>
                    <a:pt x="766" y="32"/>
                  </a:lnTo>
                  <a:lnTo>
                    <a:pt x="733" y="32"/>
                  </a:lnTo>
                  <a:lnTo>
                    <a:pt x="724" y="72"/>
                  </a:lnTo>
                  <a:lnTo>
                    <a:pt x="691" y="72"/>
                  </a:lnTo>
                  <a:lnTo>
                    <a:pt x="632" y="96"/>
                  </a:lnTo>
                  <a:lnTo>
                    <a:pt x="615" y="160"/>
                  </a:lnTo>
                  <a:lnTo>
                    <a:pt x="623" y="192"/>
                  </a:lnTo>
                  <a:lnTo>
                    <a:pt x="573" y="176"/>
                  </a:lnTo>
                  <a:lnTo>
                    <a:pt x="530" y="200"/>
                  </a:lnTo>
                  <a:lnTo>
                    <a:pt x="505" y="184"/>
                  </a:lnTo>
                  <a:lnTo>
                    <a:pt x="480" y="216"/>
                  </a:lnTo>
                  <a:lnTo>
                    <a:pt x="446" y="200"/>
                  </a:lnTo>
                  <a:lnTo>
                    <a:pt x="412" y="200"/>
                  </a:lnTo>
                  <a:lnTo>
                    <a:pt x="387" y="224"/>
                  </a:lnTo>
                  <a:lnTo>
                    <a:pt x="353" y="200"/>
                  </a:lnTo>
                  <a:lnTo>
                    <a:pt x="294" y="208"/>
                  </a:lnTo>
                  <a:lnTo>
                    <a:pt x="202" y="216"/>
                  </a:lnTo>
                  <a:lnTo>
                    <a:pt x="143" y="224"/>
                  </a:lnTo>
                  <a:lnTo>
                    <a:pt x="101" y="248"/>
                  </a:lnTo>
                  <a:lnTo>
                    <a:pt x="84" y="272"/>
                  </a:lnTo>
                  <a:lnTo>
                    <a:pt x="50" y="272"/>
                  </a:lnTo>
                  <a:lnTo>
                    <a:pt x="75" y="304"/>
                  </a:lnTo>
                  <a:lnTo>
                    <a:pt x="109" y="368"/>
                  </a:lnTo>
                  <a:lnTo>
                    <a:pt x="118" y="408"/>
                  </a:lnTo>
                  <a:lnTo>
                    <a:pt x="84" y="416"/>
                  </a:lnTo>
                  <a:lnTo>
                    <a:pt x="33" y="512"/>
                  </a:lnTo>
                  <a:lnTo>
                    <a:pt x="50" y="584"/>
                  </a:lnTo>
                  <a:lnTo>
                    <a:pt x="16" y="592"/>
                  </a:lnTo>
                  <a:lnTo>
                    <a:pt x="8" y="632"/>
                  </a:lnTo>
                  <a:lnTo>
                    <a:pt x="0" y="680"/>
                  </a:lnTo>
                  <a:lnTo>
                    <a:pt x="16" y="672"/>
                  </a:lnTo>
                  <a:lnTo>
                    <a:pt x="50" y="696"/>
                  </a:lnTo>
                  <a:lnTo>
                    <a:pt x="75" y="720"/>
                  </a:lnTo>
                  <a:lnTo>
                    <a:pt x="109" y="696"/>
                  </a:lnTo>
                  <a:lnTo>
                    <a:pt x="143" y="704"/>
                  </a:lnTo>
                  <a:lnTo>
                    <a:pt x="177" y="704"/>
                  </a:lnTo>
                  <a:lnTo>
                    <a:pt x="227" y="696"/>
                  </a:lnTo>
                  <a:lnTo>
                    <a:pt x="261" y="712"/>
                  </a:lnTo>
                  <a:lnTo>
                    <a:pt x="286" y="688"/>
                  </a:lnTo>
                  <a:lnTo>
                    <a:pt x="362" y="664"/>
                  </a:lnTo>
                  <a:lnTo>
                    <a:pt x="396" y="616"/>
                  </a:lnTo>
                  <a:lnTo>
                    <a:pt x="404" y="616"/>
                  </a:lnTo>
                  <a:lnTo>
                    <a:pt x="412" y="608"/>
                  </a:lnTo>
                  <a:lnTo>
                    <a:pt x="463" y="600"/>
                  </a:lnTo>
                  <a:lnTo>
                    <a:pt x="488" y="576"/>
                  </a:lnTo>
                  <a:lnTo>
                    <a:pt x="556" y="600"/>
                  </a:lnTo>
                  <a:lnTo>
                    <a:pt x="615" y="600"/>
                  </a:lnTo>
                  <a:lnTo>
                    <a:pt x="640" y="648"/>
                  </a:lnTo>
                  <a:lnTo>
                    <a:pt x="691" y="664"/>
                  </a:lnTo>
                  <a:lnTo>
                    <a:pt x="707" y="696"/>
                  </a:lnTo>
                  <a:lnTo>
                    <a:pt x="741" y="728"/>
                  </a:lnTo>
                  <a:lnTo>
                    <a:pt x="758" y="760"/>
                  </a:lnTo>
                  <a:lnTo>
                    <a:pt x="682" y="776"/>
                  </a:lnTo>
                  <a:lnTo>
                    <a:pt x="657" y="800"/>
                  </a:lnTo>
                  <a:lnTo>
                    <a:pt x="674" y="824"/>
                  </a:lnTo>
                  <a:lnTo>
                    <a:pt x="657" y="888"/>
                  </a:lnTo>
                  <a:lnTo>
                    <a:pt x="640" y="912"/>
                  </a:lnTo>
                  <a:lnTo>
                    <a:pt x="674" y="928"/>
                  </a:lnTo>
                  <a:lnTo>
                    <a:pt x="724" y="904"/>
                  </a:lnTo>
                  <a:lnTo>
                    <a:pt x="766" y="904"/>
                  </a:lnTo>
                  <a:lnTo>
                    <a:pt x="766" y="872"/>
                  </a:lnTo>
                  <a:lnTo>
                    <a:pt x="808" y="768"/>
                  </a:lnTo>
                  <a:lnTo>
                    <a:pt x="834" y="736"/>
                  </a:lnTo>
                  <a:lnTo>
                    <a:pt x="867" y="704"/>
                  </a:lnTo>
                  <a:lnTo>
                    <a:pt x="918" y="680"/>
                  </a:lnTo>
                  <a:lnTo>
                    <a:pt x="969" y="688"/>
                  </a:lnTo>
                  <a:lnTo>
                    <a:pt x="969" y="104"/>
                  </a:lnTo>
                  <a:lnTo>
                    <a:pt x="935" y="10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13" name="Freeform 92"/>
            <p:cNvSpPr>
              <a:spLocks/>
            </p:cNvSpPr>
            <p:nvPr>
              <p:custDataLst>
                <p:tags r:id="rId86"/>
              </p:custDataLst>
            </p:nvPr>
          </p:nvSpPr>
          <p:spPr bwMode="auto">
            <a:xfrm>
              <a:off x="4822" y="1768"/>
              <a:ext cx="725" cy="600"/>
            </a:xfrm>
            <a:custGeom>
              <a:avLst/>
              <a:gdLst>
                <a:gd name="T0" fmla="*/ 657 w 725"/>
                <a:gd name="T1" fmla="*/ 320 h 600"/>
                <a:gd name="T2" fmla="*/ 641 w 725"/>
                <a:gd name="T3" fmla="*/ 280 h 600"/>
                <a:gd name="T4" fmla="*/ 708 w 725"/>
                <a:gd name="T5" fmla="*/ 256 h 600"/>
                <a:gd name="T6" fmla="*/ 700 w 725"/>
                <a:gd name="T7" fmla="*/ 208 h 600"/>
                <a:gd name="T8" fmla="*/ 624 w 725"/>
                <a:gd name="T9" fmla="*/ 168 h 600"/>
                <a:gd name="T10" fmla="*/ 548 w 725"/>
                <a:gd name="T11" fmla="*/ 136 h 600"/>
                <a:gd name="T12" fmla="*/ 514 w 725"/>
                <a:gd name="T13" fmla="*/ 104 h 600"/>
                <a:gd name="T14" fmla="*/ 506 w 725"/>
                <a:gd name="T15" fmla="*/ 40 h 600"/>
                <a:gd name="T16" fmla="*/ 438 w 725"/>
                <a:gd name="T17" fmla="*/ 8 h 600"/>
                <a:gd name="T18" fmla="*/ 379 w 725"/>
                <a:gd name="T19" fmla="*/ 16 h 600"/>
                <a:gd name="T20" fmla="*/ 329 w 725"/>
                <a:gd name="T21" fmla="*/ 16 h 600"/>
                <a:gd name="T22" fmla="*/ 278 w 725"/>
                <a:gd name="T23" fmla="*/ 0 h 600"/>
                <a:gd name="T24" fmla="*/ 202 w 725"/>
                <a:gd name="T25" fmla="*/ 64 h 600"/>
                <a:gd name="T26" fmla="*/ 186 w 725"/>
                <a:gd name="T27" fmla="*/ 88 h 600"/>
                <a:gd name="T28" fmla="*/ 211 w 725"/>
                <a:gd name="T29" fmla="*/ 128 h 600"/>
                <a:gd name="T30" fmla="*/ 177 w 725"/>
                <a:gd name="T31" fmla="*/ 152 h 600"/>
                <a:gd name="T32" fmla="*/ 143 w 725"/>
                <a:gd name="T33" fmla="*/ 184 h 600"/>
                <a:gd name="T34" fmla="*/ 143 w 725"/>
                <a:gd name="T35" fmla="*/ 248 h 600"/>
                <a:gd name="T36" fmla="*/ 135 w 725"/>
                <a:gd name="T37" fmla="*/ 272 h 600"/>
                <a:gd name="T38" fmla="*/ 76 w 725"/>
                <a:gd name="T39" fmla="*/ 296 h 600"/>
                <a:gd name="T40" fmla="*/ 68 w 725"/>
                <a:gd name="T41" fmla="*/ 328 h 600"/>
                <a:gd name="T42" fmla="*/ 0 w 725"/>
                <a:gd name="T43" fmla="*/ 344 h 600"/>
                <a:gd name="T44" fmla="*/ 59 w 725"/>
                <a:gd name="T45" fmla="*/ 464 h 600"/>
                <a:gd name="T46" fmla="*/ 17 w 725"/>
                <a:gd name="T47" fmla="*/ 536 h 600"/>
                <a:gd name="T48" fmla="*/ 59 w 725"/>
                <a:gd name="T49" fmla="*/ 600 h 600"/>
                <a:gd name="T50" fmla="*/ 110 w 725"/>
                <a:gd name="T51" fmla="*/ 576 h 600"/>
                <a:gd name="T52" fmla="*/ 211 w 725"/>
                <a:gd name="T53" fmla="*/ 544 h 600"/>
                <a:gd name="T54" fmla="*/ 362 w 725"/>
                <a:gd name="T55" fmla="*/ 528 h 600"/>
                <a:gd name="T56" fmla="*/ 421 w 725"/>
                <a:gd name="T57" fmla="*/ 528 h 600"/>
                <a:gd name="T58" fmla="*/ 489 w 725"/>
                <a:gd name="T59" fmla="*/ 544 h 600"/>
                <a:gd name="T60" fmla="*/ 539 w 725"/>
                <a:gd name="T61" fmla="*/ 528 h 600"/>
                <a:gd name="T62" fmla="*/ 632 w 725"/>
                <a:gd name="T63" fmla="*/ 520 h 600"/>
                <a:gd name="T64" fmla="*/ 641 w 725"/>
                <a:gd name="T65" fmla="*/ 424 h 600"/>
                <a:gd name="T66" fmla="*/ 674 w 725"/>
                <a:gd name="T67" fmla="*/ 368 h 6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725" h="600">
                  <a:moveTo>
                    <a:pt x="657" y="344"/>
                  </a:moveTo>
                  <a:lnTo>
                    <a:pt x="657" y="320"/>
                  </a:lnTo>
                  <a:lnTo>
                    <a:pt x="632" y="304"/>
                  </a:lnTo>
                  <a:lnTo>
                    <a:pt x="641" y="280"/>
                  </a:lnTo>
                  <a:lnTo>
                    <a:pt x="691" y="272"/>
                  </a:lnTo>
                  <a:lnTo>
                    <a:pt x="708" y="256"/>
                  </a:lnTo>
                  <a:lnTo>
                    <a:pt x="725" y="232"/>
                  </a:lnTo>
                  <a:lnTo>
                    <a:pt x="700" y="208"/>
                  </a:lnTo>
                  <a:lnTo>
                    <a:pt x="632" y="192"/>
                  </a:lnTo>
                  <a:lnTo>
                    <a:pt x="624" y="168"/>
                  </a:lnTo>
                  <a:lnTo>
                    <a:pt x="582" y="160"/>
                  </a:lnTo>
                  <a:lnTo>
                    <a:pt x="548" y="136"/>
                  </a:lnTo>
                  <a:lnTo>
                    <a:pt x="548" y="120"/>
                  </a:lnTo>
                  <a:lnTo>
                    <a:pt x="514" y="104"/>
                  </a:lnTo>
                  <a:lnTo>
                    <a:pt x="514" y="72"/>
                  </a:lnTo>
                  <a:lnTo>
                    <a:pt x="506" y="40"/>
                  </a:lnTo>
                  <a:lnTo>
                    <a:pt x="472" y="16"/>
                  </a:lnTo>
                  <a:lnTo>
                    <a:pt x="438" y="8"/>
                  </a:lnTo>
                  <a:lnTo>
                    <a:pt x="396" y="32"/>
                  </a:lnTo>
                  <a:lnTo>
                    <a:pt x="379" y="16"/>
                  </a:lnTo>
                  <a:lnTo>
                    <a:pt x="346" y="8"/>
                  </a:lnTo>
                  <a:lnTo>
                    <a:pt x="329" y="16"/>
                  </a:lnTo>
                  <a:lnTo>
                    <a:pt x="303" y="0"/>
                  </a:lnTo>
                  <a:lnTo>
                    <a:pt x="278" y="0"/>
                  </a:lnTo>
                  <a:lnTo>
                    <a:pt x="245" y="64"/>
                  </a:lnTo>
                  <a:lnTo>
                    <a:pt x="202" y="64"/>
                  </a:lnTo>
                  <a:lnTo>
                    <a:pt x="177" y="80"/>
                  </a:lnTo>
                  <a:lnTo>
                    <a:pt x="186" y="88"/>
                  </a:lnTo>
                  <a:lnTo>
                    <a:pt x="186" y="120"/>
                  </a:lnTo>
                  <a:lnTo>
                    <a:pt x="211" y="128"/>
                  </a:lnTo>
                  <a:lnTo>
                    <a:pt x="202" y="144"/>
                  </a:lnTo>
                  <a:lnTo>
                    <a:pt x="177" y="152"/>
                  </a:lnTo>
                  <a:lnTo>
                    <a:pt x="169" y="176"/>
                  </a:lnTo>
                  <a:lnTo>
                    <a:pt x="143" y="184"/>
                  </a:lnTo>
                  <a:lnTo>
                    <a:pt x="143" y="216"/>
                  </a:lnTo>
                  <a:lnTo>
                    <a:pt x="143" y="248"/>
                  </a:lnTo>
                  <a:lnTo>
                    <a:pt x="160" y="280"/>
                  </a:lnTo>
                  <a:lnTo>
                    <a:pt x="135" y="272"/>
                  </a:lnTo>
                  <a:lnTo>
                    <a:pt x="110" y="288"/>
                  </a:lnTo>
                  <a:lnTo>
                    <a:pt x="76" y="296"/>
                  </a:lnTo>
                  <a:lnTo>
                    <a:pt x="84" y="320"/>
                  </a:lnTo>
                  <a:lnTo>
                    <a:pt x="68" y="328"/>
                  </a:lnTo>
                  <a:lnTo>
                    <a:pt x="34" y="320"/>
                  </a:lnTo>
                  <a:lnTo>
                    <a:pt x="0" y="344"/>
                  </a:lnTo>
                  <a:lnTo>
                    <a:pt x="17" y="384"/>
                  </a:lnTo>
                  <a:lnTo>
                    <a:pt x="59" y="464"/>
                  </a:lnTo>
                  <a:lnTo>
                    <a:pt x="17" y="512"/>
                  </a:lnTo>
                  <a:lnTo>
                    <a:pt x="17" y="536"/>
                  </a:lnTo>
                  <a:lnTo>
                    <a:pt x="51" y="544"/>
                  </a:lnTo>
                  <a:lnTo>
                    <a:pt x="59" y="600"/>
                  </a:lnTo>
                  <a:lnTo>
                    <a:pt x="93" y="600"/>
                  </a:lnTo>
                  <a:lnTo>
                    <a:pt x="110" y="576"/>
                  </a:lnTo>
                  <a:lnTo>
                    <a:pt x="152" y="552"/>
                  </a:lnTo>
                  <a:lnTo>
                    <a:pt x="211" y="544"/>
                  </a:lnTo>
                  <a:lnTo>
                    <a:pt x="303" y="536"/>
                  </a:lnTo>
                  <a:lnTo>
                    <a:pt x="362" y="528"/>
                  </a:lnTo>
                  <a:lnTo>
                    <a:pt x="396" y="552"/>
                  </a:lnTo>
                  <a:lnTo>
                    <a:pt x="421" y="528"/>
                  </a:lnTo>
                  <a:lnTo>
                    <a:pt x="455" y="528"/>
                  </a:lnTo>
                  <a:lnTo>
                    <a:pt x="489" y="544"/>
                  </a:lnTo>
                  <a:lnTo>
                    <a:pt x="514" y="512"/>
                  </a:lnTo>
                  <a:lnTo>
                    <a:pt x="539" y="528"/>
                  </a:lnTo>
                  <a:lnTo>
                    <a:pt x="582" y="504"/>
                  </a:lnTo>
                  <a:lnTo>
                    <a:pt x="632" y="520"/>
                  </a:lnTo>
                  <a:lnTo>
                    <a:pt x="624" y="488"/>
                  </a:lnTo>
                  <a:lnTo>
                    <a:pt x="641" y="424"/>
                  </a:lnTo>
                  <a:lnTo>
                    <a:pt x="700" y="400"/>
                  </a:lnTo>
                  <a:lnTo>
                    <a:pt x="674" y="368"/>
                  </a:lnTo>
                  <a:lnTo>
                    <a:pt x="657" y="34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14" name="Freeform 93"/>
            <p:cNvSpPr>
              <a:spLocks/>
            </p:cNvSpPr>
            <p:nvPr>
              <p:custDataLst>
                <p:tags r:id="rId87"/>
              </p:custDataLst>
            </p:nvPr>
          </p:nvSpPr>
          <p:spPr bwMode="auto">
            <a:xfrm>
              <a:off x="4569" y="1600"/>
              <a:ext cx="531" cy="280"/>
            </a:xfrm>
            <a:custGeom>
              <a:avLst/>
              <a:gdLst>
                <a:gd name="T0" fmla="*/ 472 w 531"/>
                <a:gd name="T1" fmla="*/ 80 h 280"/>
                <a:gd name="T2" fmla="*/ 464 w 531"/>
                <a:gd name="T3" fmla="*/ 40 h 280"/>
                <a:gd name="T4" fmla="*/ 413 w 531"/>
                <a:gd name="T5" fmla="*/ 32 h 280"/>
                <a:gd name="T6" fmla="*/ 371 w 531"/>
                <a:gd name="T7" fmla="*/ 40 h 280"/>
                <a:gd name="T8" fmla="*/ 304 w 531"/>
                <a:gd name="T9" fmla="*/ 0 h 280"/>
                <a:gd name="T10" fmla="*/ 262 w 531"/>
                <a:gd name="T11" fmla="*/ 0 h 280"/>
                <a:gd name="T12" fmla="*/ 211 w 531"/>
                <a:gd name="T13" fmla="*/ 32 h 280"/>
                <a:gd name="T14" fmla="*/ 211 w 531"/>
                <a:gd name="T15" fmla="*/ 40 h 280"/>
                <a:gd name="T16" fmla="*/ 219 w 531"/>
                <a:gd name="T17" fmla="*/ 72 h 280"/>
                <a:gd name="T18" fmla="*/ 219 w 531"/>
                <a:gd name="T19" fmla="*/ 104 h 280"/>
                <a:gd name="T20" fmla="*/ 211 w 531"/>
                <a:gd name="T21" fmla="*/ 128 h 280"/>
                <a:gd name="T22" fmla="*/ 194 w 531"/>
                <a:gd name="T23" fmla="*/ 128 h 280"/>
                <a:gd name="T24" fmla="*/ 160 w 531"/>
                <a:gd name="T25" fmla="*/ 128 h 280"/>
                <a:gd name="T26" fmla="*/ 110 w 531"/>
                <a:gd name="T27" fmla="*/ 80 h 280"/>
                <a:gd name="T28" fmla="*/ 76 w 531"/>
                <a:gd name="T29" fmla="*/ 64 h 280"/>
                <a:gd name="T30" fmla="*/ 43 w 531"/>
                <a:gd name="T31" fmla="*/ 88 h 280"/>
                <a:gd name="T32" fmla="*/ 17 w 531"/>
                <a:gd name="T33" fmla="*/ 160 h 280"/>
                <a:gd name="T34" fmla="*/ 0 w 531"/>
                <a:gd name="T35" fmla="*/ 192 h 280"/>
                <a:gd name="T36" fmla="*/ 0 w 531"/>
                <a:gd name="T37" fmla="*/ 224 h 280"/>
                <a:gd name="T38" fmla="*/ 9 w 531"/>
                <a:gd name="T39" fmla="*/ 280 h 280"/>
                <a:gd name="T40" fmla="*/ 34 w 531"/>
                <a:gd name="T41" fmla="*/ 256 h 280"/>
                <a:gd name="T42" fmla="*/ 93 w 531"/>
                <a:gd name="T43" fmla="*/ 224 h 280"/>
                <a:gd name="T44" fmla="*/ 152 w 531"/>
                <a:gd name="T45" fmla="*/ 224 h 280"/>
                <a:gd name="T46" fmla="*/ 194 w 531"/>
                <a:gd name="T47" fmla="*/ 216 h 280"/>
                <a:gd name="T48" fmla="*/ 236 w 531"/>
                <a:gd name="T49" fmla="*/ 224 h 280"/>
                <a:gd name="T50" fmla="*/ 287 w 531"/>
                <a:gd name="T51" fmla="*/ 192 h 280"/>
                <a:gd name="T52" fmla="*/ 295 w 531"/>
                <a:gd name="T53" fmla="*/ 208 h 280"/>
                <a:gd name="T54" fmla="*/ 346 w 531"/>
                <a:gd name="T55" fmla="*/ 216 h 280"/>
                <a:gd name="T56" fmla="*/ 380 w 531"/>
                <a:gd name="T57" fmla="*/ 232 h 280"/>
                <a:gd name="T58" fmla="*/ 405 w 531"/>
                <a:gd name="T59" fmla="*/ 248 h 280"/>
                <a:gd name="T60" fmla="*/ 430 w 531"/>
                <a:gd name="T61" fmla="*/ 248 h 280"/>
                <a:gd name="T62" fmla="*/ 455 w 531"/>
                <a:gd name="T63" fmla="*/ 232 h 280"/>
                <a:gd name="T64" fmla="*/ 498 w 531"/>
                <a:gd name="T65" fmla="*/ 232 h 280"/>
                <a:gd name="T66" fmla="*/ 531 w 531"/>
                <a:gd name="T67" fmla="*/ 176 h 280"/>
                <a:gd name="T68" fmla="*/ 506 w 531"/>
                <a:gd name="T69" fmla="*/ 112 h 280"/>
                <a:gd name="T70" fmla="*/ 472 w 531"/>
                <a:gd name="T71" fmla="*/ 80 h 2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31" h="280">
                  <a:moveTo>
                    <a:pt x="472" y="80"/>
                  </a:moveTo>
                  <a:lnTo>
                    <a:pt x="464" y="40"/>
                  </a:lnTo>
                  <a:lnTo>
                    <a:pt x="413" y="32"/>
                  </a:lnTo>
                  <a:lnTo>
                    <a:pt x="371" y="40"/>
                  </a:lnTo>
                  <a:lnTo>
                    <a:pt x="304" y="0"/>
                  </a:lnTo>
                  <a:lnTo>
                    <a:pt x="262" y="0"/>
                  </a:lnTo>
                  <a:lnTo>
                    <a:pt x="211" y="32"/>
                  </a:lnTo>
                  <a:lnTo>
                    <a:pt x="211" y="40"/>
                  </a:lnTo>
                  <a:lnTo>
                    <a:pt x="219" y="72"/>
                  </a:lnTo>
                  <a:lnTo>
                    <a:pt x="219" y="104"/>
                  </a:lnTo>
                  <a:lnTo>
                    <a:pt x="211" y="128"/>
                  </a:lnTo>
                  <a:lnTo>
                    <a:pt x="194" y="128"/>
                  </a:lnTo>
                  <a:lnTo>
                    <a:pt x="160" y="128"/>
                  </a:lnTo>
                  <a:lnTo>
                    <a:pt x="110" y="80"/>
                  </a:lnTo>
                  <a:lnTo>
                    <a:pt x="76" y="64"/>
                  </a:lnTo>
                  <a:lnTo>
                    <a:pt x="43" y="88"/>
                  </a:lnTo>
                  <a:lnTo>
                    <a:pt x="17" y="160"/>
                  </a:lnTo>
                  <a:lnTo>
                    <a:pt x="0" y="192"/>
                  </a:lnTo>
                  <a:lnTo>
                    <a:pt x="0" y="224"/>
                  </a:lnTo>
                  <a:lnTo>
                    <a:pt x="9" y="280"/>
                  </a:lnTo>
                  <a:lnTo>
                    <a:pt x="34" y="256"/>
                  </a:lnTo>
                  <a:lnTo>
                    <a:pt x="93" y="224"/>
                  </a:lnTo>
                  <a:lnTo>
                    <a:pt x="152" y="224"/>
                  </a:lnTo>
                  <a:lnTo>
                    <a:pt x="194" y="216"/>
                  </a:lnTo>
                  <a:lnTo>
                    <a:pt x="236" y="224"/>
                  </a:lnTo>
                  <a:lnTo>
                    <a:pt x="287" y="192"/>
                  </a:lnTo>
                  <a:lnTo>
                    <a:pt x="295" y="208"/>
                  </a:lnTo>
                  <a:lnTo>
                    <a:pt x="346" y="216"/>
                  </a:lnTo>
                  <a:lnTo>
                    <a:pt x="380" y="232"/>
                  </a:lnTo>
                  <a:lnTo>
                    <a:pt x="405" y="248"/>
                  </a:lnTo>
                  <a:lnTo>
                    <a:pt x="430" y="248"/>
                  </a:lnTo>
                  <a:lnTo>
                    <a:pt x="455" y="232"/>
                  </a:lnTo>
                  <a:lnTo>
                    <a:pt x="498" y="232"/>
                  </a:lnTo>
                  <a:lnTo>
                    <a:pt x="531" y="176"/>
                  </a:lnTo>
                  <a:lnTo>
                    <a:pt x="506" y="112"/>
                  </a:lnTo>
                  <a:lnTo>
                    <a:pt x="472" y="8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17" name="Freeform 96"/>
            <p:cNvSpPr>
              <a:spLocks/>
            </p:cNvSpPr>
            <p:nvPr>
              <p:custDataLst>
                <p:tags r:id="rId88"/>
              </p:custDataLst>
            </p:nvPr>
          </p:nvSpPr>
          <p:spPr bwMode="auto">
            <a:xfrm>
              <a:off x="4679" y="1392"/>
              <a:ext cx="337" cy="248"/>
            </a:xfrm>
            <a:custGeom>
              <a:avLst/>
              <a:gdLst>
                <a:gd name="T0" fmla="*/ 295 w 337"/>
                <a:gd name="T1" fmla="*/ 128 h 248"/>
                <a:gd name="T2" fmla="*/ 295 w 337"/>
                <a:gd name="T3" fmla="*/ 64 h 248"/>
                <a:gd name="T4" fmla="*/ 295 w 337"/>
                <a:gd name="T5" fmla="*/ 16 h 248"/>
                <a:gd name="T6" fmla="*/ 286 w 337"/>
                <a:gd name="T7" fmla="*/ 0 h 248"/>
                <a:gd name="T8" fmla="*/ 236 w 337"/>
                <a:gd name="T9" fmla="*/ 8 h 248"/>
                <a:gd name="T10" fmla="*/ 126 w 337"/>
                <a:gd name="T11" fmla="*/ 16 h 248"/>
                <a:gd name="T12" fmla="*/ 67 w 337"/>
                <a:gd name="T13" fmla="*/ 40 h 248"/>
                <a:gd name="T14" fmla="*/ 25 w 337"/>
                <a:gd name="T15" fmla="*/ 64 h 248"/>
                <a:gd name="T16" fmla="*/ 8 w 337"/>
                <a:gd name="T17" fmla="*/ 88 h 248"/>
                <a:gd name="T18" fmla="*/ 0 w 337"/>
                <a:gd name="T19" fmla="*/ 112 h 248"/>
                <a:gd name="T20" fmla="*/ 25 w 337"/>
                <a:gd name="T21" fmla="*/ 128 h 248"/>
                <a:gd name="T22" fmla="*/ 17 w 337"/>
                <a:gd name="T23" fmla="*/ 152 h 248"/>
                <a:gd name="T24" fmla="*/ 25 w 337"/>
                <a:gd name="T25" fmla="*/ 176 h 248"/>
                <a:gd name="T26" fmla="*/ 42 w 337"/>
                <a:gd name="T27" fmla="*/ 184 h 248"/>
                <a:gd name="T28" fmla="*/ 67 w 337"/>
                <a:gd name="T29" fmla="*/ 184 h 248"/>
                <a:gd name="T30" fmla="*/ 93 w 337"/>
                <a:gd name="T31" fmla="*/ 176 h 248"/>
                <a:gd name="T32" fmla="*/ 101 w 337"/>
                <a:gd name="T33" fmla="*/ 240 h 248"/>
                <a:gd name="T34" fmla="*/ 152 w 337"/>
                <a:gd name="T35" fmla="*/ 208 h 248"/>
                <a:gd name="T36" fmla="*/ 194 w 337"/>
                <a:gd name="T37" fmla="*/ 208 h 248"/>
                <a:gd name="T38" fmla="*/ 261 w 337"/>
                <a:gd name="T39" fmla="*/ 248 h 248"/>
                <a:gd name="T40" fmla="*/ 303 w 337"/>
                <a:gd name="T41" fmla="*/ 240 h 248"/>
                <a:gd name="T42" fmla="*/ 320 w 337"/>
                <a:gd name="T43" fmla="*/ 240 h 248"/>
                <a:gd name="T44" fmla="*/ 337 w 337"/>
                <a:gd name="T45" fmla="*/ 176 h 248"/>
                <a:gd name="T46" fmla="*/ 295 w 337"/>
                <a:gd name="T47" fmla="*/ 128 h 24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37" h="248">
                  <a:moveTo>
                    <a:pt x="295" y="128"/>
                  </a:moveTo>
                  <a:lnTo>
                    <a:pt x="295" y="64"/>
                  </a:lnTo>
                  <a:lnTo>
                    <a:pt x="295" y="16"/>
                  </a:lnTo>
                  <a:lnTo>
                    <a:pt x="286" y="0"/>
                  </a:lnTo>
                  <a:lnTo>
                    <a:pt x="236" y="8"/>
                  </a:lnTo>
                  <a:lnTo>
                    <a:pt x="126" y="16"/>
                  </a:lnTo>
                  <a:lnTo>
                    <a:pt x="67" y="40"/>
                  </a:lnTo>
                  <a:lnTo>
                    <a:pt x="25" y="64"/>
                  </a:lnTo>
                  <a:lnTo>
                    <a:pt x="8" y="88"/>
                  </a:lnTo>
                  <a:lnTo>
                    <a:pt x="0" y="112"/>
                  </a:lnTo>
                  <a:lnTo>
                    <a:pt x="25" y="128"/>
                  </a:lnTo>
                  <a:lnTo>
                    <a:pt x="17" y="152"/>
                  </a:lnTo>
                  <a:lnTo>
                    <a:pt x="25" y="176"/>
                  </a:lnTo>
                  <a:lnTo>
                    <a:pt x="42" y="184"/>
                  </a:lnTo>
                  <a:lnTo>
                    <a:pt x="67" y="184"/>
                  </a:lnTo>
                  <a:lnTo>
                    <a:pt x="93" y="176"/>
                  </a:lnTo>
                  <a:lnTo>
                    <a:pt x="101" y="240"/>
                  </a:lnTo>
                  <a:lnTo>
                    <a:pt x="152" y="208"/>
                  </a:lnTo>
                  <a:lnTo>
                    <a:pt x="194" y="208"/>
                  </a:lnTo>
                  <a:lnTo>
                    <a:pt x="261" y="248"/>
                  </a:lnTo>
                  <a:lnTo>
                    <a:pt x="303" y="240"/>
                  </a:lnTo>
                  <a:lnTo>
                    <a:pt x="320" y="240"/>
                  </a:lnTo>
                  <a:lnTo>
                    <a:pt x="337" y="176"/>
                  </a:lnTo>
                  <a:lnTo>
                    <a:pt x="295" y="128"/>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18" name="Freeform 97"/>
            <p:cNvSpPr>
              <a:spLocks/>
            </p:cNvSpPr>
            <p:nvPr>
              <p:custDataLst>
                <p:tags r:id="rId89"/>
              </p:custDataLst>
            </p:nvPr>
          </p:nvSpPr>
          <p:spPr bwMode="auto">
            <a:xfrm>
              <a:off x="4687" y="-8"/>
              <a:ext cx="1121" cy="2200"/>
            </a:xfrm>
            <a:custGeom>
              <a:avLst/>
              <a:gdLst>
                <a:gd name="T0" fmla="*/ 995 w 1121"/>
                <a:gd name="T1" fmla="*/ 64 h 2200"/>
                <a:gd name="T2" fmla="*/ 1003 w 1121"/>
                <a:gd name="T3" fmla="*/ 160 h 2200"/>
                <a:gd name="T4" fmla="*/ 919 w 1121"/>
                <a:gd name="T5" fmla="*/ 168 h 2200"/>
                <a:gd name="T6" fmla="*/ 877 w 1121"/>
                <a:gd name="T7" fmla="*/ 168 h 2200"/>
                <a:gd name="T8" fmla="*/ 893 w 1121"/>
                <a:gd name="T9" fmla="*/ 88 h 2200"/>
                <a:gd name="T10" fmla="*/ 851 w 1121"/>
                <a:gd name="T11" fmla="*/ 16 h 2200"/>
                <a:gd name="T12" fmla="*/ 700 w 1121"/>
                <a:gd name="T13" fmla="*/ 48 h 2200"/>
                <a:gd name="T14" fmla="*/ 809 w 1121"/>
                <a:gd name="T15" fmla="*/ 176 h 2200"/>
                <a:gd name="T16" fmla="*/ 877 w 1121"/>
                <a:gd name="T17" fmla="*/ 224 h 2200"/>
                <a:gd name="T18" fmla="*/ 851 w 1121"/>
                <a:gd name="T19" fmla="*/ 304 h 2200"/>
                <a:gd name="T20" fmla="*/ 784 w 1121"/>
                <a:gd name="T21" fmla="*/ 328 h 2200"/>
                <a:gd name="T22" fmla="*/ 725 w 1121"/>
                <a:gd name="T23" fmla="*/ 448 h 2200"/>
                <a:gd name="T24" fmla="*/ 818 w 1121"/>
                <a:gd name="T25" fmla="*/ 560 h 2200"/>
                <a:gd name="T26" fmla="*/ 599 w 1121"/>
                <a:gd name="T27" fmla="*/ 568 h 2200"/>
                <a:gd name="T28" fmla="*/ 607 w 1121"/>
                <a:gd name="T29" fmla="*/ 640 h 2200"/>
                <a:gd name="T30" fmla="*/ 700 w 1121"/>
                <a:gd name="T31" fmla="*/ 664 h 2200"/>
                <a:gd name="T32" fmla="*/ 674 w 1121"/>
                <a:gd name="T33" fmla="*/ 712 h 2200"/>
                <a:gd name="T34" fmla="*/ 548 w 1121"/>
                <a:gd name="T35" fmla="*/ 688 h 2200"/>
                <a:gd name="T36" fmla="*/ 447 w 1121"/>
                <a:gd name="T37" fmla="*/ 592 h 2200"/>
                <a:gd name="T38" fmla="*/ 430 w 1121"/>
                <a:gd name="T39" fmla="*/ 512 h 2200"/>
                <a:gd name="T40" fmla="*/ 253 w 1121"/>
                <a:gd name="T41" fmla="*/ 424 h 2200"/>
                <a:gd name="T42" fmla="*/ 396 w 1121"/>
                <a:gd name="T43" fmla="*/ 440 h 2200"/>
                <a:gd name="T44" fmla="*/ 658 w 1121"/>
                <a:gd name="T45" fmla="*/ 416 h 2200"/>
                <a:gd name="T46" fmla="*/ 717 w 1121"/>
                <a:gd name="T47" fmla="*/ 288 h 2200"/>
                <a:gd name="T48" fmla="*/ 599 w 1121"/>
                <a:gd name="T49" fmla="*/ 192 h 2200"/>
                <a:gd name="T50" fmla="*/ 304 w 1121"/>
                <a:gd name="T51" fmla="*/ 128 h 2200"/>
                <a:gd name="T52" fmla="*/ 186 w 1121"/>
                <a:gd name="T53" fmla="*/ 96 h 2200"/>
                <a:gd name="T54" fmla="*/ 110 w 1121"/>
                <a:gd name="T55" fmla="*/ 112 h 2200"/>
                <a:gd name="T56" fmla="*/ 42 w 1121"/>
                <a:gd name="T57" fmla="*/ 176 h 2200"/>
                <a:gd name="T58" fmla="*/ 26 w 1121"/>
                <a:gd name="T59" fmla="*/ 336 h 2200"/>
                <a:gd name="T60" fmla="*/ 93 w 1121"/>
                <a:gd name="T61" fmla="*/ 448 h 2200"/>
                <a:gd name="T62" fmla="*/ 169 w 1121"/>
                <a:gd name="T63" fmla="*/ 656 h 2200"/>
                <a:gd name="T64" fmla="*/ 287 w 1121"/>
                <a:gd name="T65" fmla="*/ 808 h 2200"/>
                <a:gd name="T66" fmla="*/ 388 w 1121"/>
                <a:gd name="T67" fmla="*/ 944 h 2200"/>
                <a:gd name="T68" fmla="*/ 287 w 1121"/>
                <a:gd name="T69" fmla="*/ 1152 h 2200"/>
                <a:gd name="T70" fmla="*/ 304 w 1121"/>
                <a:gd name="T71" fmla="*/ 1264 h 2200"/>
                <a:gd name="T72" fmla="*/ 396 w 1121"/>
                <a:gd name="T73" fmla="*/ 1296 h 2200"/>
                <a:gd name="T74" fmla="*/ 346 w 1121"/>
                <a:gd name="T75" fmla="*/ 1312 h 2200"/>
                <a:gd name="T76" fmla="*/ 287 w 1121"/>
                <a:gd name="T77" fmla="*/ 1368 h 2200"/>
                <a:gd name="T78" fmla="*/ 287 w 1121"/>
                <a:gd name="T79" fmla="*/ 1408 h 2200"/>
                <a:gd name="T80" fmla="*/ 329 w 1121"/>
                <a:gd name="T81" fmla="*/ 1568 h 2200"/>
                <a:gd name="T82" fmla="*/ 354 w 1121"/>
                <a:gd name="T83" fmla="*/ 1680 h 2200"/>
                <a:gd name="T84" fmla="*/ 413 w 1121"/>
                <a:gd name="T85" fmla="*/ 1768 h 2200"/>
                <a:gd name="T86" fmla="*/ 481 w 1121"/>
                <a:gd name="T87" fmla="*/ 1776 h 2200"/>
                <a:gd name="T88" fmla="*/ 573 w 1121"/>
                <a:gd name="T89" fmla="*/ 1776 h 2200"/>
                <a:gd name="T90" fmla="*/ 649 w 1121"/>
                <a:gd name="T91" fmla="*/ 1840 h 2200"/>
                <a:gd name="T92" fmla="*/ 683 w 1121"/>
                <a:gd name="T93" fmla="*/ 1904 h 2200"/>
                <a:gd name="T94" fmla="*/ 767 w 1121"/>
                <a:gd name="T95" fmla="*/ 1960 h 2200"/>
                <a:gd name="T96" fmla="*/ 843 w 1121"/>
                <a:gd name="T97" fmla="*/ 2024 h 2200"/>
                <a:gd name="T98" fmla="*/ 767 w 1121"/>
                <a:gd name="T99" fmla="*/ 2072 h 2200"/>
                <a:gd name="T100" fmla="*/ 809 w 1121"/>
                <a:gd name="T101" fmla="*/ 2136 h 2200"/>
                <a:gd name="T102" fmla="*/ 877 w 1121"/>
                <a:gd name="T103" fmla="*/ 2128 h 2200"/>
                <a:gd name="T104" fmla="*/ 1011 w 1121"/>
                <a:gd name="T105" fmla="*/ 2112 h 2200"/>
                <a:gd name="T106" fmla="*/ 1054 w 1121"/>
                <a:gd name="T107" fmla="*/ 2192 h 2200"/>
                <a:gd name="T108" fmla="*/ 1113 w 1121"/>
                <a:gd name="T109" fmla="*/ 1360 h 2200"/>
                <a:gd name="T110" fmla="*/ 1014 w 1121"/>
                <a:gd name="T111" fmla="*/ 13 h 22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21" h="2200">
                  <a:moveTo>
                    <a:pt x="1014" y="13"/>
                  </a:moveTo>
                  <a:lnTo>
                    <a:pt x="1011" y="6"/>
                  </a:lnTo>
                  <a:lnTo>
                    <a:pt x="995" y="64"/>
                  </a:lnTo>
                  <a:lnTo>
                    <a:pt x="1011" y="112"/>
                  </a:lnTo>
                  <a:lnTo>
                    <a:pt x="1011" y="136"/>
                  </a:lnTo>
                  <a:lnTo>
                    <a:pt x="1003" y="160"/>
                  </a:lnTo>
                  <a:lnTo>
                    <a:pt x="961" y="184"/>
                  </a:lnTo>
                  <a:lnTo>
                    <a:pt x="936" y="184"/>
                  </a:lnTo>
                  <a:lnTo>
                    <a:pt x="919" y="168"/>
                  </a:lnTo>
                  <a:lnTo>
                    <a:pt x="902" y="160"/>
                  </a:lnTo>
                  <a:lnTo>
                    <a:pt x="893" y="168"/>
                  </a:lnTo>
                  <a:lnTo>
                    <a:pt x="877" y="168"/>
                  </a:lnTo>
                  <a:lnTo>
                    <a:pt x="877" y="144"/>
                  </a:lnTo>
                  <a:lnTo>
                    <a:pt x="877" y="112"/>
                  </a:lnTo>
                  <a:lnTo>
                    <a:pt x="893" y="88"/>
                  </a:lnTo>
                  <a:lnTo>
                    <a:pt x="902" y="64"/>
                  </a:lnTo>
                  <a:lnTo>
                    <a:pt x="893" y="48"/>
                  </a:lnTo>
                  <a:lnTo>
                    <a:pt x="851" y="16"/>
                  </a:lnTo>
                  <a:lnTo>
                    <a:pt x="801" y="24"/>
                  </a:lnTo>
                  <a:lnTo>
                    <a:pt x="750" y="40"/>
                  </a:lnTo>
                  <a:lnTo>
                    <a:pt x="700" y="48"/>
                  </a:lnTo>
                  <a:lnTo>
                    <a:pt x="742" y="64"/>
                  </a:lnTo>
                  <a:lnTo>
                    <a:pt x="784" y="88"/>
                  </a:lnTo>
                  <a:lnTo>
                    <a:pt x="809" y="176"/>
                  </a:lnTo>
                  <a:lnTo>
                    <a:pt x="818" y="200"/>
                  </a:lnTo>
                  <a:lnTo>
                    <a:pt x="843" y="200"/>
                  </a:lnTo>
                  <a:lnTo>
                    <a:pt x="877" y="224"/>
                  </a:lnTo>
                  <a:lnTo>
                    <a:pt x="902" y="264"/>
                  </a:lnTo>
                  <a:lnTo>
                    <a:pt x="910" y="312"/>
                  </a:lnTo>
                  <a:lnTo>
                    <a:pt x="851" y="304"/>
                  </a:lnTo>
                  <a:lnTo>
                    <a:pt x="801" y="312"/>
                  </a:lnTo>
                  <a:lnTo>
                    <a:pt x="784" y="320"/>
                  </a:lnTo>
                  <a:lnTo>
                    <a:pt x="784" y="328"/>
                  </a:lnTo>
                  <a:lnTo>
                    <a:pt x="776" y="360"/>
                  </a:lnTo>
                  <a:lnTo>
                    <a:pt x="750" y="400"/>
                  </a:lnTo>
                  <a:lnTo>
                    <a:pt x="725" y="448"/>
                  </a:lnTo>
                  <a:lnTo>
                    <a:pt x="717" y="480"/>
                  </a:lnTo>
                  <a:lnTo>
                    <a:pt x="733" y="496"/>
                  </a:lnTo>
                  <a:lnTo>
                    <a:pt x="818" y="560"/>
                  </a:lnTo>
                  <a:lnTo>
                    <a:pt x="750" y="584"/>
                  </a:lnTo>
                  <a:lnTo>
                    <a:pt x="666" y="584"/>
                  </a:lnTo>
                  <a:lnTo>
                    <a:pt x="599" y="568"/>
                  </a:lnTo>
                  <a:lnTo>
                    <a:pt x="582" y="584"/>
                  </a:lnTo>
                  <a:lnTo>
                    <a:pt x="573" y="608"/>
                  </a:lnTo>
                  <a:lnTo>
                    <a:pt x="607" y="640"/>
                  </a:lnTo>
                  <a:lnTo>
                    <a:pt x="658" y="648"/>
                  </a:lnTo>
                  <a:lnTo>
                    <a:pt x="683" y="648"/>
                  </a:lnTo>
                  <a:lnTo>
                    <a:pt x="700" y="664"/>
                  </a:lnTo>
                  <a:lnTo>
                    <a:pt x="700" y="680"/>
                  </a:lnTo>
                  <a:lnTo>
                    <a:pt x="683" y="704"/>
                  </a:lnTo>
                  <a:lnTo>
                    <a:pt x="674" y="712"/>
                  </a:lnTo>
                  <a:lnTo>
                    <a:pt x="649" y="712"/>
                  </a:lnTo>
                  <a:lnTo>
                    <a:pt x="599" y="696"/>
                  </a:lnTo>
                  <a:lnTo>
                    <a:pt x="548" y="688"/>
                  </a:lnTo>
                  <a:lnTo>
                    <a:pt x="523" y="680"/>
                  </a:lnTo>
                  <a:lnTo>
                    <a:pt x="506" y="664"/>
                  </a:lnTo>
                  <a:lnTo>
                    <a:pt x="447" y="592"/>
                  </a:lnTo>
                  <a:lnTo>
                    <a:pt x="438" y="552"/>
                  </a:lnTo>
                  <a:lnTo>
                    <a:pt x="438" y="536"/>
                  </a:lnTo>
                  <a:lnTo>
                    <a:pt x="430" y="512"/>
                  </a:lnTo>
                  <a:lnTo>
                    <a:pt x="380" y="496"/>
                  </a:lnTo>
                  <a:lnTo>
                    <a:pt x="337" y="480"/>
                  </a:lnTo>
                  <a:lnTo>
                    <a:pt x="253" y="424"/>
                  </a:lnTo>
                  <a:lnTo>
                    <a:pt x="287" y="424"/>
                  </a:lnTo>
                  <a:lnTo>
                    <a:pt x="321" y="440"/>
                  </a:lnTo>
                  <a:lnTo>
                    <a:pt x="396" y="440"/>
                  </a:lnTo>
                  <a:lnTo>
                    <a:pt x="565" y="448"/>
                  </a:lnTo>
                  <a:lnTo>
                    <a:pt x="624" y="432"/>
                  </a:lnTo>
                  <a:lnTo>
                    <a:pt x="658" y="416"/>
                  </a:lnTo>
                  <a:lnTo>
                    <a:pt x="683" y="384"/>
                  </a:lnTo>
                  <a:lnTo>
                    <a:pt x="708" y="320"/>
                  </a:lnTo>
                  <a:lnTo>
                    <a:pt x="717" y="288"/>
                  </a:lnTo>
                  <a:lnTo>
                    <a:pt x="708" y="256"/>
                  </a:lnTo>
                  <a:lnTo>
                    <a:pt x="666" y="208"/>
                  </a:lnTo>
                  <a:lnTo>
                    <a:pt x="599" y="192"/>
                  </a:lnTo>
                  <a:lnTo>
                    <a:pt x="447" y="152"/>
                  </a:lnTo>
                  <a:lnTo>
                    <a:pt x="371" y="128"/>
                  </a:lnTo>
                  <a:lnTo>
                    <a:pt x="304" y="128"/>
                  </a:lnTo>
                  <a:lnTo>
                    <a:pt x="152" y="128"/>
                  </a:lnTo>
                  <a:lnTo>
                    <a:pt x="177" y="104"/>
                  </a:lnTo>
                  <a:lnTo>
                    <a:pt x="186" y="96"/>
                  </a:lnTo>
                  <a:lnTo>
                    <a:pt x="169" y="88"/>
                  </a:lnTo>
                  <a:lnTo>
                    <a:pt x="127" y="80"/>
                  </a:lnTo>
                  <a:lnTo>
                    <a:pt x="110" y="112"/>
                  </a:lnTo>
                  <a:lnTo>
                    <a:pt x="76" y="120"/>
                  </a:lnTo>
                  <a:lnTo>
                    <a:pt x="76" y="144"/>
                  </a:lnTo>
                  <a:lnTo>
                    <a:pt x="42" y="176"/>
                  </a:lnTo>
                  <a:lnTo>
                    <a:pt x="9" y="224"/>
                  </a:lnTo>
                  <a:lnTo>
                    <a:pt x="0" y="272"/>
                  </a:lnTo>
                  <a:lnTo>
                    <a:pt x="26" y="336"/>
                  </a:lnTo>
                  <a:lnTo>
                    <a:pt x="68" y="352"/>
                  </a:lnTo>
                  <a:lnTo>
                    <a:pt x="110" y="392"/>
                  </a:lnTo>
                  <a:lnTo>
                    <a:pt x="93" y="448"/>
                  </a:lnTo>
                  <a:lnTo>
                    <a:pt x="144" y="544"/>
                  </a:lnTo>
                  <a:lnTo>
                    <a:pt x="211" y="608"/>
                  </a:lnTo>
                  <a:lnTo>
                    <a:pt x="169" y="656"/>
                  </a:lnTo>
                  <a:lnTo>
                    <a:pt x="177" y="712"/>
                  </a:lnTo>
                  <a:lnTo>
                    <a:pt x="245" y="752"/>
                  </a:lnTo>
                  <a:lnTo>
                    <a:pt x="287" y="808"/>
                  </a:lnTo>
                  <a:lnTo>
                    <a:pt x="270" y="856"/>
                  </a:lnTo>
                  <a:lnTo>
                    <a:pt x="337" y="896"/>
                  </a:lnTo>
                  <a:lnTo>
                    <a:pt x="388" y="944"/>
                  </a:lnTo>
                  <a:lnTo>
                    <a:pt x="380" y="1008"/>
                  </a:lnTo>
                  <a:lnTo>
                    <a:pt x="337" y="1080"/>
                  </a:lnTo>
                  <a:lnTo>
                    <a:pt x="287" y="1152"/>
                  </a:lnTo>
                  <a:lnTo>
                    <a:pt x="262" y="1248"/>
                  </a:lnTo>
                  <a:lnTo>
                    <a:pt x="278" y="1232"/>
                  </a:lnTo>
                  <a:lnTo>
                    <a:pt x="304" y="1264"/>
                  </a:lnTo>
                  <a:lnTo>
                    <a:pt x="346" y="1280"/>
                  </a:lnTo>
                  <a:lnTo>
                    <a:pt x="396" y="1288"/>
                  </a:lnTo>
                  <a:lnTo>
                    <a:pt x="396" y="1296"/>
                  </a:lnTo>
                  <a:lnTo>
                    <a:pt x="388" y="1304"/>
                  </a:lnTo>
                  <a:lnTo>
                    <a:pt x="363" y="1312"/>
                  </a:lnTo>
                  <a:lnTo>
                    <a:pt x="346" y="1312"/>
                  </a:lnTo>
                  <a:lnTo>
                    <a:pt x="337" y="1336"/>
                  </a:lnTo>
                  <a:lnTo>
                    <a:pt x="287" y="1344"/>
                  </a:lnTo>
                  <a:lnTo>
                    <a:pt x="287" y="1368"/>
                  </a:lnTo>
                  <a:lnTo>
                    <a:pt x="287" y="1392"/>
                  </a:lnTo>
                  <a:lnTo>
                    <a:pt x="278" y="1392"/>
                  </a:lnTo>
                  <a:lnTo>
                    <a:pt x="287" y="1408"/>
                  </a:lnTo>
                  <a:lnTo>
                    <a:pt x="287" y="1456"/>
                  </a:lnTo>
                  <a:lnTo>
                    <a:pt x="287" y="1520"/>
                  </a:lnTo>
                  <a:lnTo>
                    <a:pt x="329" y="1568"/>
                  </a:lnTo>
                  <a:lnTo>
                    <a:pt x="312" y="1632"/>
                  </a:lnTo>
                  <a:lnTo>
                    <a:pt x="346" y="1640"/>
                  </a:lnTo>
                  <a:lnTo>
                    <a:pt x="354" y="1680"/>
                  </a:lnTo>
                  <a:lnTo>
                    <a:pt x="388" y="1712"/>
                  </a:lnTo>
                  <a:lnTo>
                    <a:pt x="413" y="1776"/>
                  </a:lnTo>
                  <a:lnTo>
                    <a:pt x="413" y="1768"/>
                  </a:lnTo>
                  <a:lnTo>
                    <a:pt x="438" y="1768"/>
                  </a:lnTo>
                  <a:lnTo>
                    <a:pt x="464" y="1784"/>
                  </a:lnTo>
                  <a:lnTo>
                    <a:pt x="481" y="1776"/>
                  </a:lnTo>
                  <a:lnTo>
                    <a:pt x="514" y="1784"/>
                  </a:lnTo>
                  <a:lnTo>
                    <a:pt x="531" y="1800"/>
                  </a:lnTo>
                  <a:lnTo>
                    <a:pt x="573" y="1776"/>
                  </a:lnTo>
                  <a:lnTo>
                    <a:pt x="607" y="1784"/>
                  </a:lnTo>
                  <a:lnTo>
                    <a:pt x="641" y="1808"/>
                  </a:lnTo>
                  <a:lnTo>
                    <a:pt x="649" y="1840"/>
                  </a:lnTo>
                  <a:lnTo>
                    <a:pt x="649" y="1872"/>
                  </a:lnTo>
                  <a:lnTo>
                    <a:pt x="683" y="1888"/>
                  </a:lnTo>
                  <a:lnTo>
                    <a:pt x="683" y="1904"/>
                  </a:lnTo>
                  <a:lnTo>
                    <a:pt x="717" y="1928"/>
                  </a:lnTo>
                  <a:lnTo>
                    <a:pt x="759" y="1936"/>
                  </a:lnTo>
                  <a:lnTo>
                    <a:pt x="767" y="1960"/>
                  </a:lnTo>
                  <a:lnTo>
                    <a:pt x="835" y="1976"/>
                  </a:lnTo>
                  <a:lnTo>
                    <a:pt x="860" y="2000"/>
                  </a:lnTo>
                  <a:lnTo>
                    <a:pt x="843" y="2024"/>
                  </a:lnTo>
                  <a:lnTo>
                    <a:pt x="826" y="2040"/>
                  </a:lnTo>
                  <a:lnTo>
                    <a:pt x="776" y="2048"/>
                  </a:lnTo>
                  <a:lnTo>
                    <a:pt x="767" y="2072"/>
                  </a:lnTo>
                  <a:lnTo>
                    <a:pt x="792" y="2088"/>
                  </a:lnTo>
                  <a:lnTo>
                    <a:pt x="792" y="2112"/>
                  </a:lnTo>
                  <a:lnTo>
                    <a:pt x="809" y="2136"/>
                  </a:lnTo>
                  <a:lnTo>
                    <a:pt x="835" y="2168"/>
                  </a:lnTo>
                  <a:lnTo>
                    <a:pt x="868" y="2168"/>
                  </a:lnTo>
                  <a:lnTo>
                    <a:pt x="877" y="2128"/>
                  </a:lnTo>
                  <a:lnTo>
                    <a:pt x="910" y="2128"/>
                  </a:lnTo>
                  <a:lnTo>
                    <a:pt x="969" y="2096"/>
                  </a:lnTo>
                  <a:lnTo>
                    <a:pt x="1011" y="2112"/>
                  </a:lnTo>
                  <a:lnTo>
                    <a:pt x="1054" y="2136"/>
                  </a:lnTo>
                  <a:lnTo>
                    <a:pt x="1037" y="2152"/>
                  </a:lnTo>
                  <a:lnTo>
                    <a:pt x="1054" y="2192"/>
                  </a:lnTo>
                  <a:lnTo>
                    <a:pt x="1079" y="2200"/>
                  </a:lnTo>
                  <a:lnTo>
                    <a:pt x="1113" y="2200"/>
                  </a:lnTo>
                  <a:lnTo>
                    <a:pt x="1113" y="1360"/>
                  </a:lnTo>
                  <a:lnTo>
                    <a:pt x="1121" y="0"/>
                  </a:lnTo>
                  <a:lnTo>
                    <a:pt x="1116" y="8"/>
                  </a:lnTo>
                  <a:lnTo>
                    <a:pt x="1014" y="13"/>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20" name="Freeform 99"/>
            <p:cNvSpPr>
              <a:spLocks/>
            </p:cNvSpPr>
            <p:nvPr>
              <p:custDataLst>
                <p:tags r:id="rId90"/>
              </p:custDataLst>
            </p:nvPr>
          </p:nvSpPr>
          <p:spPr bwMode="auto">
            <a:xfrm>
              <a:off x="4687" y="7"/>
              <a:ext cx="1115" cy="2190"/>
            </a:xfrm>
            <a:custGeom>
              <a:avLst/>
              <a:gdLst>
                <a:gd name="T0" fmla="*/ 1011 w 1115"/>
                <a:gd name="T1" fmla="*/ 102 h 2190"/>
                <a:gd name="T2" fmla="*/ 961 w 1115"/>
                <a:gd name="T3" fmla="*/ 174 h 2190"/>
                <a:gd name="T4" fmla="*/ 902 w 1115"/>
                <a:gd name="T5" fmla="*/ 150 h 2190"/>
                <a:gd name="T6" fmla="*/ 877 w 1115"/>
                <a:gd name="T7" fmla="*/ 134 h 2190"/>
                <a:gd name="T8" fmla="*/ 902 w 1115"/>
                <a:gd name="T9" fmla="*/ 54 h 2190"/>
                <a:gd name="T10" fmla="*/ 801 w 1115"/>
                <a:gd name="T11" fmla="*/ 14 h 2190"/>
                <a:gd name="T12" fmla="*/ 742 w 1115"/>
                <a:gd name="T13" fmla="*/ 54 h 2190"/>
                <a:gd name="T14" fmla="*/ 818 w 1115"/>
                <a:gd name="T15" fmla="*/ 190 h 2190"/>
                <a:gd name="T16" fmla="*/ 902 w 1115"/>
                <a:gd name="T17" fmla="*/ 254 h 2190"/>
                <a:gd name="T18" fmla="*/ 801 w 1115"/>
                <a:gd name="T19" fmla="*/ 302 h 2190"/>
                <a:gd name="T20" fmla="*/ 776 w 1115"/>
                <a:gd name="T21" fmla="*/ 350 h 2190"/>
                <a:gd name="T22" fmla="*/ 717 w 1115"/>
                <a:gd name="T23" fmla="*/ 470 h 2190"/>
                <a:gd name="T24" fmla="*/ 750 w 1115"/>
                <a:gd name="T25" fmla="*/ 574 h 2190"/>
                <a:gd name="T26" fmla="*/ 582 w 1115"/>
                <a:gd name="T27" fmla="*/ 574 h 2190"/>
                <a:gd name="T28" fmla="*/ 658 w 1115"/>
                <a:gd name="T29" fmla="*/ 638 h 2190"/>
                <a:gd name="T30" fmla="*/ 700 w 1115"/>
                <a:gd name="T31" fmla="*/ 670 h 2190"/>
                <a:gd name="T32" fmla="*/ 649 w 1115"/>
                <a:gd name="T33" fmla="*/ 702 h 2190"/>
                <a:gd name="T34" fmla="*/ 523 w 1115"/>
                <a:gd name="T35" fmla="*/ 670 h 2190"/>
                <a:gd name="T36" fmla="*/ 438 w 1115"/>
                <a:gd name="T37" fmla="*/ 542 h 2190"/>
                <a:gd name="T38" fmla="*/ 380 w 1115"/>
                <a:gd name="T39" fmla="*/ 486 h 2190"/>
                <a:gd name="T40" fmla="*/ 287 w 1115"/>
                <a:gd name="T41" fmla="*/ 414 h 2190"/>
                <a:gd name="T42" fmla="*/ 565 w 1115"/>
                <a:gd name="T43" fmla="*/ 438 h 2190"/>
                <a:gd name="T44" fmla="*/ 683 w 1115"/>
                <a:gd name="T45" fmla="*/ 374 h 2190"/>
                <a:gd name="T46" fmla="*/ 708 w 1115"/>
                <a:gd name="T47" fmla="*/ 246 h 2190"/>
                <a:gd name="T48" fmla="*/ 447 w 1115"/>
                <a:gd name="T49" fmla="*/ 142 h 2190"/>
                <a:gd name="T50" fmla="*/ 152 w 1115"/>
                <a:gd name="T51" fmla="*/ 118 h 2190"/>
                <a:gd name="T52" fmla="*/ 169 w 1115"/>
                <a:gd name="T53" fmla="*/ 78 h 2190"/>
                <a:gd name="T54" fmla="*/ 76 w 1115"/>
                <a:gd name="T55" fmla="*/ 110 h 2190"/>
                <a:gd name="T56" fmla="*/ 9 w 1115"/>
                <a:gd name="T57" fmla="*/ 214 h 2190"/>
                <a:gd name="T58" fmla="*/ 68 w 1115"/>
                <a:gd name="T59" fmla="*/ 342 h 2190"/>
                <a:gd name="T60" fmla="*/ 144 w 1115"/>
                <a:gd name="T61" fmla="*/ 534 h 2190"/>
                <a:gd name="T62" fmla="*/ 177 w 1115"/>
                <a:gd name="T63" fmla="*/ 702 h 2190"/>
                <a:gd name="T64" fmla="*/ 270 w 1115"/>
                <a:gd name="T65" fmla="*/ 846 h 2190"/>
                <a:gd name="T66" fmla="*/ 380 w 1115"/>
                <a:gd name="T67" fmla="*/ 998 h 2190"/>
                <a:gd name="T68" fmla="*/ 262 w 1115"/>
                <a:gd name="T69" fmla="*/ 1238 h 2190"/>
                <a:gd name="T70" fmla="*/ 346 w 1115"/>
                <a:gd name="T71" fmla="*/ 1270 h 2190"/>
                <a:gd name="T72" fmla="*/ 388 w 1115"/>
                <a:gd name="T73" fmla="*/ 1294 h 2190"/>
                <a:gd name="T74" fmla="*/ 337 w 1115"/>
                <a:gd name="T75" fmla="*/ 1326 h 2190"/>
                <a:gd name="T76" fmla="*/ 287 w 1115"/>
                <a:gd name="T77" fmla="*/ 1382 h 2190"/>
                <a:gd name="T78" fmla="*/ 287 w 1115"/>
                <a:gd name="T79" fmla="*/ 1446 h 2190"/>
                <a:gd name="T80" fmla="*/ 312 w 1115"/>
                <a:gd name="T81" fmla="*/ 1622 h 2190"/>
                <a:gd name="T82" fmla="*/ 388 w 1115"/>
                <a:gd name="T83" fmla="*/ 1702 h 2190"/>
                <a:gd name="T84" fmla="*/ 438 w 1115"/>
                <a:gd name="T85" fmla="*/ 1758 h 2190"/>
                <a:gd name="T86" fmla="*/ 514 w 1115"/>
                <a:gd name="T87" fmla="*/ 1774 h 2190"/>
                <a:gd name="T88" fmla="*/ 607 w 1115"/>
                <a:gd name="T89" fmla="*/ 1774 h 2190"/>
                <a:gd name="T90" fmla="*/ 649 w 1115"/>
                <a:gd name="T91" fmla="*/ 1862 h 2190"/>
                <a:gd name="T92" fmla="*/ 717 w 1115"/>
                <a:gd name="T93" fmla="*/ 1918 h 2190"/>
                <a:gd name="T94" fmla="*/ 835 w 1115"/>
                <a:gd name="T95" fmla="*/ 1966 h 2190"/>
                <a:gd name="T96" fmla="*/ 826 w 1115"/>
                <a:gd name="T97" fmla="*/ 2030 h 2190"/>
                <a:gd name="T98" fmla="*/ 792 w 1115"/>
                <a:gd name="T99" fmla="*/ 2078 h 2190"/>
                <a:gd name="T100" fmla="*/ 835 w 1115"/>
                <a:gd name="T101" fmla="*/ 2158 h 2190"/>
                <a:gd name="T102" fmla="*/ 877 w 1115"/>
                <a:gd name="T103" fmla="*/ 2118 h 2190"/>
                <a:gd name="T104" fmla="*/ 1011 w 1115"/>
                <a:gd name="T105" fmla="*/ 2102 h 2190"/>
                <a:gd name="T106" fmla="*/ 1054 w 1115"/>
                <a:gd name="T107" fmla="*/ 2182 h 2190"/>
                <a:gd name="T108" fmla="*/ 1115 w 1115"/>
                <a:gd name="T109" fmla="*/ 0 h 219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15" h="2190">
                  <a:moveTo>
                    <a:pt x="1011" y="0"/>
                  </a:moveTo>
                  <a:lnTo>
                    <a:pt x="995" y="54"/>
                  </a:lnTo>
                  <a:lnTo>
                    <a:pt x="1011" y="102"/>
                  </a:lnTo>
                  <a:lnTo>
                    <a:pt x="1011" y="126"/>
                  </a:lnTo>
                  <a:lnTo>
                    <a:pt x="1003" y="150"/>
                  </a:lnTo>
                  <a:lnTo>
                    <a:pt x="961" y="174"/>
                  </a:lnTo>
                  <a:lnTo>
                    <a:pt x="936" y="174"/>
                  </a:lnTo>
                  <a:lnTo>
                    <a:pt x="919" y="158"/>
                  </a:lnTo>
                  <a:lnTo>
                    <a:pt x="902" y="150"/>
                  </a:lnTo>
                  <a:lnTo>
                    <a:pt x="893" y="158"/>
                  </a:lnTo>
                  <a:lnTo>
                    <a:pt x="877" y="158"/>
                  </a:lnTo>
                  <a:lnTo>
                    <a:pt x="877" y="134"/>
                  </a:lnTo>
                  <a:lnTo>
                    <a:pt x="877" y="102"/>
                  </a:lnTo>
                  <a:lnTo>
                    <a:pt x="893" y="78"/>
                  </a:lnTo>
                  <a:lnTo>
                    <a:pt x="902" y="54"/>
                  </a:lnTo>
                  <a:lnTo>
                    <a:pt x="893" y="38"/>
                  </a:lnTo>
                  <a:lnTo>
                    <a:pt x="851" y="6"/>
                  </a:lnTo>
                  <a:lnTo>
                    <a:pt x="801" y="14"/>
                  </a:lnTo>
                  <a:lnTo>
                    <a:pt x="750" y="30"/>
                  </a:lnTo>
                  <a:lnTo>
                    <a:pt x="700" y="38"/>
                  </a:lnTo>
                  <a:lnTo>
                    <a:pt x="742" y="54"/>
                  </a:lnTo>
                  <a:lnTo>
                    <a:pt x="784" y="78"/>
                  </a:lnTo>
                  <a:lnTo>
                    <a:pt x="809" y="166"/>
                  </a:lnTo>
                  <a:lnTo>
                    <a:pt x="818" y="190"/>
                  </a:lnTo>
                  <a:lnTo>
                    <a:pt x="843" y="190"/>
                  </a:lnTo>
                  <a:lnTo>
                    <a:pt x="877" y="214"/>
                  </a:lnTo>
                  <a:lnTo>
                    <a:pt x="902" y="254"/>
                  </a:lnTo>
                  <a:lnTo>
                    <a:pt x="910" y="302"/>
                  </a:lnTo>
                  <a:lnTo>
                    <a:pt x="851" y="294"/>
                  </a:lnTo>
                  <a:lnTo>
                    <a:pt x="801" y="302"/>
                  </a:lnTo>
                  <a:lnTo>
                    <a:pt x="784" y="310"/>
                  </a:lnTo>
                  <a:lnTo>
                    <a:pt x="784" y="318"/>
                  </a:lnTo>
                  <a:lnTo>
                    <a:pt x="776" y="350"/>
                  </a:lnTo>
                  <a:lnTo>
                    <a:pt x="750" y="390"/>
                  </a:lnTo>
                  <a:lnTo>
                    <a:pt x="725" y="438"/>
                  </a:lnTo>
                  <a:lnTo>
                    <a:pt x="717" y="470"/>
                  </a:lnTo>
                  <a:lnTo>
                    <a:pt x="733" y="486"/>
                  </a:lnTo>
                  <a:lnTo>
                    <a:pt x="818" y="550"/>
                  </a:lnTo>
                  <a:lnTo>
                    <a:pt x="750" y="574"/>
                  </a:lnTo>
                  <a:lnTo>
                    <a:pt x="666" y="574"/>
                  </a:lnTo>
                  <a:lnTo>
                    <a:pt x="599" y="558"/>
                  </a:lnTo>
                  <a:lnTo>
                    <a:pt x="582" y="574"/>
                  </a:lnTo>
                  <a:lnTo>
                    <a:pt x="573" y="598"/>
                  </a:lnTo>
                  <a:lnTo>
                    <a:pt x="607" y="630"/>
                  </a:lnTo>
                  <a:lnTo>
                    <a:pt x="658" y="638"/>
                  </a:lnTo>
                  <a:lnTo>
                    <a:pt x="683" y="638"/>
                  </a:lnTo>
                  <a:lnTo>
                    <a:pt x="700" y="654"/>
                  </a:lnTo>
                  <a:lnTo>
                    <a:pt x="700" y="670"/>
                  </a:lnTo>
                  <a:lnTo>
                    <a:pt x="683" y="694"/>
                  </a:lnTo>
                  <a:lnTo>
                    <a:pt x="674" y="702"/>
                  </a:lnTo>
                  <a:lnTo>
                    <a:pt x="649" y="702"/>
                  </a:lnTo>
                  <a:lnTo>
                    <a:pt x="599" y="686"/>
                  </a:lnTo>
                  <a:lnTo>
                    <a:pt x="548" y="678"/>
                  </a:lnTo>
                  <a:lnTo>
                    <a:pt x="523" y="670"/>
                  </a:lnTo>
                  <a:lnTo>
                    <a:pt x="506" y="654"/>
                  </a:lnTo>
                  <a:lnTo>
                    <a:pt x="447" y="582"/>
                  </a:lnTo>
                  <a:lnTo>
                    <a:pt x="438" y="542"/>
                  </a:lnTo>
                  <a:lnTo>
                    <a:pt x="438" y="526"/>
                  </a:lnTo>
                  <a:lnTo>
                    <a:pt x="430" y="502"/>
                  </a:lnTo>
                  <a:lnTo>
                    <a:pt x="380" y="486"/>
                  </a:lnTo>
                  <a:lnTo>
                    <a:pt x="337" y="470"/>
                  </a:lnTo>
                  <a:lnTo>
                    <a:pt x="253" y="414"/>
                  </a:lnTo>
                  <a:lnTo>
                    <a:pt x="287" y="414"/>
                  </a:lnTo>
                  <a:lnTo>
                    <a:pt x="321" y="430"/>
                  </a:lnTo>
                  <a:lnTo>
                    <a:pt x="396" y="430"/>
                  </a:lnTo>
                  <a:lnTo>
                    <a:pt x="565" y="438"/>
                  </a:lnTo>
                  <a:lnTo>
                    <a:pt x="624" y="422"/>
                  </a:lnTo>
                  <a:lnTo>
                    <a:pt x="658" y="406"/>
                  </a:lnTo>
                  <a:lnTo>
                    <a:pt x="683" y="374"/>
                  </a:lnTo>
                  <a:lnTo>
                    <a:pt x="708" y="310"/>
                  </a:lnTo>
                  <a:lnTo>
                    <a:pt x="717" y="278"/>
                  </a:lnTo>
                  <a:lnTo>
                    <a:pt x="708" y="246"/>
                  </a:lnTo>
                  <a:lnTo>
                    <a:pt x="666" y="198"/>
                  </a:lnTo>
                  <a:lnTo>
                    <a:pt x="599" y="182"/>
                  </a:lnTo>
                  <a:lnTo>
                    <a:pt x="447" y="142"/>
                  </a:lnTo>
                  <a:lnTo>
                    <a:pt x="371" y="118"/>
                  </a:lnTo>
                  <a:lnTo>
                    <a:pt x="304" y="118"/>
                  </a:lnTo>
                  <a:lnTo>
                    <a:pt x="152" y="118"/>
                  </a:lnTo>
                  <a:lnTo>
                    <a:pt x="177" y="94"/>
                  </a:lnTo>
                  <a:lnTo>
                    <a:pt x="186" y="86"/>
                  </a:lnTo>
                  <a:lnTo>
                    <a:pt x="169" y="78"/>
                  </a:lnTo>
                  <a:lnTo>
                    <a:pt x="127" y="70"/>
                  </a:lnTo>
                  <a:lnTo>
                    <a:pt x="110" y="102"/>
                  </a:lnTo>
                  <a:lnTo>
                    <a:pt x="76" y="110"/>
                  </a:lnTo>
                  <a:lnTo>
                    <a:pt x="76" y="134"/>
                  </a:lnTo>
                  <a:lnTo>
                    <a:pt x="42" y="166"/>
                  </a:lnTo>
                  <a:lnTo>
                    <a:pt x="9" y="214"/>
                  </a:lnTo>
                  <a:lnTo>
                    <a:pt x="0" y="262"/>
                  </a:lnTo>
                  <a:lnTo>
                    <a:pt x="26" y="326"/>
                  </a:lnTo>
                  <a:lnTo>
                    <a:pt x="68" y="342"/>
                  </a:lnTo>
                  <a:lnTo>
                    <a:pt x="110" y="382"/>
                  </a:lnTo>
                  <a:lnTo>
                    <a:pt x="93" y="438"/>
                  </a:lnTo>
                  <a:lnTo>
                    <a:pt x="144" y="534"/>
                  </a:lnTo>
                  <a:lnTo>
                    <a:pt x="211" y="598"/>
                  </a:lnTo>
                  <a:lnTo>
                    <a:pt x="169" y="646"/>
                  </a:lnTo>
                  <a:lnTo>
                    <a:pt x="177" y="702"/>
                  </a:lnTo>
                  <a:lnTo>
                    <a:pt x="245" y="742"/>
                  </a:lnTo>
                  <a:lnTo>
                    <a:pt x="287" y="798"/>
                  </a:lnTo>
                  <a:lnTo>
                    <a:pt x="270" y="846"/>
                  </a:lnTo>
                  <a:lnTo>
                    <a:pt x="337" y="886"/>
                  </a:lnTo>
                  <a:lnTo>
                    <a:pt x="388" y="934"/>
                  </a:lnTo>
                  <a:lnTo>
                    <a:pt x="380" y="998"/>
                  </a:lnTo>
                  <a:lnTo>
                    <a:pt x="337" y="1070"/>
                  </a:lnTo>
                  <a:lnTo>
                    <a:pt x="287" y="1142"/>
                  </a:lnTo>
                  <a:lnTo>
                    <a:pt x="262" y="1238"/>
                  </a:lnTo>
                  <a:lnTo>
                    <a:pt x="278" y="1222"/>
                  </a:lnTo>
                  <a:lnTo>
                    <a:pt x="304" y="1254"/>
                  </a:lnTo>
                  <a:lnTo>
                    <a:pt x="346" y="1270"/>
                  </a:lnTo>
                  <a:lnTo>
                    <a:pt x="396" y="1278"/>
                  </a:lnTo>
                  <a:lnTo>
                    <a:pt x="396" y="1286"/>
                  </a:lnTo>
                  <a:lnTo>
                    <a:pt x="388" y="1294"/>
                  </a:lnTo>
                  <a:lnTo>
                    <a:pt x="363" y="1302"/>
                  </a:lnTo>
                  <a:lnTo>
                    <a:pt x="346" y="1302"/>
                  </a:lnTo>
                  <a:lnTo>
                    <a:pt x="337" y="1326"/>
                  </a:lnTo>
                  <a:lnTo>
                    <a:pt x="287" y="1334"/>
                  </a:lnTo>
                  <a:lnTo>
                    <a:pt x="287" y="1358"/>
                  </a:lnTo>
                  <a:lnTo>
                    <a:pt x="287" y="1382"/>
                  </a:lnTo>
                  <a:lnTo>
                    <a:pt x="278" y="1382"/>
                  </a:lnTo>
                  <a:lnTo>
                    <a:pt x="287" y="1398"/>
                  </a:lnTo>
                  <a:lnTo>
                    <a:pt x="287" y="1446"/>
                  </a:lnTo>
                  <a:lnTo>
                    <a:pt x="287" y="1510"/>
                  </a:lnTo>
                  <a:lnTo>
                    <a:pt x="329" y="1558"/>
                  </a:lnTo>
                  <a:lnTo>
                    <a:pt x="312" y="1622"/>
                  </a:lnTo>
                  <a:lnTo>
                    <a:pt x="346" y="1630"/>
                  </a:lnTo>
                  <a:lnTo>
                    <a:pt x="354" y="1670"/>
                  </a:lnTo>
                  <a:lnTo>
                    <a:pt x="388" y="1702"/>
                  </a:lnTo>
                  <a:lnTo>
                    <a:pt x="413" y="1766"/>
                  </a:lnTo>
                  <a:lnTo>
                    <a:pt x="413" y="1758"/>
                  </a:lnTo>
                  <a:lnTo>
                    <a:pt x="438" y="1758"/>
                  </a:lnTo>
                  <a:lnTo>
                    <a:pt x="464" y="1774"/>
                  </a:lnTo>
                  <a:lnTo>
                    <a:pt x="481" y="1766"/>
                  </a:lnTo>
                  <a:lnTo>
                    <a:pt x="514" y="1774"/>
                  </a:lnTo>
                  <a:lnTo>
                    <a:pt x="531" y="1790"/>
                  </a:lnTo>
                  <a:lnTo>
                    <a:pt x="573" y="1766"/>
                  </a:lnTo>
                  <a:lnTo>
                    <a:pt x="607" y="1774"/>
                  </a:lnTo>
                  <a:lnTo>
                    <a:pt x="641" y="1798"/>
                  </a:lnTo>
                  <a:lnTo>
                    <a:pt x="649" y="1830"/>
                  </a:lnTo>
                  <a:lnTo>
                    <a:pt x="649" y="1862"/>
                  </a:lnTo>
                  <a:lnTo>
                    <a:pt x="683" y="1878"/>
                  </a:lnTo>
                  <a:lnTo>
                    <a:pt x="683" y="1894"/>
                  </a:lnTo>
                  <a:lnTo>
                    <a:pt x="717" y="1918"/>
                  </a:lnTo>
                  <a:lnTo>
                    <a:pt x="759" y="1926"/>
                  </a:lnTo>
                  <a:lnTo>
                    <a:pt x="767" y="1950"/>
                  </a:lnTo>
                  <a:lnTo>
                    <a:pt x="835" y="1966"/>
                  </a:lnTo>
                  <a:lnTo>
                    <a:pt x="860" y="1990"/>
                  </a:lnTo>
                  <a:lnTo>
                    <a:pt x="843" y="2014"/>
                  </a:lnTo>
                  <a:lnTo>
                    <a:pt x="826" y="2030"/>
                  </a:lnTo>
                  <a:lnTo>
                    <a:pt x="776" y="2038"/>
                  </a:lnTo>
                  <a:lnTo>
                    <a:pt x="767" y="2062"/>
                  </a:lnTo>
                  <a:lnTo>
                    <a:pt x="792" y="2078"/>
                  </a:lnTo>
                  <a:lnTo>
                    <a:pt x="792" y="2102"/>
                  </a:lnTo>
                  <a:lnTo>
                    <a:pt x="809" y="2126"/>
                  </a:lnTo>
                  <a:lnTo>
                    <a:pt x="835" y="2158"/>
                  </a:lnTo>
                  <a:lnTo>
                    <a:pt x="868" y="2158"/>
                  </a:lnTo>
                  <a:lnTo>
                    <a:pt x="877" y="2118"/>
                  </a:lnTo>
                  <a:lnTo>
                    <a:pt x="910" y="2118"/>
                  </a:lnTo>
                  <a:lnTo>
                    <a:pt x="969" y="2086"/>
                  </a:lnTo>
                  <a:lnTo>
                    <a:pt x="1011" y="2102"/>
                  </a:lnTo>
                  <a:lnTo>
                    <a:pt x="1054" y="2126"/>
                  </a:lnTo>
                  <a:lnTo>
                    <a:pt x="1037" y="2142"/>
                  </a:lnTo>
                  <a:lnTo>
                    <a:pt x="1054" y="2182"/>
                  </a:lnTo>
                  <a:lnTo>
                    <a:pt x="1079" y="2190"/>
                  </a:lnTo>
                  <a:lnTo>
                    <a:pt x="1113" y="2190"/>
                  </a:lnTo>
                  <a:lnTo>
                    <a:pt x="1115" y="0"/>
                  </a:lnTo>
                  <a:lnTo>
                    <a:pt x="1011" y="0"/>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21" name="Freeform 100"/>
            <p:cNvSpPr>
              <a:spLocks/>
            </p:cNvSpPr>
            <p:nvPr>
              <p:custDataLst>
                <p:tags r:id="rId91"/>
              </p:custDataLst>
            </p:nvPr>
          </p:nvSpPr>
          <p:spPr bwMode="auto">
            <a:xfrm>
              <a:off x="4274" y="136"/>
              <a:ext cx="801" cy="1272"/>
            </a:xfrm>
            <a:custGeom>
              <a:avLst/>
              <a:gdLst>
                <a:gd name="T0" fmla="*/ 683 w 801"/>
                <a:gd name="T1" fmla="*/ 720 h 1272"/>
                <a:gd name="T2" fmla="*/ 658 w 801"/>
                <a:gd name="T3" fmla="*/ 616 h 1272"/>
                <a:gd name="T4" fmla="*/ 582 w 801"/>
                <a:gd name="T5" fmla="*/ 520 h 1272"/>
                <a:gd name="T6" fmla="*/ 557 w 801"/>
                <a:gd name="T7" fmla="*/ 408 h 1272"/>
                <a:gd name="T8" fmla="*/ 523 w 801"/>
                <a:gd name="T9" fmla="*/ 256 h 1272"/>
                <a:gd name="T10" fmla="*/ 439 w 801"/>
                <a:gd name="T11" fmla="*/ 200 h 1272"/>
                <a:gd name="T12" fmla="*/ 422 w 801"/>
                <a:gd name="T13" fmla="*/ 88 h 1272"/>
                <a:gd name="T14" fmla="*/ 413 w 801"/>
                <a:gd name="T15" fmla="*/ 32 h 1272"/>
                <a:gd name="T16" fmla="*/ 295 w 801"/>
                <a:gd name="T17" fmla="*/ 0 h 1272"/>
                <a:gd name="T18" fmla="*/ 262 w 801"/>
                <a:gd name="T19" fmla="*/ 112 h 1272"/>
                <a:gd name="T20" fmla="*/ 186 w 801"/>
                <a:gd name="T21" fmla="*/ 168 h 1272"/>
                <a:gd name="T22" fmla="*/ 43 w 801"/>
                <a:gd name="T23" fmla="*/ 136 h 1272"/>
                <a:gd name="T24" fmla="*/ 51 w 801"/>
                <a:gd name="T25" fmla="*/ 216 h 1272"/>
                <a:gd name="T26" fmla="*/ 177 w 801"/>
                <a:gd name="T27" fmla="*/ 296 h 1272"/>
                <a:gd name="T28" fmla="*/ 220 w 801"/>
                <a:gd name="T29" fmla="*/ 368 h 1272"/>
                <a:gd name="T30" fmla="*/ 228 w 801"/>
                <a:gd name="T31" fmla="*/ 464 h 1272"/>
                <a:gd name="T32" fmla="*/ 262 w 801"/>
                <a:gd name="T33" fmla="*/ 552 h 1272"/>
                <a:gd name="T34" fmla="*/ 329 w 801"/>
                <a:gd name="T35" fmla="*/ 576 h 1272"/>
                <a:gd name="T36" fmla="*/ 354 w 801"/>
                <a:gd name="T37" fmla="*/ 600 h 1272"/>
                <a:gd name="T38" fmla="*/ 354 w 801"/>
                <a:gd name="T39" fmla="*/ 632 h 1272"/>
                <a:gd name="T40" fmla="*/ 236 w 801"/>
                <a:gd name="T41" fmla="*/ 832 h 1272"/>
                <a:gd name="T42" fmla="*/ 177 w 801"/>
                <a:gd name="T43" fmla="*/ 896 h 1272"/>
                <a:gd name="T44" fmla="*/ 186 w 801"/>
                <a:gd name="T45" fmla="*/ 976 h 1272"/>
                <a:gd name="T46" fmla="*/ 228 w 801"/>
                <a:gd name="T47" fmla="*/ 1080 h 1272"/>
                <a:gd name="T48" fmla="*/ 236 w 801"/>
                <a:gd name="T49" fmla="*/ 1160 h 1272"/>
                <a:gd name="T50" fmla="*/ 287 w 801"/>
                <a:gd name="T51" fmla="*/ 1208 h 1272"/>
                <a:gd name="T52" fmla="*/ 312 w 801"/>
                <a:gd name="T53" fmla="*/ 1272 h 1272"/>
                <a:gd name="T54" fmla="*/ 380 w 801"/>
                <a:gd name="T55" fmla="*/ 1264 h 1272"/>
                <a:gd name="T56" fmla="*/ 506 w 801"/>
                <a:gd name="T57" fmla="*/ 1192 h 1272"/>
                <a:gd name="T58" fmla="*/ 675 w 801"/>
                <a:gd name="T59" fmla="*/ 1112 h 1272"/>
                <a:gd name="T60" fmla="*/ 750 w 801"/>
                <a:gd name="T61" fmla="*/ 944 h 1272"/>
                <a:gd name="T62" fmla="*/ 801 w 801"/>
                <a:gd name="T63" fmla="*/ 808 h 127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01" h="1272">
                  <a:moveTo>
                    <a:pt x="750" y="760"/>
                  </a:moveTo>
                  <a:lnTo>
                    <a:pt x="683" y="720"/>
                  </a:lnTo>
                  <a:lnTo>
                    <a:pt x="700" y="672"/>
                  </a:lnTo>
                  <a:lnTo>
                    <a:pt x="658" y="616"/>
                  </a:lnTo>
                  <a:lnTo>
                    <a:pt x="590" y="576"/>
                  </a:lnTo>
                  <a:lnTo>
                    <a:pt x="582" y="520"/>
                  </a:lnTo>
                  <a:lnTo>
                    <a:pt x="624" y="472"/>
                  </a:lnTo>
                  <a:lnTo>
                    <a:pt x="557" y="408"/>
                  </a:lnTo>
                  <a:lnTo>
                    <a:pt x="506" y="312"/>
                  </a:lnTo>
                  <a:lnTo>
                    <a:pt x="523" y="256"/>
                  </a:lnTo>
                  <a:lnTo>
                    <a:pt x="481" y="216"/>
                  </a:lnTo>
                  <a:lnTo>
                    <a:pt x="439" y="200"/>
                  </a:lnTo>
                  <a:lnTo>
                    <a:pt x="413" y="136"/>
                  </a:lnTo>
                  <a:lnTo>
                    <a:pt x="422" y="88"/>
                  </a:lnTo>
                  <a:lnTo>
                    <a:pt x="430" y="72"/>
                  </a:lnTo>
                  <a:lnTo>
                    <a:pt x="413" y="32"/>
                  </a:lnTo>
                  <a:lnTo>
                    <a:pt x="346" y="0"/>
                  </a:lnTo>
                  <a:lnTo>
                    <a:pt x="295" y="0"/>
                  </a:lnTo>
                  <a:lnTo>
                    <a:pt x="262" y="40"/>
                  </a:lnTo>
                  <a:lnTo>
                    <a:pt x="262" y="112"/>
                  </a:lnTo>
                  <a:lnTo>
                    <a:pt x="245" y="184"/>
                  </a:lnTo>
                  <a:lnTo>
                    <a:pt x="186" y="168"/>
                  </a:lnTo>
                  <a:lnTo>
                    <a:pt x="144" y="184"/>
                  </a:lnTo>
                  <a:lnTo>
                    <a:pt x="43" y="136"/>
                  </a:lnTo>
                  <a:lnTo>
                    <a:pt x="0" y="160"/>
                  </a:lnTo>
                  <a:lnTo>
                    <a:pt x="51" y="216"/>
                  </a:lnTo>
                  <a:lnTo>
                    <a:pt x="144" y="256"/>
                  </a:lnTo>
                  <a:lnTo>
                    <a:pt x="177" y="296"/>
                  </a:lnTo>
                  <a:lnTo>
                    <a:pt x="177" y="336"/>
                  </a:lnTo>
                  <a:lnTo>
                    <a:pt x="220" y="368"/>
                  </a:lnTo>
                  <a:lnTo>
                    <a:pt x="220" y="416"/>
                  </a:lnTo>
                  <a:lnTo>
                    <a:pt x="228" y="464"/>
                  </a:lnTo>
                  <a:lnTo>
                    <a:pt x="245" y="504"/>
                  </a:lnTo>
                  <a:lnTo>
                    <a:pt x="262" y="552"/>
                  </a:lnTo>
                  <a:lnTo>
                    <a:pt x="295" y="560"/>
                  </a:lnTo>
                  <a:lnTo>
                    <a:pt x="329" y="576"/>
                  </a:lnTo>
                  <a:lnTo>
                    <a:pt x="354" y="584"/>
                  </a:lnTo>
                  <a:lnTo>
                    <a:pt x="354" y="600"/>
                  </a:lnTo>
                  <a:lnTo>
                    <a:pt x="363" y="616"/>
                  </a:lnTo>
                  <a:lnTo>
                    <a:pt x="354" y="632"/>
                  </a:lnTo>
                  <a:lnTo>
                    <a:pt x="321" y="696"/>
                  </a:lnTo>
                  <a:lnTo>
                    <a:pt x="236" y="832"/>
                  </a:lnTo>
                  <a:lnTo>
                    <a:pt x="203" y="864"/>
                  </a:lnTo>
                  <a:lnTo>
                    <a:pt x="177" y="896"/>
                  </a:lnTo>
                  <a:lnTo>
                    <a:pt x="177" y="936"/>
                  </a:lnTo>
                  <a:lnTo>
                    <a:pt x="186" y="976"/>
                  </a:lnTo>
                  <a:lnTo>
                    <a:pt x="211" y="1048"/>
                  </a:lnTo>
                  <a:lnTo>
                    <a:pt x="228" y="1080"/>
                  </a:lnTo>
                  <a:lnTo>
                    <a:pt x="228" y="1120"/>
                  </a:lnTo>
                  <a:lnTo>
                    <a:pt x="236" y="1160"/>
                  </a:lnTo>
                  <a:lnTo>
                    <a:pt x="253" y="1192"/>
                  </a:lnTo>
                  <a:lnTo>
                    <a:pt x="287" y="1208"/>
                  </a:lnTo>
                  <a:lnTo>
                    <a:pt x="321" y="1224"/>
                  </a:lnTo>
                  <a:lnTo>
                    <a:pt x="312" y="1272"/>
                  </a:lnTo>
                  <a:lnTo>
                    <a:pt x="363" y="1272"/>
                  </a:lnTo>
                  <a:lnTo>
                    <a:pt x="380" y="1264"/>
                  </a:lnTo>
                  <a:lnTo>
                    <a:pt x="405" y="1248"/>
                  </a:lnTo>
                  <a:lnTo>
                    <a:pt x="506" y="1192"/>
                  </a:lnTo>
                  <a:lnTo>
                    <a:pt x="599" y="1152"/>
                  </a:lnTo>
                  <a:lnTo>
                    <a:pt x="675" y="1112"/>
                  </a:lnTo>
                  <a:lnTo>
                    <a:pt x="700" y="1016"/>
                  </a:lnTo>
                  <a:lnTo>
                    <a:pt x="750" y="944"/>
                  </a:lnTo>
                  <a:lnTo>
                    <a:pt x="793" y="872"/>
                  </a:lnTo>
                  <a:lnTo>
                    <a:pt x="801" y="808"/>
                  </a:lnTo>
                  <a:lnTo>
                    <a:pt x="750" y="760"/>
                  </a:lnTo>
                  <a:close/>
                </a:path>
              </a:pathLst>
            </a:custGeom>
            <a:solidFill>
              <a:srgbClr val="09B89D"/>
            </a:solid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22" name="Freeform 101"/>
            <p:cNvSpPr>
              <a:spLocks/>
            </p:cNvSpPr>
            <p:nvPr>
              <p:custDataLst>
                <p:tags r:id="rId92"/>
              </p:custDataLst>
            </p:nvPr>
          </p:nvSpPr>
          <p:spPr bwMode="auto">
            <a:xfrm>
              <a:off x="3845" y="312"/>
              <a:ext cx="691" cy="1696"/>
            </a:xfrm>
            <a:custGeom>
              <a:avLst/>
              <a:gdLst>
                <a:gd name="T0" fmla="*/ 354 w 691"/>
                <a:gd name="T1" fmla="*/ 72 h 1696"/>
                <a:gd name="T2" fmla="*/ 295 w 691"/>
                <a:gd name="T3" fmla="*/ 128 h 1696"/>
                <a:gd name="T4" fmla="*/ 261 w 691"/>
                <a:gd name="T5" fmla="*/ 216 h 1696"/>
                <a:gd name="T6" fmla="*/ 210 w 691"/>
                <a:gd name="T7" fmla="*/ 312 h 1696"/>
                <a:gd name="T8" fmla="*/ 168 w 691"/>
                <a:gd name="T9" fmla="*/ 400 h 1696"/>
                <a:gd name="T10" fmla="*/ 118 w 691"/>
                <a:gd name="T11" fmla="*/ 576 h 1696"/>
                <a:gd name="T12" fmla="*/ 143 w 691"/>
                <a:gd name="T13" fmla="*/ 656 h 1696"/>
                <a:gd name="T14" fmla="*/ 33 w 691"/>
                <a:gd name="T15" fmla="*/ 736 h 1696"/>
                <a:gd name="T16" fmla="*/ 50 w 691"/>
                <a:gd name="T17" fmla="*/ 936 h 1696"/>
                <a:gd name="T18" fmla="*/ 92 w 691"/>
                <a:gd name="T19" fmla="*/ 1016 h 1696"/>
                <a:gd name="T20" fmla="*/ 67 w 691"/>
                <a:gd name="T21" fmla="*/ 1144 h 1696"/>
                <a:gd name="T22" fmla="*/ 17 w 691"/>
                <a:gd name="T23" fmla="*/ 1272 h 1696"/>
                <a:gd name="T24" fmla="*/ 8 w 691"/>
                <a:gd name="T25" fmla="*/ 1328 h 1696"/>
                <a:gd name="T26" fmla="*/ 42 w 691"/>
                <a:gd name="T27" fmla="*/ 1376 h 1696"/>
                <a:gd name="T28" fmla="*/ 84 w 691"/>
                <a:gd name="T29" fmla="*/ 1504 h 1696"/>
                <a:gd name="T30" fmla="*/ 118 w 691"/>
                <a:gd name="T31" fmla="*/ 1568 h 1696"/>
                <a:gd name="T32" fmla="*/ 109 w 691"/>
                <a:gd name="T33" fmla="*/ 1616 h 1696"/>
                <a:gd name="T34" fmla="*/ 135 w 691"/>
                <a:gd name="T35" fmla="*/ 1664 h 1696"/>
                <a:gd name="T36" fmla="*/ 202 w 691"/>
                <a:gd name="T37" fmla="*/ 1696 h 1696"/>
                <a:gd name="T38" fmla="*/ 244 w 691"/>
                <a:gd name="T39" fmla="*/ 1648 h 1696"/>
                <a:gd name="T40" fmla="*/ 286 w 691"/>
                <a:gd name="T41" fmla="*/ 1600 h 1696"/>
                <a:gd name="T42" fmla="*/ 387 w 691"/>
                <a:gd name="T43" fmla="*/ 1472 h 1696"/>
                <a:gd name="T44" fmla="*/ 387 w 691"/>
                <a:gd name="T45" fmla="*/ 1408 h 1696"/>
                <a:gd name="T46" fmla="*/ 396 w 691"/>
                <a:gd name="T47" fmla="*/ 1336 h 1696"/>
                <a:gd name="T48" fmla="*/ 421 w 691"/>
                <a:gd name="T49" fmla="*/ 1272 h 1696"/>
                <a:gd name="T50" fmla="*/ 497 w 691"/>
                <a:gd name="T51" fmla="*/ 1224 h 1696"/>
                <a:gd name="T52" fmla="*/ 505 w 691"/>
                <a:gd name="T53" fmla="*/ 1168 h 1696"/>
                <a:gd name="T54" fmla="*/ 480 w 691"/>
                <a:gd name="T55" fmla="*/ 1088 h 1696"/>
                <a:gd name="T56" fmla="*/ 396 w 691"/>
                <a:gd name="T57" fmla="*/ 1040 h 1696"/>
                <a:gd name="T58" fmla="*/ 387 w 691"/>
                <a:gd name="T59" fmla="*/ 984 h 1696"/>
                <a:gd name="T60" fmla="*/ 387 w 691"/>
                <a:gd name="T61" fmla="*/ 832 h 1696"/>
                <a:gd name="T62" fmla="*/ 480 w 691"/>
                <a:gd name="T63" fmla="*/ 704 h 1696"/>
                <a:gd name="T64" fmla="*/ 556 w 691"/>
                <a:gd name="T65" fmla="*/ 624 h 1696"/>
                <a:gd name="T66" fmla="*/ 581 w 691"/>
                <a:gd name="T67" fmla="*/ 560 h 1696"/>
                <a:gd name="T68" fmla="*/ 573 w 691"/>
                <a:gd name="T69" fmla="*/ 496 h 1696"/>
                <a:gd name="T70" fmla="*/ 606 w 691"/>
                <a:gd name="T71" fmla="*/ 424 h 1696"/>
                <a:gd name="T72" fmla="*/ 682 w 691"/>
                <a:gd name="T73" fmla="*/ 376 h 1696"/>
                <a:gd name="T74" fmla="*/ 674 w 691"/>
                <a:gd name="T75" fmla="*/ 328 h 1696"/>
                <a:gd name="T76" fmla="*/ 649 w 691"/>
                <a:gd name="T77" fmla="*/ 240 h 1696"/>
                <a:gd name="T78" fmla="*/ 606 w 691"/>
                <a:gd name="T79" fmla="*/ 160 h 1696"/>
                <a:gd name="T80" fmla="*/ 573 w 691"/>
                <a:gd name="T81" fmla="*/ 80 h 1696"/>
                <a:gd name="T82" fmla="*/ 446 w 691"/>
                <a:gd name="T83" fmla="*/ 0 h 1696"/>
                <a:gd name="T84" fmla="*/ 429 w 691"/>
                <a:gd name="T85" fmla="*/ 88 h 16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91" h="1696">
                  <a:moveTo>
                    <a:pt x="429" y="88"/>
                  </a:moveTo>
                  <a:lnTo>
                    <a:pt x="354" y="72"/>
                  </a:lnTo>
                  <a:lnTo>
                    <a:pt x="337" y="128"/>
                  </a:lnTo>
                  <a:lnTo>
                    <a:pt x="295" y="128"/>
                  </a:lnTo>
                  <a:lnTo>
                    <a:pt x="261" y="168"/>
                  </a:lnTo>
                  <a:lnTo>
                    <a:pt x="261" y="216"/>
                  </a:lnTo>
                  <a:lnTo>
                    <a:pt x="269" y="256"/>
                  </a:lnTo>
                  <a:lnTo>
                    <a:pt x="210" y="312"/>
                  </a:lnTo>
                  <a:lnTo>
                    <a:pt x="210" y="376"/>
                  </a:lnTo>
                  <a:lnTo>
                    <a:pt x="168" y="400"/>
                  </a:lnTo>
                  <a:lnTo>
                    <a:pt x="168" y="496"/>
                  </a:lnTo>
                  <a:lnTo>
                    <a:pt x="118" y="576"/>
                  </a:lnTo>
                  <a:lnTo>
                    <a:pt x="160" y="600"/>
                  </a:lnTo>
                  <a:lnTo>
                    <a:pt x="143" y="656"/>
                  </a:lnTo>
                  <a:lnTo>
                    <a:pt x="67" y="664"/>
                  </a:lnTo>
                  <a:lnTo>
                    <a:pt x="33" y="736"/>
                  </a:lnTo>
                  <a:lnTo>
                    <a:pt x="50" y="856"/>
                  </a:lnTo>
                  <a:lnTo>
                    <a:pt x="50" y="936"/>
                  </a:lnTo>
                  <a:lnTo>
                    <a:pt x="92" y="976"/>
                  </a:lnTo>
                  <a:lnTo>
                    <a:pt x="92" y="1016"/>
                  </a:lnTo>
                  <a:lnTo>
                    <a:pt x="67" y="1056"/>
                  </a:lnTo>
                  <a:lnTo>
                    <a:pt x="67" y="1144"/>
                  </a:lnTo>
                  <a:lnTo>
                    <a:pt x="33" y="1176"/>
                  </a:lnTo>
                  <a:lnTo>
                    <a:pt x="17" y="1272"/>
                  </a:lnTo>
                  <a:lnTo>
                    <a:pt x="0" y="1280"/>
                  </a:lnTo>
                  <a:lnTo>
                    <a:pt x="8" y="1328"/>
                  </a:lnTo>
                  <a:lnTo>
                    <a:pt x="33" y="1352"/>
                  </a:lnTo>
                  <a:lnTo>
                    <a:pt x="42" y="1376"/>
                  </a:lnTo>
                  <a:lnTo>
                    <a:pt x="42" y="1440"/>
                  </a:lnTo>
                  <a:lnTo>
                    <a:pt x="84" y="1504"/>
                  </a:lnTo>
                  <a:lnTo>
                    <a:pt x="109" y="1536"/>
                  </a:lnTo>
                  <a:lnTo>
                    <a:pt x="118" y="1568"/>
                  </a:lnTo>
                  <a:lnTo>
                    <a:pt x="109" y="1592"/>
                  </a:lnTo>
                  <a:lnTo>
                    <a:pt x="109" y="1616"/>
                  </a:lnTo>
                  <a:lnTo>
                    <a:pt x="126" y="1632"/>
                  </a:lnTo>
                  <a:lnTo>
                    <a:pt x="135" y="1664"/>
                  </a:lnTo>
                  <a:lnTo>
                    <a:pt x="135" y="1696"/>
                  </a:lnTo>
                  <a:lnTo>
                    <a:pt x="202" y="1696"/>
                  </a:lnTo>
                  <a:lnTo>
                    <a:pt x="236" y="1680"/>
                  </a:lnTo>
                  <a:lnTo>
                    <a:pt x="244" y="1648"/>
                  </a:lnTo>
                  <a:lnTo>
                    <a:pt x="261" y="1616"/>
                  </a:lnTo>
                  <a:lnTo>
                    <a:pt x="286" y="1600"/>
                  </a:lnTo>
                  <a:lnTo>
                    <a:pt x="354" y="1608"/>
                  </a:lnTo>
                  <a:lnTo>
                    <a:pt x="387" y="1472"/>
                  </a:lnTo>
                  <a:lnTo>
                    <a:pt x="396" y="1440"/>
                  </a:lnTo>
                  <a:lnTo>
                    <a:pt x="387" y="1408"/>
                  </a:lnTo>
                  <a:lnTo>
                    <a:pt x="387" y="1368"/>
                  </a:lnTo>
                  <a:lnTo>
                    <a:pt x="396" y="1336"/>
                  </a:lnTo>
                  <a:lnTo>
                    <a:pt x="404" y="1296"/>
                  </a:lnTo>
                  <a:lnTo>
                    <a:pt x="421" y="1272"/>
                  </a:lnTo>
                  <a:lnTo>
                    <a:pt x="472" y="1240"/>
                  </a:lnTo>
                  <a:lnTo>
                    <a:pt x="497" y="1224"/>
                  </a:lnTo>
                  <a:lnTo>
                    <a:pt x="497" y="1192"/>
                  </a:lnTo>
                  <a:lnTo>
                    <a:pt x="505" y="1168"/>
                  </a:lnTo>
                  <a:lnTo>
                    <a:pt x="522" y="1144"/>
                  </a:lnTo>
                  <a:lnTo>
                    <a:pt x="480" y="1088"/>
                  </a:lnTo>
                  <a:lnTo>
                    <a:pt x="413" y="1048"/>
                  </a:lnTo>
                  <a:lnTo>
                    <a:pt x="396" y="1040"/>
                  </a:lnTo>
                  <a:lnTo>
                    <a:pt x="387" y="1024"/>
                  </a:lnTo>
                  <a:lnTo>
                    <a:pt x="387" y="984"/>
                  </a:lnTo>
                  <a:lnTo>
                    <a:pt x="379" y="904"/>
                  </a:lnTo>
                  <a:lnTo>
                    <a:pt x="387" y="832"/>
                  </a:lnTo>
                  <a:lnTo>
                    <a:pt x="429" y="760"/>
                  </a:lnTo>
                  <a:lnTo>
                    <a:pt x="480" y="704"/>
                  </a:lnTo>
                  <a:lnTo>
                    <a:pt x="539" y="648"/>
                  </a:lnTo>
                  <a:lnTo>
                    <a:pt x="556" y="624"/>
                  </a:lnTo>
                  <a:lnTo>
                    <a:pt x="564" y="584"/>
                  </a:lnTo>
                  <a:lnTo>
                    <a:pt x="581" y="560"/>
                  </a:lnTo>
                  <a:lnTo>
                    <a:pt x="581" y="536"/>
                  </a:lnTo>
                  <a:lnTo>
                    <a:pt x="573" y="496"/>
                  </a:lnTo>
                  <a:lnTo>
                    <a:pt x="581" y="464"/>
                  </a:lnTo>
                  <a:lnTo>
                    <a:pt x="606" y="424"/>
                  </a:lnTo>
                  <a:lnTo>
                    <a:pt x="615" y="384"/>
                  </a:lnTo>
                  <a:lnTo>
                    <a:pt x="682" y="376"/>
                  </a:lnTo>
                  <a:lnTo>
                    <a:pt x="691" y="376"/>
                  </a:lnTo>
                  <a:lnTo>
                    <a:pt x="674" y="328"/>
                  </a:lnTo>
                  <a:lnTo>
                    <a:pt x="657" y="288"/>
                  </a:lnTo>
                  <a:lnTo>
                    <a:pt x="649" y="240"/>
                  </a:lnTo>
                  <a:lnTo>
                    <a:pt x="649" y="192"/>
                  </a:lnTo>
                  <a:lnTo>
                    <a:pt x="606" y="160"/>
                  </a:lnTo>
                  <a:lnTo>
                    <a:pt x="606" y="120"/>
                  </a:lnTo>
                  <a:lnTo>
                    <a:pt x="573" y="80"/>
                  </a:lnTo>
                  <a:lnTo>
                    <a:pt x="480" y="40"/>
                  </a:lnTo>
                  <a:lnTo>
                    <a:pt x="446" y="0"/>
                  </a:lnTo>
                  <a:lnTo>
                    <a:pt x="429" y="8"/>
                  </a:lnTo>
                  <a:lnTo>
                    <a:pt x="429" y="88"/>
                  </a:lnTo>
                  <a:close/>
                </a:path>
              </a:pathLst>
            </a:custGeom>
            <a:solidFill>
              <a:srgbClr val="09B89D"/>
            </a:solid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25" name="Freeform 104"/>
            <p:cNvSpPr>
              <a:spLocks/>
            </p:cNvSpPr>
            <p:nvPr>
              <p:custDataLst>
                <p:tags r:id="rId93"/>
              </p:custDataLst>
            </p:nvPr>
          </p:nvSpPr>
          <p:spPr bwMode="auto">
            <a:xfrm>
              <a:off x="3423" y="0"/>
              <a:ext cx="1340" cy="1688"/>
            </a:xfrm>
            <a:custGeom>
              <a:avLst/>
              <a:gdLst>
                <a:gd name="T0" fmla="*/ 1323 w 1340"/>
                <a:gd name="T1" fmla="*/ 40 h 1688"/>
                <a:gd name="T2" fmla="*/ 1205 w 1340"/>
                <a:gd name="T3" fmla="*/ 24 h 1688"/>
                <a:gd name="T4" fmla="*/ 1172 w 1340"/>
                <a:gd name="T5" fmla="*/ 0 h 1688"/>
                <a:gd name="T6" fmla="*/ 1130 w 1340"/>
                <a:gd name="T7" fmla="*/ 24 h 1688"/>
                <a:gd name="T8" fmla="*/ 1071 w 1340"/>
                <a:gd name="T9" fmla="*/ 120 h 1688"/>
                <a:gd name="T10" fmla="*/ 1012 w 1340"/>
                <a:gd name="T11" fmla="*/ 40 h 1688"/>
                <a:gd name="T12" fmla="*/ 961 w 1340"/>
                <a:gd name="T13" fmla="*/ 136 h 1688"/>
                <a:gd name="T14" fmla="*/ 877 w 1340"/>
                <a:gd name="T15" fmla="*/ 184 h 1688"/>
                <a:gd name="T16" fmla="*/ 809 w 1340"/>
                <a:gd name="T17" fmla="*/ 176 h 1688"/>
                <a:gd name="T18" fmla="*/ 717 w 1340"/>
                <a:gd name="T19" fmla="*/ 248 h 1688"/>
                <a:gd name="T20" fmla="*/ 700 w 1340"/>
                <a:gd name="T21" fmla="*/ 328 h 1688"/>
                <a:gd name="T22" fmla="*/ 645 w 1340"/>
                <a:gd name="T23" fmla="*/ 418 h 1688"/>
                <a:gd name="T24" fmla="*/ 590 w 1340"/>
                <a:gd name="T25" fmla="*/ 504 h 1688"/>
                <a:gd name="T26" fmla="*/ 565 w 1340"/>
                <a:gd name="T27" fmla="*/ 560 h 1688"/>
                <a:gd name="T28" fmla="*/ 472 w 1340"/>
                <a:gd name="T29" fmla="*/ 744 h 1688"/>
                <a:gd name="T30" fmla="*/ 396 w 1340"/>
                <a:gd name="T31" fmla="*/ 848 h 1688"/>
                <a:gd name="T32" fmla="*/ 396 w 1340"/>
                <a:gd name="T33" fmla="*/ 896 h 1688"/>
                <a:gd name="T34" fmla="*/ 304 w 1340"/>
                <a:gd name="T35" fmla="*/ 1024 h 1688"/>
                <a:gd name="T36" fmla="*/ 236 w 1340"/>
                <a:gd name="T37" fmla="*/ 1032 h 1688"/>
                <a:gd name="T38" fmla="*/ 186 w 1340"/>
                <a:gd name="T39" fmla="*/ 1088 h 1688"/>
                <a:gd name="T40" fmla="*/ 93 w 1340"/>
                <a:gd name="T41" fmla="*/ 1144 h 1688"/>
                <a:gd name="T42" fmla="*/ 26 w 1340"/>
                <a:gd name="T43" fmla="*/ 1200 h 1688"/>
                <a:gd name="T44" fmla="*/ 9 w 1340"/>
                <a:gd name="T45" fmla="*/ 1264 h 1688"/>
                <a:gd name="T46" fmla="*/ 9 w 1340"/>
                <a:gd name="T47" fmla="*/ 1304 h 1688"/>
                <a:gd name="T48" fmla="*/ 0 w 1340"/>
                <a:gd name="T49" fmla="*/ 1352 h 1688"/>
                <a:gd name="T50" fmla="*/ 9 w 1340"/>
                <a:gd name="T51" fmla="*/ 1424 h 1688"/>
                <a:gd name="T52" fmla="*/ 51 w 1340"/>
                <a:gd name="T53" fmla="*/ 1464 h 1688"/>
                <a:gd name="T54" fmla="*/ 17 w 1340"/>
                <a:gd name="T55" fmla="*/ 1512 h 1688"/>
                <a:gd name="T56" fmla="*/ 59 w 1340"/>
                <a:gd name="T57" fmla="*/ 1552 h 1688"/>
                <a:gd name="T58" fmla="*/ 17 w 1340"/>
                <a:gd name="T59" fmla="*/ 1584 h 1688"/>
                <a:gd name="T60" fmla="*/ 51 w 1340"/>
                <a:gd name="T61" fmla="*/ 1632 h 1688"/>
                <a:gd name="T62" fmla="*/ 102 w 1340"/>
                <a:gd name="T63" fmla="*/ 1688 h 1688"/>
                <a:gd name="T64" fmla="*/ 278 w 1340"/>
                <a:gd name="T65" fmla="*/ 1624 h 1688"/>
                <a:gd name="T66" fmla="*/ 346 w 1340"/>
                <a:gd name="T67" fmla="*/ 1576 h 1688"/>
                <a:gd name="T68" fmla="*/ 388 w 1340"/>
                <a:gd name="T69" fmla="*/ 1512 h 1688"/>
                <a:gd name="T70" fmla="*/ 422 w 1340"/>
                <a:gd name="T71" fmla="*/ 1592 h 1688"/>
                <a:gd name="T72" fmla="*/ 489 w 1340"/>
                <a:gd name="T73" fmla="*/ 1456 h 1688"/>
                <a:gd name="T74" fmla="*/ 514 w 1340"/>
                <a:gd name="T75" fmla="*/ 1288 h 1688"/>
                <a:gd name="T76" fmla="*/ 455 w 1340"/>
                <a:gd name="T77" fmla="*/ 1048 h 1688"/>
                <a:gd name="T78" fmla="*/ 582 w 1340"/>
                <a:gd name="T79" fmla="*/ 912 h 1688"/>
                <a:gd name="T80" fmla="*/ 590 w 1340"/>
                <a:gd name="T81" fmla="*/ 712 h 1688"/>
                <a:gd name="T82" fmla="*/ 691 w 1340"/>
                <a:gd name="T83" fmla="*/ 568 h 1688"/>
                <a:gd name="T84" fmla="*/ 717 w 1340"/>
                <a:gd name="T85" fmla="*/ 440 h 1688"/>
                <a:gd name="T86" fmla="*/ 851 w 1340"/>
                <a:gd name="T87" fmla="*/ 400 h 1688"/>
                <a:gd name="T88" fmla="*/ 851 w 1340"/>
                <a:gd name="T89" fmla="*/ 296 h 1688"/>
                <a:gd name="T90" fmla="*/ 1037 w 1340"/>
                <a:gd name="T91" fmla="*/ 304 h 1688"/>
                <a:gd name="T92" fmla="*/ 1113 w 1340"/>
                <a:gd name="T93" fmla="*/ 176 h 1688"/>
                <a:gd name="T94" fmla="*/ 1264 w 1340"/>
                <a:gd name="T95" fmla="*/ 168 h 1688"/>
                <a:gd name="T96" fmla="*/ 1340 w 1340"/>
                <a:gd name="T97" fmla="*/ 144 h 168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340" h="1688">
                  <a:moveTo>
                    <a:pt x="1239" y="104"/>
                  </a:moveTo>
                  <a:lnTo>
                    <a:pt x="1281" y="80"/>
                  </a:lnTo>
                  <a:lnTo>
                    <a:pt x="1323" y="40"/>
                  </a:lnTo>
                  <a:lnTo>
                    <a:pt x="1239" y="16"/>
                  </a:lnTo>
                  <a:lnTo>
                    <a:pt x="1214" y="8"/>
                  </a:lnTo>
                  <a:lnTo>
                    <a:pt x="1205" y="24"/>
                  </a:lnTo>
                  <a:lnTo>
                    <a:pt x="1180" y="56"/>
                  </a:lnTo>
                  <a:lnTo>
                    <a:pt x="1172" y="16"/>
                  </a:lnTo>
                  <a:lnTo>
                    <a:pt x="1172" y="0"/>
                  </a:lnTo>
                  <a:lnTo>
                    <a:pt x="1146" y="0"/>
                  </a:lnTo>
                  <a:lnTo>
                    <a:pt x="1130" y="0"/>
                  </a:lnTo>
                  <a:lnTo>
                    <a:pt x="1130" y="24"/>
                  </a:lnTo>
                  <a:lnTo>
                    <a:pt x="1130" y="64"/>
                  </a:lnTo>
                  <a:lnTo>
                    <a:pt x="1104" y="24"/>
                  </a:lnTo>
                  <a:lnTo>
                    <a:pt x="1071" y="120"/>
                  </a:lnTo>
                  <a:lnTo>
                    <a:pt x="1062" y="48"/>
                  </a:lnTo>
                  <a:lnTo>
                    <a:pt x="1037" y="24"/>
                  </a:lnTo>
                  <a:lnTo>
                    <a:pt x="1012" y="40"/>
                  </a:lnTo>
                  <a:lnTo>
                    <a:pt x="961" y="80"/>
                  </a:lnTo>
                  <a:lnTo>
                    <a:pt x="953" y="112"/>
                  </a:lnTo>
                  <a:lnTo>
                    <a:pt x="961" y="136"/>
                  </a:lnTo>
                  <a:lnTo>
                    <a:pt x="902" y="144"/>
                  </a:lnTo>
                  <a:lnTo>
                    <a:pt x="885" y="160"/>
                  </a:lnTo>
                  <a:lnTo>
                    <a:pt x="877" y="184"/>
                  </a:lnTo>
                  <a:lnTo>
                    <a:pt x="851" y="192"/>
                  </a:lnTo>
                  <a:lnTo>
                    <a:pt x="826" y="192"/>
                  </a:lnTo>
                  <a:lnTo>
                    <a:pt x="809" y="176"/>
                  </a:lnTo>
                  <a:lnTo>
                    <a:pt x="784" y="176"/>
                  </a:lnTo>
                  <a:lnTo>
                    <a:pt x="750" y="208"/>
                  </a:lnTo>
                  <a:lnTo>
                    <a:pt x="717" y="248"/>
                  </a:lnTo>
                  <a:lnTo>
                    <a:pt x="683" y="296"/>
                  </a:lnTo>
                  <a:lnTo>
                    <a:pt x="683" y="320"/>
                  </a:lnTo>
                  <a:lnTo>
                    <a:pt x="700" y="328"/>
                  </a:lnTo>
                  <a:lnTo>
                    <a:pt x="659" y="374"/>
                  </a:lnTo>
                  <a:lnTo>
                    <a:pt x="641" y="368"/>
                  </a:lnTo>
                  <a:lnTo>
                    <a:pt x="645" y="418"/>
                  </a:lnTo>
                  <a:lnTo>
                    <a:pt x="616" y="456"/>
                  </a:lnTo>
                  <a:lnTo>
                    <a:pt x="599" y="480"/>
                  </a:lnTo>
                  <a:lnTo>
                    <a:pt x="590" y="504"/>
                  </a:lnTo>
                  <a:lnTo>
                    <a:pt x="607" y="520"/>
                  </a:lnTo>
                  <a:lnTo>
                    <a:pt x="573" y="536"/>
                  </a:lnTo>
                  <a:lnTo>
                    <a:pt x="565" y="560"/>
                  </a:lnTo>
                  <a:lnTo>
                    <a:pt x="540" y="576"/>
                  </a:lnTo>
                  <a:lnTo>
                    <a:pt x="523" y="624"/>
                  </a:lnTo>
                  <a:lnTo>
                    <a:pt x="472" y="744"/>
                  </a:lnTo>
                  <a:lnTo>
                    <a:pt x="455" y="816"/>
                  </a:lnTo>
                  <a:lnTo>
                    <a:pt x="439" y="840"/>
                  </a:lnTo>
                  <a:lnTo>
                    <a:pt x="396" y="848"/>
                  </a:lnTo>
                  <a:lnTo>
                    <a:pt x="405" y="872"/>
                  </a:lnTo>
                  <a:lnTo>
                    <a:pt x="413" y="888"/>
                  </a:lnTo>
                  <a:lnTo>
                    <a:pt x="396" y="896"/>
                  </a:lnTo>
                  <a:lnTo>
                    <a:pt x="346" y="952"/>
                  </a:lnTo>
                  <a:lnTo>
                    <a:pt x="321" y="1008"/>
                  </a:lnTo>
                  <a:lnTo>
                    <a:pt x="304" y="1024"/>
                  </a:lnTo>
                  <a:lnTo>
                    <a:pt x="295" y="1032"/>
                  </a:lnTo>
                  <a:lnTo>
                    <a:pt x="262" y="1024"/>
                  </a:lnTo>
                  <a:lnTo>
                    <a:pt x="236" y="1032"/>
                  </a:lnTo>
                  <a:lnTo>
                    <a:pt x="228" y="1040"/>
                  </a:lnTo>
                  <a:lnTo>
                    <a:pt x="220" y="1064"/>
                  </a:lnTo>
                  <a:lnTo>
                    <a:pt x="186" y="1088"/>
                  </a:lnTo>
                  <a:lnTo>
                    <a:pt x="152" y="1104"/>
                  </a:lnTo>
                  <a:lnTo>
                    <a:pt x="127" y="1128"/>
                  </a:lnTo>
                  <a:lnTo>
                    <a:pt x="93" y="1144"/>
                  </a:lnTo>
                  <a:lnTo>
                    <a:pt x="68" y="1168"/>
                  </a:lnTo>
                  <a:lnTo>
                    <a:pt x="51" y="1192"/>
                  </a:lnTo>
                  <a:lnTo>
                    <a:pt x="26" y="1200"/>
                  </a:lnTo>
                  <a:lnTo>
                    <a:pt x="17" y="1208"/>
                  </a:lnTo>
                  <a:lnTo>
                    <a:pt x="17" y="1248"/>
                  </a:lnTo>
                  <a:lnTo>
                    <a:pt x="9" y="1264"/>
                  </a:lnTo>
                  <a:lnTo>
                    <a:pt x="17" y="1272"/>
                  </a:lnTo>
                  <a:lnTo>
                    <a:pt x="17" y="1288"/>
                  </a:lnTo>
                  <a:lnTo>
                    <a:pt x="9" y="1304"/>
                  </a:lnTo>
                  <a:lnTo>
                    <a:pt x="17" y="1312"/>
                  </a:lnTo>
                  <a:lnTo>
                    <a:pt x="17" y="1328"/>
                  </a:lnTo>
                  <a:lnTo>
                    <a:pt x="0" y="1352"/>
                  </a:lnTo>
                  <a:lnTo>
                    <a:pt x="17" y="1384"/>
                  </a:lnTo>
                  <a:lnTo>
                    <a:pt x="43" y="1408"/>
                  </a:lnTo>
                  <a:lnTo>
                    <a:pt x="9" y="1424"/>
                  </a:lnTo>
                  <a:lnTo>
                    <a:pt x="34" y="1432"/>
                  </a:lnTo>
                  <a:lnTo>
                    <a:pt x="9" y="1480"/>
                  </a:lnTo>
                  <a:lnTo>
                    <a:pt x="51" y="1464"/>
                  </a:lnTo>
                  <a:lnTo>
                    <a:pt x="51" y="1480"/>
                  </a:lnTo>
                  <a:lnTo>
                    <a:pt x="43" y="1488"/>
                  </a:lnTo>
                  <a:lnTo>
                    <a:pt x="17" y="1512"/>
                  </a:lnTo>
                  <a:lnTo>
                    <a:pt x="17" y="1544"/>
                  </a:lnTo>
                  <a:lnTo>
                    <a:pt x="43" y="1544"/>
                  </a:lnTo>
                  <a:lnTo>
                    <a:pt x="59" y="1552"/>
                  </a:lnTo>
                  <a:lnTo>
                    <a:pt x="59" y="1568"/>
                  </a:lnTo>
                  <a:lnTo>
                    <a:pt x="34" y="1584"/>
                  </a:lnTo>
                  <a:lnTo>
                    <a:pt x="17" y="1584"/>
                  </a:lnTo>
                  <a:lnTo>
                    <a:pt x="9" y="1592"/>
                  </a:lnTo>
                  <a:lnTo>
                    <a:pt x="26" y="1616"/>
                  </a:lnTo>
                  <a:lnTo>
                    <a:pt x="51" y="1632"/>
                  </a:lnTo>
                  <a:lnTo>
                    <a:pt x="76" y="1656"/>
                  </a:lnTo>
                  <a:lnTo>
                    <a:pt x="118" y="1664"/>
                  </a:lnTo>
                  <a:lnTo>
                    <a:pt x="102" y="1688"/>
                  </a:lnTo>
                  <a:lnTo>
                    <a:pt x="177" y="1688"/>
                  </a:lnTo>
                  <a:lnTo>
                    <a:pt x="236" y="1664"/>
                  </a:lnTo>
                  <a:lnTo>
                    <a:pt x="278" y="1624"/>
                  </a:lnTo>
                  <a:lnTo>
                    <a:pt x="312" y="1576"/>
                  </a:lnTo>
                  <a:lnTo>
                    <a:pt x="329" y="1584"/>
                  </a:lnTo>
                  <a:lnTo>
                    <a:pt x="346" y="1576"/>
                  </a:lnTo>
                  <a:lnTo>
                    <a:pt x="363" y="1544"/>
                  </a:lnTo>
                  <a:lnTo>
                    <a:pt x="363" y="1512"/>
                  </a:lnTo>
                  <a:lnTo>
                    <a:pt x="388" y="1512"/>
                  </a:lnTo>
                  <a:lnTo>
                    <a:pt x="396" y="1528"/>
                  </a:lnTo>
                  <a:lnTo>
                    <a:pt x="405" y="1560"/>
                  </a:lnTo>
                  <a:lnTo>
                    <a:pt x="422" y="1592"/>
                  </a:lnTo>
                  <a:lnTo>
                    <a:pt x="439" y="1584"/>
                  </a:lnTo>
                  <a:lnTo>
                    <a:pt x="455" y="1488"/>
                  </a:lnTo>
                  <a:lnTo>
                    <a:pt x="489" y="1456"/>
                  </a:lnTo>
                  <a:lnTo>
                    <a:pt x="489" y="1368"/>
                  </a:lnTo>
                  <a:lnTo>
                    <a:pt x="514" y="1328"/>
                  </a:lnTo>
                  <a:lnTo>
                    <a:pt x="514" y="1288"/>
                  </a:lnTo>
                  <a:lnTo>
                    <a:pt x="472" y="1248"/>
                  </a:lnTo>
                  <a:lnTo>
                    <a:pt x="472" y="1168"/>
                  </a:lnTo>
                  <a:lnTo>
                    <a:pt x="455" y="1048"/>
                  </a:lnTo>
                  <a:lnTo>
                    <a:pt x="489" y="976"/>
                  </a:lnTo>
                  <a:lnTo>
                    <a:pt x="565" y="968"/>
                  </a:lnTo>
                  <a:lnTo>
                    <a:pt x="582" y="912"/>
                  </a:lnTo>
                  <a:lnTo>
                    <a:pt x="540" y="888"/>
                  </a:lnTo>
                  <a:lnTo>
                    <a:pt x="590" y="808"/>
                  </a:lnTo>
                  <a:lnTo>
                    <a:pt x="590" y="712"/>
                  </a:lnTo>
                  <a:lnTo>
                    <a:pt x="632" y="688"/>
                  </a:lnTo>
                  <a:lnTo>
                    <a:pt x="632" y="624"/>
                  </a:lnTo>
                  <a:lnTo>
                    <a:pt x="691" y="568"/>
                  </a:lnTo>
                  <a:lnTo>
                    <a:pt x="683" y="528"/>
                  </a:lnTo>
                  <a:lnTo>
                    <a:pt x="683" y="480"/>
                  </a:lnTo>
                  <a:lnTo>
                    <a:pt x="717" y="440"/>
                  </a:lnTo>
                  <a:lnTo>
                    <a:pt x="759" y="440"/>
                  </a:lnTo>
                  <a:lnTo>
                    <a:pt x="776" y="384"/>
                  </a:lnTo>
                  <a:lnTo>
                    <a:pt x="851" y="400"/>
                  </a:lnTo>
                  <a:lnTo>
                    <a:pt x="851" y="320"/>
                  </a:lnTo>
                  <a:lnTo>
                    <a:pt x="868" y="312"/>
                  </a:lnTo>
                  <a:lnTo>
                    <a:pt x="851" y="296"/>
                  </a:lnTo>
                  <a:lnTo>
                    <a:pt x="894" y="272"/>
                  </a:lnTo>
                  <a:lnTo>
                    <a:pt x="995" y="320"/>
                  </a:lnTo>
                  <a:lnTo>
                    <a:pt x="1037" y="304"/>
                  </a:lnTo>
                  <a:lnTo>
                    <a:pt x="1096" y="320"/>
                  </a:lnTo>
                  <a:lnTo>
                    <a:pt x="1113" y="248"/>
                  </a:lnTo>
                  <a:lnTo>
                    <a:pt x="1113" y="176"/>
                  </a:lnTo>
                  <a:lnTo>
                    <a:pt x="1146" y="136"/>
                  </a:lnTo>
                  <a:lnTo>
                    <a:pt x="1197" y="136"/>
                  </a:lnTo>
                  <a:lnTo>
                    <a:pt x="1264" y="168"/>
                  </a:lnTo>
                  <a:lnTo>
                    <a:pt x="1281" y="208"/>
                  </a:lnTo>
                  <a:lnTo>
                    <a:pt x="1306" y="176"/>
                  </a:lnTo>
                  <a:lnTo>
                    <a:pt x="1340" y="144"/>
                  </a:lnTo>
                  <a:lnTo>
                    <a:pt x="1340" y="120"/>
                  </a:lnTo>
                  <a:lnTo>
                    <a:pt x="1239" y="104"/>
                  </a:lnTo>
                  <a:close/>
                </a:path>
              </a:pathLst>
            </a:custGeom>
            <a:solidFill>
              <a:srgbClr val="09B89D"/>
            </a:solid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sp>
        <p:nvSpPr>
          <p:cNvPr id="322" name="Title 9"/>
          <p:cNvSpPr txBox="1">
            <a:spLocks/>
          </p:cNvSpPr>
          <p:nvPr/>
        </p:nvSpPr>
        <p:spPr>
          <a:xfrm>
            <a:off x="431900" y="728663"/>
            <a:ext cx="11332800"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r>
              <a:rPr lang="en-GB" dirty="0" smtClean="0"/>
              <a:t>Engagement examples: </a:t>
            </a:r>
            <a:r>
              <a:rPr lang="en-US" dirty="0"/>
              <a:t>GHG Emissions</a:t>
            </a:r>
            <a:endParaRPr lang="en-GB" dirty="0">
              <a:solidFill>
                <a:srgbClr val="FF0000"/>
              </a:solidFill>
            </a:endParaRPr>
          </a:p>
        </p:txBody>
      </p:sp>
      <p:sp>
        <p:nvSpPr>
          <p:cNvPr id="323" name="TextBox 322"/>
          <p:cNvSpPr txBox="1"/>
          <p:nvPr/>
        </p:nvSpPr>
        <p:spPr>
          <a:xfrm>
            <a:off x="1397099" y="1673455"/>
            <a:ext cx="6713747" cy="1508105"/>
          </a:xfrm>
          <a:prstGeom prst="rect">
            <a:avLst/>
          </a:prstGeom>
          <a:noFill/>
          <a:ln w="6350" cap="rnd">
            <a:noFill/>
          </a:ln>
        </p:spPr>
        <p:txBody>
          <a:bodyPr wrap="square" lIns="0" tIns="0" rIns="0" bIns="0" rtlCol="0">
            <a:spAutoFit/>
          </a:bodyPr>
          <a:lstStyle/>
          <a:p>
            <a:r>
              <a:rPr lang="en-US" sz="2800" dirty="0" smtClean="0">
                <a:solidFill>
                  <a:srgbClr val="003755"/>
                </a:solidFill>
                <a:latin typeface="Danske Human Medium Italic" panose="02000603050000020003" pitchFamily="2" charset="0"/>
              </a:rPr>
              <a:t>53 engagements</a:t>
            </a:r>
          </a:p>
          <a:p>
            <a:r>
              <a:rPr lang="en-US" sz="1400" dirty="0">
                <a:solidFill>
                  <a:srgbClr val="003755"/>
                </a:solidFill>
              </a:rPr>
              <a:t>A</a:t>
            </a:r>
            <a:r>
              <a:rPr lang="en-US" sz="1400" dirty="0" smtClean="0">
                <a:solidFill>
                  <a:srgbClr val="003755"/>
                </a:solidFill>
              </a:rPr>
              <a:t>mong </a:t>
            </a:r>
            <a:r>
              <a:rPr lang="en-US" sz="1400" dirty="0">
                <a:solidFill>
                  <a:srgbClr val="003755"/>
                </a:solidFill>
              </a:rPr>
              <a:t>the </a:t>
            </a:r>
            <a:r>
              <a:rPr lang="en-US" sz="1400" dirty="0" smtClean="0">
                <a:solidFill>
                  <a:srgbClr val="003755"/>
                </a:solidFill>
              </a:rPr>
              <a:t>348 total engagements focused </a:t>
            </a:r>
            <a:r>
              <a:rPr lang="en-US" sz="1400" dirty="0">
                <a:solidFill>
                  <a:srgbClr val="003755"/>
                </a:solidFill>
              </a:rPr>
              <a:t>on </a:t>
            </a:r>
            <a:r>
              <a:rPr lang="en-US" sz="1400" dirty="0" smtClean="0">
                <a:solidFill>
                  <a:srgbClr val="003755"/>
                </a:solidFill>
              </a:rPr>
              <a:t>GHG Emissions. </a:t>
            </a:r>
            <a:endParaRPr lang="en-US" sz="1400" dirty="0">
              <a:solidFill>
                <a:srgbClr val="003755"/>
              </a:solidFill>
            </a:endParaRPr>
          </a:p>
          <a:p>
            <a:endParaRPr lang="en-US" sz="1400" b="1" dirty="0" smtClean="0">
              <a:solidFill>
                <a:srgbClr val="003755"/>
              </a:solidFill>
            </a:endParaRPr>
          </a:p>
          <a:p>
            <a:r>
              <a:rPr lang="en-US" sz="1400" b="1" dirty="0">
                <a:solidFill>
                  <a:srgbClr val="003755"/>
                </a:solidFill>
              </a:rPr>
              <a:t>GHG Emissions </a:t>
            </a:r>
            <a:r>
              <a:rPr lang="en-US" sz="1400" dirty="0">
                <a:solidFill>
                  <a:srgbClr val="003755"/>
                </a:solidFill>
              </a:rPr>
              <a:t>is the first most common topic for our portfolio managers to engage with companies on during </a:t>
            </a:r>
            <a:r>
              <a:rPr lang="en-US" sz="1400" dirty="0" smtClean="0">
                <a:solidFill>
                  <a:srgbClr val="003755"/>
                </a:solidFill>
              </a:rPr>
              <a:t>H1 2020. </a:t>
            </a:r>
            <a:r>
              <a:rPr lang="lt-LT" sz="1400" b="1" dirty="0">
                <a:solidFill>
                  <a:srgbClr val="003755"/>
                </a:solidFill>
              </a:rPr>
              <a:t>GHG</a:t>
            </a:r>
            <a:r>
              <a:rPr lang="en-US" sz="1400" b="1" dirty="0">
                <a:solidFill>
                  <a:srgbClr val="003755"/>
                </a:solidFill>
              </a:rPr>
              <a:t> Emissions </a:t>
            </a:r>
            <a:r>
              <a:rPr lang="en-GB" sz="1400" dirty="0">
                <a:solidFill>
                  <a:srgbClr val="003755"/>
                </a:solidFill>
              </a:rPr>
              <a:t>are emissions into earth’s atmosphere of any type of various gases contributing to the greenhouse effect. </a:t>
            </a:r>
            <a:r>
              <a:rPr lang="lt-LT" sz="1400" dirty="0" smtClean="0">
                <a:solidFill>
                  <a:srgbClr val="003755"/>
                </a:solidFill>
              </a:rPr>
              <a:t> </a:t>
            </a:r>
            <a:r>
              <a:rPr lang="en-US" sz="1400" dirty="0" smtClean="0">
                <a:solidFill>
                  <a:srgbClr val="003755"/>
                </a:solidFill>
              </a:rPr>
              <a:t> </a:t>
            </a:r>
            <a:endParaRPr lang="en-US" sz="1400" dirty="0">
              <a:solidFill>
                <a:srgbClr val="003755"/>
              </a:solidFill>
            </a:endParaRPr>
          </a:p>
        </p:txBody>
      </p:sp>
      <p:pic>
        <p:nvPicPr>
          <p:cNvPr id="327" name="Check List"/>
          <p:cNvPicPr>
            <a:picLocks noChangeAspect="1"/>
          </p:cNvPicPr>
          <p:nvPr>
            <p:custDataLst>
              <p:tags r:id="rId2"/>
            </p:custDataLst>
          </p:nvPr>
        </p:nvPicPr>
        <p:blipFill>
          <a:blip r:embed="rId95" cstate="print">
            <a:extLst>
              <a:ext uri="{28A0092B-C50C-407E-A947-70E740481C1C}">
                <a14:useLocalDpi xmlns:a14="http://schemas.microsoft.com/office/drawing/2010/main" val="0"/>
              </a:ext>
            </a:extLst>
          </a:blip>
          <a:stretch>
            <a:fillRect/>
          </a:stretch>
        </p:blipFill>
        <p:spPr>
          <a:xfrm>
            <a:off x="431900" y="2016546"/>
            <a:ext cx="874993" cy="858405"/>
          </a:xfrm>
          <a:prstGeom prst="rect">
            <a:avLst/>
          </a:prstGeom>
        </p:spPr>
      </p:pic>
      <p:sp>
        <p:nvSpPr>
          <p:cNvPr id="373" name="Rounded Rectangle 372"/>
          <p:cNvSpPr/>
          <p:nvPr/>
        </p:nvSpPr>
        <p:spPr>
          <a:xfrm>
            <a:off x="8633237" y="6538249"/>
            <a:ext cx="180000" cy="180000"/>
          </a:xfrm>
          <a:prstGeom prst="roundRect">
            <a:avLst/>
          </a:prstGeom>
          <a:solidFill>
            <a:srgbClr val="09B8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smtClean="0">
              <a:solidFill>
                <a:schemeClr val="tx1"/>
              </a:solidFill>
            </a:endParaRPr>
          </a:p>
        </p:txBody>
      </p:sp>
      <p:sp>
        <p:nvSpPr>
          <p:cNvPr id="374" name="TextBox 373"/>
          <p:cNvSpPr txBox="1"/>
          <p:nvPr/>
        </p:nvSpPr>
        <p:spPr>
          <a:xfrm>
            <a:off x="8883256" y="6535916"/>
            <a:ext cx="1941370" cy="184666"/>
          </a:xfrm>
          <a:prstGeom prst="rect">
            <a:avLst/>
          </a:prstGeom>
          <a:noFill/>
        </p:spPr>
        <p:txBody>
          <a:bodyPr wrap="square" lIns="0" tIns="0" rIns="0" bIns="0" rtlCol="0">
            <a:spAutoFit/>
          </a:bodyPr>
          <a:lstStyle/>
          <a:p>
            <a:r>
              <a:rPr lang="en-GB" sz="1200" dirty="0" smtClean="0">
                <a:solidFill>
                  <a:srgbClr val="003755"/>
                </a:solidFill>
              </a:rPr>
              <a:t>GHG Emissions</a:t>
            </a:r>
          </a:p>
        </p:txBody>
      </p:sp>
      <p:sp>
        <p:nvSpPr>
          <p:cNvPr id="375" name="Rounded Rectangle 374"/>
          <p:cNvSpPr/>
          <p:nvPr/>
        </p:nvSpPr>
        <p:spPr>
          <a:xfrm>
            <a:off x="10473817" y="6535917"/>
            <a:ext cx="180000" cy="180000"/>
          </a:xfrm>
          <a:prstGeom prst="roundRect">
            <a:avLst/>
          </a:prstGeom>
          <a:solidFill>
            <a:srgbClr val="CBE4E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smtClean="0">
              <a:solidFill>
                <a:schemeClr val="tx1"/>
              </a:solidFill>
            </a:endParaRPr>
          </a:p>
        </p:txBody>
      </p:sp>
      <p:sp>
        <p:nvSpPr>
          <p:cNvPr id="376" name="TextBox 375"/>
          <p:cNvSpPr txBox="1"/>
          <p:nvPr/>
        </p:nvSpPr>
        <p:spPr>
          <a:xfrm>
            <a:off x="10723836" y="6533583"/>
            <a:ext cx="1654118" cy="184666"/>
          </a:xfrm>
          <a:prstGeom prst="rect">
            <a:avLst/>
          </a:prstGeom>
          <a:noFill/>
        </p:spPr>
        <p:txBody>
          <a:bodyPr wrap="square" lIns="0" tIns="0" rIns="0" bIns="0" rtlCol="0">
            <a:spAutoFit/>
          </a:bodyPr>
          <a:lstStyle/>
          <a:p>
            <a:r>
              <a:rPr lang="en-US" sz="1200" dirty="0" smtClean="0">
                <a:solidFill>
                  <a:srgbClr val="003755"/>
                </a:solidFill>
              </a:rPr>
              <a:t>Other topics</a:t>
            </a:r>
          </a:p>
        </p:txBody>
      </p:sp>
      <p:sp>
        <p:nvSpPr>
          <p:cNvPr id="338" name="Rectangle 337"/>
          <p:cNvSpPr/>
          <p:nvPr/>
        </p:nvSpPr>
        <p:spPr>
          <a:xfrm>
            <a:off x="9728764" y="1444333"/>
            <a:ext cx="2948527" cy="600164"/>
          </a:xfrm>
          <a:prstGeom prst="rect">
            <a:avLst/>
          </a:prstGeom>
        </p:spPr>
        <p:txBody>
          <a:bodyPr wrap="square">
            <a:spAutoFit/>
          </a:bodyPr>
          <a:lstStyle/>
          <a:p>
            <a:pPr algn="ctr">
              <a:spcBef>
                <a:spcPts val="600"/>
              </a:spcBef>
              <a:buClr>
                <a:srgbClr val="003755"/>
              </a:buClr>
            </a:pPr>
            <a:r>
              <a:rPr lang="en-US" sz="1400" dirty="0">
                <a:solidFill>
                  <a:srgbClr val="003755"/>
                </a:solidFill>
                <a:latin typeface="Danske Human Medium Italic" panose="02000603050000020003" pitchFamily="2" charset="0"/>
              </a:rPr>
              <a:t>Topic addressed </a:t>
            </a:r>
            <a:endParaRPr lang="en-US" sz="1400" dirty="0" smtClean="0">
              <a:solidFill>
                <a:srgbClr val="003755"/>
              </a:solidFill>
              <a:latin typeface="Danske Human Medium Italic" panose="02000603050000020003" pitchFamily="2" charset="0"/>
            </a:endParaRPr>
          </a:p>
          <a:p>
            <a:pPr algn="ctr">
              <a:spcBef>
                <a:spcPts val="600"/>
              </a:spcBef>
              <a:buClr>
                <a:srgbClr val="003755"/>
              </a:buClr>
            </a:pPr>
            <a:r>
              <a:rPr lang="en-US" sz="1400" dirty="0" smtClean="0">
                <a:solidFill>
                  <a:srgbClr val="003755"/>
                </a:solidFill>
                <a:latin typeface="Danske Human Medium Italic" panose="02000603050000020003" pitchFamily="2" charset="0"/>
              </a:rPr>
              <a:t>in </a:t>
            </a:r>
            <a:r>
              <a:rPr lang="en-US" sz="1400" dirty="0">
                <a:solidFill>
                  <a:srgbClr val="003755"/>
                </a:solidFill>
                <a:latin typeface="Danske Human Medium Italic" panose="02000603050000020003" pitchFamily="2" charset="0"/>
              </a:rPr>
              <a:t>the following countries</a:t>
            </a:r>
          </a:p>
        </p:txBody>
      </p:sp>
      <p:grpSp>
        <p:nvGrpSpPr>
          <p:cNvPr id="4" name="Group 3"/>
          <p:cNvGrpSpPr/>
          <p:nvPr/>
        </p:nvGrpSpPr>
        <p:grpSpPr>
          <a:xfrm>
            <a:off x="876238" y="5790255"/>
            <a:ext cx="5379576" cy="556116"/>
            <a:chOff x="876238" y="5790255"/>
            <a:chExt cx="5379576" cy="556116"/>
          </a:xfrm>
        </p:grpSpPr>
        <p:sp>
          <p:nvSpPr>
            <p:cNvPr id="366" name="TextBox 365"/>
            <p:cNvSpPr txBox="1"/>
            <p:nvPr/>
          </p:nvSpPr>
          <p:spPr>
            <a:xfrm>
              <a:off x="1396287" y="5792373"/>
              <a:ext cx="4859527" cy="553998"/>
            </a:xfrm>
            <a:prstGeom prst="rect">
              <a:avLst/>
            </a:prstGeom>
            <a:noFill/>
          </p:spPr>
          <p:txBody>
            <a:bodyPr wrap="square" lIns="0" tIns="0" rIns="0" bIns="0" rtlCol="0">
              <a:spAutoFit/>
            </a:bodyPr>
            <a:lstStyle/>
            <a:p>
              <a:r>
                <a:rPr lang="en-US" sz="1200" b="1" dirty="0" smtClean="0">
                  <a:solidFill>
                    <a:schemeClr val="tx2"/>
                  </a:solidFill>
                </a:rPr>
                <a:t>Sector: Energy</a:t>
              </a:r>
            </a:p>
            <a:p>
              <a:r>
                <a:rPr lang="en-US" sz="1200" i="1" dirty="0" smtClean="0">
                  <a:solidFill>
                    <a:schemeClr val="tx2"/>
                  </a:solidFill>
                </a:rPr>
                <a:t>“Company’s adoption </a:t>
              </a:r>
              <a:r>
                <a:rPr lang="en-US" sz="1200" i="1" dirty="0">
                  <a:solidFill>
                    <a:schemeClr val="tx2"/>
                  </a:solidFill>
                </a:rPr>
                <a:t>to net zero </a:t>
              </a:r>
              <a:r>
                <a:rPr lang="en-US" sz="1200" i="1" dirty="0" smtClean="0">
                  <a:solidFill>
                    <a:schemeClr val="tx2"/>
                  </a:solidFill>
                </a:rPr>
                <a:t>emission target and discussion about how facilitate energy </a:t>
              </a:r>
              <a:r>
                <a:rPr lang="en-US" sz="1200" i="1" dirty="0">
                  <a:solidFill>
                    <a:schemeClr val="tx2"/>
                  </a:solidFill>
                </a:rPr>
                <a:t>transformation to lower carbon energy</a:t>
              </a:r>
              <a:r>
                <a:rPr lang="en-US" sz="1200" i="1" dirty="0" smtClean="0">
                  <a:solidFill>
                    <a:schemeClr val="tx2"/>
                  </a:solidFill>
                </a:rPr>
                <a:t>.”</a:t>
              </a:r>
              <a:endParaRPr lang="en-US" sz="1200" i="1" dirty="0">
                <a:solidFill>
                  <a:schemeClr val="tx2"/>
                </a:solidFill>
              </a:endParaRPr>
            </a:p>
          </p:txBody>
        </p:sp>
        <p:pic>
          <p:nvPicPr>
            <p:cNvPr id="340" name="Netherlands_NL"/>
            <p:cNvPicPr>
              <a:picLocks noChangeAspect="1"/>
            </p:cNvPicPr>
            <p:nvPr>
              <p:custDataLst>
                <p:tags r:id="rId5"/>
              </p:custDataLst>
            </p:nvPr>
          </p:nvPicPr>
          <p:blipFill>
            <a:blip r:embed="rId96" cstate="print">
              <a:extLst>
                <a:ext uri="{28A0092B-C50C-407E-A947-70E740481C1C}">
                  <a14:useLocalDpi xmlns:a14="http://schemas.microsoft.com/office/drawing/2010/main" val="0"/>
                </a:ext>
              </a:extLst>
            </a:blip>
            <a:stretch>
              <a:fillRect/>
            </a:stretch>
          </p:blipFill>
          <p:spPr>
            <a:xfrm>
              <a:off x="876238" y="5790255"/>
              <a:ext cx="428017" cy="428017"/>
            </a:xfrm>
            <a:prstGeom prst="rect">
              <a:avLst/>
            </a:prstGeom>
          </p:spPr>
        </p:pic>
      </p:grpSp>
      <p:grpSp>
        <p:nvGrpSpPr>
          <p:cNvPr id="3" name="Group 2"/>
          <p:cNvGrpSpPr/>
          <p:nvPr/>
        </p:nvGrpSpPr>
        <p:grpSpPr>
          <a:xfrm>
            <a:off x="876238" y="5168584"/>
            <a:ext cx="5072577" cy="557800"/>
            <a:chOff x="876238" y="5165398"/>
            <a:chExt cx="5072577" cy="557800"/>
          </a:xfrm>
        </p:grpSpPr>
        <p:sp>
          <p:nvSpPr>
            <p:cNvPr id="365" name="TextBox 364"/>
            <p:cNvSpPr txBox="1"/>
            <p:nvPr/>
          </p:nvSpPr>
          <p:spPr>
            <a:xfrm>
              <a:off x="1396287" y="5169200"/>
              <a:ext cx="4552528" cy="553998"/>
            </a:xfrm>
            <a:prstGeom prst="rect">
              <a:avLst/>
            </a:prstGeom>
            <a:noFill/>
          </p:spPr>
          <p:txBody>
            <a:bodyPr wrap="square" lIns="0" tIns="0" rIns="0" bIns="0" rtlCol="0">
              <a:spAutoFit/>
            </a:bodyPr>
            <a:lstStyle/>
            <a:p>
              <a:r>
                <a:rPr lang="en-US" sz="1200" b="1" dirty="0">
                  <a:solidFill>
                    <a:schemeClr val="tx2"/>
                  </a:solidFill>
                </a:rPr>
                <a:t>Sector: </a:t>
              </a:r>
              <a:r>
                <a:rPr lang="en-GB" sz="1200" b="1" dirty="0">
                  <a:solidFill>
                    <a:schemeClr val="tx2"/>
                  </a:solidFill>
                </a:rPr>
                <a:t>Utilities</a:t>
              </a:r>
              <a:endParaRPr lang="en-US" sz="1200" b="1" dirty="0">
                <a:solidFill>
                  <a:schemeClr val="tx2"/>
                </a:solidFill>
              </a:endParaRPr>
            </a:p>
            <a:p>
              <a:r>
                <a:rPr lang="en-US" sz="1200" i="1" dirty="0">
                  <a:solidFill>
                    <a:schemeClr val="tx2"/>
                  </a:solidFill>
                </a:rPr>
                <a:t>“Discussed hydrogen </a:t>
              </a:r>
              <a:r>
                <a:rPr lang="en-US" sz="1200" i="1" dirty="0" smtClean="0">
                  <a:solidFill>
                    <a:schemeClr val="tx2"/>
                  </a:solidFill>
                </a:rPr>
                <a:t>opportunity </a:t>
              </a:r>
              <a:r>
                <a:rPr lang="en-US" sz="1200" i="1" dirty="0">
                  <a:solidFill>
                    <a:schemeClr val="tx2"/>
                  </a:solidFill>
                </a:rPr>
                <a:t>and potential place for green hydrogen in the future energy mix.”</a:t>
              </a:r>
            </a:p>
          </p:txBody>
        </p:sp>
        <p:pic>
          <p:nvPicPr>
            <p:cNvPr id="341" name="Germany_DE"/>
            <p:cNvPicPr>
              <a:picLocks noChangeAspect="1"/>
            </p:cNvPicPr>
            <p:nvPr>
              <p:custDataLst>
                <p:tags r:id="rId4"/>
              </p:custDataLst>
            </p:nvPr>
          </p:nvPicPr>
          <p:blipFill>
            <a:blip r:embed="rId97" cstate="print">
              <a:extLst>
                <a:ext uri="{28A0092B-C50C-407E-A947-70E740481C1C}">
                  <a14:useLocalDpi xmlns:a14="http://schemas.microsoft.com/office/drawing/2010/main" val="0"/>
                </a:ext>
              </a:extLst>
            </a:blip>
            <a:stretch>
              <a:fillRect/>
            </a:stretch>
          </p:blipFill>
          <p:spPr>
            <a:xfrm>
              <a:off x="876238" y="5165398"/>
              <a:ext cx="428017" cy="428017"/>
            </a:xfrm>
            <a:prstGeom prst="rect">
              <a:avLst/>
            </a:prstGeom>
          </p:spPr>
        </p:pic>
      </p:grpSp>
      <p:sp>
        <p:nvSpPr>
          <p:cNvPr id="108" name="Rectangle 107"/>
          <p:cNvSpPr/>
          <p:nvPr/>
        </p:nvSpPr>
        <p:spPr>
          <a:xfrm>
            <a:off x="1280346" y="3958306"/>
            <a:ext cx="2670924" cy="461665"/>
          </a:xfrm>
          <a:prstGeom prst="rect">
            <a:avLst/>
          </a:prstGeom>
        </p:spPr>
        <p:txBody>
          <a:bodyPr wrap="none">
            <a:spAutoFit/>
          </a:bodyPr>
          <a:lstStyle/>
          <a:p>
            <a:r>
              <a:rPr lang="en-US" sz="2400" dirty="0" smtClean="0">
                <a:solidFill>
                  <a:srgbClr val="003755"/>
                </a:solidFill>
                <a:latin typeface="Danske Human Medium Italic" panose="02000603050000020003" pitchFamily="2" charset="0"/>
              </a:rPr>
              <a:t>Company Example</a:t>
            </a:r>
            <a:endParaRPr lang="en-US" sz="2400" dirty="0"/>
          </a:p>
        </p:txBody>
      </p:sp>
      <p:grpSp>
        <p:nvGrpSpPr>
          <p:cNvPr id="5" name="Group 4"/>
          <p:cNvGrpSpPr/>
          <p:nvPr/>
        </p:nvGrpSpPr>
        <p:grpSpPr>
          <a:xfrm>
            <a:off x="876238" y="4550715"/>
            <a:ext cx="5520384" cy="553998"/>
            <a:chOff x="876238" y="4550715"/>
            <a:chExt cx="5520384" cy="553998"/>
          </a:xfrm>
        </p:grpSpPr>
        <p:sp>
          <p:nvSpPr>
            <p:cNvPr id="364" name="TextBox 363"/>
            <p:cNvSpPr txBox="1"/>
            <p:nvPr/>
          </p:nvSpPr>
          <p:spPr>
            <a:xfrm>
              <a:off x="1379129" y="4550715"/>
              <a:ext cx="5017493" cy="553998"/>
            </a:xfrm>
            <a:prstGeom prst="rect">
              <a:avLst/>
            </a:prstGeom>
            <a:noFill/>
          </p:spPr>
          <p:txBody>
            <a:bodyPr wrap="square" lIns="0" tIns="0" rIns="0" bIns="0" rtlCol="0">
              <a:spAutoFit/>
            </a:bodyPr>
            <a:lstStyle/>
            <a:p>
              <a:r>
                <a:rPr lang="en-US" sz="1200" b="1" dirty="0">
                  <a:solidFill>
                    <a:schemeClr val="tx2"/>
                  </a:solidFill>
                </a:rPr>
                <a:t>Sector: </a:t>
              </a:r>
              <a:r>
                <a:rPr lang="en-GB" sz="1200" b="1" dirty="0">
                  <a:solidFill>
                    <a:schemeClr val="tx2"/>
                  </a:solidFill>
                </a:rPr>
                <a:t>Basic Materials</a:t>
              </a:r>
              <a:endParaRPr lang="en-US" sz="1200" b="1" dirty="0">
                <a:solidFill>
                  <a:schemeClr val="tx2"/>
                </a:solidFill>
              </a:endParaRPr>
            </a:p>
            <a:p>
              <a:r>
                <a:rPr lang="en-US" sz="1200" i="1" dirty="0">
                  <a:solidFill>
                    <a:schemeClr val="tx2"/>
                  </a:solidFill>
                </a:rPr>
                <a:t>“Discussion around </a:t>
              </a:r>
              <a:r>
                <a:rPr lang="en-US" sz="1200" i="1" dirty="0" smtClean="0">
                  <a:solidFill>
                    <a:schemeClr val="tx2"/>
                  </a:solidFill>
                </a:rPr>
                <a:t>company's </a:t>
              </a:r>
              <a:r>
                <a:rPr lang="en-US" sz="1200" i="1" dirty="0">
                  <a:solidFill>
                    <a:schemeClr val="tx2"/>
                  </a:solidFill>
                </a:rPr>
                <a:t>efforts to lower scope 1&amp;2 emissions through more renewable </a:t>
              </a:r>
              <a:r>
                <a:rPr lang="en-US" sz="1200" i="1" dirty="0" smtClean="0">
                  <a:solidFill>
                    <a:schemeClr val="tx2"/>
                  </a:solidFill>
                </a:rPr>
                <a:t>energy.”</a:t>
              </a:r>
              <a:endParaRPr lang="en-US" sz="1200" i="1" dirty="0">
                <a:solidFill>
                  <a:schemeClr val="tx2"/>
                </a:solidFill>
              </a:endParaRPr>
            </a:p>
          </p:txBody>
        </p:sp>
        <p:pic>
          <p:nvPicPr>
            <p:cNvPr id="109" name="Germany_DE"/>
            <p:cNvPicPr>
              <a:picLocks noChangeAspect="1"/>
            </p:cNvPicPr>
            <p:nvPr>
              <p:custDataLst>
                <p:tags r:id="rId3"/>
              </p:custDataLst>
            </p:nvPr>
          </p:nvPicPr>
          <p:blipFill>
            <a:blip r:embed="rId97" cstate="print">
              <a:extLst>
                <a:ext uri="{28A0092B-C50C-407E-A947-70E740481C1C}">
                  <a14:useLocalDpi xmlns:a14="http://schemas.microsoft.com/office/drawing/2010/main" val="0"/>
                </a:ext>
              </a:extLst>
            </a:blip>
            <a:stretch>
              <a:fillRect/>
            </a:stretch>
          </p:blipFill>
          <p:spPr>
            <a:xfrm>
              <a:off x="876238" y="4578907"/>
              <a:ext cx="428017" cy="428017"/>
            </a:xfrm>
            <a:prstGeom prst="rect">
              <a:avLst/>
            </a:prstGeom>
          </p:spPr>
        </p:pic>
      </p:grpSp>
    </p:spTree>
    <p:extLst>
      <p:ext uri="{BB962C8B-B14F-4D97-AF65-F5344CB8AC3E}">
        <p14:creationId xmlns:p14="http://schemas.microsoft.com/office/powerpoint/2010/main" val="96916849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grpSp>
        <p:nvGrpSpPr>
          <p:cNvPr id="127" name="Europe (3)"/>
          <p:cNvGrpSpPr>
            <a:grpSpLocks noChangeAspect="1"/>
          </p:cNvGrpSpPr>
          <p:nvPr>
            <p:custDataLst>
              <p:tags r:id="rId1"/>
            </p:custDataLst>
          </p:nvPr>
        </p:nvGrpSpPr>
        <p:grpSpPr bwMode="auto">
          <a:xfrm>
            <a:off x="8110846" y="2075857"/>
            <a:ext cx="4071138" cy="4272809"/>
            <a:chOff x="1730" y="-8"/>
            <a:chExt cx="4078" cy="4280"/>
          </a:xfrm>
          <a:solidFill>
            <a:srgbClr val="CBE4EC"/>
          </a:solidFill>
        </p:grpSpPr>
        <p:sp>
          <p:nvSpPr>
            <p:cNvPr id="128" name="Freeform 5"/>
            <p:cNvSpPr>
              <a:spLocks/>
            </p:cNvSpPr>
            <p:nvPr>
              <p:custDataLst>
                <p:tags r:id="rId6"/>
              </p:custDataLst>
            </p:nvPr>
          </p:nvSpPr>
          <p:spPr bwMode="auto">
            <a:xfrm>
              <a:off x="1890" y="3232"/>
              <a:ext cx="1205" cy="952"/>
            </a:xfrm>
            <a:custGeom>
              <a:avLst/>
              <a:gdLst>
                <a:gd name="T0" fmla="*/ 1154 w 1205"/>
                <a:gd name="T1" fmla="*/ 336 h 952"/>
                <a:gd name="T2" fmla="*/ 1036 w 1205"/>
                <a:gd name="T3" fmla="*/ 296 h 952"/>
                <a:gd name="T4" fmla="*/ 910 w 1205"/>
                <a:gd name="T5" fmla="*/ 280 h 952"/>
                <a:gd name="T6" fmla="*/ 859 w 1205"/>
                <a:gd name="T7" fmla="*/ 232 h 952"/>
                <a:gd name="T8" fmla="*/ 784 w 1205"/>
                <a:gd name="T9" fmla="*/ 192 h 952"/>
                <a:gd name="T10" fmla="*/ 716 w 1205"/>
                <a:gd name="T11" fmla="*/ 144 h 952"/>
                <a:gd name="T12" fmla="*/ 666 w 1205"/>
                <a:gd name="T13" fmla="*/ 136 h 952"/>
                <a:gd name="T14" fmla="*/ 598 w 1205"/>
                <a:gd name="T15" fmla="*/ 128 h 952"/>
                <a:gd name="T16" fmla="*/ 522 w 1205"/>
                <a:gd name="T17" fmla="*/ 104 h 952"/>
                <a:gd name="T18" fmla="*/ 387 w 1205"/>
                <a:gd name="T19" fmla="*/ 64 h 952"/>
                <a:gd name="T20" fmla="*/ 320 w 1205"/>
                <a:gd name="T21" fmla="*/ 48 h 952"/>
                <a:gd name="T22" fmla="*/ 202 w 1205"/>
                <a:gd name="T23" fmla="*/ 16 h 952"/>
                <a:gd name="T24" fmla="*/ 168 w 1205"/>
                <a:gd name="T25" fmla="*/ 0 h 952"/>
                <a:gd name="T26" fmla="*/ 135 w 1205"/>
                <a:gd name="T27" fmla="*/ 8 h 952"/>
                <a:gd name="T28" fmla="*/ 109 w 1205"/>
                <a:gd name="T29" fmla="*/ 24 h 952"/>
                <a:gd name="T30" fmla="*/ 17 w 1205"/>
                <a:gd name="T31" fmla="*/ 48 h 952"/>
                <a:gd name="T32" fmla="*/ 25 w 1205"/>
                <a:gd name="T33" fmla="*/ 88 h 952"/>
                <a:gd name="T34" fmla="*/ 34 w 1205"/>
                <a:gd name="T35" fmla="*/ 128 h 952"/>
                <a:gd name="T36" fmla="*/ 67 w 1205"/>
                <a:gd name="T37" fmla="*/ 176 h 952"/>
                <a:gd name="T38" fmla="*/ 84 w 1205"/>
                <a:gd name="T39" fmla="*/ 200 h 952"/>
                <a:gd name="T40" fmla="*/ 93 w 1205"/>
                <a:gd name="T41" fmla="*/ 216 h 952"/>
                <a:gd name="T42" fmla="*/ 143 w 1205"/>
                <a:gd name="T43" fmla="*/ 232 h 952"/>
                <a:gd name="T44" fmla="*/ 194 w 1205"/>
                <a:gd name="T45" fmla="*/ 224 h 952"/>
                <a:gd name="T46" fmla="*/ 236 w 1205"/>
                <a:gd name="T47" fmla="*/ 256 h 952"/>
                <a:gd name="T48" fmla="*/ 253 w 1205"/>
                <a:gd name="T49" fmla="*/ 272 h 952"/>
                <a:gd name="T50" fmla="*/ 261 w 1205"/>
                <a:gd name="T51" fmla="*/ 296 h 952"/>
                <a:gd name="T52" fmla="*/ 202 w 1205"/>
                <a:gd name="T53" fmla="*/ 328 h 952"/>
                <a:gd name="T54" fmla="*/ 177 w 1205"/>
                <a:gd name="T55" fmla="*/ 368 h 952"/>
                <a:gd name="T56" fmla="*/ 160 w 1205"/>
                <a:gd name="T57" fmla="*/ 424 h 952"/>
                <a:gd name="T58" fmla="*/ 143 w 1205"/>
                <a:gd name="T59" fmla="*/ 432 h 952"/>
                <a:gd name="T60" fmla="*/ 126 w 1205"/>
                <a:gd name="T61" fmla="*/ 480 h 952"/>
                <a:gd name="T62" fmla="*/ 76 w 1205"/>
                <a:gd name="T63" fmla="*/ 488 h 952"/>
                <a:gd name="T64" fmla="*/ 109 w 1205"/>
                <a:gd name="T65" fmla="*/ 568 h 952"/>
                <a:gd name="T66" fmla="*/ 101 w 1205"/>
                <a:gd name="T67" fmla="*/ 584 h 952"/>
                <a:gd name="T68" fmla="*/ 67 w 1205"/>
                <a:gd name="T69" fmla="*/ 608 h 952"/>
                <a:gd name="T70" fmla="*/ 67 w 1205"/>
                <a:gd name="T71" fmla="*/ 656 h 952"/>
                <a:gd name="T72" fmla="*/ 84 w 1205"/>
                <a:gd name="T73" fmla="*/ 672 h 952"/>
                <a:gd name="T74" fmla="*/ 17 w 1205"/>
                <a:gd name="T75" fmla="*/ 720 h 952"/>
                <a:gd name="T76" fmla="*/ 0 w 1205"/>
                <a:gd name="T77" fmla="*/ 784 h 952"/>
                <a:gd name="T78" fmla="*/ 59 w 1205"/>
                <a:gd name="T79" fmla="*/ 792 h 952"/>
                <a:gd name="T80" fmla="*/ 109 w 1205"/>
                <a:gd name="T81" fmla="*/ 840 h 952"/>
                <a:gd name="T82" fmla="*/ 118 w 1205"/>
                <a:gd name="T83" fmla="*/ 920 h 952"/>
                <a:gd name="T84" fmla="*/ 219 w 1205"/>
                <a:gd name="T85" fmla="*/ 928 h 952"/>
                <a:gd name="T86" fmla="*/ 295 w 1205"/>
                <a:gd name="T87" fmla="*/ 912 h 952"/>
                <a:gd name="T88" fmla="*/ 379 w 1205"/>
                <a:gd name="T89" fmla="*/ 904 h 952"/>
                <a:gd name="T90" fmla="*/ 539 w 1205"/>
                <a:gd name="T91" fmla="*/ 928 h 952"/>
                <a:gd name="T92" fmla="*/ 598 w 1205"/>
                <a:gd name="T93" fmla="*/ 904 h 952"/>
                <a:gd name="T94" fmla="*/ 649 w 1205"/>
                <a:gd name="T95" fmla="*/ 856 h 952"/>
                <a:gd name="T96" fmla="*/ 725 w 1205"/>
                <a:gd name="T97" fmla="*/ 824 h 952"/>
                <a:gd name="T98" fmla="*/ 784 w 1205"/>
                <a:gd name="T99" fmla="*/ 752 h 952"/>
                <a:gd name="T100" fmla="*/ 809 w 1205"/>
                <a:gd name="T101" fmla="*/ 664 h 952"/>
                <a:gd name="T102" fmla="*/ 842 w 1205"/>
                <a:gd name="T103" fmla="*/ 592 h 952"/>
                <a:gd name="T104" fmla="*/ 927 w 1205"/>
                <a:gd name="T105" fmla="*/ 504 h 952"/>
                <a:gd name="T106" fmla="*/ 944 w 1205"/>
                <a:gd name="T107" fmla="*/ 472 h 952"/>
                <a:gd name="T108" fmla="*/ 1019 w 1205"/>
                <a:gd name="T109" fmla="*/ 440 h 952"/>
                <a:gd name="T110" fmla="*/ 1196 w 1205"/>
                <a:gd name="T111" fmla="*/ 376 h 952"/>
                <a:gd name="T112" fmla="*/ 1205 w 1205"/>
                <a:gd name="T113" fmla="*/ 368 h 952"/>
                <a:gd name="T114" fmla="*/ 1180 w 1205"/>
                <a:gd name="T115" fmla="*/ 352 h 95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205" h="952">
                  <a:moveTo>
                    <a:pt x="1180" y="352"/>
                  </a:moveTo>
                  <a:lnTo>
                    <a:pt x="1154" y="336"/>
                  </a:lnTo>
                  <a:lnTo>
                    <a:pt x="1095" y="320"/>
                  </a:lnTo>
                  <a:lnTo>
                    <a:pt x="1036" y="296"/>
                  </a:lnTo>
                  <a:lnTo>
                    <a:pt x="969" y="288"/>
                  </a:lnTo>
                  <a:lnTo>
                    <a:pt x="910" y="280"/>
                  </a:lnTo>
                  <a:lnTo>
                    <a:pt x="893" y="256"/>
                  </a:lnTo>
                  <a:lnTo>
                    <a:pt x="859" y="232"/>
                  </a:lnTo>
                  <a:lnTo>
                    <a:pt x="817" y="224"/>
                  </a:lnTo>
                  <a:lnTo>
                    <a:pt x="784" y="192"/>
                  </a:lnTo>
                  <a:lnTo>
                    <a:pt x="733" y="152"/>
                  </a:lnTo>
                  <a:lnTo>
                    <a:pt x="716" y="144"/>
                  </a:lnTo>
                  <a:lnTo>
                    <a:pt x="699" y="144"/>
                  </a:lnTo>
                  <a:lnTo>
                    <a:pt x="666" y="136"/>
                  </a:lnTo>
                  <a:lnTo>
                    <a:pt x="632" y="120"/>
                  </a:lnTo>
                  <a:lnTo>
                    <a:pt x="598" y="128"/>
                  </a:lnTo>
                  <a:lnTo>
                    <a:pt x="556" y="104"/>
                  </a:lnTo>
                  <a:lnTo>
                    <a:pt x="522" y="104"/>
                  </a:lnTo>
                  <a:lnTo>
                    <a:pt x="480" y="96"/>
                  </a:lnTo>
                  <a:lnTo>
                    <a:pt x="387" y="64"/>
                  </a:lnTo>
                  <a:lnTo>
                    <a:pt x="362" y="48"/>
                  </a:lnTo>
                  <a:lnTo>
                    <a:pt x="320" y="48"/>
                  </a:lnTo>
                  <a:lnTo>
                    <a:pt x="227" y="32"/>
                  </a:lnTo>
                  <a:lnTo>
                    <a:pt x="202" y="16"/>
                  </a:lnTo>
                  <a:lnTo>
                    <a:pt x="185" y="0"/>
                  </a:lnTo>
                  <a:lnTo>
                    <a:pt x="168" y="0"/>
                  </a:lnTo>
                  <a:lnTo>
                    <a:pt x="143" y="0"/>
                  </a:lnTo>
                  <a:lnTo>
                    <a:pt x="135" y="8"/>
                  </a:lnTo>
                  <a:lnTo>
                    <a:pt x="126" y="24"/>
                  </a:lnTo>
                  <a:lnTo>
                    <a:pt x="109" y="24"/>
                  </a:lnTo>
                  <a:lnTo>
                    <a:pt x="59" y="32"/>
                  </a:lnTo>
                  <a:lnTo>
                    <a:pt x="17" y="48"/>
                  </a:lnTo>
                  <a:lnTo>
                    <a:pt x="25" y="80"/>
                  </a:lnTo>
                  <a:lnTo>
                    <a:pt x="25" y="88"/>
                  </a:lnTo>
                  <a:lnTo>
                    <a:pt x="25" y="104"/>
                  </a:lnTo>
                  <a:lnTo>
                    <a:pt x="34" y="128"/>
                  </a:lnTo>
                  <a:lnTo>
                    <a:pt x="17" y="184"/>
                  </a:lnTo>
                  <a:lnTo>
                    <a:pt x="67" y="176"/>
                  </a:lnTo>
                  <a:lnTo>
                    <a:pt x="84" y="184"/>
                  </a:lnTo>
                  <a:lnTo>
                    <a:pt x="84" y="200"/>
                  </a:lnTo>
                  <a:lnTo>
                    <a:pt x="76" y="208"/>
                  </a:lnTo>
                  <a:lnTo>
                    <a:pt x="93" y="216"/>
                  </a:lnTo>
                  <a:lnTo>
                    <a:pt x="126" y="216"/>
                  </a:lnTo>
                  <a:lnTo>
                    <a:pt x="143" y="232"/>
                  </a:lnTo>
                  <a:lnTo>
                    <a:pt x="168" y="232"/>
                  </a:lnTo>
                  <a:lnTo>
                    <a:pt x="194" y="224"/>
                  </a:lnTo>
                  <a:lnTo>
                    <a:pt x="227" y="240"/>
                  </a:lnTo>
                  <a:lnTo>
                    <a:pt x="236" y="256"/>
                  </a:lnTo>
                  <a:lnTo>
                    <a:pt x="236" y="264"/>
                  </a:lnTo>
                  <a:lnTo>
                    <a:pt x="253" y="272"/>
                  </a:lnTo>
                  <a:lnTo>
                    <a:pt x="261" y="288"/>
                  </a:lnTo>
                  <a:lnTo>
                    <a:pt x="261" y="296"/>
                  </a:lnTo>
                  <a:lnTo>
                    <a:pt x="227" y="312"/>
                  </a:lnTo>
                  <a:lnTo>
                    <a:pt x="202" y="328"/>
                  </a:lnTo>
                  <a:lnTo>
                    <a:pt x="168" y="344"/>
                  </a:lnTo>
                  <a:lnTo>
                    <a:pt x="177" y="368"/>
                  </a:lnTo>
                  <a:lnTo>
                    <a:pt x="160" y="400"/>
                  </a:lnTo>
                  <a:lnTo>
                    <a:pt x="160" y="424"/>
                  </a:lnTo>
                  <a:lnTo>
                    <a:pt x="152" y="432"/>
                  </a:lnTo>
                  <a:lnTo>
                    <a:pt x="143" y="432"/>
                  </a:lnTo>
                  <a:lnTo>
                    <a:pt x="143" y="464"/>
                  </a:lnTo>
                  <a:lnTo>
                    <a:pt x="126" y="480"/>
                  </a:lnTo>
                  <a:lnTo>
                    <a:pt x="101" y="488"/>
                  </a:lnTo>
                  <a:lnTo>
                    <a:pt x="76" y="488"/>
                  </a:lnTo>
                  <a:lnTo>
                    <a:pt x="93" y="552"/>
                  </a:lnTo>
                  <a:lnTo>
                    <a:pt x="109" y="568"/>
                  </a:lnTo>
                  <a:lnTo>
                    <a:pt x="109" y="576"/>
                  </a:lnTo>
                  <a:lnTo>
                    <a:pt x="101" y="584"/>
                  </a:lnTo>
                  <a:lnTo>
                    <a:pt x="76" y="592"/>
                  </a:lnTo>
                  <a:lnTo>
                    <a:pt x="67" y="608"/>
                  </a:lnTo>
                  <a:lnTo>
                    <a:pt x="59" y="632"/>
                  </a:lnTo>
                  <a:lnTo>
                    <a:pt x="67" y="656"/>
                  </a:lnTo>
                  <a:lnTo>
                    <a:pt x="76" y="672"/>
                  </a:lnTo>
                  <a:lnTo>
                    <a:pt x="84" y="672"/>
                  </a:lnTo>
                  <a:lnTo>
                    <a:pt x="59" y="696"/>
                  </a:lnTo>
                  <a:lnTo>
                    <a:pt x="17" y="720"/>
                  </a:lnTo>
                  <a:lnTo>
                    <a:pt x="8" y="752"/>
                  </a:lnTo>
                  <a:lnTo>
                    <a:pt x="0" y="784"/>
                  </a:lnTo>
                  <a:lnTo>
                    <a:pt x="17" y="784"/>
                  </a:lnTo>
                  <a:lnTo>
                    <a:pt x="59" y="792"/>
                  </a:lnTo>
                  <a:lnTo>
                    <a:pt x="93" y="816"/>
                  </a:lnTo>
                  <a:lnTo>
                    <a:pt x="109" y="840"/>
                  </a:lnTo>
                  <a:lnTo>
                    <a:pt x="109" y="880"/>
                  </a:lnTo>
                  <a:lnTo>
                    <a:pt x="118" y="920"/>
                  </a:lnTo>
                  <a:lnTo>
                    <a:pt x="152" y="952"/>
                  </a:lnTo>
                  <a:lnTo>
                    <a:pt x="219" y="928"/>
                  </a:lnTo>
                  <a:lnTo>
                    <a:pt x="253" y="920"/>
                  </a:lnTo>
                  <a:lnTo>
                    <a:pt x="295" y="912"/>
                  </a:lnTo>
                  <a:lnTo>
                    <a:pt x="337" y="896"/>
                  </a:lnTo>
                  <a:lnTo>
                    <a:pt x="379" y="904"/>
                  </a:lnTo>
                  <a:lnTo>
                    <a:pt x="463" y="920"/>
                  </a:lnTo>
                  <a:lnTo>
                    <a:pt x="539" y="928"/>
                  </a:lnTo>
                  <a:lnTo>
                    <a:pt x="573" y="928"/>
                  </a:lnTo>
                  <a:lnTo>
                    <a:pt x="598" y="904"/>
                  </a:lnTo>
                  <a:lnTo>
                    <a:pt x="615" y="872"/>
                  </a:lnTo>
                  <a:lnTo>
                    <a:pt x="649" y="856"/>
                  </a:lnTo>
                  <a:lnTo>
                    <a:pt x="733" y="848"/>
                  </a:lnTo>
                  <a:lnTo>
                    <a:pt x="725" y="824"/>
                  </a:lnTo>
                  <a:lnTo>
                    <a:pt x="733" y="800"/>
                  </a:lnTo>
                  <a:lnTo>
                    <a:pt x="784" y="752"/>
                  </a:lnTo>
                  <a:lnTo>
                    <a:pt x="842" y="720"/>
                  </a:lnTo>
                  <a:lnTo>
                    <a:pt x="809" y="664"/>
                  </a:lnTo>
                  <a:lnTo>
                    <a:pt x="809" y="624"/>
                  </a:lnTo>
                  <a:lnTo>
                    <a:pt x="842" y="592"/>
                  </a:lnTo>
                  <a:lnTo>
                    <a:pt x="885" y="536"/>
                  </a:lnTo>
                  <a:lnTo>
                    <a:pt x="927" y="504"/>
                  </a:lnTo>
                  <a:lnTo>
                    <a:pt x="935" y="504"/>
                  </a:lnTo>
                  <a:lnTo>
                    <a:pt x="944" y="472"/>
                  </a:lnTo>
                  <a:lnTo>
                    <a:pt x="977" y="448"/>
                  </a:lnTo>
                  <a:lnTo>
                    <a:pt x="1019" y="440"/>
                  </a:lnTo>
                  <a:lnTo>
                    <a:pt x="1095" y="432"/>
                  </a:lnTo>
                  <a:lnTo>
                    <a:pt x="1196" y="376"/>
                  </a:lnTo>
                  <a:lnTo>
                    <a:pt x="1205" y="376"/>
                  </a:lnTo>
                  <a:lnTo>
                    <a:pt x="1205" y="368"/>
                  </a:lnTo>
                  <a:lnTo>
                    <a:pt x="1205" y="344"/>
                  </a:lnTo>
                  <a:lnTo>
                    <a:pt x="1180" y="35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29" name="Freeform 6"/>
            <p:cNvSpPr>
              <a:spLocks/>
            </p:cNvSpPr>
            <p:nvPr>
              <p:custDataLst>
                <p:tags r:id="rId7"/>
              </p:custDataLst>
            </p:nvPr>
          </p:nvSpPr>
          <p:spPr bwMode="auto">
            <a:xfrm>
              <a:off x="1730" y="3408"/>
              <a:ext cx="421" cy="616"/>
            </a:xfrm>
            <a:custGeom>
              <a:avLst/>
              <a:gdLst>
                <a:gd name="T0" fmla="*/ 396 w 421"/>
                <a:gd name="T1" fmla="*/ 88 h 616"/>
                <a:gd name="T2" fmla="*/ 387 w 421"/>
                <a:gd name="T3" fmla="*/ 64 h 616"/>
                <a:gd name="T4" fmla="*/ 328 w 421"/>
                <a:gd name="T5" fmla="*/ 56 h 616"/>
                <a:gd name="T6" fmla="*/ 286 w 421"/>
                <a:gd name="T7" fmla="*/ 40 h 616"/>
                <a:gd name="T8" fmla="*/ 236 w 421"/>
                <a:gd name="T9" fmla="*/ 32 h 616"/>
                <a:gd name="T10" fmla="*/ 244 w 421"/>
                <a:gd name="T11" fmla="*/ 8 h 616"/>
                <a:gd name="T12" fmla="*/ 177 w 421"/>
                <a:gd name="T13" fmla="*/ 8 h 616"/>
                <a:gd name="T14" fmla="*/ 160 w 421"/>
                <a:gd name="T15" fmla="*/ 112 h 616"/>
                <a:gd name="T16" fmla="*/ 126 w 421"/>
                <a:gd name="T17" fmla="*/ 208 h 616"/>
                <a:gd name="T18" fmla="*/ 42 w 421"/>
                <a:gd name="T19" fmla="*/ 304 h 616"/>
                <a:gd name="T20" fmla="*/ 8 w 421"/>
                <a:gd name="T21" fmla="*/ 368 h 616"/>
                <a:gd name="T22" fmla="*/ 34 w 421"/>
                <a:gd name="T23" fmla="*/ 384 h 616"/>
                <a:gd name="T24" fmla="*/ 25 w 421"/>
                <a:gd name="T25" fmla="*/ 408 h 616"/>
                <a:gd name="T26" fmla="*/ 67 w 421"/>
                <a:gd name="T27" fmla="*/ 416 h 616"/>
                <a:gd name="T28" fmla="*/ 42 w 421"/>
                <a:gd name="T29" fmla="*/ 512 h 616"/>
                <a:gd name="T30" fmla="*/ 8 w 421"/>
                <a:gd name="T31" fmla="*/ 576 h 616"/>
                <a:gd name="T32" fmla="*/ 8 w 421"/>
                <a:gd name="T33" fmla="*/ 592 h 616"/>
                <a:gd name="T34" fmla="*/ 84 w 421"/>
                <a:gd name="T35" fmla="*/ 600 h 616"/>
                <a:gd name="T36" fmla="*/ 160 w 421"/>
                <a:gd name="T37" fmla="*/ 608 h 616"/>
                <a:gd name="T38" fmla="*/ 177 w 421"/>
                <a:gd name="T39" fmla="*/ 544 h 616"/>
                <a:gd name="T40" fmla="*/ 244 w 421"/>
                <a:gd name="T41" fmla="*/ 496 h 616"/>
                <a:gd name="T42" fmla="*/ 227 w 421"/>
                <a:gd name="T43" fmla="*/ 480 h 616"/>
                <a:gd name="T44" fmla="*/ 227 w 421"/>
                <a:gd name="T45" fmla="*/ 432 h 616"/>
                <a:gd name="T46" fmla="*/ 261 w 421"/>
                <a:gd name="T47" fmla="*/ 408 h 616"/>
                <a:gd name="T48" fmla="*/ 269 w 421"/>
                <a:gd name="T49" fmla="*/ 392 h 616"/>
                <a:gd name="T50" fmla="*/ 236 w 421"/>
                <a:gd name="T51" fmla="*/ 312 h 616"/>
                <a:gd name="T52" fmla="*/ 286 w 421"/>
                <a:gd name="T53" fmla="*/ 304 h 616"/>
                <a:gd name="T54" fmla="*/ 303 w 421"/>
                <a:gd name="T55" fmla="*/ 256 h 616"/>
                <a:gd name="T56" fmla="*/ 320 w 421"/>
                <a:gd name="T57" fmla="*/ 248 h 616"/>
                <a:gd name="T58" fmla="*/ 337 w 421"/>
                <a:gd name="T59" fmla="*/ 192 h 616"/>
                <a:gd name="T60" fmla="*/ 362 w 421"/>
                <a:gd name="T61" fmla="*/ 152 h 616"/>
                <a:gd name="T62" fmla="*/ 421 w 421"/>
                <a:gd name="T63" fmla="*/ 120 h 616"/>
                <a:gd name="T64" fmla="*/ 413 w 421"/>
                <a:gd name="T65" fmla="*/ 96 h 61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21" h="616">
                  <a:moveTo>
                    <a:pt x="413" y="96"/>
                  </a:moveTo>
                  <a:lnTo>
                    <a:pt x="396" y="88"/>
                  </a:lnTo>
                  <a:lnTo>
                    <a:pt x="396" y="80"/>
                  </a:lnTo>
                  <a:lnTo>
                    <a:pt x="387" y="64"/>
                  </a:lnTo>
                  <a:lnTo>
                    <a:pt x="354" y="48"/>
                  </a:lnTo>
                  <a:lnTo>
                    <a:pt x="328" y="56"/>
                  </a:lnTo>
                  <a:lnTo>
                    <a:pt x="303" y="56"/>
                  </a:lnTo>
                  <a:lnTo>
                    <a:pt x="286" y="40"/>
                  </a:lnTo>
                  <a:lnTo>
                    <a:pt x="253" y="40"/>
                  </a:lnTo>
                  <a:lnTo>
                    <a:pt x="236" y="32"/>
                  </a:lnTo>
                  <a:lnTo>
                    <a:pt x="244" y="24"/>
                  </a:lnTo>
                  <a:lnTo>
                    <a:pt x="244" y="8"/>
                  </a:lnTo>
                  <a:lnTo>
                    <a:pt x="227" y="0"/>
                  </a:lnTo>
                  <a:lnTo>
                    <a:pt x="177" y="8"/>
                  </a:lnTo>
                  <a:lnTo>
                    <a:pt x="177" y="40"/>
                  </a:lnTo>
                  <a:lnTo>
                    <a:pt x="160" y="112"/>
                  </a:lnTo>
                  <a:lnTo>
                    <a:pt x="143" y="144"/>
                  </a:lnTo>
                  <a:lnTo>
                    <a:pt x="126" y="208"/>
                  </a:lnTo>
                  <a:lnTo>
                    <a:pt x="92" y="256"/>
                  </a:lnTo>
                  <a:lnTo>
                    <a:pt x="42" y="304"/>
                  </a:lnTo>
                  <a:lnTo>
                    <a:pt x="17" y="352"/>
                  </a:lnTo>
                  <a:lnTo>
                    <a:pt x="8" y="368"/>
                  </a:lnTo>
                  <a:lnTo>
                    <a:pt x="17" y="376"/>
                  </a:lnTo>
                  <a:lnTo>
                    <a:pt x="34" y="384"/>
                  </a:lnTo>
                  <a:lnTo>
                    <a:pt x="25" y="400"/>
                  </a:lnTo>
                  <a:lnTo>
                    <a:pt x="25" y="408"/>
                  </a:lnTo>
                  <a:lnTo>
                    <a:pt x="34" y="416"/>
                  </a:lnTo>
                  <a:lnTo>
                    <a:pt x="67" y="416"/>
                  </a:lnTo>
                  <a:lnTo>
                    <a:pt x="42" y="480"/>
                  </a:lnTo>
                  <a:lnTo>
                    <a:pt x="42" y="512"/>
                  </a:lnTo>
                  <a:lnTo>
                    <a:pt x="25" y="544"/>
                  </a:lnTo>
                  <a:lnTo>
                    <a:pt x="8" y="576"/>
                  </a:lnTo>
                  <a:lnTo>
                    <a:pt x="0" y="592"/>
                  </a:lnTo>
                  <a:lnTo>
                    <a:pt x="8" y="592"/>
                  </a:lnTo>
                  <a:lnTo>
                    <a:pt x="50" y="592"/>
                  </a:lnTo>
                  <a:lnTo>
                    <a:pt x="84" y="600"/>
                  </a:lnTo>
                  <a:lnTo>
                    <a:pt x="126" y="616"/>
                  </a:lnTo>
                  <a:lnTo>
                    <a:pt x="160" y="608"/>
                  </a:lnTo>
                  <a:lnTo>
                    <a:pt x="168" y="576"/>
                  </a:lnTo>
                  <a:lnTo>
                    <a:pt x="177" y="544"/>
                  </a:lnTo>
                  <a:lnTo>
                    <a:pt x="219" y="520"/>
                  </a:lnTo>
                  <a:lnTo>
                    <a:pt x="244" y="496"/>
                  </a:lnTo>
                  <a:lnTo>
                    <a:pt x="236" y="496"/>
                  </a:lnTo>
                  <a:lnTo>
                    <a:pt x="227" y="480"/>
                  </a:lnTo>
                  <a:lnTo>
                    <a:pt x="219" y="456"/>
                  </a:lnTo>
                  <a:lnTo>
                    <a:pt x="227" y="432"/>
                  </a:lnTo>
                  <a:lnTo>
                    <a:pt x="236" y="416"/>
                  </a:lnTo>
                  <a:lnTo>
                    <a:pt x="261" y="408"/>
                  </a:lnTo>
                  <a:lnTo>
                    <a:pt x="269" y="400"/>
                  </a:lnTo>
                  <a:lnTo>
                    <a:pt x="269" y="392"/>
                  </a:lnTo>
                  <a:lnTo>
                    <a:pt x="253" y="376"/>
                  </a:lnTo>
                  <a:lnTo>
                    <a:pt x="236" y="312"/>
                  </a:lnTo>
                  <a:lnTo>
                    <a:pt x="261" y="312"/>
                  </a:lnTo>
                  <a:lnTo>
                    <a:pt x="286" y="304"/>
                  </a:lnTo>
                  <a:lnTo>
                    <a:pt x="303" y="288"/>
                  </a:lnTo>
                  <a:lnTo>
                    <a:pt x="303" y="256"/>
                  </a:lnTo>
                  <a:lnTo>
                    <a:pt x="312" y="256"/>
                  </a:lnTo>
                  <a:lnTo>
                    <a:pt x="320" y="248"/>
                  </a:lnTo>
                  <a:lnTo>
                    <a:pt x="320" y="224"/>
                  </a:lnTo>
                  <a:lnTo>
                    <a:pt x="337" y="192"/>
                  </a:lnTo>
                  <a:lnTo>
                    <a:pt x="328" y="168"/>
                  </a:lnTo>
                  <a:lnTo>
                    <a:pt x="362" y="152"/>
                  </a:lnTo>
                  <a:lnTo>
                    <a:pt x="387" y="136"/>
                  </a:lnTo>
                  <a:lnTo>
                    <a:pt x="421" y="120"/>
                  </a:lnTo>
                  <a:lnTo>
                    <a:pt x="421" y="112"/>
                  </a:lnTo>
                  <a:lnTo>
                    <a:pt x="413" y="96"/>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0" name="Freeform 7"/>
            <p:cNvSpPr>
              <a:spLocks/>
            </p:cNvSpPr>
            <p:nvPr>
              <p:custDataLst>
                <p:tags r:id="rId8"/>
              </p:custDataLst>
            </p:nvPr>
          </p:nvSpPr>
          <p:spPr bwMode="auto">
            <a:xfrm>
              <a:off x="1890" y="3232"/>
              <a:ext cx="1205" cy="952"/>
            </a:xfrm>
            <a:custGeom>
              <a:avLst/>
              <a:gdLst>
                <a:gd name="T0" fmla="*/ 1154 w 1205"/>
                <a:gd name="T1" fmla="*/ 336 h 952"/>
                <a:gd name="T2" fmla="*/ 1036 w 1205"/>
                <a:gd name="T3" fmla="*/ 296 h 952"/>
                <a:gd name="T4" fmla="*/ 910 w 1205"/>
                <a:gd name="T5" fmla="*/ 280 h 952"/>
                <a:gd name="T6" fmla="*/ 859 w 1205"/>
                <a:gd name="T7" fmla="*/ 232 h 952"/>
                <a:gd name="T8" fmla="*/ 784 w 1205"/>
                <a:gd name="T9" fmla="*/ 192 h 952"/>
                <a:gd name="T10" fmla="*/ 716 w 1205"/>
                <a:gd name="T11" fmla="*/ 144 h 952"/>
                <a:gd name="T12" fmla="*/ 666 w 1205"/>
                <a:gd name="T13" fmla="*/ 136 h 952"/>
                <a:gd name="T14" fmla="*/ 598 w 1205"/>
                <a:gd name="T15" fmla="*/ 128 h 952"/>
                <a:gd name="T16" fmla="*/ 522 w 1205"/>
                <a:gd name="T17" fmla="*/ 104 h 952"/>
                <a:gd name="T18" fmla="*/ 387 w 1205"/>
                <a:gd name="T19" fmla="*/ 64 h 952"/>
                <a:gd name="T20" fmla="*/ 320 w 1205"/>
                <a:gd name="T21" fmla="*/ 48 h 952"/>
                <a:gd name="T22" fmla="*/ 202 w 1205"/>
                <a:gd name="T23" fmla="*/ 16 h 952"/>
                <a:gd name="T24" fmla="*/ 168 w 1205"/>
                <a:gd name="T25" fmla="*/ 0 h 952"/>
                <a:gd name="T26" fmla="*/ 135 w 1205"/>
                <a:gd name="T27" fmla="*/ 8 h 952"/>
                <a:gd name="T28" fmla="*/ 109 w 1205"/>
                <a:gd name="T29" fmla="*/ 24 h 952"/>
                <a:gd name="T30" fmla="*/ 17 w 1205"/>
                <a:gd name="T31" fmla="*/ 48 h 952"/>
                <a:gd name="T32" fmla="*/ 25 w 1205"/>
                <a:gd name="T33" fmla="*/ 88 h 952"/>
                <a:gd name="T34" fmla="*/ 34 w 1205"/>
                <a:gd name="T35" fmla="*/ 128 h 952"/>
                <a:gd name="T36" fmla="*/ 67 w 1205"/>
                <a:gd name="T37" fmla="*/ 176 h 952"/>
                <a:gd name="T38" fmla="*/ 84 w 1205"/>
                <a:gd name="T39" fmla="*/ 200 h 952"/>
                <a:gd name="T40" fmla="*/ 93 w 1205"/>
                <a:gd name="T41" fmla="*/ 216 h 952"/>
                <a:gd name="T42" fmla="*/ 143 w 1205"/>
                <a:gd name="T43" fmla="*/ 232 h 952"/>
                <a:gd name="T44" fmla="*/ 194 w 1205"/>
                <a:gd name="T45" fmla="*/ 224 h 952"/>
                <a:gd name="T46" fmla="*/ 236 w 1205"/>
                <a:gd name="T47" fmla="*/ 256 h 952"/>
                <a:gd name="T48" fmla="*/ 253 w 1205"/>
                <a:gd name="T49" fmla="*/ 272 h 952"/>
                <a:gd name="T50" fmla="*/ 261 w 1205"/>
                <a:gd name="T51" fmla="*/ 296 h 952"/>
                <a:gd name="T52" fmla="*/ 202 w 1205"/>
                <a:gd name="T53" fmla="*/ 328 h 952"/>
                <a:gd name="T54" fmla="*/ 177 w 1205"/>
                <a:gd name="T55" fmla="*/ 368 h 952"/>
                <a:gd name="T56" fmla="*/ 160 w 1205"/>
                <a:gd name="T57" fmla="*/ 424 h 952"/>
                <a:gd name="T58" fmla="*/ 143 w 1205"/>
                <a:gd name="T59" fmla="*/ 432 h 952"/>
                <a:gd name="T60" fmla="*/ 126 w 1205"/>
                <a:gd name="T61" fmla="*/ 480 h 952"/>
                <a:gd name="T62" fmla="*/ 76 w 1205"/>
                <a:gd name="T63" fmla="*/ 488 h 952"/>
                <a:gd name="T64" fmla="*/ 109 w 1205"/>
                <a:gd name="T65" fmla="*/ 568 h 952"/>
                <a:gd name="T66" fmla="*/ 101 w 1205"/>
                <a:gd name="T67" fmla="*/ 584 h 952"/>
                <a:gd name="T68" fmla="*/ 67 w 1205"/>
                <a:gd name="T69" fmla="*/ 608 h 952"/>
                <a:gd name="T70" fmla="*/ 67 w 1205"/>
                <a:gd name="T71" fmla="*/ 656 h 952"/>
                <a:gd name="T72" fmla="*/ 84 w 1205"/>
                <a:gd name="T73" fmla="*/ 672 h 952"/>
                <a:gd name="T74" fmla="*/ 17 w 1205"/>
                <a:gd name="T75" fmla="*/ 720 h 952"/>
                <a:gd name="T76" fmla="*/ 0 w 1205"/>
                <a:gd name="T77" fmla="*/ 784 h 952"/>
                <a:gd name="T78" fmla="*/ 59 w 1205"/>
                <a:gd name="T79" fmla="*/ 792 h 952"/>
                <a:gd name="T80" fmla="*/ 109 w 1205"/>
                <a:gd name="T81" fmla="*/ 840 h 952"/>
                <a:gd name="T82" fmla="*/ 118 w 1205"/>
                <a:gd name="T83" fmla="*/ 920 h 952"/>
                <a:gd name="T84" fmla="*/ 219 w 1205"/>
                <a:gd name="T85" fmla="*/ 928 h 952"/>
                <a:gd name="T86" fmla="*/ 295 w 1205"/>
                <a:gd name="T87" fmla="*/ 912 h 952"/>
                <a:gd name="T88" fmla="*/ 379 w 1205"/>
                <a:gd name="T89" fmla="*/ 904 h 952"/>
                <a:gd name="T90" fmla="*/ 539 w 1205"/>
                <a:gd name="T91" fmla="*/ 928 h 952"/>
                <a:gd name="T92" fmla="*/ 598 w 1205"/>
                <a:gd name="T93" fmla="*/ 904 h 952"/>
                <a:gd name="T94" fmla="*/ 649 w 1205"/>
                <a:gd name="T95" fmla="*/ 856 h 952"/>
                <a:gd name="T96" fmla="*/ 725 w 1205"/>
                <a:gd name="T97" fmla="*/ 824 h 952"/>
                <a:gd name="T98" fmla="*/ 784 w 1205"/>
                <a:gd name="T99" fmla="*/ 752 h 952"/>
                <a:gd name="T100" fmla="*/ 809 w 1205"/>
                <a:gd name="T101" fmla="*/ 664 h 952"/>
                <a:gd name="T102" fmla="*/ 842 w 1205"/>
                <a:gd name="T103" fmla="*/ 592 h 952"/>
                <a:gd name="T104" fmla="*/ 927 w 1205"/>
                <a:gd name="T105" fmla="*/ 504 h 952"/>
                <a:gd name="T106" fmla="*/ 944 w 1205"/>
                <a:gd name="T107" fmla="*/ 472 h 952"/>
                <a:gd name="T108" fmla="*/ 944 w 1205"/>
                <a:gd name="T109" fmla="*/ 472 h 952"/>
                <a:gd name="T110" fmla="*/ 1019 w 1205"/>
                <a:gd name="T111" fmla="*/ 440 h 952"/>
                <a:gd name="T112" fmla="*/ 1196 w 1205"/>
                <a:gd name="T113" fmla="*/ 376 h 952"/>
                <a:gd name="T114" fmla="*/ 1205 w 1205"/>
                <a:gd name="T115" fmla="*/ 368 h 952"/>
                <a:gd name="T116" fmla="*/ 1205 w 1205"/>
                <a:gd name="T117" fmla="*/ 344 h 95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205" h="952">
                  <a:moveTo>
                    <a:pt x="1180" y="352"/>
                  </a:moveTo>
                  <a:lnTo>
                    <a:pt x="1154" y="336"/>
                  </a:lnTo>
                  <a:lnTo>
                    <a:pt x="1095" y="320"/>
                  </a:lnTo>
                  <a:lnTo>
                    <a:pt x="1036" y="296"/>
                  </a:lnTo>
                  <a:lnTo>
                    <a:pt x="969" y="288"/>
                  </a:lnTo>
                  <a:lnTo>
                    <a:pt x="910" y="280"/>
                  </a:lnTo>
                  <a:lnTo>
                    <a:pt x="893" y="256"/>
                  </a:lnTo>
                  <a:lnTo>
                    <a:pt x="859" y="232"/>
                  </a:lnTo>
                  <a:lnTo>
                    <a:pt x="817" y="224"/>
                  </a:lnTo>
                  <a:lnTo>
                    <a:pt x="784" y="192"/>
                  </a:lnTo>
                  <a:lnTo>
                    <a:pt x="733" y="152"/>
                  </a:lnTo>
                  <a:lnTo>
                    <a:pt x="716" y="144"/>
                  </a:lnTo>
                  <a:lnTo>
                    <a:pt x="699" y="144"/>
                  </a:lnTo>
                  <a:lnTo>
                    <a:pt x="666" y="136"/>
                  </a:lnTo>
                  <a:lnTo>
                    <a:pt x="632" y="120"/>
                  </a:lnTo>
                  <a:lnTo>
                    <a:pt x="598" y="128"/>
                  </a:lnTo>
                  <a:lnTo>
                    <a:pt x="556" y="104"/>
                  </a:lnTo>
                  <a:lnTo>
                    <a:pt x="522" y="104"/>
                  </a:lnTo>
                  <a:lnTo>
                    <a:pt x="480" y="96"/>
                  </a:lnTo>
                  <a:lnTo>
                    <a:pt x="387" y="64"/>
                  </a:lnTo>
                  <a:lnTo>
                    <a:pt x="362" y="48"/>
                  </a:lnTo>
                  <a:lnTo>
                    <a:pt x="320" y="48"/>
                  </a:lnTo>
                  <a:lnTo>
                    <a:pt x="227" y="32"/>
                  </a:lnTo>
                  <a:lnTo>
                    <a:pt x="202" y="16"/>
                  </a:lnTo>
                  <a:lnTo>
                    <a:pt x="185" y="0"/>
                  </a:lnTo>
                  <a:lnTo>
                    <a:pt x="168" y="0"/>
                  </a:lnTo>
                  <a:lnTo>
                    <a:pt x="143" y="0"/>
                  </a:lnTo>
                  <a:lnTo>
                    <a:pt x="135" y="8"/>
                  </a:lnTo>
                  <a:lnTo>
                    <a:pt x="126" y="24"/>
                  </a:lnTo>
                  <a:lnTo>
                    <a:pt x="109" y="24"/>
                  </a:lnTo>
                  <a:lnTo>
                    <a:pt x="59" y="32"/>
                  </a:lnTo>
                  <a:lnTo>
                    <a:pt x="17" y="48"/>
                  </a:lnTo>
                  <a:lnTo>
                    <a:pt x="25" y="80"/>
                  </a:lnTo>
                  <a:lnTo>
                    <a:pt x="25" y="88"/>
                  </a:lnTo>
                  <a:lnTo>
                    <a:pt x="25" y="104"/>
                  </a:lnTo>
                  <a:lnTo>
                    <a:pt x="34" y="128"/>
                  </a:lnTo>
                  <a:lnTo>
                    <a:pt x="17" y="184"/>
                  </a:lnTo>
                  <a:lnTo>
                    <a:pt x="67" y="176"/>
                  </a:lnTo>
                  <a:lnTo>
                    <a:pt x="84" y="184"/>
                  </a:lnTo>
                  <a:lnTo>
                    <a:pt x="84" y="200"/>
                  </a:lnTo>
                  <a:lnTo>
                    <a:pt x="76" y="208"/>
                  </a:lnTo>
                  <a:lnTo>
                    <a:pt x="93" y="216"/>
                  </a:lnTo>
                  <a:lnTo>
                    <a:pt x="126" y="216"/>
                  </a:lnTo>
                  <a:lnTo>
                    <a:pt x="143" y="232"/>
                  </a:lnTo>
                  <a:lnTo>
                    <a:pt x="168" y="232"/>
                  </a:lnTo>
                  <a:lnTo>
                    <a:pt x="194" y="224"/>
                  </a:lnTo>
                  <a:lnTo>
                    <a:pt x="227" y="240"/>
                  </a:lnTo>
                  <a:lnTo>
                    <a:pt x="236" y="256"/>
                  </a:lnTo>
                  <a:lnTo>
                    <a:pt x="236" y="264"/>
                  </a:lnTo>
                  <a:lnTo>
                    <a:pt x="253" y="272"/>
                  </a:lnTo>
                  <a:lnTo>
                    <a:pt x="261" y="288"/>
                  </a:lnTo>
                  <a:lnTo>
                    <a:pt x="261" y="296"/>
                  </a:lnTo>
                  <a:lnTo>
                    <a:pt x="227" y="312"/>
                  </a:lnTo>
                  <a:lnTo>
                    <a:pt x="202" y="328"/>
                  </a:lnTo>
                  <a:lnTo>
                    <a:pt x="168" y="344"/>
                  </a:lnTo>
                  <a:lnTo>
                    <a:pt x="177" y="368"/>
                  </a:lnTo>
                  <a:lnTo>
                    <a:pt x="160" y="400"/>
                  </a:lnTo>
                  <a:lnTo>
                    <a:pt x="160" y="424"/>
                  </a:lnTo>
                  <a:lnTo>
                    <a:pt x="152" y="432"/>
                  </a:lnTo>
                  <a:lnTo>
                    <a:pt x="143" y="432"/>
                  </a:lnTo>
                  <a:lnTo>
                    <a:pt x="143" y="464"/>
                  </a:lnTo>
                  <a:lnTo>
                    <a:pt x="126" y="480"/>
                  </a:lnTo>
                  <a:lnTo>
                    <a:pt x="101" y="488"/>
                  </a:lnTo>
                  <a:lnTo>
                    <a:pt x="76" y="488"/>
                  </a:lnTo>
                  <a:lnTo>
                    <a:pt x="93" y="552"/>
                  </a:lnTo>
                  <a:lnTo>
                    <a:pt x="109" y="568"/>
                  </a:lnTo>
                  <a:lnTo>
                    <a:pt x="109" y="576"/>
                  </a:lnTo>
                  <a:lnTo>
                    <a:pt x="101" y="584"/>
                  </a:lnTo>
                  <a:lnTo>
                    <a:pt x="76" y="592"/>
                  </a:lnTo>
                  <a:lnTo>
                    <a:pt x="67" y="608"/>
                  </a:lnTo>
                  <a:lnTo>
                    <a:pt x="59" y="632"/>
                  </a:lnTo>
                  <a:lnTo>
                    <a:pt x="67" y="656"/>
                  </a:lnTo>
                  <a:lnTo>
                    <a:pt x="76" y="672"/>
                  </a:lnTo>
                  <a:lnTo>
                    <a:pt x="84" y="672"/>
                  </a:lnTo>
                  <a:lnTo>
                    <a:pt x="59" y="696"/>
                  </a:lnTo>
                  <a:lnTo>
                    <a:pt x="17" y="720"/>
                  </a:lnTo>
                  <a:lnTo>
                    <a:pt x="8" y="752"/>
                  </a:lnTo>
                  <a:lnTo>
                    <a:pt x="0" y="784"/>
                  </a:lnTo>
                  <a:lnTo>
                    <a:pt x="17" y="784"/>
                  </a:lnTo>
                  <a:lnTo>
                    <a:pt x="59" y="792"/>
                  </a:lnTo>
                  <a:lnTo>
                    <a:pt x="93" y="816"/>
                  </a:lnTo>
                  <a:lnTo>
                    <a:pt x="109" y="840"/>
                  </a:lnTo>
                  <a:lnTo>
                    <a:pt x="109" y="880"/>
                  </a:lnTo>
                  <a:lnTo>
                    <a:pt x="118" y="920"/>
                  </a:lnTo>
                  <a:lnTo>
                    <a:pt x="152" y="952"/>
                  </a:lnTo>
                  <a:lnTo>
                    <a:pt x="219" y="928"/>
                  </a:lnTo>
                  <a:lnTo>
                    <a:pt x="253" y="920"/>
                  </a:lnTo>
                  <a:lnTo>
                    <a:pt x="295" y="912"/>
                  </a:lnTo>
                  <a:lnTo>
                    <a:pt x="337" y="896"/>
                  </a:lnTo>
                  <a:lnTo>
                    <a:pt x="379" y="904"/>
                  </a:lnTo>
                  <a:lnTo>
                    <a:pt x="463" y="920"/>
                  </a:lnTo>
                  <a:lnTo>
                    <a:pt x="539" y="928"/>
                  </a:lnTo>
                  <a:lnTo>
                    <a:pt x="573" y="928"/>
                  </a:lnTo>
                  <a:lnTo>
                    <a:pt x="598" y="904"/>
                  </a:lnTo>
                  <a:lnTo>
                    <a:pt x="615" y="872"/>
                  </a:lnTo>
                  <a:lnTo>
                    <a:pt x="649" y="856"/>
                  </a:lnTo>
                  <a:lnTo>
                    <a:pt x="733" y="848"/>
                  </a:lnTo>
                  <a:lnTo>
                    <a:pt x="725" y="824"/>
                  </a:lnTo>
                  <a:lnTo>
                    <a:pt x="733" y="800"/>
                  </a:lnTo>
                  <a:lnTo>
                    <a:pt x="784" y="752"/>
                  </a:lnTo>
                  <a:lnTo>
                    <a:pt x="842" y="720"/>
                  </a:lnTo>
                  <a:lnTo>
                    <a:pt x="809" y="664"/>
                  </a:lnTo>
                  <a:lnTo>
                    <a:pt x="809" y="624"/>
                  </a:lnTo>
                  <a:lnTo>
                    <a:pt x="842" y="592"/>
                  </a:lnTo>
                  <a:lnTo>
                    <a:pt x="885" y="536"/>
                  </a:lnTo>
                  <a:lnTo>
                    <a:pt x="927" y="504"/>
                  </a:lnTo>
                  <a:lnTo>
                    <a:pt x="935" y="504"/>
                  </a:lnTo>
                  <a:lnTo>
                    <a:pt x="944" y="472"/>
                  </a:lnTo>
                  <a:lnTo>
                    <a:pt x="977" y="448"/>
                  </a:lnTo>
                  <a:lnTo>
                    <a:pt x="1019" y="440"/>
                  </a:lnTo>
                  <a:lnTo>
                    <a:pt x="1095" y="432"/>
                  </a:lnTo>
                  <a:lnTo>
                    <a:pt x="1196" y="376"/>
                  </a:lnTo>
                  <a:lnTo>
                    <a:pt x="1205" y="376"/>
                  </a:lnTo>
                  <a:lnTo>
                    <a:pt x="1205" y="368"/>
                  </a:lnTo>
                  <a:lnTo>
                    <a:pt x="1205" y="344"/>
                  </a:lnTo>
                  <a:lnTo>
                    <a:pt x="1180" y="352"/>
                  </a:lnTo>
                  <a:close/>
                </a:path>
              </a:pathLst>
            </a:custGeom>
            <a:solidFill>
              <a:srgbClr val="6DBACE"/>
            </a:solidFill>
            <a:ln w="6350" cmpd="sng">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1" name="Freeform 8"/>
            <p:cNvSpPr>
              <a:spLocks/>
            </p:cNvSpPr>
            <p:nvPr>
              <p:custDataLst>
                <p:tags r:id="rId9"/>
              </p:custDataLst>
            </p:nvPr>
          </p:nvSpPr>
          <p:spPr bwMode="auto">
            <a:xfrm>
              <a:off x="1730" y="3408"/>
              <a:ext cx="421" cy="616"/>
            </a:xfrm>
            <a:custGeom>
              <a:avLst/>
              <a:gdLst>
                <a:gd name="T0" fmla="*/ 396 w 421"/>
                <a:gd name="T1" fmla="*/ 88 h 616"/>
                <a:gd name="T2" fmla="*/ 387 w 421"/>
                <a:gd name="T3" fmla="*/ 64 h 616"/>
                <a:gd name="T4" fmla="*/ 328 w 421"/>
                <a:gd name="T5" fmla="*/ 56 h 616"/>
                <a:gd name="T6" fmla="*/ 286 w 421"/>
                <a:gd name="T7" fmla="*/ 40 h 616"/>
                <a:gd name="T8" fmla="*/ 236 w 421"/>
                <a:gd name="T9" fmla="*/ 32 h 616"/>
                <a:gd name="T10" fmla="*/ 244 w 421"/>
                <a:gd name="T11" fmla="*/ 8 h 616"/>
                <a:gd name="T12" fmla="*/ 177 w 421"/>
                <a:gd name="T13" fmla="*/ 8 h 616"/>
                <a:gd name="T14" fmla="*/ 160 w 421"/>
                <a:gd name="T15" fmla="*/ 112 h 616"/>
                <a:gd name="T16" fmla="*/ 126 w 421"/>
                <a:gd name="T17" fmla="*/ 208 h 616"/>
                <a:gd name="T18" fmla="*/ 42 w 421"/>
                <a:gd name="T19" fmla="*/ 304 h 616"/>
                <a:gd name="T20" fmla="*/ 8 w 421"/>
                <a:gd name="T21" fmla="*/ 368 h 616"/>
                <a:gd name="T22" fmla="*/ 34 w 421"/>
                <a:gd name="T23" fmla="*/ 384 h 616"/>
                <a:gd name="T24" fmla="*/ 25 w 421"/>
                <a:gd name="T25" fmla="*/ 408 h 616"/>
                <a:gd name="T26" fmla="*/ 67 w 421"/>
                <a:gd name="T27" fmla="*/ 416 h 616"/>
                <a:gd name="T28" fmla="*/ 42 w 421"/>
                <a:gd name="T29" fmla="*/ 512 h 616"/>
                <a:gd name="T30" fmla="*/ 8 w 421"/>
                <a:gd name="T31" fmla="*/ 576 h 616"/>
                <a:gd name="T32" fmla="*/ 8 w 421"/>
                <a:gd name="T33" fmla="*/ 592 h 616"/>
                <a:gd name="T34" fmla="*/ 84 w 421"/>
                <a:gd name="T35" fmla="*/ 600 h 616"/>
                <a:gd name="T36" fmla="*/ 160 w 421"/>
                <a:gd name="T37" fmla="*/ 608 h 616"/>
                <a:gd name="T38" fmla="*/ 168 w 421"/>
                <a:gd name="T39" fmla="*/ 576 h 616"/>
                <a:gd name="T40" fmla="*/ 219 w 421"/>
                <a:gd name="T41" fmla="*/ 520 h 616"/>
                <a:gd name="T42" fmla="*/ 236 w 421"/>
                <a:gd name="T43" fmla="*/ 496 h 616"/>
                <a:gd name="T44" fmla="*/ 219 w 421"/>
                <a:gd name="T45" fmla="*/ 456 h 616"/>
                <a:gd name="T46" fmla="*/ 236 w 421"/>
                <a:gd name="T47" fmla="*/ 416 h 616"/>
                <a:gd name="T48" fmla="*/ 269 w 421"/>
                <a:gd name="T49" fmla="*/ 400 h 616"/>
                <a:gd name="T50" fmla="*/ 253 w 421"/>
                <a:gd name="T51" fmla="*/ 376 h 616"/>
                <a:gd name="T52" fmla="*/ 261 w 421"/>
                <a:gd name="T53" fmla="*/ 312 h 616"/>
                <a:gd name="T54" fmla="*/ 303 w 421"/>
                <a:gd name="T55" fmla="*/ 288 h 616"/>
                <a:gd name="T56" fmla="*/ 312 w 421"/>
                <a:gd name="T57" fmla="*/ 256 h 616"/>
                <a:gd name="T58" fmla="*/ 320 w 421"/>
                <a:gd name="T59" fmla="*/ 224 h 616"/>
                <a:gd name="T60" fmla="*/ 328 w 421"/>
                <a:gd name="T61" fmla="*/ 168 h 616"/>
                <a:gd name="T62" fmla="*/ 387 w 421"/>
                <a:gd name="T63" fmla="*/ 136 h 616"/>
                <a:gd name="T64" fmla="*/ 421 w 421"/>
                <a:gd name="T65" fmla="*/ 112 h 616"/>
                <a:gd name="T66" fmla="*/ 413 w 421"/>
                <a:gd name="T67" fmla="*/ 96 h 61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21" h="616">
                  <a:moveTo>
                    <a:pt x="413" y="96"/>
                  </a:moveTo>
                  <a:lnTo>
                    <a:pt x="396" y="88"/>
                  </a:lnTo>
                  <a:lnTo>
                    <a:pt x="396" y="80"/>
                  </a:lnTo>
                  <a:lnTo>
                    <a:pt x="387" y="64"/>
                  </a:lnTo>
                  <a:lnTo>
                    <a:pt x="354" y="48"/>
                  </a:lnTo>
                  <a:lnTo>
                    <a:pt x="328" y="56"/>
                  </a:lnTo>
                  <a:lnTo>
                    <a:pt x="303" y="56"/>
                  </a:lnTo>
                  <a:lnTo>
                    <a:pt x="286" y="40"/>
                  </a:lnTo>
                  <a:lnTo>
                    <a:pt x="253" y="40"/>
                  </a:lnTo>
                  <a:lnTo>
                    <a:pt x="236" y="32"/>
                  </a:lnTo>
                  <a:lnTo>
                    <a:pt x="244" y="24"/>
                  </a:lnTo>
                  <a:lnTo>
                    <a:pt x="244" y="8"/>
                  </a:lnTo>
                  <a:lnTo>
                    <a:pt x="227" y="0"/>
                  </a:lnTo>
                  <a:lnTo>
                    <a:pt x="177" y="8"/>
                  </a:lnTo>
                  <a:lnTo>
                    <a:pt x="177" y="40"/>
                  </a:lnTo>
                  <a:lnTo>
                    <a:pt x="160" y="112"/>
                  </a:lnTo>
                  <a:lnTo>
                    <a:pt x="143" y="144"/>
                  </a:lnTo>
                  <a:lnTo>
                    <a:pt x="126" y="208"/>
                  </a:lnTo>
                  <a:lnTo>
                    <a:pt x="92" y="256"/>
                  </a:lnTo>
                  <a:lnTo>
                    <a:pt x="42" y="304"/>
                  </a:lnTo>
                  <a:lnTo>
                    <a:pt x="17" y="352"/>
                  </a:lnTo>
                  <a:lnTo>
                    <a:pt x="8" y="368"/>
                  </a:lnTo>
                  <a:lnTo>
                    <a:pt x="17" y="376"/>
                  </a:lnTo>
                  <a:lnTo>
                    <a:pt x="34" y="384"/>
                  </a:lnTo>
                  <a:lnTo>
                    <a:pt x="25" y="400"/>
                  </a:lnTo>
                  <a:lnTo>
                    <a:pt x="25" y="408"/>
                  </a:lnTo>
                  <a:lnTo>
                    <a:pt x="34" y="416"/>
                  </a:lnTo>
                  <a:lnTo>
                    <a:pt x="67" y="416"/>
                  </a:lnTo>
                  <a:lnTo>
                    <a:pt x="42" y="480"/>
                  </a:lnTo>
                  <a:lnTo>
                    <a:pt x="42" y="512"/>
                  </a:lnTo>
                  <a:lnTo>
                    <a:pt x="25" y="544"/>
                  </a:lnTo>
                  <a:lnTo>
                    <a:pt x="8" y="576"/>
                  </a:lnTo>
                  <a:lnTo>
                    <a:pt x="0" y="592"/>
                  </a:lnTo>
                  <a:lnTo>
                    <a:pt x="8" y="592"/>
                  </a:lnTo>
                  <a:lnTo>
                    <a:pt x="50" y="592"/>
                  </a:lnTo>
                  <a:lnTo>
                    <a:pt x="84" y="600"/>
                  </a:lnTo>
                  <a:lnTo>
                    <a:pt x="126" y="616"/>
                  </a:lnTo>
                  <a:lnTo>
                    <a:pt x="160" y="608"/>
                  </a:lnTo>
                  <a:lnTo>
                    <a:pt x="168" y="576"/>
                  </a:lnTo>
                  <a:lnTo>
                    <a:pt x="177" y="544"/>
                  </a:lnTo>
                  <a:lnTo>
                    <a:pt x="219" y="520"/>
                  </a:lnTo>
                  <a:lnTo>
                    <a:pt x="244" y="496"/>
                  </a:lnTo>
                  <a:lnTo>
                    <a:pt x="236" y="496"/>
                  </a:lnTo>
                  <a:lnTo>
                    <a:pt x="227" y="480"/>
                  </a:lnTo>
                  <a:lnTo>
                    <a:pt x="219" y="456"/>
                  </a:lnTo>
                  <a:lnTo>
                    <a:pt x="227" y="432"/>
                  </a:lnTo>
                  <a:lnTo>
                    <a:pt x="236" y="416"/>
                  </a:lnTo>
                  <a:lnTo>
                    <a:pt x="261" y="408"/>
                  </a:lnTo>
                  <a:lnTo>
                    <a:pt x="269" y="400"/>
                  </a:lnTo>
                  <a:lnTo>
                    <a:pt x="269" y="392"/>
                  </a:lnTo>
                  <a:lnTo>
                    <a:pt x="253" y="376"/>
                  </a:lnTo>
                  <a:lnTo>
                    <a:pt x="236" y="312"/>
                  </a:lnTo>
                  <a:lnTo>
                    <a:pt x="261" y="312"/>
                  </a:lnTo>
                  <a:lnTo>
                    <a:pt x="286" y="304"/>
                  </a:lnTo>
                  <a:lnTo>
                    <a:pt x="303" y="288"/>
                  </a:lnTo>
                  <a:lnTo>
                    <a:pt x="303" y="256"/>
                  </a:lnTo>
                  <a:lnTo>
                    <a:pt x="312" y="256"/>
                  </a:lnTo>
                  <a:lnTo>
                    <a:pt x="320" y="248"/>
                  </a:lnTo>
                  <a:lnTo>
                    <a:pt x="320" y="224"/>
                  </a:lnTo>
                  <a:lnTo>
                    <a:pt x="337" y="192"/>
                  </a:lnTo>
                  <a:lnTo>
                    <a:pt x="328" y="168"/>
                  </a:lnTo>
                  <a:lnTo>
                    <a:pt x="362" y="152"/>
                  </a:lnTo>
                  <a:lnTo>
                    <a:pt x="387" y="136"/>
                  </a:lnTo>
                  <a:lnTo>
                    <a:pt x="421" y="120"/>
                  </a:lnTo>
                  <a:lnTo>
                    <a:pt x="421" y="112"/>
                  </a:lnTo>
                  <a:lnTo>
                    <a:pt x="413" y="96"/>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2" name="Freeform 9"/>
            <p:cNvSpPr>
              <a:spLocks/>
            </p:cNvSpPr>
            <p:nvPr>
              <p:custDataLst>
                <p:tags r:id="rId10"/>
              </p:custDataLst>
            </p:nvPr>
          </p:nvSpPr>
          <p:spPr bwMode="auto">
            <a:xfrm>
              <a:off x="2117" y="1888"/>
              <a:ext cx="396" cy="408"/>
            </a:xfrm>
            <a:custGeom>
              <a:avLst/>
              <a:gdLst>
                <a:gd name="T0" fmla="*/ 363 w 396"/>
                <a:gd name="T1" fmla="*/ 160 h 408"/>
                <a:gd name="T2" fmla="*/ 354 w 396"/>
                <a:gd name="T3" fmla="*/ 136 h 408"/>
                <a:gd name="T4" fmla="*/ 329 w 396"/>
                <a:gd name="T5" fmla="*/ 120 h 408"/>
                <a:gd name="T6" fmla="*/ 295 w 396"/>
                <a:gd name="T7" fmla="*/ 144 h 408"/>
                <a:gd name="T8" fmla="*/ 262 w 396"/>
                <a:gd name="T9" fmla="*/ 96 h 408"/>
                <a:gd name="T10" fmla="*/ 278 w 396"/>
                <a:gd name="T11" fmla="*/ 80 h 408"/>
                <a:gd name="T12" fmla="*/ 278 w 396"/>
                <a:gd name="T13" fmla="*/ 64 h 408"/>
                <a:gd name="T14" fmla="*/ 312 w 396"/>
                <a:gd name="T15" fmla="*/ 64 h 408"/>
                <a:gd name="T16" fmla="*/ 321 w 396"/>
                <a:gd name="T17" fmla="*/ 48 h 408"/>
                <a:gd name="T18" fmla="*/ 329 w 396"/>
                <a:gd name="T19" fmla="*/ 32 h 408"/>
                <a:gd name="T20" fmla="*/ 346 w 396"/>
                <a:gd name="T21" fmla="*/ 24 h 408"/>
                <a:gd name="T22" fmla="*/ 354 w 396"/>
                <a:gd name="T23" fmla="*/ 0 h 408"/>
                <a:gd name="T24" fmla="*/ 329 w 396"/>
                <a:gd name="T25" fmla="*/ 0 h 408"/>
                <a:gd name="T26" fmla="*/ 304 w 396"/>
                <a:gd name="T27" fmla="*/ 8 h 408"/>
                <a:gd name="T28" fmla="*/ 262 w 396"/>
                <a:gd name="T29" fmla="*/ 8 h 408"/>
                <a:gd name="T30" fmla="*/ 253 w 396"/>
                <a:gd name="T31" fmla="*/ 32 h 408"/>
                <a:gd name="T32" fmla="*/ 219 w 396"/>
                <a:gd name="T33" fmla="*/ 56 h 408"/>
                <a:gd name="T34" fmla="*/ 219 w 396"/>
                <a:gd name="T35" fmla="*/ 80 h 408"/>
                <a:gd name="T36" fmla="*/ 186 w 396"/>
                <a:gd name="T37" fmla="*/ 96 h 408"/>
                <a:gd name="T38" fmla="*/ 127 w 396"/>
                <a:gd name="T39" fmla="*/ 72 h 408"/>
                <a:gd name="T40" fmla="*/ 93 w 396"/>
                <a:gd name="T41" fmla="*/ 104 h 408"/>
                <a:gd name="T42" fmla="*/ 110 w 396"/>
                <a:gd name="T43" fmla="*/ 136 h 408"/>
                <a:gd name="T44" fmla="*/ 76 w 396"/>
                <a:gd name="T45" fmla="*/ 160 h 408"/>
                <a:gd name="T46" fmla="*/ 110 w 396"/>
                <a:gd name="T47" fmla="*/ 192 h 408"/>
                <a:gd name="T48" fmla="*/ 152 w 396"/>
                <a:gd name="T49" fmla="*/ 208 h 408"/>
                <a:gd name="T50" fmla="*/ 144 w 396"/>
                <a:gd name="T51" fmla="*/ 224 h 408"/>
                <a:gd name="T52" fmla="*/ 118 w 396"/>
                <a:gd name="T53" fmla="*/ 224 h 408"/>
                <a:gd name="T54" fmla="*/ 102 w 396"/>
                <a:gd name="T55" fmla="*/ 256 h 408"/>
                <a:gd name="T56" fmla="*/ 51 w 396"/>
                <a:gd name="T57" fmla="*/ 272 h 408"/>
                <a:gd name="T58" fmla="*/ 51 w 396"/>
                <a:gd name="T59" fmla="*/ 304 h 408"/>
                <a:gd name="T60" fmla="*/ 9 w 396"/>
                <a:gd name="T61" fmla="*/ 312 h 408"/>
                <a:gd name="T62" fmla="*/ 26 w 396"/>
                <a:gd name="T63" fmla="*/ 328 h 408"/>
                <a:gd name="T64" fmla="*/ 0 w 396"/>
                <a:gd name="T65" fmla="*/ 368 h 408"/>
                <a:gd name="T66" fmla="*/ 26 w 396"/>
                <a:gd name="T67" fmla="*/ 376 h 408"/>
                <a:gd name="T68" fmla="*/ 26 w 396"/>
                <a:gd name="T69" fmla="*/ 400 h 408"/>
                <a:gd name="T70" fmla="*/ 59 w 396"/>
                <a:gd name="T71" fmla="*/ 408 h 408"/>
                <a:gd name="T72" fmla="*/ 160 w 396"/>
                <a:gd name="T73" fmla="*/ 408 h 408"/>
                <a:gd name="T74" fmla="*/ 228 w 396"/>
                <a:gd name="T75" fmla="*/ 376 h 408"/>
                <a:gd name="T76" fmla="*/ 287 w 396"/>
                <a:gd name="T77" fmla="*/ 376 h 408"/>
                <a:gd name="T78" fmla="*/ 329 w 396"/>
                <a:gd name="T79" fmla="*/ 392 h 408"/>
                <a:gd name="T80" fmla="*/ 329 w 396"/>
                <a:gd name="T81" fmla="*/ 360 h 408"/>
                <a:gd name="T82" fmla="*/ 354 w 396"/>
                <a:gd name="T83" fmla="*/ 328 h 408"/>
                <a:gd name="T84" fmla="*/ 371 w 396"/>
                <a:gd name="T85" fmla="*/ 304 h 408"/>
                <a:gd name="T86" fmla="*/ 388 w 396"/>
                <a:gd name="T87" fmla="*/ 232 h 408"/>
                <a:gd name="T88" fmla="*/ 380 w 396"/>
                <a:gd name="T89" fmla="*/ 208 h 408"/>
                <a:gd name="T90" fmla="*/ 371 w 396"/>
                <a:gd name="T91" fmla="*/ 176 h 408"/>
                <a:gd name="T92" fmla="*/ 396 w 396"/>
                <a:gd name="T93" fmla="*/ 168 h 408"/>
                <a:gd name="T94" fmla="*/ 380 w 396"/>
                <a:gd name="T95" fmla="*/ 160 h 408"/>
                <a:gd name="T96" fmla="*/ 363 w 396"/>
                <a:gd name="T97" fmla="*/ 160 h 4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96" h="408">
                  <a:moveTo>
                    <a:pt x="363" y="160"/>
                  </a:moveTo>
                  <a:lnTo>
                    <a:pt x="354" y="136"/>
                  </a:lnTo>
                  <a:lnTo>
                    <a:pt x="329" y="120"/>
                  </a:lnTo>
                  <a:lnTo>
                    <a:pt x="295" y="144"/>
                  </a:lnTo>
                  <a:lnTo>
                    <a:pt x="262" y="96"/>
                  </a:lnTo>
                  <a:lnTo>
                    <a:pt x="278" y="80"/>
                  </a:lnTo>
                  <a:lnTo>
                    <a:pt x="278" y="64"/>
                  </a:lnTo>
                  <a:lnTo>
                    <a:pt x="312" y="64"/>
                  </a:lnTo>
                  <a:lnTo>
                    <a:pt x="321" y="48"/>
                  </a:lnTo>
                  <a:lnTo>
                    <a:pt x="329" y="32"/>
                  </a:lnTo>
                  <a:lnTo>
                    <a:pt x="346" y="24"/>
                  </a:lnTo>
                  <a:lnTo>
                    <a:pt x="354" y="0"/>
                  </a:lnTo>
                  <a:lnTo>
                    <a:pt x="329" y="0"/>
                  </a:lnTo>
                  <a:lnTo>
                    <a:pt x="304" y="8"/>
                  </a:lnTo>
                  <a:lnTo>
                    <a:pt x="262" y="8"/>
                  </a:lnTo>
                  <a:lnTo>
                    <a:pt x="253" y="32"/>
                  </a:lnTo>
                  <a:lnTo>
                    <a:pt x="219" y="56"/>
                  </a:lnTo>
                  <a:lnTo>
                    <a:pt x="219" y="80"/>
                  </a:lnTo>
                  <a:lnTo>
                    <a:pt x="186" y="96"/>
                  </a:lnTo>
                  <a:lnTo>
                    <a:pt x="127" y="72"/>
                  </a:lnTo>
                  <a:lnTo>
                    <a:pt x="93" y="104"/>
                  </a:lnTo>
                  <a:lnTo>
                    <a:pt x="110" y="136"/>
                  </a:lnTo>
                  <a:lnTo>
                    <a:pt x="76" y="160"/>
                  </a:lnTo>
                  <a:lnTo>
                    <a:pt x="110" y="192"/>
                  </a:lnTo>
                  <a:lnTo>
                    <a:pt x="152" y="208"/>
                  </a:lnTo>
                  <a:lnTo>
                    <a:pt x="144" y="224"/>
                  </a:lnTo>
                  <a:lnTo>
                    <a:pt x="118" y="224"/>
                  </a:lnTo>
                  <a:lnTo>
                    <a:pt x="102" y="256"/>
                  </a:lnTo>
                  <a:lnTo>
                    <a:pt x="51" y="272"/>
                  </a:lnTo>
                  <a:lnTo>
                    <a:pt x="51" y="304"/>
                  </a:lnTo>
                  <a:lnTo>
                    <a:pt x="9" y="312"/>
                  </a:lnTo>
                  <a:lnTo>
                    <a:pt x="26" y="328"/>
                  </a:lnTo>
                  <a:lnTo>
                    <a:pt x="0" y="368"/>
                  </a:lnTo>
                  <a:lnTo>
                    <a:pt x="26" y="376"/>
                  </a:lnTo>
                  <a:lnTo>
                    <a:pt x="26" y="400"/>
                  </a:lnTo>
                  <a:lnTo>
                    <a:pt x="59" y="408"/>
                  </a:lnTo>
                  <a:lnTo>
                    <a:pt x="160" y="408"/>
                  </a:lnTo>
                  <a:lnTo>
                    <a:pt x="228" y="376"/>
                  </a:lnTo>
                  <a:lnTo>
                    <a:pt x="287" y="376"/>
                  </a:lnTo>
                  <a:lnTo>
                    <a:pt x="329" y="392"/>
                  </a:lnTo>
                  <a:lnTo>
                    <a:pt x="329" y="360"/>
                  </a:lnTo>
                  <a:lnTo>
                    <a:pt x="354" y="328"/>
                  </a:lnTo>
                  <a:lnTo>
                    <a:pt x="371" y="304"/>
                  </a:lnTo>
                  <a:lnTo>
                    <a:pt x="388" y="232"/>
                  </a:lnTo>
                  <a:lnTo>
                    <a:pt x="380" y="208"/>
                  </a:lnTo>
                  <a:lnTo>
                    <a:pt x="371" y="176"/>
                  </a:lnTo>
                  <a:lnTo>
                    <a:pt x="396" y="168"/>
                  </a:lnTo>
                  <a:lnTo>
                    <a:pt x="380" y="160"/>
                  </a:lnTo>
                  <a:lnTo>
                    <a:pt x="363" y="160"/>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3" name="Freeform 10"/>
            <p:cNvSpPr>
              <a:spLocks/>
            </p:cNvSpPr>
            <p:nvPr>
              <p:custDataLst>
                <p:tags r:id="rId11"/>
              </p:custDataLst>
            </p:nvPr>
          </p:nvSpPr>
          <p:spPr bwMode="auto">
            <a:xfrm>
              <a:off x="2379" y="1912"/>
              <a:ext cx="202" cy="144"/>
            </a:xfrm>
            <a:custGeom>
              <a:avLst/>
              <a:gdLst>
                <a:gd name="T0" fmla="*/ 185 w 202"/>
                <a:gd name="T1" fmla="*/ 72 h 144"/>
                <a:gd name="T2" fmla="*/ 177 w 202"/>
                <a:gd name="T3" fmla="*/ 48 h 144"/>
                <a:gd name="T4" fmla="*/ 177 w 202"/>
                <a:gd name="T5" fmla="*/ 16 h 144"/>
                <a:gd name="T6" fmla="*/ 151 w 202"/>
                <a:gd name="T7" fmla="*/ 0 h 144"/>
                <a:gd name="T8" fmla="*/ 126 w 202"/>
                <a:gd name="T9" fmla="*/ 0 h 144"/>
                <a:gd name="T10" fmla="*/ 109 w 202"/>
                <a:gd name="T11" fmla="*/ 0 h 144"/>
                <a:gd name="T12" fmla="*/ 84 w 202"/>
                <a:gd name="T13" fmla="*/ 0 h 144"/>
                <a:gd name="T14" fmla="*/ 84 w 202"/>
                <a:gd name="T15" fmla="*/ 8 h 144"/>
                <a:gd name="T16" fmla="*/ 84 w 202"/>
                <a:gd name="T17" fmla="*/ 0 h 144"/>
                <a:gd name="T18" fmla="*/ 67 w 202"/>
                <a:gd name="T19" fmla="*/ 8 h 144"/>
                <a:gd name="T20" fmla="*/ 59 w 202"/>
                <a:gd name="T21" fmla="*/ 24 h 144"/>
                <a:gd name="T22" fmla="*/ 50 w 202"/>
                <a:gd name="T23" fmla="*/ 40 h 144"/>
                <a:gd name="T24" fmla="*/ 16 w 202"/>
                <a:gd name="T25" fmla="*/ 40 h 144"/>
                <a:gd name="T26" fmla="*/ 16 w 202"/>
                <a:gd name="T27" fmla="*/ 56 h 144"/>
                <a:gd name="T28" fmla="*/ 0 w 202"/>
                <a:gd name="T29" fmla="*/ 72 h 144"/>
                <a:gd name="T30" fmla="*/ 33 w 202"/>
                <a:gd name="T31" fmla="*/ 120 h 144"/>
                <a:gd name="T32" fmla="*/ 67 w 202"/>
                <a:gd name="T33" fmla="*/ 96 h 144"/>
                <a:gd name="T34" fmla="*/ 92 w 202"/>
                <a:gd name="T35" fmla="*/ 112 h 144"/>
                <a:gd name="T36" fmla="*/ 101 w 202"/>
                <a:gd name="T37" fmla="*/ 136 h 144"/>
                <a:gd name="T38" fmla="*/ 118 w 202"/>
                <a:gd name="T39" fmla="*/ 136 h 144"/>
                <a:gd name="T40" fmla="*/ 134 w 202"/>
                <a:gd name="T41" fmla="*/ 144 h 144"/>
                <a:gd name="T42" fmla="*/ 143 w 202"/>
                <a:gd name="T43" fmla="*/ 144 h 144"/>
                <a:gd name="T44" fmla="*/ 168 w 202"/>
                <a:gd name="T45" fmla="*/ 128 h 144"/>
                <a:gd name="T46" fmla="*/ 193 w 202"/>
                <a:gd name="T47" fmla="*/ 120 h 144"/>
                <a:gd name="T48" fmla="*/ 202 w 202"/>
                <a:gd name="T49" fmla="*/ 88 h 144"/>
                <a:gd name="T50" fmla="*/ 185 w 202"/>
                <a:gd name="T51" fmla="*/ 72 h 14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02" h="144">
                  <a:moveTo>
                    <a:pt x="185" y="72"/>
                  </a:moveTo>
                  <a:lnTo>
                    <a:pt x="177" y="48"/>
                  </a:lnTo>
                  <a:lnTo>
                    <a:pt x="177" y="16"/>
                  </a:lnTo>
                  <a:lnTo>
                    <a:pt x="151" y="0"/>
                  </a:lnTo>
                  <a:lnTo>
                    <a:pt x="126" y="0"/>
                  </a:lnTo>
                  <a:lnTo>
                    <a:pt x="109" y="0"/>
                  </a:lnTo>
                  <a:lnTo>
                    <a:pt x="84" y="0"/>
                  </a:lnTo>
                  <a:lnTo>
                    <a:pt x="84" y="8"/>
                  </a:lnTo>
                  <a:lnTo>
                    <a:pt x="84" y="0"/>
                  </a:lnTo>
                  <a:lnTo>
                    <a:pt x="67" y="8"/>
                  </a:lnTo>
                  <a:lnTo>
                    <a:pt x="59" y="24"/>
                  </a:lnTo>
                  <a:lnTo>
                    <a:pt x="50" y="40"/>
                  </a:lnTo>
                  <a:lnTo>
                    <a:pt x="16" y="40"/>
                  </a:lnTo>
                  <a:lnTo>
                    <a:pt x="16" y="56"/>
                  </a:lnTo>
                  <a:lnTo>
                    <a:pt x="0" y="72"/>
                  </a:lnTo>
                  <a:lnTo>
                    <a:pt x="33" y="120"/>
                  </a:lnTo>
                  <a:lnTo>
                    <a:pt x="67" y="96"/>
                  </a:lnTo>
                  <a:lnTo>
                    <a:pt x="92" y="112"/>
                  </a:lnTo>
                  <a:lnTo>
                    <a:pt x="101" y="136"/>
                  </a:lnTo>
                  <a:lnTo>
                    <a:pt x="118" y="136"/>
                  </a:lnTo>
                  <a:lnTo>
                    <a:pt x="134" y="144"/>
                  </a:lnTo>
                  <a:lnTo>
                    <a:pt x="143" y="144"/>
                  </a:lnTo>
                  <a:lnTo>
                    <a:pt x="168" y="128"/>
                  </a:lnTo>
                  <a:lnTo>
                    <a:pt x="193" y="120"/>
                  </a:lnTo>
                  <a:lnTo>
                    <a:pt x="202" y="88"/>
                  </a:lnTo>
                  <a:lnTo>
                    <a:pt x="185" y="7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4" name="Freeform 11"/>
            <p:cNvSpPr>
              <a:spLocks/>
            </p:cNvSpPr>
            <p:nvPr>
              <p:custDataLst>
                <p:tags r:id="rId12"/>
              </p:custDataLst>
            </p:nvPr>
          </p:nvSpPr>
          <p:spPr bwMode="auto">
            <a:xfrm>
              <a:off x="2429" y="1536"/>
              <a:ext cx="666" cy="1016"/>
            </a:xfrm>
            <a:custGeom>
              <a:avLst/>
              <a:gdLst>
                <a:gd name="T0" fmla="*/ 337 w 666"/>
                <a:gd name="T1" fmla="*/ 96 h 1016"/>
                <a:gd name="T2" fmla="*/ 421 w 666"/>
                <a:gd name="T3" fmla="*/ 24 h 1016"/>
                <a:gd name="T4" fmla="*/ 270 w 666"/>
                <a:gd name="T5" fmla="*/ 24 h 1016"/>
                <a:gd name="T6" fmla="*/ 253 w 666"/>
                <a:gd name="T7" fmla="*/ 80 h 1016"/>
                <a:gd name="T8" fmla="*/ 202 w 666"/>
                <a:gd name="T9" fmla="*/ 136 h 1016"/>
                <a:gd name="T10" fmla="*/ 169 w 666"/>
                <a:gd name="T11" fmla="*/ 200 h 1016"/>
                <a:gd name="T12" fmla="*/ 202 w 666"/>
                <a:gd name="T13" fmla="*/ 232 h 1016"/>
                <a:gd name="T14" fmla="*/ 169 w 666"/>
                <a:gd name="T15" fmla="*/ 320 h 1016"/>
                <a:gd name="T16" fmla="*/ 186 w 666"/>
                <a:gd name="T17" fmla="*/ 344 h 1016"/>
                <a:gd name="T18" fmla="*/ 228 w 666"/>
                <a:gd name="T19" fmla="*/ 320 h 1016"/>
                <a:gd name="T20" fmla="*/ 186 w 666"/>
                <a:gd name="T21" fmla="*/ 424 h 1016"/>
                <a:gd name="T22" fmla="*/ 236 w 666"/>
                <a:gd name="T23" fmla="*/ 464 h 1016"/>
                <a:gd name="T24" fmla="*/ 303 w 666"/>
                <a:gd name="T25" fmla="*/ 448 h 1016"/>
                <a:gd name="T26" fmla="*/ 287 w 666"/>
                <a:gd name="T27" fmla="*/ 496 h 1016"/>
                <a:gd name="T28" fmla="*/ 329 w 666"/>
                <a:gd name="T29" fmla="*/ 576 h 1016"/>
                <a:gd name="T30" fmla="*/ 295 w 666"/>
                <a:gd name="T31" fmla="*/ 648 h 1016"/>
                <a:gd name="T32" fmla="*/ 202 w 666"/>
                <a:gd name="T33" fmla="*/ 624 h 1016"/>
                <a:gd name="T34" fmla="*/ 160 w 666"/>
                <a:gd name="T35" fmla="*/ 680 h 1016"/>
                <a:gd name="T36" fmla="*/ 211 w 666"/>
                <a:gd name="T37" fmla="*/ 744 h 1016"/>
                <a:gd name="T38" fmla="*/ 101 w 666"/>
                <a:gd name="T39" fmla="*/ 776 h 1016"/>
                <a:gd name="T40" fmla="*/ 101 w 666"/>
                <a:gd name="T41" fmla="*/ 808 h 1016"/>
                <a:gd name="T42" fmla="*/ 169 w 666"/>
                <a:gd name="T43" fmla="*/ 824 h 1016"/>
                <a:gd name="T44" fmla="*/ 219 w 666"/>
                <a:gd name="T45" fmla="*/ 864 h 1016"/>
                <a:gd name="T46" fmla="*/ 295 w 666"/>
                <a:gd name="T47" fmla="*/ 848 h 1016"/>
                <a:gd name="T48" fmla="*/ 228 w 666"/>
                <a:gd name="T49" fmla="*/ 896 h 1016"/>
                <a:gd name="T50" fmla="*/ 127 w 666"/>
                <a:gd name="T51" fmla="*/ 904 h 1016"/>
                <a:gd name="T52" fmla="*/ 0 w 666"/>
                <a:gd name="T53" fmla="*/ 984 h 1016"/>
                <a:gd name="T54" fmla="*/ 51 w 666"/>
                <a:gd name="T55" fmla="*/ 1016 h 1016"/>
                <a:gd name="T56" fmla="*/ 93 w 666"/>
                <a:gd name="T57" fmla="*/ 976 h 1016"/>
                <a:gd name="T58" fmla="*/ 219 w 666"/>
                <a:gd name="T59" fmla="*/ 960 h 1016"/>
                <a:gd name="T60" fmla="*/ 337 w 666"/>
                <a:gd name="T61" fmla="*/ 984 h 1016"/>
                <a:gd name="T62" fmla="*/ 421 w 666"/>
                <a:gd name="T63" fmla="*/ 968 h 1016"/>
                <a:gd name="T64" fmla="*/ 573 w 666"/>
                <a:gd name="T65" fmla="*/ 968 h 1016"/>
                <a:gd name="T66" fmla="*/ 624 w 666"/>
                <a:gd name="T67" fmla="*/ 928 h 1016"/>
                <a:gd name="T68" fmla="*/ 590 w 666"/>
                <a:gd name="T69" fmla="*/ 872 h 1016"/>
                <a:gd name="T70" fmla="*/ 649 w 666"/>
                <a:gd name="T71" fmla="*/ 840 h 1016"/>
                <a:gd name="T72" fmla="*/ 666 w 666"/>
                <a:gd name="T73" fmla="*/ 760 h 1016"/>
                <a:gd name="T74" fmla="*/ 539 w 666"/>
                <a:gd name="T75" fmla="*/ 728 h 1016"/>
                <a:gd name="T76" fmla="*/ 523 w 666"/>
                <a:gd name="T77" fmla="*/ 632 h 1016"/>
                <a:gd name="T78" fmla="*/ 539 w 666"/>
                <a:gd name="T79" fmla="*/ 576 h 1016"/>
                <a:gd name="T80" fmla="*/ 480 w 666"/>
                <a:gd name="T81" fmla="*/ 512 h 1016"/>
                <a:gd name="T82" fmla="*/ 455 w 666"/>
                <a:gd name="T83" fmla="*/ 392 h 1016"/>
                <a:gd name="T84" fmla="*/ 413 w 666"/>
                <a:gd name="T85" fmla="*/ 344 h 1016"/>
                <a:gd name="T86" fmla="*/ 337 w 666"/>
                <a:gd name="T87" fmla="*/ 320 h 1016"/>
                <a:gd name="T88" fmla="*/ 388 w 666"/>
                <a:gd name="T89" fmla="*/ 280 h 1016"/>
                <a:gd name="T90" fmla="*/ 447 w 666"/>
                <a:gd name="T91" fmla="*/ 224 h 1016"/>
                <a:gd name="T92" fmla="*/ 489 w 666"/>
                <a:gd name="T93" fmla="*/ 144 h 1016"/>
                <a:gd name="T94" fmla="*/ 379 w 666"/>
                <a:gd name="T95" fmla="*/ 120 h 101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666" h="1016">
                  <a:moveTo>
                    <a:pt x="329" y="128"/>
                  </a:moveTo>
                  <a:lnTo>
                    <a:pt x="354" y="104"/>
                  </a:lnTo>
                  <a:lnTo>
                    <a:pt x="337" y="96"/>
                  </a:lnTo>
                  <a:lnTo>
                    <a:pt x="388" y="64"/>
                  </a:lnTo>
                  <a:lnTo>
                    <a:pt x="413" y="56"/>
                  </a:lnTo>
                  <a:lnTo>
                    <a:pt x="421" y="24"/>
                  </a:lnTo>
                  <a:lnTo>
                    <a:pt x="320" y="16"/>
                  </a:lnTo>
                  <a:lnTo>
                    <a:pt x="287" y="0"/>
                  </a:lnTo>
                  <a:lnTo>
                    <a:pt x="270" y="24"/>
                  </a:lnTo>
                  <a:lnTo>
                    <a:pt x="253" y="40"/>
                  </a:lnTo>
                  <a:lnTo>
                    <a:pt x="245" y="56"/>
                  </a:lnTo>
                  <a:lnTo>
                    <a:pt x="253" y="80"/>
                  </a:lnTo>
                  <a:lnTo>
                    <a:pt x="219" y="88"/>
                  </a:lnTo>
                  <a:lnTo>
                    <a:pt x="202" y="104"/>
                  </a:lnTo>
                  <a:lnTo>
                    <a:pt x="202" y="136"/>
                  </a:lnTo>
                  <a:lnTo>
                    <a:pt x="202" y="160"/>
                  </a:lnTo>
                  <a:lnTo>
                    <a:pt x="186" y="184"/>
                  </a:lnTo>
                  <a:lnTo>
                    <a:pt x="169" y="200"/>
                  </a:lnTo>
                  <a:lnTo>
                    <a:pt x="135" y="248"/>
                  </a:lnTo>
                  <a:lnTo>
                    <a:pt x="160" y="256"/>
                  </a:lnTo>
                  <a:lnTo>
                    <a:pt x="202" y="232"/>
                  </a:lnTo>
                  <a:lnTo>
                    <a:pt x="186" y="264"/>
                  </a:lnTo>
                  <a:lnTo>
                    <a:pt x="177" y="296"/>
                  </a:lnTo>
                  <a:lnTo>
                    <a:pt x="169" y="320"/>
                  </a:lnTo>
                  <a:lnTo>
                    <a:pt x="143" y="376"/>
                  </a:lnTo>
                  <a:lnTo>
                    <a:pt x="169" y="376"/>
                  </a:lnTo>
                  <a:lnTo>
                    <a:pt x="186" y="344"/>
                  </a:lnTo>
                  <a:lnTo>
                    <a:pt x="202" y="304"/>
                  </a:lnTo>
                  <a:lnTo>
                    <a:pt x="211" y="328"/>
                  </a:lnTo>
                  <a:lnTo>
                    <a:pt x="228" y="320"/>
                  </a:lnTo>
                  <a:lnTo>
                    <a:pt x="219" y="344"/>
                  </a:lnTo>
                  <a:lnTo>
                    <a:pt x="228" y="360"/>
                  </a:lnTo>
                  <a:lnTo>
                    <a:pt x="186" y="424"/>
                  </a:lnTo>
                  <a:lnTo>
                    <a:pt x="194" y="472"/>
                  </a:lnTo>
                  <a:lnTo>
                    <a:pt x="202" y="440"/>
                  </a:lnTo>
                  <a:lnTo>
                    <a:pt x="236" y="464"/>
                  </a:lnTo>
                  <a:lnTo>
                    <a:pt x="253" y="456"/>
                  </a:lnTo>
                  <a:lnTo>
                    <a:pt x="278" y="464"/>
                  </a:lnTo>
                  <a:lnTo>
                    <a:pt x="303" y="448"/>
                  </a:lnTo>
                  <a:lnTo>
                    <a:pt x="329" y="456"/>
                  </a:lnTo>
                  <a:lnTo>
                    <a:pt x="295" y="480"/>
                  </a:lnTo>
                  <a:lnTo>
                    <a:pt x="287" y="496"/>
                  </a:lnTo>
                  <a:lnTo>
                    <a:pt x="312" y="544"/>
                  </a:lnTo>
                  <a:lnTo>
                    <a:pt x="329" y="544"/>
                  </a:lnTo>
                  <a:lnTo>
                    <a:pt x="329" y="576"/>
                  </a:lnTo>
                  <a:lnTo>
                    <a:pt x="320" y="576"/>
                  </a:lnTo>
                  <a:lnTo>
                    <a:pt x="312" y="632"/>
                  </a:lnTo>
                  <a:lnTo>
                    <a:pt x="295" y="648"/>
                  </a:lnTo>
                  <a:lnTo>
                    <a:pt x="287" y="640"/>
                  </a:lnTo>
                  <a:lnTo>
                    <a:pt x="236" y="640"/>
                  </a:lnTo>
                  <a:lnTo>
                    <a:pt x="202" y="624"/>
                  </a:lnTo>
                  <a:lnTo>
                    <a:pt x="186" y="632"/>
                  </a:lnTo>
                  <a:lnTo>
                    <a:pt x="202" y="648"/>
                  </a:lnTo>
                  <a:lnTo>
                    <a:pt x="160" y="680"/>
                  </a:lnTo>
                  <a:lnTo>
                    <a:pt x="177" y="688"/>
                  </a:lnTo>
                  <a:lnTo>
                    <a:pt x="202" y="680"/>
                  </a:lnTo>
                  <a:lnTo>
                    <a:pt x="211" y="744"/>
                  </a:lnTo>
                  <a:lnTo>
                    <a:pt x="169" y="760"/>
                  </a:lnTo>
                  <a:lnTo>
                    <a:pt x="143" y="768"/>
                  </a:lnTo>
                  <a:lnTo>
                    <a:pt x="101" y="776"/>
                  </a:lnTo>
                  <a:lnTo>
                    <a:pt x="84" y="784"/>
                  </a:lnTo>
                  <a:lnTo>
                    <a:pt x="93" y="792"/>
                  </a:lnTo>
                  <a:lnTo>
                    <a:pt x="101" y="808"/>
                  </a:lnTo>
                  <a:lnTo>
                    <a:pt x="135" y="824"/>
                  </a:lnTo>
                  <a:lnTo>
                    <a:pt x="152" y="808"/>
                  </a:lnTo>
                  <a:lnTo>
                    <a:pt x="169" y="824"/>
                  </a:lnTo>
                  <a:lnTo>
                    <a:pt x="160" y="840"/>
                  </a:lnTo>
                  <a:lnTo>
                    <a:pt x="194" y="840"/>
                  </a:lnTo>
                  <a:lnTo>
                    <a:pt x="219" y="864"/>
                  </a:lnTo>
                  <a:lnTo>
                    <a:pt x="261" y="864"/>
                  </a:lnTo>
                  <a:lnTo>
                    <a:pt x="278" y="856"/>
                  </a:lnTo>
                  <a:lnTo>
                    <a:pt x="295" y="848"/>
                  </a:lnTo>
                  <a:lnTo>
                    <a:pt x="270" y="872"/>
                  </a:lnTo>
                  <a:lnTo>
                    <a:pt x="261" y="888"/>
                  </a:lnTo>
                  <a:lnTo>
                    <a:pt x="228" y="896"/>
                  </a:lnTo>
                  <a:lnTo>
                    <a:pt x="160" y="888"/>
                  </a:lnTo>
                  <a:lnTo>
                    <a:pt x="152" y="896"/>
                  </a:lnTo>
                  <a:lnTo>
                    <a:pt x="127" y="904"/>
                  </a:lnTo>
                  <a:lnTo>
                    <a:pt x="110" y="928"/>
                  </a:lnTo>
                  <a:lnTo>
                    <a:pt x="42" y="976"/>
                  </a:lnTo>
                  <a:lnTo>
                    <a:pt x="0" y="984"/>
                  </a:lnTo>
                  <a:lnTo>
                    <a:pt x="9" y="992"/>
                  </a:lnTo>
                  <a:lnTo>
                    <a:pt x="34" y="992"/>
                  </a:lnTo>
                  <a:lnTo>
                    <a:pt x="51" y="1016"/>
                  </a:lnTo>
                  <a:lnTo>
                    <a:pt x="68" y="1008"/>
                  </a:lnTo>
                  <a:lnTo>
                    <a:pt x="68" y="992"/>
                  </a:lnTo>
                  <a:lnTo>
                    <a:pt x="93" y="976"/>
                  </a:lnTo>
                  <a:lnTo>
                    <a:pt x="143" y="976"/>
                  </a:lnTo>
                  <a:lnTo>
                    <a:pt x="169" y="1008"/>
                  </a:lnTo>
                  <a:lnTo>
                    <a:pt x="219" y="960"/>
                  </a:lnTo>
                  <a:lnTo>
                    <a:pt x="261" y="952"/>
                  </a:lnTo>
                  <a:lnTo>
                    <a:pt x="295" y="976"/>
                  </a:lnTo>
                  <a:lnTo>
                    <a:pt x="337" y="984"/>
                  </a:lnTo>
                  <a:lnTo>
                    <a:pt x="346" y="968"/>
                  </a:lnTo>
                  <a:lnTo>
                    <a:pt x="388" y="968"/>
                  </a:lnTo>
                  <a:lnTo>
                    <a:pt x="421" y="968"/>
                  </a:lnTo>
                  <a:lnTo>
                    <a:pt x="472" y="968"/>
                  </a:lnTo>
                  <a:lnTo>
                    <a:pt x="506" y="984"/>
                  </a:lnTo>
                  <a:lnTo>
                    <a:pt x="573" y="968"/>
                  </a:lnTo>
                  <a:lnTo>
                    <a:pt x="590" y="952"/>
                  </a:lnTo>
                  <a:lnTo>
                    <a:pt x="624" y="952"/>
                  </a:lnTo>
                  <a:lnTo>
                    <a:pt x="624" y="928"/>
                  </a:lnTo>
                  <a:lnTo>
                    <a:pt x="565" y="912"/>
                  </a:lnTo>
                  <a:lnTo>
                    <a:pt x="590" y="896"/>
                  </a:lnTo>
                  <a:lnTo>
                    <a:pt x="590" y="872"/>
                  </a:lnTo>
                  <a:lnTo>
                    <a:pt x="624" y="872"/>
                  </a:lnTo>
                  <a:lnTo>
                    <a:pt x="624" y="856"/>
                  </a:lnTo>
                  <a:lnTo>
                    <a:pt x="649" y="840"/>
                  </a:lnTo>
                  <a:lnTo>
                    <a:pt x="657" y="816"/>
                  </a:lnTo>
                  <a:lnTo>
                    <a:pt x="666" y="800"/>
                  </a:lnTo>
                  <a:lnTo>
                    <a:pt x="666" y="760"/>
                  </a:lnTo>
                  <a:lnTo>
                    <a:pt x="582" y="728"/>
                  </a:lnTo>
                  <a:lnTo>
                    <a:pt x="565" y="744"/>
                  </a:lnTo>
                  <a:lnTo>
                    <a:pt x="539" y="728"/>
                  </a:lnTo>
                  <a:lnTo>
                    <a:pt x="573" y="704"/>
                  </a:lnTo>
                  <a:lnTo>
                    <a:pt x="556" y="656"/>
                  </a:lnTo>
                  <a:lnTo>
                    <a:pt x="523" y="632"/>
                  </a:lnTo>
                  <a:lnTo>
                    <a:pt x="548" y="632"/>
                  </a:lnTo>
                  <a:lnTo>
                    <a:pt x="539" y="592"/>
                  </a:lnTo>
                  <a:lnTo>
                    <a:pt x="539" y="576"/>
                  </a:lnTo>
                  <a:lnTo>
                    <a:pt x="531" y="560"/>
                  </a:lnTo>
                  <a:lnTo>
                    <a:pt x="523" y="536"/>
                  </a:lnTo>
                  <a:lnTo>
                    <a:pt x="480" y="512"/>
                  </a:lnTo>
                  <a:lnTo>
                    <a:pt x="472" y="480"/>
                  </a:lnTo>
                  <a:lnTo>
                    <a:pt x="455" y="440"/>
                  </a:lnTo>
                  <a:lnTo>
                    <a:pt x="455" y="392"/>
                  </a:lnTo>
                  <a:lnTo>
                    <a:pt x="447" y="376"/>
                  </a:lnTo>
                  <a:lnTo>
                    <a:pt x="421" y="352"/>
                  </a:lnTo>
                  <a:lnTo>
                    <a:pt x="413" y="344"/>
                  </a:lnTo>
                  <a:lnTo>
                    <a:pt x="396" y="328"/>
                  </a:lnTo>
                  <a:lnTo>
                    <a:pt x="362" y="328"/>
                  </a:lnTo>
                  <a:lnTo>
                    <a:pt x="337" y="320"/>
                  </a:lnTo>
                  <a:lnTo>
                    <a:pt x="371" y="312"/>
                  </a:lnTo>
                  <a:lnTo>
                    <a:pt x="396" y="304"/>
                  </a:lnTo>
                  <a:lnTo>
                    <a:pt x="388" y="280"/>
                  </a:lnTo>
                  <a:lnTo>
                    <a:pt x="421" y="264"/>
                  </a:lnTo>
                  <a:lnTo>
                    <a:pt x="421" y="248"/>
                  </a:lnTo>
                  <a:lnTo>
                    <a:pt x="447" y="224"/>
                  </a:lnTo>
                  <a:lnTo>
                    <a:pt x="455" y="192"/>
                  </a:lnTo>
                  <a:lnTo>
                    <a:pt x="489" y="168"/>
                  </a:lnTo>
                  <a:lnTo>
                    <a:pt x="489" y="144"/>
                  </a:lnTo>
                  <a:lnTo>
                    <a:pt x="447" y="144"/>
                  </a:lnTo>
                  <a:lnTo>
                    <a:pt x="430" y="128"/>
                  </a:lnTo>
                  <a:lnTo>
                    <a:pt x="379" y="120"/>
                  </a:lnTo>
                  <a:lnTo>
                    <a:pt x="329" y="128"/>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5" name="Freeform 12"/>
            <p:cNvSpPr>
              <a:spLocks/>
            </p:cNvSpPr>
            <p:nvPr>
              <p:custDataLst>
                <p:tags r:id="rId13"/>
              </p:custDataLst>
            </p:nvPr>
          </p:nvSpPr>
          <p:spPr bwMode="auto">
            <a:xfrm>
              <a:off x="2379" y="1912"/>
              <a:ext cx="202" cy="144"/>
            </a:xfrm>
            <a:custGeom>
              <a:avLst/>
              <a:gdLst>
                <a:gd name="T0" fmla="*/ 185 w 202"/>
                <a:gd name="T1" fmla="*/ 72 h 144"/>
                <a:gd name="T2" fmla="*/ 177 w 202"/>
                <a:gd name="T3" fmla="*/ 48 h 144"/>
                <a:gd name="T4" fmla="*/ 177 w 202"/>
                <a:gd name="T5" fmla="*/ 16 h 144"/>
                <a:gd name="T6" fmla="*/ 151 w 202"/>
                <a:gd name="T7" fmla="*/ 0 h 144"/>
                <a:gd name="T8" fmla="*/ 126 w 202"/>
                <a:gd name="T9" fmla="*/ 0 h 144"/>
                <a:gd name="T10" fmla="*/ 109 w 202"/>
                <a:gd name="T11" fmla="*/ 0 h 144"/>
                <a:gd name="T12" fmla="*/ 84 w 202"/>
                <a:gd name="T13" fmla="*/ 0 h 144"/>
                <a:gd name="T14" fmla="*/ 84 w 202"/>
                <a:gd name="T15" fmla="*/ 8 h 144"/>
                <a:gd name="T16" fmla="*/ 84 w 202"/>
                <a:gd name="T17" fmla="*/ 0 h 144"/>
                <a:gd name="T18" fmla="*/ 67 w 202"/>
                <a:gd name="T19" fmla="*/ 8 h 144"/>
                <a:gd name="T20" fmla="*/ 59 w 202"/>
                <a:gd name="T21" fmla="*/ 24 h 144"/>
                <a:gd name="T22" fmla="*/ 50 w 202"/>
                <a:gd name="T23" fmla="*/ 40 h 144"/>
                <a:gd name="T24" fmla="*/ 16 w 202"/>
                <a:gd name="T25" fmla="*/ 40 h 144"/>
                <a:gd name="T26" fmla="*/ 16 w 202"/>
                <a:gd name="T27" fmla="*/ 56 h 144"/>
                <a:gd name="T28" fmla="*/ 0 w 202"/>
                <a:gd name="T29" fmla="*/ 72 h 144"/>
                <a:gd name="T30" fmla="*/ 33 w 202"/>
                <a:gd name="T31" fmla="*/ 120 h 144"/>
                <a:gd name="T32" fmla="*/ 67 w 202"/>
                <a:gd name="T33" fmla="*/ 96 h 144"/>
                <a:gd name="T34" fmla="*/ 92 w 202"/>
                <a:gd name="T35" fmla="*/ 112 h 144"/>
                <a:gd name="T36" fmla="*/ 101 w 202"/>
                <a:gd name="T37" fmla="*/ 136 h 144"/>
                <a:gd name="T38" fmla="*/ 118 w 202"/>
                <a:gd name="T39" fmla="*/ 136 h 144"/>
                <a:gd name="T40" fmla="*/ 134 w 202"/>
                <a:gd name="T41" fmla="*/ 144 h 144"/>
                <a:gd name="T42" fmla="*/ 143 w 202"/>
                <a:gd name="T43" fmla="*/ 144 h 144"/>
                <a:gd name="T44" fmla="*/ 143 w 202"/>
                <a:gd name="T45" fmla="*/ 144 h 144"/>
                <a:gd name="T46" fmla="*/ 168 w 202"/>
                <a:gd name="T47" fmla="*/ 128 h 144"/>
                <a:gd name="T48" fmla="*/ 193 w 202"/>
                <a:gd name="T49" fmla="*/ 120 h 144"/>
                <a:gd name="T50" fmla="*/ 202 w 202"/>
                <a:gd name="T51" fmla="*/ 88 h 144"/>
                <a:gd name="T52" fmla="*/ 185 w 202"/>
                <a:gd name="T53" fmla="*/ 72 h 14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02" h="144">
                  <a:moveTo>
                    <a:pt x="185" y="72"/>
                  </a:moveTo>
                  <a:lnTo>
                    <a:pt x="177" y="48"/>
                  </a:lnTo>
                  <a:lnTo>
                    <a:pt x="177" y="16"/>
                  </a:lnTo>
                  <a:lnTo>
                    <a:pt x="151" y="0"/>
                  </a:lnTo>
                  <a:lnTo>
                    <a:pt x="126" y="0"/>
                  </a:lnTo>
                  <a:lnTo>
                    <a:pt x="109" y="0"/>
                  </a:lnTo>
                  <a:lnTo>
                    <a:pt x="84" y="0"/>
                  </a:lnTo>
                  <a:lnTo>
                    <a:pt x="84" y="8"/>
                  </a:lnTo>
                  <a:lnTo>
                    <a:pt x="84" y="0"/>
                  </a:lnTo>
                  <a:lnTo>
                    <a:pt x="67" y="8"/>
                  </a:lnTo>
                  <a:lnTo>
                    <a:pt x="59" y="24"/>
                  </a:lnTo>
                  <a:lnTo>
                    <a:pt x="50" y="40"/>
                  </a:lnTo>
                  <a:lnTo>
                    <a:pt x="16" y="40"/>
                  </a:lnTo>
                  <a:lnTo>
                    <a:pt x="16" y="56"/>
                  </a:lnTo>
                  <a:lnTo>
                    <a:pt x="0" y="72"/>
                  </a:lnTo>
                  <a:lnTo>
                    <a:pt x="33" y="120"/>
                  </a:lnTo>
                  <a:lnTo>
                    <a:pt x="67" y="96"/>
                  </a:lnTo>
                  <a:lnTo>
                    <a:pt x="92" y="112"/>
                  </a:lnTo>
                  <a:lnTo>
                    <a:pt x="101" y="136"/>
                  </a:lnTo>
                  <a:lnTo>
                    <a:pt x="118" y="136"/>
                  </a:lnTo>
                  <a:lnTo>
                    <a:pt x="134" y="144"/>
                  </a:lnTo>
                  <a:lnTo>
                    <a:pt x="143" y="144"/>
                  </a:lnTo>
                  <a:lnTo>
                    <a:pt x="168" y="128"/>
                  </a:lnTo>
                  <a:lnTo>
                    <a:pt x="193" y="120"/>
                  </a:lnTo>
                  <a:lnTo>
                    <a:pt x="202" y="88"/>
                  </a:lnTo>
                  <a:lnTo>
                    <a:pt x="185" y="72"/>
                  </a:lnTo>
                  <a:close/>
                </a:path>
              </a:pathLst>
            </a:custGeom>
            <a:solidFill>
              <a:srgbClr val="6DBACE"/>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6" name="Freeform 13"/>
            <p:cNvSpPr>
              <a:spLocks/>
            </p:cNvSpPr>
            <p:nvPr>
              <p:custDataLst>
                <p:tags r:id="rId14"/>
              </p:custDataLst>
            </p:nvPr>
          </p:nvSpPr>
          <p:spPr bwMode="auto">
            <a:xfrm>
              <a:off x="2429" y="1536"/>
              <a:ext cx="666" cy="1016"/>
            </a:xfrm>
            <a:custGeom>
              <a:avLst/>
              <a:gdLst>
                <a:gd name="T0" fmla="*/ 337 w 666"/>
                <a:gd name="T1" fmla="*/ 96 h 1016"/>
                <a:gd name="T2" fmla="*/ 421 w 666"/>
                <a:gd name="T3" fmla="*/ 24 h 1016"/>
                <a:gd name="T4" fmla="*/ 270 w 666"/>
                <a:gd name="T5" fmla="*/ 24 h 1016"/>
                <a:gd name="T6" fmla="*/ 253 w 666"/>
                <a:gd name="T7" fmla="*/ 80 h 1016"/>
                <a:gd name="T8" fmla="*/ 202 w 666"/>
                <a:gd name="T9" fmla="*/ 136 h 1016"/>
                <a:gd name="T10" fmla="*/ 169 w 666"/>
                <a:gd name="T11" fmla="*/ 200 h 1016"/>
                <a:gd name="T12" fmla="*/ 202 w 666"/>
                <a:gd name="T13" fmla="*/ 232 h 1016"/>
                <a:gd name="T14" fmla="*/ 169 w 666"/>
                <a:gd name="T15" fmla="*/ 320 h 1016"/>
                <a:gd name="T16" fmla="*/ 186 w 666"/>
                <a:gd name="T17" fmla="*/ 344 h 1016"/>
                <a:gd name="T18" fmla="*/ 228 w 666"/>
                <a:gd name="T19" fmla="*/ 320 h 1016"/>
                <a:gd name="T20" fmla="*/ 186 w 666"/>
                <a:gd name="T21" fmla="*/ 424 h 1016"/>
                <a:gd name="T22" fmla="*/ 236 w 666"/>
                <a:gd name="T23" fmla="*/ 464 h 1016"/>
                <a:gd name="T24" fmla="*/ 303 w 666"/>
                <a:gd name="T25" fmla="*/ 448 h 1016"/>
                <a:gd name="T26" fmla="*/ 287 w 666"/>
                <a:gd name="T27" fmla="*/ 496 h 1016"/>
                <a:gd name="T28" fmla="*/ 329 w 666"/>
                <a:gd name="T29" fmla="*/ 576 h 1016"/>
                <a:gd name="T30" fmla="*/ 295 w 666"/>
                <a:gd name="T31" fmla="*/ 648 h 1016"/>
                <a:gd name="T32" fmla="*/ 202 w 666"/>
                <a:gd name="T33" fmla="*/ 624 h 1016"/>
                <a:gd name="T34" fmla="*/ 160 w 666"/>
                <a:gd name="T35" fmla="*/ 680 h 1016"/>
                <a:gd name="T36" fmla="*/ 211 w 666"/>
                <a:gd name="T37" fmla="*/ 744 h 1016"/>
                <a:gd name="T38" fmla="*/ 101 w 666"/>
                <a:gd name="T39" fmla="*/ 776 h 1016"/>
                <a:gd name="T40" fmla="*/ 101 w 666"/>
                <a:gd name="T41" fmla="*/ 808 h 1016"/>
                <a:gd name="T42" fmla="*/ 169 w 666"/>
                <a:gd name="T43" fmla="*/ 824 h 1016"/>
                <a:gd name="T44" fmla="*/ 219 w 666"/>
                <a:gd name="T45" fmla="*/ 864 h 1016"/>
                <a:gd name="T46" fmla="*/ 295 w 666"/>
                <a:gd name="T47" fmla="*/ 848 h 1016"/>
                <a:gd name="T48" fmla="*/ 228 w 666"/>
                <a:gd name="T49" fmla="*/ 896 h 1016"/>
                <a:gd name="T50" fmla="*/ 127 w 666"/>
                <a:gd name="T51" fmla="*/ 904 h 1016"/>
                <a:gd name="T52" fmla="*/ 0 w 666"/>
                <a:gd name="T53" fmla="*/ 984 h 1016"/>
                <a:gd name="T54" fmla="*/ 51 w 666"/>
                <a:gd name="T55" fmla="*/ 1016 h 1016"/>
                <a:gd name="T56" fmla="*/ 93 w 666"/>
                <a:gd name="T57" fmla="*/ 976 h 1016"/>
                <a:gd name="T58" fmla="*/ 219 w 666"/>
                <a:gd name="T59" fmla="*/ 960 h 1016"/>
                <a:gd name="T60" fmla="*/ 337 w 666"/>
                <a:gd name="T61" fmla="*/ 984 h 1016"/>
                <a:gd name="T62" fmla="*/ 421 w 666"/>
                <a:gd name="T63" fmla="*/ 968 h 1016"/>
                <a:gd name="T64" fmla="*/ 573 w 666"/>
                <a:gd name="T65" fmla="*/ 968 h 1016"/>
                <a:gd name="T66" fmla="*/ 624 w 666"/>
                <a:gd name="T67" fmla="*/ 928 h 1016"/>
                <a:gd name="T68" fmla="*/ 590 w 666"/>
                <a:gd name="T69" fmla="*/ 872 h 1016"/>
                <a:gd name="T70" fmla="*/ 649 w 666"/>
                <a:gd name="T71" fmla="*/ 840 h 1016"/>
                <a:gd name="T72" fmla="*/ 666 w 666"/>
                <a:gd name="T73" fmla="*/ 760 h 1016"/>
                <a:gd name="T74" fmla="*/ 539 w 666"/>
                <a:gd name="T75" fmla="*/ 728 h 1016"/>
                <a:gd name="T76" fmla="*/ 523 w 666"/>
                <a:gd name="T77" fmla="*/ 632 h 1016"/>
                <a:gd name="T78" fmla="*/ 539 w 666"/>
                <a:gd name="T79" fmla="*/ 576 h 1016"/>
                <a:gd name="T80" fmla="*/ 480 w 666"/>
                <a:gd name="T81" fmla="*/ 512 h 1016"/>
                <a:gd name="T82" fmla="*/ 455 w 666"/>
                <a:gd name="T83" fmla="*/ 392 h 1016"/>
                <a:gd name="T84" fmla="*/ 413 w 666"/>
                <a:gd name="T85" fmla="*/ 344 h 1016"/>
                <a:gd name="T86" fmla="*/ 337 w 666"/>
                <a:gd name="T87" fmla="*/ 320 h 1016"/>
                <a:gd name="T88" fmla="*/ 388 w 666"/>
                <a:gd name="T89" fmla="*/ 280 h 1016"/>
                <a:gd name="T90" fmla="*/ 447 w 666"/>
                <a:gd name="T91" fmla="*/ 224 h 1016"/>
                <a:gd name="T92" fmla="*/ 489 w 666"/>
                <a:gd name="T93" fmla="*/ 144 h 1016"/>
                <a:gd name="T94" fmla="*/ 379 w 666"/>
                <a:gd name="T95" fmla="*/ 120 h 101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666" h="1016">
                  <a:moveTo>
                    <a:pt x="329" y="128"/>
                  </a:moveTo>
                  <a:lnTo>
                    <a:pt x="354" y="104"/>
                  </a:lnTo>
                  <a:lnTo>
                    <a:pt x="337" y="96"/>
                  </a:lnTo>
                  <a:lnTo>
                    <a:pt x="388" y="64"/>
                  </a:lnTo>
                  <a:lnTo>
                    <a:pt x="413" y="56"/>
                  </a:lnTo>
                  <a:lnTo>
                    <a:pt x="421" y="24"/>
                  </a:lnTo>
                  <a:lnTo>
                    <a:pt x="320" y="16"/>
                  </a:lnTo>
                  <a:lnTo>
                    <a:pt x="287" y="0"/>
                  </a:lnTo>
                  <a:lnTo>
                    <a:pt x="270" y="24"/>
                  </a:lnTo>
                  <a:lnTo>
                    <a:pt x="253" y="40"/>
                  </a:lnTo>
                  <a:lnTo>
                    <a:pt x="245" y="56"/>
                  </a:lnTo>
                  <a:lnTo>
                    <a:pt x="253" y="80"/>
                  </a:lnTo>
                  <a:lnTo>
                    <a:pt x="219" y="88"/>
                  </a:lnTo>
                  <a:lnTo>
                    <a:pt x="202" y="104"/>
                  </a:lnTo>
                  <a:lnTo>
                    <a:pt x="202" y="136"/>
                  </a:lnTo>
                  <a:lnTo>
                    <a:pt x="202" y="160"/>
                  </a:lnTo>
                  <a:lnTo>
                    <a:pt x="186" y="184"/>
                  </a:lnTo>
                  <a:lnTo>
                    <a:pt x="169" y="200"/>
                  </a:lnTo>
                  <a:lnTo>
                    <a:pt x="135" y="248"/>
                  </a:lnTo>
                  <a:lnTo>
                    <a:pt x="160" y="256"/>
                  </a:lnTo>
                  <a:lnTo>
                    <a:pt x="202" y="232"/>
                  </a:lnTo>
                  <a:lnTo>
                    <a:pt x="186" y="264"/>
                  </a:lnTo>
                  <a:lnTo>
                    <a:pt x="177" y="296"/>
                  </a:lnTo>
                  <a:lnTo>
                    <a:pt x="169" y="320"/>
                  </a:lnTo>
                  <a:lnTo>
                    <a:pt x="143" y="376"/>
                  </a:lnTo>
                  <a:lnTo>
                    <a:pt x="169" y="376"/>
                  </a:lnTo>
                  <a:lnTo>
                    <a:pt x="186" y="344"/>
                  </a:lnTo>
                  <a:lnTo>
                    <a:pt x="202" y="304"/>
                  </a:lnTo>
                  <a:lnTo>
                    <a:pt x="211" y="328"/>
                  </a:lnTo>
                  <a:lnTo>
                    <a:pt x="228" y="320"/>
                  </a:lnTo>
                  <a:lnTo>
                    <a:pt x="219" y="344"/>
                  </a:lnTo>
                  <a:lnTo>
                    <a:pt x="228" y="360"/>
                  </a:lnTo>
                  <a:lnTo>
                    <a:pt x="186" y="424"/>
                  </a:lnTo>
                  <a:lnTo>
                    <a:pt x="194" y="472"/>
                  </a:lnTo>
                  <a:lnTo>
                    <a:pt x="202" y="440"/>
                  </a:lnTo>
                  <a:lnTo>
                    <a:pt x="236" y="464"/>
                  </a:lnTo>
                  <a:lnTo>
                    <a:pt x="253" y="456"/>
                  </a:lnTo>
                  <a:lnTo>
                    <a:pt x="278" y="464"/>
                  </a:lnTo>
                  <a:lnTo>
                    <a:pt x="303" y="448"/>
                  </a:lnTo>
                  <a:lnTo>
                    <a:pt x="329" y="456"/>
                  </a:lnTo>
                  <a:lnTo>
                    <a:pt x="295" y="480"/>
                  </a:lnTo>
                  <a:lnTo>
                    <a:pt x="287" y="496"/>
                  </a:lnTo>
                  <a:lnTo>
                    <a:pt x="312" y="544"/>
                  </a:lnTo>
                  <a:lnTo>
                    <a:pt x="329" y="544"/>
                  </a:lnTo>
                  <a:lnTo>
                    <a:pt x="329" y="576"/>
                  </a:lnTo>
                  <a:lnTo>
                    <a:pt x="320" y="576"/>
                  </a:lnTo>
                  <a:lnTo>
                    <a:pt x="312" y="632"/>
                  </a:lnTo>
                  <a:lnTo>
                    <a:pt x="295" y="648"/>
                  </a:lnTo>
                  <a:lnTo>
                    <a:pt x="287" y="640"/>
                  </a:lnTo>
                  <a:lnTo>
                    <a:pt x="236" y="640"/>
                  </a:lnTo>
                  <a:lnTo>
                    <a:pt x="202" y="624"/>
                  </a:lnTo>
                  <a:lnTo>
                    <a:pt x="186" y="632"/>
                  </a:lnTo>
                  <a:lnTo>
                    <a:pt x="202" y="648"/>
                  </a:lnTo>
                  <a:lnTo>
                    <a:pt x="160" y="680"/>
                  </a:lnTo>
                  <a:lnTo>
                    <a:pt x="177" y="688"/>
                  </a:lnTo>
                  <a:lnTo>
                    <a:pt x="202" y="680"/>
                  </a:lnTo>
                  <a:lnTo>
                    <a:pt x="211" y="744"/>
                  </a:lnTo>
                  <a:lnTo>
                    <a:pt x="169" y="760"/>
                  </a:lnTo>
                  <a:lnTo>
                    <a:pt x="143" y="768"/>
                  </a:lnTo>
                  <a:lnTo>
                    <a:pt x="101" y="776"/>
                  </a:lnTo>
                  <a:lnTo>
                    <a:pt x="84" y="784"/>
                  </a:lnTo>
                  <a:lnTo>
                    <a:pt x="93" y="792"/>
                  </a:lnTo>
                  <a:lnTo>
                    <a:pt x="101" y="808"/>
                  </a:lnTo>
                  <a:lnTo>
                    <a:pt x="135" y="824"/>
                  </a:lnTo>
                  <a:lnTo>
                    <a:pt x="152" y="808"/>
                  </a:lnTo>
                  <a:lnTo>
                    <a:pt x="169" y="824"/>
                  </a:lnTo>
                  <a:lnTo>
                    <a:pt x="160" y="840"/>
                  </a:lnTo>
                  <a:lnTo>
                    <a:pt x="194" y="840"/>
                  </a:lnTo>
                  <a:lnTo>
                    <a:pt x="219" y="864"/>
                  </a:lnTo>
                  <a:lnTo>
                    <a:pt x="261" y="864"/>
                  </a:lnTo>
                  <a:lnTo>
                    <a:pt x="278" y="856"/>
                  </a:lnTo>
                  <a:lnTo>
                    <a:pt x="295" y="848"/>
                  </a:lnTo>
                  <a:lnTo>
                    <a:pt x="270" y="872"/>
                  </a:lnTo>
                  <a:lnTo>
                    <a:pt x="261" y="888"/>
                  </a:lnTo>
                  <a:lnTo>
                    <a:pt x="228" y="896"/>
                  </a:lnTo>
                  <a:lnTo>
                    <a:pt x="160" y="888"/>
                  </a:lnTo>
                  <a:lnTo>
                    <a:pt x="152" y="896"/>
                  </a:lnTo>
                  <a:lnTo>
                    <a:pt x="127" y="904"/>
                  </a:lnTo>
                  <a:lnTo>
                    <a:pt x="110" y="928"/>
                  </a:lnTo>
                  <a:lnTo>
                    <a:pt x="42" y="976"/>
                  </a:lnTo>
                  <a:lnTo>
                    <a:pt x="0" y="984"/>
                  </a:lnTo>
                  <a:lnTo>
                    <a:pt x="9" y="992"/>
                  </a:lnTo>
                  <a:lnTo>
                    <a:pt x="34" y="992"/>
                  </a:lnTo>
                  <a:lnTo>
                    <a:pt x="51" y="1016"/>
                  </a:lnTo>
                  <a:lnTo>
                    <a:pt x="68" y="1008"/>
                  </a:lnTo>
                  <a:lnTo>
                    <a:pt x="68" y="992"/>
                  </a:lnTo>
                  <a:lnTo>
                    <a:pt x="93" y="976"/>
                  </a:lnTo>
                  <a:lnTo>
                    <a:pt x="143" y="976"/>
                  </a:lnTo>
                  <a:lnTo>
                    <a:pt x="169" y="1008"/>
                  </a:lnTo>
                  <a:lnTo>
                    <a:pt x="219" y="960"/>
                  </a:lnTo>
                  <a:lnTo>
                    <a:pt x="261" y="952"/>
                  </a:lnTo>
                  <a:lnTo>
                    <a:pt x="295" y="976"/>
                  </a:lnTo>
                  <a:lnTo>
                    <a:pt x="337" y="984"/>
                  </a:lnTo>
                  <a:lnTo>
                    <a:pt x="346" y="968"/>
                  </a:lnTo>
                  <a:lnTo>
                    <a:pt x="388" y="968"/>
                  </a:lnTo>
                  <a:lnTo>
                    <a:pt x="421" y="968"/>
                  </a:lnTo>
                  <a:lnTo>
                    <a:pt x="472" y="968"/>
                  </a:lnTo>
                  <a:lnTo>
                    <a:pt x="506" y="984"/>
                  </a:lnTo>
                  <a:lnTo>
                    <a:pt x="573" y="968"/>
                  </a:lnTo>
                  <a:lnTo>
                    <a:pt x="590" y="952"/>
                  </a:lnTo>
                  <a:lnTo>
                    <a:pt x="624" y="952"/>
                  </a:lnTo>
                  <a:lnTo>
                    <a:pt x="624" y="928"/>
                  </a:lnTo>
                  <a:lnTo>
                    <a:pt x="565" y="912"/>
                  </a:lnTo>
                  <a:lnTo>
                    <a:pt x="590" y="896"/>
                  </a:lnTo>
                  <a:lnTo>
                    <a:pt x="590" y="872"/>
                  </a:lnTo>
                  <a:lnTo>
                    <a:pt x="624" y="872"/>
                  </a:lnTo>
                  <a:lnTo>
                    <a:pt x="624" y="856"/>
                  </a:lnTo>
                  <a:lnTo>
                    <a:pt x="649" y="840"/>
                  </a:lnTo>
                  <a:lnTo>
                    <a:pt x="657" y="816"/>
                  </a:lnTo>
                  <a:lnTo>
                    <a:pt x="666" y="800"/>
                  </a:lnTo>
                  <a:lnTo>
                    <a:pt x="666" y="760"/>
                  </a:lnTo>
                  <a:lnTo>
                    <a:pt x="582" y="728"/>
                  </a:lnTo>
                  <a:lnTo>
                    <a:pt x="565" y="744"/>
                  </a:lnTo>
                  <a:lnTo>
                    <a:pt x="539" y="728"/>
                  </a:lnTo>
                  <a:lnTo>
                    <a:pt x="573" y="704"/>
                  </a:lnTo>
                  <a:lnTo>
                    <a:pt x="556" y="656"/>
                  </a:lnTo>
                  <a:lnTo>
                    <a:pt x="523" y="632"/>
                  </a:lnTo>
                  <a:lnTo>
                    <a:pt x="548" y="632"/>
                  </a:lnTo>
                  <a:lnTo>
                    <a:pt x="539" y="592"/>
                  </a:lnTo>
                  <a:lnTo>
                    <a:pt x="539" y="576"/>
                  </a:lnTo>
                  <a:lnTo>
                    <a:pt x="531" y="560"/>
                  </a:lnTo>
                  <a:lnTo>
                    <a:pt x="523" y="536"/>
                  </a:lnTo>
                  <a:lnTo>
                    <a:pt x="480" y="512"/>
                  </a:lnTo>
                  <a:lnTo>
                    <a:pt x="472" y="480"/>
                  </a:lnTo>
                  <a:lnTo>
                    <a:pt x="455" y="440"/>
                  </a:lnTo>
                  <a:lnTo>
                    <a:pt x="455" y="392"/>
                  </a:lnTo>
                  <a:lnTo>
                    <a:pt x="447" y="376"/>
                  </a:lnTo>
                  <a:lnTo>
                    <a:pt x="421" y="352"/>
                  </a:lnTo>
                  <a:lnTo>
                    <a:pt x="413" y="344"/>
                  </a:lnTo>
                  <a:lnTo>
                    <a:pt x="396" y="328"/>
                  </a:lnTo>
                  <a:lnTo>
                    <a:pt x="362" y="328"/>
                  </a:lnTo>
                  <a:lnTo>
                    <a:pt x="337" y="320"/>
                  </a:lnTo>
                  <a:lnTo>
                    <a:pt x="371" y="312"/>
                  </a:lnTo>
                  <a:lnTo>
                    <a:pt x="396" y="304"/>
                  </a:lnTo>
                  <a:lnTo>
                    <a:pt x="388" y="280"/>
                  </a:lnTo>
                  <a:lnTo>
                    <a:pt x="421" y="264"/>
                  </a:lnTo>
                  <a:lnTo>
                    <a:pt x="421" y="248"/>
                  </a:lnTo>
                  <a:lnTo>
                    <a:pt x="447" y="224"/>
                  </a:lnTo>
                  <a:lnTo>
                    <a:pt x="455" y="192"/>
                  </a:lnTo>
                  <a:lnTo>
                    <a:pt x="489" y="168"/>
                  </a:lnTo>
                  <a:lnTo>
                    <a:pt x="489" y="144"/>
                  </a:lnTo>
                  <a:lnTo>
                    <a:pt x="447" y="144"/>
                  </a:lnTo>
                  <a:lnTo>
                    <a:pt x="430" y="128"/>
                  </a:lnTo>
                  <a:lnTo>
                    <a:pt x="379" y="120"/>
                  </a:lnTo>
                  <a:lnTo>
                    <a:pt x="329" y="128"/>
                  </a:lnTo>
                  <a:close/>
                </a:path>
              </a:pathLst>
            </a:custGeom>
            <a:solidFill>
              <a:srgbClr val="6DBACE"/>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8" name="Freeform 15"/>
            <p:cNvSpPr>
              <a:spLocks/>
            </p:cNvSpPr>
            <p:nvPr>
              <p:custDataLst>
                <p:tags r:id="rId15"/>
              </p:custDataLst>
            </p:nvPr>
          </p:nvSpPr>
          <p:spPr bwMode="auto">
            <a:xfrm>
              <a:off x="3752" y="1984"/>
              <a:ext cx="67" cy="64"/>
            </a:xfrm>
            <a:custGeom>
              <a:avLst/>
              <a:gdLst>
                <a:gd name="T0" fmla="*/ 0 w 67"/>
                <a:gd name="T1" fmla="*/ 24 h 64"/>
                <a:gd name="T2" fmla="*/ 17 w 67"/>
                <a:gd name="T3" fmla="*/ 56 h 64"/>
                <a:gd name="T4" fmla="*/ 51 w 67"/>
                <a:gd name="T5" fmla="*/ 64 h 64"/>
                <a:gd name="T6" fmla="*/ 67 w 67"/>
                <a:gd name="T7" fmla="*/ 48 h 64"/>
                <a:gd name="T8" fmla="*/ 59 w 67"/>
                <a:gd name="T9" fmla="*/ 0 h 64"/>
                <a:gd name="T10" fmla="*/ 0 w 67"/>
                <a:gd name="T11" fmla="*/ 8 h 64"/>
                <a:gd name="T12" fmla="*/ 0 w 67"/>
                <a:gd name="T13" fmla="*/ 24 h 6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7" h="64">
                  <a:moveTo>
                    <a:pt x="0" y="24"/>
                  </a:moveTo>
                  <a:lnTo>
                    <a:pt x="17" y="56"/>
                  </a:lnTo>
                  <a:lnTo>
                    <a:pt x="51" y="64"/>
                  </a:lnTo>
                  <a:lnTo>
                    <a:pt x="67" y="48"/>
                  </a:lnTo>
                  <a:lnTo>
                    <a:pt x="59" y="0"/>
                  </a:lnTo>
                  <a:lnTo>
                    <a:pt x="0" y="8"/>
                  </a:lnTo>
                  <a:lnTo>
                    <a:pt x="0" y="2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0" name="Freeform 17"/>
            <p:cNvSpPr>
              <a:spLocks/>
            </p:cNvSpPr>
            <p:nvPr>
              <p:custDataLst>
                <p:tags r:id="rId16"/>
              </p:custDataLst>
            </p:nvPr>
          </p:nvSpPr>
          <p:spPr bwMode="auto">
            <a:xfrm>
              <a:off x="3752" y="1984"/>
              <a:ext cx="67" cy="64"/>
            </a:xfrm>
            <a:custGeom>
              <a:avLst/>
              <a:gdLst>
                <a:gd name="T0" fmla="*/ 0 w 67"/>
                <a:gd name="T1" fmla="*/ 24 h 64"/>
                <a:gd name="T2" fmla="*/ 17 w 67"/>
                <a:gd name="T3" fmla="*/ 56 h 64"/>
                <a:gd name="T4" fmla="*/ 51 w 67"/>
                <a:gd name="T5" fmla="*/ 64 h 64"/>
                <a:gd name="T6" fmla="*/ 67 w 67"/>
                <a:gd name="T7" fmla="*/ 48 h 64"/>
                <a:gd name="T8" fmla="*/ 59 w 67"/>
                <a:gd name="T9" fmla="*/ 0 h 64"/>
                <a:gd name="T10" fmla="*/ 0 w 67"/>
                <a:gd name="T11" fmla="*/ 8 h 6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7" h="64">
                  <a:moveTo>
                    <a:pt x="0" y="24"/>
                  </a:moveTo>
                  <a:lnTo>
                    <a:pt x="17" y="56"/>
                  </a:lnTo>
                  <a:lnTo>
                    <a:pt x="51" y="64"/>
                  </a:lnTo>
                  <a:lnTo>
                    <a:pt x="67" y="48"/>
                  </a:lnTo>
                  <a:lnTo>
                    <a:pt x="59" y="0"/>
                  </a:lnTo>
                  <a:lnTo>
                    <a:pt x="0" y="8"/>
                  </a:lnTo>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1" name="Freeform 18"/>
            <p:cNvSpPr>
              <a:spLocks/>
            </p:cNvSpPr>
            <p:nvPr>
              <p:custDataLst>
                <p:tags r:id="rId17"/>
              </p:custDataLst>
            </p:nvPr>
          </p:nvSpPr>
          <p:spPr bwMode="auto">
            <a:xfrm>
              <a:off x="3752" y="1984"/>
              <a:ext cx="67" cy="64"/>
            </a:xfrm>
            <a:custGeom>
              <a:avLst/>
              <a:gdLst>
                <a:gd name="T0" fmla="*/ 0 w 67"/>
                <a:gd name="T1" fmla="*/ 24 h 64"/>
                <a:gd name="T2" fmla="*/ 17 w 67"/>
                <a:gd name="T3" fmla="*/ 56 h 64"/>
                <a:gd name="T4" fmla="*/ 51 w 67"/>
                <a:gd name="T5" fmla="*/ 64 h 64"/>
                <a:gd name="T6" fmla="*/ 67 w 67"/>
                <a:gd name="T7" fmla="*/ 48 h 64"/>
                <a:gd name="T8" fmla="*/ 59 w 67"/>
                <a:gd name="T9" fmla="*/ 0 h 64"/>
                <a:gd name="T10" fmla="*/ 0 w 67"/>
                <a:gd name="T11" fmla="*/ 8 h 6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7" h="64">
                  <a:moveTo>
                    <a:pt x="0" y="24"/>
                  </a:moveTo>
                  <a:lnTo>
                    <a:pt x="17" y="56"/>
                  </a:lnTo>
                  <a:lnTo>
                    <a:pt x="51" y="64"/>
                  </a:lnTo>
                  <a:lnTo>
                    <a:pt x="67" y="48"/>
                  </a:lnTo>
                  <a:lnTo>
                    <a:pt x="59" y="0"/>
                  </a:lnTo>
                  <a:lnTo>
                    <a:pt x="0" y="8"/>
                  </a:lnTo>
                </a:path>
              </a:pathLst>
            </a:custGeom>
            <a:solidFill>
              <a:srgbClr val="6DBACE"/>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2" name="Freeform 19"/>
            <p:cNvSpPr>
              <a:spLocks/>
            </p:cNvSpPr>
            <p:nvPr>
              <p:custDataLst>
                <p:tags r:id="rId18"/>
              </p:custDataLst>
            </p:nvPr>
          </p:nvSpPr>
          <p:spPr bwMode="auto">
            <a:xfrm>
              <a:off x="3845" y="1920"/>
              <a:ext cx="109" cy="176"/>
            </a:xfrm>
            <a:custGeom>
              <a:avLst/>
              <a:gdLst>
                <a:gd name="T0" fmla="*/ 0 w 109"/>
                <a:gd name="T1" fmla="*/ 168 h 176"/>
                <a:gd name="T2" fmla="*/ 50 w 109"/>
                <a:gd name="T3" fmla="*/ 176 h 176"/>
                <a:gd name="T4" fmla="*/ 76 w 109"/>
                <a:gd name="T5" fmla="*/ 144 h 176"/>
                <a:gd name="T6" fmla="*/ 76 w 109"/>
                <a:gd name="T7" fmla="*/ 112 h 176"/>
                <a:gd name="T8" fmla="*/ 109 w 109"/>
                <a:gd name="T9" fmla="*/ 96 h 176"/>
                <a:gd name="T10" fmla="*/ 92 w 109"/>
                <a:gd name="T11" fmla="*/ 72 h 176"/>
                <a:gd name="T12" fmla="*/ 109 w 109"/>
                <a:gd name="T13" fmla="*/ 64 h 176"/>
                <a:gd name="T14" fmla="*/ 101 w 109"/>
                <a:gd name="T15" fmla="*/ 8 h 176"/>
                <a:gd name="T16" fmla="*/ 84 w 109"/>
                <a:gd name="T17" fmla="*/ 0 h 176"/>
                <a:gd name="T18" fmla="*/ 67 w 109"/>
                <a:gd name="T19" fmla="*/ 16 h 176"/>
                <a:gd name="T20" fmla="*/ 59 w 109"/>
                <a:gd name="T21" fmla="*/ 48 h 176"/>
                <a:gd name="T22" fmla="*/ 42 w 109"/>
                <a:gd name="T23" fmla="*/ 16 h 176"/>
                <a:gd name="T24" fmla="*/ 8 w 109"/>
                <a:gd name="T25" fmla="*/ 40 h 176"/>
                <a:gd name="T26" fmla="*/ 0 w 109"/>
                <a:gd name="T27" fmla="*/ 48 h 176"/>
                <a:gd name="T28" fmla="*/ 8 w 109"/>
                <a:gd name="T29" fmla="*/ 72 h 176"/>
                <a:gd name="T30" fmla="*/ 42 w 109"/>
                <a:gd name="T31" fmla="*/ 88 h 176"/>
                <a:gd name="T32" fmla="*/ 50 w 109"/>
                <a:gd name="T33" fmla="*/ 112 h 176"/>
                <a:gd name="T34" fmla="*/ 33 w 109"/>
                <a:gd name="T35" fmla="*/ 144 h 176"/>
                <a:gd name="T36" fmla="*/ 8 w 109"/>
                <a:gd name="T37" fmla="*/ 136 h 176"/>
                <a:gd name="T38" fmla="*/ 0 w 109"/>
                <a:gd name="T39" fmla="*/ 168 h 1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9" h="176">
                  <a:moveTo>
                    <a:pt x="0" y="168"/>
                  </a:moveTo>
                  <a:lnTo>
                    <a:pt x="50" y="176"/>
                  </a:lnTo>
                  <a:lnTo>
                    <a:pt x="76" y="144"/>
                  </a:lnTo>
                  <a:lnTo>
                    <a:pt x="76" y="112"/>
                  </a:lnTo>
                  <a:lnTo>
                    <a:pt x="109" y="96"/>
                  </a:lnTo>
                  <a:lnTo>
                    <a:pt x="92" y="72"/>
                  </a:lnTo>
                  <a:lnTo>
                    <a:pt x="109" y="64"/>
                  </a:lnTo>
                  <a:lnTo>
                    <a:pt x="101" y="8"/>
                  </a:lnTo>
                  <a:lnTo>
                    <a:pt x="84" y="0"/>
                  </a:lnTo>
                  <a:lnTo>
                    <a:pt x="67" y="16"/>
                  </a:lnTo>
                  <a:lnTo>
                    <a:pt x="59" y="48"/>
                  </a:lnTo>
                  <a:lnTo>
                    <a:pt x="42" y="16"/>
                  </a:lnTo>
                  <a:lnTo>
                    <a:pt x="8" y="40"/>
                  </a:lnTo>
                  <a:lnTo>
                    <a:pt x="0" y="48"/>
                  </a:lnTo>
                  <a:lnTo>
                    <a:pt x="8" y="72"/>
                  </a:lnTo>
                  <a:lnTo>
                    <a:pt x="42" y="88"/>
                  </a:lnTo>
                  <a:lnTo>
                    <a:pt x="50" y="112"/>
                  </a:lnTo>
                  <a:lnTo>
                    <a:pt x="33" y="144"/>
                  </a:lnTo>
                  <a:lnTo>
                    <a:pt x="8" y="136"/>
                  </a:lnTo>
                  <a:lnTo>
                    <a:pt x="0" y="168"/>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3" name="Freeform 20"/>
            <p:cNvSpPr>
              <a:spLocks/>
            </p:cNvSpPr>
            <p:nvPr>
              <p:custDataLst>
                <p:tags r:id="rId19"/>
              </p:custDataLst>
            </p:nvPr>
          </p:nvSpPr>
          <p:spPr bwMode="auto">
            <a:xfrm>
              <a:off x="4039" y="4048"/>
              <a:ext cx="328" cy="208"/>
            </a:xfrm>
            <a:custGeom>
              <a:avLst/>
              <a:gdLst>
                <a:gd name="T0" fmla="*/ 0 w 328"/>
                <a:gd name="T1" fmla="*/ 80 h 208"/>
                <a:gd name="T2" fmla="*/ 0 w 328"/>
                <a:gd name="T3" fmla="*/ 56 h 208"/>
                <a:gd name="T4" fmla="*/ 25 w 328"/>
                <a:gd name="T5" fmla="*/ 32 h 208"/>
                <a:gd name="T6" fmla="*/ 50 w 328"/>
                <a:gd name="T7" fmla="*/ 48 h 208"/>
                <a:gd name="T8" fmla="*/ 67 w 328"/>
                <a:gd name="T9" fmla="*/ 32 h 208"/>
                <a:gd name="T10" fmla="*/ 92 w 328"/>
                <a:gd name="T11" fmla="*/ 24 h 208"/>
                <a:gd name="T12" fmla="*/ 101 w 328"/>
                <a:gd name="T13" fmla="*/ 32 h 208"/>
                <a:gd name="T14" fmla="*/ 117 w 328"/>
                <a:gd name="T15" fmla="*/ 40 h 208"/>
                <a:gd name="T16" fmla="*/ 134 w 328"/>
                <a:gd name="T17" fmla="*/ 48 h 208"/>
                <a:gd name="T18" fmla="*/ 160 w 328"/>
                <a:gd name="T19" fmla="*/ 40 h 208"/>
                <a:gd name="T20" fmla="*/ 210 w 328"/>
                <a:gd name="T21" fmla="*/ 40 h 208"/>
                <a:gd name="T22" fmla="*/ 235 w 328"/>
                <a:gd name="T23" fmla="*/ 32 h 208"/>
                <a:gd name="T24" fmla="*/ 252 w 328"/>
                <a:gd name="T25" fmla="*/ 16 h 208"/>
                <a:gd name="T26" fmla="*/ 261 w 328"/>
                <a:gd name="T27" fmla="*/ 16 h 208"/>
                <a:gd name="T28" fmla="*/ 286 w 328"/>
                <a:gd name="T29" fmla="*/ 24 h 208"/>
                <a:gd name="T30" fmla="*/ 294 w 328"/>
                <a:gd name="T31" fmla="*/ 8 h 208"/>
                <a:gd name="T32" fmla="*/ 320 w 328"/>
                <a:gd name="T33" fmla="*/ 0 h 208"/>
                <a:gd name="T34" fmla="*/ 328 w 328"/>
                <a:gd name="T35" fmla="*/ 16 h 208"/>
                <a:gd name="T36" fmla="*/ 311 w 328"/>
                <a:gd name="T37" fmla="*/ 56 h 208"/>
                <a:gd name="T38" fmla="*/ 303 w 328"/>
                <a:gd name="T39" fmla="*/ 80 h 208"/>
                <a:gd name="T40" fmla="*/ 286 w 328"/>
                <a:gd name="T41" fmla="*/ 104 h 208"/>
                <a:gd name="T42" fmla="*/ 286 w 328"/>
                <a:gd name="T43" fmla="*/ 112 h 208"/>
                <a:gd name="T44" fmla="*/ 303 w 328"/>
                <a:gd name="T45" fmla="*/ 128 h 208"/>
                <a:gd name="T46" fmla="*/ 320 w 328"/>
                <a:gd name="T47" fmla="*/ 160 h 208"/>
                <a:gd name="T48" fmla="*/ 303 w 328"/>
                <a:gd name="T49" fmla="*/ 176 h 208"/>
                <a:gd name="T50" fmla="*/ 303 w 328"/>
                <a:gd name="T51" fmla="*/ 208 h 208"/>
                <a:gd name="T52" fmla="*/ 269 w 328"/>
                <a:gd name="T53" fmla="*/ 200 h 208"/>
                <a:gd name="T54" fmla="*/ 227 w 328"/>
                <a:gd name="T55" fmla="*/ 192 h 208"/>
                <a:gd name="T56" fmla="*/ 202 w 328"/>
                <a:gd name="T57" fmla="*/ 152 h 208"/>
                <a:gd name="T58" fmla="*/ 168 w 328"/>
                <a:gd name="T59" fmla="*/ 160 h 208"/>
                <a:gd name="T60" fmla="*/ 143 w 328"/>
                <a:gd name="T61" fmla="*/ 144 h 208"/>
                <a:gd name="T62" fmla="*/ 126 w 328"/>
                <a:gd name="T63" fmla="*/ 128 h 208"/>
                <a:gd name="T64" fmla="*/ 109 w 328"/>
                <a:gd name="T65" fmla="*/ 128 h 208"/>
                <a:gd name="T66" fmla="*/ 84 w 328"/>
                <a:gd name="T67" fmla="*/ 112 h 208"/>
                <a:gd name="T68" fmla="*/ 67 w 328"/>
                <a:gd name="T69" fmla="*/ 112 h 208"/>
                <a:gd name="T70" fmla="*/ 50 w 328"/>
                <a:gd name="T71" fmla="*/ 96 h 208"/>
                <a:gd name="T72" fmla="*/ 25 w 328"/>
                <a:gd name="T73" fmla="*/ 104 h 208"/>
                <a:gd name="T74" fmla="*/ 0 w 328"/>
                <a:gd name="T75" fmla="*/ 80 h 2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28" h="208">
                  <a:moveTo>
                    <a:pt x="0" y="80"/>
                  </a:moveTo>
                  <a:lnTo>
                    <a:pt x="0" y="56"/>
                  </a:lnTo>
                  <a:lnTo>
                    <a:pt x="25" y="32"/>
                  </a:lnTo>
                  <a:lnTo>
                    <a:pt x="50" y="48"/>
                  </a:lnTo>
                  <a:lnTo>
                    <a:pt x="67" y="32"/>
                  </a:lnTo>
                  <a:lnTo>
                    <a:pt x="92" y="24"/>
                  </a:lnTo>
                  <a:lnTo>
                    <a:pt x="101" y="32"/>
                  </a:lnTo>
                  <a:lnTo>
                    <a:pt x="117" y="40"/>
                  </a:lnTo>
                  <a:lnTo>
                    <a:pt x="134" y="48"/>
                  </a:lnTo>
                  <a:lnTo>
                    <a:pt x="160" y="40"/>
                  </a:lnTo>
                  <a:lnTo>
                    <a:pt x="210" y="40"/>
                  </a:lnTo>
                  <a:lnTo>
                    <a:pt x="235" y="32"/>
                  </a:lnTo>
                  <a:lnTo>
                    <a:pt x="252" y="16"/>
                  </a:lnTo>
                  <a:lnTo>
                    <a:pt x="261" y="16"/>
                  </a:lnTo>
                  <a:lnTo>
                    <a:pt x="286" y="24"/>
                  </a:lnTo>
                  <a:lnTo>
                    <a:pt x="294" y="8"/>
                  </a:lnTo>
                  <a:lnTo>
                    <a:pt x="320" y="0"/>
                  </a:lnTo>
                  <a:lnTo>
                    <a:pt x="328" y="16"/>
                  </a:lnTo>
                  <a:lnTo>
                    <a:pt x="311" y="56"/>
                  </a:lnTo>
                  <a:lnTo>
                    <a:pt x="303" y="80"/>
                  </a:lnTo>
                  <a:lnTo>
                    <a:pt x="286" y="104"/>
                  </a:lnTo>
                  <a:lnTo>
                    <a:pt x="286" y="112"/>
                  </a:lnTo>
                  <a:lnTo>
                    <a:pt x="303" y="128"/>
                  </a:lnTo>
                  <a:lnTo>
                    <a:pt x="320" y="160"/>
                  </a:lnTo>
                  <a:lnTo>
                    <a:pt x="303" y="176"/>
                  </a:lnTo>
                  <a:lnTo>
                    <a:pt x="303" y="208"/>
                  </a:lnTo>
                  <a:lnTo>
                    <a:pt x="269" y="200"/>
                  </a:lnTo>
                  <a:lnTo>
                    <a:pt x="227" y="192"/>
                  </a:lnTo>
                  <a:lnTo>
                    <a:pt x="202" y="152"/>
                  </a:lnTo>
                  <a:lnTo>
                    <a:pt x="168" y="160"/>
                  </a:lnTo>
                  <a:lnTo>
                    <a:pt x="143" y="144"/>
                  </a:lnTo>
                  <a:lnTo>
                    <a:pt x="126" y="128"/>
                  </a:lnTo>
                  <a:lnTo>
                    <a:pt x="109" y="128"/>
                  </a:lnTo>
                  <a:lnTo>
                    <a:pt x="84" y="112"/>
                  </a:lnTo>
                  <a:lnTo>
                    <a:pt x="67" y="112"/>
                  </a:lnTo>
                  <a:lnTo>
                    <a:pt x="50" y="96"/>
                  </a:lnTo>
                  <a:lnTo>
                    <a:pt x="25" y="104"/>
                  </a:lnTo>
                  <a:lnTo>
                    <a:pt x="0" y="8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4" name="Freeform 21"/>
            <p:cNvSpPr>
              <a:spLocks/>
            </p:cNvSpPr>
            <p:nvPr>
              <p:custDataLst>
                <p:tags r:id="rId20"/>
              </p:custDataLst>
            </p:nvPr>
          </p:nvSpPr>
          <p:spPr bwMode="auto">
            <a:xfrm>
              <a:off x="3845" y="1920"/>
              <a:ext cx="109" cy="176"/>
            </a:xfrm>
            <a:custGeom>
              <a:avLst/>
              <a:gdLst>
                <a:gd name="T0" fmla="*/ 0 w 109"/>
                <a:gd name="T1" fmla="*/ 168 h 176"/>
                <a:gd name="T2" fmla="*/ 50 w 109"/>
                <a:gd name="T3" fmla="*/ 176 h 176"/>
                <a:gd name="T4" fmla="*/ 76 w 109"/>
                <a:gd name="T5" fmla="*/ 144 h 176"/>
                <a:gd name="T6" fmla="*/ 76 w 109"/>
                <a:gd name="T7" fmla="*/ 112 h 176"/>
                <a:gd name="T8" fmla="*/ 109 w 109"/>
                <a:gd name="T9" fmla="*/ 96 h 176"/>
                <a:gd name="T10" fmla="*/ 92 w 109"/>
                <a:gd name="T11" fmla="*/ 72 h 176"/>
                <a:gd name="T12" fmla="*/ 109 w 109"/>
                <a:gd name="T13" fmla="*/ 64 h 176"/>
                <a:gd name="T14" fmla="*/ 101 w 109"/>
                <a:gd name="T15" fmla="*/ 8 h 176"/>
                <a:gd name="T16" fmla="*/ 84 w 109"/>
                <a:gd name="T17" fmla="*/ 0 h 176"/>
                <a:gd name="T18" fmla="*/ 67 w 109"/>
                <a:gd name="T19" fmla="*/ 16 h 176"/>
                <a:gd name="T20" fmla="*/ 59 w 109"/>
                <a:gd name="T21" fmla="*/ 48 h 176"/>
                <a:gd name="T22" fmla="*/ 42 w 109"/>
                <a:gd name="T23" fmla="*/ 16 h 176"/>
                <a:gd name="T24" fmla="*/ 8 w 109"/>
                <a:gd name="T25" fmla="*/ 40 h 176"/>
                <a:gd name="T26" fmla="*/ 0 w 109"/>
                <a:gd name="T27" fmla="*/ 48 h 176"/>
                <a:gd name="T28" fmla="*/ 8 w 109"/>
                <a:gd name="T29" fmla="*/ 72 h 176"/>
                <a:gd name="T30" fmla="*/ 42 w 109"/>
                <a:gd name="T31" fmla="*/ 88 h 176"/>
                <a:gd name="T32" fmla="*/ 50 w 109"/>
                <a:gd name="T33" fmla="*/ 112 h 176"/>
                <a:gd name="T34" fmla="*/ 33 w 109"/>
                <a:gd name="T35" fmla="*/ 144 h 176"/>
                <a:gd name="T36" fmla="*/ 8 w 109"/>
                <a:gd name="T37" fmla="*/ 136 h 176"/>
                <a:gd name="T38" fmla="*/ 0 w 109"/>
                <a:gd name="T39" fmla="*/ 168 h 1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9" h="176">
                  <a:moveTo>
                    <a:pt x="0" y="168"/>
                  </a:moveTo>
                  <a:lnTo>
                    <a:pt x="50" y="176"/>
                  </a:lnTo>
                  <a:lnTo>
                    <a:pt x="76" y="144"/>
                  </a:lnTo>
                  <a:lnTo>
                    <a:pt x="76" y="112"/>
                  </a:lnTo>
                  <a:lnTo>
                    <a:pt x="109" y="96"/>
                  </a:lnTo>
                  <a:lnTo>
                    <a:pt x="92" y="72"/>
                  </a:lnTo>
                  <a:lnTo>
                    <a:pt x="109" y="64"/>
                  </a:lnTo>
                  <a:lnTo>
                    <a:pt x="101" y="8"/>
                  </a:lnTo>
                  <a:lnTo>
                    <a:pt x="84" y="0"/>
                  </a:lnTo>
                  <a:lnTo>
                    <a:pt x="67" y="16"/>
                  </a:lnTo>
                  <a:lnTo>
                    <a:pt x="59" y="48"/>
                  </a:lnTo>
                  <a:lnTo>
                    <a:pt x="42" y="16"/>
                  </a:lnTo>
                  <a:lnTo>
                    <a:pt x="8" y="40"/>
                  </a:lnTo>
                  <a:lnTo>
                    <a:pt x="0" y="48"/>
                  </a:lnTo>
                  <a:lnTo>
                    <a:pt x="8" y="72"/>
                  </a:lnTo>
                  <a:lnTo>
                    <a:pt x="42" y="88"/>
                  </a:lnTo>
                  <a:lnTo>
                    <a:pt x="50" y="112"/>
                  </a:lnTo>
                  <a:lnTo>
                    <a:pt x="33" y="144"/>
                  </a:lnTo>
                  <a:lnTo>
                    <a:pt x="8" y="136"/>
                  </a:lnTo>
                  <a:lnTo>
                    <a:pt x="0" y="168"/>
                  </a:lnTo>
                  <a:close/>
                </a:path>
              </a:pathLst>
            </a:custGeom>
            <a:solidFill>
              <a:srgbClr val="6DBACE"/>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5" name="Freeform 22"/>
            <p:cNvSpPr>
              <a:spLocks/>
            </p:cNvSpPr>
            <p:nvPr>
              <p:custDataLst>
                <p:tags r:id="rId21"/>
              </p:custDataLst>
            </p:nvPr>
          </p:nvSpPr>
          <p:spPr bwMode="auto">
            <a:xfrm>
              <a:off x="4039" y="4048"/>
              <a:ext cx="328" cy="208"/>
            </a:xfrm>
            <a:custGeom>
              <a:avLst/>
              <a:gdLst>
                <a:gd name="T0" fmla="*/ 0 w 328"/>
                <a:gd name="T1" fmla="*/ 80 h 208"/>
                <a:gd name="T2" fmla="*/ 0 w 328"/>
                <a:gd name="T3" fmla="*/ 56 h 208"/>
                <a:gd name="T4" fmla="*/ 25 w 328"/>
                <a:gd name="T5" fmla="*/ 32 h 208"/>
                <a:gd name="T6" fmla="*/ 50 w 328"/>
                <a:gd name="T7" fmla="*/ 48 h 208"/>
                <a:gd name="T8" fmla="*/ 67 w 328"/>
                <a:gd name="T9" fmla="*/ 32 h 208"/>
                <a:gd name="T10" fmla="*/ 92 w 328"/>
                <a:gd name="T11" fmla="*/ 24 h 208"/>
                <a:gd name="T12" fmla="*/ 101 w 328"/>
                <a:gd name="T13" fmla="*/ 32 h 208"/>
                <a:gd name="T14" fmla="*/ 117 w 328"/>
                <a:gd name="T15" fmla="*/ 40 h 208"/>
                <a:gd name="T16" fmla="*/ 134 w 328"/>
                <a:gd name="T17" fmla="*/ 48 h 208"/>
                <a:gd name="T18" fmla="*/ 160 w 328"/>
                <a:gd name="T19" fmla="*/ 40 h 208"/>
                <a:gd name="T20" fmla="*/ 210 w 328"/>
                <a:gd name="T21" fmla="*/ 40 h 208"/>
                <a:gd name="T22" fmla="*/ 235 w 328"/>
                <a:gd name="T23" fmla="*/ 32 h 208"/>
                <a:gd name="T24" fmla="*/ 252 w 328"/>
                <a:gd name="T25" fmla="*/ 16 h 208"/>
                <a:gd name="T26" fmla="*/ 261 w 328"/>
                <a:gd name="T27" fmla="*/ 16 h 208"/>
                <a:gd name="T28" fmla="*/ 286 w 328"/>
                <a:gd name="T29" fmla="*/ 24 h 208"/>
                <a:gd name="T30" fmla="*/ 294 w 328"/>
                <a:gd name="T31" fmla="*/ 8 h 208"/>
                <a:gd name="T32" fmla="*/ 320 w 328"/>
                <a:gd name="T33" fmla="*/ 0 h 208"/>
                <a:gd name="T34" fmla="*/ 328 w 328"/>
                <a:gd name="T35" fmla="*/ 16 h 208"/>
                <a:gd name="T36" fmla="*/ 311 w 328"/>
                <a:gd name="T37" fmla="*/ 56 h 208"/>
                <a:gd name="T38" fmla="*/ 303 w 328"/>
                <a:gd name="T39" fmla="*/ 80 h 208"/>
                <a:gd name="T40" fmla="*/ 286 w 328"/>
                <a:gd name="T41" fmla="*/ 104 h 208"/>
                <a:gd name="T42" fmla="*/ 286 w 328"/>
                <a:gd name="T43" fmla="*/ 112 h 208"/>
                <a:gd name="T44" fmla="*/ 303 w 328"/>
                <a:gd name="T45" fmla="*/ 128 h 208"/>
                <a:gd name="T46" fmla="*/ 320 w 328"/>
                <a:gd name="T47" fmla="*/ 160 h 208"/>
                <a:gd name="T48" fmla="*/ 303 w 328"/>
                <a:gd name="T49" fmla="*/ 176 h 208"/>
                <a:gd name="T50" fmla="*/ 303 w 328"/>
                <a:gd name="T51" fmla="*/ 208 h 208"/>
                <a:gd name="T52" fmla="*/ 269 w 328"/>
                <a:gd name="T53" fmla="*/ 200 h 208"/>
                <a:gd name="T54" fmla="*/ 227 w 328"/>
                <a:gd name="T55" fmla="*/ 192 h 208"/>
                <a:gd name="T56" fmla="*/ 202 w 328"/>
                <a:gd name="T57" fmla="*/ 152 h 208"/>
                <a:gd name="T58" fmla="*/ 168 w 328"/>
                <a:gd name="T59" fmla="*/ 160 h 208"/>
                <a:gd name="T60" fmla="*/ 143 w 328"/>
                <a:gd name="T61" fmla="*/ 144 h 208"/>
                <a:gd name="T62" fmla="*/ 126 w 328"/>
                <a:gd name="T63" fmla="*/ 128 h 208"/>
                <a:gd name="T64" fmla="*/ 109 w 328"/>
                <a:gd name="T65" fmla="*/ 128 h 208"/>
                <a:gd name="T66" fmla="*/ 84 w 328"/>
                <a:gd name="T67" fmla="*/ 112 h 208"/>
                <a:gd name="T68" fmla="*/ 67 w 328"/>
                <a:gd name="T69" fmla="*/ 112 h 208"/>
                <a:gd name="T70" fmla="*/ 50 w 328"/>
                <a:gd name="T71" fmla="*/ 96 h 208"/>
                <a:gd name="T72" fmla="*/ 25 w 328"/>
                <a:gd name="T73" fmla="*/ 104 h 208"/>
                <a:gd name="T74" fmla="*/ 0 w 328"/>
                <a:gd name="T75" fmla="*/ 80 h 2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28" h="208">
                  <a:moveTo>
                    <a:pt x="0" y="80"/>
                  </a:moveTo>
                  <a:lnTo>
                    <a:pt x="0" y="56"/>
                  </a:lnTo>
                  <a:lnTo>
                    <a:pt x="25" y="32"/>
                  </a:lnTo>
                  <a:lnTo>
                    <a:pt x="50" y="48"/>
                  </a:lnTo>
                  <a:lnTo>
                    <a:pt x="67" y="32"/>
                  </a:lnTo>
                  <a:lnTo>
                    <a:pt x="92" y="24"/>
                  </a:lnTo>
                  <a:lnTo>
                    <a:pt x="101" y="32"/>
                  </a:lnTo>
                  <a:lnTo>
                    <a:pt x="117" y="40"/>
                  </a:lnTo>
                  <a:lnTo>
                    <a:pt x="134" y="48"/>
                  </a:lnTo>
                  <a:lnTo>
                    <a:pt x="160" y="40"/>
                  </a:lnTo>
                  <a:lnTo>
                    <a:pt x="210" y="40"/>
                  </a:lnTo>
                  <a:lnTo>
                    <a:pt x="235" y="32"/>
                  </a:lnTo>
                  <a:lnTo>
                    <a:pt x="252" y="16"/>
                  </a:lnTo>
                  <a:lnTo>
                    <a:pt x="261" y="16"/>
                  </a:lnTo>
                  <a:lnTo>
                    <a:pt x="286" y="24"/>
                  </a:lnTo>
                  <a:lnTo>
                    <a:pt x="294" y="8"/>
                  </a:lnTo>
                  <a:lnTo>
                    <a:pt x="320" y="0"/>
                  </a:lnTo>
                  <a:lnTo>
                    <a:pt x="328" y="16"/>
                  </a:lnTo>
                  <a:lnTo>
                    <a:pt x="311" y="56"/>
                  </a:lnTo>
                  <a:lnTo>
                    <a:pt x="303" y="80"/>
                  </a:lnTo>
                  <a:lnTo>
                    <a:pt x="286" y="104"/>
                  </a:lnTo>
                  <a:lnTo>
                    <a:pt x="286" y="112"/>
                  </a:lnTo>
                  <a:lnTo>
                    <a:pt x="303" y="128"/>
                  </a:lnTo>
                  <a:lnTo>
                    <a:pt x="320" y="160"/>
                  </a:lnTo>
                  <a:lnTo>
                    <a:pt x="303" y="176"/>
                  </a:lnTo>
                  <a:lnTo>
                    <a:pt x="303" y="208"/>
                  </a:lnTo>
                  <a:lnTo>
                    <a:pt x="269" y="200"/>
                  </a:lnTo>
                  <a:lnTo>
                    <a:pt x="227" y="192"/>
                  </a:lnTo>
                  <a:lnTo>
                    <a:pt x="202" y="152"/>
                  </a:lnTo>
                  <a:lnTo>
                    <a:pt x="168" y="160"/>
                  </a:lnTo>
                  <a:lnTo>
                    <a:pt x="143" y="144"/>
                  </a:lnTo>
                  <a:lnTo>
                    <a:pt x="126" y="128"/>
                  </a:lnTo>
                  <a:lnTo>
                    <a:pt x="109" y="128"/>
                  </a:lnTo>
                  <a:lnTo>
                    <a:pt x="84" y="112"/>
                  </a:lnTo>
                  <a:lnTo>
                    <a:pt x="67" y="112"/>
                  </a:lnTo>
                  <a:lnTo>
                    <a:pt x="50" y="96"/>
                  </a:lnTo>
                  <a:lnTo>
                    <a:pt x="25" y="104"/>
                  </a:lnTo>
                  <a:lnTo>
                    <a:pt x="0" y="80"/>
                  </a:lnTo>
                  <a:close/>
                </a:path>
              </a:pathLst>
            </a:custGeom>
            <a:solidFill>
              <a:srgbClr val="6DBACE"/>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6" name="Freeform 23"/>
            <p:cNvSpPr>
              <a:spLocks/>
            </p:cNvSpPr>
            <p:nvPr>
              <p:custDataLst>
                <p:tags r:id="rId22"/>
              </p:custDataLst>
            </p:nvPr>
          </p:nvSpPr>
          <p:spPr bwMode="auto">
            <a:xfrm>
              <a:off x="5286" y="4200"/>
              <a:ext cx="311" cy="72"/>
            </a:xfrm>
            <a:custGeom>
              <a:avLst/>
              <a:gdLst>
                <a:gd name="T0" fmla="*/ 0 w 311"/>
                <a:gd name="T1" fmla="*/ 24 h 72"/>
                <a:gd name="T2" fmla="*/ 8 w 311"/>
                <a:gd name="T3" fmla="*/ 56 h 72"/>
                <a:gd name="T4" fmla="*/ 33 w 311"/>
                <a:gd name="T5" fmla="*/ 64 h 72"/>
                <a:gd name="T6" fmla="*/ 67 w 311"/>
                <a:gd name="T7" fmla="*/ 64 h 72"/>
                <a:gd name="T8" fmla="*/ 126 w 311"/>
                <a:gd name="T9" fmla="*/ 56 h 72"/>
                <a:gd name="T10" fmla="*/ 143 w 311"/>
                <a:gd name="T11" fmla="*/ 56 h 72"/>
                <a:gd name="T12" fmla="*/ 143 w 311"/>
                <a:gd name="T13" fmla="*/ 72 h 72"/>
                <a:gd name="T14" fmla="*/ 193 w 311"/>
                <a:gd name="T15" fmla="*/ 72 h 72"/>
                <a:gd name="T16" fmla="*/ 219 w 311"/>
                <a:gd name="T17" fmla="*/ 56 h 72"/>
                <a:gd name="T18" fmla="*/ 252 w 311"/>
                <a:gd name="T19" fmla="*/ 56 h 72"/>
                <a:gd name="T20" fmla="*/ 278 w 311"/>
                <a:gd name="T21" fmla="*/ 40 h 72"/>
                <a:gd name="T22" fmla="*/ 311 w 311"/>
                <a:gd name="T23" fmla="*/ 32 h 72"/>
                <a:gd name="T24" fmla="*/ 311 w 311"/>
                <a:gd name="T25" fmla="*/ 0 h 72"/>
                <a:gd name="T26" fmla="*/ 286 w 311"/>
                <a:gd name="T27" fmla="*/ 16 h 72"/>
                <a:gd name="T28" fmla="*/ 269 w 311"/>
                <a:gd name="T29" fmla="*/ 24 h 72"/>
                <a:gd name="T30" fmla="*/ 252 w 311"/>
                <a:gd name="T31" fmla="*/ 24 h 72"/>
                <a:gd name="T32" fmla="*/ 244 w 311"/>
                <a:gd name="T33" fmla="*/ 8 h 72"/>
                <a:gd name="T34" fmla="*/ 219 w 311"/>
                <a:gd name="T35" fmla="*/ 16 h 72"/>
                <a:gd name="T36" fmla="*/ 168 w 311"/>
                <a:gd name="T37" fmla="*/ 24 h 72"/>
                <a:gd name="T38" fmla="*/ 168 w 311"/>
                <a:gd name="T39" fmla="*/ 8 h 72"/>
                <a:gd name="T40" fmla="*/ 84 w 311"/>
                <a:gd name="T41" fmla="*/ 40 h 72"/>
                <a:gd name="T42" fmla="*/ 75 w 311"/>
                <a:gd name="T43" fmla="*/ 16 h 72"/>
                <a:gd name="T44" fmla="*/ 59 w 311"/>
                <a:gd name="T45" fmla="*/ 8 h 72"/>
                <a:gd name="T46" fmla="*/ 59 w 311"/>
                <a:gd name="T47" fmla="*/ 24 h 72"/>
                <a:gd name="T48" fmla="*/ 33 w 311"/>
                <a:gd name="T49" fmla="*/ 24 h 72"/>
                <a:gd name="T50" fmla="*/ 16 w 311"/>
                <a:gd name="T51" fmla="*/ 0 h 72"/>
                <a:gd name="T52" fmla="*/ 16 w 311"/>
                <a:gd name="T53" fmla="*/ 16 h 72"/>
                <a:gd name="T54" fmla="*/ 0 w 311"/>
                <a:gd name="T55" fmla="*/ 24 h 7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11" h="72">
                  <a:moveTo>
                    <a:pt x="0" y="24"/>
                  </a:moveTo>
                  <a:lnTo>
                    <a:pt x="8" y="56"/>
                  </a:lnTo>
                  <a:lnTo>
                    <a:pt x="33" y="64"/>
                  </a:lnTo>
                  <a:lnTo>
                    <a:pt x="67" y="64"/>
                  </a:lnTo>
                  <a:lnTo>
                    <a:pt x="126" y="56"/>
                  </a:lnTo>
                  <a:lnTo>
                    <a:pt x="143" y="56"/>
                  </a:lnTo>
                  <a:lnTo>
                    <a:pt x="143" y="72"/>
                  </a:lnTo>
                  <a:lnTo>
                    <a:pt x="193" y="72"/>
                  </a:lnTo>
                  <a:lnTo>
                    <a:pt x="219" y="56"/>
                  </a:lnTo>
                  <a:lnTo>
                    <a:pt x="252" y="56"/>
                  </a:lnTo>
                  <a:lnTo>
                    <a:pt x="278" y="40"/>
                  </a:lnTo>
                  <a:lnTo>
                    <a:pt x="311" y="32"/>
                  </a:lnTo>
                  <a:lnTo>
                    <a:pt x="311" y="0"/>
                  </a:lnTo>
                  <a:lnTo>
                    <a:pt x="286" y="16"/>
                  </a:lnTo>
                  <a:lnTo>
                    <a:pt x="269" y="24"/>
                  </a:lnTo>
                  <a:lnTo>
                    <a:pt x="252" y="24"/>
                  </a:lnTo>
                  <a:lnTo>
                    <a:pt x="244" y="8"/>
                  </a:lnTo>
                  <a:lnTo>
                    <a:pt x="219" y="16"/>
                  </a:lnTo>
                  <a:lnTo>
                    <a:pt x="168" y="24"/>
                  </a:lnTo>
                  <a:lnTo>
                    <a:pt x="168" y="8"/>
                  </a:lnTo>
                  <a:lnTo>
                    <a:pt x="84" y="40"/>
                  </a:lnTo>
                  <a:lnTo>
                    <a:pt x="75" y="16"/>
                  </a:lnTo>
                  <a:lnTo>
                    <a:pt x="59" y="8"/>
                  </a:lnTo>
                  <a:lnTo>
                    <a:pt x="59" y="24"/>
                  </a:lnTo>
                  <a:lnTo>
                    <a:pt x="33" y="24"/>
                  </a:lnTo>
                  <a:lnTo>
                    <a:pt x="16" y="0"/>
                  </a:lnTo>
                  <a:lnTo>
                    <a:pt x="16" y="16"/>
                  </a:lnTo>
                  <a:lnTo>
                    <a:pt x="0" y="2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7" name="Freeform 24"/>
            <p:cNvSpPr>
              <a:spLocks/>
            </p:cNvSpPr>
            <p:nvPr>
              <p:custDataLst>
                <p:tags r:id="rId23"/>
              </p:custDataLst>
            </p:nvPr>
          </p:nvSpPr>
          <p:spPr bwMode="auto">
            <a:xfrm>
              <a:off x="3584" y="3712"/>
              <a:ext cx="168" cy="288"/>
            </a:xfrm>
            <a:custGeom>
              <a:avLst/>
              <a:gdLst>
                <a:gd name="T0" fmla="*/ 0 w 168"/>
                <a:gd name="T1" fmla="*/ 40 h 288"/>
                <a:gd name="T2" fmla="*/ 33 w 168"/>
                <a:gd name="T3" fmla="*/ 48 h 288"/>
                <a:gd name="T4" fmla="*/ 59 w 168"/>
                <a:gd name="T5" fmla="*/ 40 h 288"/>
                <a:gd name="T6" fmla="*/ 101 w 168"/>
                <a:gd name="T7" fmla="*/ 8 h 288"/>
                <a:gd name="T8" fmla="*/ 109 w 168"/>
                <a:gd name="T9" fmla="*/ 0 h 288"/>
                <a:gd name="T10" fmla="*/ 143 w 168"/>
                <a:gd name="T11" fmla="*/ 16 h 288"/>
                <a:gd name="T12" fmla="*/ 143 w 168"/>
                <a:gd name="T13" fmla="*/ 32 h 288"/>
                <a:gd name="T14" fmla="*/ 168 w 168"/>
                <a:gd name="T15" fmla="*/ 96 h 288"/>
                <a:gd name="T16" fmla="*/ 151 w 168"/>
                <a:gd name="T17" fmla="*/ 120 h 288"/>
                <a:gd name="T18" fmla="*/ 168 w 168"/>
                <a:gd name="T19" fmla="*/ 152 h 288"/>
                <a:gd name="T20" fmla="*/ 143 w 168"/>
                <a:gd name="T21" fmla="*/ 256 h 288"/>
                <a:gd name="T22" fmla="*/ 117 w 168"/>
                <a:gd name="T23" fmla="*/ 248 h 288"/>
                <a:gd name="T24" fmla="*/ 92 w 168"/>
                <a:gd name="T25" fmla="*/ 248 h 288"/>
                <a:gd name="T26" fmla="*/ 84 w 168"/>
                <a:gd name="T27" fmla="*/ 264 h 288"/>
                <a:gd name="T28" fmla="*/ 67 w 168"/>
                <a:gd name="T29" fmla="*/ 280 h 288"/>
                <a:gd name="T30" fmla="*/ 42 w 168"/>
                <a:gd name="T31" fmla="*/ 288 h 288"/>
                <a:gd name="T32" fmla="*/ 25 w 168"/>
                <a:gd name="T33" fmla="*/ 248 h 288"/>
                <a:gd name="T34" fmla="*/ 25 w 168"/>
                <a:gd name="T35" fmla="*/ 200 h 288"/>
                <a:gd name="T36" fmla="*/ 33 w 168"/>
                <a:gd name="T37" fmla="*/ 176 h 288"/>
                <a:gd name="T38" fmla="*/ 25 w 168"/>
                <a:gd name="T39" fmla="*/ 160 h 288"/>
                <a:gd name="T40" fmla="*/ 33 w 168"/>
                <a:gd name="T41" fmla="*/ 136 h 288"/>
                <a:gd name="T42" fmla="*/ 33 w 168"/>
                <a:gd name="T43" fmla="*/ 112 h 288"/>
                <a:gd name="T44" fmla="*/ 25 w 168"/>
                <a:gd name="T45" fmla="*/ 80 h 288"/>
                <a:gd name="T46" fmla="*/ 0 w 168"/>
                <a:gd name="T47" fmla="*/ 72 h 288"/>
                <a:gd name="T48" fmla="*/ 0 w 168"/>
                <a:gd name="T49" fmla="*/ 40 h 28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68" h="288">
                  <a:moveTo>
                    <a:pt x="0" y="40"/>
                  </a:moveTo>
                  <a:lnTo>
                    <a:pt x="33" y="48"/>
                  </a:lnTo>
                  <a:lnTo>
                    <a:pt x="59" y="40"/>
                  </a:lnTo>
                  <a:lnTo>
                    <a:pt x="101" y="8"/>
                  </a:lnTo>
                  <a:lnTo>
                    <a:pt x="109" y="0"/>
                  </a:lnTo>
                  <a:lnTo>
                    <a:pt x="143" y="16"/>
                  </a:lnTo>
                  <a:lnTo>
                    <a:pt x="143" y="32"/>
                  </a:lnTo>
                  <a:lnTo>
                    <a:pt x="168" y="96"/>
                  </a:lnTo>
                  <a:lnTo>
                    <a:pt x="151" y="120"/>
                  </a:lnTo>
                  <a:lnTo>
                    <a:pt x="168" y="152"/>
                  </a:lnTo>
                  <a:lnTo>
                    <a:pt x="143" y="256"/>
                  </a:lnTo>
                  <a:lnTo>
                    <a:pt x="117" y="248"/>
                  </a:lnTo>
                  <a:lnTo>
                    <a:pt x="92" y="248"/>
                  </a:lnTo>
                  <a:lnTo>
                    <a:pt x="84" y="264"/>
                  </a:lnTo>
                  <a:lnTo>
                    <a:pt x="67" y="280"/>
                  </a:lnTo>
                  <a:lnTo>
                    <a:pt x="42" y="288"/>
                  </a:lnTo>
                  <a:lnTo>
                    <a:pt x="25" y="248"/>
                  </a:lnTo>
                  <a:lnTo>
                    <a:pt x="25" y="200"/>
                  </a:lnTo>
                  <a:lnTo>
                    <a:pt x="33" y="176"/>
                  </a:lnTo>
                  <a:lnTo>
                    <a:pt x="25" y="160"/>
                  </a:lnTo>
                  <a:lnTo>
                    <a:pt x="33" y="136"/>
                  </a:lnTo>
                  <a:lnTo>
                    <a:pt x="33" y="112"/>
                  </a:lnTo>
                  <a:lnTo>
                    <a:pt x="25" y="80"/>
                  </a:lnTo>
                  <a:lnTo>
                    <a:pt x="0" y="72"/>
                  </a:lnTo>
                  <a:lnTo>
                    <a:pt x="0" y="4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8" name="Freeform 25"/>
            <p:cNvSpPr>
              <a:spLocks/>
            </p:cNvSpPr>
            <p:nvPr>
              <p:custDataLst>
                <p:tags r:id="rId24"/>
              </p:custDataLst>
            </p:nvPr>
          </p:nvSpPr>
          <p:spPr bwMode="auto">
            <a:xfrm>
              <a:off x="5286" y="4200"/>
              <a:ext cx="311" cy="72"/>
            </a:xfrm>
            <a:custGeom>
              <a:avLst/>
              <a:gdLst>
                <a:gd name="T0" fmla="*/ 0 w 311"/>
                <a:gd name="T1" fmla="*/ 24 h 72"/>
                <a:gd name="T2" fmla="*/ 8 w 311"/>
                <a:gd name="T3" fmla="*/ 56 h 72"/>
                <a:gd name="T4" fmla="*/ 33 w 311"/>
                <a:gd name="T5" fmla="*/ 64 h 72"/>
                <a:gd name="T6" fmla="*/ 67 w 311"/>
                <a:gd name="T7" fmla="*/ 64 h 72"/>
                <a:gd name="T8" fmla="*/ 126 w 311"/>
                <a:gd name="T9" fmla="*/ 56 h 72"/>
                <a:gd name="T10" fmla="*/ 143 w 311"/>
                <a:gd name="T11" fmla="*/ 56 h 72"/>
                <a:gd name="T12" fmla="*/ 143 w 311"/>
                <a:gd name="T13" fmla="*/ 72 h 72"/>
                <a:gd name="T14" fmla="*/ 193 w 311"/>
                <a:gd name="T15" fmla="*/ 72 h 72"/>
                <a:gd name="T16" fmla="*/ 219 w 311"/>
                <a:gd name="T17" fmla="*/ 56 h 72"/>
                <a:gd name="T18" fmla="*/ 252 w 311"/>
                <a:gd name="T19" fmla="*/ 56 h 72"/>
                <a:gd name="T20" fmla="*/ 278 w 311"/>
                <a:gd name="T21" fmla="*/ 40 h 72"/>
                <a:gd name="T22" fmla="*/ 311 w 311"/>
                <a:gd name="T23" fmla="*/ 32 h 72"/>
                <a:gd name="T24" fmla="*/ 311 w 311"/>
                <a:gd name="T25" fmla="*/ 0 h 72"/>
                <a:gd name="T26" fmla="*/ 286 w 311"/>
                <a:gd name="T27" fmla="*/ 16 h 72"/>
                <a:gd name="T28" fmla="*/ 269 w 311"/>
                <a:gd name="T29" fmla="*/ 24 h 72"/>
                <a:gd name="T30" fmla="*/ 252 w 311"/>
                <a:gd name="T31" fmla="*/ 24 h 72"/>
                <a:gd name="T32" fmla="*/ 244 w 311"/>
                <a:gd name="T33" fmla="*/ 8 h 72"/>
                <a:gd name="T34" fmla="*/ 219 w 311"/>
                <a:gd name="T35" fmla="*/ 16 h 72"/>
                <a:gd name="T36" fmla="*/ 168 w 311"/>
                <a:gd name="T37" fmla="*/ 24 h 72"/>
                <a:gd name="T38" fmla="*/ 168 w 311"/>
                <a:gd name="T39" fmla="*/ 8 h 72"/>
                <a:gd name="T40" fmla="*/ 84 w 311"/>
                <a:gd name="T41" fmla="*/ 40 h 72"/>
                <a:gd name="T42" fmla="*/ 75 w 311"/>
                <a:gd name="T43" fmla="*/ 16 h 72"/>
                <a:gd name="T44" fmla="*/ 59 w 311"/>
                <a:gd name="T45" fmla="*/ 8 h 72"/>
                <a:gd name="T46" fmla="*/ 59 w 311"/>
                <a:gd name="T47" fmla="*/ 24 h 72"/>
                <a:gd name="T48" fmla="*/ 33 w 311"/>
                <a:gd name="T49" fmla="*/ 24 h 72"/>
                <a:gd name="T50" fmla="*/ 16 w 311"/>
                <a:gd name="T51" fmla="*/ 0 h 72"/>
                <a:gd name="T52" fmla="*/ 16 w 311"/>
                <a:gd name="T53" fmla="*/ 16 h 72"/>
                <a:gd name="T54" fmla="*/ 0 w 311"/>
                <a:gd name="T55" fmla="*/ 24 h 7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11" h="72">
                  <a:moveTo>
                    <a:pt x="0" y="24"/>
                  </a:moveTo>
                  <a:lnTo>
                    <a:pt x="8" y="56"/>
                  </a:lnTo>
                  <a:lnTo>
                    <a:pt x="33" y="64"/>
                  </a:lnTo>
                  <a:lnTo>
                    <a:pt x="67" y="64"/>
                  </a:lnTo>
                  <a:lnTo>
                    <a:pt x="126" y="56"/>
                  </a:lnTo>
                  <a:lnTo>
                    <a:pt x="143" y="56"/>
                  </a:lnTo>
                  <a:lnTo>
                    <a:pt x="143" y="72"/>
                  </a:lnTo>
                  <a:lnTo>
                    <a:pt x="193" y="72"/>
                  </a:lnTo>
                  <a:lnTo>
                    <a:pt x="219" y="56"/>
                  </a:lnTo>
                  <a:lnTo>
                    <a:pt x="252" y="56"/>
                  </a:lnTo>
                  <a:lnTo>
                    <a:pt x="278" y="40"/>
                  </a:lnTo>
                  <a:lnTo>
                    <a:pt x="311" y="32"/>
                  </a:lnTo>
                  <a:lnTo>
                    <a:pt x="311" y="0"/>
                  </a:lnTo>
                  <a:lnTo>
                    <a:pt x="286" y="16"/>
                  </a:lnTo>
                  <a:lnTo>
                    <a:pt x="269" y="24"/>
                  </a:lnTo>
                  <a:lnTo>
                    <a:pt x="252" y="24"/>
                  </a:lnTo>
                  <a:lnTo>
                    <a:pt x="244" y="8"/>
                  </a:lnTo>
                  <a:lnTo>
                    <a:pt x="219" y="16"/>
                  </a:lnTo>
                  <a:lnTo>
                    <a:pt x="168" y="24"/>
                  </a:lnTo>
                  <a:lnTo>
                    <a:pt x="168" y="8"/>
                  </a:lnTo>
                  <a:lnTo>
                    <a:pt x="84" y="40"/>
                  </a:lnTo>
                  <a:lnTo>
                    <a:pt x="75" y="16"/>
                  </a:lnTo>
                  <a:lnTo>
                    <a:pt x="59" y="8"/>
                  </a:lnTo>
                  <a:lnTo>
                    <a:pt x="59" y="24"/>
                  </a:lnTo>
                  <a:lnTo>
                    <a:pt x="33" y="24"/>
                  </a:lnTo>
                  <a:lnTo>
                    <a:pt x="16" y="0"/>
                  </a:lnTo>
                  <a:lnTo>
                    <a:pt x="16" y="16"/>
                  </a:lnTo>
                  <a:lnTo>
                    <a:pt x="0" y="24"/>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9" name="Freeform 26"/>
            <p:cNvSpPr>
              <a:spLocks/>
            </p:cNvSpPr>
            <p:nvPr>
              <p:custDataLst>
                <p:tags r:id="rId25"/>
              </p:custDataLst>
            </p:nvPr>
          </p:nvSpPr>
          <p:spPr bwMode="auto">
            <a:xfrm>
              <a:off x="3584" y="3712"/>
              <a:ext cx="168" cy="288"/>
            </a:xfrm>
            <a:custGeom>
              <a:avLst/>
              <a:gdLst>
                <a:gd name="T0" fmla="*/ 0 w 168"/>
                <a:gd name="T1" fmla="*/ 40 h 288"/>
                <a:gd name="T2" fmla="*/ 33 w 168"/>
                <a:gd name="T3" fmla="*/ 48 h 288"/>
                <a:gd name="T4" fmla="*/ 59 w 168"/>
                <a:gd name="T5" fmla="*/ 40 h 288"/>
                <a:gd name="T6" fmla="*/ 101 w 168"/>
                <a:gd name="T7" fmla="*/ 8 h 288"/>
                <a:gd name="T8" fmla="*/ 109 w 168"/>
                <a:gd name="T9" fmla="*/ 0 h 288"/>
                <a:gd name="T10" fmla="*/ 143 w 168"/>
                <a:gd name="T11" fmla="*/ 16 h 288"/>
                <a:gd name="T12" fmla="*/ 143 w 168"/>
                <a:gd name="T13" fmla="*/ 32 h 288"/>
                <a:gd name="T14" fmla="*/ 168 w 168"/>
                <a:gd name="T15" fmla="*/ 96 h 288"/>
                <a:gd name="T16" fmla="*/ 151 w 168"/>
                <a:gd name="T17" fmla="*/ 120 h 288"/>
                <a:gd name="T18" fmla="*/ 168 w 168"/>
                <a:gd name="T19" fmla="*/ 152 h 288"/>
                <a:gd name="T20" fmla="*/ 143 w 168"/>
                <a:gd name="T21" fmla="*/ 256 h 288"/>
                <a:gd name="T22" fmla="*/ 117 w 168"/>
                <a:gd name="T23" fmla="*/ 248 h 288"/>
                <a:gd name="T24" fmla="*/ 92 w 168"/>
                <a:gd name="T25" fmla="*/ 248 h 288"/>
                <a:gd name="T26" fmla="*/ 84 w 168"/>
                <a:gd name="T27" fmla="*/ 264 h 288"/>
                <a:gd name="T28" fmla="*/ 67 w 168"/>
                <a:gd name="T29" fmla="*/ 280 h 288"/>
                <a:gd name="T30" fmla="*/ 42 w 168"/>
                <a:gd name="T31" fmla="*/ 288 h 288"/>
                <a:gd name="T32" fmla="*/ 25 w 168"/>
                <a:gd name="T33" fmla="*/ 248 h 288"/>
                <a:gd name="T34" fmla="*/ 25 w 168"/>
                <a:gd name="T35" fmla="*/ 200 h 288"/>
                <a:gd name="T36" fmla="*/ 33 w 168"/>
                <a:gd name="T37" fmla="*/ 176 h 288"/>
                <a:gd name="T38" fmla="*/ 25 w 168"/>
                <a:gd name="T39" fmla="*/ 160 h 288"/>
                <a:gd name="T40" fmla="*/ 33 w 168"/>
                <a:gd name="T41" fmla="*/ 136 h 288"/>
                <a:gd name="T42" fmla="*/ 33 w 168"/>
                <a:gd name="T43" fmla="*/ 112 h 288"/>
                <a:gd name="T44" fmla="*/ 25 w 168"/>
                <a:gd name="T45" fmla="*/ 80 h 288"/>
                <a:gd name="T46" fmla="*/ 0 w 168"/>
                <a:gd name="T47" fmla="*/ 72 h 288"/>
                <a:gd name="T48" fmla="*/ 0 w 168"/>
                <a:gd name="T49" fmla="*/ 40 h 28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68" h="288">
                  <a:moveTo>
                    <a:pt x="0" y="40"/>
                  </a:moveTo>
                  <a:lnTo>
                    <a:pt x="33" y="48"/>
                  </a:lnTo>
                  <a:lnTo>
                    <a:pt x="59" y="40"/>
                  </a:lnTo>
                  <a:lnTo>
                    <a:pt x="101" y="8"/>
                  </a:lnTo>
                  <a:lnTo>
                    <a:pt x="109" y="0"/>
                  </a:lnTo>
                  <a:lnTo>
                    <a:pt x="143" y="16"/>
                  </a:lnTo>
                  <a:lnTo>
                    <a:pt x="143" y="32"/>
                  </a:lnTo>
                  <a:lnTo>
                    <a:pt x="168" y="96"/>
                  </a:lnTo>
                  <a:lnTo>
                    <a:pt x="151" y="120"/>
                  </a:lnTo>
                  <a:lnTo>
                    <a:pt x="168" y="152"/>
                  </a:lnTo>
                  <a:lnTo>
                    <a:pt x="143" y="256"/>
                  </a:lnTo>
                  <a:lnTo>
                    <a:pt x="117" y="248"/>
                  </a:lnTo>
                  <a:lnTo>
                    <a:pt x="92" y="248"/>
                  </a:lnTo>
                  <a:lnTo>
                    <a:pt x="84" y="264"/>
                  </a:lnTo>
                  <a:lnTo>
                    <a:pt x="67" y="280"/>
                  </a:lnTo>
                  <a:lnTo>
                    <a:pt x="42" y="288"/>
                  </a:lnTo>
                  <a:lnTo>
                    <a:pt x="25" y="248"/>
                  </a:lnTo>
                  <a:lnTo>
                    <a:pt x="25" y="200"/>
                  </a:lnTo>
                  <a:lnTo>
                    <a:pt x="33" y="176"/>
                  </a:lnTo>
                  <a:lnTo>
                    <a:pt x="25" y="160"/>
                  </a:lnTo>
                  <a:lnTo>
                    <a:pt x="33" y="136"/>
                  </a:lnTo>
                  <a:lnTo>
                    <a:pt x="33" y="112"/>
                  </a:lnTo>
                  <a:lnTo>
                    <a:pt x="25" y="80"/>
                  </a:lnTo>
                  <a:lnTo>
                    <a:pt x="0" y="72"/>
                  </a:lnTo>
                  <a:lnTo>
                    <a:pt x="0" y="40"/>
                  </a:lnTo>
                  <a:close/>
                </a:path>
              </a:pathLst>
            </a:custGeom>
            <a:solidFill>
              <a:srgbClr val="6DBACE"/>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0" name="Freeform 27"/>
            <p:cNvSpPr>
              <a:spLocks/>
            </p:cNvSpPr>
            <p:nvPr>
              <p:custDataLst>
                <p:tags r:id="rId26"/>
              </p:custDataLst>
            </p:nvPr>
          </p:nvSpPr>
          <p:spPr bwMode="auto">
            <a:xfrm>
              <a:off x="3626" y="3496"/>
              <a:ext cx="101" cy="192"/>
            </a:xfrm>
            <a:custGeom>
              <a:avLst/>
              <a:gdLst>
                <a:gd name="T0" fmla="*/ 75 w 101"/>
                <a:gd name="T1" fmla="*/ 32 h 192"/>
                <a:gd name="T2" fmla="*/ 75 w 101"/>
                <a:gd name="T3" fmla="*/ 0 h 192"/>
                <a:gd name="T4" fmla="*/ 92 w 101"/>
                <a:gd name="T5" fmla="*/ 0 h 192"/>
                <a:gd name="T6" fmla="*/ 92 w 101"/>
                <a:gd name="T7" fmla="*/ 40 h 192"/>
                <a:gd name="T8" fmla="*/ 101 w 101"/>
                <a:gd name="T9" fmla="*/ 56 h 192"/>
                <a:gd name="T10" fmla="*/ 101 w 101"/>
                <a:gd name="T11" fmla="*/ 104 h 192"/>
                <a:gd name="T12" fmla="*/ 92 w 101"/>
                <a:gd name="T13" fmla="*/ 120 h 192"/>
                <a:gd name="T14" fmla="*/ 92 w 101"/>
                <a:gd name="T15" fmla="*/ 152 h 192"/>
                <a:gd name="T16" fmla="*/ 67 w 101"/>
                <a:gd name="T17" fmla="*/ 192 h 192"/>
                <a:gd name="T18" fmla="*/ 50 w 101"/>
                <a:gd name="T19" fmla="*/ 192 h 192"/>
                <a:gd name="T20" fmla="*/ 25 w 101"/>
                <a:gd name="T21" fmla="*/ 176 h 192"/>
                <a:gd name="T22" fmla="*/ 33 w 101"/>
                <a:gd name="T23" fmla="*/ 160 h 192"/>
                <a:gd name="T24" fmla="*/ 17 w 101"/>
                <a:gd name="T25" fmla="*/ 152 h 192"/>
                <a:gd name="T26" fmla="*/ 33 w 101"/>
                <a:gd name="T27" fmla="*/ 136 h 192"/>
                <a:gd name="T28" fmla="*/ 8 w 101"/>
                <a:gd name="T29" fmla="*/ 128 h 192"/>
                <a:gd name="T30" fmla="*/ 25 w 101"/>
                <a:gd name="T31" fmla="*/ 112 h 192"/>
                <a:gd name="T32" fmla="*/ 8 w 101"/>
                <a:gd name="T33" fmla="*/ 96 h 192"/>
                <a:gd name="T34" fmla="*/ 0 w 101"/>
                <a:gd name="T35" fmla="*/ 72 h 192"/>
                <a:gd name="T36" fmla="*/ 17 w 101"/>
                <a:gd name="T37" fmla="*/ 64 h 192"/>
                <a:gd name="T38" fmla="*/ 17 w 101"/>
                <a:gd name="T39" fmla="*/ 48 h 192"/>
                <a:gd name="T40" fmla="*/ 42 w 101"/>
                <a:gd name="T41" fmla="*/ 40 h 192"/>
                <a:gd name="T42" fmla="*/ 75 w 101"/>
                <a:gd name="T43" fmla="*/ 32 h 19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01" h="192">
                  <a:moveTo>
                    <a:pt x="75" y="32"/>
                  </a:moveTo>
                  <a:lnTo>
                    <a:pt x="75" y="0"/>
                  </a:lnTo>
                  <a:lnTo>
                    <a:pt x="92" y="0"/>
                  </a:lnTo>
                  <a:lnTo>
                    <a:pt x="92" y="40"/>
                  </a:lnTo>
                  <a:lnTo>
                    <a:pt x="101" y="56"/>
                  </a:lnTo>
                  <a:lnTo>
                    <a:pt x="101" y="104"/>
                  </a:lnTo>
                  <a:lnTo>
                    <a:pt x="92" y="120"/>
                  </a:lnTo>
                  <a:lnTo>
                    <a:pt x="92" y="152"/>
                  </a:lnTo>
                  <a:lnTo>
                    <a:pt x="67" y="192"/>
                  </a:lnTo>
                  <a:lnTo>
                    <a:pt x="50" y="192"/>
                  </a:lnTo>
                  <a:lnTo>
                    <a:pt x="25" y="176"/>
                  </a:lnTo>
                  <a:lnTo>
                    <a:pt x="33" y="160"/>
                  </a:lnTo>
                  <a:lnTo>
                    <a:pt x="17" y="152"/>
                  </a:lnTo>
                  <a:lnTo>
                    <a:pt x="33" y="136"/>
                  </a:lnTo>
                  <a:lnTo>
                    <a:pt x="8" y="128"/>
                  </a:lnTo>
                  <a:lnTo>
                    <a:pt x="25" y="112"/>
                  </a:lnTo>
                  <a:lnTo>
                    <a:pt x="8" y="96"/>
                  </a:lnTo>
                  <a:lnTo>
                    <a:pt x="0" y="72"/>
                  </a:lnTo>
                  <a:lnTo>
                    <a:pt x="17" y="64"/>
                  </a:lnTo>
                  <a:lnTo>
                    <a:pt x="17" y="48"/>
                  </a:lnTo>
                  <a:lnTo>
                    <a:pt x="42" y="40"/>
                  </a:lnTo>
                  <a:lnTo>
                    <a:pt x="75" y="3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1" name="Freeform 28"/>
            <p:cNvSpPr>
              <a:spLocks/>
            </p:cNvSpPr>
            <p:nvPr>
              <p:custDataLst>
                <p:tags r:id="rId27"/>
              </p:custDataLst>
            </p:nvPr>
          </p:nvSpPr>
          <p:spPr bwMode="auto">
            <a:xfrm>
              <a:off x="3626" y="3496"/>
              <a:ext cx="101" cy="192"/>
            </a:xfrm>
            <a:custGeom>
              <a:avLst/>
              <a:gdLst>
                <a:gd name="T0" fmla="*/ 75 w 101"/>
                <a:gd name="T1" fmla="*/ 32 h 192"/>
                <a:gd name="T2" fmla="*/ 75 w 101"/>
                <a:gd name="T3" fmla="*/ 0 h 192"/>
                <a:gd name="T4" fmla="*/ 92 w 101"/>
                <a:gd name="T5" fmla="*/ 0 h 192"/>
                <a:gd name="T6" fmla="*/ 92 w 101"/>
                <a:gd name="T7" fmla="*/ 40 h 192"/>
                <a:gd name="T8" fmla="*/ 101 w 101"/>
                <a:gd name="T9" fmla="*/ 56 h 192"/>
                <a:gd name="T10" fmla="*/ 101 w 101"/>
                <a:gd name="T11" fmla="*/ 104 h 192"/>
                <a:gd name="T12" fmla="*/ 92 w 101"/>
                <a:gd name="T13" fmla="*/ 120 h 192"/>
                <a:gd name="T14" fmla="*/ 92 w 101"/>
                <a:gd name="T15" fmla="*/ 152 h 192"/>
                <a:gd name="T16" fmla="*/ 67 w 101"/>
                <a:gd name="T17" fmla="*/ 192 h 192"/>
                <a:gd name="T18" fmla="*/ 50 w 101"/>
                <a:gd name="T19" fmla="*/ 192 h 192"/>
                <a:gd name="T20" fmla="*/ 25 w 101"/>
                <a:gd name="T21" fmla="*/ 176 h 192"/>
                <a:gd name="T22" fmla="*/ 33 w 101"/>
                <a:gd name="T23" fmla="*/ 160 h 192"/>
                <a:gd name="T24" fmla="*/ 17 w 101"/>
                <a:gd name="T25" fmla="*/ 152 h 192"/>
                <a:gd name="T26" fmla="*/ 33 w 101"/>
                <a:gd name="T27" fmla="*/ 136 h 192"/>
                <a:gd name="T28" fmla="*/ 8 w 101"/>
                <a:gd name="T29" fmla="*/ 128 h 192"/>
                <a:gd name="T30" fmla="*/ 25 w 101"/>
                <a:gd name="T31" fmla="*/ 112 h 192"/>
                <a:gd name="T32" fmla="*/ 8 w 101"/>
                <a:gd name="T33" fmla="*/ 96 h 192"/>
                <a:gd name="T34" fmla="*/ 0 w 101"/>
                <a:gd name="T35" fmla="*/ 72 h 192"/>
                <a:gd name="T36" fmla="*/ 17 w 101"/>
                <a:gd name="T37" fmla="*/ 64 h 192"/>
                <a:gd name="T38" fmla="*/ 17 w 101"/>
                <a:gd name="T39" fmla="*/ 48 h 192"/>
                <a:gd name="T40" fmla="*/ 42 w 101"/>
                <a:gd name="T41" fmla="*/ 40 h 192"/>
                <a:gd name="T42" fmla="*/ 75 w 101"/>
                <a:gd name="T43" fmla="*/ 32 h 19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01" h="192">
                  <a:moveTo>
                    <a:pt x="75" y="32"/>
                  </a:moveTo>
                  <a:lnTo>
                    <a:pt x="75" y="0"/>
                  </a:lnTo>
                  <a:lnTo>
                    <a:pt x="92" y="0"/>
                  </a:lnTo>
                  <a:lnTo>
                    <a:pt x="92" y="40"/>
                  </a:lnTo>
                  <a:lnTo>
                    <a:pt x="101" y="56"/>
                  </a:lnTo>
                  <a:lnTo>
                    <a:pt x="101" y="104"/>
                  </a:lnTo>
                  <a:lnTo>
                    <a:pt x="92" y="120"/>
                  </a:lnTo>
                  <a:lnTo>
                    <a:pt x="92" y="152"/>
                  </a:lnTo>
                  <a:lnTo>
                    <a:pt x="67" y="192"/>
                  </a:lnTo>
                  <a:lnTo>
                    <a:pt x="50" y="192"/>
                  </a:lnTo>
                  <a:lnTo>
                    <a:pt x="25" y="176"/>
                  </a:lnTo>
                  <a:lnTo>
                    <a:pt x="33" y="160"/>
                  </a:lnTo>
                  <a:lnTo>
                    <a:pt x="17" y="152"/>
                  </a:lnTo>
                  <a:lnTo>
                    <a:pt x="33" y="136"/>
                  </a:lnTo>
                  <a:lnTo>
                    <a:pt x="8" y="128"/>
                  </a:lnTo>
                  <a:lnTo>
                    <a:pt x="25" y="112"/>
                  </a:lnTo>
                  <a:lnTo>
                    <a:pt x="8" y="96"/>
                  </a:lnTo>
                  <a:lnTo>
                    <a:pt x="0" y="72"/>
                  </a:lnTo>
                  <a:lnTo>
                    <a:pt x="17" y="64"/>
                  </a:lnTo>
                  <a:lnTo>
                    <a:pt x="17" y="48"/>
                  </a:lnTo>
                  <a:lnTo>
                    <a:pt x="42" y="40"/>
                  </a:lnTo>
                  <a:lnTo>
                    <a:pt x="75" y="32"/>
                  </a:lnTo>
                  <a:close/>
                </a:path>
              </a:pathLst>
            </a:custGeom>
            <a:solidFill>
              <a:srgbClr val="6DBACE"/>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2" name="Freeform 31"/>
            <p:cNvSpPr>
              <a:spLocks/>
            </p:cNvSpPr>
            <p:nvPr>
              <p:custDataLst>
                <p:tags r:id="rId28"/>
              </p:custDataLst>
            </p:nvPr>
          </p:nvSpPr>
          <p:spPr bwMode="auto">
            <a:xfrm>
              <a:off x="3457" y="3008"/>
              <a:ext cx="1180" cy="1080"/>
            </a:xfrm>
            <a:custGeom>
              <a:avLst/>
              <a:gdLst>
                <a:gd name="T0" fmla="*/ 1121 w 1180"/>
                <a:gd name="T1" fmla="*/ 728 h 1080"/>
                <a:gd name="T2" fmla="*/ 1003 w 1180"/>
                <a:gd name="T3" fmla="*/ 672 h 1080"/>
                <a:gd name="T4" fmla="*/ 935 w 1180"/>
                <a:gd name="T5" fmla="*/ 616 h 1080"/>
                <a:gd name="T6" fmla="*/ 902 w 1180"/>
                <a:gd name="T7" fmla="*/ 584 h 1080"/>
                <a:gd name="T8" fmla="*/ 817 w 1180"/>
                <a:gd name="T9" fmla="*/ 592 h 1080"/>
                <a:gd name="T10" fmla="*/ 733 w 1180"/>
                <a:gd name="T11" fmla="*/ 528 h 1080"/>
                <a:gd name="T12" fmla="*/ 683 w 1180"/>
                <a:gd name="T13" fmla="*/ 448 h 1080"/>
                <a:gd name="T14" fmla="*/ 556 w 1180"/>
                <a:gd name="T15" fmla="*/ 344 h 1080"/>
                <a:gd name="T16" fmla="*/ 523 w 1180"/>
                <a:gd name="T17" fmla="*/ 280 h 1080"/>
                <a:gd name="T18" fmla="*/ 548 w 1180"/>
                <a:gd name="T19" fmla="*/ 240 h 1080"/>
                <a:gd name="T20" fmla="*/ 531 w 1180"/>
                <a:gd name="T21" fmla="*/ 216 h 1080"/>
                <a:gd name="T22" fmla="*/ 556 w 1180"/>
                <a:gd name="T23" fmla="*/ 184 h 1080"/>
                <a:gd name="T24" fmla="*/ 649 w 1180"/>
                <a:gd name="T25" fmla="*/ 144 h 1080"/>
                <a:gd name="T26" fmla="*/ 649 w 1180"/>
                <a:gd name="T27" fmla="*/ 56 h 1080"/>
                <a:gd name="T28" fmla="*/ 514 w 1180"/>
                <a:gd name="T29" fmla="*/ 0 h 1080"/>
                <a:gd name="T30" fmla="*/ 405 w 1180"/>
                <a:gd name="T31" fmla="*/ 40 h 1080"/>
                <a:gd name="T32" fmla="*/ 354 w 1180"/>
                <a:gd name="T33" fmla="*/ 64 h 1080"/>
                <a:gd name="T34" fmla="*/ 295 w 1180"/>
                <a:gd name="T35" fmla="*/ 80 h 1080"/>
                <a:gd name="T36" fmla="*/ 228 w 1180"/>
                <a:gd name="T37" fmla="*/ 152 h 1080"/>
                <a:gd name="T38" fmla="*/ 118 w 1180"/>
                <a:gd name="T39" fmla="*/ 136 h 1080"/>
                <a:gd name="T40" fmla="*/ 42 w 1180"/>
                <a:gd name="T41" fmla="*/ 208 h 1080"/>
                <a:gd name="T42" fmla="*/ 25 w 1180"/>
                <a:gd name="T43" fmla="*/ 272 h 1080"/>
                <a:gd name="T44" fmla="*/ 93 w 1180"/>
                <a:gd name="T45" fmla="*/ 352 h 1080"/>
                <a:gd name="T46" fmla="*/ 93 w 1180"/>
                <a:gd name="T47" fmla="*/ 392 h 1080"/>
                <a:gd name="T48" fmla="*/ 160 w 1180"/>
                <a:gd name="T49" fmla="*/ 344 h 1080"/>
                <a:gd name="T50" fmla="*/ 202 w 1180"/>
                <a:gd name="T51" fmla="*/ 320 h 1080"/>
                <a:gd name="T52" fmla="*/ 261 w 1180"/>
                <a:gd name="T53" fmla="*/ 352 h 1080"/>
                <a:gd name="T54" fmla="*/ 312 w 1180"/>
                <a:gd name="T55" fmla="*/ 368 h 1080"/>
                <a:gd name="T56" fmla="*/ 337 w 1180"/>
                <a:gd name="T57" fmla="*/ 424 h 1080"/>
                <a:gd name="T58" fmla="*/ 371 w 1180"/>
                <a:gd name="T59" fmla="*/ 496 h 1080"/>
                <a:gd name="T60" fmla="*/ 430 w 1180"/>
                <a:gd name="T61" fmla="*/ 552 h 1080"/>
                <a:gd name="T62" fmla="*/ 497 w 1180"/>
                <a:gd name="T63" fmla="*/ 592 h 1080"/>
                <a:gd name="T64" fmla="*/ 607 w 1180"/>
                <a:gd name="T65" fmla="*/ 680 h 1080"/>
                <a:gd name="T66" fmla="*/ 649 w 1180"/>
                <a:gd name="T67" fmla="*/ 688 h 1080"/>
                <a:gd name="T68" fmla="*/ 742 w 1180"/>
                <a:gd name="T69" fmla="*/ 744 h 1080"/>
                <a:gd name="T70" fmla="*/ 775 w 1180"/>
                <a:gd name="T71" fmla="*/ 752 h 1080"/>
                <a:gd name="T72" fmla="*/ 809 w 1180"/>
                <a:gd name="T73" fmla="*/ 768 h 1080"/>
                <a:gd name="T74" fmla="*/ 851 w 1180"/>
                <a:gd name="T75" fmla="*/ 824 h 1080"/>
                <a:gd name="T76" fmla="*/ 927 w 1180"/>
                <a:gd name="T77" fmla="*/ 856 h 1080"/>
                <a:gd name="T78" fmla="*/ 978 w 1180"/>
                <a:gd name="T79" fmla="*/ 984 h 1080"/>
                <a:gd name="T80" fmla="*/ 935 w 1180"/>
                <a:gd name="T81" fmla="*/ 1000 h 1080"/>
                <a:gd name="T82" fmla="*/ 927 w 1180"/>
                <a:gd name="T83" fmla="*/ 1040 h 1080"/>
                <a:gd name="T84" fmla="*/ 935 w 1180"/>
                <a:gd name="T85" fmla="*/ 1072 h 1080"/>
                <a:gd name="T86" fmla="*/ 978 w 1180"/>
                <a:gd name="T87" fmla="*/ 1072 h 1080"/>
                <a:gd name="T88" fmla="*/ 1011 w 1180"/>
                <a:gd name="T89" fmla="*/ 1000 h 1080"/>
                <a:gd name="T90" fmla="*/ 1070 w 1180"/>
                <a:gd name="T91" fmla="*/ 952 h 1080"/>
                <a:gd name="T92" fmla="*/ 1053 w 1180"/>
                <a:gd name="T93" fmla="*/ 888 h 1080"/>
                <a:gd name="T94" fmla="*/ 1003 w 1180"/>
                <a:gd name="T95" fmla="*/ 864 h 1080"/>
                <a:gd name="T96" fmla="*/ 1011 w 1180"/>
                <a:gd name="T97" fmla="*/ 800 h 1080"/>
                <a:gd name="T98" fmla="*/ 1045 w 1180"/>
                <a:gd name="T99" fmla="*/ 768 h 1080"/>
                <a:gd name="T100" fmla="*/ 1146 w 1180"/>
                <a:gd name="T101" fmla="*/ 792 h 1080"/>
                <a:gd name="T102" fmla="*/ 1180 w 1180"/>
                <a:gd name="T103" fmla="*/ 784 h 108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180" h="1080">
                  <a:moveTo>
                    <a:pt x="1155" y="752"/>
                  </a:moveTo>
                  <a:lnTo>
                    <a:pt x="1121" y="728"/>
                  </a:lnTo>
                  <a:lnTo>
                    <a:pt x="1087" y="712"/>
                  </a:lnTo>
                  <a:lnTo>
                    <a:pt x="1003" y="672"/>
                  </a:lnTo>
                  <a:lnTo>
                    <a:pt x="919" y="632"/>
                  </a:lnTo>
                  <a:lnTo>
                    <a:pt x="935" y="616"/>
                  </a:lnTo>
                  <a:lnTo>
                    <a:pt x="927" y="600"/>
                  </a:lnTo>
                  <a:lnTo>
                    <a:pt x="902" y="584"/>
                  </a:lnTo>
                  <a:lnTo>
                    <a:pt x="868" y="592"/>
                  </a:lnTo>
                  <a:lnTo>
                    <a:pt x="817" y="592"/>
                  </a:lnTo>
                  <a:lnTo>
                    <a:pt x="775" y="568"/>
                  </a:lnTo>
                  <a:lnTo>
                    <a:pt x="733" y="528"/>
                  </a:lnTo>
                  <a:lnTo>
                    <a:pt x="708" y="488"/>
                  </a:lnTo>
                  <a:lnTo>
                    <a:pt x="683" y="448"/>
                  </a:lnTo>
                  <a:lnTo>
                    <a:pt x="641" y="408"/>
                  </a:lnTo>
                  <a:lnTo>
                    <a:pt x="556" y="344"/>
                  </a:lnTo>
                  <a:lnTo>
                    <a:pt x="523" y="296"/>
                  </a:lnTo>
                  <a:lnTo>
                    <a:pt x="523" y="280"/>
                  </a:lnTo>
                  <a:lnTo>
                    <a:pt x="539" y="256"/>
                  </a:lnTo>
                  <a:lnTo>
                    <a:pt x="548" y="240"/>
                  </a:lnTo>
                  <a:lnTo>
                    <a:pt x="539" y="224"/>
                  </a:lnTo>
                  <a:lnTo>
                    <a:pt x="531" y="216"/>
                  </a:lnTo>
                  <a:lnTo>
                    <a:pt x="531" y="200"/>
                  </a:lnTo>
                  <a:lnTo>
                    <a:pt x="556" y="184"/>
                  </a:lnTo>
                  <a:lnTo>
                    <a:pt x="641" y="152"/>
                  </a:lnTo>
                  <a:lnTo>
                    <a:pt x="649" y="144"/>
                  </a:lnTo>
                  <a:lnTo>
                    <a:pt x="641" y="88"/>
                  </a:lnTo>
                  <a:lnTo>
                    <a:pt x="649" y="56"/>
                  </a:lnTo>
                  <a:lnTo>
                    <a:pt x="531" y="24"/>
                  </a:lnTo>
                  <a:lnTo>
                    <a:pt x="514" y="0"/>
                  </a:lnTo>
                  <a:lnTo>
                    <a:pt x="438" y="8"/>
                  </a:lnTo>
                  <a:lnTo>
                    <a:pt x="405" y="40"/>
                  </a:lnTo>
                  <a:lnTo>
                    <a:pt x="371" y="32"/>
                  </a:lnTo>
                  <a:lnTo>
                    <a:pt x="354" y="64"/>
                  </a:lnTo>
                  <a:lnTo>
                    <a:pt x="320" y="64"/>
                  </a:lnTo>
                  <a:lnTo>
                    <a:pt x="295" y="80"/>
                  </a:lnTo>
                  <a:lnTo>
                    <a:pt x="253" y="72"/>
                  </a:lnTo>
                  <a:lnTo>
                    <a:pt x="228" y="152"/>
                  </a:lnTo>
                  <a:lnTo>
                    <a:pt x="160" y="72"/>
                  </a:lnTo>
                  <a:lnTo>
                    <a:pt x="118" y="136"/>
                  </a:lnTo>
                  <a:lnTo>
                    <a:pt x="25" y="144"/>
                  </a:lnTo>
                  <a:lnTo>
                    <a:pt x="42" y="208"/>
                  </a:lnTo>
                  <a:lnTo>
                    <a:pt x="0" y="232"/>
                  </a:lnTo>
                  <a:lnTo>
                    <a:pt x="25" y="272"/>
                  </a:lnTo>
                  <a:lnTo>
                    <a:pt x="17" y="320"/>
                  </a:lnTo>
                  <a:lnTo>
                    <a:pt x="93" y="352"/>
                  </a:lnTo>
                  <a:lnTo>
                    <a:pt x="76" y="392"/>
                  </a:lnTo>
                  <a:lnTo>
                    <a:pt x="93" y="392"/>
                  </a:lnTo>
                  <a:lnTo>
                    <a:pt x="135" y="376"/>
                  </a:lnTo>
                  <a:lnTo>
                    <a:pt x="160" y="344"/>
                  </a:lnTo>
                  <a:lnTo>
                    <a:pt x="177" y="328"/>
                  </a:lnTo>
                  <a:lnTo>
                    <a:pt x="202" y="320"/>
                  </a:lnTo>
                  <a:lnTo>
                    <a:pt x="244" y="336"/>
                  </a:lnTo>
                  <a:lnTo>
                    <a:pt x="261" y="352"/>
                  </a:lnTo>
                  <a:lnTo>
                    <a:pt x="278" y="368"/>
                  </a:lnTo>
                  <a:lnTo>
                    <a:pt x="312" y="368"/>
                  </a:lnTo>
                  <a:lnTo>
                    <a:pt x="329" y="384"/>
                  </a:lnTo>
                  <a:lnTo>
                    <a:pt x="337" y="424"/>
                  </a:lnTo>
                  <a:lnTo>
                    <a:pt x="362" y="472"/>
                  </a:lnTo>
                  <a:lnTo>
                    <a:pt x="371" y="496"/>
                  </a:lnTo>
                  <a:lnTo>
                    <a:pt x="396" y="512"/>
                  </a:lnTo>
                  <a:lnTo>
                    <a:pt x="430" y="552"/>
                  </a:lnTo>
                  <a:lnTo>
                    <a:pt x="472" y="576"/>
                  </a:lnTo>
                  <a:lnTo>
                    <a:pt x="497" y="592"/>
                  </a:lnTo>
                  <a:lnTo>
                    <a:pt x="514" y="608"/>
                  </a:lnTo>
                  <a:lnTo>
                    <a:pt x="607" y="680"/>
                  </a:lnTo>
                  <a:lnTo>
                    <a:pt x="624" y="696"/>
                  </a:lnTo>
                  <a:lnTo>
                    <a:pt x="649" y="688"/>
                  </a:lnTo>
                  <a:lnTo>
                    <a:pt x="708" y="712"/>
                  </a:lnTo>
                  <a:lnTo>
                    <a:pt x="742" y="744"/>
                  </a:lnTo>
                  <a:lnTo>
                    <a:pt x="767" y="744"/>
                  </a:lnTo>
                  <a:lnTo>
                    <a:pt x="775" y="752"/>
                  </a:lnTo>
                  <a:lnTo>
                    <a:pt x="775" y="768"/>
                  </a:lnTo>
                  <a:lnTo>
                    <a:pt x="809" y="768"/>
                  </a:lnTo>
                  <a:lnTo>
                    <a:pt x="826" y="800"/>
                  </a:lnTo>
                  <a:lnTo>
                    <a:pt x="851" y="824"/>
                  </a:lnTo>
                  <a:lnTo>
                    <a:pt x="893" y="840"/>
                  </a:lnTo>
                  <a:lnTo>
                    <a:pt x="927" y="856"/>
                  </a:lnTo>
                  <a:lnTo>
                    <a:pt x="944" y="904"/>
                  </a:lnTo>
                  <a:lnTo>
                    <a:pt x="978" y="984"/>
                  </a:lnTo>
                  <a:lnTo>
                    <a:pt x="952" y="984"/>
                  </a:lnTo>
                  <a:lnTo>
                    <a:pt x="935" y="1000"/>
                  </a:lnTo>
                  <a:lnTo>
                    <a:pt x="935" y="1016"/>
                  </a:lnTo>
                  <a:lnTo>
                    <a:pt x="927" y="1040"/>
                  </a:lnTo>
                  <a:lnTo>
                    <a:pt x="919" y="1056"/>
                  </a:lnTo>
                  <a:lnTo>
                    <a:pt x="935" y="1072"/>
                  </a:lnTo>
                  <a:lnTo>
                    <a:pt x="952" y="1080"/>
                  </a:lnTo>
                  <a:lnTo>
                    <a:pt x="978" y="1072"/>
                  </a:lnTo>
                  <a:lnTo>
                    <a:pt x="994" y="1040"/>
                  </a:lnTo>
                  <a:lnTo>
                    <a:pt x="1011" y="1000"/>
                  </a:lnTo>
                  <a:lnTo>
                    <a:pt x="1028" y="960"/>
                  </a:lnTo>
                  <a:lnTo>
                    <a:pt x="1070" y="952"/>
                  </a:lnTo>
                  <a:lnTo>
                    <a:pt x="1070" y="904"/>
                  </a:lnTo>
                  <a:lnTo>
                    <a:pt x="1053" y="888"/>
                  </a:lnTo>
                  <a:lnTo>
                    <a:pt x="1028" y="880"/>
                  </a:lnTo>
                  <a:lnTo>
                    <a:pt x="1003" y="864"/>
                  </a:lnTo>
                  <a:lnTo>
                    <a:pt x="994" y="848"/>
                  </a:lnTo>
                  <a:lnTo>
                    <a:pt x="1011" y="800"/>
                  </a:lnTo>
                  <a:lnTo>
                    <a:pt x="1028" y="776"/>
                  </a:lnTo>
                  <a:lnTo>
                    <a:pt x="1045" y="768"/>
                  </a:lnTo>
                  <a:lnTo>
                    <a:pt x="1104" y="776"/>
                  </a:lnTo>
                  <a:lnTo>
                    <a:pt x="1146" y="792"/>
                  </a:lnTo>
                  <a:lnTo>
                    <a:pt x="1180" y="824"/>
                  </a:lnTo>
                  <a:lnTo>
                    <a:pt x="1180" y="784"/>
                  </a:lnTo>
                  <a:lnTo>
                    <a:pt x="1155" y="75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3" name="Freeform 32"/>
            <p:cNvSpPr>
              <a:spLocks/>
            </p:cNvSpPr>
            <p:nvPr>
              <p:custDataLst>
                <p:tags r:id="rId29"/>
              </p:custDataLst>
            </p:nvPr>
          </p:nvSpPr>
          <p:spPr bwMode="auto">
            <a:xfrm>
              <a:off x="2463" y="2496"/>
              <a:ext cx="1146" cy="1088"/>
            </a:xfrm>
            <a:custGeom>
              <a:avLst/>
              <a:gdLst>
                <a:gd name="T0" fmla="*/ 969 w 1146"/>
                <a:gd name="T1" fmla="*/ 600 h 1088"/>
                <a:gd name="T2" fmla="*/ 944 w 1146"/>
                <a:gd name="T3" fmla="*/ 584 h 1088"/>
                <a:gd name="T4" fmla="*/ 986 w 1146"/>
                <a:gd name="T5" fmla="*/ 520 h 1088"/>
                <a:gd name="T6" fmla="*/ 1019 w 1146"/>
                <a:gd name="T7" fmla="*/ 472 h 1088"/>
                <a:gd name="T8" fmla="*/ 1087 w 1146"/>
                <a:gd name="T9" fmla="*/ 448 h 1088"/>
                <a:gd name="T10" fmla="*/ 1112 w 1146"/>
                <a:gd name="T11" fmla="*/ 320 h 1088"/>
                <a:gd name="T12" fmla="*/ 1095 w 1146"/>
                <a:gd name="T13" fmla="*/ 272 h 1088"/>
                <a:gd name="T14" fmla="*/ 1011 w 1146"/>
                <a:gd name="T15" fmla="*/ 248 h 1088"/>
                <a:gd name="T16" fmla="*/ 927 w 1146"/>
                <a:gd name="T17" fmla="*/ 208 h 1088"/>
                <a:gd name="T18" fmla="*/ 851 w 1146"/>
                <a:gd name="T19" fmla="*/ 136 h 1088"/>
                <a:gd name="T20" fmla="*/ 809 w 1146"/>
                <a:gd name="T21" fmla="*/ 112 h 1088"/>
                <a:gd name="T22" fmla="*/ 767 w 1146"/>
                <a:gd name="T23" fmla="*/ 88 h 1088"/>
                <a:gd name="T24" fmla="*/ 708 w 1146"/>
                <a:gd name="T25" fmla="*/ 48 h 1088"/>
                <a:gd name="T26" fmla="*/ 666 w 1146"/>
                <a:gd name="T27" fmla="*/ 0 h 1088"/>
                <a:gd name="T28" fmla="*/ 598 w 1146"/>
                <a:gd name="T29" fmla="*/ 24 h 1088"/>
                <a:gd name="T30" fmla="*/ 564 w 1146"/>
                <a:gd name="T31" fmla="*/ 104 h 1088"/>
                <a:gd name="T32" fmla="*/ 489 w 1146"/>
                <a:gd name="T33" fmla="*/ 136 h 1088"/>
                <a:gd name="T34" fmla="*/ 455 w 1146"/>
                <a:gd name="T35" fmla="*/ 168 h 1088"/>
                <a:gd name="T36" fmla="*/ 413 w 1146"/>
                <a:gd name="T37" fmla="*/ 184 h 1088"/>
                <a:gd name="T38" fmla="*/ 345 w 1146"/>
                <a:gd name="T39" fmla="*/ 160 h 1088"/>
                <a:gd name="T40" fmla="*/ 269 w 1146"/>
                <a:gd name="T41" fmla="*/ 144 h 1088"/>
                <a:gd name="T42" fmla="*/ 303 w 1146"/>
                <a:gd name="T43" fmla="*/ 256 h 1088"/>
                <a:gd name="T44" fmla="*/ 211 w 1146"/>
                <a:gd name="T45" fmla="*/ 240 h 1088"/>
                <a:gd name="T46" fmla="*/ 177 w 1146"/>
                <a:gd name="T47" fmla="*/ 232 h 1088"/>
                <a:gd name="T48" fmla="*/ 126 w 1146"/>
                <a:gd name="T49" fmla="*/ 208 h 1088"/>
                <a:gd name="T50" fmla="*/ 84 w 1146"/>
                <a:gd name="T51" fmla="*/ 216 h 1088"/>
                <a:gd name="T52" fmla="*/ 8 w 1146"/>
                <a:gd name="T53" fmla="*/ 232 h 1088"/>
                <a:gd name="T54" fmla="*/ 8 w 1146"/>
                <a:gd name="T55" fmla="*/ 248 h 1088"/>
                <a:gd name="T56" fmla="*/ 25 w 1146"/>
                <a:gd name="T57" fmla="*/ 272 h 1088"/>
                <a:gd name="T58" fmla="*/ 17 w 1146"/>
                <a:gd name="T59" fmla="*/ 288 h 1088"/>
                <a:gd name="T60" fmla="*/ 42 w 1146"/>
                <a:gd name="T61" fmla="*/ 312 h 1088"/>
                <a:gd name="T62" fmla="*/ 109 w 1146"/>
                <a:gd name="T63" fmla="*/ 328 h 1088"/>
                <a:gd name="T64" fmla="*/ 160 w 1146"/>
                <a:gd name="T65" fmla="*/ 368 h 1088"/>
                <a:gd name="T66" fmla="*/ 194 w 1146"/>
                <a:gd name="T67" fmla="*/ 400 h 1088"/>
                <a:gd name="T68" fmla="*/ 211 w 1146"/>
                <a:gd name="T69" fmla="*/ 448 h 1088"/>
                <a:gd name="T70" fmla="*/ 269 w 1146"/>
                <a:gd name="T71" fmla="*/ 536 h 1088"/>
                <a:gd name="T72" fmla="*/ 278 w 1146"/>
                <a:gd name="T73" fmla="*/ 584 h 1088"/>
                <a:gd name="T74" fmla="*/ 295 w 1146"/>
                <a:gd name="T75" fmla="*/ 640 h 1088"/>
                <a:gd name="T76" fmla="*/ 236 w 1146"/>
                <a:gd name="T77" fmla="*/ 776 h 1088"/>
                <a:gd name="T78" fmla="*/ 177 w 1146"/>
                <a:gd name="T79" fmla="*/ 872 h 1088"/>
                <a:gd name="T80" fmla="*/ 160 w 1146"/>
                <a:gd name="T81" fmla="*/ 888 h 1088"/>
                <a:gd name="T82" fmla="*/ 244 w 1146"/>
                <a:gd name="T83" fmla="*/ 960 h 1088"/>
                <a:gd name="T84" fmla="*/ 320 w 1146"/>
                <a:gd name="T85" fmla="*/ 992 h 1088"/>
                <a:gd name="T86" fmla="*/ 396 w 1146"/>
                <a:gd name="T87" fmla="*/ 1024 h 1088"/>
                <a:gd name="T88" fmla="*/ 522 w 1146"/>
                <a:gd name="T89" fmla="*/ 1056 h 1088"/>
                <a:gd name="T90" fmla="*/ 607 w 1146"/>
                <a:gd name="T91" fmla="*/ 1088 h 1088"/>
                <a:gd name="T92" fmla="*/ 640 w 1146"/>
                <a:gd name="T93" fmla="*/ 1064 h 1088"/>
                <a:gd name="T94" fmla="*/ 632 w 1146"/>
                <a:gd name="T95" fmla="*/ 992 h 1088"/>
                <a:gd name="T96" fmla="*/ 682 w 1146"/>
                <a:gd name="T97" fmla="*/ 944 h 1088"/>
                <a:gd name="T98" fmla="*/ 750 w 1146"/>
                <a:gd name="T99" fmla="*/ 928 h 1088"/>
                <a:gd name="T100" fmla="*/ 876 w 1146"/>
                <a:gd name="T101" fmla="*/ 968 h 1088"/>
                <a:gd name="T102" fmla="*/ 944 w 1146"/>
                <a:gd name="T103" fmla="*/ 984 h 1088"/>
                <a:gd name="T104" fmla="*/ 969 w 1146"/>
                <a:gd name="T105" fmla="*/ 968 h 1088"/>
                <a:gd name="T106" fmla="*/ 1019 w 1146"/>
                <a:gd name="T107" fmla="*/ 928 h 1088"/>
                <a:gd name="T108" fmla="*/ 1087 w 1146"/>
                <a:gd name="T109" fmla="*/ 864 h 1088"/>
                <a:gd name="T110" fmla="*/ 1019 w 1146"/>
                <a:gd name="T111" fmla="*/ 784 h 1088"/>
                <a:gd name="T112" fmla="*/ 1036 w 1146"/>
                <a:gd name="T113" fmla="*/ 720 h 1088"/>
                <a:gd name="T114" fmla="*/ 1036 w 1146"/>
                <a:gd name="T115" fmla="*/ 656 h 1088"/>
                <a:gd name="T116" fmla="*/ 1011 w 1146"/>
                <a:gd name="T117" fmla="*/ 616 h 10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146" h="1088">
                  <a:moveTo>
                    <a:pt x="1011" y="616"/>
                  </a:moveTo>
                  <a:lnTo>
                    <a:pt x="969" y="600"/>
                  </a:lnTo>
                  <a:lnTo>
                    <a:pt x="935" y="616"/>
                  </a:lnTo>
                  <a:lnTo>
                    <a:pt x="944" y="584"/>
                  </a:lnTo>
                  <a:lnTo>
                    <a:pt x="977" y="544"/>
                  </a:lnTo>
                  <a:lnTo>
                    <a:pt x="986" y="520"/>
                  </a:lnTo>
                  <a:lnTo>
                    <a:pt x="1011" y="504"/>
                  </a:lnTo>
                  <a:lnTo>
                    <a:pt x="1019" y="472"/>
                  </a:lnTo>
                  <a:lnTo>
                    <a:pt x="1053" y="464"/>
                  </a:lnTo>
                  <a:lnTo>
                    <a:pt x="1087" y="448"/>
                  </a:lnTo>
                  <a:lnTo>
                    <a:pt x="1104" y="360"/>
                  </a:lnTo>
                  <a:lnTo>
                    <a:pt x="1112" y="320"/>
                  </a:lnTo>
                  <a:lnTo>
                    <a:pt x="1146" y="288"/>
                  </a:lnTo>
                  <a:lnTo>
                    <a:pt x="1095" y="272"/>
                  </a:lnTo>
                  <a:lnTo>
                    <a:pt x="1036" y="256"/>
                  </a:lnTo>
                  <a:lnTo>
                    <a:pt x="1011" y="248"/>
                  </a:lnTo>
                  <a:lnTo>
                    <a:pt x="986" y="216"/>
                  </a:lnTo>
                  <a:lnTo>
                    <a:pt x="927" y="208"/>
                  </a:lnTo>
                  <a:lnTo>
                    <a:pt x="868" y="168"/>
                  </a:lnTo>
                  <a:lnTo>
                    <a:pt x="851" y="136"/>
                  </a:lnTo>
                  <a:lnTo>
                    <a:pt x="809" y="144"/>
                  </a:lnTo>
                  <a:lnTo>
                    <a:pt x="809" y="112"/>
                  </a:lnTo>
                  <a:lnTo>
                    <a:pt x="767" y="96"/>
                  </a:lnTo>
                  <a:lnTo>
                    <a:pt x="767" y="88"/>
                  </a:lnTo>
                  <a:lnTo>
                    <a:pt x="733" y="72"/>
                  </a:lnTo>
                  <a:lnTo>
                    <a:pt x="708" y="48"/>
                  </a:lnTo>
                  <a:lnTo>
                    <a:pt x="682" y="16"/>
                  </a:lnTo>
                  <a:lnTo>
                    <a:pt x="666" y="0"/>
                  </a:lnTo>
                  <a:lnTo>
                    <a:pt x="623" y="8"/>
                  </a:lnTo>
                  <a:lnTo>
                    <a:pt x="598" y="24"/>
                  </a:lnTo>
                  <a:lnTo>
                    <a:pt x="581" y="88"/>
                  </a:lnTo>
                  <a:lnTo>
                    <a:pt x="564" y="104"/>
                  </a:lnTo>
                  <a:lnTo>
                    <a:pt x="539" y="120"/>
                  </a:lnTo>
                  <a:lnTo>
                    <a:pt x="489" y="136"/>
                  </a:lnTo>
                  <a:lnTo>
                    <a:pt x="463" y="144"/>
                  </a:lnTo>
                  <a:lnTo>
                    <a:pt x="455" y="168"/>
                  </a:lnTo>
                  <a:lnTo>
                    <a:pt x="446" y="184"/>
                  </a:lnTo>
                  <a:lnTo>
                    <a:pt x="413" y="184"/>
                  </a:lnTo>
                  <a:lnTo>
                    <a:pt x="362" y="168"/>
                  </a:lnTo>
                  <a:lnTo>
                    <a:pt x="345" y="160"/>
                  </a:lnTo>
                  <a:lnTo>
                    <a:pt x="328" y="144"/>
                  </a:lnTo>
                  <a:lnTo>
                    <a:pt x="269" y="144"/>
                  </a:lnTo>
                  <a:lnTo>
                    <a:pt x="295" y="200"/>
                  </a:lnTo>
                  <a:lnTo>
                    <a:pt x="303" y="256"/>
                  </a:lnTo>
                  <a:lnTo>
                    <a:pt x="253" y="248"/>
                  </a:lnTo>
                  <a:lnTo>
                    <a:pt x="211" y="240"/>
                  </a:lnTo>
                  <a:lnTo>
                    <a:pt x="194" y="248"/>
                  </a:lnTo>
                  <a:lnTo>
                    <a:pt x="177" y="232"/>
                  </a:lnTo>
                  <a:lnTo>
                    <a:pt x="152" y="208"/>
                  </a:lnTo>
                  <a:lnTo>
                    <a:pt x="126" y="208"/>
                  </a:lnTo>
                  <a:lnTo>
                    <a:pt x="109" y="216"/>
                  </a:lnTo>
                  <a:lnTo>
                    <a:pt x="84" y="216"/>
                  </a:lnTo>
                  <a:lnTo>
                    <a:pt x="34" y="216"/>
                  </a:lnTo>
                  <a:lnTo>
                    <a:pt x="8" y="232"/>
                  </a:lnTo>
                  <a:lnTo>
                    <a:pt x="0" y="240"/>
                  </a:lnTo>
                  <a:lnTo>
                    <a:pt x="8" y="248"/>
                  </a:lnTo>
                  <a:lnTo>
                    <a:pt x="50" y="272"/>
                  </a:lnTo>
                  <a:lnTo>
                    <a:pt x="25" y="272"/>
                  </a:lnTo>
                  <a:lnTo>
                    <a:pt x="17" y="280"/>
                  </a:lnTo>
                  <a:lnTo>
                    <a:pt x="17" y="288"/>
                  </a:lnTo>
                  <a:lnTo>
                    <a:pt x="25" y="304"/>
                  </a:lnTo>
                  <a:lnTo>
                    <a:pt x="42" y="312"/>
                  </a:lnTo>
                  <a:lnTo>
                    <a:pt x="76" y="320"/>
                  </a:lnTo>
                  <a:lnTo>
                    <a:pt x="109" y="328"/>
                  </a:lnTo>
                  <a:lnTo>
                    <a:pt x="135" y="352"/>
                  </a:lnTo>
                  <a:lnTo>
                    <a:pt x="160" y="368"/>
                  </a:lnTo>
                  <a:lnTo>
                    <a:pt x="185" y="376"/>
                  </a:lnTo>
                  <a:lnTo>
                    <a:pt x="194" y="400"/>
                  </a:lnTo>
                  <a:lnTo>
                    <a:pt x="219" y="424"/>
                  </a:lnTo>
                  <a:lnTo>
                    <a:pt x="211" y="448"/>
                  </a:lnTo>
                  <a:lnTo>
                    <a:pt x="244" y="512"/>
                  </a:lnTo>
                  <a:lnTo>
                    <a:pt x="269" y="536"/>
                  </a:lnTo>
                  <a:lnTo>
                    <a:pt x="286" y="560"/>
                  </a:lnTo>
                  <a:lnTo>
                    <a:pt x="278" y="584"/>
                  </a:lnTo>
                  <a:lnTo>
                    <a:pt x="253" y="592"/>
                  </a:lnTo>
                  <a:lnTo>
                    <a:pt x="295" y="640"/>
                  </a:lnTo>
                  <a:lnTo>
                    <a:pt x="269" y="632"/>
                  </a:lnTo>
                  <a:lnTo>
                    <a:pt x="236" y="776"/>
                  </a:lnTo>
                  <a:lnTo>
                    <a:pt x="202" y="848"/>
                  </a:lnTo>
                  <a:lnTo>
                    <a:pt x="177" y="872"/>
                  </a:lnTo>
                  <a:lnTo>
                    <a:pt x="143" y="880"/>
                  </a:lnTo>
                  <a:lnTo>
                    <a:pt x="160" y="888"/>
                  </a:lnTo>
                  <a:lnTo>
                    <a:pt x="211" y="928"/>
                  </a:lnTo>
                  <a:lnTo>
                    <a:pt x="244" y="960"/>
                  </a:lnTo>
                  <a:lnTo>
                    <a:pt x="278" y="968"/>
                  </a:lnTo>
                  <a:lnTo>
                    <a:pt x="320" y="992"/>
                  </a:lnTo>
                  <a:lnTo>
                    <a:pt x="337" y="1016"/>
                  </a:lnTo>
                  <a:lnTo>
                    <a:pt x="396" y="1024"/>
                  </a:lnTo>
                  <a:lnTo>
                    <a:pt x="463" y="1032"/>
                  </a:lnTo>
                  <a:lnTo>
                    <a:pt x="522" y="1056"/>
                  </a:lnTo>
                  <a:lnTo>
                    <a:pt x="581" y="1072"/>
                  </a:lnTo>
                  <a:lnTo>
                    <a:pt x="607" y="1088"/>
                  </a:lnTo>
                  <a:lnTo>
                    <a:pt x="632" y="1080"/>
                  </a:lnTo>
                  <a:lnTo>
                    <a:pt x="640" y="1064"/>
                  </a:lnTo>
                  <a:lnTo>
                    <a:pt x="623" y="1032"/>
                  </a:lnTo>
                  <a:lnTo>
                    <a:pt x="632" y="992"/>
                  </a:lnTo>
                  <a:lnTo>
                    <a:pt x="649" y="968"/>
                  </a:lnTo>
                  <a:lnTo>
                    <a:pt x="682" y="944"/>
                  </a:lnTo>
                  <a:lnTo>
                    <a:pt x="716" y="928"/>
                  </a:lnTo>
                  <a:lnTo>
                    <a:pt x="750" y="928"/>
                  </a:lnTo>
                  <a:lnTo>
                    <a:pt x="842" y="952"/>
                  </a:lnTo>
                  <a:lnTo>
                    <a:pt x="876" y="968"/>
                  </a:lnTo>
                  <a:lnTo>
                    <a:pt x="910" y="984"/>
                  </a:lnTo>
                  <a:lnTo>
                    <a:pt x="944" y="984"/>
                  </a:lnTo>
                  <a:lnTo>
                    <a:pt x="960" y="976"/>
                  </a:lnTo>
                  <a:lnTo>
                    <a:pt x="969" y="968"/>
                  </a:lnTo>
                  <a:lnTo>
                    <a:pt x="977" y="960"/>
                  </a:lnTo>
                  <a:lnTo>
                    <a:pt x="1019" y="928"/>
                  </a:lnTo>
                  <a:lnTo>
                    <a:pt x="1070" y="904"/>
                  </a:lnTo>
                  <a:lnTo>
                    <a:pt x="1087" y="864"/>
                  </a:lnTo>
                  <a:lnTo>
                    <a:pt x="1011" y="832"/>
                  </a:lnTo>
                  <a:lnTo>
                    <a:pt x="1019" y="784"/>
                  </a:lnTo>
                  <a:lnTo>
                    <a:pt x="994" y="744"/>
                  </a:lnTo>
                  <a:lnTo>
                    <a:pt x="1036" y="720"/>
                  </a:lnTo>
                  <a:lnTo>
                    <a:pt x="1019" y="656"/>
                  </a:lnTo>
                  <a:lnTo>
                    <a:pt x="1036" y="656"/>
                  </a:lnTo>
                  <a:lnTo>
                    <a:pt x="1019" y="632"/>
                  </a:lnTo>
                  <a:lnTo>
                    <a:pt x="1011" y="616"/>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4" name="Freeform 33"/>
            <p:cNvSpPr>
              <a:spLocks/>
            </p:cNvSpPr>
            <p:nvPr>
              <p:custDataLst>
                <p:tags r:id="rId30"/>
              </p:custDataLst>
            </p:nvPr>
          </p:nvSpPr>
          <p:spPr bwMode="auto">
            <a:xfrm>
              <a:off x="3457" y="3008"/>
              <a:ext cx="1180" cy="1080"/>
            </a:xfrm>
            <a:custGeom>
              <a:avLst/>
              <a:gdLst>
                <a:gd name="T0" fmla="*/ 1121 w 1180"/>
                <a:gd name="T1" fmla="*/ 728 h 1080"/>
                <a:gd name="T2" fmla="*/ 1003 w 1180"/>
                <a:gd name="T3" fmla="*/ 672 h 1080"/>
                <a:gd name="T4" fmla="*/ 935 w 1180"/>
                <a:gd name="T5" fmla="*/ 616 h 1080"/>
                <a:gd name="T6" fmla="*/ 902 w 1180"/>
                <a:gd name="T7" fmla="*/ 584 h 1080"/>
                <a:gd name="T8" fmla="*/ 817 w 1180"/>
                <a:gd name="T9" fmla="*/ 592 h 1080"/>
                <a:gd name="T10" fmla="*/ 733 w 1180"/>
                <a:gd name="T11" fmla="*/ 528 h 1080"/>
                <a:gd name="T12" fmla="*/ 683 w 1180"/>
                <a:gd name="T13" fmla="*/ 448 h 1080"/>
                <a:gd name="T14" fmla="*/ 556 w 1180"/>
                <a:gd name="T15" fmla="*/ 344 h 1080"/>
                <a:gd name="T16" fmla="*/ 523 w 1180"/>
                <a:gd name="T17" fmla="*/ 280 h 1080"/>
                <a:gd name="T18" fmla="*/ 548 w 1180"/>
                <a:gd name="T19" fmla="*/ 240 h 1080"/>
                <a:gd name="T20" fmla="*/ 531 w 1180"/>
                <a:gd name="T21" fmla="*/ 216 h 1080"/>
                <a:gd name="T22" fmla="*/ 556 w 1180"/>
                <a:gd name="T23" fmla="*/ 184 h 1080"/>
                <a:gd name="T24" fmla="*/ 649 w 1180"/>
                <a:gd name="T25" fmla="*/ 144 h 1080"/>
                <a:gd name="T26" fmla="*/ 649 w 1180"/>
                <a:gd name="T27" fmla="*/ 56 h 1080"/>
                <a:gd name="T28" fmla="*/ 514 w 1180"/>
                <a:gd name="T29" fmla="*/ 0 h 1080"/>
                <a:gd name="T30" fmla="*/ 405 w 1180"/>
                <a:gd name="T31" fmla="*/ 40 h 1080"/>
                <a:gd name="T32" fmla="*/ 354 w 1180"/>
                <a:gd name="T33" fmla="*/ 64 h 1080"/>
                <a:gd name="T34" fmla="*/ 295 w 1180"/>
                <a:gd name="T35" fmla="*/ 80 h 1080"/>
                <a:gd name="T36" fmla="*/ 228 w 1180"/>
                <a:gd name="T37" fmla="*/ 152 h 1080"/>
                <a:gd name="T38" fmla="*/ 118 w 1180"/>
                <a:gd name="T39" fmla="*/ 136 h 1080"/>
                <a:gd name="T40" fmla="*/ 42 w 1180"/>
                <a:gd name="T41" fmla="*/ 208 h 1080"/>
                <a:gd name="T42" fmla="*/ 25 w 1180"/>
                <a:gd name="T43" fmla="*/ 272 h 1080"/>
                <a:gd name="T44" fmla="*/ 93 w 1180"/>
                <a:gd name="T45" fmla="*/ 352 h 1080"/>
                <a:gd name="T46" fmla="*/ 93 w 1180"/>
                <a:gd name="T47" fmla="*/ 392 h 1080"/>
                <a:gd name="T48" fmla="*/ 160 w 1180"/>
                <a:gd name="T49" fmla="*/ 344 h 1080"/>
                <a:gd name="T50" fmla="*/ 202 w 1180"/>
                <a:gd name="T51" fmla="*/ 320 h 1080"/>
                <a:gd name="T52" fmla="*/ 261 w 1180"/>
                <a:gd name="T53" fmla="*/ 352 h 1080"/>
                <a:gd name="T54" fmla="*/ 312 w 1180"/>
                <a:gd name="T55" fmla="*/ 368 h 1080"/>
                <a:gd name="T56" fmla="*/ 337 w 1180"/>
                <a:gd name="T57" fmla="*/ 424 h 1080"/>
                <a:gd name="T58" fmla="*/ 371 w 1180"/>
                <a:gd name="T59" fmla="*/ 496 h 1080"/>
                <a:gd name="T60" fmla="*/ 430 w 1180"/>
                <a:gd name="T61" fmla="*/ 552 h 1080"/>
                <a:gd name="T62" fmla="*/ 497 w 1180"/>
                <a:gd name="T63" fmla="*/ 592 h 1080"/>
                <a:gd name="T64" fmla="*/ 607 w 1180"/>
                <a:gd name="T65" fmla="*/ 680 h 1080"/>
                <a:gd name="T66" fmla="*/ 649 w 1180"/>
                <a:gd name="T67" fmla="*/ 688 h 1080"/>
                <a:gd name="T68" fmla="*/ 742 w 1180"/>
                <a:gd name="T69" fmla="*/ 744 h 1080"/>
                <a:gd name="T70" fmla="*/ 775 w 1180"/>
                <a:gd name="T71" fmla="*/ 752 h 1080"/>
                <a:gd name="T72" fmla="*/ 809 w 1180"/>
                <a:gd name="T73" fmla="*/ 768 h 1080"/>
                <a:gd name="T74" fmla="*/ 851 w 1180"/>
                <a:gd name="T75" fmla="*/ 824 h 1080"/>
                <a:gd name="T76" fmla="*/ 927 w 1180"/>
                <a:gd name="T77" fmla="*/ 856 h 1080"/>
                <a:gd name="T78" fmla="*/ 978 w 1180"/>
                <a:gd name="T79" fmla="*/ 984 h 1080"/>
                <a:gd name="T80" fmla="*/ 935 w 1180"/>
                <a:gd name="T81" fmla="*/ 1000 h 1080"/>
                <a:gd name="T82" fmla="*/ 927 w 1180"/>
                <a:gd name="T83" fmla="*/ 1040 h 1080"/>
                <a:gd name="T84" fmla="*/ 935 w 1180"/>
                <a:gd name="T85" fmla="*/ 1072 h 1080"/>
                <a:gd name="T86" fmla="*/ 978 w 1180"/>
                <a:gd name="T87" fmla="*/ 1072 h 1080"/>
                <a:gd name="T88" fmla="*/ 1011 w 1180"/>
                <a:gd name="T89" fmla="*/ 1000 h 1080"/>
                <a:gd name="T90" fmla="*/ 1070 w 1180"/>
                <a:gd name="T91" fmla="*/ 952 h 1080"/>
                <a:gd name="T92" fmla="*/ 1053 w 1180"/>
                <a:gd name="T93" fmla="*/ 888 h 1080"/>
                <a:gd name="T94" fmla="*/ 1003 w 1180"/>
                <a:gd name="T95" fmla="*/ 864 h 1080"/>
                <a:gd name="T96" fmla="*/ 1011 w 1180"/>
                <a:gd name="T97" fmla="*/ 800 h 1080"/>
                <a:gd name="T98" fmla="*/ 1045 w 1180"/>
                <a:gd name="T99" fmla="*/ 768 h 1080"/>
                <a:gd name="T100" fmla="*/ 1146 w 1180"/>
                <a:gd name="T101" fmla="*/ 792 h 1080"/>
                <a:gd name="T102" fmla="*/ 1180 w 1180"/>
                <a:gd name="T103" fmla="*/ 784 h 1080"/>
                <a:gd name="T104" fmla="*/ 1155 w 1180"/>
                <a:gd name="T105" fmla="*/ 752 h 108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180" h="1080">
                  <a:moveTo>
                    <a:pt x="1155" y="752"/>
                  </a:moveTo>
                  <a:lnTo>
                    <a:pt x="1121" y="728"/>
                  </a:lnTo>
                  <a:lnTo>
                    <a:pt x="1087" y="712"/>
                  </a:lnTo>
                  <a:lnTo>
                    <a:pt x="1003" y="672"/>
                  </a:lnTo>
                  <a:lnTo>
                    <a:pt x="919" y="632"/>
                  </a:lnTo>
                  <a:lnTo>
                    <a:pt x="935" y="616"/>
                  </a:lnTo>
                  <a:lnTo>
                    <a:pt x="927" y="600"/>
                  </a:lnTo>
                  <a:lnTo>
                    <a:pt x="902" y="584"/>
                  </a:lnTo>
                  <a:lnTo>
                    <a:pt x="868" y="592"/>
                  </a:lnTo>
                  <a:lnTo>
                    <a:pt x="817" y="592"/>
                  </a:lnTo>
                  <a:lnTo>
                    <a:pt x="775" y="568"/>
                  </a:lnTo>
                  <a:lnTo>
                    <a:pt x="733" y="528"/>
                  </a:lnTo>
                  <a:lnTo>
                    <a:pt x="708" y="488"/>
                  </a:lnTo>
                  <a:lnTo>
                    <a:pt x="683" y="448"/>
                  </a:lnTo>
                  <a:lnTo>
                    <a:pt x="641" y="408"/>
                  </a:lnTo>
                  <a:lnTo>
                    <a:pt x="556" y="344"/>
                  </a:lnTo>
                  <a:lnTo>
                    <a:pt x="523" y="296"/>
                  </a:lnTo>
                  <a:lnTo>
                    <a:pt x="523" y="280"/>
                  </a:lnTo>
                  <a:lnTo>
                    <a:pt x="539" y="256"/>
                  </a:lnTo>
                  <a:lnTo>
                    <a:pt x="548" y="240"/>
                  </a:lnTo>
                  <a:lnTo>
                    <a:pt x="539" y="224"/>
                  </a:lnTo>
                  <a:lnTo>
                    <a:pt x="531" y="216"/>
                  </a:lnTo>
                  <a:lnTo>
                    <a:pt x="531" y="200"/>
                  </a:lnTo>
                  <a:lnTo>
                    <a:pt x="556" y="184"/>
                  </a:lnTo>
                  <a:lnTo>
                    <a:pt x="641" y="152"/>
                  </a:lnTo>
                  <a:lnTo>
                    <a:pt x="649" y="144"/>
                  </a:lnTo>
                  <a:lnTo>
                    <a:pt x="641" y="88"/>
                  </a:lnTo>
                  <a:lnTo>
                    <a:pt x="649" y="56"/>
                  </a:lnTo>
                  <a:lnTo>
                    <a:pt x="531" y="24"/>
                  </a:lnTo>
                  <a:lnTo>
                    <a:pt x="514" y="0"/>
                  </a:lnTo>
                  <a:lnTo>
                    <a:pt x="438" y="8"/>
                  </a:lnTo>
                  <a:lnTo>
                    <a:pt x="405" y="40"/>
                  </a:lnTo>
                  <a:lnTo>
                    <a:pt x="371" y="32"/>
                  </a:lnTo>
                  <a:lnTo>
                    <a:pt x="354" y="64"/>
                  </a:lnTo>
                  <a:lnTo>
                    <a:pt x="320" y="64"/>
                  </a:lnTo>
                  <a:lnTo>
                    <a:pt x="295" y="80"/>
                  </a:lnTo>
                  <a:lnTo>
                    <a:pt x="253" y="72"/>
                  </a:lnTo>
                  <a:lnTo>
                    <a:pt x="228" y="152"/>
                  </a:lnTo>
                  <a:lnTo>
                    <a:pt x="160" y="72"/>
                  </a:lnTo>
                  <a:lnTo>
                    <a:pt x="118" y="136"/>
                  </a:lnTo>
                  <a:lnTo>
                    <a:pt x="25" y="144"/>
                  </a:lnTo>
                  <a:lnTo>
                    <a:pt x="42" y="208"/>
                  </a:lnTo>
                  <a:lnTo>
                    <a:pt x="0" y="232"/>
                  </a:lnTo>
                  <a:lnTo>
                    <a:pt x="25" y="272"/>
                  </a:lnTo>
                  <a:lnTo>
                    <a:pt x="17" y="320"/>
                  </a:lnTo>
                  <a:lnTo>
                    <a:pt x="93" y="352"/>
                  </a:lnTo>
                  <a:lnTo>
                    <a:pt x="76" y="392"/>
                  </a:lnTo>
                  <a:lnTo>
                    <a:pt x="93" y="392"/>
                  </a:lnTo>
                  <a:lnTo>
                    <a:pt x="135" y="376"/>
                  </a:lnTo>
                  <a:lnTo>
                    <a:pt x="160" y="344"/>
                  </a:lnTo>
                  <a:lnTo>
                    <a:pt x="177" y="328"/>
                  </a:lnTo>
                  <a:lnTo>
                    <a:pt x="202" y="320"/>
                  </a:lnTo>
                  <a:lnTo>
                    <a:pt x="244" y="336"/>
                  </a:lnTo>
                  <a:lnTo>
                    <a:pt x="261" y="352"/>
                  </a:lnTo>
                  <a:lnTo>
                    <a:pt x="278" y="368"/>
                  </a:lnTo>
                  <a:lnTo>
                    <a:pt x="312" y="368"/>
                  </a:lnTo>
                  <a:lnTo>
                    <a:pt x="329" y="384"/>
                  </a:lnTo>
                  <a:lnTo>
                    <a:pt x="337" y="424"/>
                  </a:lnTo>
                  <a:lnTo>
                    <a:pt x="362" y="472"/>
                  </a:lnTo>
                  <a:lnTo>
                    <a:pt x="371" y="496"/>
                  </a:lnTo>
                  <a:lnTo>
                    <a:pt x="396" y="512"/>
                  </a:lnTo>
                  <a:lnTo>
                    <a:pt x="430" y="552"/>
                  </a:lnTo>
                  <a:lnTo>
                    <a:pt x="472" y="576"/>
                  </a:lnTo>
                  <a:lnTo>
                    <a:pt x="497" y="592"/>
                  </a:lnTo>
                  <a:lnTo>
                    <a:pt x="514" y="608"/>
                  </a:lnTo>
                  <a:lnTo>
                    <a:pt x="607" y="680"/>
                  </a:lnTo>
                  <a:lnTo>
                    <a:pt x="624" y="696"/>
                  </a:lnTo>
                  <a:lnTo>
                    <a:pt x="649" y="688"/>
                  </a:lnTo>
                  <a:lnTo>
                    <a:pt x="708" y="712"/>
                  </a:lnTo>
                  <a:lnTo>
                    <a:pt x="742" y="744"/>
                  </a:lnTo>
                  <a:lnTo>
                    <a:pt x="767" y="744"/>
                  </a:lnTo>
                  <a:lnTo>
                    <a:pt x="775" y="752"/>
                  </a:lnTo>
                  <a:lnTo>
                    <a:pt x="775" y="768"/>
                  </a:lnTo>
                  <a:lnTo>
                    <a:pt x="809" y="768"/>
                  </a:lnTo>
                  <a:lnTo>
                    <a:pt x="826" y="800"/>
                  </a:lnTo>
                  <a:lnTo>
                    <a:pt x="851" y="824"/>
                  </a:lnTo>
                  <a:lnTo>
                    <a:pt x="893" y="840"/>
                  </a:lnTo>
                  <a:lnTo>
                    <a:pt x="927" y="856"/>
                  </a:lnTo>
                  <a:lnTo>
                    <a:pt x="944" y="904"/>
                  </a:lnTo>
                  <a:lnTo>
                    <a:pt x="978" y="984"/>
                  </a:lnTo>
                  <a:lnTo>
                    <a:pt x="952" y="984"/>
                  </a:lnTo>
                  <a:lnTo>
                    <a:pt x="935" y="1000"/>
                  </a:lnTo>
                  <a:lnTo>
                    <a:pt x="935" y="1016"/>
                  </a:lnTo>
                  <a:lnTo>
                    <a:pt x="927" y="1040"/>
                  </a:lnTo>
                  <a:lnTo>
                    <a:pt x="919" y="1056"/>
                  </a:lnTo>
                  <a:lnTo>
                    <a:pt x="935" y="1072"/>
                  </a:lnTo>
                  <a:lnTo>
                    <a:pt x="952" y="1080"/>
                  </a:lnTo>
                  <a:lnTo>
                    <a:pt x="978" y="1072"/>
                  </a:lnTo>
                  <a:lnTo>
                    <a:pt x="994" y="1040"/>
                  </a:lnTo>
                  <a:lnTo>
                    <a:pt x="1011" y="1000"/>
                  </a:lnTo>
                  <a:lnTo>
                    <a:pt x="1028" y="960"/>
                  </a:lnTo>
                  <a:lnTo>
                    <a:pt x="1070" y="952"/>
                  </a:lnTo>
                  <a:lnTo>
                    <a:pt x="1070" y="904"/>
                  </a:lnTo>
                  <a:lnTo>
                    <a:pt x="1053" y="888"/>
                  </a:lnTo>
                  <a:lnTo>
                    <a:pt x="1028" y="880"/>
                  </a:lnTo>
                  <a:lnTo>
                    <a:pt x="1003" y="864"/>
                  </a:lnTo>
                  <a:lnTo>
                    <a:pt x="994" y="848"/>
                  </a:lnTo>
                  <a:lnTo>
                    <a:pt x="1011" y="800"/>
                  </a:lnTo>
                  <a:lnTo>
                    <a:pt x="1028" y="776"/>
                  </a:lnTo>
                  <a:lnTo>
                    <a:pt x="1045" y="768"/>
                  </a:lnTo>
                  <a:lnTo>
                    <a:pt x="1104" y="776"/>
                  </a:lnTo>
                  <a:lnTo>
                    <a:pt x="1146" y="792"/>
                  </a:lnTo>
                  <a:lnTo>
                    <a:pt x="1180" y="824"/>
                  </a:lnTo>
                  <a:lnTo>
                    <a:pt x="1180" y="784"/>
                  </a:lnTo>
                  <a:lnTo>
                    <a:pt x="1155" y="752"/>
                  </a:lnTo>
                  <a:close/>
                </a:path>
              </a:pathLst>
            </a:custGeom>
            <a:solidFill>
              <a:srgbClr val="6DBACE"/>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5" name="Freeform 34"/>
            <p:cNvSpPr>
              <a:spLocks/>
            </p:cNvSpPr>
            <p:nvPr>
              <p:custDataLst>
                <p:tags r:id="rId31"/>
              </p:custDataLst>
            </p:nvPr>
          </p:nvSpPr>
          <p:spPr bwMode="auto">
            <a:xfrm>
              <a:off x="2463" y="2496"/>
              <a:ext cx="1146" cy="1088"/>
            </a:xfrm>
            <a:custGeom>
              <a:avLst/>
              <a:gdLst>
                <a:gd name="T0" fmla="*/ 969 w 1146"/>
                <a:gd name="T1" fmla="*/ 600 h 1088"/>
                <a:gd name="T2" fmla="*/ 944 w 1146"/>
                <a:gd name="T3" fmla="*/ 584 h 1088"/>
                <a:gd name="T4" fmla="*/ 986 w 1146"/>
                <a:gd name="T5" fmla="*/ 520 h 1088"/>
                <a:gd name="T6" fmla="*/ 1019 w 1146"/>
                <a:gd name="T7" fmla="*/ 472 h 1088"/>
                <a:gd name="T8" fmla="*/ 1087 w 1146"/>
                <a:gd name="T9" fmla="*/ 448 h 1088"/>
                <a:gd name="T10" fmla="*/ 1112 w 1146"/>
                <a:gd name="T11" fmla="*/ 320 h 1088"/>
                <a:gd name="T12" fmla="*/ 1095 w 1146"/>
                <a:gd name="T13" fmla="*/ 272 h 1088"/>
                <a:gd name="T14" fmla="*/ 1011 w 1146"/>
                <a:gd name="T15" fmla="*/ 248 h 1088"/>
                <a:gd name="T16" fmla="*/ 927 w 1146"/>
                <a:gd name="T17" fmla="*/ 208 h 1088"/>
                <a:gd name="T18" fmla="*/ 851 w 1146"/>
                <a:gd name="T19" fmla="*/ 136 h 1088"/>
                <a:gd name="T20" fmla="*/ 809 w 1146"/>
                <a:gd name="T21" fmla="*/ 112 h 1088"/>
                <a:gd name="T22" fmla="*/ 767 w 1146"/>
                <a:gd name="T23" fmla="*/ 88 h 1088"/>
                <a:gd name="T24" fmla="*/ 708 w 1146"/>
                <a:gd name="T25" fmla="*/ 48 h 1088"/>
                <a:gd name="T26" fmla="*/ 666 w 1146"/>
                <a:gd name="T27" fmla="*/ 0 h 1088"/>
                <a:gd name="T28" fmla="*/ 598 w 1146"/>
                <a:gd name="T29" fmla="*/ 24 h 1088"/>
                <a:gd name="T30" fmla="*/ 564 w 1146"/>
                <a:gd name="T31" fmla="*/ 104 h 1088"/>
                <a:gd name="T32" fmla="*/ 489 w 1146"/>
                <a:gd name="T33" fmla="*/ 136 h 1088"/>
                <a:gd name="T34" fmla="*/ 455 w 1146"/>
                <a:gd name="T35" fmla="*/ 168 h 1088"/>
                <a:gd name="T36" fmla="*/ 413 w 1146"/>
                <a:gd name="T37" fmla="*/ 184 h 1088"/>
                <a:gd name="T38" fmla="*/ 345 w 1146"/>
                <a:gd name="T39" fmla="*/ 160 h 1088"/>
                <a:gd name="T40" fmla="*/ 269 w 1146"/>
                <a:gd name="T41" fmla="*/ 144 h 1088"/>
                <a:gd name="T42" fmla="*/ 303 w 1146"/>
                <a:gd name="T43" fmla="*/ 256 h 1088"/>
                <a:gd name="T44" fmla="*/ 211 w 1146"/>
                <a:gd name="T45" fmla="*/ 240 h 1088"/>
                <a:gd name="T46" fmla="*/ 177 w 1146"/>
                <a:gd name="T47" fmla="*/ 232 h 1088"/>
                <a:gd name="T48" fmla="*/ 126 w 1146"/>
                <a:gd name="T49" fmla="*/ 208 h 1088"/>
                <a:gd name="T50" fmla="*/ 84 w 1146"/>
                <a:gd name="T51" fmla="*/ 216 h 1088"/>
                <a:gd name="T52" fmla="*/ 8 w 1146"/>
                <a:gd name="T53" fmla="*/ 232 h 1088"/>
                <a:gd name="T54" fmla="*/ 8 w 1146"/>
                <a:gd name="T55" fmla="*/ 248 h 1088"/>
                <a:gd name="T56" fmla="*/ 25 w 1146"/>
                <a:gd name="T57" fmla="*/ 272 h 1088"/>
                <a:gd name="T58" fmla="*/ 17 w 1146"/>
                <a:gd name="T59" fmla="*/ 288 h 1088"/>
                <a:gd name="T60" fmla="*/ 42 w 1146"/>
                <a:gd name="T61" fmla="*/ 312 h 1088"/>
                <a:gd name="T62" fmla="*/ 109 w 1146"/>
                <a:gd name="T63" fmla="*/ 328 h 1088"/>
                <a:gd name="T64" fmla="*/ 160 w 1146"/>
                <a:gd name="T65" fmla="*/ 368 h 1088"/>
                <a:gd name="T66" fmla="*/ 194 w 1146"/>
                <a:gd name="T67" fmla="*/ 400 h 1088"/>
                <a:gd name="T68" fmla="*/ 211 w 1146"/>
                <a:gd name="T69" fmla="*/ 448 h 1088"/>
                <a:gd name="T70" fmla="*/ 269 w 1146"/>
                <a:gd name="T71" fmla="*/ 536 h 1088"/>
                <a:gd name="T72" fmla="*/ 278 w 1146"/>
                <a:gd name="T73" fmla="*/ 584 h 1088"/>
                <a:gd name="T74" fmla="*/ 295 w 1146"/>
                <a:gd name="T75" fmla="*/ 640 h 1088"/>
                <a:gd name="T76" fmla="*/ 236 w 1146"/>
                <a:gd name="T77" fmla="*/ 776 h 1088"/>
                <a:gd name="T78" fmla="*/ 177 w 1146"/>
                <a:gd name="T79" fmla="*/ 872 h 1088"/>
                <a:gd name="T80" fmla="*/ 160 w 1146"/>
                <a:gd name="T81" fmla="*/ 888 h 1088"/>
                <a:gd name="T82" fmla="*/ 244 w 1146"/>
                <a:gd name="T83" fmla="*/ 960 h 1088"/>
                <a:gd name="T84" fmla="*/ 320 w 1146"/>
                <a:gd name="T85" fmla="*/ 992 h 1088"/>
                <a:gd name="T86" fmla="*/ 396 w 1146"/>
                <a:gd name="T87" fmla="*/ 1024 h 1088"/>
                <a:gd name="T88" fmla="*/ 522 w 1146"/>
                <a:gd name="T89" fmla="*/ 1056 h 1088"/>
                <a:gd name="T90" fmla="*/ 607 w 1146"/>
                <a:gd name="T91" fmla="*/ 1088 h 1088"/>
                <a:gd name="T92" fmla="*/ 632 w 1146"/>
                <a:gd name="T93" fmla="*/ 1080 h 1088"/>
                <a:gd name="T94" fmla="*/ 623 w 1146"/>
                <a:gd name="T95" fmla="*/ 1032 h 1088"/>
                <a:gd name="T96" fmla="*/ 649 w 1146"/>
                <a:gd name="T97" fmla="*/ 968 h 1088"/>
                <a:gd name="T98" fmla="*/ 716 w 1146"/>
                <a:gd name="T99" fmla="*/ 928 h 1088"/>
                <a:gd name="T100" fmla="*/ 842 w 1146"/>
                <a:gd name="T101" fmla="*/ 952 h 1088"/>
                <a:gd name="T102" fmla="*/ 910 w 1146"/>
                <a:gd name="T103" fmla="*/ 984 h 1088"/>
                <a:gd name="T104" fmla="*/ 960 w 1146"/>
                <a:gd name="T105" fmla="*/ 976 h 1088"/>
                <a:gd name="T106" fmla="*/ 977 w 1146"/>
                <a:gd name="T107" fmla="*/ 960 h 1088"/>
                <a:gd name="T108" fmla="*/ 1070 w 1146"/>
                <a:gd name="T109" fmla="*/ 904 h 1088"/>
                <a:gd name="T110" fmla="*/ 1011 w 1146"/>
                <a:gd name="T111" fmla="*/ 832 h 1088"/>
                <a:gd name="T112" fmla="*/ 994 w 1146"/>
                <a:gd name="T113" fmla="*/ 744 h 1088"/>
                <a:gd name="T114" fmla="*/ 1019 w 1146"/>
                <a:gd name="T115" fmla="*/ 656 h 1088"/>
                <a:gd name="T116" fmla="*/ 1019 w 1146"/>
                <a:gd name="T117" fmla="*/ 632 h 10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146" h="1088">
                  <a:moveTo>
                    <a:pt x="1011" y="616"/>
                  </a:moveTo>
                  <a:lnTo>
                    <a:pt x="969" y="600"/>
                  </a:lnTo>
                  <a:lnTo>
                    <a:pt x="935" y="616"/>
                  </a:lnTo>
                  <a:lnTo>
                    <a:pt x="944" y="584"/>
                  </a:lnTo>
                  <a:lnTo>
                    <a:pt x="977" y="544"/>
                  </a:lnTo>
                  <a:lnTo>
                    <a:pt x="986" y="520"/>
                  </a:lnTo>
                  <a:lnTo>
                    <a:pt x="1011" y="504"/>
                  </a:lnTo>
                  <a:lnTo>
                    <a:pt x="1019" y="472"/>
                  </a:lnTo>
                  <a:lnTo>
                    <a:pt x="1053" y="464"/>
                  </a:lnTo>
                  <a:lnTo>
                    <a:pt x="1087" y="448"/>
                  </a:lnTo>
                  <a:lnTo>
                    <a:pt x="1104" y="360"/>
                  </a:lnTo>
                  <a:lnTo>
                    <a:pt x="1112" y="320"/>
                  </a:lnTo>
                  <a:lnTo>
                    <a:pt x="1146" y="288"/>
                  </a:lnTo>
                  <a:lnTo>
                    <a:pt x="1095" y="272"/>
                  </a:lnTo>
                  <a:lnTo>
                    <a:pt x="1036" y="256"/>
                  </a:lnTo>
                  <a:lnTo>
                    <a:pt x="1011" y="248"/>
                  </a:lnTo>
                  <a:lnTo>
                    <a:pt x="986" y="216"/>
                  </a:lnTo>
                  <a:lnTo>
                    <a:pt x="927" y="208"/>
                  </a:lnTo>
                  <a:lnTo>
                    <a:pt x="868" y="168"/>
                  </a:lnTo>
                  <a:lnTo>
                    <a:pt x="851" y="136"/>
                  </a:lnTo>
                  <a:lnTo>
                    <a:pt x="809" y="144"/>
                  </a:lnTo>
                  <a:lnTo>
                    <a:pt x="809" y="112"/>
                  </a:lnTo>
                  <a:lnTo>
                    <a:pt x="767" y="96"/>
                  </a:lnTo>
                  <a:lnTo>
                    <a:pt x="767" y="88"/>
                  </a:lnTo>
                  <a:lnTo>
                    <a:pt x="733" y="72"/>
                  </a:lnTo>
                  <a:lnTo>
                    <a:pt x="708" y="48"/>
                  </a:lnTo>
                  <a:lnTo>
                    <a:pt x="682" y="16"/>
                  </a:lnTo>
                  <a:lnTo>
                    <a:pt x="666" y="0"/>
                  </a:lnTo>
                  <a:lnTo>
                    <a:pt x="623" y="8"/>
                  </a:lnTo>
                  <a:lnTo>
                    <a:pt x="598" y="24"/>
                  </a:lnTo>
                  <a:lnTo>
                    <a:pt x="581" y="88"/>
                  </a:lnTo>
                  <a:lnTo>
                    <a:pt x="564" y="104"/>
                  </a:lnTo>
                  <a:lnTo>
                    <a:pt x="539" y="120"/>
                  </a:lnTo>
                  <a:lnTo>
                    <a:pt x="489" y="136"/>
                  </a:lnTo>
                  <a:lnTo>
                    <a:pt x="463" y="144"/>
                  </a:lnTo>
                  <a:lnTo>
                    <a:pt x="455" y="168"/>
                  </a:lnTo>
                  <a:lnTo>
                    <a:pt x="446" y="184"/>
                  </a:lnTo>
                  <a:lnTo>
                    <a:pt x="413" y="184"/>
                  </a:lnTo>
                  <a:lnTo>
                    <a:pt x="362" y="168"/>
                  </a:lnTo>
                  <a:lnTo>
                    <a:pt x="345" y="160"/>
                  </a:lnTo>
                  <a:lnTo>
                    <a:pt x="328" y="144"/>
                  </a:lnTo>
                  <a:lnTo>
                    <a:pt x="269" y="144"/>
                  </a:lnTo>
                  <a:lnTo>
                    <a:pt x="295" y="200"/>
                  </a:lnTo>
                  <a:lnTo>
                    <a:pt x="303" y="256"/>
                  </a:lnTo>
                  <a:lnTo>
                    <a:pt x="253" y="248"/>
                  </a:lnTo>
                  <a:lnTo>
                    <a:pt x="211" y="240"/>
                  </a:lnTo>
                  <a:lnTo>
                    <a:pt x="194" y="248"/>
                  </a:lnTo>
                  <a:lnTo>
                    <a:pt x="177" y="232"/>
                  </a:lnTo>
                  <a:lnTo>
                    <a:pt x="152" y="208"/>
                  </a:lnTo>
                  <a:lnTo>
                    <a:pt x="126" y="208"/>
                  </a:lnTo>
                  <a:lnTo>
                    <a:pt x="109" y="216"/>
                  </a:lnTo>
                  <a:lnTo>
                    <a:pt x="84" y="216"/>
                  </a:lnTo>
                  <a:lnTo>
                    <a:pt x="34" y="216"/>
                  </a:lnTo>
                  <a:lnTo>
                    <a:pt x="8" y="232"/>
                  </a:lnTo>
                  <a:lnTo>
                    <a:pt x="0" y="240"/>
                  </a:lnTo>
                  <a:lnTo>
                    <a:pt x="8" y="248"/>
                  </a:lnTo>
                  <a:lnTo>
                    <a:pt x="50" y="272"/>
                  </a:lnTo>
                  <a:lnTo>
                    <a:pt x="25" y="272"/>
                  </a:lnTo>
                  <a:lnTo>
                    <a:pt x="17" y="280"/>
                  </a:lnTo>
                  <a:lnTo>
                    <a:pt x="17" y="288"/>
                  </a:lnTo>
                  <a:lnTo>
                    <a:pt x="25" y="304"/>
                  </a:lnTo>
                  <a:lnTo>
                    <a:pt x="42" y="312"/>
                  </a:lnTo>
                  <a:lnTo>
                    <a:pt x="76" y="320"/>
                  </a:lnTo>
                  <a:lnTo>
                    <a:pt x="109" y="328"/>
                  </a:lnTo>
                  <a:lnTo>
                    <a:pt x="135" y="352"/>
                  </a:lnTo>
                  <a:lnTo>
                    <a:pt x="160" y="368"/>
                  </a:lnTo>
                  <a:lnTo>
                    <a:pt x="185" y="376"/>
                  </a:lnTo>
                  <a:lnTo>
                    <a:pt x="194" y="400"/>
                  </a:lnTo>
                  <a:lnTo>
                    <a:pt x="219" y="424"/>
                  </a:lnTo>
                  <a:lnTo>
                    <a:pt x="211" y="448"/>
                  </a:lnTo>
                  <a:lnTo>
                    <a:pt x="244" y="512"/>
                  </a:lnTo>
                  <a:lnTo>
                    <a:pt x="269" y="536"/>
                  </a:lnTo>
                  <a:lnTo>
                    <a:pt x="286" y="560"/>
                  </a:lnTo>
                  <a:lnTo>
                    <a:pt x="278" y="584"/>
                  </a:lnTo>
                  <a:lnTo>
                    <a:pt x="253" y="592"/>
                  </a:lnTo>
                  <a:lnTo>
                    <a:pt x="295" y="640"/>
                  </a:lnTo>
                  <a:lnTo>
                    <a:pt x="269" y="632"/>
                  </a:lnTo>
                  <a:lnTo>
                    <a:pt x="236" y="776"/>
                  </a:lnTo>
                  <a:lnTo>
                    <a:pt x="202" y="848"/>
                  </a:lnTo>
                  <a:lnTo>
                    <a:pt x="177" y="872"/>
                  </a:lnTo>
                  <a:lnTo>
                    <a:pt x="143" y="880"/>
                  </a:lnTo>
                  <a:lnTo>
                    <a:pt x="160" y="888"/>
                  </a:lnTo>
                  <a:lnTo>
                    <a:pt x="211" y="928"/>
                  </a:lnTo>
                  <a:lnTo>
                    <a:pt x="244" y="960"/>
                  </a:lnTo>
                  <a:lnTo>
                    <a:pt x="278" y="968"/>
                  </a:lnTo>
                  <a:lnTo>
                    <a:pt x="320" y="992"/>
                  </a:lnTo>
                  <a:lnTo>
                    <a:pt x="337" y="1016"/>
                  </a:lnTo>
                  <a:lnTo>
                    <a:pt x="396" y="1024"/>
                  </a:lnTo>
                  <a:lnTo>
                    <a:pt x="463" y="1032"/>
                  </a:lnTo>
                  <a:lnTo>
                    <a:pt x="522" y="1056"/>
                  </a:lnTo>
                  <a:lnTo>
                    <a:pt x="581" y="1072"/>
                  </a:lnTo>
                  <a:lnTo>
                    <a:pt x="607" y="1088"/>
                  </a:lnTo>
                  <a:lnTo>
                    <a:pt x="632" y="1080"/>
                  </a:lnTo>
                  <a:lnTo>
                    <a:pt x="640" y="1064"/>
                  </a:lnTo>
                  <a:lnTo>
                    <a:pt x="623" y="1032"/>
                  </a:lnTo>
                  <a:lnTo>
                    <a:pt x="632" y="992"/>
                  </a:lnTo>
                  <a:lnTo>
                    <a:pt x="649" y="968"/>
                  </a:lnTo>
                  <a:lnTo>
                    <a:pt x="682" y="944"/>
                  </a:lnTo>
                  <a:lnTo>
                    <a:pt x="716" y="928"/>
                  </a:lnTo>
                  <a:lnTo>
                    <a:pt x="750" y="928"/>
                  </a:lnTo>
                  <a:lnTo>
                    <a:pt x="842" y="952"/>
                  </a:lnTo>
                  <a:lnTo>
                    <a:pt x="876" y="968"/>
                  </a:lnTo>
                  <a:lnTo>
                    <a:pt x="910" y="984"/>
                  </a:lnTo>
                  <a:lnTo>
                    <a:pt x="944" y="984"/>
                  </a:lnTo>
                  <a:lnTo>
                    <a:pt x="960" y="976"/>
                  </a:lnTo>
                  <a:lnTo>
                    <a:pt x="969" y="968"/>
                  </a:lnTo>
                  <a:lnTo>
                    <a:pt x="977" y="960"/>
                  </a:lnTo>
                  <a:lnTo>
                    <a:pt x="1019" y="928"/>
                  </a:lnTo>
                  <a:lnTo>
                    <a:pt x="1070" y="904"/>
                  </a:lnTo>
                  <a:lnTo>
                    <a:pt x="1087" y="864"/>
                  </a:lnTo>
                  <a:lnTo>
                    <a:pt x="1011" y="832"/>
                  </a:lnTo>
                  <a:lnTo>
                    <a:pt x="1019" y="784"/>
                  </a:lnTo>
                  <a:lnTo>
                    <a:pt x="994" y="744"/>
                  </a:lnTo>
                  <a:lnTo>
                    <a:pt x="1036" y="720"/>
                  </a:lnTo>
                  <a:lnTo>
                    <a:pt x="1019" y="656"/>
                  </a:lnTo>
                  <a:lnTo>
                    <a:pt x="1036" y="656"/>
                  </a:lnTo>
                  <a:lnTo>
                    <a:pt x="1019" y="632"/>
                  </a:lnTo>
                  <a:lnTo>
                    <a:pt x="1011" y="616"/>
                  </a:lnTo>
                  <a:close/>
                </a:path>
              </a:pathLst>
            </a:custGeom>
            <a:solidFill>
              <a:srgbClr val="6DBACE"/>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6" name="Freeform 35"/>
            <p:cNvSpPr>
              <a:spLocks/>
            </p:cNvSpPr>
            <p:nvPr>
              <p:custDataLst>
                <p:tags r:id="rId32"/>
              </p:custDataLst>
            </p:nvPr>
          </p:nvSpPr>
          <p:spPr bwMode="auto">
            <a:xfrm>
              <a:off x="3129" y="2472"/>
              <a:ext cx="328" cy="232"/>
            </a:xfrm>
            <a:custGeom>
              <a:avLst/>
              <a:gdLst>
                <a:gd name="T0" fmla="*/ 278 w 328"/>
                <a:gd name="T1" fmla="*/ 184 h 232"/>
                <a:gd name="T2" fmla="*/ 286 w 328"/>
                <a:gd name="T3" fmla="*/ 168 h 232"/>
                <a:gd name="T4" fmla="*/ 311 w 328"/>
                <a:gd name="T5" fmla="*/ 160 h 232"/>
                <a:gd name="T6" fmla="*/ 328 w 328"/>
                <a:gd name="T7" fmla="*/ 144 h 232"/>
                <a:gd name="T8" fmla="*/ 328 w 328"/>
                <a:gd name="T9" fmla="*/ 112 h 232"/>
                <a:gd name="T10" fmla="*/ 303 w 328"/>
                <a:gd name="T11" fmla="*/ 88 h 232"/>
                <a:gd name="T12" fmla="*/ 269 w 328"/>
                <a:gd name="T13" fmla="*/ 72 h 232"/>
                <a:gd name="T14" fmla="*/ 278 w 328"/>
                <a:gd name="T15" fmla="*/ 48 h 232"/>
                <a:gd name="T16" fmla="*/ 261 w 328"/>
                <a:gd name="T17" fmla="*/ 24 h 232"/>
                <a:gd name="T18" fmla="*/ 219 w 328"/>
                <a:gd name="T19" fmla="*/ 16 h 232"/>
                <a:gd name="T20" fmla="*/ 168 w 328"/>
                <a:gd name="T21" fmla="*/ 8 h 232"/>
                <a:gd name="T22" fmla="*/ 134 w 328"/>
                <a:gd name="T23" fmla="*/ 24 h 232"/>
                <a:gd name="T24" fmla="*/ 101 w 328"/>
                <a:gd name="T25" fmla="*/ 16 h 232"/>
                <a:gd name="T26" fmla="*/ 75 w 328"/>
                <a:gd name="T27" fmla="*/ 0 h 232"/>
                <a:gd name="T28" fmla="*/ 42 w 328"/>
                <a:gd name="T29" fmla="*/ 16 h 232"/>
                <a:gd name="T30" fmla="*/ 0 w 328"/>
                <a:gd name="T31" fmla="*/ 24 h 232"/>
                <a:gd name="T32" fmla="*/ 16 w 328"/>
                <a:gd name="T33" fmla="*/ 40 h 232"/>
                <a:gd name="T34" fmla="*/ 42 w 328"/>
                <a:gd name="T35" fmla="*/ 72 h 232"/>
                <a:gd name="T36" fmla="*/ 67 w 328"/>
                <a:gd name="T37" fmla="*/ 96 h 232"/>
                <a:gd name="T38" fmla="*/ 101 w 328"/>
                <a:gd name="T39" fmla="*/ 112 h 232"/>
                <a:gd name="T40" fmla="*/ 101 w 328"/>
                <a:gd name="T41" fmla="*/ 120 h 232"/>
                <a:gd name="T42" fmla="*/ 143 w 328"/>
                <a:gd name="T43" fmla="*/ 136 h 232"/>
                <a:gd name="T44" fmla="*/ 143 w 328"/>
                <a:gd name="T45" fmla="*/ 168 h 232"/>
                <a:gd name="T46" fmla="*/ 185 w 328"/>
                <a:gd name="T47" fmla="*/ 160 h 232"/>
                <a:gd name="T48" fmla="*/ 202 w 328"/>
                <a:gd name="T49" fmla="*/ 192 h 232"/>
                <a:gd name="T50" fmla="*/ 261 w 328"/>
                <a:gd name="T51" fmla="*/ 232 h 232"/>
                <a:gd name="T52" fmla="*/ 278 w 328"/>
                <a:gd name="T53" fmla="*/ 232 h 232"/>
                <a:gd name="T54" fmla="*/ 278 w 328"/>
                <a:gd name="T55" fmla="*/ 208 h 232"/>
                <a:gd name="T56" fmla="*/ 278 w 328"/>
                <a:gd name="T57" fmla="*/ 184 h 23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28" h="232">
                  <a:moveTo>
                    <a:pt x="278" y="184"/>
                  </a:moveTo>
                  <a:lnTo>
                    <a:pt x="286" y="168"/>
                  </a:lnTo>
                  <a:lnTo>
                    <a:pt x="311" y="160"/>
                  </a:lnTo>
                  <a:lnTo>
                    <a:pt x="328" y="144"/>
                  </a:lnTo>
                  <a:lnTo>
                    <a:pt x="328" y="112"/>
                  </a:lnTo>
                  <a:lnTo>
                    <a:pt x="303" y="88"/>
                  </a:lnTo>
                  <a:lnTo>
                    <a:pt x="269" y="72"/>
                  </a:lnTo>
                  <a:lnTo>
                    <a:pt x="278" y="48"/>
                  </a:lnTo>
                  <a:lnTo>
                    <a:pt x="261" y="24"/>
                  </a:lnTo>
                  <a:lnTo>
                    <a:pt x="219" y="16"/>
                  </a:lnTo>
                  <a:lnTo>
                    <a:pt x="168" y="8"/>
                  </a:lnTo>
                  <a:lnTo>
                    <a:pt x="134" y="24"/>
                  </a:lnTo>
                  <a:lnTo>
                    <a:pt x="101" y="16"/>
                  </a:lnTo>
                  <a:lnTo>
                    <a:pt x="75" y="0"/>
                  </a:lnTo>
                  <a:lnTo>
                    <a:pt x="42" y="16"/>
                  </a:lnTo>
                  <a:lnTo>
                    <a:pt x="0" y="24"/>
                  </a:lnTo>
                  <a:lnTo>
                    <a:pt x="16" y="40"/>
                  </a:lnTo>
                  <a:lnTo>
                    <a:pt x="42" y="72"/>
                  </a:lnTo>
                  <a:lnTo>
                    <a:pt x="67" y="96"/>
                  </a:lnTo>
                  <a:lnTo>
                    <a:pt x="101" y="112"/>
                  </a:lnTo>
                  <a:lnTo>
                    <a:pt x="101" y="120"/>
                  </a:lnTo>
                  <a:lnTo>
                    <a:pt x="143" y="136"/>
                  </a:lnTo>
                  <a:lnTo>
                    <a:pt x="143" y="168"/>
                  </a:lnTo>
                  <a:lnTo>
                    <a:pt x="185" y="160"/>
                  </a:lnTo>
                  <a:lnTo>
                    <a:pt x="202" y="192"/>
                  </a:lnTo>
                  <a:lnTo>
                    <a:pt x="261" y="232"/>
                  </a:lnTo>
                  <a:lnTo>
                    <a:pt x="278" y="232"/>
                  </a:lnTo>
                  <a:lnTo>
                    <a:pt x="278" y="208"/>
                  </a:lnTo>
                  <a:lnTo>
                    <a:pt x="278" y="184"/>
                  </a:lnTo>
                  <a:close/>
                </a:path>
              </a:pathLst>
            </a:custGeom>
            <a:solidFill>
              <a:srgbClr val="6DBACE"/>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7" name="Freeform 36"/>
            <p:cNvSpPr>
              <a:spLocks/>
            </p:cNvSpPr>
            <p:nvPr>
              <p:custDataLst>
                <p:tags r:id="rId33"/>
              </p:custDataLst>
            </p:nvPr>
          </p:nvSpPr>
          <p:spPr bwMode="auto">
            <a:xfrm>
              <a:off x="3407" y="2632"/>
              <a:ext cx="59" cy="80"/>
            </a:xfrm>
            <a:custGeom>
              <a:avLst/>
              <a:gdLst>
                <a:gd name="T0" fmla="*/ 25 w 59"/>
                <a:gd name="T1" fmla="*/ 24 h 80"/>
                <a:gd name="T2" fmla="*/ 25 w 59"/>
                <a:gd name="T3" fmla="*/ 0 h 80"/>
                <a:gd name="T4" fmla="*/ 8 w 59"/>
                <a:gd name="T5" fmla="*/ 8 h 80"/>
                <a:gd name="T6" fmla="*/ 0 w 59"/>
                <a:gd name="T7" fmla="*/ 24 h 80"/>
                <a:gd name="T8" fmla="*/ 0 w 59"/>
                <a:gd name="T9" fmla="*/ 48 h 80"/>
                <a:gd name="T10" fmla="*/ 0 w 59"/>
                <a:gd name="T11" fmla="*/ 72 h 80"/>
                <a:gd name="T12" fmla="*/ 42 w 59"/>
                <a:gd name="T13" fmla="*/ 80 h 80"/>
                <a:gd name="T14" fmla="*/ 59 w 59"/>
                <a:gd name="T15" fmla="*/ 48 h 80"/>
                <a:gd name="T16" fmla="*/ 25 w 59"/>
                <a:gd name="T17" fmla="*/ 24 h 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9" h="80">
                  <a:moveTo>
                    <a:pt x="25" y="24"/>
                  </a:moveTo>
                  <a:lnTo>
                    <a:pt x="25" y="0"/>
                  </a:lnTo>
                  <a:lnTo>
                    <a:pt x="8" y="8"/>
                  </a:lnTo>
                  <a:lnTo>
                    <a:pt x="0" y="24"/>
                  </a:lnTo>
                  <a:lnTo>
                    <a:pt x="0" y="48"/>
                  </a:lnTo>
                  <a:lnTo>
                    <a:pt x="0" y="72"/>
                  </a:lnTo>
                  <a:lnTo>
                    <a:pt x="42" y="80"/>
                  </a:lnTo>
                  <a:lnTo>
                    <a:pt x="59" y="48"/>
                  </a:lnTo>
                  <a:lnTo>
                    <a:pt x="25" y="2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8" name="Freeform 37"/>
            <p:cNvSpPr>
              <a:spLocks/>
            </p:cNvSpPr>
            <p:nvPr>
              <p:custDataLst>
                <p:tags r:id="rId34"/>
              </p:custDataLst>
            </p:nvPr>
          </p:nvSpPr>
          <p:spPr bwMode="auto">
            <a:xfrm>
              <a:off x="3204" y="2232"/>
              <a:ext cx="337" cy="320"/>
            </a:xfrm>
            <a:custGeom>
              <a:avLst/>
              <a:gdLst>
                <a:gd name="T0" fmla="*/ 236 w 337"/>
                <a:gd name="T1" fmla="*/ 280 h 320"/>
                <a:gd name="T2" fmla="*/ 236 w 337"/>
                <a:gd name="T3" fmla="*/ 232 h 320"/>
                <a:gd name="T4" fmla="*/ 236 w 337"/>
                <a:gd name="T5" fmla="*/ 200 h 320"/>
                <a:gd name="T6" fmla="*/ 287 w 337"/>
                <a:gd name="T7" fmla="*/ 192 h 320"/>
                <a:gd name="T8" fmla="*/ 287 w 337"/>
                <a:gd name="T9" fmla="*/ 168 h 320"/>
                <a:gd name="T10" fmla="*/ 312 w 337"/>
                <a:gd name="T11" fmla="*/ 160 h 320"/>
                <a:gd name="T12" fmla="*/ 321 w 337"/>
                <a:gd name="T13" fmla="*/ 128 h 320"/>
                <a:gd name="T14" fmla="*/ 295 w 337"/>
                <a:gd name="T15" fmla="*/ 104 h 320"/>
                <a:gd name="T16" fmla="*/ 321 w 337"/>
                <a:gd name="T17" fmla="*/ 96 h 320"/>
                <a:gd name="T18" fmla="*/ 337 w 337"/>
                <a:gd name="T19" fmla="*/ 56 h 320"/>
                <a:gd name="T20" fmla="*/ 329 w 337"/>
                <a:gd name="T21" fmla="*/ 16 h 320"/>
                <a:gd name="T22" fmla="*/ 321 w 337"/>
                <a:gd name="T23" fmla="*/ 16 h 320"/>
                <a:gd name="T24" fmla="*/ 304 w 337"/>
                <a:gd name="T25" fmla="*/ 0 h 320"/>
                <a:gd name="T26" fmla="*/ 278 w 337"/>
                <a:gd name="T27" fmla="*/ 0 h 320"/>
                <a:gd name="T28" fmla="*/ 219 w 337"/>
                <a:gd name="T29" fmla="*/ 16 h 320"/>
                <a:gd name="T30" fmla="*/ 203 w 337"/>
                <a:gd name="T31" fmla="*/ 24 h 320"/>
                <a:gd name="T32" fmla="*/ 194 w 337"/>
                <a:gd name="T33" fmla="*/ 48 h 320"/>
                <a:gd name="T34" fmla="*/ 203 w 337"/>
                <a:gd name="T35" fmla="*/ 72 h 320"/>
                <a:gd name="T36" fmla="*/ 219 w 337"/>
                <a:gd name="T37" fmla="*/ 96 h 320"/>
                <a:gd name="T38" fmla="*/ 228 w 337"/>
                <a:gd name="T39" fmla="*/ 112 h 320"/>
                <a:gd name="T40" fmla="*/ 211 w 337"/>
                <a:gd name="T41" fmla="*/ 128 h 320"/>
                <a:gd name="T42" fmla="*/ 186 w 337"/>
                <a:gd name="T43" fmla="*/ 136 h 320"/>
                <a:gd name="T44" fmla="*/ 160 w 337"/>
                <a:gd name="T45" fmla="*/ 120 h 320"/>
                <a:gd name="T46" fmla="*/ 169 w 337"/>
                <a:gd name="T47" fmla="*/ 72 h 320"/>
                <a:gd name="T48" fmla="*/ 160 w 337"/>
                <a:gd name="T49" fmla="*/ 56 h 320"/>
                <a:gd name="T50" fmla="*/ 152 w 337"/>
                <a:gd name="T51" fmla="*/ 32 h 320"/>
                <a:gd name="T52" fmla="*/ 110 w 337"/>
                <a:gd name="T53" fmla="*/ 128 h 320"/>
                <a:gd name="T54" fmla="*/ 76 w 337"/>
                <a:gd name="T55" fmla="*/ 168 h 320"/>
                <a:gd name="T56" fmla="*/ 68 w 337"/>
                <a:gd name="T57" fmla="*/ 216 h 320"/>
                <a:gd name="T58" fmla="*/ 42 w 337"/>
                <a:gd name="T59" fmla="*/ 216 h 320"/>
                <a:gd name="T60" fmla="*/ 34 w 337"/>
                <a:gd name="T61" fmla="*/ 216 h 320"/>
                <a:gd name="T62" fmla="*/ 26 w 337"/>
                <a:gd name="T63" fmla="*/ 232 h 320"/>
                <a:gd name="T64" fmla="*/ 0 w 337"/>
                <a:gd name="T65" fmla="*/ 240 h 320"/>
                <a:gd name="T66" fmla="*/ 26 w 337"/>
                <a:gd name="T67" fmla="*/ 256 h 320"/>
                <a:gd name="T68" fmla="*/ 59 w 337"/>
                <a:gd name="T69" fmla="*/ 264 h 320"/>
                <a:gd name="T70" fmla="*/ 93 w 337"/>
                <a:gd name="T71" fmla="*/ 248 h 320"/>
                <a:gd name="T72" fmla="*/ 144 w 337"/>
                <a:gd name="T73" fmla="*/ 256 h 320"/>
                <a:gd name="T74" fmla="*/ 186 w 337"/>
                <a:gd name="T75" fmla="*/ 264 h 320"/>
                <a:gd name="T76" fmla="*/ 203 w 337"/>
                <a:gd name="T77" fmla="*/ 288 h 320"/>
                <a:gd name="T78" fmla="*/ 194 w 337"/>
                <a:gd name="T79" fmla="*/ 312 h 320"/>
                <a:gd name="T80" fmla="*/ 219 w 337"/>
                <a:gd name="T81" fmla="*/ 320 h 320"/>
                <a:gd name="T82" fmla="*/ 219 w 337"/>
                <a:gd name="T83" fmla="*/ 296 h 320"/>
                <a:gd name="T84" fmla="*/ 236 w 337"/>
                <a:gd name="T85" fmla="*/ 280 h 32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37" h="320">
                  <a:moveTo>
                    <a:pt x="236" y="280"/>
                  </a:moveTo>
                  <a:lnTo>
                    <a:pt x="236" y="232"/>
                  </a:lnTo>
                  <a:lnTo>
                    <a:pt x="236" y="200"/>
                  </a:lnTo>
                  <a:lnTo>
                    <a:pt x="287" y="192"/>
                  </a:lnTo>
                  <a:lnTo>
                    <a:pt x="287" y="168"/>
                  </a:lnTo>
                  <a:lnTo>
                    <a:pt x="312" y="160"/>
                  </a:lnTo>
                  <a:lnTo>
                    <a:pt x="321" y="128"/>
                  </a:lnTo>
                  <a:lnTo>
                    <a:pt x="295" y="104"/>
                  </a:lnTo>
                  <a:lnTo>
                    <a:pt x="321" y="96"/>
                  </a:lnTo>
                  <a:lnTo>
                    <a:pt x="337" y="56"/>
                  </a:lnTo>
                  <a:lnTo>
                    <a:pt x="329" y="16"/>
                  </a:lnTo>
                  <a:lnTo>
                    <a:pt x="321" y="16"/>
                  </a:lnTo>
                  <a:lnTo>
                    <a:pt x="304" y="0"/>
                  </a:lnTo>
                  <a:lnTo>
                    <a:pt x="278" y="0"/>
                  </a:lnTo>
                  <a:lnTo>
                    <a:pt x="219" y="16"/>
                  </a:lnTo>
                  <a:lnTo>
                    <a:pt x="203" y="24"/>
                  </a:lnTo>
                  <a:lnTo>
                    <a:pt x="194" y="48"/>
                  </a:lnTo>
                  <a:lnTo>
                    <a:pt x="203" y="72"/>
                  </a:lnTo>
                  <a:lnTo>
                    <a:pt x="219" y="96"/>
                  </a:lnTo>
                  <a:lnTo>
                    <a:pt x="228" y="112"/>
                  </a:lnTo>
                  <a:lnTo>
                    <a:pt x="211" y="128"/>
                  </a:lnTo>
                  <a:lnTo>
                    <a:pt x="186" y="136"/>
                  </a:lnTo>
                  <a:lnTo>
                    <a:pt x="160" y="120"/>
                  </a:lnTo>
                  <a:lnTo>
                    <a:pt x="169" y="72"/>
                  </a:lnTo>
                  <a:lnTo>
                    <a:pt x="160" y="56"/>
                  </a:lnTo>
                  <a:lnTo>
                    <a:pt x="152" y="32"/>
                  </a:lnTo>
                  <a:lnTo>
                    <a:pt x="110" y="128"/>
                  </a:lnTo>
                  <a:lnTo>
                    <a:pt x="76" y="168"/>
                  </a:lnTo>
                  <a:lnTo>
                    <a:pt x="68" y="216"/>
                  </a:lnTo>
                  <a:lnTo>
                    <a:pt x="42" y="216"/>
                  </a:lnTo>
                  <a:lnTo>
                    <a:pt x="34" y="216"/>
                  </a:lnTo>
                  <a:lnTo>
                    <a:pt x="26" y="232"/>
                  </a:lnTo>
                  <a:lnTo>
                    <a:pt x="0" y="240"/>
                  </a:lnTo>
                  <a:lnTo>
                    <a:pt x="26" y="256"/>
                  </a:lnTo>
                  <a:lnTo>
                    <a:pt x="59" y="264"/>
                  </a:lnTo>
                  <a:lnTo>
                    <a:pt x="93" y="248"/>
                  </a:lnTo>
                  <a:lnTo>
                    <a:pt x="144" y="256"/>
                  </a:lnTo>
                  <a:lnTo>
                    <a:pt x="186" y="264"/>
                  </a:lnTo>
                  <a:lnTo>
                    <a:pt x="203" y="288"/>
                  </a:lnTo>
                  <a:lnTo>
                    <a:pt x="194" y="312"/>
                  </a:lnTo>
                  <a:lnTo>
                    <a:pt x="219" y="320"/>
                  </a:lnTo>
                  <a:lnTo>
                    <a:pt x="219" y="296"/>
                  </a:lnTo>
                  <a:lnTo>
                    <a:pt x="236" y="28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9" name="Freeform 38"/>
            <p:cNvSpPr>
              <a:spLocks/>
            </p:cNvSpPr>
            <p:nvPr>
              <p:custDataLst>
                <p:tags r:id="rId35"/>
              </p:custDataLst>
            </p:nvPr>
          </p:nvSpPr>
          <p:spPr bwMode="auto">
            <a:xfrm>
              <a:off x="3407" y="2632"/>
              <a:ext cx="59" cy="80"/>
            </a:xfrm>
            <a:custGeom>
              <a:avLst/>
              <a:gdLst>
                <a:gd name="T0" fmla="*/ 25 w 59"/>
                <a:gd name="T1" fmla="*/ 24 h 80"/>
                <a:gd name="T2" fmla="*/ 25 w 59"/>
                <a:gd name="T3" fmla="*/ 0 h 80"/>
                <a:gd name="T4" fmla="*/ 8 w 59"/>
                <a:gd name="T5" fmla="*/ 8 h 80"/>
                <a:gd name="T6" fmla="*/ 0 w 59"/>
                <a:gd name="T7" fmla="*/ 24 h 80"/>
                <a:gd name="T8" fmla="*/ 0 w 59"/>
                <a:gd name="T9" fmla="*/ 48 h 80"/>
                <a:gd name="T10" fmla="*/ 0 w 59"/>
                <a:gd name="T11" fmla="*/ 72 h 80"/>
                <a:gd name="T12" fmla="*/ 42 w 59"/>
                <a:gd name="T13" fmla="*/ 80 h 80"/>
                <a:gd name="T14" fmla="*/ 59 w 59"/>
                <a:gd name="T15" fmla="*/ 48 h 80"/>
                <a:gd name="T16" fmla="*/ 25 w 59"/>
                <a:gd name="T17" fmla="*/ 24 h 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9" h="80">
                  <a:moveTo>
                    <a:pt x="25" y="24"/>
                  </a:moveTo>
                  <a:lnTo>
                    <a:pt x="25" y="0"/>
                  </a:lnTo>
                  <a:lnTo>
                    <a:pt x="8" y="8"/>
                  </a:lnTo>
                  <a:lnTo>
                    <a:pt x="0" y="24"/>
                  </a:lnTo>
                  <a:lnTo>
                    <a:pt x="0" y="48"/>
                  </a:lnTo>
                  <a:lnTo>
                    <a:pt x="0" y="72"/>
                  </a:lnTo>
                  <a:lnTo>
                    <a:pt x="42" y="80"/>
                  </a:lnTo>
                  <a:lnTo>
                    <a:pt x="59" y="48"/>
                  </a:lnTo>
                  <a:lnTo>
                    <a:pt x="25" y="24"/>
                  </a:lnTo>
                  <a:close/>
                </a:path>
              </a:pathLst>
            </a:custGeom>
            <a:solidFill>
              <a:srgbClr val="6DBACE"/>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0" name="Freeform 39"/>
            <p:cNvSpPr>
              <a:spLocks/>
            </p:cNvSpPr>
            <p:nvPr>
              <p:custDataLst>
                <p:tags r:id="rId36"/>
              </p:custDataLst>
            </p:nvPr>
          </p:nvSpPr>
          <p:spPr bwMode="auto">
            <a:xfrm>
              <a:off x="3204" y="2232"/>
              <a:ext cx="337" cy="320"/>
            </a:xfrm>
            <a:custGeom>
              <a:avLst/>
              <a:gdLst>
                <a:gd name="T0" fmla="*/ 236 w 337"/>
                <a:gd name="T1" fmla="*/ 280 h 320"/>
                <a:gd name="T2" fmla="*/ 236 w 337"/>
                <a:gd name="T3" fmla="*/ 232 h 320"/>
                <a:gd name="T4" fmla="*/ 236 w 337"/>
                <a:gd name="T5" fmla="*/ 200 h 320"/>
                <a:gd name="T6" fmla="*/ 287 w 337"/>
                <a:gd name="T7" fmla="*/ 192 h 320"/>
                <a:gd name="T8" fmla="*/ 287 w 337"/>
                <a:gd name="T9" fmla="*/ 168 h 320"/>
                <a:gd name="T10" fmla="*/ 312 w 337"/>
                <a:gd name="T11" fmla="*/ 160 h 320"/>
                <a:gd name="T12" fmla="*/ 321 w 337"/>
                <a:gd name="T13" fmla="*/ 128 h 320"/>
                <a:gd name="T14" fmla="*/ 295 w 337"/>
                <a:gd name="T15" fmla="*/ 104 h 320"/>
                <a:gd name="T16" fmla="*/ 321 w 337"/>
                <a:gd name="T17" fmla="*/ 96 h 320"/>
                <a:gd name="T18" fmla="*/ 337 w 337"/>
                <a:gd name="T19" fmla="*/ 56 h 320"/>
                <a:gd name="T20" fmla="*/ 329 w 337"/>
                <a:gd name="T21" fmla="*/ 16 h 320"/>
                <a:gd name="T22" fmla="*/ 321 w 337"/>
                <a:gd name="T23" fmla="*/ 16 h 320"/>
                <a:gd name="T24" fmla="*/ 304 w 337"/>
                <a:gd name="T25" fmla="*/ 0 h 320"/>
                <a:gd name="T26" fmla="*/ 278 w 337"/>
                <a:gd name="T27" fmla="*/ 0 h 320"/>
                <a:gd name="T28" fmla="*/ 219 w 337"/>
                <a:gd name="T29" fmla="*/ 16 h 320"/>
                <a:gd name="T30" fmla="*/ 203 w 337"/>
                <a:gd name="T31" fmla="*/ 24 h 320"/>
                <a:gd name="T32" fmla="*/ 194 w 337"/>
                <a:gd name="T33" fmla="*/ 48 h 320"/>
                <a:gd name="T34" fmla="*/ 203 w 337"/>
                <a:gd name="T35" fmla="*/ 72 h 320"/>
                <a:gd name="T36" fmla="*/ 219 w 337"/>
                <a:gd name="T37" fmla="*/ 96 h 320"/>
                <a:gd name="T38" fmla="*/ 228 w 337"/>
                <a:gd name="T39" fmla="*/ 112 h 320"/>
                <a:gd name="T40" fmla="*/ 211 w 337"/>
                <a:gd name="T41" fmla="*/ 128 h 320"/>
                <a:gd name="T42" fmla="*/ 186 w 337"/>
                <a:gd name="T43" fmla="*/ 136 h 320"/>
                <a:gd name="T44" fmla="*/ 160 w 337"/>
                <a:gd name="T45" fmla="*/ 120 h 320"/>
                <a:gd name="T46" fmla="*/ 169 w 337"/>
                <a:gd name="T47" fmla="*/ 72 h 320"/>
                <a:gd name="T48" fmla="*/ 160 w 337"/>
                <a:gd name="T49" fmla="*/ 56 h 320"/>
                <a:gd name="T50" fmla="*/ 152 w 337"/>
                <a:gd name="T51" fmla="*/ 32 h 320"/>
                <a:gd name="T52" fmla="*/ 110 w 337"/>
                <a:gd name="T53" fmla="*/ 128 h 320"/>
                <a:gd name="T54" fmla="*/ 76 w 337"/>
                <a:gd name="T55" fmla="*/ 168 h 320"/>
                <a:gd name="T56" fmla="*/ 68 w 337"/>
                <a:gd name="T57" fmla="*/ 216 h 320"/>
                <a:gd name="T58" fmla="*/ 42 w 337"/>
                <a:gd name="T59" fmla="*/ 216 h 320"/>
                <a:gd name="T60" fmla="*/ 34 w 337"/>
                <a:gd name="T61" fmla="*/ 216 h 320"/>
                <a:gd name="T62" fmla="*/ 26 w 337"/>
                <a:gd name="T63" fmla="*/ 232 h 320"/>
                <a:gd name="T64" fmla="*/ 0 w 337"/>
                <a:gd name="T65" fmla="*/ 240 h 320"/>
                <a:gd name="T66" fmla="*/ 26 w 337"/>
                <a:gd name="T67" fmla="*/ 256 h 320"/>
                <a:gd name="T68" fmla="*/ 59 w 337"/>
                <a:gd name="T69" fmla="*/ 264 h 320"/>
                <a:gd name="T70" fmla="*/ 93 w 337"/>
                <a:gd name="T71" fmla="*/ 248 h 320"/>
                <a:gd name="T72" fmla="*/ 144 w 337"/>
                <a:gd name="T73" fmla="*/ 256 h 320"/>
                <a:gd name="T74" fmla="*/ 186 w 337"/>
                <a:gd name="T75" fmla="*/ 264 h 320"/>
                <a:gd name="T76" fmla="*/ 203 w 337"/>
                <a:gd name="T77" fmla="*/ 288 h 320"/>
                <a:gd name="T78" fmla="*/ 194 w 337"/>
                <a:gd name="T79" fmla="*/ 312 h 320"/>
                <a:gd name="T80" fmla="*/ 219 w 337"/>
                <a:gd name="T81" fmla="*/ 320 h 320"/>
                <a:gd name="T82" fmla="*/ 219 w 337"/>
                <a:gd name="T83" fmla="*/ 296 h 320"/>
                <a:gd name="T84" fmla="*/ 236 w 337"/>
                <a:gd name="T85" fmla="*/ 280 h 32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37" h="320">
                  <a:moveTo>
                    <a:pt x="236" y="280"/>
                  </a:moveTo>
                  <a:lnTo>
                    <a:pt x="236" y="232"/>
                  </a:lnTo>
                  <a:lnTo>
                    <a:pt x="236" y="200"/>
                  </a:lnTo>
                  <a:lnTo>
                    <a:pt x="287" y="192"/>
                  </a:lnTo>
                  <a:lnTo>
                    <a:pt x="287" y="168"/>
                  </a:lnTo>
                  <a:lnTo>
                    <a:pt x="312" y="160"/>
                  </a:lnTo>
                  <a:lnTo>
                    <a:pt x="321" y="128"/>
                  </a:lnTo>
                  <a:lnTo>
                    <a:pt x="295" y="104"/>
                  </a:lnTo>
                  <a:lnTo>
                    <a:pt x="321" y="96"/>
                  </a:lnTo>
                  <a:lnTo>
                    <a:pt x="337" y="56"/>
                  </a:lnTo>
                  <a:lnTo>
                    <a:pt x="329" y="16"/>
                  </a:lnTo>
                  <a:lnTo>
                    <a:pt x="321" y="16"/>
                  </a:lnTo>
                  <a:lnTo>
                    <a:pt x="304" y="0"/>
                  </a:lnTo>
                  <a:lnTo>
                    <a:pt x="278" y="0"/>
                  </a:lnTo>
                  <a:lnTo>
                    <a:pt x="219" y="16"/>
                  </a:lnTo>
                  <a:lnTo>
                    <a:pt x="203" y="24"/>
                  </a:lnTo>
                  <a:lnTo>
                    <a:pt x="194" y="48"/>
                  </a:lnTo>
                  <a:lnTo>
                    <a:pt x="203" y="72"/>
                  </a:lnTo>
                  <a:lnTo>
                    <a:pt x="219" y="96"/>
                  </a:lnTo>
                  <a:lnTo>
                    <a:pt x="228" y="112"/>
                  </a:lnTo>
                  <a:lnTo>
                    <a:pt x="211" y="128"/>
                  </a:lnTo>
                  <a:lnTo>
                    <a:pt x="186" y="136"/>
                  </a:lnTo>
                  <a:lnTo>
                    <a:pt x="160" y="120"/>
                  </a:lnTo>
                  <a:lnTo>
                    <a:pt x="169" y="72"/>
                  </a:lnTo>
                  <a:lnTo>
                    <a:pt x="160" y="56"/>
                  </a:lnTo>
                  <a:lnTo>
                    <a:pt x="152" y="32"/>
                  </a:lnTo>
                  <a:lnTo>
                    <a:pt x="110" y="128"/>
                  </a:lnTo>
                  <a:lnTo>
                    <a:pt x="76" y="168"/>
                  </a:lnTo>
                  <a:lnTo>
                    <a:pt x="68" y="216"/>
                  </a:lnTo>
                  <a:lnTo>
                    <a:pt x="42" y="216"/>
                  </a:lnTo>
                  <a:lnTo>
                    <a:pt x="34" y="216"/>
                  </a:lnTo>
                  <a:lnTo>
                    <a:pt x="26" y="232"/>
                  </a:lnTo>
                  <a:lnTo>
                    <a:pt x="0" y="240"/>
                  </a:lnTo>
                  <a:lnTo>
                    <a:pt x="26" y="256"/>
                  </a:lnTo>
                  <a:lnTo>
                    <a:pt x="59" y="264"/>
                  </a:lnTo>
                  <a:lnTo>
                    <a:pt x="93" y="248"/>
                  </a:lnTo>
                  <a:lnTo>
                    <a:pt x="144" y="256"/>
                  </a:lnTo>
                  <a:lnTo>
                    <a:pt x="186" y="264"/>
                  </a:lnTo>
                  <a:lnTo>
                    <a:pt x="203" y="288"/>
                  </a:lnTo>
                  <a:lnTo>
                    <a:pt x="194" y="312"/>
                  </a:lnTo>
                  <a:lnTo>
                    <a:pt x="219" y="320"/>
                  </a:lnTo>
                  <a:lnTo>
                    <a:pt x="219" y="296"/>
                  </a:lnTo>
                  <a:lnTo>
                    <a:pt x="236" y="280"/>
                  </a:lnTo>
                  <a:close/>
                </a:path>
              </a:pathLst>
            </a:custGeom>
            <a:solidFill>
              <a:srgbClr val="6DBACE"/>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1" name="Freeform 40"/>
            <p:cNvSpPr>
              <a:spLocks/>
            </p:cNvSpPr>
            <p:nvPr>
              <p:custDataLst>
                <p:tags r:id="rId37"/>
              </p:custDataLst>
            </p:nvPr>
          </p:nvSpPr>
          <p:spPr bwMode="auto">
            <a:xfrm>
              <a:off x="3617" y="1744"/>
              <a:ext cx="211" cy="344"/>
            </a:xfrm>
            <a:custGeom>
              <a:avLst/>
              <a:gdLst>
                <a:gd name="T0" fmla="*/ 143 w 211"/>
                <a:gd name="T1" fmla="*/ 344 h 344"/>
                <a:gd name="T2" fmla="*/ 118 w 211"/>
                <a:gd name="T3" fmla="*/ 312 h 344"/>
                <a:gd name="T4" fmla="*/ 143 w 211"/>
                <a:gd name="T5" fmla="*/ 312 h 344"/>
                <a:gd name="T6" fmla="*/ 127 w 211"/>
                <a:gd name="T7" fmla="*/ 280 h 344"/>
                <a:gd name="T8" fmla="*/ 127 w 211"/>
                <a:gd name="T9" fmla="*/ 248 h 344"/>
                <a:gd name="T10" fmla="*/ 169 w 211"/>
                <a:gd name="T11" fmla="*/ 184 h 344"/>
                <a:gd name="T12" fmla="*/ 186 w 211"/>
                <a:gd name="T13" fmla="*/ 192 h 344"/>
                <a:gd name="T14" fmla="*/ 211 w 211"/>
                <a:gd name="T15" fmla="*/ 136 h 344"/>
                <a:gd name="T16" fmla="*/ 177 w 211"/>
                <a:gd name="T17" fmla="*/ 112 h 344"/>
                <a:gd name="T18" fmla="*/ 169 w 211"/>
                <a:gd name="T19" fmla="*/ 72 h 344"/>
                <a:gd name="T20" fmla="*/ 177 w 211"/>
                <a:gd name="T21" fmla="*/ 24 h 344"/>
                <a:gd name="T22" fmla="*/ 177 w 211"/>
                <a:gd name="T23" fmla="*/ 8 h 344"/>
                <a:gd name="T24" fmla="*/ 160 w 211"/>
                <a:gd name="T25" fmla="*/ 0 h 344"/>
                <a:gd name="T26" fmla="*/ 135 w 211"/>
                <a:gd name="T27" fmla="*/ 8 h 344"/>
                <a:gd name="T28" fmla="*/ 127 w 211"/>
                <a:gd name="T29" fmla="*/ 24 h 344"/>
                <a:gd name="T30" fmla="*/ 101 w 211"/>
                <a:gd name="T31" fmla="*/ 40 h 344"/>
                <a:gd name="T32" fmla="*/ 76 w 211"/>
                <a:gd name="T33" fmla="*/ 48 h 344"/>
                <a:gd name="T34" fmla="*/ 51 w 211"/>
                <a:gd name="T35" fmla="*/ 56 h 344"/>
                <a:gd name="T36" fmla="*/ 34 w 211"/>
                <a:gd name="T37" fmla="*/ 72 h 344"/>
                <a:gd name="T38" fmla="*/ 26 w 211"/>
                <a:gd name="T39" fmla="*/ 96 h 344"/>
                <a:gd name="T40" fmla="*/ 42 w 211"/>
                <a:gd name="T41" fmla="*/ 112 h 344"/>
                <a:gd name="T42" fmla="*/ 17 w 211"/>
                <a:gd name="T43" fmla="*/ 120 h 344"/>
                <a:gd name="T44" fmla="*/ 9 w 211"/>
                <a:gd name="T45" fmla="*/ 144 h 344"/>
                <a:gd name="T46" fmla="*/ 9 w 211"/>
                <a:gd name="T47" fmla="*/ 168 h 344"/>
                <a:gd name="T48" fmla="*/ 26 w 211"/>
                <a:gd name="T49" fmla="*/ 192 h 344"/>
                <a:gd name="T50" fmla="*/ 0 w 211"/>
                <a:gd name="T51" fmla="*/ 208 h 344"/>
                <a:gd name="T52" fmla="*/ 0 w 211"/>
                <a:gd name="T53" fmla="*/ 224 h 344"/>
                <a:gd name="T54" fmla="*/ 26 w 211"/>
                <a:gd name="T55" fmla="*/ 272 h 344"/>
                <a:gd name="T56" fmla="*/ 42 w 211"/>
                <a:gd name="T57" fmla="*/ 256 h 344"/>
                <a:gd name="T58" fmla="*/ 51 w 211"/>
                <a:gd name="T59" fmla="*/ 304 h 344"/>
                <a:gd name="T60" fmla="*/ 59 w 211"/>
                <a:gd name="T61" fmla="*/ 328 h 344"/>
                <a:gd name="T62" fmla="*/ 84 w 211"/>
                <a:gd name="T63" fmla="*/ 336 h 344"/>
                <a:gd name="T64" fmla="*/ 143 w 211"/>
                <a:gd name="T65" fmla="*/ 344 h 3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1" h="344">
                  <a:moveTo>
                    <a:pt x="143" y="344"/>
                  </a:moveTo>
                  <a:lnTo>
                    <a:pt x="118" y="312"/>
                  </a:lnTo>
                  <a:lnTo>
                    <a:pt x="143" y="312"/>
                  </a:lnTo>
                  <a:lnTo>
                    <a:pt x="127" y="280"/>
                  </a:lnTo>
                  <a:lnTo>
                    <a:pt x="127" y="248"/>
                  </a:lnTo>
                  <a:lnTo>
                    <a:pt x="169" y="184"/>
                  </a:lnTo>
                  <a:lnTo>
                    <a:pt x="186" y="192"/>
                  </a:lnTo>
                  <a:lnTo>
                    <a:pt x="211" y="136"/>
                  </a:lnTo>
                  <a:lnTo>
                    <a:pt x="177" y="112"/>
                  </a:lnTo>
                  <a:lnTo>
                    <a:pt x="169" y="72"/>
                  </a:lnTo>
                  <a:lnTo>
                    <a:pt x="177" y="24"/>
                  </a:lnTo>
                  <a:lnTo>
                    <a:pt x="177" y="8"/>
                  </a:lnTo>
                  <a:lnTo>
                    <a:pt x="160" y="0"/>
                  </a:lnTo>
                  <a:lnTo>
                    <a:pt x="135" y="8"/>
                  </a:lnTo>
                  <a:lnTo>
                    <a:pt x="127" y="24"/>
                  </a:lnTo>
                  <a:lnTo>
                    <a:pt x="101" y="40"/>
                  </a:lnTo>
                  <a:lnTo>
                    <a:pt x="76" y="48"/>
                  </a:lnTo>
                  <a:lnTo>
                    <a:pt x="51" y="56"/>
                  </a:lnTo>
                  <a:lnTo>
                    <a:pt x="34" y="72"/>
                  </a:lnTo>
                  <a:lnTo>
                    <a:pt x="26" y="96"/>
                  </a:lnTo>
                  <a:lnTo>
                    <a:pt x="42" y="112"/>
                  </a:lnTo>
                  <a:lnTo>
                    <a:pt x="17" y="120"/>
                  </a:lnTo>
                  <a:lnTo>
                    <a:pt x="9" y="144"/>
                  </a:lnTo>
                  <a:lnTo>
                    <a:pt x="9" y="168"/>
                  </a:lnTo>
                  <a:lnTo>
                    <a:pt x="26" y="192"/>
                  </a:lnTo>
                  <a:lnTo>
                    <a:pt x="0" y="208"/>
                  </a:lnTo>
                  <a:lnTo>
                    <a:pt x="0" y="224"/>
                  </a:lnTo>
                  <a:lnTo>
                    <a:pt x="26" y="272"/>
                  </a:lnTo>
                  <a:lnTo>
                    <a:pt x="42" y="256"/>
                  </a:lnTo>
                  <a:lnTo>
                    <a:pt x="51" y="304"/>
                  </a:lnTo>
                  <a:lnTo>
                    <a:pt x="59" y="328"/>
                  </a:lnTo>
                  <a:lnTo>
                    <a:pt x="84" y="336"/>
                  </a:lnTo>
                  <a:lnTo>
                    <a:pt x="143" y="34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2" name="Freeform 41"/>
            <p:cNvSpPr>
              <a:spLocks/>
            </p:cNvSpPr>
            <p:nvPr>
              <p:custDataLst>
                <p:tags r:id="rId38"/>
              </p:custDataLst>
            </p:nvPr>
          </p:nvSpPr>
          <p:spPr bwMode="auto">
            <a:xfrm>
              <a:off x="3428" y="2084"/>
              <a:ext cx="750" cy="888"/>
            </a:xfrm>
            <a:custGeom>
              <a:avLst/>
              <a:gdLst>
                <a:gd name="T0" fmla="*/ 228 w 750"/>
                <a:gd name="T1" fmla="*/ 848 h 888"/>
                <a:gd name="T2" fmla="*/ 354 w 750"/>
                <a:gd name="T3" fmla="*/ 888 h 888"/>
                <a:gd name="T4" fmla="*/ 447 w 750"/>
                <a:gd name="T5" fmla="*/ 880 h 888"/>
                <a:gd name="T6" fmla="*/ 557 w 750"/>
                <a:gd name="T7" fmla="*/ 848 h 888"/>
                <a:gd name="T8" fmla="*/ 616 w 750"/>
                <a:gd name="T9" fmla="*/ 832 h 888"/>
                <a:gd name="T10" fmla="*/ 632 w 750"/>
                <a:gd name="T11" fmla="*/ 776 h 888"/>
                <a:gd name="T12" fmla="*/ 675 w 750"/>
                <a:gd name="T13" fmla="*/ 744 h 888"/>
                <a:gd name="T14" fmla="*/ 607 w 750"/>
                <a:gd name="T15" fmla="*/ 656 h 888"/>
                <a:gd name="T16" fmla="*/ 557 w 750"/>
                <a:gd name="T17" fmla="*/ 584 h 888"/>
                <a:gd name="T18" fmla="*/ 557 w 750"/>
                <a:gd name="T19" fmla="*/ 520 h 888"/>
                <a:gd name="T20" fmla="*/ 641 w 750"/>
                <a:gd name="T21" fmla="*/ 488 h 888"/>
                <a:gd name="T22" fmla="*/ 691 w 750"/>
                <a:gd name="T23" fmla="*/ 440 h 888"/>
                <a:gd name="T24" fmla="*/ 750 w 750"/>
                <a:gd name="T25" fmla="*/ 456 h 888"/>
                <a:gd name="T26" fmla="*/ 725 w 750"/>
                <a:gd name="T27" fmla="*/ 360 h 888"/>
                <a:gd name="T28" fmla="*/ 717 w 750"/>
                <a:gd name="T29" fmla="*/ 280 h 888"/>
                <a:gd name="T30" fmla="*/ 666 w 750"/>
                <a:gd name="T31" fmla="*/ 216 h 888"/>
                <a:gd name="T32" fmla="*/ 683 w 750"/>
                <a:gd name="T33" fmla="*/ 136 h 888"/>
                <a:gd name="T34" fmla="*/ 641 w 750"/>
                <a:gd name="T35" fmla="*/ 80 h 888"/>
                <a:gd name="T36" fmla="*/ 616 w 750"/>
                <a:gd name="T37" fmla="*/ 32 h 888"/>
                <a:gd name="T38" fmla="*/ 582 w 750"/>
                <a:gd name="T39" fmla="*/ 32 h 888"/>
                <a:gd name="T40" fmla="*/ 557 w 750"/>
                <a:gd name="T41" fmla="*/ 40 h 888"/>
                <a:gd name="T42" fmla="*/ 540 w 750"/>
                <a:gd name="T43" fmla="*/ 40 h 888"/>
                <a:gd name="T44" fmla="*/ 481 w 750"/>
                <a:gd name="T45" fmla="*/ 72 h 888"/>
                <a:gd name="T46" fmla="*/ 439 w 750"/>
                <a:gd name="T47" fmla="*/ 96 h 888"/>
                <a:gd name="T48" fmla="*/ 430 w 750"/>
                <a:gd name="T49" fmla="*/ 64 h 888"/>
                <a:gd name="T50" fmla="*/ 396 w 750"/>
                <a:gd name="T51" fmla="*/ 56 h 888"/>
                <a:gd name="T52" fmla="*/ 346 w 750"/>
                <a:gd name="T53" fmla="*/ 16 h 888"/>
                <a:gd name="T54" fmla="*/ 253 w 750"/>
                <a:gd name="T55" fmla="*/ 0 h 888"/>
                <a:gd name="T56" fmla="*/ 245 w 750"/>
                <a:gd name="T57" fmla="*/ 40 h 888"/>
                <a:gd name="T58" fmla="*/ 278 w 750"/>
                <a:gd name="T59" fmla="*/ 112 h 888"/>
                <a:gd name="T60" fmla="*/ 236 w 750"/>
                <a:gd name="T61" fmla="*/ 112 h 888"/>
                <a:gd name="T62" fmla="*/ 220 w 750"/>
                <a:gd name="T63" fmla="*/ 136 h 888"/>
                <a:gd name="T64" fmla="*/ 186 w 750"/>
                <a:gd name="T65" fmla="*/ 128 h 888"/>
                <a:gd name="T66" fmla="*/ 110 w 750"/>
                <a:gd name="T67" fmla="*/ 144 h 888"/>
                <a:gd name="T68" fmla="*/ 118 w 750"/>
                <a:gd name="T69" fmla="*/ 208 h 888"/>
                <a:gd name="T70" fmla="*/ 76 w 750"/>
                <a:gd name="T71" fmla="*/ 256 h 888"/>
                <a:gd name="T72" fmla="*/ 93 w 750"/>
                <a:gd name="T73" fmla="*/ 312 h 888"/>
                <a:gd name="T74" fmla="*/ 68 w 750"/>
                <a:gd name="T75" fmla="*/ 344 h 888"/>
                <a:gd name="T76" fmla="*/ 17 w 750"/>
                <a:gd name="T77" fmla="*/ 384 h 888"/>
                <a:gd name="T78" fmla="*/ 0 w 750"/>
                <a:gd name="T79" fmla="*/ 448 h 888"/>
                <a:gd name="T80" fmla="*/ 9 w 750"/>
                <a:gd name="T81" fmla="*/ 480 h 888"/>
                <a:gd name="T82" fmla="*/ 34 w 750"/>
                <a:gd name="T83" fmla="*/ 536 h 888"/>
                <a:gd name="T84" fmla="*/ 9 w 750"/>
                <a:gd name="T85" fmla="*/ 552 h 888"/>
                <a:gd name="T86" fmla="*/ 43 w 750"/>
                <a:gd name="T87" fmla="*/ 600 h 888"/>
                <a:gd name="T88" fmla="*/ 51 w 750"/>
                <a:gd name="T89" fmla="*/ 664 h 888"/>
                <a:gd name="T90" fmla="*/ 135 w 750"/>
                <a:gd name="T91" fmla="*/ 688 h 888"/>
                <a:gd name="T92" fmla="*/ 152 w 750"/>
                <a:gd name="T93" fmla="*/ 736 h 888"/>
                <a:gd name="T94" fmla="*/ 127 w 750"/>
                <a:gd name="T95" fmla="*/ 864 h 888"/>
                <a:gd name="T96" fmla="*/ 144 w 750"/>
                <a:gd name="T97" fmla="*/ 872 h 88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50" h="888">
                  <a:moveTo>
                    <a:pt x="194" y="864"/>
                  </a:moveTo>
                  <a:lnTo>
                    <a:pt x="228" y="848"/>
                  </a:lnTo>
                  <a:lnTo>
                    <a:pt x="312" y="872"/>
                  </a:lnTo>
                  <a:lnTo>
                    <a:pt x="354" y="888"/>
                  </a:lnTo>
                  <a:lnTo>
                    <a:pt x="388" y="872"/>
                  </a:lnTo>
                  <a:lnTo>
                    <a:pt x="447" y="880"/>
                  </a:lnTo>
                  <a:lnTo>
                    <a:pt x="489" y="872"/>
                  </a:lnTo>
                  <a:lnTo>
                    <a:pt x="557" y="848"/>
                  </a:lnTo>
                  <a:lnTo>
                    <a:pt x="616" y="864"/>
                  </a:lnTo>
                  <a:lnTo>
                    <a:pt x="616" y="832"/>
                  </a:lnTo>
                  <a:lnTo>
                    <a:pt x="599" y="800"/>
                  </a:lnTo>
                  <a:lnTo>
                    <a:pt x="632" y="776"/>
                  </a:lnTo>
                  <a:lnTo>
                    <a:pt x="641" y="744"/>
                  </a:lnTo>
                  <a:lnTo>
                    <a:pt x="675" y="744"/>
                  </a:lnTo>
                  <a:lnTo>
                    <a:pt x="683" y="712"/>
                  </a:lnTo>
                  <a:lnTo>
                    <a:pt x="607" y="656"/>
                  </a:lnTo>
                  <a:lnTo>
                    <a:pt x="548" y="608"/>
                  </a:lnTo>
                  <a:lnTo>
                    <a:pt x="557" y="584"/>
                  </a:lnTo>
                  <a:lnTo>
                    <a:pt x="523" y="544"/>
                  </a:lnTo>
                  <a:lnTo>
                    <a:pt x="557" y="520"/>
                  </a:lnTo>
                  <a:lnTo>
                    <a:pt x="599" y="512"/>
                  </a:lnTo>
                  <a:lnTo>
                    <a:pt x="641" y="488"/>
                  </a:lnTo>
                  <a:lnTo>
                    <a:pt x="683" y="472"/>
                  </a:lnTo>
                  <a:lnTo>
                    <a:pt x="691" y="440"/>
                  </a:lnTo>
                  <a:lnTo>
                    <a:pt x="725" y="440"/>
                  </a:lnTo>
                  <a:lnTo>
                    <a:pt x="750" y="456"/>
                  </a:lnTo>
                  <a:lnTo>
                    <a:pt x="750" y="392"/>
                  </a:lnTo>
                  <a:lnTo>
                    <a:pt x="725" y="360"/>
                  </a:lnTo>
                  <a:lnTo>
                    <a:pt x="742" y="320"/>
                  </a:lnTo>
                  <a:lnTo>
                    <a:pt x="717" y="280"/>
                  </a:lnTo>
                  <a:lnTo>
                    <a:pt x="717" y="248"/>
                  </a:lnTo>
                  <a:lnTo>
                    <a:pt x="666" y="216"/>
                  </a:lnTo>
                  <a:lnTo>
                    <a:pt x="691" y="168"/>
                  </a:lnTo>
                  <a:lnTo>
                    <a:pt x="683" y="136"/>
                  </a:lnTo>
                  <a:lnTo>
                    <a:pt x="675" y="88"/>
                  </a:lnTo>
                  <a:lnTo>
                    <a:pt x="641" y="80"/>
                  </a:lnTo>
                  <a:lnTo>
                    <a:pt x="607" y="64"/>
                  </a:lnTo>
                  <a:lnTo>
                    <a:pt x="616" y="32"/>
                  </a:lnTo>
                  <a:lnTo>
                    <a:pt x="590" y="16"/>
                  </a:lnTo>
                  <a:lnTo>
                    <a:pt x="582" y="32"/>
                  </a:lnTo>
                  <a:lnTo>
                    <a:pt x="573" y="48"/>
                  </a:lnTo>
                  <a:lnTo>
                    <a:pt x="557" y="40"/>
                  </a:lnTo>
                  <a:lnTo>
                    <a:pt x="548" y="40"/>
                  </a:lnTo>
                  <a:lnTo>
                    <a:pt x="540" y="40"/>
                  </a:lnTo>
                  <a:lnTo>
                    <a:pt x="514" y="64"/>
                  </a:lnTo>
                  <a:lnTo>
                    <a:pt x="481" y="72"/>
                  </a:lnTo>
                  <a:lnTo>
                    <a:pt x="464" y="96"/>
                  </a:lnTo>
                  <a:lnTo>
                    <a:pt x="439" y="96"/>
                  </a:lnTo>
                  <a:lnTo>
                    <a:pt x="413" y="88"/>
                  </a:lnTo>
                  <a:lnTo>
                    <a:pt x="430" y="64"/>
                  </a:lnTo>
                  <a:lnTo>
                    <a:pt x="422" y="32"/>
                  </a:lnTo>
                  <a:lnTo>
                    <a:pt x="396" y="56"/>
                  </a:lnTo>
                  <a:lnTo>
                    <a:pt x="346" y="40"/>
                  </a:lnTo>
                  <a:lnTo>
                    <a:pt x="346" y="16"/>
                  </a:lnTo>
                  <a:lnTo>
                    <a:pt x="337" y="8"/>
                  </a:lnTo>
                  <a:lnTo>
                    <a:pt x="253" y="0"/>
                  </a:lnTo>
                  <a:lnTo>
                    <a:pt x="270" y="24"/>
                  </a:lnTo>
                  <a:lnTo>
                    <a:pt x="245" y="40"/>
                  </a:lnTo>
                  <a:lnTo>
                    <a:pt x="245" y="64"/>
                  </a:lnTo>
                  <a:lnTo>
                    <a:pt x="278" y="112"/>
                  </a:lnTo>
                  <a:lnTo>
                    <a:pt x="253" y="112"/>
                  </a:lnTo>
                  <a:lnTo>
                    <a:pt x="236" y="112"/>
                  </a:lnTo>
                  <a:lnTo>
                    <a:pt x="228" y="128"/>
                  </a:lnTo>
                  <a:lnTo>
                    <a:pt x="220" y="136"/>
                  </a:lnTo>
                  <a:lnTo>
                    <a:pt x="211" y="136"/>
                  </a:lnTo>
                  <a:lnTo>
                    <a:pt x="186" y="128"/>
                  </a:lnTo>
                  <a:lnTo>
                    <a:pt x="135" y="128"/>
                  </a:lnTo>
                  <a:lnTo>
                    <a:pt x="110" y="144"/>
                  </a:lnTo>
                  <a:lnTo>
                    <a:pt x="110" y="168"/>
                  </a:lnTo>
                  <a:lnTo>
                    <a:pt x="118" y="208"/>
                  </a:lnTo>
                  <a:lnTo>
                    <a:pt x="102" y="248"/>
                  </a:lnTo>
                  <a:lnTo>
                    <a:pt x="76" y="256"/>
                  </a:lnTo>
                  <a:lnTo>
                    <a:pt x="102" y="280"/>
                  </a:lnTo>
                  <a:lnTo>
                    <a:pt x="93" y="312"/>
                  </a:lnTo>
                  <a:lnTo>
                    <a:pt x="68" y="320"/>
                  </a:lnTo>
                  <a:lnTo>
                    <a:pt x="68" y="344"/>
                  </a:lnTo>
                  <a:lnTo>
                    <a:pt x="17" y="352"/>
                  </a:lnTo>
                  <a:lnTo>
                    <a:pt x="17" y="384"/>
                  </a:lnTo>
                  <a:lnTo>
                    <a:pt x="17" y="432"/>
                  </a:lnTo>
                  <a:lnTo>
                    <a:pt x="0" y="448"/>
                  </a:lnTo>
                  <a:lnTo>
                    <a:pt x="0" y="472"/>
                  </a:lnTo>
                  <a:lnTo>
                    <a:pt x="9" y="480"/>
                  </a:lnTo>
                  <a:lnTo>
                    <a:pt x="34" y="504"/>
                  </a:lnTo>
                  <a:lnTo>
                    <a:pt x="34" y="536"/>
                  </a:lnTo>
                  <a:lnTo>
                    <a:pt x="17" y="552"/>
                  </a:lnTo>
                  <a:lnTo>
                    <a:pt x="9" y="552"/>
                  </a:lnTo>
                  <a:lnTo>
                    <a:pt x="9" y="576"/>
                  </a:lnTo>
                  <a:lnTo>
                    <a:pt x="43" y="600"/>
                  </a:lnTo>
                  <a:lnTo>
                    <a:pt x="26" y="632"/>
                  </a:lnTo>
                  <a:lnTo>
                    <a:pt x="51" y="664"/>
                  </a:lnTo>
                  <a:lnTo>
                    <a:pt x="76" y="672"/>
                  </a:lnTo>
                  <a:lnTo>
                    <a:pt x="135" y="688"/>
                  </a:lnTo>
                  <a:lnTo>
                    <a:pt x="186" y="704"/>
                  </a:lnTo>
                  <a:lnTo>
                    <a:pt x="152" y="736"/>
                  </a:lnTo>
                  <a:lnTo>
                    <a:pt x="144" y="776"/>
                  </a:lnTo>
                  <a:lnTo>
                    <a:pt x="127" y="864"/>
                  </a:lnTo>
                  <a:lnTo>
                    <a:pt x="118" y="864"/>
                  </a:lnTo>
                  <a:lnTo>
                    <a:pt x="144" y="872"/>
                  </a:lnTo>
                  <a:lnTo>
                    <a:pt x="194" y="86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3" name="Freeform 42"/>
            <p:cNvSpPr>
              <a:spLocks/>
            </p:cNvSpPr>
            <p:nvPr>
              <p:custDataLst>
                <p:tags r:id="rId39"/>
              </p:custDataLst>
            </p:nvPr>
          </p:nvSpPr>
          <p:spPr bwMode="auto">
            <a:xfrm>
              <a:off x="3617" y="1744"/>
              <a:ext cx="211" cy="344"/>
            </a:xfrm>
            <a:custGeom>
              <a:avLst/>
              <a:gdLst>
                <a:gd name="T0" fmla="*/ 143 w 211"/>
                <a:gd name="T1" fmla="*/ 344 h 344"/>
                <a:gd name="T2" fmla="*/ 118 w 211"/>
                <a:gd name="T3" fmla="*/ 312 h 344"/>
                <a:gd name="T4" fmla="*/ 143 w 211"/>
                <a:gd name="T5" fmla="*/ 312 h 344"/>
                <a:gd name="T6" fmla="*/ 127 w 211"/>
                <a:gd name="T7" fmla="*/ 280 h 344"/>
                <a:gd name="T8" fmla="*/ 127 w 211"/>
                <a:gd name="T9" fmla="*/ 248 h 344"/>
                <a:gd name="T10" fmla="*/ 169 w 211"/>
                <a:gd name="T11" fmla="*/ 184 h 344"/>
                <a:gd name="T12" fmla="*/ 186 w 211"/>
                <a:gd name="T13" fmla="*/ 192 h 344"/>
                <a:gd name="T14" fmla="*/ 211 w 211"/>
                <a:gd name="T15" fmla="*/ 136 h 344"/>
                <a:gd name="T16" fmla="*/ 177 w 211"/>
                <a:gd name="T17" fmla="*/ 112 h 344"/>
                <a:gd name="T18" fmla="*/ 169 w 211"/>
                <a:gd name="T19" fmla="*/ 72 h 344"/>
                <a:gd name="T20" fmla="*/ 177 w 211"/>
                <a:gd name="T21" fmla="*/ 24 h 344"/>
                <a:gd name="T22" fmla="*/ 177 w 211"/>
                <a:gd name="T23" fmla="*/ 8 h 344"/>
                <a:gd name="T24" fmla="*/ 160 w 211"/>
                <a:gd name="T25" fmla="*/ 0 h 344"/>
                <a:gd name="T26" fmla="*/ 135 w 211"/>
                <a:gd name="T27" fmla="*/ 8 h 344"/>
                <a:gd name="T28" fmla="*/ 127 w 211"/>
                <a:gd name="T29" fmla="*/ 24 h 344"/>
                <a:gd name="T30" fmla="*/ 101 w 211"/>
                <a:gd name="T31" fmla="*/ 40 h 344"/>
                <a:gd name="T32" fmla="*/ 76 w 211"/>
                <a:gd name="T33" fmla="*/ 48 h 344"/>
                <a:gd name="T34" fmla="*/ 51 w 211"/>
                <a:gd name="T35" fmla="*/ 56 h 344"/>
                <a:gd name="T36" fmla="*/ 34 w 211"/>
                <a:gd name="T37" fmla="*/ 72 h 344"/>
                <a:gd name="T38" fmla="*/ 26 w 211"/>
                <a:gd name="T39" fmla="*/ 96 h 344"/>
                <a:gd name="T40" fmla="*/ 42 w 211"/>
                <a:gd name="T41" fmla="*/ 112 h 344"/>
                <a:gd name="T42" fmla="*/ 17 w 211"/>
                <a:gd name="T43" fmla="*/ 120 h 344"/>
                <a:gd name="T44" fmla="*/ 9 w 211"/>
                <a:gd name="T45" fmla="*/ 144 h 344"/>
                <a:gd name="T46" fmla="*/ 9 w 211"/>
                <a:gd name="T47" fmla="*/ 168 h 344"/>
                <a:gd name="T48" fmla="*/ 26 w 211"/>
                <a:gd name="T49" fmla="*/ 192 h 344"/>
                <a:gd name="T50" fmla="*/ 0 w 211"/>
                <a:gd name="T51" fmla="*/ 208 h 344"/>
                <a:gd name="T52" fmla="*/ 0 w 211"/>
                <a:gd name="T53" fmla="*/ 224 h 344"/>
                <a:gd name="T54" fmla="*/ 26 w 211"/>
                <a:gd name="T55" fmla="*/ 272 h 344"/>
                <a:gd name="T56" fmla="*/ 42 w 211"/>
                <a:gd name="T57" fmla="*/ 256 h 344"/>
                <a:gd name="T58" fmla="*/ 51 w 211"/>
                <a:gd name="T59" fmla="*/ 304 h 344"/>
                <a:gd name="T60" fmla="*/ 59 w 211"/>
                <a:gd name="T61" fmla="*/ 328 h 344"/>
                <a:gd name="T62" fmla="*/ 84 w 211"/>
                <a:gd name="T63" fmla="*/ 336 h 344"/>
                <a:gd name="T64" fmla="*/ 143 w 211"/>
                <a:gd name="T65" fmla="*/ 344 h 3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1" h="344">
                  <a:moveTo>
                    <a:pt x="143" y="344"/>
                  </a:moveTo>
                  <a:lnTo>
                    <a:pt x="118" y="312"/>
                  </a:lnTo>
                  <a:lnTo>
                    <a:pt x="143" y="312"/>
                  </a:lnTo>
                  <a:lnTo>
                    <a:pt x="127" y="280"/>
                  </a:lnTo>
                  <a:lnTo>
                    <a:pt x="127" y="248"/>
                  </a:lnTo>
                  <a:lnTo>
                    <a:pt x="169" y="184"/>
                  </a:lnTo>
                  <a:lnTo>
                    <a:pt x="186" y="192"/>
                  </a:lnTo>
                  <a:lnTo>
                    <a:pt x="211" y="136"/>
                  </a:lnTo>
                  <a:lnTo>
                    <a:pt x="177" y="112"/>
                  </a:lnTo>
                  <a:lnTo>
                    <a:pt x="169" y="72"/>
                  </a:lnTo>
                  <a:lnTo>
                    <a:pt x="177" y="24"/>
                  </a:lnTo>
                  <a:lnTo>
                    <a:pt x="177" y="8"/>
                  </a:lnTo>
                  <a:lnTo>
                    <a:pt x="160" y="0"/>
                  </a:lnTo>
                  <a:lnTo>
                    <a:pt x="135" y="8"/>
                  </a:lnTo>
                  <a:lnTo>
                    <a:pt x="127" y="24"/>
                  </a:lnTo>
                  <a:lnTo>
                    <a:pt x="101" y="40"/>
                  </a:lnTo>
                  <a:lnTo>
                    <a:pt x="76" y="48"/>
                  </a:lnTo>
                  <a:lnTo>
                    <a:pt x="51" y="56"/>
                  </a:lnTo>
                  <a:lnTo>
                    <a:pt x="34" y="72"/>
                  </a:lnTo>
                  <a:lnTo>
                    <a:pt x="26" y="96"/>
                  </a:lnTo>
                  <a:lnTo>
                    <a:pt x="42" y="112"/>
                  </a:lnTo>
                  <a:lnTo>
                    <a:pt x="17" y="120"/>
                  </a:lnTo>
                  <a:lnTo>
                    <a:pt x="9" y="144"/>
                  </a:lnTo>
                  <a:lnTo>
                    <a:pt x="9" y="168"/>
                  </a:lnTo>
                  <a:lnTo>
                    <a:pt x="26" y="192"/>
                  </a:lnTo>
                  <a:lnTo>
                    <a:pt x="0" y="208"/>
                  </a:lnTo>
                  <a:lnTo>
                    <a:pt x="0" y="224"/>
                  </a:lnTo>
                  <a:lnTo>
                    <a:pt x="26" y="272"/>
                  </a:lnTo>
                  <a:lnTo>
                    <a:pt x="42" y="256"/>
                  </a:lnTo>
                  <a:lnTo>
                    <a:pt x="51" y="304"/>
                  </a:lnTo>
                  <a:lnTo>
                    <a:pt x="59" y="328"/>
                  </a:lnTo>
                  <a:lnTo>
                    <a:pt x="84" y="336"/>
                  </a:lnTo>
                  <a:lnTo>
                    <a:pt x="143" y="344"/>
                  </a:lnTo>
                  <a:close/>
                </a:path>
              </a:pathLst>
            </a:custGeom>
            <a:solidFill>
              <a:srgbClr val="6DBACE"/>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4" name="Freeform 43"/>
            <p:cNvSpPr>
              <a:spLocks/>
            </p:cNvSpPr>
            <p:nvPr>
              <p:custDataLst>
                <p:tags r:id="rId40"/>
              </p:custDataLst>
            </p:nvPr>
          </p:nvSpPr>
          <p:spPr bwMode="auto">
            <a:xfrm>
              <a:off x="3423" y="2080"/>
              <a:ext cx="750" cy="888"/>
            </a:xfrm>
            <a:custGeom>
              <a:avLst/>
              <a:gdLst>
                <a:gd name="T0" fmla="*/ 228 w 750"/>
                <a:gd name="T1" fmla="*/ 848 h 888"/>
                <a:gd name="T2" fmla="*/ 354 w 750"/>
                <a:gd name="T3" fmla="*/ 888 h 888"/>
                <a:gd name="T4" fmla="*/ 447 w 750"/>
                <a:gd name="T5" fmla="*/ 880 h 888"/>
                <a:gd name="T6" fmla="*/ 557 w 750"/>
                <a:gd name="T7" fmla="*/ 848 h 888"/>
                <a:gd name="T8" fmla="*/ 616 w 750"/>
                <a:gd name="T9" fmla="*/ 832 h 888"/>
                <a:gd name="T10" fmla="*/ 632 w 750"/>
                <a:gd name="T11" fmla="*/ 776 h 888"/>
                <a:gd name="T12" fmla="*/ 675 w 750"/>
                <a:gd name="T13" fmla="*/ 744 h 888"/>
                <a:gd name="T14" fmla="*/ 607 w 750"/>
                <a:gd name="T15" fmla="*/ 656 h 888"/>
                <a:gd name="T16" fmla="*/ 557 w 750"/>
                <a:gd name="T17" fmla="*/ 584 h 888"/>
                <a:gd name="T18" fmla="*/ 557 w 750"/>
                <a:gd name="T19" fmla="*/ 520 h 888"/>
                <a:gd name="T20" fmla="*/ 641 w 750"/>
                <a:gd name="T21" fmla="*/ 488 h 888"/>
                <a:gd name="T22" fmla="*/ 691 w 750"/>
                <a:gd name="T23" fmla="*/ 440 h 888"/>
                <a:gd name="T24" fmla="*/ 750 w 750"/>
                <a:gd name="T25" fmla="*/ 456 h 888"/>
                <a:gd name="T26" fmla="*/ 725 w 750"/>
                <a:gd name="T27" fmla="*/ 360 h 888"/>
                <a:gd name="T28" fmla="*/ 717 w 750"/>
                <a:gd name="T29" fmla="*/ 280 h 888"/>
                <a:gd name="T30" fmla="*/ 666 w 750"/>
                <a:gd name="T31" fmla="*/ 216 h 888"/>
                <a:gd name="T32" fmla="*/ 683 w 750"/>
                <a:gd name="T33" fmla="*/ 136 h 888"/>
                <a:gd name="T34" fmla="*/ 641 w 750"/>
                <a:gd name="T35" fmla="*/ 80 h 888"/>
                <a:gd name="T36" fmla="*/ 616 w 750"/>
                <a:gd name="T37" fmla="*/ 32 h 888"/>
                <a:gd name="T38" fmla="*/ 582 w 750"/>
                <a:gd name="T39" fmla="*/ 32 h 888"/>
                <a:gd name="T40" fmla="*/ 557 w 750"/>
                <a:gd name="T41" fmla="*/ 40 h 888"/>
                <a:gd name="T42" fmla="*/ 540 w 750"/>
                <a:gd name="T43" fmla="*/ 40 h 888"/>
                <a:gd name="T44" fmla="*/ 481 w 750"/>
                <a:gd name="T45" fmla="*/ 72 h 888"/>
                <a:gd name="T46" fmla="*/ 439 w 750"/>
                <a:gd name="T47" fmla="*/ 96 h 888"/>
                <a:gd name="T48" fmla="*/ 430 w 750"/>
                <a:gd name="T49" fmla="*/ 64 h 888"/>
                <a:gd name="T50" fmla="*/ 396 w 750"/>
                <a:gd name="T51" fmla="*/ 56 h 888"/>
                <a:gd name="T52" fmla="*/ 346 w 750"/>
                <a:gd name="T53" fmla="*/ 16 h 888"/>
                <a:gd name="T54" fmla="*/ 253 w 750"/>
                <a:gd name="T55" fmla="*/ 0 h 888"/>
                <a:gd name="T56" fmla="*/ 245 w 750"/>
                <a:gd name="T57" fmla="*/ 40 h 888"/>
                <a:gd name="T58" fmla="*/ 278 w 750"/>
                <a:gd name="T59" fmla="*/ 112 h 888"/>
                <a:gd name="T60" fmla="*/ 236 w 750"/>
                <a:gd name="T61" fmla="*/ 112 h 888"/>
                <a:gd name="T62" fmla="*/ 220 w 750"/>
                <a:gd name="T63" fmla="*/ 136 h 888"/>
                <a:gd name="T64" fmla="*/ 186 w 750"/>
                <a:gd name="T65" fmla="*/ 128 h 888"/>
                <a:gd name="T66" fmla="*/ 110 w 750"/>
                <a:gd name="T67" fmla="*/ 144 h 888"/>
                <a:gd name="T68" fmla="*/ 118 w 750"/>
                <a:gd name="T69" fmla="*/ 208 h 888"/>
                <a:gd name="T70" fmla="*/ 76 w 750"/>
                <a:gd name="T71" fmla="*/ 256 h 888"/>
                <a:gd name="T72" fmla="*/ 93 w 750"/>
                <a:gd name="T73" fmla="*/ 312 h 888"/>
                <a:gd name="T74" fmla="*/ 68 w 750"/>
                <a:gd name="T75" fmla="*/ 344 h 888"/>
                <a:gd name="T76" fmla="*/ 17 w 750"/>
                <a:gd name="T77" fmla="*/ 384 h 888"/>
                <a:gd name="T78" fmla="*/ 0 w 750"/>
                <a:gd name="T79" fmla="*/ 448 h 888"/>
                <a:gd name="T80" fmla="*/ 9 w 750"/>
                <a:gd name="T81" fmla="*/ 480 h 888"/>
                <a:gd name="T82" fmla="*/ 34 w 750"/>
                <a:gd name="T83" fmla="*/ 536 h 888"/>
                <a:gd name="T84" fmla="*/ 9 w 750"/>
                <a:gd name="T85" fmla="*/ 552 h 888"/>
                <a:gd name="T86" fmla="*/ 43 w 750"/>
                <a:gd name="T87" fmla="*/ 600 h 888"/>
                <a:gd name="T88" fmla="*/ 26 w 750"/>
                <a:gd name="T89" fmla="*/ 632 h 888"/>
                <a:gd name="T90" fmla="*/ 76 w 750"/>
                <a:gd name="T91" fmla="*/ 672 h 888"/>
                <a:gd name="T92" fmla="*/ 186 w 750"/>
                <a:gd name="T93" fmla="*/ 704 h 888"/>
                <a:gd name="T94" fmla="*/ 144 w 750"/>
                <a:gd name="T95" fmla="*/ 776 h 888"/>
                <a:gd name="T96" fmla="*/ 118 w 750"/>
                <a:gd name="T97" fmla="*/ 864 h 888"/>
                <a:gd name="T98" fmla="*/ 194 w 750"/>
                <a:gd name="T99" fmla="*/ 864 h 88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750" h="888">
                  <a:moveTo>
                    <a:pt x="194" y="864"/>
                  </a:moveTo>
                  <a:lnTo>
                    <a:pt x="228" y="848"/>
                  </a:lnTo>
                  <a:lnTo>
                    <a:pt x="312" y="872"/>
                  </a:lnTo>
                  <a:lnTo>
                    <a:pt x="354" y="888"/>
                  </a:lnTo>
                  <a:lnTo>
                    <a:pt x="388" y="872"/>
                  </a:lnTo>
                  <a:lnTo>
                    <a:pt x="447" y="880"/>
                  </a:lnTo>
                  <a:lnTo>
                    <a:pt x="489" y="872"/>
                  </a:lnTo>
                  <a:lnTo>
                    <a:pt x="557" y="848"/>
                  </a:lnTo>
                  <a:lnTo>
                    <a:pt x="616" y="864"/>
                  </a:lnTo>
                  <a:lnTo>
                    <a:pt x="616" y="832"/>
                  </a:lnTo>
                  <a:lnTo>
                    <a:pt x="599" y="800"/>
                  </a:lnTo>
                  <a:lnTo>
                    <a:pt x="632" y="776"/>
                  </a:lnTo>
                  <a:lnTo>
                    <a:pt x="641" y="744"/>
                  </a:lnTo>
                  <a:lnTo>
                    <a:pt x="675" y="744"/>
                  </a:lnTo>
                  <a:lnTo>
                    <a:pt x="683" y="712"/>
                  </a:lnTo>
                  <a:lnTo>
                    <a:pt x="607" y="656"/>
                  </a:lnTo>
                  <a:lnTo>
                    <a:pt x="548" y="608"/>
                  </a:lnTo>
                  <a:lnTo>
                    <a:pt x="557" y="584"/>
                  </a:lnTo>
                  <a:lnTo>
                    <a:pt x="523" y="544"/>
                  </a:lnTo>
                  <a:lnTo>
                    <a:pt x="557" y="520"/>
                  </a:lnTo>
                  <a:lnTo>
                    <a:pt x="599" y="512"/>
                  </a:lnTo>
                  <a:lnTo>
                    <a:pt x="641" y="488"/>
                  </a:lnTo>
                  <a:lnTo>
                    <a:pt x="683" y="472"/>
                  </a:lnTo>
                  <a:lnTo>
                    <a:pt x="691" y="440"/>
                  </a:lnTo>
                  <a:lnTo>
                    <a:pt x="725" y="440"/>
                  </a:lnTo>
                  <a:lnTo>
                    <a:pt x="750" y="456"/>
                  </a:lnTo>
                  <a:lnTo>
                    <a:pt x="750" y="392"/>
                  </a:lnTo>
                  <a:lnTo>
                    <a:pt x="725" y="360"/>
                  </a:lnTo>
                  <a:lnTo>
                    <a:pt x="742" y="320"/>
                  </a:lnTo>
                  <a:lnTo>
                    <a:pt x="717" y="280"/>
                  </a:lnTo>
                  <a:lnTo>
                    <a:pt x="717" y="248"/>
                  </a:lnTo>
                  <a:lnTo>
                    <a:pt x="666" y="216"/>
                  </a:lnTo>
                  <a:lnTo>
                    <a:pt x="691" y="168"/>
                  </a:lnTo>
                  <a:lnTo>
                    <a:pt x="683" y="136"/>
                  </a:lnTo>
                  <a:lnTo>
                    <a:pt x="675" y="88"/>
                  </a:lnTo>
                  <a:lnTo>
                    <a:pt x="641" y="80"/>
                  </a:lnTo>
                  <a:lnTo>
                    <a:pt x="607" y="64"/>
                  </a:lnTo>
                  <a:lnTo>
                    <a:pt x="616" y="32"/>
                  </a:lnTo>
                  <a:lnTo>
                    <a:pt x="590" y="16"/>
                  </a:lnTo>
                  <a:lnTo>
                    <a:pt x="582" y="32"/>
                  </a:lnTo>
                  <a:lnTo>
                    <a:pt x="573" y="48"/>
                  </a:lnTo>
                  <a:lnTo>
                    <a:pt x="557" y="40"/>
                  </a:lnTo>
                  <a:lnTo>
                    <a:pt x="548" y="40"/>
                  </a:lnTo>
                  <a:lnTo>
                    <a:pt x="540" y="40"/>
                  </a:lnTo>
                  <a:lnTo>
                    <a:pt x="514" y="64"/>
                  </a:lnTo>
                  <a:lnTo>
                    <a:pt x="481" y="72"/>
                  </a:lnTo>
                  <a:lnTo>
                    <a:pt x="464" y="96"/>
                  </a:lnTo>
                  <a:lnTo>
                    <a:pt x="439" y="96"/>
                  </a:lnTo>
                  <a:lnTo>
                    <a:pt x="413" y="88"/>
                  </a:lnTo>
                  <a:lnTo>
                    <a:pt x="430" y="64"/>
                  </a:lnTo>
                  <a:lnTo>
                    <a:pt x="422" y="32"/>
                  </a:lnTo>
                  <a:lnTo>
                    <a:pt x="396" y="56"/>
                  </a:lnTo>
                  <a:lnTo>
                    <a:pt x="346" y="40"/>
                  </a:lnTo>
                  <a:lnTo>
                    <a:pt x="346" y="16"/>
                  </a:lnTo>
                  <a:lnTo>
                    <a:pt x="337" y="8"/>
                  </a:lnTo>
                  <a:lnTo>
                    <a:pt x="253" y="0"/>
                  </a:lnTo>
                  <a:lnTo>
                    <a:pt x="270" y="24"/>
                  </a:lnTo>
                  <a:lnTo>
                    <a:pt x="245" y="40"/>
                  </a:lnTo>
                  <a:lnTo>
                    <a:pt x="245" y="64"/>
                  </a:lnTo>
                  <a:lnTo>
                    <a:pt x="278" y="112"/>
                  </a:lnTo>
                  <a:lnTo>
                    <a:pt x="253" y="112"/>
                  </a:lnTo>
                  <a:lnTo>
                    <a:pt x="236" y="112"/>
                  </a:lnTo>
                  <a:lnTo>
                    <a:pt x="228" y="128"/>
                  </a:lnTo>
                  <a:lnTo>
                    <a:pt x="220" y="136"/>
                  </a:lnTo>
                  <a:lnTo>
                    <a:pt x="211" y="136"/>
                  </a:lnTo>
                  <a:lnTo>
                    <a:pt x="186" y="128"/>
                  </a:lnTo>
                  <a:lnTo>
                    <a:pt x="135" y="128"/>
                  </a:lnTo>
                  <a:lnTo>
                    <a:pt x="110" y="144"/>
                  </a:lnTo>
                  <a:lnTo>
                    <a:pt x="110" y="168"/>
                  </a:lnTo>
                  <a:lnTo>
                    <a:pt x="118" y="208"/>
                  </a:lnTo>
                  <a:lnTo>
                    <a:pt x="102" y="248"/>
                  </a:lnTo>
                  <a:lnTo>
                    <a:pt x="76" y="256"/>
                  </a:lnTo>
                  <a:lnTo>
                    <a:pt x="102" y="280"/>
                  </a:lnTo>
                  <a:lnTo>
                    <a:pt x="93" y="312"/>
                  </a:lnTo>
                  <a:lnTo>
                    <a:pt x="68" y="320"/>
                  </a:lnTo>
                  <a:lnTo>
                    <a:pt x="68" y="344"/>
                  </a:lnTo>
                  <a:lnTo>
                    <a:pt x="17" y="352"/>
                  </a:lnTo>
                  <a:lnTo>
                    <a:pt x="17" y="384"/>
                  </a:lnTo>
                  <a:lnTo>
                    <a:pt x="17" y="432"/>
                  </a:lnTo>
                  <a:lnTo>
                    <a:pt x="0" y="448"/>
                  </a:lnTo>
                  <a:lnTo>
                    <a:pt x="0" y="472"/>
                  </a:lnTo>
                  <a:lnTo>
                    <a:pt x="9" y="480"/>
                  </a:lnTo>
                  <a:lnTo>
                    <a:pt x="34" y="504"/>
                  </a:lnTo>
                  <a:lnTo>
                    <a:pt x="34" y="536"/>
                  </a:lnTo>
                  <a:lnTo>
                    <a:pt x="17" y="552"/>
                  </a:lnTo>
                  <a:lnTo>
                    <a:pt x="9" y="552"/>
                  </a:lnTo>
                  <a:lnTo>
                    <a:pt x="9" y="576"/>
                  </a:lnTo>
                  <a:lnTo>
                    <a:pt x="43" y="600"/>
                  </a:lnTo>
                  <a:lnTo>
                    <a:pt x="26" y="632"/>
                  </a:lnTo>
                  <a:lnTo>
                    <a:pt x="51" y="664"/>
                  </a:lnTo>
                  <a:lnTo>
                    <a:pt x="76" y="672"/>
                  </a:lnTo>
                  <a:lnTo>
                    <a:pt x="135" y="688"/>
                  </a:lnTo>
                  <a:lnTo>
                    <a:pt x="186" y="704"/>
                  </a:lnTo>
                  <a:lnTo>
                    <a:pt x="152" y="736"/>
                  </a:lnTo>
                  <a:lnTo>
                    <a:pt x="144" y="776"/>
                  </a:lnTo>
                  <a:lnTo>
                    <a:pt x="127" y="864"/>
                  </a:lnTo>
                  <a:lnTo>
                    <a:pt x="118" y="864"/>
                  </a:lnTo>
                  <a:lnTo>
                    <a:pt x="144" y="872"/>
                  </a:lnTo>
                  <a:lnTo>
                    <a:pt x="194" y="864"/>
                  </a:lnTo>
                  <a:close/>
                </a:path>
              </a:pathLst>
            </a:custGeom>
            <a:solidFill>
              <a:srgbClr val="6DBACE"/>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5" name="Freeform 44"/>
            <p:cNvSpPr>
              <a:spLocks/>
            </p:cNvSpPr>
            <p:nvPr>
              <p:custDataLst>
                <p:tags r:id="rId41"/>
              </p:custDataLst>
            </p:nvPr>
          </p:nvSpPr>
          <p:spPr bwMode="auto">
            <a:xfrm>
              <a:off x="3398" y="2928"/>
              <a:ext cx="421" cy="232"/>
            </a:xfrm>
            <a:custGeom>
              <a:avLst/>
              <a:gdLst>
                <a:gd name="T0" fmla="*/ 371 w 421"/>
                <a:gd name="T1" fmla="*/ 104 h 232"/>
                <a:gd name="T2" fmla="*/ 354 w 421"/>
                <a:gd name="T3" fmla="*/ 88 h 232"/>
                <a:gd name="T4" fmla="*/ 329 w 421"/>
                <a:gd name="T5" fmla="*/ 72 h 232"/>
                <a:gd name="T6" fmla="*/ 337 w 421"/>
                <a:gd name="T7" fmla="*/ 32 h 232"/>
                <a:gd name="T8" fmla="*/ 337 w 421"/>
                <a:gd name="T9" fmla="*/ 24 h 232"/>
                <a:gd name="T10" fmla="*/ 253 w 421"/>
                <a:gd name="T11" fmla="*/ 0 h 232"/>
                <a:gd name="T12" fmla="*/ 219 w 421"/>
                <a:gd name="T13" fmla="*/ 16 h 232"/>
                <a:gd name="T14" fmla="*/ 169 w 421"/>
                <a:gd name="T15" fmla="*/ 24 h 232"/>
                <a:gd name="T16" fmla="*/ 143 w 421"/>
                <a:gd name="T17" fmla="*/ 16 h 232"/>
                <a:gd name="T18" fmla="*/ 118 w 421"/>
                <a:gd name="T19" fmla="*/ 32 h 232"/>
                <a:gd name="T20" fmla="*/ 84 w 421"/>
                <a:gd name="T21" fmla="*/ 40 h 232"/>
                <a:gd name="T22" fmla="*/ 76 w 421"/>
                <a:gd name="T23" fmla="*/ 72 h 232"/>
                <a:gd name="T24" fmla="*/ 51 w 421"/>
                <a:gd name="T25" fmla="*/ 88 h 232"/>
                <a:gd name="T26" fmla="*/ 42 w 421"/>
                <a:gd name="T27" fmla="*/ 112 h 232"/>
                <a:gd name="T28" fmla="*/ 9 w 421"/>
                <a:gd name="T29" fmla="*/ 152 h 232"/>
                <a:gd name="T30" fmla="*/ 0 w 421"/>
                <a:gd name="T31" fmla="*/ 184 h 232"/>
                <a:gd name="T32" fmla="*/ 34 w 421"/>
                <a:gd name="T33" fmla="*/ 168 h 232"/>
                <a:gd name="T34" fmla="*/ 76 w 421"/>
                <a:gd name="T35" fmla="*/ 184 h 232"/>
                <a:gd name="T36" fmla="*/ 84 w 421"/>
                <a:gd name="T37" fmla="*/ 200 h 232"/>
                <a:gd name="T38" fmla="*/ 101 w 421"/>
                <a:gd name="T39" fmla="*/ 224 h 232"/>
                <a:gd name="T40" fmla="*/ 177 w 421"/>
                <a:gd name="T41" fmla="*/ 216 h 232"/>
                <a:gd name="T42" fmla="*/ 219 w 421"/>
                <a:gd name="T43" fmla="*/ 152 h 232"/>
                <a:gd name="T44" fmla="*/ 287 w 421"/>
                <a:gd name="T45" fmla="*/ 232 h 232"/>
                <a:gd name="T46" fmla="*/ 312 w 421"/>
                <a:gd name="T47" fmla="*/ 152 h 232"/>
                <a:gd name="T48" fmla="*/ 354 w 421"/>
                <a:gd name="T49" fmla="*/ 160 h 232"/>
                <a:gd name="T50" fmla="*/ 379 w 421"/>
                <a:gd name="T51" fmla="*/ 144 h 232"/>
                <a:gd name="T52" fmla="*/ 413 w 421"/>
                <a:gd name="T53" fmla="*/ 144 h 232"/>
                <a:gd name="T54" fmla="*/ 421 w 421"/>
                <a:gd name="T55" fmla="*/ 136 h 232"/>
                <a:gd name="T56" fmla="*/ 413 w 421"/>
                <a:gd name="T57" fmla="*/ 96 h 232"/>
                <a:gd name="T58" fmla="*/ 371 w 421"/>
                <a:gd name="T59" fmla="*/ 104 h 23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1" h="232">
                  <a:moveTo>
                    <a:pt x="371" y="104"/>
                  </a:moveTo>
                  <a:lnTo>
                    <a:pt x="354" y="88"/>
                  </a:lnTo>
                  <a:lnTo>
                    <a:pt x="329" y="72"/>
                  </a:lnTo>
                  <a:lnTo>
                    <a:pt x="337" y="32"/>
                  </a:lnTo>
                  <a:lnTo>
                    <a:pt x="337" y="24"/>
                  </a:lnTo>
                  <a:lnTo>
                    <a:pt x="253" y="0"/>
                  </a:lnTo>
                  <a:lnTo>
                    <a:pt x="219" y="16"/>
                  </a:lnTo>
                  <a:lnTo>
                    <a:pt x="169" y="24"/>
                  </a:lnTo>
                  <a:lnTo>
                    <a:pt x="143" y="16"/>
                  </a:lnTo>
                  <a:lnTo>
                    <a:pt x="118" y="32"/>
                  </a:lnTo>
                  <a:lnTo>
                    <a:pt x="84" y="40"/>
                  </a:lnTo>
                  <a:lnTo>
                    <a:pt x="76" y="72"/>
                  </a:lnTo>
                  <a:lnTo>
                    <a:pt x="51" y="88"/>
                  </a:lnTo>
                  <a:lnTo>
                    <a:pt x="42" y="112"/>
                  </a:lnTo>
                  <a:lnTo>
                    <a:pt x="9" y="152"/>
                  </a:lnTo>
                  <a:lnTo>
                    <a:pt x="0" y="184"/>
                  </a:lnTo>
                  <a:lnTo>
                    <a:pt x="34" y="168"/>
                  </a:lnTo>
                  <a:lnTo>
                    <a:pt x="76" y="184"/>
                  </a:lnTo>
                  <a:lnTo>
                    <a:pt x="84" y="200"/>
                  </a:lnTo>
                  <a:lnTo>
                    <a:pt x="101" y="224"/>
                  </a:lnTo>
                  <a:lnTo>
                    <a:pt x="177" y="216"/>
                  </a:lnTo>
                  <a:lnTo>
                    <a:pt x="219" y="152"/>
                  </a:lnTo>
                  <a:lnTo>
                    <a:pt x="287" y="232"/>
                  </a:lnTo>
                  <a:lnTo>
                    <a:pt x="312" y="152"/>
                  </a:lnTo>
                  <a:lnTo>
                    <a:pt x="354" y="160"/>
                  </a:lnTo>
                  <a:lnTo>
                    <a:pt x="379" y="144"/>
                  </a:lnTo>
                  <a:lnTo>
                    <a:pt x="413" y="144"/>
                  </a:lnTo>
                  <a:lnTo>
                    <a:pt x="421" y="136"/>
                  </a:lnTo>
                  <a:lnTo>
                    <a:pt x="413" y="96"/>
                  </a:lnTo>
                  <a:lnTo>
                    <a:pt x="371" y="10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6" name="Freeform 45"/>
            <p:cNvSpPr>
              <a:spLocks/>
            </p:cNvSpPr>
            <p:nvPr>
              <p:custDataLst>
                <p:tags r:id="rId42"/>
              </p:custDataLst>
            </p:nvPr>
          </p:nvSpPr>
          <p:spPr bwMode="auto">
            <a:xfrm>
              <a:off x="3727" y="2760"/>
              <a:ext cx="682" cy="312"/>
            </a:xfrm>
            <a:custGeom>
              <a:avLst/>
              <a:gdLst>
                <a:gd name="T0" fmla="*/ 472 w 682"/>
                <a:gd name="T1" fmla="*/ 304 h 312"/>
                <a:gd name="T2" fmla="*/ 505 w 682"/>
                <a:gd name="T3" fmla="*/ 280 h 312"/>
                <a:gd name="T4" fmla="*/ 556 w 682"/>
                <a:gd name="T5" fmla="*/ 280 h 312"/>
                <a:gd name="T6" fmla="*/ 598 w 682"/>
                <a:gd name="T7" fmla="*/ 272 h 312"/>
                <a:gd name="T8" fmla="*/ 598 w 682"/>
                <a:gd name="T9" fmla="*/ 248 h 312"/>
                <a:gd name="T10" fmla="*/ 623 w 682"/>
                <a:gd name="T11" fmla="*/ 224 h 312"/>
                <a:gd name="T12" fmla="*/ 632 w 682"/>
                <a:gd name="T13" fmla="*/ 184 h 312"/>
                <a:gd name="T14" fmla="*/ 632 w 682"/>
                <a:gd name="T15" fmla="*/ 144 h 312"/>
                <a:gd name="T16" fmla="*/ 674 w 682"/>
                <a:gd name="T17" fmla="*/ 128 h 312"/>
                <a:gd name="T18" fmla="*/ 682 w 682"/>
                <a:gd name="T19" fmla="*/ 96 h 312"/>
                <a:gd name="T20" fmla="*/ 649 w 682"/>
                <a:gd name="T21" fmla="*/ 72 h 312"/>
                <a:gd name="T22" fmla="*/ 649 w 682"/>
                <a:gd name="T23" fmla="*/ 24 h 312"/>
                <a:gd name="T24" fmla="*/ 564 w 682"/>
                <a:gd name="T25" fmla="*/ 24 h 312"/>
                <a:gd name="T26" fmla="*/ 488 w 682"/>
                <a:gd name="T27" fmla="*/ 0 h 312"/>
                <a:gd name="T28" fmla="*/ 463 w 682"/>
                <a:gd name="T29" fmla="*/ 48 h 312"/>
                <a:gd name="T30" fmla="*/ 413 w 682"/>
                <a:gd name="T31" fmla="*/ 64 h 312"/>
                <a:gd name="T32" fmla="*/ 371 w 682"/>
                <a:gd name="T33" fmla="*/ 40 h 312"/>
                <a:gd name="T34" fmla="*/ 371 w 682"/>
                <a:gd name="T35" fmla="*/ 64 h 312"/>
                <a:gd name="T36" fmla="*/ 337 w 682"/>
                <a:gd name="T37" fmla="*/ 64 h 312"/>
                <a:gd name="T38" fmla="*/ 328 w 682"/>
                <a:gd name="T39" fmla="*/ 96 h 312"/>
                <a:gd name="T40" fmla="*/ 295 w 682"/>
                <a:gd name="T41" fmla="*/ 120 h 312"/>
                <a:gd name="T42" fmla="*/ 312 w 682"/>
                <a:gd name="T43" fmla="*/ 152 h 312"/>
                <a:gd name="T44" fmla="*/ 312 w 682"/>
                <a:gd name="T45" fmla="*/ 184 h 312"/>
                <a:gd name="T46" fmla="*/ 253 w 682"/>
                <a:gd name="T47" fmla="*/ 168 h 312"/>
                <a:gd name="T48" fmla="*/ 185 w 682"/>
                <a:gd name="T49" fmla="*/ 192 h 312"/>
                <a:gd name="T50" fmla="*/ 143 w 682"/>
                <a:gd name="T51" fmla="*/ 200 h 312"/>
                <a:gd name="T52" fmla="*/ 84 w 682"/>
                <a:gd name="T53" fmla="*/ 192 h 312"/>
                <a:gd name="T54" fmla="*/ 50 w 682"/>
                <a:gd name="T55" fmla="*/ 208 h 312"/>
                <a:gd name="T56" fmla="*/ 8 w 682"/>
                <a:gd name="T57" fmla="*/ 200 h 312"/>
                <a:gd name="T58" fmla="*/ 0 w 682"/>
                <a:gd name="T59" fmla="*/ 240 h 312"/>
                <a:gd name="T60" fmla="*/ 25 w 682"/>
                <a:gd name="T61" fmla="*/ 256 h 312"/>
                <a:gd name="T62" fmla="*/ 42 w 682"/>
                <a:gd name="T63" fmla="*/ 272 h 312"/>
                <a:gd name="T64" fmla="*/ 84 w 682"/>
                <a:gd name="T65" fmla="*/ 264 h 312"/>
                <a:gd name="T66" fmla="*/ 92 w 682"/>
                <a:gd name="T67" fmla="*/ 304 h 312"/>
                <a:gd name="T68" fmla="*/ 101 w 682"/>
                <a:gd name="T69" fmla="*/ 280 h 312"/>
                <a:gd name="T70" fmla="*/ 135 w 682"/>
                <a:gd name="T71" fmla="*/ 288 h 312"/>
                <a:gd name="T72" fmla="*/ 168 w 682"/>
                <a:gd name="T73" fmla="*/ 256 h 312"/>
                <a:gd name="T74" fmla="*/ 244 w 682"/>
                <a:gd name="T75" fmla="*/ 248 h 312"/>
                <a:gd name="T76" fmla="*/ 261 w 682"/>
                <a:gd name="T77" fmla="*/ 272 h 312"/>
                <a:gd name="T78" fmla="*/ 379 w 682"/>
                <a:gd name="T79" fmla="*/ 304 h 312"/>
                <a:gd name="T80" fmla="*/ 379 w 682"/>
                <a:gd name="T81" fmla="*/ 312 h 312"/>
                <a:gd name="T82" fmla="*/ 413 w 682"/>
                <a:gd name="T83" fmla="*/ 304 h 312"/>
                <a:gd name="T84" fmla="*/ 472 w 682"/>
                <a:gd name="T85" fmla="*/ 304 h 3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82" h="312">
                  <a:moveTo>
                    <a:pt x="472" y="304"/>
                  </a:moveTo>
                  <a:lnTo>
                    <a:pt x="505" y="280"/>
                  </a:lnTo>
                  <a:lnTo>
                    <a:pt x="556" y="280"/>
                  </a:lnTo>
                  <a:lnTo>
                    <a:pt x="598" y="272"/>
                  </a:lnTo>
                  <a:lnTo>
                    <a:pt x="598" y="248"/>
                  </a:lnTo>
                  <a:lnTo>
                    <a:pt x="623" y="224"/>
                  </a:lnTo>
                  <a:lnTo>
                    <a:pt x="632" y="184"/>
                  </a:lnTo>
                  <a:lnTo>
                    <a:pt x="632" y="144"/>
                  </a:lnTo>
                  <a:lnTo>
                    <a:pt x="674" y="128"/>
                  </a:lnTo>
                  <a:lnTo>
                    <a:pt x="682" y="96"/>
                  </a:lnTo>
                  <a:lnTo>
                    <a:pt x="649" y="72"/>
                  </a:lnTo>
                  <a:lnTo>
                    <a:pt x="649" y="24"/>
                  </a:lnTo>
                  <a:lnTo>
                    <a:pt x="564" y="24"/>
                  </a:lnTo>
                  <a:lnTo>
                    <a:pt x="488" y="0"/>
                  </a:lnTo>
                  <a:lnTo>
                    <a:pt x="463" y="48"/>
                  </a:lnTo>
                  <a:lnTo>
                    <a:pt x="413" y="64"/>
                  </a:lnTo>
                  <a:lnTo>
                    <a:pt x="371" y="40"/>
                  </a:lnTo>
                  <a:lnTo>
                    <a:pt x="371" y="64"/>
                  </a:lnTo>
                  <a:lnTo>
                    <a:pt x="337" y="64"/>
                  </a:lnTo>
                  <a:lnTo>
                    <a:pt x="328" y="96"/>
                  </a:lnTo>
                  <a:lnTo>
                    <a:pt x="295" y="120"/>
                  </a:lnTo>
                  <a:lnTo>
                    <a:pt x="312" y="152"/>
                  </a:lnTo>
                  <a:lnTo>
                    <a:pt x="312" y="184"/>
                  </a:lnTo>
                  <a:lnTo>
                    <a:pt x="253" y="168"/>
                  </a:lnTo>
                  <a:lnTo>
                    <a:pt x="185" y="192"/>
                  </a:lnTo>
                  <a:lnTo>
                    <a:pt x="143" y="200"/>
                  </a:lnTo>
                  <a:lnTo>
                    <a:pt x="84" y="192"/>
                  </a:lnTo>
                  <a:lnTo>
                    <a:pt x="50" y="208"/>
                  </a:lnTo>
                  <a:lnTo>
                    <a:pt x="8" y="200"/>
                  </a:lnTo>
                  <a:lnTo>
                    <a:pt x="0" y="240"/>
                  </a:lnTo>
                  <a:lnTo>
                    <a:pt x="25" y="256"/>
                  </a:lnTo>
                  <a:lnTo>
                    <a:pt x="42" y="272"/>
                  </a:lnTo>
                  <a:lnTo>
                    <a:pt x="84" y="264"/>
                  </a:lnTo>
                  <a:lnTo>
                    <a:pt x="92" y="304"/>
                  </a:lnTo>
                  <a:lnTo>
                    <a:pt x="101" y="280"/>
                  </a:lnTo>
                  <a:lnTo>
                    <a:pt x="135" y="288"/>
                  </a:lnTo>
                  <a:lnTo>
                    <a:pt x="168" y="256"/>
                  </a:lnTo>
                  <a:lnTo>
                    <a:pt x="244" y="248"/>
                  </a:lnTo>
                  <a:lnTo>
                    <a:pt x="261" y="272"/>
                  </a:lnTo>
                  <a:lnTo>
                    <a:pt x="379" y="304"/>
                  </a:lnTo>
                  <a:lnTo>
                    <a:pt x="379" y="312"/>
                  </a:lnTo>
                  <a:lnTo>
                    <a:pt x="413" y="304"/>
                  </a:lnTo>
                  <a:lnTo>
                    <a:pt x="472" y="30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7" name="Freeform 46"/>
            <p:cNvSpPr>
              <a:spLocks/>
            </p:cNvSpPr>
            <p:nvPr>
              <p:custDataLst>
                <p:tags r:id="rId43"/>
              </p:custDataLst>
            </p:nvPr>
          </p:nvSpPr>
          <p:spPr bwMode="auto">
            <a:xfrm>
              <a:off x="3398" y="2928"/>
              <a:ext cx="421" cy="232"/>
            </a:xfrm>
            <a:custGeom>
              <a:avLst/>
              <a:gdLst>
                <a:gd name="T0" fmla="*/ 371 w 421"/>
                <a:gd name="T1" fmla="*/ 104 h 232"/>
                <a:gd name="T2" fmla="*/ 354 w 421"/>
                <a:gd name="T3" fmla="*/ 88 h 232"/>
                <a:gd name="T4" fmla="*/ 329 w 421"/>
                <a:gd name="T5" fmla="*/ 72 h 232"/>
                <a:gd name="T6" fmla="*/ 337 w 421"/>
                <a:gd name="T7" fmla="*/ 32 h 232"/>
                <a:gd name="T8" fmla="*/ 337 w 421"/>
                <a:gd name="T9" fmla="*/ 24 h 232"/>
                <a:gd name="T10" fmla="*/ 253 w 421"/>
                <a:gd name="T11" fmla="*/ 0 h 232"/>
                <a:gd name="T12" fmla="*/ 219 w 421"/>
                <a:gd name="T13" fmla="*/ 16 h 232"/>
                <a:gd name="T14" fmla="*/ 169 w 421"/>
                <a:gd name="T15" fmla="*/ 24 h 232"/>
                <a:gd name="T16" fmla="*/ 143 w 421"/>
                <a:gd name="T17" fmla="*/ 16 h 232"/>
                <a:gd name="T18" fmla="*/ 118 w 421"/>
                <a:gd name="T19" fmla="*/ 32 h 232"/>
                <a:gd name="T20" fmla="*/ 84 w 421"/>
                <a:gd name="T21" fmla="*/ 40 h 232"/>
                <a:gd name="T22" fmla="*/ 76 w 421"/>
                <a:gd name="T23" fmla="*/ 72 h 232"/>
                <a:gd name="T24" fmla="*/ 51 w 421"/>
                <a:gd name="T25" fmla="*/ 88 h 232"/>
                <a:gd name="T26" fmla="*/ 42 w 421"/>
                <a:gd name="T27" fmla="*/ 112 h 232"/>
                <a:gd name="T28" fmla="*/ 9 w 421"/>
                <a:gd name="T29" fmla="*/ 152 h 232"/>
                <a:gd name="T30" fmla="*/ 0 w 421"/>
                <a:gd name="T31" fmla="*/ 184 h 232"/>
                <a:gd name="T32" fmla="*/ 34 w 421"/>
                <a:gd name="T33" fmla="*/ 168 h 232"/>
                <a:gd name="T34" fmla="*/ 76 w 421"/>
                <a:gd name="T35" fmla="*/ 184 h 232"/>
                <a:gd name="T36" fmla="*/ 84 w 421"/>
                <a:gd name="T37" fmla="*/ 200 h 232"/>
                <a:gd name="T38" fmla="*/ 101 w 421"/>
                <a:gd name="T39" fmla="*/ 224 h 232"/>
                <a:gd name="T40" fmla="*/ 177 w 421"/>
                <a:gd name="T41" fmla="*/ 216 h 232"/>
                <a:gd name="T42" fmla="*/ 219 w 421"/>
                <a:gd name="T43" fmla="*/ 152 h 232"/>
                <a:gd name="T44" fmla="*/ 287 w 421"/>
                <a:gd name="T45" fmla="*/ 232 h 232"/>
                <a:gd name="T46" fmla="*/ 312 w 421"/>
                <a:gd name="T47" fmla="*/ 152 h 232"/>
                <a:gd name="T48" fmla="*/ 354 w 421"/>
                <a:gd name="T49" fmla="*/ 160 h 232"/>
                <a:gd name="T50" fmla="*/ 379 w 421"/>
                <a:gd name="T51" fmla="*/ 144 h 232"/>
                <a:gd name="T52" fmla="*/ 413 w 421"/>
                <a:gd name="T53" fmla="*/ 144 h 232"/>
                <a:gd name="T54" fmla="*/ 421 w 421"/>
                <a:gd name="T55" fmla="*/ 136 h 232"/>
                <a:gd name="T56" fmla="*/ 413 w 421"/>
                <a:gd name="T57" fmla="*/ 96 h 232"/>
                <a:gd name="T58" fmla="*/ 371 w 421"/>
                <a:gd name="T59" fmla="*/ 104 h 23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1" h="232">
                  <a:moveTo>
                    <a:pt x="371" y="104"/>
                  </a:moveTo>
                  <a:lnTo>
                    <a:pt x="354" y="88"/>
                  </a:lnTo>
                  <a:lnTo>
                    <a:pt x="329" y="72"/>
                  </a:lnTo>
                  <a:lnTo>
                    <a:pt x="337" y="32"/>
                  </a:lnTo>
                  <a:lnTo>
                    <a:pt x="337" y="24"/>
                  </a:lnTo>
                  <a:lnTo>
                    <a:pt x="253" y="0"/>
                  </a:lnTo>
                  <a:lnTo>
                    <a:pt x="219" y="16"/>
                  </a:lnTo>
                  <a:lnTo>
                    <a:pt x="169" y="24"/>
                  </a:lnTo>
                  <a:lnTo>
                    <a:pt x="143" y="16"/>
                  </a:lnTo>
                  <a:lnTo>
                    <a:pt x="118" y="32"/>
                  </a:lnTo>
                  <a:lnTo>
                    <a:pt x="84" y="40"/>
                  </a:lnTo>
                  <a:lnTo>
                    <a:pt x="76" y="72"/>
                  </a:lnTo>
                  <a:lnTo>
                    <a:pt x="51" y="88"/>
                  </a:lnTo>
                  <a:lnTo>
                    <a:pt x="42" y="112"/>
                  </a:lnTo>
                  <a:lnTo>
                    <a:pt x="9" y="152"/>
                  </a:lnTo>
                  <a:lnTo>
                    <a:pt x="0" y="184"/>
                  </a:lnTo>
                  <a:lnTo>
                    <a:pt x="34" y="168"/>
                  </a:lnTo>
                  <a:lnTo>
                    <a:pt x="76" y="184"/>
                  </a:lnTo>
                  <a:lnTo>
                    <a:pt x="84" y="200"/>
                  </a:lnTo>
                  <a:lnTo>
                    <a:pt x="101" y="224"/>
                  </a:lnTo>
                  <a:lnTo>
                    <a:pt x="177" y="216"/>
                  </a:lnTo>
                  <a:lnTo>
                    <a:pt x="219" y="152"/>
                  </a:lnTo>
                  <a:lnTo>
                    <a:pt x="287" y="232"/>
                  </a:lnTo>
                  <a:lnTo>
                    <a:pt x="312" y="152"/>
                  </a:lnTo>
                  <a:lnTo>
                    <a:pt x="354" y="160"/>
                  </a:lnTo>
                  <a:lnTo>
                    <a:pt x="379" y="144"/>
                  </a:lnTo>
                  <a:lnTo>
                    <a:pt x="413" y="144"/>
                  </a:lnTo>
                  <a:lnTo>
                    <a:pt x="421" y="136"/>
                  </a:lnTo>
                  <a:lnTo>
                    <a:pt x="413" y="96"/>
                  </a:lnTo>
                  <a:lnTo>
                    <a:pt x="371" y="104"/>
                  </a:lnTo>
                  <a:close/>
                </a:path>
              </a:pathLst>
            </a:custGeom>
            <a:solidFill>
              <a:srgbClr val="6DBACE"/>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8" name="Freeform 47"/>
            <p:cNvSpPr>
              <a:spLocks/>
            </p:cNvSpPr>
            <p:nvPr>
              <p:custDataLst>
                <p:tags r:id="rId44"/>
              </p:custDataLst>
            </p:nvPr>
          </p:nvSpPr>
          <p:spPr bwMode="auto">
            <a:xfrm>
              <a:off x="3727" y="2760"/>
              <a:ext cx="682" cy="312"/>
            </a:xfrm>
            <a:custGeom>
              <a:avLst/>
              <a:gdLst>
                <a:gd name="T0" fmla="*/ 472 w 682"/>
                <a:gd name="T1" fmla="*/ 304 h 312"/>
                <a:gd name="T2" fmla="*/ 505 w 682"/>
                <a:gd name="T3" fmla="*/ 280 h 312"/>
                <a:gd name="T4" fmla="*/ 556 w 682"/>
                <a:gd name="T5" fmla="*/ 280 h 312"/>
                <a:gd name="T6" fmla="*/ 598 w 682"/>
                <a:gd name="T7" fmla="*/ 272 h 312"/>
                <a:gd name="T8" fmla="*/ 598 w 682"/>
                <a:gd name="T9" fmla="*/ 248 h 312"/>
                <a:gd name="T10" fmla="*/ 623 w 682"/>
                <a:gd name="T11" fmla="*/ 224 h 312"/>
                <a:gd name="T12" fmla="*/ 632 w 682"/>
                <a:gd name="T13" fmla="*/ 184 h 312"/>
                <a:gd name="T14" fmla="*/ 632 w 682"/>
                <a:gd name="T15" fmla="*/ 144 h 312"/>
                <a:gd name="T16" fmla="*/ 674 w 682"/>
                <a:gd name="T17" fmla="*/ 128 h 312"/>
                <a:gd name="T18" fmla="*/ 682 w 682"/>
                <a:gd name="T19" fmla="*/ 96 h 312"/>
                <a:gd name="T20" fmla="*/ 649 w 682"/>
                <a:gd name="T21" fmla="*/ 72 h 312"/>
                <a:gd name="T22" fmla="*/ 649 w 682"/>
                <a:gd name="T23" fmla="*/ 24 h 312"/>
                <a:gd name="T24" fmla="*/ 564 w 682"/>
                <a:gd name="T25" fmla="*/ 24 h 312"/>
                <a:gd name="T26" fmla="*/ 488 w 682"/>
                <a:gd name="T27" fmla="*/ 0 h 312"/>
                <a:gd name="T28" fmla="*/ 463 w 682"/>
                <a:gd name="T29" fmla="*/ 48 h 312"/>
                <a:gd name="T30" fmla="*/ 413 w 682"/>
                <a:gd name="T31" fmla="*/ 64 h 312"/>
                <a:gd name="T32" fmla="*/ 371 w 682"/>
                <a:gd name="T33" fmla="*/ 40 h 312"/>
                <a:gd name="T34" fmla="*/ 371 w 682"/>
                <a:gd name="T35" fmla="*/ 64 h 312"/>
                <a:gd name="T36" fmla="*/ 337 w 682"/>
                <a:gd name="T37" fmla="*/ 64 h 312"/>
                <a:gd name="T38" fmla="*/ 328 w 682"/>
                <a:gd name="T39" fmla="*/ 96 h 312"/>
                <a:gd name="T40" fmla="*/ 295 w 682"/>
                <a:gd name="T41" fmla="*/ 120 h 312"/>
                <a:gd name="T42" fmla="*/ 312 w 682"/>
                <a:gd name="T43" fmla="*/ 152 h 312"/>
                <a:gd name="T44" fmla="*/ 312 w 682"/>
                <a:gd name="T45" fmla="*/ 184 h 312"/>
                <a:gd name="T46" fmla="*/ 253 w 682"/>
                <a:gd name="T47" fmla="*/ 168 h 312"/>
                <a:gd name="T48" fmla="*/ 185 w 682"/>
                <a:gd name="T49" fmla="*/ 192 h 312"/>
                <a:gd name="T50" fmla="*/ 143 w 682"/>
                <a:gd name="T51" fmla="*/ 200 h 312"/>
                <a:gd name="T52" fmla="*/ 84 w 682"/>
                <a:gd name="T53" fmla="*/ 192 h 312"/>
                <a:gd name="T54" fmla="*/ 50 w 682"/>
                <a:gd name="T55" fmla="*/ 208 h 312"/>
                <a:gd name="T56" fmla="*/ 8 w 682"/>
                <a:gd name="T57" fmla="*/ 200 h 312"/>
                <a:gd name="T58" fmla="*/ 0 w 682"/>
                <a:gd name="T59" fmla="*/ 240 h 312"/>
                <a:gd name="T60" fmla="*/ 25 w 682"/>
                <a:gd name="T61" fmla="*/ 256 h 312"/>
                <a:gd name="T62" fmla="*/ 42 w 682"/>
                <a:gd name="T63" fmla="*/ 272 h 312"/>
                <a:gd name="T64" fmla="*/ 84 w 682"/>
                <a:gd name="T65" fmla="*/ 264 h 312"/>
                <a:gd name="T66" fmla="*/ 92 w 682"/>
                <a:gd name="T67" fmla="*/ 304 h 312"/>
                <a:gd name="T68" fmla="*/ 101 w 682"/>
                <a:gd name="T69" fmla="*/ 280 h 312"/>
                <a:gd name="T70" fmla="*/ 135 w 682"/>
                <a:gd name="T71" fmla="*/ 288 h 312"/>
                <a:gd name="T72" fmla="*/ 168 w 682"/>
                <a:gd name="T73" fmla="*/ 256 h 312"/>
                <a:gd name="T74" fmla="*/ 244 w 682"/>
                <a:gd name="T75" fmla="*/ 248 h 312"/>
                <a:gd name="T76" fmla="*/ 261 w 682"/>
                <a:gd name="T77" fmla="*/ 272 h 312"/>
                <a:gd name="T78" fmla="*/ 379 w 682"/>
                <a:gd name="T79" fmla="*/ 304 h 312"/>
                <a:gd name="T80" fmla="*/ 379 w 682"/>
                <a:gd name="T81" fmla="*/ 312 h 312"/>
                <a:gd name="T82" fmla="*/ 413 w 682"/>
                <a:gd name="T83" fmla="*/ 304 h 312"/>
                <a:gd name="T84" fmla="*/ 472 w 682"/>
                <a:gd name="T85" fmla="*/ 304 h 3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82" h="312">
                  <a:moveTo>
                    <a:pt x="472" y="304"/>
                  </a:moveTo>
                  <a:lnTo>
                    <a:pt x="505" y="280"/>
                  </a:lnTo>
                  <a:lnTo>
                    <a:pt x="556" y="280"/>
                  </a:lnTo>
                  <a:lnTo>
                    <a:pt x="598" y="272"/>
                  </a:lnTo>
                  <a:lnTo>
                    <a:pt x="598" y="248"/>
                  </a:lnTo>
                  <a:lnTo>
                    <a:pt x="623" y="224"/>
                  </a:lnTo>
                  <a:lnTo>
                    <a:pt x="632" y="184"/>
                  </a:lnTo>
                  <a:lnTo>
                    <a:pt x="632" y="144"/>
                  </a:lnTo>
                  <a:lnTo>
                    <a:pt x="674" y="128"/>
                  </a:lnTo>
                  <a:lnTo>
                    <a:pt x="682" y="96"/>
                  </a:lnTo>
                  <a:lnTo>
                    <a:pt x="649" y="72"/>
                  </a:lnTo>
                  <a:lnTo>
                    <a:pt x="649" y="24"/>
                  </a:lnTo>
                  <a:lnTo>
                    <a:pt x="564" y="24"/>
                  </a:lnTo>
                  <a:lnTo>
                    <a:pt x="488" y="0"/>
                  </a:lnTo>
                  <a:lnTo>
                    <a:pt x="463" y="48"/>
                  </a:lnTo>
                  <a:lnTo>
                    <a:pt x="413" y="64"/>
                  </a:lnTo>
                  <a:lnTo>
                    <a:pt x="371" y="40"/>
                  </a:lnTo>
                  <a:lnTo>
                    <a:pt x="371" y="64"/>
                  </a:lnTo>
                  <a:lnTo>
                    <a:pt x="337" y="64"/>
                  </a:lnTo>
                  <a:lnTo>
                    <a:pt x="328" y="96"/>
                  </a:lnTo>
                  <a:lnTo>
                    <a:pt x="295" y="120"/>
                  </a:lnTo>
                  <a:lnTo>
                    <a:pt x="312" y="152"/>
                  </a:lnTo>
                  <a:lnTo>
                    <a:pt x="312" y="184"/>
                  </a:lnTo>
                  <a:lnTo>
                    <a:pt x="253" y="168"/>
                  </a:lnTo>
                  <a:lnTo>
                    <a:pt x="185" y="192"/>
                  </a:lnTo>
                  <a:lnTo>
                    <a:pt x="143" y="200"/>
                  </a:lnTo>
                  <a:lnTo>
                    <a:pt x="84" y="192"/>
                  </a:lnTo>
                  <a:lnTo>
                    <a:pt x="50" y="208"/>
                  </a:lnTo>
                  <a:lnTo>
                    <a:pt x="8" y="200"/>
                  </a:lnTo>
                  <a:lnTo>
                    <a:pt x="0" y="240"/>
                  </a:lnTo>
                  <a:lnTo>
                    <a:pt x="25" y="256"/>
                  </a:lnTo>
                  <a:lnTo>
                    <a:pt x="42" y="272"/>
                  </a:lnTo>
                  <a:lnTo>
                    <a:pt x="84" y="264"/>
                  </a:lnTo>
                  <a:lnTo>
                    <a:pt x="92" y="304"/>
                  </a:lnTo>
                  <a:lnTo>
                    <a:pt x="101" y="280"/>
                  </a:lnTo>
                  <a:lnTo>
                    <a:pt x="135" y="288"/>
                  </a:lnTo>
                  <a:lnTo>
                    <a:pt x="168" y="256"/>
                  </a:lnTo>
                  <a:lnTo>
                    <a:pt x="244" y="248"/>
                  </a:lnTo>
                  <a:lnTo>
                    <a:pt x="261" y="272"/>
                  </a:lnTo>
                  <a:lnTo>
                    <a:pt x="379" y="304"/>
                  </a:lnTo>
                  <a:lnTo>
                    <a:pt x="379" y="312"/>
                  </a:lnTo>
                  <a:lnTo>
                    <a:pt x="413" y="304"/>
                  </a:lnTo>
                  <a:lnTo>
                    <a:pt x="472" y="304"/>
                  </a:lnTo>
                  <a:close/>
                </a:path>
              </a:pathLst>
            </a:custGeom>
            <a:solidFill>
              <a:srgbClr val="6DBACE"/>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9" name="Freeform 48"/>
            <p:cNvSpPr>
              <a:spLocks/>
            </p:cNvSpPr>
            <p:nvPr>
              <p:custDataLst>
                <p:tags r:id="rId45"/>
              </p:custDataLst>
            </p:nvPr>
          </p:nvSpPr>
          <p:spPr bwMode="auto">
            <a:xfrm>
              <a:off x="3946" y="2512"/>
              <a:ext cx="581" cy="312"/>
            </a:xfrm>
            <a:custGeom>
              <a:avLst/>
              <a:gdLst>
                <a:gd name="T0" fmla="*/ 497 w 581"/>
                <a:gd name="T1" fmla="*/ 248 h 312"/>
                <a:gd name="T2" fmla="*/ 531 w 581"/>
                <a:gd name="T3" fmla="*/ 200 h 312"/>
                <a:gd name="T4" fmla="*/ 556 w 581"/>
                <a:gd name="T5" fmla="*/ 176 h 312"/>
                <a:gd name="T6" fmla="*/ 581 w 581"/>
                <a:gd name="T7" fmla="*/ 152 h 312"/>
                <a:gd name="T8" fmla="*/ 564 w 581"/>
                <a:gd name="T9" fmla="*/ 120 h 312"/>
                <a:gd name="T10" fmla="*/ 522 w 581"/>
                <a:gd name="T11" fmla="*/ 112 h 312"/>
                <a:gd name="T12" fmla="*/ 480 w 581"/>
                <a:gd name="T13" fmla="*/ 104 h 312"/>
                <a:gd name="T14" fmla="*/ 463 w 581"/>
                <a:gd name="T15" fmla="*/ 80 h 312"/>
                <a:gd name="T16" fmla="*/ 413 w 581"/>
                <a:gd name="T17" fmla="*/ 64 h 312"/>
                <a:gd name="T18" fmla="*/ 413 w 581"/>
                <a:gd name="T19" fmla="*/ 88 h 312"/>
                <a:gd name="T20" fmla="*/ 387 w 581"/>
                <a:gd name="T21" fmla="*/ 104 h 312"/>
                <a:gd name="T22" fmla="*/ 345 w 581"/>
                <a:gd name="T23" fmla="*/ 72 h 312"/>
                <a:gd name="T24" fmla="*/ 354 w 581"/>
                <a:gd name="T25" fmla="*/ 40 h 312"/>
                <a:gd name="T26" fmla="*/ 312 w 581"/>
                <a:gd name="T27" fmla="*/ 40 h 312"/>
                <a:gd name="T28" fmla="*/ 269 w 581"/>
                <a:gd name="T29" fmla="*/ 24 h 312"/>
                <a:gd name="T30" fmla="*/ 227 w 581"/>
                <a:gd name="T31" fmla="*/ 0 h 312"/>
                <a:gd name="T32" fmla="*/ 227 w 581"/>
                <a:gd name="T33" fmla="*/ 24 h 312"/>
                <a:gd name="T34" fmla="*/ 202 w 581"/>
                <a:gd name="T35" fmla="*/ 8 h 312"/>
                <a:gd name="T36" fmla="*/ 168 w 581"/>
                <a:gd name="T37" fmla="*/ 8 h 312"/>
                <a:gd name="T38" fmla="*/ 160 w 581"/>
                <a:gd name="T39" fmla="*/ 40 h 312"/>
                <a:gd name="T40" fmla="*/ 118 w 581"/>
                <a:gd name="T41" fmla="*/ 56 h 312"/>
                <a:gd name="T42" fmla="*/ 76 w 581"/>
                <a:gd name="T43" fmla="*/ 80 h 312"/>
                <a:gd name="T44" fmla="*/ 34 w 581"/>
                <a:gd name="T45" fmla="*/ 88 h 312"/>
                <a:gd name="T46" fmla="*/ 0 w 581"/>
                <a:gd name="T47" fmla="*/ 112 h 312"/>
                <a:gd name="T48" fmla="*/ 34 w 581"/>
                <a:gd name="T49" fmla="*/ 152 h 312"/>
                <a:gd name="T50" fmla="*/ 25 w 581"/>
                <a:gd name="T51" fmla="*/ 176 h 312"/>
                <a:gd name="T52" fmla="*/ 84 w 581"/>
                <a:gd name="T53" fmla="*/ 224 h 312"/>
                <a:gd name="T54" fmla="*/ 160 w 581"/>
                <a:gd name="T55" fmla="*/ 280 h 312"/>
                <a:gd name="T56" fmla="*/ 152 w 581"/>
                <a:gd name="T57" fmla="*/ 288 h 312"/>
                <a:gd name="T58" fmla="*/ 194 w 581"/>
                <a:gd name="T59" fmla="*/ 312 h 312"/>
                <a:gd name="T60" fmla="*/ 244 w 581"/>
                <a:gd name="T61" fmla="*/ 296 h 312"/>
                <a:gd name="T62" fmla="*/ 269 w 581"/>
                <a:gd name="T63" fmla="*/ 248 h 312"/>
                <a:gd name="T64" fmla="*/ 345 w 581"/>
                <a:gd name="T65" fmla="*/ 272 h 312"/>
                <a:gd name="T66" fmla="*/ 430 w 581"/>
                <a:gd name="T67" fmla="*/ 272 h 312"/>
                <a:gd name="T68" fmla="*/ 430 w 581"/>
                <a:gd name="T69" fmla="*/ 280 h 312"/>
                <a:gd name="T70" fmla="*/ 455 w 581"/>
                <a:gd name="T71" fmla="*/ 248 h 312"/>
                <a:gd name="T72" fmla="*/ 497 w 581"/>
                <a:gd name="T73" fmla="*/ 248 h 31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81" h="312">
                  <a:moveTo>
                    <a:pt x="497" y="248"/>
                  </a:moveTo>
                  <a:lnTo>
                    <a:pt x="531" y="200"/>
                  </a:lnTo>
                  <a:lnTo>
                    <a:pt x="556" y="176"/>
                  </a:lnTo>
                  <a:lnTo>
                    <a:pt x="581" y="152"/>
                  </a:lnTo>
                  <a:lnTo>
                    <a:pt x="564" y="120"/>
                  </a:lnTo>
                  <a:lnTo>
                    <a:pt x="522" y="112"/>
                  </a:lnTo>
                  <a:lnTo>
                    <a:pt x="480" y="104"/>
                  </a:lnTo>
                  <a:lnTo>
                    <a:pt x="463" y="80"/>
                  </a:lnTo>
                  <a:lnTo>
                    <a:pt x="413" y="64"/>
                  </a:lnTo>
                  <a:lnTo>
                    <a:pt x="413" y="88"/>
                  </a:lnTo>
                  <a:lnTo>
                    <a:pt x="387" y="104"/>
                  </a:lnTo>
                  <a:lnTo>
                    <a:pt x="345" y="72"/>
                  </a:lnTo>
                  <a:lnTo>
                    <a:pt x="354" y="40"/>
                  </a:lnTo>
                  <a:lnTo>
                    <a:pt x="312" y="40"/>
                  </a:lnTo>
                  <a:lnTo>
                    <a:pt x="269" y="24"/>
                  </a:lnTo>
                  <a:lnTo>
                    <a:pt x="227" y="0"/>
                  </a:lnTo>
                  <a:lnTo>
                    <a:pt x="227" y="24"/>
                  </a:lnTo>
                  <a:lnTo>
                    <a:pt x="202" y="8"/>
                  </a:lnTo>
                  <a:lnTo>
                    <a:pt x="168" y="8"/>
                  </a:lnTo>
                  <a:lnTo>
                    <a:pt x="160" y="40"/>
                  </a:lnTo>
                  <a:lnTo>
                    <a:pt x="118" y="56"/>
                  </a:lnTo>
                  <a:lnTo>
                    <a:pt x="76" y="80"/>
                  </a:lnTo>
                  <a:lnTo>
                    <a:pt x="34" y="88"/>
                  </a:lnTo>
                  <a:lnTo>
                    <a:pt x="0" y="112"/>
                  </a:lnTo>
                  <a:lnTo>
                    <a:pt x="34" y="152"/>
                  </a:lnTo>
                  <a:lnTo>
                    <a:pt x="25" y="176"/>
                  </a:lnTo>
                  <a:lnTo>
                    <a:pt x="84" y="224"/>
                  </a:lnTo>
                  <a:lnTo>
                    <a:pt x="160" y="280"/>
                  </a:lnTo>
                  <a:lnTo>
                    <a:pt x="152" y="288"/>
                  </a:lnTo>
                  <a:lnTo>
                    <a:pt x="194" y="312"/>
                  </a:lnTo>
                  <a:lnTo>
                    <a:pt x="244" y="296"/>
                  </a:lnTo>
                  <a:lnTo>
                    <a:pt x="269" y="248"/>
                  </a:lnTo>
                  <a:lnTo>
                    <a:pt x="345" y="272"/>
                  </a:lnTo>
                  <a:lnTo>
                    <a:pt x="430" y="272"/>
                  </a:lnTo>
                  <a:lnTo>
                    <a:pt x="430" y="280"/>
                  </a:lnTo>
                  <a:lnTo>
                    <a:pt x="455" y="248"/>
                  </a:lnTo>
                  <a:lnTo>
                    <a:pt x="497" y="248"/>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0" name="Freeform 49"/>
            <p:cNvSpPr>
              <a:spLocks/>
            </p:cNvSpPr>
            <p:nvPr>
              <p:custDataLst>
                <p:tags r:id="rId46"/>
              </p:custDataLst>
            </p:nvPr>
          </p:nvSpPr>
          <p:spPr bwMode="auto">
            <a:xfrm>
              <a:off x="4098" y="3000"/>
              <a:ext cx="278" cy="200"/>
            </a:xfrm>
            <a:custGeom>
              <a:avLst/>
              <a:gdLst>
                <a:gd name="T0" fmla="*/ 50 w 278"/>
                <a:gd name="T1" fmla="*/ 192 h 200"/>
                <a:gd name="T2" fmla="*/ 92 w 278"/>
                <a:gd name="T3" fmla="*/ 160 h 200"/>
                <a:gd name="T4" fmla="*/ 117 w 278"/>
                <a:gd name="T5" fmla="*/ 176 h 200"/>
                <a:gd name="T6" fmla="*/ 151 w 278"/>
                <a:gd name="T7" fmla="*/ 184 h 200"/>
                <a:gd name="T8" fmla="*/ 168 w 278"/>
                <a:gd name="T9" fmla="*/ 152 h 200"/>
                <a:gd name="T10" fmla="*/ 202 w 278"/>
                <a:gd name="T11" fmla="*/ 144 h 200"/>
                <a:gd name="T12" fmla="*/ 202 w 278"/>
                <a:gd name="T13" fmla="*/ 104 h 200"/>
                <a:gd name="T14" fmla="*/ 235 w 278"/>
                <a:gd name="T15" fmla="*/ 64 h 200"/>
                <a:gd name="T16" fmla="*/ 278 w 278"/>
                <a:gd name="T17" fmla="*/ 48 h 200"/>
                <a:gd name="T18" fmla="*/ 235 w 278"/>
                <a:gd name="T19" fmla="*/ 0 h 200"/>
                <a:gd name="T20" fmla="*/ 227 w 278"/>
                <a:gd name="T21" fmla="*/ 8 h 200"/>
                <a:gd name="T22" fmla="*/ 227 w 278"/>
                <a:gd name="T23" fmla="*/ 32 h 200"/>
                <a:gd name="T24" fmla="*/ 185 w 278"/>
                <a:gd name="T25" fmla="*/ 40 h 200"/>
                <a:gd name="T26" fmla="*/ 134 w 278"/>
                <a:gd name="T27" fmla="*/ 40 h 200"/>
                <a:gd name="T28" fmla="*/ 101 w 278"/>
                <a:gd name="T29" fmla="*/ 64 h 200"/>
                <a:gd name="T30" fmla="*/ 42 w 278"/>
                <a:gd name="T31" fmla="*/ 64 h 200"/>
                <a:gd name="T32" fmla="*/ 8 w 278"/>
                <a:gd name="T33" fmla="*/ 72 h 200"/>
                <a:gd name="T34" fmla="*/ 0 w 278"/>
                <a:gd name="T35" fmla="*/ 96 h 200"/>
                <a:gd name="T36" fmla="*/ 8 w 278"/>
                <a:gd name="T37" fmla="*/ 152 h 200"/>
                <a:gd name="T38" fmla="*/ 0 w 278"/>
                <a:gd name="T39" fmla="*/ 160 h 200"/>
                <a:gd name="T40" fmla="*/ 25 w 278"/>
                <a:gd name="T41" fmla="*/ 152 h 200"/>
                <a:gd name="T42" fmla="*/ 8 w 278"/>
                <a:gd name="T43" fmla="*/ 176 h 200"/>
                <a:gd name="T44" fmla="*/ 8 w 278"/>
                <a:gd name="T45" fmla="*/ 200 h 200"/>
                <a:gd name="T46" fmla="*/ 16 w 278"/>
                <a:gd name="T47" fmla="*/ 200 h 200"/>
                <a:gd name="T48" fmla="*/ 50 w 278"/>
                <a:gd name="T49" fmla="*/ 192 h 2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78" h="200">
                  <a:moveTo>
                    <a:pt x="50" y="192"/>
                  </a:moveTo>
                  <a:lnTo>
                    <a:pt x="92" y="160"/>
                  </a:lnTo>
                  <a:lnTo>
                    <a:pt x="117" y="176"/>
                  </a:lnTo>
                  <a:lnTo>
                    <a:pt x="151" y="184"/>
                  </a:lnTo>
                  <a:lnTo>
                    <a:pt x="168" y="152"/>
                  </a:lnTo>
                  <a:lnTo>
                    <a:pt x="202" y="144"/>
                  </a:lnTo>
                  <a:lnTo>
                    <a:pt x="202" y="104"/>
                  </a:lnTo>
                  <a:lnTo>
                    <a:pt x="235" y="64"/>
                  </a:lnTo>
                  <a:lnTo>
                    <a:pt x="278" y="48"/>
                  </a:lnTo>
                  <a:lnTo>
                    <a:pt x="235" y="0"/>
                  </a:lnTo>
                  <a:lnTo>
                    <a:pt x="227" y="8"/>
                  </a:lnTo>
                  <a:lnTo>
                    <a:pt x="227" y="32"/>
                  </a:lnTo>
                  <a:lnTo>
                    <a:pt x="185" y="40"/>
                  </a:lnTo>
                  <a:lnTo>
                    <a:pt x="134" y="40"/>
                  </a:lnTo>
                  <a:lnTo>
                    <a:pt x="101" y="64"/>
                  </a:lnTo>
                  <a:lnTo>
                    <a:pt x="42" y="64"/>
                  </a:lnTo>
                  <a:lnTo>
                    <a:pt x="8" y="72"/>
                  </a:lnTo>
                  <a:lnTo>
                    <a:pt x="0" y="96"/>
                  </a:lnTo>
                  <a:lnTo>
                    <a:pt x="8" y="152"/>
                  </a:lnTo>
                  <a:lnTo>
                    <a:pt x="0" y="160"/>
                  </a:lnTo>
                  <a:lnTo>
                    <a:pt x="25" y="152"/>
                  </a:lnTo>
                  <a:lnTo>
                    <a:pt x="8" y="176"/>
                  </a:lnTo>
                  <a:lnTo>
                    <a:pt x="8" y="200"/>
                  </a:lnTo>
                  <a:lnTo>
                    <a:pt x="16" y="200"/>
                  </a:lnTo>
                  <a:lnTo>
                    <a:pt x="50" y="19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1" name="Freeform 50"/>
            <p:cNvSpPr>
              <a:spLocks/>
            </p:cNvSpPr>
            <p:nvPr>
              <p:custDataLst>
                <p:tags r:id="rId47"/>
              </p:custDataLst>
            </p:nvPr>
          </p:nvSpPr>
          <p:spPr bwMode="auto">
            <a:xfrm>
              <a:off x="4106" y="3056"/>
              <a:ext cx="548" cy="416"/>
            </a:xfrm>
            <a:custGeom>
              <a:avLst/>
              <a:gdLst>
                <a:gd name="T0" fmla="*/ 388 w 548"/>
                <a:gd name="T1" fmla="*/ 360 h 416"/>
                <a:gd name="T2" fmla="*/ 379 w 548"/>
                <a:gd name="T3" fmla="*/ 344 h 416"/>
                <a:gd name="T4" fmla="*/ 345 w 548"/>
                <a:gd name="T5" fmla="*/ 328 h 416"/>
                <a:gd name="T6" fmla="*/ 320 w 548"/>
                <a:gd name="T7" fmla="*/ 296 h 416"/>
                <a:gd name="T8" fmla="*/ 270 w 548"/>
                <a:gd name="T9" fmla="*/ 264 h 416"/>
                <a:gd name="T10" fmla="*/ 236 w 548"/>
                <a:gd name="T11" fmla="*/ 216 h 416"/>
                <a:gd name="T12" fmla="*/ 202 w 548"/>
                <a:gd name="T13" fmla="*/ 200 h 416"/>
                <a:gd name="T14" fmla="*/ 219 w 548"/>
                <a:gd name="T15" fmla="*/ 152 h 416"/>
                <a:gd name="T16" fmla="*/ 236 w 548"/>
                <a:gd name="T17" fmla="*/ 152 h 416"/>
                <a:gd name="T18" fmla="*/ 270 w 548"/>
                <a:gd name="T19" fmla="*/ 168 h 416"/>
                <a:gd name="T20" fmla="*/ 278 w 548"/>
                <a:gd name="T21" fmla="*/ 144 h 416"/>
                <a:gd name="T22" fmla="*/ 312 w 548"/>
                <a:gd name="T23" fmla="*/ 136 h 416"/>
                <a:gd name="T24" fmla="*/ 354 w 548"/>
                <a:gd name="T25" fmla="*/ 144 h 416"/>
                <a:gd name="T26" fmla="*/ 404 w 548"/>
                <a:gd name="T27" fmla="*/ 152 h 416"/>
                <a:gd name="T28" fmla="*/ 438 w 548"/>
                <a:gd name="T29" fmla="*/ 144 h 416"/>
                <a:gd name="T30" fmla="*/ 472 w 548"/>
                <a:gd name="T31" fmla="*/ 152 h 416"/>
                <a:gd name="T32" fmla="*/ 522 w 548"/>
                <a:gd name="T33" fmla="*/ 160 h 416"/>
                <a:gd name="T34" fmla="*/ 522 w 548"/>
                <a:gd name="T35" fmla="*/ 128 h 416"/>
                <a:gd name="T36" fmla="*/ 548 w 548"/>
                <a:gd name="T37" fmla="*/ 120 h 416"/>
                <a:gd name="T38" fmla="*/ 522 w 548"/>
                <a:gd name="T39" fmla="*/ 112 h 416"/>
                <a:gd name="T40" fmla="*/ 497 w 548"/>
                <a:gd name="T41" fmla="*/ 80 h 416"/>
                <a:gd name="T42" fmla="*/ 480 w 548"/>
                <a:gd name="T43" fmla="*/ 48 h 416"/>
                <a:gd name="T44" fmla="*/ 421 w 548"/>
                <a:gd name="T45" fmla="*/ 72 h 416"/>
                <a:gd name="T46" fmla="*/ 388 w 548"/>
                <a:gd name="T47" fmla="*/ 72 h 416"/>
                <a:gd name="T48" fmla="*/ 379 w 548"/>
                <a:gd name="T49" fmla="*/ 48 h 416"/>
                <a:gd name="T50" fmla="*/ 345 w 548"/>
                <a:gd name="T51" fmla="*/ 56 h 416"/>
                <a:gd name="T52" fmla="*/ 320 w 548"/>
                <a:gd name="T53" fmla="*/ 40 h 416"/>
                <a:gd name="T54" fmla="*/ 295 w 548"/>
                <a:gd name="T55" fmla="*/ 16 h 416"/>
                <a:gd name="T56" fmla="*/ 261 w 548"/>
                <a:gd name="T57" fmla="*/ 0 h 416"/>
                <a:gd name="T58" fmla="*/ 227 w 548"/>
                <a:gd name="T59" fmla="*/ 8 h 416"/>
                <a:gd name="T60" fmla="*/ 194 w 548"/>
                <a:gd name="T61" fmla="*/ 48 h 416"/>
                <a:gd name="T62" fmla="*/ 194 w 548"/>
                <a:gd name="T63" fmla="*/ 88 h 416"/>
                <a:gd name="T64" fmla="*/ 160 w 548"/>
                <a:gd name="T65" fmla="*/ 96 h 416"/>
                <a:gd name="T66" fmla="*/ 143 w 548"/>
                <a:gd name="T67" fmla="*/ 128 h 416"/>
                <a:gd name="T68" fmla="*/ 109 w 548"/>
                <a:gd name="T69" fmla="*/ 120 h 416"/>
                <a:gd name="T70" fmla="*/ 84 w 548"/>
                <a:gd name="T71" fmla="*/ 104 h 416"/>
                <a:gd name="T72" fmla="*/ 42 w 548"/>
                <a:gd name="T73" fmla="*/ 136 h 416"/>
                <a:gd name="T74" fmla="*/ 8 w 548"/>
                <a:gd name="T75" fmla="*/ 144 h 416"/>
                <a:gd name="T76" fmla="*/ 0 w 548"/>
                <a:gd name="T77" fmla="*/ 144 h 416"/>
                <a:gd name="T78" fmla="*/ 0 w 548"/>
                <a:gd name="T79" fmla="*/ 152 h 416"/>
                <a:gd name="T80" fmla="*/ 34 w 548"/>
                <a:gd name="T81" fmla="*/ 216 h 416"/>
                <a:gd name="T82" fmla="*/ 84 w 548"/>
                <a:gd name="T83" fmla="*/ 152 h 416"/>
                <a:gd name="T84" fmla="*/ 84 w 548"/>
                <a:gd name="T85" fmla="*/ 216 h 416"/>
                <a:gd name="T86" fmla="*/ 126 w 548"/>
                <a:gd name="T87" fmla="*/ 192 h 416"/>
                <a:gd name="T88" fmla="*/ 126 w 548"/>
                <a:gd name="T89" fmla="*/ 240 h 416"/>
                <a:gd name="T90" fmla="*/ 177 w 548"/>
                <a:gd name="T91" fmla="*/ 264 h 416"/>
                <a:gd name="T92" fmla="*/ 160 w 548"/>
                <a:gd name="T93" fmla="*/ 272 h 416"/>
                <a:gd name="T94" fmla="*/ 219 w 548"/>
                <a:gd name="T95" fmla="*/ 312 h 416"/>
                <a:gd name="T96" fmla="*/ 227 w 548"/>
                <a:gd name="T97" fmla="*/ 336 h 416"/>
                <a:gd name="T98" fmla="*/ 253 w 548"/>
                <a:gd name="T99" fmla="*/ 352 h 416"/>
                <a:gd name="T100" fmla="*/ 312 w 548"/>
                <a:gd name="T101" fmla="*/ 360 h 416"/>
                <a:gd name="T102" fmla="*/ 371 w 548"/>
                <a:gd name="T103" fmla="*/ 384 h 416"/>
                <a:gd name="T104" fmla="*/ 312 w 548"/>
                <a:gd name="T105" fmla="*/ 392 h 416"/>
                <a:gd name="T106" fmla="*/ 413 w 548"/>
                <a:gd name="T107" fmla="*/ 416 h 416"/>
                <a:gd name="T108" fmla="*/ 413 w 548"/>
                <a:gd name="T109" fmla="*/ 384 h 416"/>
                <a:gd name="T110" fmla="*/ 388 w 548"/>
                <a:gd name="T111" fmla="*/ 360 h 41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48" h="416">
                  <a:moveTo>
                    <a:pt x="388" y="360"/>
                  </a:moveTo>
                  <a:lnTo>
                    <a:pt x="379" y="344"/>
                  </a:lnTo>
                  <a:lnTo>
                    <a:pt x="345" y="328"/>
                  </a:lnTo>
                  <a:lnTo>
                    <a:pt x="320" y="296"/>
                  </a:lnTo>
                  <a:lnTo>
                    <a:pt x="270" y="264"/>
                  </a:lnTo>
                  <a:lnTo>
                    <a:pt x="236" y="216"/>
                  </a:lnTo>
                  <a:lnTo>
                    <a:pt x="202" y="200"/>
                  </a:lnTo>
                  <a:lnTo>
                    <a:pt x="219" y="152"/>
                  </a:lnTo>
                  <a:lnTo>
                    <a:pt x="236" y="152"/>
                  </a:lnTo>
                  <a:lnTo>
                    <a:pt x="270" y="168"/>
                  </a:lnTo>
                  <a:lnTo>
                    <a:pt x="278" y="144"/>
                  </a:lnTo>
                  <a:lnTo>
                    <a:pt x="312" y="136"/>
                  </a:lnTo>
                  <a:lnTo>
                    <a:pt x="354" y="144"/>
                  </a:lnTo>
                  <a:lnTo>
                    <a:pt x="404" y="152"/>
                  </a:lnTo>
                  <a:lnTo>
                    <a:pt x="438" y="144"/>
                  </a:lnTo>
                  <a:lnTo>
                    <a:pt x="472" y="152"/>
                  </a:lnTo>
                  <a:lnTo>
                    <a:pt x="522" y="160"/>
                  </a:lnTo>
                  <a:lnTo>
                    <a:pt x="522" y="128"/>
                  </a:lnTo>
                  <a:lnTo>
                    <a:pt x="548" y="120"/>
                  </a:lnTo>
                  <a:lnTo>
                    <a:pt x="522" y="112"/>
                  </a:lnTo>
                  <a:lnTo>
                    <a:pt x="497" y="80"/>
                  </a:lnTo>
                  <a:lnTo>
                    <a:pt x="480" y="48"/>
                  </a:lnTo>
                  <a:lnTo>
                    <a:pt x="421" y="72"/>
                  </a:lnTo>
                  <a:lnTo>
                    <a:pt x="388" y="72"/>
                  </a:lnTo>
                  <a:lnTo>
                    <a:pt x="379" y="48"/>
                  </a:lnTo>
                  <a:lnTo>
                    <a:pt x="345" y="56"/>
                  </a:lnTo>
                  <a:lnTo>
                    <a:pt x="320" y="40"/>
                  </a:lnTo>
                  <a:lnTo>
                    <a:pt x="295" y="16"/>
                  </a:lnTo>
                  <a:lnTo>
                    <a:pt x="261" y="0"/>
                  </a:lnTo>
                  <a:lnTo>
                    <a:pt x="227" y="8"/>
                  </a:lnTo>
                  <a:lnTo>
                    <a:pt x="194" y="48"/>
                  </a:lnTo>
                  <a:lnTo>
                    <a:pt x="194" y="88"/>
                  </a:lnTo>
                  <a:lnTo>
                    <a:pt x="160" y="96"/>
                  </a:lnTo>
                  <a:lnTo>
                    <a:pt x="143" y="128"/>
                  </a:lnTo>
                  <a:lnTo>
                    <a:pt x="109" y="120"/>
                  </a:lnTo>
                  <a:lnTo>
                    <a:pt x="84" y="104"/>
                  </a:lnTo>
                  <a:lnTo>
                    <a:pt x="42" y="136"/>
                  </a:lnTo>
                  <a:lnTo>
                    <a:pt x="8" y="144"/>
                  </a:lnTo>
                  <a:lnTo>
                    <a:pt x="0" y="144"/>
                  </a:lnTo>
                  <a:lnTo>
                    <a:pt x="0" y="152"/>
                  </a:lnTo>
                  <a:lnTo>
                    <a:pt x="34" y="216"/>
                  </a:lnTo>
                  <a:lnTo>
                    <a:pt x="84" y="152"/>
                  </a:lnTo>
                  <a:lnTo>
                    <a:pt x="84" y="216"/>
                  </a:lnTo>
                  <a:lnTo>
                    <a:pt x="126" y="192"/>
                  </a:lnTo>
                  <a:lnTo>
                    <a:pt x="126" y="240"/>
                  </a:lnTo>
                  <a:lnTo>
                    <a:pt x="177" y="264"/>
                  </a:lnTo>
                  <a:lnTo>
                    <a:pt x="160" y="272"/>
                  </a:lnTo>
                  <a:lnTo>
                    <a:pt x="219" y="312"/>
                  </a:lnTo>
                  <a:lnTo>
                    <a:pt x="227" y="336"/>
                  </a:lnTo>
                  <a:lnTo>
                    <a:pt x="253" y="352"/>
                  </a:lnTo>
                  <a:lnTo>
                    <a:pt x="312" y="360"/>
                  </a:lnTo>
                  <a:lnTo>
                    <a:pt x="371" y="384"/>
                  </a:lnTo>
                  <a:lnTo>
                    <a:pt x="312" y="392"/>
                  </a:lnTo>
                  <a:lnTo>
                    <a:pt x="413" y="416"/>
                  </a:lnTo>
                  <a:lnTo>
                    <a:pt x="413" y="384"/>
                  </a:lnTo>
                  <a:lnTo>
                    <a:pt x="388" y="36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2" name="Freeform 51"/>
            <p:cNvSpPr>
              <a:spLocks/>
            </p:cNvSpPr>
            <p:nvPr>
              <p:custDataLst>
                <p:tags r:id="rId48"/>
              </p:custDataLst>
            </p:nvPr>
          </p:nvSpPr>
          <p:spPr bwMode="auto">
            <a:xfrm>
              <a:off x="4098" y="3000"/>
              <a:ext cx="278" cy="200"/>
            </a:xfrm>
            <a:custGeom>
              <a:avLst/>
              <a:gdLst>
                <a:gd name="T0" fmla="*/ 50 w 278"/>
                <a:gd name="T1" fmla="*/ 192 h 200"/>
                <a:gd name="T2" fmla="*/ 92 w 278"/>
                <a:gd name="T3" fmla="*/ 160 h 200"/>
                <a:gd name="T4" fmla="*/ 117 w 278"/>
                <a:gd name="T5" fmla="*/ 176 h 200"/>
                <a:gd name="T6" fmla="*/ 151 w 278"/>
                <a:gd name="T7" fmla="*/ 184 h 200"/>
                <a:gd name="T8" fmla="*/ 168 w 278"/>
                <a:gd name="T9" fmla="*/ 152 h 200"/>
                <a:gd name="T10" fmla="*/ 202 w 278"/>
                <a:gd name="T11" fmla="*/ 144 h 200"/>
                <a:gd name="T12" fmla="*/ 202 w 278"/>
                <a:gd name="T13" fmla="*/ 104 h 200"/>
                <a:gd name="T14" fmla="*/ 235 w 278"/>
                <a:gd name="T15" fmla="*/ 64 h 200"/>
                <a:gd name="T16" fmla="*/ 278 w 278"/>
                <a:gd name="T17" fmla="*/ 48 h 200"/>
                <a:gd name="T18" fmla="*/ 235 w 278"/>
                <a:gd name="T19" fmla="*/ 0 h 200"/>
                <a:gd name="T20" fmla="*/ 227 w 278"/>
                <a:gd name="T21" fmla="*/ 8 h 200"/>
                <a:gd name="T22" fmla="*/ 227 w 278"/>
                <a:gd name="T23" fmla="*/ 32 h 200"/>
                <a:gd name="T24" fmla="*/ 185 w 278"/>
                <a:gd name="T25" fmla="*/ 40 h 200"/>
                <a:gd name="T26" fmla="*/ 134 w 278"/>
                <a:gd name="T27" fmla="*/ 40 h 200"/>
                <a:gd name="T28" fmla="*/ 101 w 278"/>
                <a:gd name="T29" fmla="*/ 64 h 200"/>
                <a:gd name="T30" fmla="*/ 42 w 278"/>
                <a:gd name="T31" fmla="*/ 64 h 200"/>
                <a:gd name="T32" fmla="*/ 8 w 278"/>
                <a:gd name="T33" fmla="*/ 72 h 200"/>
                <a:gd name="T34" fmla="*/ 0 w 278"/>
                <a:gd name="T35" fmla="*/ 96 h 200"/>
                <a:gd name="T36" fmla="*/ 8 w 278"/>
                <a:gd name="T37" fmla="*/ 152 h 200"/>
                <a:gd name="T38" fmla="*/ 0 w 278"/>
                <a:gd name="T39" fmla="*/ 160 h 200"/>
                <a:gd name="T40" fmla="*/ 25 w 278"/>
                <a:gd name="T41" fmla="*/ 152 h 200"/>
                <a:gd name="T42" fmla="*/ 8 w 278"/>
                <a:gd name="T43" fmla="*/ 176 h 200"/>
                <a:gd name="T44" fmla="*/ 8 w 278"/>
                <a:gd name="T45" fmla="*/ 200 h 200"/>
                <a:gd name="T46" fmla="*/ 16 w 278"/>
                <a:gd name="T47" fmla="*/ 200 h 200"/>
                <a:gd name="T48" fmla="*/ 50 w 278"/>
                <a:gd name="T49" fmla="*/ 192 h 2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78" h="200">
                  <a:moveTo>
                    <a:pt x="50" y="192"/>
                  </a:moveTo>
                  <a:lnTo>
                    <a:pt x="92" y="160"/>
                  </a:lnTo>
                  <a:lnTo>
                    <a:pt x="117" y="176"/>
                  </a:lnTo>
                  <a:lnTo>
                    <a:pt x="151" y="184"/>
                  </a:lnTo>
                  <a:lnTo>
                    <a:pt x="168" y="152"/>
                  </a:lnTo>
                  <a:lnTo>
                    <a:pt x="202" y="144"/>
                  </a:lnTo>
                  <a:lnTo>
                    <a:pt x="202" y="104"/>
                  </a:lnTo>
                  <a:lnTo>
                    <a:pt x="235" y="64"/>
                  </a:lnTo>
                  <a:lnTo>
                    <a:pt x="278" y="48"/>
                  </a:lnTo>
                  <a:lnTo>
                    <a:pt x="235" y="0"/>
                  </a:lnTo>
                  <a:lnTo>
                    <a:pt x="227" y="8"/>
                  </a:lnTo>
                  <a:lnTo>
                    <a:pt x="227" y="32"/>
                  </a:lnTo>
                  <a:lnTo>
                    <a:pt x="185" y="40"/>
                  </a:lnTo>
                  <a:lnTo>
                    <a:pt x="134" y="40"/>
                  </a:lnTo>
                  <a:lnTo>
                    <a:pt x="101" y="64"/>
                  </a:lnTo>
                  <a:lnTo>
                    <a:pt x="42" y="64"/>
                  </a:lnTo>
                  <a:lnTo>
                    <a:pt x="8" y="72"/>
                  </a:lnTo>
                  <a:lnTo>
                    <a:pt x="0" y="96"/>
                  </a:lnTo>
                  <a:lnTo>
                    <a:pt x="8" y="152"/>
                  </a:lnTo>
                  <a:lnTo>
                    <a:pt x="0" y="160"/>
                  </a:lnTo>
                  <a:lnTo>
                    <a:pt x="25" y="152"/>
                  </a:lnTo>
                  <a:lnTo>
                    <a:pt x="8" y="176"/>
                  </a:lnTo>
                  <a:lnTo>
                    <a:pt x="8" y="200"/>
                  </a:lnTo>
                  <a:lnTo>
                    <a:pt x="16" y="200"/>
                  </a:lnTo>
                  <a:lnTo>
                    <a:pt x="50" y="192"/>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3" name="Freeform 52"/>
            <p:cNvSpPr>
              <a:spLocks/>
            </p:cNvSpPr>
            <p:nvPr>
              <p:custDataLst>
                <p:tags r:id="rId49"/>
              </p:custDataLst>
            </p:nvPr>
          </p:nvSpPr>
          <p:spPr bwMode="auto">
            <a:xfrm>
              <a:off x="4106" y="3056"/>
              <a:ext cx="548" cy="416"/>
            </a:xfrm>
            <a:custGeom>
              <a:avLst/>
              <a:gdLst>
                <a:gd name="T0" fmla="*/ 388 w 548"/>
                <a:gd name="T1" fmla="*/ 360 h 416"/>
                <a:gd name="T2" fmla="*/ 379 w 548"/>
                <a:gd name="T3" fmla="*/ 344 h 416"/>
                <a:gd name="T4" fmla="*/ 345 w 548"/>
                <a:gd name="T5" fmla="*/ 328 h 416"/>
                <a:gd name="T6" fmla="*/ 320 w 548"/>
                <a:gd name="T7" fmla="*/ 296 h 416"/>
                <a:gd name="T8" fmla="*/ 270 w 548"/>
                <a:gd name="T9" fmla="*/ 264 h 416"/>
                <a:gd name="T10" fmla="*/ 236 w 548"/>
                <a:gd name="T11" fmla="*/ 216 h 416"/>
                <a:gd name="T12" fmla="*/ 202 w 548"/>
                <a:gd name="T13" fmla="*/ 200 h 416"/>
                <a:gd name="T14" fmla="*/ 219 w 548"/>
                <a:gd name="T15" fmla="*/ 152 h 416"/>
                <a:gd name="T16" fmla="*/ 236 w 548"/>
                <a:gd name="T17" fmla="*/ 152 h 416"/>
                <a:gd name="T18" fmla="*/ 270 w 548"/>
                <a:gd name="T19" fmla="*/ 168 h 416"/>
                <a:gd name="T20" fmla="*/ 278 w 548"/>
                <a:gd name="T21" fmla="*/ 144 h 416"/>
                <a:gd name="T22" fmla="*/ 312 w 548"/>
                <a:gd name="T23" fmla="*/ 136 h 416"/>
                <a:gd name="T24" fmla="*/ 354 w 548"/>
                <a:gd name="T25" fmla="*/ 144 h 416"/>
                <a:gd name="T26" fmla="*/ 404 w 548"/>
                <a:gd name="T27" fmla="*/ 152 h 416"/>
                <a:gd name="T28" fmla="*/ 438 w 548"/>
                <a:gd name="T29" fmla="*/ 144 h 416"/>
                <a:gd name="T30" fmla="*/ 472 w 548"/>
                <a:gd name="T31" fmla="*/ 152 h 416"/>
                <a:gd name="T32" fmla="*/ 522 w 548"/>
                <a:gd name="T33" fmla="*/ 160 h 416"/>
                <a:gd name="T34" fmla="*/ 522 w 548"/>
                <a:gd name="T35" fmla="*/ 128 h 416"/>
                <a:gd name="T36" fmla="*/ 548 w 548"/>
                <a:gd name="T37" fmla="*/ 120 h 416"/>
                <a:gd name="T38" fmla="*/ 522 w 548"/>
                <a:gd name="T39" fmla="*/ 112 h 416"/>
                <a:gd name="T40" fmla="*/ 497 w 548"/>
                <a:gd name="T41" fmla="*/ 80 h 416"/>
                <a:gd name="T42" fmla="*/ 480 w 548"/>
                <a:gd name="T43" fmla="*/ 48 h 416"/>
                <a:gd name="T44" fmla="*/ 421 w 548"/>
                <a:gd name="T45" fmla="*/ 72 h 416"/>
                <a:gd name="T46" fmla="*/ 388 w 548"/>
                <a:gd name="T47" fmla="*/ 72 h 416"/>
                <a:gd name="T48" fmla="*/ 379 w 548"/>
                <a:gd name="T49" fmla="*/ 48 h 416"/>
                <a:gd name="T50" fmla="*/ 345 w 548"/>
                <a:gd name="T51" fmla="*/ 56 h 416"/>
                <a:gd name="T52" fmla="*/ 320 w 548"/>
                <a:gd name="T53" fmla="*/ 40 h 416"/>
                <a:gd name="T54" fmla="*/ 295 w 548"/>
                <a:gd name="T55" fmla="*/ 16 h 416"/>
                <a:gd name="T56" fmla="*/ 261 w 548"/>
                <a:gd name="T57" fmla="*/ 0 h 416"/>
                <a:gd name="T58" fmla="*/ 227 w 548"/>
                <a:gd name="T59" fmla="*/ 8 h 416"/>
                <a:gd name="T60" fmla="*/ 194 w 548"/>
                <a:gd name="T61" fmla="*/ 48 h 416"/>
                <a:gd name="T62" fmla="*/ 194 w 548"/>
                <a:gd name="T63" fmla="*/ 88 h 416"/>
                <a:gd name="T64" fmla="*/ 160 w 548"/>
                <a:gd name="T65" fmla="*/ 96 h 416"/>
                <a:gd name="T66" fmla="*/ 143 w 548"/>
                <a:gd name="T67" fmla="*/ 128 h 416"/>
                <a:gd name="T68" fmla="*/ 109 w 548"/>
                <a:gd name="T69" fmla="*/ 120 h 416"/>
                <a:gd name="T70" fmla="*/ 84 w 548"/>
                <a:gd name="T71" fmla="*/ 104 h 416"/>
                <a:gd name="T72" fmla="*/ 42 w 548"/>
                <a:gd name="T73" fmla="*/ 136 h 416"/>
                <a:gd name="T74" fmla="*/ 8 w 548"/>
                <a:gd name="T75" fmla="*/ 144 h 416"/>
                <a:gd name="T76" fmla="*/ 0 w 548"/>
                <a:gd name="T77" fmla="*/ 144 h 416"/>
                <a:gd name="T78" fmla="*/ 0 w 548"/>
                <a:gd name="T79" fmla="*/ 152 h 416"/>
                <a:gd name="T80" fmla="*/ 34 w 548"/>
                <a:gd name="T81" fmla="*/ 216 h 416"/>
                <a:gd name="T82" fmla="*/ 84 w 548"/>
                <a:gd name="T83" fmla="*/ 152 h 416"/>
                <a:gd name="T84" fmla="*/ 84 w 548"/>
                <a:gd name="T85" fmla="*/ 216 h 416"/>
                <a:gd name="T86" fmla="*/ 126 w 548"/>
                <a:gd name="T87" fmla="*/ 192 h 416"/>
                <a:gd name="T88" fmla="*/ 126 w 548"/>
                <a:gd name="T89" fmla="*/ 240 h 416"/>
                <a:gd name="T90" fmla="*/ 177 w 548"/>
                <a:gd name="T91" fmla="*/ 264 h 416"/>
                <a:gd name="T92" fmla="*/ 160 w 548"/>
                <a:gd name="T93" fmla="*/ 272 h 416"/>
                <a:gd name="T94" fmla="*/ 219 w 548"/>
                <a:gd name="T95" fmla="*/ 312 h 416"/>
                <a:gd name="T96" fmla="*/ 227 w 548"/>
                <a:gd name="T97" fmla="*/ 336 h 416"/>
                <a:gd name="T98" fmla="*/ 253 w 548"/>
                <a:gd name="T99" fmla="*/ 352 h 416"/>
                <a:gd name="T100" fmla="*/ 312 w 548"/>
                <a:gd name="T101" fmla="*/ 360 h 416"/>
                <a:gd name="T102" fmla="*/ 371 w 548"/>
                <a:gd name="T103" fmla="*/ 384 h 416"/>
                <a:gd name="T104" fmla="*/ 312 w 548"/>
                <a:gd name="T105" fmla="*/ 392 h 416"/>
                <a:gd name="T106" fmla="*/ 413 w 548"/>
                <a:gd name="T107" fmla="*/ 416 h 416"/>
                <a:gd name="T108" fmla="*/ 413 w 548"/>
                <a:gd name="T109" fmla="*/ 384 h 416"/>
                <a:gd name="T110" fmla="*/ 388 w 548"/>
                <a:gd name="T111" fmla="*/ 360 h 41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48" h="416">
                  <a:moveTo>
                    <a:pt x="388" y="360"/>
                  </a:moveTo>
                  <a:lnTo>
                    <a:pt x="379" y="344"/>
                  </a:lnTo>
                  <a:lnTo>
                    <a:pt x="345" y="328"/>
                  </a:lnTo>
                  <a:lnTo>
                    <a:pt x="320" y="296"/>
                  </a:lnTo>
                  <a:lnTo>
                    <a:pt x="270" y="264"/>
                  </a:lnTo>
                  <a:lnTo>
                    <a:pt x="236" y="216"/>
                  </a:lnTo>
                  <a:lnTo>
                    <a:pt x="202" y="200"/>
                  </a:lnTo>
                  <a:lnTo>
                    <a:pt x="219" y="152"/>
                  </a:lnTo>
                  <a:lnTo>
                    <a:pt x="236" y="152"/>
                  </a:lnTo>
                  <a:lnTo>
                    <a:pt x="270" y="168"/>
                  </a:lnTo>
                  <a:lnTo>
                    <a:pt x="278" y="144"/>
                  </a:lnTo>
                  <a:lnTo>
                    <a:pt x="312" y="136"/>
                  </a:lnTo>
                  <a:lnTo>
                    <a:pt x="354" y="144"/>
                  </a:lnTo>
                  <a:lnTo>
                    <a:pt x="404" y="152"/>
                  </a:lnTo>
                  <a:lnTo>
                    <a:pt x="438" y="144"/>
                  </a:lnTo>
                  <a:lnTo>
                    <a:pt x="472" y="152"/>
                  </a:lnTo>
                  <a:lnTo>
                    <a:pt x="522" y="160"/>
                  </a:lnTo>
                  <a:lnTo>
                    <a:pt x="522" y="128"/>
                  </a:lnTo>
                  <a:lnTo>
                    <a:pt x="548" y="120"/>
                  </a:lnTo>
                  <a:lnTo>
                    <a:pt x="522" y="112"/>
                  </a:lnTo>
                  <a:lnTo>
                    <a:pt x="497" y="80"/>
                  </a:lnTo>
                  <a:lnTo>
                    <a:pt x="480" y="48"/>
                  </a:lnTo>
                  <a:lnTo>
                    <a:pt x="421" y="72"/>
                  </a:lnTo>
                  <a:lnTo>
                    <a:pt x="388" y="72"/>
                  </a:lnTo>
                  <a:lnTo>
                    <a:pt x="379" y="48"/>
                  </a:lnTo>
                  <a:lnTo>
                    <a:pt x="345" y="56"/>
                  </a:lnTo>
                  <a:lnTo>
                    <a:pt x="320" y="40"/>
                  </a:lnTo>
                  <a:lnTo>
                    <a:pt x="295" y="16"/>
                  </a:lnTo>
                  <a:lnTo>
                    <a:pt x="261" y="0"/>
                  </a:lnTo>
                  <a:lnTo>
                    <a:pt x="227" y="8"/>
                  </a:lnTo>
                  <a:lnTo>
                    <a:pt x="194" y="48"/>
                  </a:lnTo>
                  <a:lnTo>
                    <a:pt x="194" y="88"/>
                  </a:lnTo>
                  <a:lnTo>
                    <a:pt x="160" y="96"/>
                  </a:lnTo>
                  <a:lnTo>
                    <a:pt x="143" y="128"/>
                  </a:lnTo>
                  <a:lnTo>
                    <a:pt x="109" y="120"/>
                  </a:lnTo>
                  <a:lnTo>
                    <a:pt x="84" y="104"/>
                  </a:lnTo>
                  <a:lnTo>
                    <a:pt x="42" y="136"/>
                  </a:lnTo>
                  <a:lnTo>
                    <a:pt x="8" y="144"/>
                  </a:lnTo>
                  <a:lnTo>
                    <a:pt x="0" y="144"/>
                  </a:lnTo>
                  <a:lnTo>
                    <a:pt x="0" y="152"/>
                  </a:lnTo>
                  <a:lnTo>
                    <a:pt x="34" y="216"/>
                  </a:lnTo>
                  <a:lnTo>
                    <a:pt x="84" y="152"/>
                  </a:lnTo>
                  <a:lnTo>
                    <a:pt x="84" y="216"/>
                  </a:lnTo>
                  <a:lnTo>
                    <a:pt x="126" y="192"/>
                  </a:lnTo>
                  <a:lnTo>
                    <a:pt x="126" y="240"/>
                  </a:lnTo>
                  <a:lnTo>
                    <a:pt x="177" y="264"/>
                  </a:lnTo>
                  <a:lnTo>
                    <a:pt x="160" y="272"/>
                  </a:lnTo>
                  <a:lnTo>
                    <a:pt x="219" y="312"/>
                  </a:lnTo>
                  <a:lnTo>
                    <a:pt x="227" y="336"/>
                  </a:lnTo>
                  <a:lnTo>
                    <a:pt x="253" y="352"/>
                  </a:lnTo>
                  <a:lnTo>
                    <a:pt x="312" y="360"/>
                  </a:lnTo>
                  <a:lnTo>
                    <a:pt x="371" y="384"/>
                  </a:lnTo>
                  <a:lnTo>
                    <a:pt x="312" y="392"/>
                  </a:lnTo>
                  <a:lnTo>
                    <a:pt x="413" y="416"/>
                  </a:lnTo>
                  <a:lnTo>
                    <a:pt x="413" y="384"/>
                  </a:lnTo>
                  <a:lnTo>
                    <a:pt x="388" y="360"/>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4" name="Freeform 53"/>
            <p:cNvSpPr>
              <a:spLocks/>
            </p:cNvSpPr>
            <p:nvPr>
              <p:custDataLst>
                <p:tags r:id="rId50"/>
              </p:custDataLst>
            </p:nvPr>
          </p:nvSpPr>
          <p:spPr bwMode="auto">
            <a:xfrm>
              <a:off x="4308" y="3192"/>
              <a:ext cx="388" cy="320"/>
            </a:xfrm>
            <a:custGeom>
              <a:avLst/>
              <a:gdLst>
                <a:gd name="T0" fmla="*/ 287 w 388"/>
                <a:gd name="T1" fmla="*/ 264 h 320"/>
                <a:gd name="T2" fmla="*/ 312 w 388"/>
                <a:gd name="T3" fmla="*/ 248 h 320"/>
                <a:gd name="T4" fmla="*/ 320 w 388"/>
                <a:gd name="T5" fmla="*/ 216 h 320"/>
                <a:gd name="T6" fmla="*/ 346 w 388"/>
                <a:gd name="T7" fmla="*/ 216 h 320"/>
                <a:gd name="T8" fmla="*/ 337 w 388"/>
                <a:gd name="T9" fmla="*/ 192 h 320"/>
                <a:gd name="T10" fmla="*/ 388 w 388"/>
                <a:gd name="T11" fmla="*/ 176 h 320"/>
                <a:gd name="T12" fmla="*/ 362 w 388"/>
                <a:gd name="T13" fmla="*/ 136 h 320"/>
                <a:gd name="T14" fmla="*/ 388 w 388"/>
                <a:gd name="T15" fmla="*/ 120 h 320"/>
                <a:gd name="T16" fmla="*/ 346 w 388"/>
                <a:gd name="T17" fmla="*/ 96 h 320"/>
                <a:gd name="T18" fmla="*/ 337 w 388"/>
                <a:gd name="T19" fmla="*/ 64 h 320"/>
                <a:gd name="T20" fmla="*/ 337 w 388"/>
                <a:gd name="T21" fmla="*/ 32 h 320"/>
                <a:gd name="T22" fmla="*/ 304 w 388"/>
                <a:gd name="T23" fmla="*/ 32 h 320"/>
                <a:gd name="T24" fmla="*/ 295 w 388"/>
                <a:gd name="T25" fmla="*/ 16 h 320"/>
                <a:gd name="T26" fmla="*/ 270 w 388"/>
                <a:gd name="T27" fmla="*/ 16 h 320"/>
                <a:gd name="T28" fmla="*/ 236 w 388"/>
                <a:gd name="T29" fmla="*/ 8 h 320"/>
                <a:gd name="T30" fmla="*/ 202 w 388"/>
                <a:gd name="T31" fmla="*/ 16 h 320"/>
                <a:gd name="T32" fmla="*/ 152 w 388"/>
                <a:gd name="T33" fmla="*/ 8 h 320"/>
                <a:gd name="T34" fmla="*/ 110 w 388"/>
                <a:gd name="T35" fmla="*/ 0 h 320"/>
                <a:gd name="T36" fmla="*/ 76 w 388"/>
                <a:gd name="T37" fmla="*/ 8 h 320"/>
                <a:gd name="T38" fmla="*/ 68 w 388"/>
                <a:gd name="T39" fmla="*/ 32 h 320"/>
                <a:gd name="T40" fmla="*/ 34 w 388"/>
                <a:gd name="T41" fmla="*/ 16 h 320"/>
                <a:gd name="T42" fmla="*/ 17 w 388"/>
                <a:gd name="T43" fmla="*/ 16 h 320"/>
                <a:gd name="T44" fmla="*/ 0 w 388"/>
                <a:gd name="T45" fmla="*/ 64 h 320"/>
                <a:gd name="T46" fmla="*/ 34 w 388"/>
                <a:gd name="T47" fmla="*/ 80 h 320"/>
                <a:gd name="T48" fmla="*/ 68 w 388"/>
                <a:gd name="T49" fmla="*/ 128 h 320"/>
                <a:gd name="T50" fmla="*/ 118 w 388"/>
                <a:gd name="T51" fmla="*/ 160 h 320"/>
                <a:gd name="T52" fmla="*/ 143 w 388"/>
                <a:gd name="T53" fmla="*/ 192 h 320"/>
                <a:gd name="T54" fmla="*/ 177 w 388"/>
                <a:gd name="T55" fmla="*/ 208 h 320"/>
                <a:gd name="T56" fmla="*/ 186 w 388"/>
                <a:gd name="T57" fmla="*/ 224 h 320"/>
                <a:gd name="T58" fmla="*/ 211 w 388"/>
                <a:gd name="T59" fmla="*/ 248 h 320"/>
                <a:gd name="T60" fmla="*/ 211 w 388"/>
                <a:gd name="T61" fmla="*/ 280 h 320"/>
                <a:gd name="T62" fmla="*/ 295 w 388"/>
                <a:gd name="T63" fmla="*/ 320 h 320"/>
                <a:gd name="T64" fmla="*/ 295 w 388"/>
                <a:gd name="T65" fmla="*/ 280 h 320"/>
                <a:gd name="T66" fmla="*/ 287 w 388"/>
                <a:gd name="T67" fmla="*/ 264 h 32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88" h="320">
                  <a:moveTo>
                    <a:pt x="287" y="264"/>
                  </a:moveTo>
                  <a:lnTo>
                    <a:pt x="312" y="248"/>
                  </a:lnTo>
                  <a:lnTo>
                    <a:pt x="320" y="216"/>
                  </a:lnTo>
                  <a:lnTo>
                    <a:pt x="346" y="216"/>
                  </a:lnTo>
                  <a:lnTo>
                    <a:pt x="337" y="192"/>
                  </a:lnTo>
                  <a:lnTo>
                    <a:pt x="388" y="176"/>
                  </a:lnTo>
                  <a:lnTo>
                    <a:pt x="362" y="136"/>
                  </a:lnTo>
                  <a:lnTo>
                    <a:pt x="388" y="120"/>
                  </a:lnTo>
                  <a:lnTo>
                    <a:pt x="346" y="96"/>
                  </a:lnTo>
                  <a:lnTo>
                    <a:pt x="337" y="64"/>
                  </a:lnTo>
                  <a:lnTo>
                    <a:pt x="337" y="32"/>
                  </a:lnTo>
                  <a:lnTo>
                    <a:pt x="304" y="32"/>
                  </a:lnTo>
                  <a:lnTo>
                    <a:pt x="295" y="16"/>
                  </a:lnTo>
                  <a:lnTo>
                    <a:pt x="270" y="16"/>
                  </a:lnTo>
                  <a:lnTo>
                    <a:pt x="236" y="8"/>
                  </a:lnTo>
                  <a:lnTo>
                    <a:pt x="202" y="16"/>
                  </a:lnTo>
                  <a:lnTo>
                    <a:pt x="152" y="8"/>
                  </a:lnTo>
                  <a:lnTo>
                    <a:pt x="110" y="0"/>
                  </a:lnTo>
                  <a:lnTo>
                    <a:pt x="76" y="8"/>
                  </a:lnTo>
                  <a:lnTo>
                    <a:pt x="68" y="32"/>
                  </a:lnTo>
                  <a:lnTo>
                    <a:pt x="34" y="16"/>
                  </a:lnTo>
                  <a:lnTo>
                    <a:pt x="17" y="16"/>
                  </a:lnTo>
                  <a:lnTo>
                    <a:pt x="0" y="64"/>
                  </a:lnTo>
                  <a:lnTo>
                    <a:pt x="34" y="80"/>
                  </a:lnTo>
                  <a:lnTo>
                    <a:pt x="68" y="128"/>
                  </a:lnTo>
                  <a:lnTo>
                    <a:pt x="118" y="160"/>
                  </a:lnTo>
                  <a:lnTo>
                    <a:pt x="143" y="192"/>
                  </a:lnTo>
                  <a:lnTo>
                    <a:pt x="177" y="208"/>
                  </a:lnTo>
                  <a:lnTo>
                    <a:pt x="186" y="224"/>
                  </a:lnTo>
                  <a:lnTo>
                    <a:pt x="211" y="248"/>
                  </a:lnTo>
                  <a:lnTo>
                    <a:pt x="211" y="280"/>
                  </a:lnTo>
                  <a:lnTo>
                    <a:pt x="295" y="320"/>
                  </a:lnTo>
                  <a:lnTo>
                    <a:pt x="295" y="280"/>
                  </a:lnTo>
                  <a:lnTo>
                    <a:pt x="287" y="26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5" name="Freeform 54"/>
            <p:cNvSpPr>
              <a:spLocks/>
            </p:cNvSpPr>
            <p:nvPr>
              <p:custDataLst>
                <p:tags r:id="rId51"/>
              </p:custDataLst>
            </p:nvPr>
          </p:nvSpPr>
          <p:spPr bwMode="auto">
            <a:xfrm>
              <a:off x="4333" y="2760"/>
              <a:ext cx="573" cy="368"/>
            </a:xfrm>
            <a:custGeom>
              <a:avLst/>
              <a:gdLst>
                <a:gd name="T0" fmla="*/ 295 w 573"/>
                <a:gd name="T1" fmla="*/ 320 h 368"/>
                <a:gd name="T2" fmla="*/ 329 w 573"/>
                <a:gd name="T3" fmla="*/ 304 h 368"/>
                <a:gd name="T4" fmla="*/ 380 w 573"/>
                <a:gd name="T5" fmla="*/ 304 h 368"/>
                <a:gd name="T6" fmla="*/ 413 w 573"/>
                <a:gd name="T7" fmla="*/ 288 h 368"/>
                <a:gd name="T8" fmla="*/ 439 w 573"/>
                <a:gd name="T9" fmla="*/ 272 h 368"/>
                <a:gd name="T10" fmla="*/ 455 w 573"/>
                <a:gd name="T11" fmla="*/ 264 h 368"/>
                <a:gd name="T12" fmla="*/ 464 w 573"/>
                <a:gd name="T13" fmla="*/ 224 h 368"/>
                <a:gd name="T14" fmla="*/ 472 w 573"/>
                <a:gd name="T15" fmla="*/ 200 h 368"/>
                <a:gd name="T16" fmla="*/ 498 w 573"/>
                <a:gd name="T17" fmla="*/ 168 h 368"/>
                <a:gd name="T18" fmla="*/ 523 w 573"/>
                <a:gd name="T19" fmla="*/ 112 h 368"/>
                <a:gd name="T20" fmla="*/ 548 w 573"/>
                <a:gd name="T21" fmla="*/ 72 h 368"/>
                <a:gd name="T22" fmla="*/ 573 w 573"/>
                <a:gd name="T23" fmla="*/ 48 h 368"/>
                <a:gd name="T24" fmla="*/ 548 w 573"/>
                <a:gd name="T25" fmla="*/ 24 h 368"/>
                <a:gd name="T26" fmla="*/ 514 w 573"/>
                <a:gd name="T27" fmla="*/ 0 h 368"/>
                <a:gd name="T28" fmla="*/ 472 w 573"/>
                <a:gd name="T29" fmla="*/ 8 h 368"/>
                <a:gd name="T30" fmla="*/ 447 w 573"/>
                <a:gd name="T31" fmla="*/ 0 h 368"/>
                <a:gd name="T32" fmla="*/ 405 w 573"/>
                <a:gd name="T33" fmla="*/ 8 h 368"/>
                <a:gd name="T34" fmla="*/ 371 w 573"/>
                <a:gd name="T35" fmla="*/ 8 h 368"/>
                <a:gd name="T36" fmla="*/ 329 w 573"/>
                <a:gd name="T37" fmla="*/ 56 h 368"/>
                <a:gd name="T38" fmla="*/ 287 w 573"/>
                <a:gd name="T39" fmla="*/ 48 h 368"/>
                <a:gd name="T40" fmla="*/ 279 w 573"/>
                <a:gd name="T41" fmla="*/ 64 h 368"/>
                <a:gd name="T42" fmla="*/ 228 w 573"/>
                <a:gd name="T43" fmla="*/ 80 h 368"/>
                <a:gd name="T44" fmla="*/ 228 w 573"/>
                <a:gd name="T45" fmla="*/ 112 h 368"/>
                <a:gd name="T46" fmla="*/ 110 w 573"/>
                <a:gd name="T47" fmla="*/ 128 h 368"/>
                <a:gd name="T48" fmla="*/ 85 w 573"/>
                <a:gd name="T49" fmla="*/ 112 h 368"/>
                <a:gd name="T50" fmla="*/ 68 w 573"/>
                <a:gd name="T51" fmla="*/ 104 h 368"/>
                <a:gd name="T52" fmla="*/ 68 w 573"/>
                <a:gd name="T53" fmla="*/ 128 h 368"/>
                <a:gd name="T54" fmla="*/ 26 w 573"/>
                <a:gd name="T55" fmla="*/ 144 h 368"/>
                <a:gd name="T56" fmla="*/ 26 w 573"/>
                <a:gd name="T57" fmla="*/ 184 h 368"/>
                <a:gd name="T58" fmla="*/ 17 w 573"/>
                <a:gd name="T59" fmla="*/ 224 h 368"/>
                <a:gd name="T60" fmla="*/ 0 w 573"/>
                <a:gd name="T61" fmla="*/ 240 h 368"/>
                <a:gd name="T62" fmla="*/ 43 w 573"/>
                <a:gd name="T63" fmla="*/ 288 h 368"/>
                <a:gd name="T64" fmla="*/ 34 w 573"/>
                <a:gd name="T65" fmla="*/ 296 h 368"/>
                <a:gd name="T66" fmla="*/ 68 w 573"/>
                <a:gd name="T67" fmla="*/ 312 h 368"/>
                <a:gd name="T68" fmla="*/ 93 w 573"/>
                <a:gd name="T69" fmla="*/ 336 h 368"/>
                <a:gd name="T70" fmla="*/ 118 w 573"/>
                <a:gd name="T71" fmla="*/ 352 h 368"/>
                <a:gd name="T72" fmla="*/ 152 w 573"/>
                <a:gd name="T73" fmla="*/ 344 h 368"/>
                <a:gd name="T74" fmla="*/ 161 w 573"/>
                <a:gd name="T75" fmla="*/ 368 h 368"/>
                <a:gd name="T76" fmla="*/ 194 w 573"/>
                <a:gd name="T77" fmla="*/ 368 h 368"/>
                <a:gd name="T78" fmla="*/ 253 w 573"/>
                <a:gd name="T79" fmla="*/ 344 h 368"/>
                <a:gd name="T80" fmla="*/ 262 w 573"/>
                <a:gd name="T81" fmla="*/ 344 h 368"/>
                <a:gd name="T82" fmla="*/ 270 w 573"/>
                <a:gd name="T83" fmla="*/ 320 h 368"/>
                <a:gd name="T84" fmla="*/ 295 w 573"/>
                <a:gd name="T85" fmla="*/ 320 h 3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3" h="368">
                  <a:moveTo>
                    <a:pt x="295" y="320"/>
                  </a:moveTo>
                  <a:lnTo>
                    <a:pt x="329" y="304"/>
                  </a:lnTo>
                  <a:lnTo>
                    <a:pt x="380" y="304"/>
                  </a:lnTo>
                  <a:lnTo>
                    <a:pt x="413" y="288"/>
                  </a:lnTo>
                  <a:lnTo>
                    <a:pt x="439" y="272"/>
                  </a:lnTo>
                  <a:lnTo>
                    <a:pt x="455" y="264"/>
                  </a:lnTo>
                  <a:lnTo>
                    <a:pt x="464" y="224"/>
                  </a:lnTo>
                  <a:lnTo>
                    <a:pt x="472" y="200"/>
                  </a:lnTo>
                  <a:lnTo>
                    <a:pt x="498" y="168"/>
                  </a:lnTo>
                  <a:lnTo>
                    <a:pt x="523" y="112"/>
                  </a:lnTo>
                  <a:lnTo>
                    <a:pt x="548" y="72"/>
                  </a:lnTo>
                  <a:lnTo>
                    <a:pt x="573" y="48"/>
                  </a:lnTo>
                  <a:lnTo>
                    <a:pt x="548" y="24"/>
                  </a:lnTo>
                  <a:lnTo>
                    <a:pt x="514" y="0"/>
                  </a:lnTo>
                  <a:lnTo>
                    <a:pt x="472" y="8"/>
                  </a:lnTo>
                  <a:lnTo>
                    <a:pt x="447" y="0"/>
                  </a:lnTo>
                  <a:lnTo>
                    <a:pt x="405" y="8"/>
                  </a:lnTo>
                  <a:lnTo>
                    <a:pt x="371" y="8"/>
                  </a:lnTo>
                  <a:lnTo>
                    <a:pt x="329" y="56"/>
                  </a:lnTo>
                  <a:lnTo>
                    <a:pt x="287" y="48"/>
                  </a:lnTo>
                  <a:lnTo>
                    <a:pt x="279" y="64"/>
                  </a:lnTo>
                  <a:lnTo>
                    <a:pt x="228" y="80"/>
                  </a:lnTo>
                  <a:lnTo>
                    <a:pt x="228" y="112"/>
                  </a:lnTo>
                  <a:lnTo>
                    <a:pt x="110" y="128"/>
                  </a:lnTo>
                  <a:lnTo>
                    <a:pt x="85" y="112"/>
                  </a:lnTo>
                  <a:lnTo>
                    <a:pt x="68" y="104"/>
                  </a:lnTo>
                  <a:lnTo>
                    <a:pt x="68" y="128"/>
                  </a:lnTo>
                  <a:lnTo>
                    <a:pt x="26" y="144"/>
                  </a:lnTo>
                  <a:lnTo>
                    <a:pt x="26" y="184"/>
                  </a:lnTo>
                  <a:lnTo>
                    <a:pt x="17" y="224"/>
                  </a:lnTo>
                  <a:lnTo>
                    <a:pt x="0" y="240"/>
                  </a:lnTo>
                  <a:lnTo>
                    <a:pt x="43" y="288"/>
                  </a:lnTo>
                  <a:lnTo>
                    <a:pt x="34" y="296"/>
                  </a:lnTo>
                  <a:lnTo>
                    <a:pt x="68" y="312"/>
                  </a:lnTo>
                  <a:lnTo>
                    <a:pt x="93" y="336"/>
                  </a:lnTo>
                  <a:lnTo>
                    <a:pt x="118" y="352"/>
                  </a:lnTo>
                  <a:lnTo>
                    <a:pt x="152" y="344"/>
                  </a:lnTo>
                  <a:lnTo>
                    <a:pt x="161" y="368"/>
                  </a:lnTo>
                  <a:lnTo>
                    <a:pt x="194" y="368"/>
                  </a:lnTo>
                  <a:lnTo>
                    <a:pt x="253" y="344"/>
                  </a:lnTo>
                  <a:lnTo>
                    <a:pt x="262" y="344"/>
                  </a:lnTo>
                  <a:lnTo>
                    <a:pt x="270" y="320"/>
                  </a:lnTo>
                  <a:lnTo>
                    <a:pt x="295" y="32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6" name="Freeform 55"/>
            <p:cNvSpPr>
              <a:spLocks/>
            </p:cNvSpPr>
            <p:nvPr>
              <p:custDataLst>
                <p:tags r:id="rId52"/>
              </p:custDataLst>
            </p:nvPr>
          </p:nvSpPr>
          <p:spPr bwMode="auto">
            <a:xfrm>
              <a:off x="4308" y="3192"/>
              <a:ext cx="388" cy="320"/>
            </a:xfrm>
            <a:custGeom>
              <a:avLst/>
              <a:gdLst>
                <a:gd name="T0" fmla="*/ 287 w 388"/>
                <a:gd name="T1" fmla="*/ 264 h 320"/>
                <a:gd name="T2" fmla="*/ 312 w 388"/>
                <a:gd name="T3" fmla="*/ 248 h 320"/>
                <a:gd name="T4" fmla="*/ 320 w 388"/>
                <a:gd name="T5" fmla="*/ 216 h 320"/>
                <a:gd name="T6" fmla="*/ 346 w 388"/>
                <a:gd name="T7" fmla="*/ 216 h 320"/>
                <a:gd name="T8" fmla="*/ 337 w 388"/>
                <a:gd name="T9" fmla="*/ 192 h 320"/>
                <a:gd name="T10" fmla="*/ 388 w 388"/>
                <a:gd name="T11" fmla="*/ 176 h 320"/>
                <a:gd name="T12" fmla="*/ 362 w 388"/>
                <a:gd name="T13" fmla="*/ 136 h 320"/>
                <a:gd name="T14" fmla="*/ 388 w 388"/>
                <a:gd name="T15" fmla="*/ 120 h 320"/>
                <a:gd name="T16" fmla="*/ 346 w 388"/>
                <a:gd name="T17" fmla="*/ 96 h 320"/>
                <a:gd name="T18" fmla="*/ 337 w 388"/>
                <a:gd name="T19" fmla="*/ 64 h 320"/>
                <a:gd name="T20" fmla="*/ 337 w 388"/>
                <a:gd name="T21" fmla="*/ 32 h 320"/>
                <a:gd name="T22" fmla="*/ 304 w 388"/>
                <a:gd name="T23" fmla="*/ 32 h 320"/>
                <a:gd name="T24" fmla="*/ 295 w 388"/>
                <a:gd name="T25" fmla="*/ 16 h 320"/>
                <a:gd name="T26" fmla="*/ 270 w 388"/>
                <a:gd name="T27" fmla="*/ 16 h 320"/>
                <a:gd name="T28" fmla="*/ 236 w 388"/>
                <a:gd name="T29" fmla="*/ 8 h 320"/>
                <a:gd name="T30" fmla="*/ 202 w 388"/>
                <a:gd name="T31" fmla="*/ 16 h 320"/>
                <a:gd name="T32" fmla="*/ 152 w 388"/>
                <a:gd name="T33" fmla="*/ 8 h 320"/>
                <a:gd name="T34" fmla="*/ 110 w 388"/>
                <a:gd name="T35" fmla="*/ 0 h 320"/>
                <a:gd name="T36" fmla="*/ 76 w 388"/>
                <a:gd name="T37" fmla="*/ 8 h 320"/>
                <a:gd name="T38" fmla="*/ 68 w 388"/>
                <a:gd name="T39" fmla="*/ 32 h 320"/>
                <a:gd name="T40" fmla="*/ 34 w 388"/>
                <a:gd name="T41" fmla="*/ 16 h 320"/>
                <a:gd name="T42" fmla="*/ 17 w 388"/>
                <a:gd name="T43" fmla="*/ 16 h 320"/>
                <a:gd name="T44" fmla="*/ 0 w 388"/>
                <a:gd name="T45" fmla="*/ 64 h 320"/>
                <a:gd name="T46" fmla="*/ 34 w 388"/>
                <a:gd name="T47" fmla="*/ 80 h 320"/>
                <a:gd name="T48" fmla="*/ 68 w 388"/>
                <a:gd name="T49" fmla="*/ 128 h 320"/>
                <a:gd name="T50" fmla="*/ 118 w 388"/>
                <a:gd name="T51" fmla="*/ 160 h 320"/>
                <a:gd name="T52" fmla="*/ 143 w 388"/>
                <a:gd name="T53" fmla="*/ 192 h 320"/>
                <a:gd name="T54" fmla="*/ 177 w 388"/>
                <a:gd name="T55" fmla="*/ 208 h 320"/>
                <a:gd name="T56" fmla="*/ 186 w 388"/>
                <a:gd name="T57" fmla="*/ 224 h 320"/>
                <a:gd name="T58" fmla="*/ 211 w 388"/>
                <a:gd name="T59" fmla="*/ 248 h 320"/>
                <a:gd name="T60" fmla="*/ 211 w 388"/>
                <a:gd name="T61" fmla="*/ 280 h 320"/>
                <a:gd name="T62" fmla="*/ 295 w 388"/>
                <a:gd name="T63" fmla="*/ 320 h 320"/>
                <a:gd name="T64" fmla="*/ 295 w 388"/>
                <a:gd name="T65" fmla="*/ 280 h 320"/>
                <a:gd name="T66" fmla="*/ 287 w 388"/>
                <a:gd name="T67" fmla="*/ 264 h 32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88" h="320">
                  <a:moveTo>
                    <a:pt x="287" y="264"/>
                  </a:moveTo>
                  <a:lnTo>
                    <a:pt x="312" y="248"/>
                  </a:lnTo>
                  <a:lnTo>
                    <a:pt x="320" y="216"/>
                  </a:lnTo>
                  <a:lnTo>
                    <a:pt x="346" y="216"/>
                  </a:lnTo>
                  <a:lnTo>
                    <a:pt x="337" y="192"/>
                  </a:lnTo>
                  <a:lnTo>
                    <a:pt x="388" y="176"/>
                  </a:lnTo>
                  <a:lnTo>
                    <a:pt x="362" y="136"/>
                  </a:lnTo>
                  <a:lnTo>
                    <a:pt x="388" y="120"/>
                  </a:lnTo>
                  <a:lnTo>
                    <a:pt x="346" y="96"/>
                  </a:lnTo>
                  <a:lnTo>
                    <a:pt x="337" y="64"/>
                  </a:lnTo>
                  <a:lnTo>
                    <a:pt x="337" y="32"/>
                  </a:lnTo>
                  <a:lnTo>
                    <a:pt x="304" y="32"/>
                  </a:lnTo>
                  <a:lnTo>
                    <a:pt x="295" y="16"/>
                  </a:lnTo>
                  <a:lnTo>
                    <a:pt x="270" y="16"/>
                  </a:lnTo>
                  <a:lnTo>
                    <a:pt x="236" y="8"/>
                  </a:lnTo>
                  <a:lnTo>
                    <a:pt x="202" y="16"/>
                  </a:lnTo>
                  <a:lnTo>
                    <a:pt x="152" y="8"/>
                  </a:lnTo>
                  <a:lnTo>
                    <a:pt x="110" y="0"/>
                  </a:lnTo>
                  <a:lnTo>
                    <a:pt x="76" y="8"/>
                  </a:lnTo>
                  <a:lnTo>
                    <a:pt x="68" y="32"/>
                  </a:lnTo>
                  <a:lnTo>
                    <a:pt x="34" y="16"/>
                  </a:lnTo>
                  <a:lnTo>
                    <a:pt x="17" y="16"/>
                  </a:lnTo>
                  <a:lnTo>
                    <a:pt x="0" y="64"/>
                  </a:lnTo>
                  <a:lnTo>
                    <a:pt x="34" y="80"/>
                  </a:lnTo>
                  <a:lnTo>
                    <a:pt x="68" y="128"/>
                  </a:lnTo>
                  <a:lnTo>
                    <a:pt x="118" y="160"/>
                  </a:lnTo>
                  <a:lnTo>
                    <a:pt x="143" y="192"/>
                  </a:lnTo>
                  <a:lnTo>
                    <a:pt x="177" y="208"/>
                  </a:lnTo>
                  <a:lnTo>
                    <a:pt x="186" y="224"/>
                  </a:lnTo>
                  <a:lnTo>
                    <a:pt x="211" y="248"/>
                  </a:lnTo>
                  <a:lnTo>
                    <a:pt x="211" y="280"/>
                  </a:lnTo>
                  <a:lnTo>
                    <a:pt x="295" y="320"/>
                  </a:lnTo>
                  <a:lnTo>
                    <a:pt x="295" y="280"/>
                  </a:lnTo>
                  <a:lnTo>
                    <a:pt x="287" y="264"/>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7" name="Freeform 56"/>
            <p:cNvSpPr>
              <a:spLocks/>
            </p:cNvSpPr>
            <p:nvPr>
              <p:custDataLst>
                <p:tags r:id="rId53"/>
              </p:custDataLst>
            </p:nvPr>
          </p:nvSpPr>
          <p:spPr bwMode="auto">
            <a:xfrm>
              <a:off x="4333" y="2760"/>
              <a:ext cx="573" cy="368"/>
            </a:xfrm>
            <a:custGeom>
              <a:avLst/>
              <a:gdLst>
                <a:gd name="T0" fmla="*/ 295 w 573"/>
                <a:gd name="T1" fmla="*/ 320 h 368"/>
                <a:gd name="T2" fmla="*/ 329 w 573"/>
                <a:gd name="T3" fmla="*/ 304 h 368"/>
                <a:gd name="T4" fmla="*/ 380 w 573"/>
                <a:gd name="T5" fmla="*/ 304 h 368"/>
                <a:gd name="T6" fmla="*/ 413 w 573"/>
                <a:gd name="T7" fmla="*/ 288 h 368"/>
                <a:gd name="T8" fmla="*/ 439 w 573"/>
                <a:gd name="T9" fmla="*/ 272 h 368"/>
                <a:gd name="T10" fmla="*/ 455 w 573"/>
                <a:gd name="T11" fmla="*/ 264 h 368"/>
                <a:gd name="T12" fmla="*/ 464 w 573"/>
                <a:gd name="T13" fmla="*/ 224 h 368"/>
                <a:gd name="T14" fmla="*/ 472 w 573"/>
                <a:gd name="T15" fmla="*/ 200 h 368"/>
                <a:gd name="T16" fmla="*/ 498 w 573"/>
                <a:gd name="T17" fmla="*/ 168 h 368"/>
                <a:gd name="T18" fmla="*/ 523 w 573"/>
                <a:gd name="T19" fmla="*/ 112 h 368"/>
                <a:gd name="T20" fmla="*/ 548 w 573"/>
                <a:gd name="T21" fmla="*/ 72 h 368"/>
                <a:gd name="T22" fmla="*/ 573 w 573"/>
                <a:gd name="T23" fmla="*/ 48 h 368"/>
                <a:gd name="T24" fmla="*/ 548 w 573"/>
                <a:gd name="T25" fmla="*/ 24 h 368"/>
                <a:gd name="T26" fmla="*/ 514 w 573"/>
                <a:gd name="T27" fmla="*/ 0 h 368"/>
                <a:gd name="T28" fmla="*/ 472 w 573"/>
                <a:gd name="T29" fmla="*/ 8 h 368"/>
                <a:gd name="T30" fmla="*/ 447 w 573"/>
                <a:gd name="T31" fmla="*/ 0 h 368"/>
                <a:gd name="T32" fmla="*/ 405 w 573"/>
                <a:gd name="T33" fmla="*/ 8 h 368"/>
                <a:gd name="T34" fmla="*/ 371 w 573"/>
                <a:gd name="T35" fmla="*/ 8 h 368"/>
                <a:gd name="T36" fmla="*/ 329 w 573"/>
                <a:gd name="T37" fmla="*/ 56 h 368"/>
                <a:gd name="T38" fmla="*/ 287 w 573"/>
                <a:gd name="T39" fmla="*/ 48 h 368"/>
                <a:gd name="T40" fmla="*/ 279 w 573"/>
                <a:gd name="T41" fmla="*/ 64 h 368"/>
                <a:gd name="T42" fmla="*/ 228 w 573"/>
                <a:gd name="T43" fmla="*/ 80 h 368"/>
                <a:gd name="T44" fmla="*/ 228 w 573"/>
                <a:gd name="T45" fmla="*/ 112 h 368"/>
                <a:gd name="T46" fmla="*/ 110 w 573"/>
                <a:gd name="T47" fmla="*/ 128 h 368"/>
                <a:gd name="T48" fmla="*/ 85 w 573"/>
                <a:gd name="T49" fmla="*/ 112 h 368"/>
                <a:gd name="T50" fmla="*/ 68 w 573"/>
                <a:gd name="T51" fmla="*/ 104 h 368"/>
                <a:gd name="T52" fmla="*/ 68 w 573"/>
                <a:gd name="T53" fmla="*/ 128 h 368"/>
                <a:gd name="T54" fmla="*/ 26 w 573"/>
                <a:gd name="T55" fmla="*/ 144 h 368"/>
                <a:gd name="T56" fmla="*/ 26 w 573"/>
                <a:gd name="T57" fmla="*/ 184 h 368"/>
                <a:gd name="T58" fmla="*/ 17 w 573"/>
                <a:gd name="T59" fmla="*/ 224 h 368"/>
                <a:gd name="T60" fmla="*/ 0 w 573"/>
                <a:gd name="T61" fmla="*/ 240 h 368"/>
                <a:gd name="T62" fmla="*/ 43 w 573"/>
                <a:gd name="T63" fmla="*/ 288 h 368"/>
                <a:gd name="T64" fmla="*/ 34 w 573"/>
                <a:gd name="T65" fmla="*/ 296 h 368"/>
                <a:gd name="T66" fmla="*/ 68 w 573"/>
                <a:gd name="T67" fmla="*/ 312 h 368"/>
                <a:gd name="T68" fmla="*/ 93 w 573"/>
                <a:gd name="T69" fmla="*/ 336 h 368"/>
                <a:gd name="T70" fmla="*/ 118 w 573"/>
                <a:gd name="T71" fmla="*/ 352 h 368"/>
                <a:gd name="T72" fmla="*/ 152 w 573"/>
                <a:gd name="T73" fmla="*/ 344 h 368"/>
                <a:gd name="T74" fmla="*/ 161 w 573"/>
                <a:gd name="T75" fmla="*/ 368 h 368"/>
                <a:gd name="T76" fmla="*/ 194 w 573"/>
                <a:gd name="T77" fmla="*/ 368 h 368"/>
                <a:gd name="T78" fmla="*/ 253 w 573"/>
                <a:gd name="T79" fmla="*/ 344 h 368"/>
                <a:gd name="T80" fmla="*/ 262 w 573"/>
                <a:gd name="T81" fmla="*/ 344 h 368"/>
                <a:gd name="T82" fmla="*/ 270 w 573"/>
                <a:gd name="T83" fmla="*/ 320 h 368"/>
                <a:gd name="T84" fmla="*/ 295 w 573"/>
                <a:gd name="T85" fmla="*/ 320 h 3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3" h="368">
                  <a:moveTo>
                    <a:pt x="295" y="320"/>
                  </a:moveTo>
                  <a:lnTo>
                    <a:pt x="329" y="304"/>
                  </a:lnTo>
                  <a:lnTo>
                    <a:pt x="380" y="304"/>
                  </a:lnTo>
                  <a:lnTo>
                    <a:pt x="413" y="288"/>
                  </a:lnTo>
                  <a:lnTo>
                    <a:pt x="439" y="272"/>
                  </a:lnTo>
                  <a:lnTo>
                    <a:pt x="455" y="264"/>
                  </a:lnTo>
                  <a:lnTo>
                    <a:pt x="464" y="224"/>
                  </a:lnTo>
                  <a:lnTo>
                    <a:pt x="472" y="200"/>
                  </a:lnTo>
                  <a:lnTo>
                    <a:pt x="498" y="168"/>
                  </a:lnTo>
                  <a:lnTo>
                    <a:pt x="523" y="112"/>
                  </a:lnTo>
                  <a:lnTo>
                    <a:pt x="548" y="72"/>
                  </a:lnTo>
                  <a:lnTo>
                    <a:pt x="573" y="48"/>
                  </a:lnTo>
                  <a:lnTo>
                    <a:pt x="548" y="24"/>
                  </a:lnTo>
                  <a:lnTo>
                    <a:pt x="514" y="0"/>
                  </a:lnTo>
                  <a:lnTo>
                    <a:pt x="472" y="8"/>
                  </a:lnTo>
                  <a:lnTo>
                    <a:pt x="447" y="0"/>
                  </a:lnTo>
                  <a:lnTo>
                    <a:pt x="405" y="8"/>
                  </a:lnTo>
                  <a:lnTo>
                    <a:pt x="371" y="8"/>
                  </a:lnTo>
                  <a:lnTo>
                    <a:pt x="329" y="56"/>
                  </a:lnTo>
                  <a:lnTo>
                    <a:pt x="287" y="48"/>
                  </a:lnTo>
                  <a:lnTo>
                    <a:pt x="279" y="64"/>
                  </a:lnTo>
                  <a:lnTo>
                    <a:pt x="228" y="80"/>
                  </a:lnTo>
                  <a:lnTo>
                    <a:pt x="228" y="112"/>
                  </a:lnTo>
                  <a:lnTo>
                    <a:pt x="110" y="128"/>
                  </a:lnTo>
                  <a:lnTo>
                    <a:pt x="85" y="112"/>
                  </a:lnTo>
                  <a:lnTo>
                    <a:pt x="68" y="104"/>
                  </a:lnTo>
                  <a:lnTo>
                    <a:pt x="68" y="128"/>
                  </a:lnTo>
                  <a:lnTo>
                    <a:pt x="26" y="144"/>
                  </a:lnTo>
                  <a:lnTo>
                    <a:pt x="26" y="184"/>
                  </a:lnTo>
                  <a:lnTo>
                    <a:pt x="17" y="224"/>
                  </a:lnTo>
                  <a:lnTo>
                    <a:pt x="0" y="240"/>
                  </a:lnTo>
                  <a:lnTo>
                    <a:pt x="43" y="288"/>
                  </a:lnTo>
                  <a:lnTo>
                    <a:pt x="34" y="296"/>
                  </a:lnTo>
                  <a:lnTo>
                    <a:pt x="68" y="312"/>
                  </a:lnTo>
                  <a:lnTo>
                    <a:pt x="93" y="336"/>
                  </a:lnTo>
                  <a:lnTo>
                    <a:pt x="118" y="352"/>
                  </a:lnTo>
                  <a:lnTo>
                    <a:pt x="152" y="344"/>
                  </a:lnTo>
                  <a:lnTo>
                    <a:pt x="161" y="368"/>
                  </a:lnTo>
                  <a:lnTo>
                    <a:pt x="194" y="368"/>
                  </a:lnTo>
                  <a:lnTo>
                    <a:pt x="253" y="344"/>
                  </a:lnTo>
                  <a:lnTo>
                    <a:pt x="262" y="344"/>
                  </a:lnTo>
                  <a:lnTo>
                    <a:pt x="270" y="320"/>
                  </a:lnTo>
                  <a:lnTo>
                    <a:pt x="295" y="320"/>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8" name="Freeform 57"/>
            <p:cNvSpPr>
              <a:spLocks/>
            </p:cNvSpPr>
            <p:nvPr>
              <p:custDataLst>
                <p:tags r:id="rId54"/>
              </p:custDataLst>
            </p:nvPr>
          </p:nvSpPr>
          <p:spPr bwMode="auto">
            <a:xfrm>
              <a:off x="4788" y="2760"/>
              <a:ext cx="26" cy="8"/>
            </a:xfrm>
            <a:custGeom>
              <a:avLst/>
              <a:gdLst>
                <a:gd name="T0" fmla="*/ 17 w 26"/>
                <a:gd name="T1" fmla="*/ 8 h 8"/>
                <a:gd name="T2" fmla="*/ 26 w 26"/>
                <a:gd name="T3" fmla="*/ 8 h 8"/>
                <a:gd name="T4" fmla="*/ 0 w 26"/>
                <a:gd name="T5" fmla="*/ 0 h 8"/>
                <a:gd name="T6" fmla="*/ 17 w 26"/>
                <a:gd name="T7" fmla="*/ 8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6" h="8">
                  <a:moveTo>
                    <a:pt x="17" y="8"/>
                  </a:moveTo>
                  <a:lnTo>
                    <a:pt x="26" y="8"/>
                  </a:lnTo>
                  <a:lnTo>
                    <a:pt x="0" y="0"/>
                  </a:lnTo>
                  <a:lnTo>
                    <a:pt x="17" y="8"/>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9" name="Freeform 58"/>
            <p:cNvSpPr>
              <a:spLocks/>
            </p:cNvSpPr>
            <p:nvPr>
              <p:custDataLst>
                <p:tags r:id="rId55"/>
              </p:custDataLst>
            </p:nvPr>
          </p:nvSpPr>
          <p:spPr bwMode="auto">
            <a:xfrm>
              <a:off x="4814" y="2768"/>
              <a:ext cx="17" cy="1"/>
            </a:xfrm>
            <a:custGeom>
              <a:avLst/>
              <a:gdLst>
                <a:gd name="T0" fmla="*/ 17 w 17"/>
                <a:gd name="T1" fmla="*/ 0 h 1"/>
                <a:gd name="T2" fmla="*/ 0 w 17"/>
                <a:gd name="T3" fmla="*/ 0 h 1"/>
                <a:gd name="T4" fmla="*/ 17 w 17"/>
                <a:gd name="T5" fmla="*/ 0 h 1"/>
                <a:gd name="T6" fmla="*/ 0 60000 65536"/>
                <a:gd name="T7" fmla="*/ 0 60000 65536"/>
                <a:gd name="T8" fmla="*/ 0 60000 65536"/>
              </a:gdLst>
              <a:ahLst/>
              <a:cxnLst>
                <a:cxn ang="T6">
                  <a:pos x="T0" y="T1"/>
                </a:cxn>
                <a:cxn ang="T7">
                  <a:pos x="T2" y="T3"/>
                </a:cxn>
                <a:cxn ang="T8">
                  <a:pos x="T4" y="T5"/>
                </a:cxn>
              </a:cxnLst>
              <a:rect l="0" t="0" r="r" b="b"/>
              <a:pathLst>
                <a:path w="17" h="1">
                  <a:moveTo>
                    <a:pt x="17" y="0"/>
                  </a:moveTo>
                  <a:lnTo>
                    <a:pt x="0" y="0"/>
                  </a:lnTo>
                  <a:lnTo>
                    <a:pt x="17" y="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0" name="Line 59"/>
            <p:cNvSpPr>
              <a:spLocks noChangeShapeType="1"/>
            </p:cNvSpPr>
            <p:nvPr>
              <p:custDataLst>
                <p:tags r:id="rId56"/>
              </p:custDataLst>
            </p:nvPr>
          </p:nvSpPr>
          <p:spPr bwMode="auto">
            <a:xfrm flipV="1">
              <a:off x="4805" y="2760"/>
              <a:ext cx="26" cy="8"/>
            </a:xfrm>
            <a:prstGeom prst="line">
              <a:avLst/>
            </a:pr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1" name="Line 60"/>
            <p:cNvSpPr>
              <a:spLocks noChangeShapeType="1"/>
            </p:cNvSpPr>
            <p:nvPr>
              <p:custDataLst>
                <p:tags r:id="rId57"/>
              </p:custDataLst>
            </p:nvPr>
          </p:nvSpPr>
          <p:spPr bwMode="auto">
            <a:xfrm flipV="1">
              <a:off x="4805" y="2760"/>
              <a:ext cx="26" cy="8"/>
            </a:xfrm>
            <a:prstGeom prst="line">
              <a:avLst/>
            </a:pr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2" name="Freeform 61"/>
            <p:cNvSpPr>
              <a:spLocks/>
            </p:cNvSpPr>
            <p:nvPr>
              <p:custDataLst>
                <p:tags r:id="rId58"/>
              </p:custDataLst>
            </p:nvPr>
          </p:nvSpPr>
          <p:spPr bwMode="auto">
            <a:xfrm>
              <a:off x="4780" y="2760"/>
              <a:ext cx="8" cy="1"/>
            </a:xfrm>
            <a:custGeom>
              <a:avLst/>
              <a:gdLst>
                <a:gd name="T0" fmla="*/ 0 w 8"/>
                <a:gd name="T1" fmla="*/ 0 h 1"/>
                <a:gd name="T2" fmla="*/ 8 w 8"/>
                <a:gd name="T3" fmla="*/ 0 h 1"/>
                <a:gd name="T4" fmla="*/ 0 w 8"/>
                <a:gd name="T5" fmla="*/ 0 h 1"/>
                <a:gd name="T6" fmla="*/ 0 60000 65536"/>
                <a:gd name="T7" fmla="*/ 0 60000 65536"/>
                <a:gd name="T8" fmla="*/ 0 60000 65536"/>
              </a:gdLst>
              <a:ahLst/>
              <a:cxnLst>
                <a:cxn ang="T6">
                  <a:pos x="T0" y="T1"/>
                </a:cxn>
                <a:cxn ang="T7">
                  <a:pos x="T2" y="T3"/>
                </a:cxn>
                <a:cxn ang="T8">
                  <a:pos x="T4" y="T5"/>
                </a:cxn>
              </a:cxnLst>
              <a:rect l="0" t="0" r="r" b="b"/>
              <a:pathLst>
                <a:path w="8" h="1">
                  <a:moveTo>
                    <a:pt x="0" y="0"/>
                  </a:moveTo>
                  <a:lnTo>
                    <a:pt x="8" y="0"/>
                  </a:lnTo>
                  <a:lnTo>
                    <a:pt x="0" y="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3" name="Freeform 62"/>
            <p:cNvSpPr>
              <a:spLocks/>
            </p:cNvSpPr>
            <p:nvPr>
              <p:custDataLst>
                <p:tags r:id="rId59"/>
              </p:custDataLst>
            </p:nvPr>
          </p:nvSpPr>
          <p:spPr bwMode="auto">
            <a:xfrm>
              <a:off x="4527" y="2664"/>
              <a:ext cx="26" cy="16"/>
            </a:xfrm>
            <a:custGeom>
              <a:avLst/>
              <a:gdLst>
                <a:gd name="T0" fmla="*/ 26 w 26"/>
                <a:gd name="T1" fmla="*/ 16 h 16"/>
                <a:gd name="T2" fmla="*/ 0 w 26"/>
                <a:gd name="T3" fmla="*/ 0 h 16"/>
                <a:gd name="T4" fmla="*/ 0 w 26"/>
                <a:gd name="T5" fmla="*/ 8 h 16"/>
                <a:gd name="T6" fmla="*/ 17 w 26"/>
                <a:gd name="T7" fmla="*/ 16 h 16"/>
                <a:gd name="T8" fmla="*/ 26 w 26"/>
                <a:gd name="T9" fmla="*/ 16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6">
                  <a:moveTo>
                    <a:pt x="26" y="16"/>
                  </a:moveTo>
                  <a:lnTo>
                    <a:pt x="0" y="0"/>
                  </a:lnTo>
                  <a:lnTo>
                    <a:pt x="0" y="8"/>
                  </a:lnTo>
                  <a:lnTo>
                    <a:pt x="17" y="16"/>
                  </a:lnTo>
                  <a:lnTo>
                    <a:pt x="26" y="16"/>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4" name="Freeform 63"/>
            <p:cNvSpPr>
              <a:spLocks/>
            </p:cNvSpPr>
            <p:nvPr>
              <p:custDataLst>
                <p:tags r:id="rId60"/>
              </p:custDataLst>
            </p:nvPr>
          </p:nvSpPr>
          <p:spPr bwMode="auto">
            <a:xfrm>
              <a:off x="4780" y="2760"/>
              <a:ext cx="8" cy="1"/>
            </a:xfrm>
            <a:custGeom>
              <a:avLst/>
              <a:gdLst>
                <a:gd name="T0" fmla="*/ 0 w 8"/>
                <a:gd name="T1" fmla="*/ 0 h 1"/>
                <a:gd name="T2" fmla="*/ 8 w 8"/>
                <a:gd name="T3" fmla="*/ 0 h 1"/>
                <a:gd name="T4" fmla="*/ 0 w 8"/>
                <a:gd name="T5" fmla="*/ 0 h 1"/>
                <a:gd name="T6" fmla="*/ 0 w 8"/>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
                  <a:moveTo>
                    <a:pt x="0" y="0"/>
                  </a:moveTo>
                  <a:lnTo>
                    <a:pt x="8" y="0"/>
                  </a:lnTo>
                  <a:lnTo>
                    <a:pt x="0" y="0"/>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5" name="Freeform 64"/>
            <p:cNvSpPr>
              <a:spLocks/>
            </p:cNvSpPr>
            <p:nvPr>
              <p:custDataLst>
                <p:tags r:id="rId61"/>
              </p:custDataLst>
            </p:nvPr>
          </p:nvSpPr>
          <p:spPr bwMode="auto">
            <a:xfrm>
              <a:off x="4527" y="2664"/>
              <a:ext cx="26" cy="16"/>
            </a:xfrm>
            <a:custGeom>
              <a:avLst/>
              <a:gdLst>
                <a:gd name="T0" fmla="*/ 26 w 26"/>
                <a:gd name="T1" fmla="*/ 16 h 16"/>
                <a:gd name="T2" fmla="*/ 0 w 26"/>
                <a:gd name="T3" fmla="*/ 0 h 16"/>
                <a:gd name="T4" fmla="*/ 0 w 26"/>
                <a:gd name="T5" fmla="*/ 8 h 16"/>
                <a:gd name="T6" fmla="*/ 17 w 26"/>
                <a:gd name="T7" fmla="*/ 16 h 16"/>
                <a:gd name="T8" fmla="*/ 26 w 26"/>
                <a:gd name="T9" fmla="*/ 16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6">
                  <a:moveTo>
                    <a:pt x="26" y="16"/>
                  </a:moveTo>
                  <a:lnTo>
                    <a:pt x="0" y="0"/>
                  </a:lnTo>
                  <a:lnTo>
                    <a:pt x="0" y="8"/>
                  </a:lnTo>
                  <a:lnTo>
                    <a:pt x="17" y="16"/>
                  </a:lnTo>
                  <a:lnTo>
                    <a:pt x="26" y="16"/>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6" name="Freeform 65"/>
            <p:cNvSpPr>
              <a:spLocks/>
            </p:cNvSpPr>
            <p:nvPr>
              <p:custDataLst>
                <p:tags r:id="rId62"/>
              </p:custDataLst>
            </p:nvPr>
          </p:nvSpPr>
          <p:spPr bwMode="auto">
            <a:xfrm>
              <a:off x="4376" y="2656"/>
              <a:ext cx="480" cy="232"/>
            </a:xfrm>
            <a:custGeom>
              <a:avLst/>
              <a:gdLst>
                <a:gd name="T0" fmla="*/ 421 w 480"/>
                <a:gd name="T1" fmla="*/ 8 h 232"/>
                <a:gd name="T2" fmla="*/ 396 w 480"/>
                <a:gd name="T3" fmla="*/ 0 h 232"/>
                <a:gd name="T4" fmla="*/ 353 w 480"/>
                <a:gd name="T5" fmla="*/ 0 h 232"/>
                <a:gd name="T6" fmla="*/ 328 w 480"/>
                <a:gd name="T7" fmla="*/ 16 h 232"/>
                <a:gd name="T8" fmla="*/ 294 w 480"/>
                <a:gd name="T9" fmla="*/ 16 h 232"/>
                <a:gd name="T10" fmla="*/ 269 w 480"/>
                <a:gd name="T11" fmla="*/ 40 h 232"/>
                <a:gd name="T12" fmla="*/ 244 w 480"/>
                <a:gd name="T13" fmla="*/ 40 h 232"/>
                <a:gd name="T14" fmla="*/ 236 w 480"/>
                <a:gd name="T15" fmla="*/ 24 h 232"/>
                <a:gd name="T16" fmla="*/ 210 w 480"/>
                <a:gd name="T17" fmla="*/ 0 h 232"/>
                <a:gd name="T18" fmla="*/ 177 w 480"/>
                <a:gd name="T19" fmla="*/ 24 h 232"/>
                <a:gd name="T20" fmla="*/ 168 w 480"/>
                <a:gd name="T21" fmla="*/ 24 h 232"/>
                <a:gd name="T22" fmla="*/ 151 w 480"/>
                <a:gd name="T23" fmla="*/ 16 h 232"/>
                <a:gd name="T24" fmla="*/ 126 w 480"/>
                <a:gd name="T25" fmla="*/ 32 h 232"/>
                <a:gd name="T26" fmla="*/ 101 w 480"/>
                <a:gd name="T27" fmla="*/ 56 h 232"/>
                <a:gd name="T28" fmla="*/ 67 w 480"/>
                <a:gd name="T29" fmla="*/ 104 h 232"/>
                <a:gd name="T30" fmla="*/ 25 w 480"/>
                <a:gd name="T31" fmla="*/ 104 h 232"/>
                <a:gd name="T32" fmla="*/ 0 w 480"/>
                <a:gd name="T33" fmla="*/ 136 h 232"/>
                <a:gd name="T34" fmla="*/ 0 w 480"/>
                <a:gd name="T35" fmla="*/ 176 h 232"/>
                <a:gd name="T36" fmla="*/ 33 w 480"/>
                <a:gd name="T37" fmla="*/ 200 h 232"/>
                <a:gd name="T38" fmla="*/ 25 w 480"/>
                <a:gd name="T39" fmla="*/ 208 h 232"/>
                <a:gd name="T40" fmla="*/ 42 w 480"/>
                <a:gd name="T41" fmla="*/ 216 h 232"/>
                <a:gd name="T42" fmla="*/ 67 w 480"/>
                <a:gd name="T43" fmla="*/ 232 h 232"/>
                <a:gd name="T44" fmla="*/ 185 w 480"/>
                <a:gd name="T45" fmla="*/ 216 h 232"/>
                <a:gd name="T46" fmla="*/ 185 w 480"/>
                <a:gd name="T47" fmla="*/ 184 h 232"/>
                <a:gd name="T48" fmla="*/ 236 w 480"/>
                <a:gd name="T49" fmla="*/ 168 h 232"/>
                <a:gd name="T50" fmla="*/ 244 w 480"/>
                <a:gd name="T51" fmla="*/ 152 h 232"/>
                <a:gd name="T52" fmla="*/ 286 w 480"/>
                <a:gd name="T53" fmla="*/ 160 h 232"/>
                <a:gd name="T54" fmla="*/ 328 w 480"/>
                <a:gd name="T55" fmla="*/ 112 h 232"/>
                <a:gd name="T56" fmla="*/ 362 w 480"/>
                <a:gd name="T57" fmla="*/ 112 h 232"/>
                <a:gd name="T58" fmla="*/ 404 w 480"/>
                <a:gd name="T59" fmla="*/ 104 h 232"/>
                <a:gd name="T60" fmla="*/ 412 w 480"/>
                <a:gd name="T61" fmla="*/ 104 h 232"/>
                <a:gd name="T62" fmla="*/ 438 w 480"/>
                <a:gd name="T63" fmla="*/ 112 h 232"/>
                <a:gd name="T64" fmla="*/ 455 w 480"/>
                <a:gd name="T65" fmla="*/ 112 h 232"/>
                <a:gd name="T66" fmla="*/ 463 w 480"/>
                <a:gd name="T67" fmla="*/ 64 h 232"/>
                <a:gd name="T68" fmla="*/ 480 w 480"/>
                <a:gd name="T69" fmla="*/ 16 h 232"/>
                <a:gd name="T70" fmla="*/ 421 w 480"/>
                <a:gd name="T71" fmla="*/ 8 h 2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480" h="232">
                  <a:moveTo>
                    <a:pt x="421" y="8"/>
                  </a:moveTo>
                  <a:lnTo>
                    <a:pt x="396" y="0"/>
                  </a:lnTo>
                  <a:lnTo>
                    <a:pt x="353" y="0"/>
                  </a:lnTo>
                  <a:lnTo>
                    <a:pt x="328" y="16"/>
                  </a:lnTo>
                  <a:lnTo>
                    <a:pt x="294" y="16"/>
                  </a:lnTo>
                  <a:lnTo>
                    <a:pt x="269" y="40"/>
                  </a:lnTo>
                  <a:lnTo>
                    <a:pt x="244" y="40"/>
                  </a:lnTo>
                  <a:lnTo>
                    <a:pt x="236" y="24"/>
                  </a:lnTo>
                  <a:lnTo>
                    <a:pt x="210" y="0"/>
                  </a:lnTo>
                  <a:lnTo>
                    <a:pt x="177" y="24"/>
                  </a:lnTo>
                  <a:lnTo>
                    <a:pt x="168" y="24"/>
                  </a:lnTo>
                  <a:lnTo>
                    <a:pt x="151" y="16"/>
                  </a:lnTo>
                  <a:lnTo>
                    <a:pt x="126" y="32"/>
                  </a:lnTo>
                  <a:lnTo>
                    <a:pt x="101" y="56"/>
                  </a:lnTo>
                  <a:lnTo>
                    <a:pt x="67" y="104"/>
                  </a:lnTo>
                  <a:lnTo>
                    <a:pt x="25" y="104"/>
                  </a:lnTo>
                  <a:lnTo>
                    <a:pt x="0" y="136"/>
                  </a:lnTo>
                  <a:lnTo>
                    <a:pt x="0" y="176"/>
                  </a:lnTo>
                  <a:lnTo>
                    <a:pt x="33" y="200"/>
                  </a:lnTo>
                  <a:lnTo>
                    <a:pt x="25" y="208"/>
                  </a:lnTo>
                  <a:lnTo>
                    <a:pt x="42" y="216"/>
                  </a:lnTo>
                  <a:lnTo>
                    <a:pt x="67" y="232"/>
                  </a:lnTo>
                  <a:lnTo>
                    <a:pt x="185" y="216"/>
                  </a:lnTo>
                  <a:lnTo>
                    <a:pt x="185" y="184"/>
                  </a:lnTo>
                  <a:lnTo>
                    <a:pt x="236" y="168"/>
                  </a:lnTo>
                  <a:lnTo>
                    <a:pt x="244" y="152"/>
                  </a:lnTo>
                  <a:lnTo>
                    <a:pt x="286" y="160"/>
                  </a:lnTo>
                  <a:lnTo>
                    <a:pt x="328" y="112"/>
                  </a:lnTo>
                  <a:lnTo>
                    <a:pt x="362" y="112"/>
                  </a:lnTo>
                  <a:lnTo>
                    <a:pt x="404" y="104"/>
                  </a:lnTo>
                  <a:lnTo>
                    <a:pt x="412" y="104"/>
                  </a:lnTo>
                  <a:lnTo>
                    <a:pt x="438" y="112"/>
                  </a:lnTo>
                  <a:lnTo>
                    <a:pt x="455" y="112"/>
                  </a:lnTo>
                  <a:lnTo>
                    <a:pt x="463" y="64"/>
                  </a:lnTo>
                  <a:lnTo>
                    <a:pt x="480" y="16"/>
                  </a:lnTo>
                  <a:lnTo>
                    <a:pt x="421" y="8"/>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7" name="Freeform 66"/>
            <p:cNvSpPr>
              <a:spLocks/>
            </p:cNvSpPr>
            <p:nvPr>
              <p:custDataLst>
                <p:tags r:id="rId63"/>
              </p:custDataLst>
            </p:nvPr>
          </p:nvSpPr>
          <p:spPr bwMode="auto">
            <a:xfrm>
              <a:off x="4595" y="3056"/>
              <a:ext cx="438" cy="504"/>
            </a:xfrm>
            <a:custGeom>
              <a:avLst/>
              <a:gdLst>
                <a:gd name="T0" fmla="*/ 126 w 438"/>
                <a:gd name="T1" fmla="*/ 424 h 504"/>
                <a:gd name="T2" fmla="*/ 160 w 438"/>
                <a:gd name="T3" fmla="*/ 440 h 504"/>
                <a:gd name="T4" fmla="*/ 185 w 438"/>
                <a:gd name="T5" fmla="*/ 440 h 504"/>
                <a:gd name="T6" fmla="*/ 202 w 438"/>
                <a:gd name="T7" fmla="*/ 456 h 504"/>
                <a:gd name="T8" fmla="*/ 236 w 438"/>
                <a:gd name="T9" fmla="*/ 496 h 504"/>
                <a:gd name="T10" fmla="*/ 252 w 438"/>
                <a:gd name="T11" fmla="*/ 504 h 504"/>
                <a:gd name="T12" fmla="*/ 261 w 438"/>
                <a:gd name="T13" fmla="*/ 472 h 504"/>
                <a:gd name="T14" fmla="*/ 286 w 438"/>
                <a:gd name="T15" fmla="*/ 464 h 504"/>
                <a:gd name="T16" fmla="*/ 311 w 438"/>
                <a:gd name="T17" fmla="*/ 456 h 504"/>
                <a:gd name="T18" fmla="*/ 370 w 438"/>
                <a:gd name="T19" fmla="*/ 432 h 504"/>
                <a:gd name="T20" fmla="*/ 413 w 438"/>
                <a:gd name="T21" fmla="*/ 432 h 504"/>
                <a:gd name="T22" fmla="*/ 421 w 438"/>
                <a:gd name="T23" fmla="*/ 400 h 504"/>
                <a:gd name="T24" fmla="*/ 404 w 438"/>
                <a:gd name="T25" fmla="*/ 392 h 504"/>
                <a:gd name="T26" fmla="*/ 404 w 438"/>
                <a:gd name="T27" fmla="*/ 360 h 504"/>
                <a:gd name="T28" fmla="*/ 421 w 438"/>
                <a:gd name="T29" fmla="*/ 352 h 504"/>
                <a:gd name="T30" fmla="*/ 438 w 438"/>
                <a:gd name="T31" fmla="*/ 312 h 504"/>
                <a:gd name="T32" fmla="*/ 396 w 438"/>
                <a:gd name="T33" fmla="*/ 280 h 504"/>
                <a:gd name="T34" fmla="*/ 379 w 438"/>
                <a:gd name="T35" fmla="*/ 248 h 504"/>
                <a:gd name="T36" fmla="*/ 370 w 438"/>
                <a:gd name="T37" fmla="*/ 216 h 504"/>
                <a:gd name="T38" fmla="*/ 387 w 438"/>
                <a:gd name="T39" fmla="*/ 184 h 504"/>
                <a:gd name="T40" fmla="*/ 370 w 438"/>
                <a:gd name="T41" fmla="*/ 176 h 504"/>
                <a:gd name="T42" fmla="*/ 370 w 438"/>
                <a:gd name="T43" fmla="*/ 136 h 504"/>
                <a:gd name="T44" fmla="*/ 328 w 438"/>
                <a:gd name="T45" fmla="*/ 160 h 504"/>
                <a:gd name="T46" fmla="*/ 286 w 438"/>
                <a:gd name="T47" fmla="*/ 144 h 504"/>
                <a:gd name="T48" fmla="*/ 244 w 438"/>
                <a:gd name="T49" fmla="*/ 136 h 504"/>
                <a:gd name="T50" fmla="*/ 261 w 438"/>
                <a:gd name="T51" fmla="*/ 104 h 504"/>
                <a:gd name="T52" fmla="*/ 219 w 438"/>
                <a:gd name="T53" fmla="*/ 88 h 504"/>
                <a:gd name="T54" fmla="*/ 185 w 438"/>
                <a:gd name="T55" fmla="*/ 64 h 504"/>
                <a:gd name="T56" fmla="*/ 177 w 438"/>
                <a:gd name="T57" fmla="*/ 40 h 504"/>
                <a:gd name="T58" fmla="*/ 143 w 438"/>
                <a:gd name="T59" fmla="*/ 16 h 504"/>
                <a:gd name="T60" fmla="*/ 126 w 438"/>
                <a:gd name="T61" fmla="*/ 0 h 504"/>
                <a:gd name="T62" fmla="*/ 118 w 438"/>
                <a:gd name="T63" fmla="*/ 8 h 504"/>
                <a:gd name="T64" fmla="*/ 67 w 438"/>
                <a:gd name="T65" fmla="*/ 8 h 504"/>
                <a:gd name="T66" fmla="*/ 33 w 438"/>
                <a:gd name="T67" fmla="*/ 24 h 504"/>
                <a:gd name="T68" fmla="*/ 8 w 438"/>
                <a:gd name="T69" fmla="*/ 24 h 504"/>
                <a:gd name="T70" fmla="*/ 0 w 438"/>
                <a:gd name="T71" fmla="*/ 48 h 504"/>
                <a:gd name="T72" fmla="*/ 8 w 438"/>
                <a:gd name="T73" fmla="*/ 80 h 504"/>
                <a:gd name="T74" fmla="*/ 33 w 438"/>
                <a:gd name="T75" fmla="*/ 112 h 504"/>
                <a:gd name="T76" fmla="*/ 59 w 438"/>
                <a:gd name="T77" fmla="*/ 120 h 504"/>
                <a:gd name="T78" fmla="*/ 33 w 438"/>
                <a:gd name="T79" fmla="*/ 128 h 504"/>
                <a:gd name="T80" fmla="*/ 33 w 438"/>
                <a:gd name="T81" fmla="*/ 160 h 504"/>
                <a:gd name="T82" fmla="*/ 8 w 438"/>
                <a:gd name="T83" fmla="*/ 152 h 504"/>
                <a:gd name="T84" fmla="*/ 17 w 438"/>
                <a:gd name="T85" fmla="*/ 168 h 504"/>
                <a:gd name="T86" fmla="*/ 50 w 438"/>
                <a:gd name="T87" fmla="*/ 168 h 504"/>
                <a:gd name="T88" fmla="*/ 50 w 438"/>
                <a:gd name="T89" fmla="*/ 200 h 504"/>
                <a:gd name="T90" fmla="*/ 59 w 438"/>
                <a:gd name="T91" fmla="*/ 232 h 504"/>
                <a:gd name="T92" fmla="*/ 101 w 438"/>
                <a:gd name="T93" fmla="*/ 256 h 504"/>
                <a:gd name="T94" fmla="*/ 75 w 438"/>
                <a:gd name="T95" fmla="*/ 272 h 504"/>
                <a:gd name="T96" fmla="*/ 101 w 438"/>
                <a:gd name="T97" fmla="*/ 312 h 504"/>
                <a:gd name="T98" fmla="*/ 50 w 438"/>
                <a:gd name="T99" fmla="*/ 328 h 504"/>
                <a:gd name="T100" fmla="*/ 59 w 438"/>
                <a:gd name="T101" fmla="*/ 352 h 504"/>
                <a:gd name="T102" fmla="*/ 33 w 438"/>
                <a:gd name="T103" fmla="*/ 352 h 504"/>
                <a:gd name="T104" fmla="*/ 25 w 438"/>
                <a:gd name="T105" fmla="*/ 384 h 504"/>
                <a:gd name="T106" fmla="*/ 0 w 438"/>
                <a:gd name="T107" fmla="*/ 400 h 504"/>
                <a:gd name="T108" fmla="*/ 8 w 438"/>
                <a:gd name="T109" fmla="*/ 416 h 504"/>
                <a:gd name="T110" fmla="*/ 8 w 438"/>
                <a:gd name="T111" fmla="*/ 456 h 504"/>
                <a:gd name="T112" fmla="*/ 17 w 438"/>
                <a:gd name="T113" fmla="*/ 456 h 504"/>
                <a:gd name="T114" fmla="*/ 101 w 438"/>
                <a:gd name="T115" fmla="*/ 504 h 504"/>
                <a:gd name="T116" fmla="*/ 101 w 438"/>
                <a:gd name="T117" fmla="*/ 496 h 504"/>
                <a:gd name="T118" fmla="*/ 126 w 438"/>
                <a:gd name="T119" fmla="*/ 424 h 5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38" h="504">
                  <a:moveTo>
                    <a:pt x="126" y="424"/>
                  </a:moveTo>
                  <a:lnTo>
                    <a:pt x="160" y="440"/>
                  </a:lnTo>
                  <a:lnTo>
                    <a:pt x="185" y="440"/>
                  </a:lnTo>
                  <a:lnTo>
                    <a:pt x="202" y="456"/>
                  </a:lnTo>
                  <a:lnTo>
                    <a:pt x="236" y="496"/>
                  </a:lnTo>
                  <a:lnTo>
                    <a:pt x="252" y="504"/>
                  </a:lnTo>
                  <a:lnTo>
                    <a:pt x="261" y="472"/>
                  </a:lnTo>
                  <a:lnTo>
                    <a:pt x="286" y="464"/>
                  </a:lnTo>
                  <a:lnTo>
                    <a:pt x="311" y="456"/>
                  </a:lnTo>
                  <a:lnTo>
                    <a:pt x="370" y="432"/>
                  </a:lnTo>
                  <a:lnTo>
                    <a:pt x="413" y="432"/>
                  </a:lnTo>
                  <a:lnTo>
                    <a:pt x="421" y="400"/>
                  </a:lnTo>
                  <a:lnTo>
                    <a:pt x="404" y="392"/>
                  </a:lnTo>
                  <a:lnTo>
                    <a:pt x="404" y="360"/>
                  </a:lnTo>
                  <a:lnTo>
                    <a:pt x="421" y="352"/>
                  </a:lnTo>
                  <a:lnTo>
                    <a:pt x="438" y="312"/>
                  </a:lnTo>
                  <a:lnTo>
                    <a:pt x="396" y="280"/>
                  </a:lnTo>
                  <a:lnTo>
                    <a:pt x="379" y="248"/>
                  </a:lnTo>
                  <a:lnTo>
                    <a:pt x="370" y="216"/>
                  </a:lnTo>
                  <a:lnTo>
                    <a:pt x="387" y="184"/>
                  </a:lnTo>
                  <a:lnTo>
                    <a:pt x="370" y="176"/>
                  </a:lnTo>
                  <a:lnTo>
                    <a:pt x="370" y="136"/>
                  </a:lnTo>
                  <a:lnTo>
                    <a:pt x="328" y="160"/>
                  </a:lnTo>
                  <a:lnTo>
                    <a:pt x="286" y="144"/>
                  </a:lnTo>
                  <a:lnTo>
                    <a:pt x="244" y="136"/>
                  </a:lnTo>
                  <a:lnTo>
                    <a:pt x="261" y="104"/>
                  </a:lnTo>
                  <a:lnTo>
                    <a:pt x="219" y="88"/>
                  </a:lnTo>
                  <a:lnTo>
                    <a:pt x="185" y="64"/>
                  </a:lnTo>
                  <a:lnTo>
                    <a:pt x="177" y="40"/>
                  </a:lnTo>
                  <a:lnTo>
                    <a:pt x="143" y="16"/>
                  </a:lnTo>
                  <a:lnTo>
                    <a:pt x="126" y="0"/>
                  </a:lnTo>
                  <a:lnTo>
                    <a:pt x="118" y="8"/>
                  </a:lnTo>
                  <a:lnTo>
                    <a:pt x="67" y="8"/>
                  </a:lnTo>
                  <a:lnTo>
                    <a:pt x="33" y="24"/>
                  </a:lnTo>
                  <a:lnTo>
                    <a:pt x="8" y="24"/>
                  </a:lnTo>
                  <a:lnTo>
                    <a:pt x="0" y="48"/>
                  </a:lnTo>
                  <a:lnTo>
                    <a:pt x="8" y="80"/>
                  </a:lnTo>
                  <a:lnTo>
                    <a:pt x="33" y="112"/>
                  </a:lnTo>
                  <a:lnTo>
                    <a:pt x="59" y="120"/>
                  </a:lnTo>
                  <a:lnTo>
                    <a:pt x="33" y="128"/>
                  </a:lnTo>
                  <a:lnTo>
                    <a:pt x="33" y="160"/>
                  </a:lnTo>
                  <a:lnTo>
                    <a:pt x="8" y="152"/>
                  </a:lnTo>
                  <a:lnTo>
                    <a:pt x="17" y="168"/>
                  </a:lnTo>
                  <a:lnTo>
                    <a:pt x="50" y="168"/>
                  </a:lnTo>
                  <a:lnTo>
                    <a:pt x="50" y="200"/>
                  </a:lnTo>
                  <a:lnTo>
                    <a:pt x="59" y="232"/>
                  </a:lnTo>
                  <a:lnTo>
                    <a:pt x="101" y="256"/>
                  </a:lnTo>
                  <a:lnTo>
                    <a:pt x="75" y="272"/>
                  </a:lnTo>
                  <a:lnTo>
                    <a:pt x="101" y="312"/>
                  </a:lnTo>
                  <a:lnTo>
                    <a:pt x="50" y="328"/>
                  </a:lnTo>
                  <a:lnTo>
                    <a:pt x="59" y="352"/>
                  </a:lnTo>
                  <a:lnTo>
                    <a:pt x="33" y="352"/>
                  </a:lnTo>
                  <a:lnTo>
                    <a:pt x="25" y="384"/>
                  </a:lnTo>
                  <a:lnTo>
                    <a:pt x="0" y="400"/>
                  </a:lnTo>
                  <a:lnTo>
                    <a:pt x="8" y="416"/>
                  </a:lnTo>
                  <a:lnTo>
                    <a:pt x="8" y="456"/>
                  </a:lnTo>
                  <a:lnTo>
                    <a:pt x="17" y="456"/>
                  </a:lnTo>
                  <a:lnTo>
                    <a:pt x="101" y="504"/>
                  </a:lnTo>
                  <a:lnTo>
                    <a:pt x="101" y="496"/>
                  </a:lnTo>
                  <a:lnTo>
                    <a:pt x="126" y="42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8" name="Freeform 67"/>
            <p:cNvSpPr>
              <a:spLocks/>
            </p:cNvSpPr>
            <p:nvPr>
              <p:custDataLst>
                <p:tags r:id="rId64"/>
              </p:custDataLst>
            </p:nvPr>
          </p:nvSpPr>
          <p:spPr bwMode="auto">
            <a:xfrm>
              <a:off x="4376" y="2656"/>
              <a:ext cx="480" cy="232"/>
            </a:xfrm>
            <a:custGeom>
              <a:avLst/>
              <a:gdLst>
                <a:gd name="T0" fmla="*/ 421 w 480"/>
                <a:gd name="T1" fmla="*/ 8 h 232"/>
                <a:gd name="T2" fmla="*/ 396 w 480"/>
                <a:gd name="T3" fmla="*/ 0 h 232"/>
                <a:gd name="T4" fmla="*/ 353 w 480"/>
                <a:gd name="T5" fmla="*/ 0 h 232"/>
                <a:gd name="T6" fmla="*/ 328 w 480"/>
                <a:gd name="T7" fmla="*/ 16 h 232"/>
                <a:gd name="T8" fmla="*/ 294 w 480"/>
                <a:gd name="T9" fmla="*/ 16 h 232"/>
                <a:gd name="T10" fmla="*/ 269 w 480"/>
                <a:gd name="T11" fmla="*/ 40 h 232"/>
                <a:gd name="T12" fmla="*/ 244 w 480"/>
                <a:gd name="T13" fmla="*/ 40 h 232"/>
                <a:gd name="T14" fmla="*/ 236 w 480"/>
                <a:gd name="T15" fmla="*/ 24 h 232"/>
                <a:gd name="T16" fmla="*/ 210 w 480"/>
                <a:gd name="T17" fmla="*/ 0 h 232"/>
                <a:gd name="T18" fmla="*/ 177 w 480"/>
                <a:gd name="T19" fmla="*/ 24 h 232"/>
                <a:gd name="T20" fmla="*/ 168 w 480"/>
                <a:gd name="T21" fmla="*/ 24 h 232"/>
                <a:gd name="T22" fmla="*/ 151 w 480"/>
                <a:gd name="T23" fmla="*/ 16 h 232"/>
                <a:gd name="T24" fmla="*/ 126 w 480"/>
                <a:gd name="T25" fmla="*/ 32 h 232"/>
                <a:gd name="T26" fmla="*/ 101 w 480"/>
                <a:gd name="T27" fmla="*/ 56 h 232"/>
                <a:gd name="T28" fmla="*/ 67 w 480"/>
                <a:gd name="T29" fmla="*/ 104 h 232"/>
                <a:gd name="T30" fmla="*/ 25 w 480"/>
                <a:gd name="T31" fmla="*/ 104 h 232"/>
                <a:gd name="T32" fmla="*/ 0 w 480"/>
                <a:gd name="T33" fmla="*/ 136 h 232"/>
                <a:gd name="T34" fmla="*/ 0 w 480"/>
                <a:gd name="T35" fmla="*/ 176 h 232"/>
                <a:gd name="T36" fmla="*/ 33 w 480"/>
                <a:gd name="T37" fmla="*/ 200 h 232"/>
                <a:gd name="T38" fmla="*/ 25 w 480"/>
                <a:gd name="T39" fmla="*/ 208 h 232"/>
                <a:gd name="T40" fmla="*/ 42 w 480"/>
                <a:gd name="T41" fmla="*/ 216 h 232"/>
                <a:gd name="T42" fmla="*/ 67 w 480"/>
                <a:gd name="T43" fmla="*/ 232 h 232"/>
                <a:gd name="T44" fmla="*/ 185 w 480"/>
                <a:gd name="T45" fmla="*/ 216 h 232"/>
                <a:gd name="T46" fmla="*/ 185 w 480"/>
                <a:gd name="T47" fmla="*/ 184 h 232"/>
                <a:gd name="T48" fmla="*/ 236 w 480"/>
                <a:gd name="T49" fmla="*/ 168 h 232"/>
                <a:gd name="T50" fmla="*/ 244 w 480"/>
                <a:gd name="T51" fmla="*/ 152 h 232"/>
                <a:gd name="T52" fmla="*/ 286 w 480"/>
                <a:gd name="T53" fmla="*/ 160 h 232"/>
                <a:gd name="T54" fmla="*/ 328 w 480"/>
                <a:gd name="T55" fmla="*/ 112 h 232"/>
                <a:gd name="T56" fmla="*/ 362 w 480"/>
                <a:gd name="T57" fmla="*/ 112 h 232"/>
                <a:gd name="T58" fmla="*/ 404 w 480"/>
                <a:gd name="T59" fmla="*/ 104 h 232"/>
                <a:gd name="T60" fmla="*/ 404 w 480"/>
                <a:gd name="T61" fmla="*/ 104 h 232"/>
                <a:gd name="T62" fmla="*/ 412 w 480"/>
                <a:gd name="T63" fmla="*/ 104 h 232"/>
                <a:gd name="T64" fmla="*/ 438 w 480"/>
                <a:gd name="T65" fmla="*/ 112 h 232"/>
                <a:gd name="T66" fmla="*/ 455 w 480"/>
                <a:gd name="T67" fmla="*/ 112 h 232"/>
                <a:gd name="T68" fmla="*/ 463 w 480"/>
                <a:gd name="T69" fmla="*/ 64 h 232"/>
                <a:gd name="T70" fmla="*/ 480 w 480"/>
                <a:gd name="T71" fmla="*/ 16 h 232"/>
                <a:gd name="T72" fmla="*/ 421 w 480"/>
                <a:gd name="T73" fmla="*/ 8 h 23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80" h="232">
                  <a:moveTo>
                    <a:pt x="421" y="8"/>
                  </a:moveTo>
                  <a:lnTo>
                    <a:pt x="396" y="0"/>
                  </a:lnTo>
                  <a:lnTo>
                    <a:pt x="353" y="0"/>
                  </a:lnTo>
                  <a:lnTo>
                    <a:pt x="328" y="16"/>
                  </a:lnTo>
                  <a:lnTo>
                    <a:pt x="294" y="16"/>
                  </a:lnTo>
                  <a:lnTo>
                    <a:pt x="269" y="40"/>
                  </a:lnTo>
                  <a:lnTo>
                    <a:pt x="244" y="40"/>
                  </a:lnTo>
                  <a:lnTo>
                    <a:pt x="236" y="24"/>
                  </a:lnTo>
                  <a:lnTo>
                    <a:pt x="210" y="0"/>
                  </a:lnTo>
                  <a:lnTo>
                    <a:pt x="177" y="24"/>
                  </a:lnTo>
                  <a:lnTo>
                    <a:pt x="168" y="24"/>
                  </a:lnTo>
                  <a:lnTo>
                    <a:pt x="151" y="16"/>
                  </a:lnTo>
                  <a:lnTo>
                    <a:pt x="126" y="32"/>
                  </a:lnTo>
                  <a:lnTo>
                    <a:pt x="101" y="56"/>
                  </a:lnTo>
                  <a:lnTo>
                    <a:pt x="67" y="104"/>
                  </a:lnTo>
                  <a:lnTo>
                    <a:pt x="25" y="104"/>
                  </a:lnTo>
                  <a:lnTo>
                    <a:pt x="0" y="136"/>
                  </a:lnTo>
                  <a:lnTo>
                    <a:pt x="0" y="176"/>
                  </a:lnTo>
                  <a:lnTo>
                    <a:pt x="33" y="200"/>
                  </a:lnTo>
                  <a:lnTo>
                    <a:pt x="25" y="208"/>
                  </a:lnTo>
                  <a:lnTo>
                    <a:pt x="42" y="216"/>
                  </a:lnTo>
                  <a:lnTo>
                    <a:pt x="67" y="232"/>
                  </a:lnTo>
                  <a:lnTo>
                    <a:pt x="185" y="216"/>
                  </a:lnTo>
                  <a:lnTo>
                    <a:pt x="185" y="184"/>
                  </a:lnTo>
                  <a:lnTo>
                    <a:pt x="236" y="168"/>
                  </a:lnTo>
                  <a:lnTo>
                    <a:pt x="244" y="152"/>
                  </a:lnTo>
                  <a:lnTo>
                    <a:pt x="286" y="160"/>
                  </a:lnTo>
                  <a:lnTo>
                    <a:pt x="328" y="112"/>
                  </a:lnTo>
                  <a:lnTo>
                    <a:pt x="362" y="112"/>
                  </a:lnTo>
                  <a:lnTo>
                    <a:pt x="404" y="104"/>
                  </a:lnTo>
                  <a:lnTo>
                    <a:pt x="412" y="104"/>
                  </a:lnTo>
                  <a:lnTo>
                    <a:pt x="438" y="112"/>
                  </a:lnTo>
                  <a:lnTo>
                    <a:pt x="455" y="112"/>
                  </a:lnTo>
                  <a:lnTo>
                    <a:pt x="463" y="64"/>
                  </a:lnTo>
                  <a:lnTo>
                    <a:pt x="480" y="16"/>
                  </a:lnTo>
                  <a:lnTo>
                    <a:pt x="421" y="8"/>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9" name="Freeform 68"/>
            <p:cNvSpPr>
              <a:spLocks/>
            </p:cNvSpPr>
            <p:nvPr>
              <p:custDataLst>
                <p:tags r:id="rId65"/>
              </p:custDataLst>
            </p:nvPr>
          </p:nvSpPr>
          <p:spPr bwMode="auto">
            <a:xfrm>
              <a:off x="4595" y="3056"/>
              <a:ext cx="438" cy="504"/>
            </a:xfrm>
            <a:custGeom>
              <a:avLst/>
              <a:gdLst>
                <a:gd name="T0" fmla="*/ 126 w 438"/>
                <a:gd name="T1" fmla="*/ 424 h 504"/>
                <a:gd name="T2" fmla="*/ 160 w 438"/>
                <a:gd name="T3" fmla="*/ 440 h 504"/>
                <a:gd name="T4" fmla="*/ 185 w 438"/>
                <a:gd name="T5" fmla="*/ 440 h 504"/>
                <a:gd name="T6" fmla="*/ 202 w 438"/>
                <a:gd name="T7" fmla="*/ 456 h 504"/>
                <a:gd name="T8" fmla="*/ 236 w 438"/>
                <a:gd name="T9" fmla="*/ 496 h 504"/>
                <a:gd name="T10" fmla="*/ 252 w 438"/>
                <a:gd name="T11" fmla="*/ 504 h 504"/>
                <a:gd name="T12" fmla="*/ 261 w 438"/>
                <a:gd name="T13" fmla="*/ 472 h 504"/>
                <a:gd name="T14" fmla="*/ 286 w 438"/>
                <a:gd name="T15" fmla="*/ 464 h 504"/>
                <a:gd name="T16" fmla="*/ 311 w 438"/>
                <a:gd name="T17" fmla="*/ 456 h 504"/>
                <a:gd name="T18" fmla="*/ 370 w 438"/>
                <a:gd name="T19" fmla="*/ 432 h 504"/>
                <a:gd name="T20" fmla="*/ 413 w 438"/>
                <a:gd name="T21" fmla="*/ 432 h 504"/>
                <a:gd name="T22" fmla="*/ 421 w 438"/>
                <a:gd name="T23" fmla="*/ 400 h 504"/>
                <a:gd name="T24" fmla="*/ 404 w 438"/>
                <a:gd name="T25" fmla="*/ 392 h 504"/>
                <a:gd name="T26" fmla="*/ 404 w 438"/>
                <a:gd name="T27" fmla="*/ 360 h 504"/>
                <a:gd name="T28" fmla="*/ 421 w 438"/>
                <a:gd name="T29" fmla="*/ 352 h 504"/>
                <a:gd name="T30" fmla="*/ 438 w 438"/>
                <a:gd name="T31" fmla="*/ 312 h 504"/>
                <a:gd name="T32" fmla="*/ 396 w 438"/>
                <a:gd name="T33" fmla="*/ 280 h 504"/>
                <a:gd name="T34" fmla="*/ 379 w 438"/>
                <a:gd name="T35" fmla="*/ 248 h 504"/>
                <a:gd name="T36" fmla="*/ 370 w 438"/>
                <a:gd name="T37" fmla="*/ 216 h 504"/>
                <a:gd name="T38" fmla="*/ 387 w 438"/>
                <a:gd name="T39" fmla="*/ 184 h 504"/>
                <a:gd name="T40" fmla="*/ 370 w 438"/>
                <a:gd name="T41" fmla="*/ 176 h 504"/>
                <a:gd name="T42" fmla="*/ 370 w 438"/>
                <a:gd name="T43" fmla="*/ 136 h 504"/>
                <a:gd name="T44" fmla="*/ 328 w 438"/>
                <a:gd name="T45" fmla="*/ 160 h 504"/>
                <a:gd name="T46" fmla="*/ 286 w 438"/>
                <a:gd name="T47" fmla="*/ 144 h 504"/>
                <a:gd name="T48" fmla="*/ 244 w 438"/>
                <a:gd name="T49" fmla="*/ 136 h 504"/>
                <a:gd name="T50" fmla="*/ 261 w 438"/>
                <a:gd name="T51" fmla="*/ 104 h 504"/>
                <a:gd name="T52" fmla="*/ 219 w 438"/>
                <a:gd name="T53" fmla="*/ 88 h 504"/>
                <a:gd name="T54" fmla="*/ 185 w 438"/>
                <a:gd name="T55" fmla="*/ 64 h 504"/>
                <a:gd name="T56" fmla="*/ 177 w 438"/>
                <a:gd name="T57" fmla="*/ 40 h 504"/>
                <a:gd name="T58" fmla="*/ 143 w 438"/>
                <a:gd name="T59" fmla="*/ 16 h 504"/>
                <a:gd name="T60" fmla="*/ 126 w 438"/>
                <a:gd name="T61" fmla="*/ 0 h 504"/>
                <a:gd name="T62" fmla="*/ 118 w 438"/>
                <a:gd name="T63" fmla="*/ 8 h 504"/>
                <a:gd name="T64" fmla="*/ 67 w 438"/>
                <a:gd name="T65" fmla="*/ 8 h 504"/>
                <a:gd name="T66" fmla="*/ 33 w 438"/>
                <a:gd name="T67" fmla="*/ 24 h 504"/>
                <a:gd name="T68" fmla="*/ 8 w 438"/>
                <a:gd name="T69" fmla="*/ 24 h 504"/>
                <a:gd name="T70" fmla="*/ 0 w 438"/>
                <a:gd name="T71" fmla="*/ 48 h 504"/>
                <a:gd name="T72" fmla="*/ 8 w 438"/>
                <a:gd name="T73" fmla="*/ 80 h 504"/>
                <a:gd name="T74" fmla="*/ 33 w 438"/>
                <a:gd name="T75" fmla="*/ 112 h 504"/>
                <a:gd name="T76" fmla="*/ 59 w 438"/>
                <a:gd name="T77" fmla="*/ 120 h 504"/>
                <a:gd name="T78" fmla="*/ 33 w 438"/>
                <a:gd name="T79" fmla="*/ 128 h 504"/>
                <a:gd name="T80" fmla="*/ 33 w 438"/>
                <a:gd name="T81" fmla="*/ 160 h 504"/>
                <a:gd name="T82" fmla="*/ 8 w 438"/>
                <a:gd name="T83" fmla="*/ 152 h 504"/>
                <a:gd name="T84" fmla="*/ 17 w 438"/>
                <a:gd name="T85" fmla="*/ 168 h 504"/>
                <a:gd name="T86" fmla="*/ 50 w 438"/>
                <a:gd name="T87" fmla="*/ 168 h 504"/>
                <a:gd name="T88" fmla="*/ 50 w 438"/>
                <a:gd name="T89" fmla="*/ 200 h 504"/>
                <a:gd name="T90" fmla="*/ 59 w 438"/>
                <a:gd name="T91" fmla="*/ 232 h 504"/>
                <a:gd name="T92" fmla="*/ 101 w 438"/>
                <a:gd name="T93" fmla="*/ 256 h 504"/>
                <a:gd name="T94" fmla="*/ 75 w 438"/>
                <a:gd name="T95" fmla="*/ 272 h 504"/>
                <a:gd name="T96" fmla="*/ 101 w 438"/>
                <a:gd name="T97" fmla="*/ 312 h 504"/>
                <a:gd name="T98" fmla="*/ 50 w 438"/>
                <a:gd name="T99" fmla="*/ 328 h 504"/>
                <a:gd name="T100" fmla="*/ 59 w 438"/>
                <a:gd name="T101" fmla="*/ 352 h 504"/>
                <a:gd name="T102" fmla="*/ 33 w 438"/>
                <a:gd name="T103" fmla="*/ 352 h 504"/>
                <a:gd name="T104" fmla="*/ 25 w 438"/>
                <a:gd name="T105" fmla="*/ 384 h 504"/>
                <a:gd name="T106" fmla="*/ 0 w 438"/>
                <a:gd name="T107" fmla="*/ 400 h 504"/>
                <a:gd name="T108" fmla="*/ 8 w 438"/>
                <a:gd name="T109" fmla="*/ 416 h 504"/>
                <a:gd name="T110" fmla="*/ 8 w 438"/>
                <a:gd name="T111" fmla="*/ 456 h 504"/>
                <a:gd name="T112" fmla="*/ 17 w 438"/>
                <a:gd name="T113" fmla="*/ 456 h 504"/>
                <a:gd name="T114" fmla="*/ 101 w 438"/>
                <a:gd name="T115" fmla="*/ 504 h 504"/>
                <a:gd name="T116" fmla="*/ 101 w 438"/>
                <a:gd name="T117" fmla="*/ 496 h 504"/>
                <a:gd name="T118" fmla="*/ 126 w 438"/>
                <a:gd name="T119" fmla="*/ 424 h 5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38" h="504">
                  <a:moveTo>
                    <a:pt x="126" y="424"/>
                  </a:moveTo>
                  <a:lnTo>
                    <a:pt x="160" y="440"/>
                  </a:lnTo>
                  <a:lnTo>
                    <a:pt x="185" y="440"/>
                  </a:lnTo>
                  <a:lnTo>
                    <a:pt x="202" y="456"/>
                  </a:lnTo>
                  <a:lnTo>
                    <a:pt x="236" y="496"/>
                  </a:lnTo>
                  <a:lnTo>
                    <a:pt x="252" y="504"/>
                  </a:lnTo>
                  <a:lnTo>
                    <a:pt x="261" y="472"/>
                  </a:lnTo>
                  <a:lnTo>
                    <a:pt x="286" y="464"/>
                  </a:lnTo>
                  <a:lnTo>
                    <a:pt x="311" y="456"/>
                  </a:lnTo>
                  <a:lnTo>
                    <a:pt x="370" y="432"/>
                  </a:lnTo>
                  <a:lnTo>
                    <a:pt x="413" y="432"/>
                  </a:lnTo>
                  <a:lnTo>
                    <a:pt x="421" y="400"/>
                  </a:lnTo>
                  <a:lnTo>
                    <a:pt x="404" y="392"/>
                  </a:lnTo>
                  <a:lnTo>
                    <a:pt x="404" y="360"/>
                  </a:lnTo>
                  <a:lnTo>
                    <a:pt x="421" y="352"/>
                  </a:lnTo>
                  <a:lnTo>
                    <a:pt x="438" y="312"/>
                  </a:lnTo>
                  <a:lnTo>
                    <a:pt x="396" y="280"/>
                  </a:lnTo>
                  <a:lnTo>
                    <a:pt x="379" y="248"/>
                  </a:lnTo>
                  <a:lnTo>
                    <a:pt x="370" y="216"/>
                  </a:lnTo>
                  <a:lnTo>
                    <a:pt x="387" y="184"/>
                  </a:lnTo>
                  <a:lnTo>
                    <a:pt x="370" y="176"/>
                  </a:lnTo>
                  <a:lnTo>
                    <a:pt x="370" y="136"/>
                  </a:lnTo>
                  <a:lnTo>
                    <a:pt x="328" y="160"/>
                  </a:lnTo>
                  <a:lnTo>
                    <a:pt x="286" y="144"/>
                  </a:lnTo>
                  <a:lnTo>
                    <a:pt x="244" y="136"/>
                  </a:lnTo>
                  <a:lnTo>
                    <a:pt x="261" y="104"/>
                  </a:lnTo>
                  <a:lnTo>
                    <a:pt x="219" y="88"/>
                  </a:lnTo>
                  <a:lnTo>
                    <a:pt x="185" y="64"/>
                  </a:lnTo>
                  <a:lnTo>
                    <a:pt x="177" y="40"/>
                  </a:lnTo>
                  <a:lnTo>
                    <a:pt x="143" y="16"/>
                  </a:lnTo>
                  <a:lnTo>
                    <a:pt x="126" y="0"/>
                  </a:lnTo>
                  <a:lnTo>
                    <a:pt x="118" y="8"/>
                  </a:lnTo>
                  <a:lnTo>
                    <a:pt x="67" y="8"/>
                  </a:lnTo>
                  <a:lnTo>
                    <a:pt x="33" y="24"/>
                  </a:lnTo>
                  <a:lnTo>
                    <a:pt x="8" y="24"/>
                  </a:lnTo>
                  <a:lnTo>
                    <a:pt x="0" y="48"/>
                  </a:lnTo>
                  <a:lnTo>
                    <a:pt x="8" y="80"/>
                  </a:lnTo>
                  <a:lnTo>
                    <a:pt x="33" y="112"/>
                  </a:lnTo>
                  <a:lnTo>
                    <a:pt x="59" y="120"/>
                  </a:lnTo>
                  <a:lnTo>
                    <a:pt x="33" y="128"/>
                  </a:lnTo>
                  <a:lnTo>
                    <a:pt x="33" y="160"/>
                  </a:lnTo>
                  <a:lnTo>
                    <a:pt x="8" y="152"/>
                  </a:lnTo>
                  <a:lnTo>
                    <a:pt x="17" y="168"/>
                  </a:lnTo>
                  <a:lnTo>
                    <a:pt x="50" y="168"/>
                  </a:lnTo>
                  <a:lnTo>
                    <a:pt x="50" y="200"/>
                  </a:lnTo>
                  <a:lnTo>
                    <a:pt x="59" y="232"/>
                  </a:lnTo>
                  <a:lnTo>
                    <a:pt x="101" y="256"/>
                  </a:lnTo>
                  <a:lnTo>
                    <a:pt x="75" y="272"/>
                  </a:lnTo>
                  <a:lnTo>
                    <a:pt x="101" y="312"/>
                  </a:lnTo>
                  <a:lnTo>
                    <a:pt x="50" y="328"/>
                  </a:lnTo>
                  <a:lnTo>
                    <a:pt x="59" y="352"/>
                  </a:lnTo>
                  <a:lnTo>
                    <a:pt x="33" y="352"/>
                  </a:lnTo>
                  <a:lnTo>
                    <a:pt x="25" y="384"/>
                  </a:lnTo>
                  <a:lnTo>
                    <a:pt x="0" y="400"/>
                  </a:lnTo>
                  <a:lnTo>
                    <a:pt x="8" y="416"/>
                  </a:lnTo>
                  <a:lnTo>
                    <a:pt x="8" y="456"/>
                  </a:lnTo>
                  <a:lnTo>
                    <a:pt x="17" y="456"/>
                  </a:lnTo>
                  <a:lnTo>
                    <a:pt x="101" y="504"/>
                  </a:lnTo>
                  <a:lnTo>
                    <a:pt x="101" y="496"/>
                  </a:lnTo>
                  <a:lnTo>
                    <a:pt x="126" y="424"/>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0" name="Freeform 69"/>
            <p:cNvSpPr>
              <a:spLocks/>
            </p:cNvSpPr>
            <p:nvPr>
              <p:custDataLst>
                <p:tags r:id="rId66"/>
              </p:custDataLst>
            </p:nvPr>
          </p:nvSpPr>
          <p:spPr bwMode="auto">
            <a:xfrm>
              <a:off x="4696" y="3480"/>
              <a:ext cx="210" cy="352"/>
            </a:xfrm>
            <a:custGeom>
              <a:avLst/>
              <a:gdLst>
                <a:gd name="T0" fmla="*/ 151 w 210"/>
                <a:gd name="T1" fmla="*/ 304 h 352"/>
                <a:gd name="T2" fmla="*/ 185 w 210"/>
                <a:gd name="T3" fmla="*/ 288 h 352"/>
                <a:gd name="T4" fmla="*/ 185 w 210"/>
                <a:gd name="T5" fmla="*/ 248 h 352"/>
                <a:gd name="T6" fmla="*/ 210 w 210"/>
                <a:gd name="T7" fmla="*/ 232 h 352"/>
                <a:gd name="T8" fmla="*/ 194 w 210"/>
                <a:gd name="T9" fmla="*/ 192 h 352"/>
                <a:gd name="T10" fmla="*/ 168 w 210"/>
                <a:gd name="T11" fmla="*/ 184 h 352"/>
                <a:gd name="T12" fmla="*/ 143 w 210"/>
                <a:gd name="T13" fmla="*/ 152 h 352"/>
                <a:gd name="T14" fmla="*/ 135 w 210"/>
                <a:gd name="T15" fmla="*/ 96 h 352"/>
                <a:gd name="T16" fmla="*/ 135 w 210"/>
                <a:gd name="T17" fmla="*/ 72 h 352"/>
                <a:gd name="T18" fmla="*/ 101 w 210"/>
                <a:gd name="T19" fmla="*/ 32 h 352"/>
                <a:gd name="T20" fmla="*/ 84 w 210"/>
                <a:gd name="T21" fmla="*/ 16 h 352"/>
                <a:gd name="T22" fmla="*/ 59 w 210"/>
                <a:gd name="T23" fmla="*/ 16 h 352"/>
                <a:gd name="T24" fmla="*/ 25 w 210"/>
                <a:gd name="T25" fmla="*/ 0 h 352"/>
                <a:gd name="T26" fmla="*/ 0 w 210"/>
                <a:gd name="T27" fmla="*/ 72 h 352"/>
                <a:gd name="T28" fmla="*/ 0 w 210"/>
                <a:gd name="T29" fmla="*/ 80 h 352"/>
                <a:gd name="T30" fmla="*/ 17 w 210"/>
                <a:gd name="T31" fmla="*/ 88 h 352"/>
                <a:gd name="T32" fmla="*/ 33 w 210"/>
                <a:gd name="T33" fmla="*/ 104 h 352"/>
                <a:gd name="T34" fmla="*/ 33 w 210"/>
                <a:gd name="T35" fmla="*/ 120 h 352"/>
                <a:gd name="T36" fmla="*/ 33 w 210"/>
                <a:gd name="T37" fmla="*/ 160 h 352"/>
                <a:gd name="T38" fmla="*/ 42 w 210"/>
                <a:gd name="T39" fmla="*/ 248 h 352"/>
                <a:gd name="T40" fmla="*/ 67 w 210"/>
                <a:gd name="T41" fmla="*/ 288 h 352"/>
                <a:gd name="T42" fmla="*/ 109 w 210"/>
                <a:gd name="T43" fmla="*/ 320 h 352"/>
                <a:gd name="T44" fmla="*/ 135 w 210"/>
                <a:gd name="T45" fmla="*/ 352 h 352"/>
                <a:gd name="T46" fmla="*/ 151 w 210"/>
                <a:gd name="T47" fmla="*/ 344 h 352"/>
                <a:gd name="T48" fmla="*/ 151 w 210"/>
                <a:gd name="T49" fmla="*/ 304 h 3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10" h="352">
                  <a:moveTo>
                    <a:pt x="151" y="304"/>
                  </a:moveTo>
                  <a:lnTo>
                    <a:pt x="185" y="288"/>
                  </a:lnTo>
                  <a:lnTo>
                    <a:pt x="185" y="248"/>
                  </a:lnTo>
                  <a:lnTo>
                    <a:pt x="210" y="232"/>
                  </a:lnTo>
                  <a:lnTo>
                    <a:pt x="194" y="192"/>
                  </a:lnTo>
                  <a:lnTo>
                    <a:pt x="168" y="184"/>
                  </a:lnTo>
                  <a:lnTo>
                    <a:pt x="143" y="152"/>
                  </a:lnTo>
                  <a:lnTo>
                    <a:pt x="135" y="96"/>
                  </a:lnTo>
                  <a:lnTo>
                    <a:pt x="135" y="72"/>
                  </a:lnTo>
                  <a:lnTo>
                    <a:pt x="101" y="32"/>
                  </a:lnTo>
                  <a:lnTo>
                    <a:pt x="84" y="16"/>
                  </a:lnTo>
                  <a:lnTo>
                    <a:pt x="59" y="16"/>
                  </a:lnTo>
                  <a:lnTo>
                    <a:pt x="25" y="0"/>
                  </a:lnTo>
                  <a:lnTo>
                    <a:pt x="0" y="72"/>
                  </a:lnTo>
                  <a:lnTo>
                    <a:pt x="0" y="80"/>
                  </a:lnTo>
                  <a:lnTo>
                    <a:pt x="17" y="88"/>
                  </a:lnTo>
                  <a:lnTo>
                    <a:pt x="33" y="104"/>
                  </a:lnTo>
                  <a:lnTo>
                    <a:pt x="33" y="120"/>
                  </a:lnTo>
                  <a:lnTo>
                    <a:pt x="33" y="160"/>
                  </a:lnTo>
                  <a:lnTo>
                    <a:pt x="42" y="248"/>
                  </a:lnTo>
                  <a:lnTo>
                    <a:pt x="67" y="288"/>
                  </a:lnTo>
                  <a:lnTo>
                    <a:pt x="109" y="320"/>
                  </a:lnTo>
                  <a:lnTo>
                    <a:pt x="135" y="352"/>
                  </a:lnTo>
                  <a:lnTo>
                    <a:pt x="151" y="344"/>
                  </a:lnTo>
                  <a:lnTo>
                    <a:pt x="151" y="30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1" name="Freeform 70"/>
            <p:cNvSpPr>
              <a:spLocks/>
            </p:cNvSpPr>
            <p:nvPr>
              <p:custDataLst>
                <p:tags r:id="rId67"/>
              </p:custDataLst>
            </p:nvPr>
          </p:nvSpPr>
          <p:spPr bwMode="auto">
            <a:xfrm>
              <a:off x="4831" y="3480"/>
              <a:ext cx="606" cy="704"/>
            </a:xfrm>
            <a:custGeom>
              <a:avLst/>
              <a:gdLst>
                <a:gd name="T0" fmla="*/ 606 w 606"/>
                <a:gd name="T1" fmla="*/ 24 h 704"/>
                <a:gd name="T2" fmla="*/ 556 w 606"/>
                <a:gd name="T3" fmla="*/ 0 h 704"/>
                <a:gd name="T4" fmla="*/ 530 w 606"/>
                <a:gd name="T5" fmla="*/ 56 h 704"/>
                <a:gd name="T6" fmla="*/ 446 w 606"/>
                <a:gd name="T7" fmla="*/ 72 h 704"/>
                <a:gd name="T8" fmla="*/ 379 w 606"/>
                <a:gd name="T9" fmla="*/ 56 h 704"/>
                <a:gd name="T10" fmla="*/ 286 w 606"/>
                <a:gd name="T11" fmla="*/ 104 h 704"/>
                <a:gd name="T12" fmla="*/ 236 w 606"/>
                <a:gd name="T13" fmla="*/ 136 h 704"/>
                <a:gd name="T14" fmla="*/ 134 w 606"/>
                <a:gd name="T15" fmla="*/ 184 h 704"/>
                <a:gd name="T16" fmla="*/ 75 w 606"/>
                <a:gd name="T17" fmla="*/ 200 h 704"/>
                <a:gd name="T18" fmla="*/ 75 w 606"/>
                <a:gd name="T19" fmla="*/ 232 h 704"/>
                <a:gd name="T20" fmla="*/ 50 w 606"/>
                <a:gd name="T21" fmla="*/ 288 h 704"/>
                <a:gd name="T22" fmla="*/ 16 w 606"/>
                <a:gd name="T23" fmla="*/ 344 h 704"/>
                <a:gd name="T24" fmla="*/ 33 w 606"/>
                <a:gd name="T25" fmla="*/ 392 h 704"/>
                <a:gd name="T26" fmla="*/ 59 w 606"/>
                <a:gd name="T27" fmla="*/ 464 h 704"/>
                <a:gd name="T28" fmla="*/ 118 w 606"/>
                <a:gd name="T29" fmla="*/ 480 h 704"/>
                <a:gd name="T30" fmla="*/ 286 w 606"/>
                <a:gd name="T31" fmla="*/ 472 h 704"/>
                <a:gd name="T32" fmla="*/ 337 w 606"/>
                <a:gd name="T33" fmla="*/ 496 h 704"/>
                <a:gd name="T34" fmla="*/ 294 w 606"/>
                <a:gd name="T35" fmla="*/ 512 h 704"/>
                <a:gd name="T36" fmla="*/ 210 w 606"/>
                <a:gd name="T37" fmla="*/ 488 h 704"/>
                <a:gd name="T38" fmla="*/ 160 w 606"/>
                <a:gd name="T39" fmla="*/ 512 h 704"/>
                <a:gd name="T40" fmla="*/ 160 w 606"/>
                <a:gd name="T41" fmla="*/ 568 h 704"/>
                <a:gd name="T42" fmla="*/ 202 w 606"/>
                <a:gd name="T43" fmla="*/ 592 h 704"/>
                <a:gd name="T44" fmla="*/ 236 w 606"/>
                <a:gd name="T45" fmla="*/ 672 h 704"/>
                <a:gd name="T46" fmla="*/ 278 w 606"/>
                <a:gd name="T47" fmla="*/ 656 h 704"/>
                <a:gd name="T48" fmla="*/ 337 w 606"/>
                <a:gd name="T49" fmla="*/ 656 h 704"/>
                <a:gd name="T50" fmla="*/ 328 w 606"/>
                <a:gd name="T51" fmla="*/ 568 h 704"/>
                <a:gd name="T52" fmla="*/ 370 w 606"/>
                <a:gd name="T53" fmla="*/ 584 h 704"/>
                <a:gd name="T54" fmla="*/ 387 w 606"/>
                <a:gd name="T55" fmla="*/ 576 h 704"/>
                <a:gd name="T56" fmla="*/ 353 w 606"/>
                <a:gd name="T57" fmla="*/ 528 h 704"/>
                <a:gd name="T58" fmla="*/ 455 w 606"/>
                <a:gd name="T59" fmla="*/ 528 h 704"/>
                <a:gd name="T60" fmla="*/ 438 w 606"/>
                <a:gd name="T61" fmla="*/ 464 h 704"/>
                <a:gd name="T62" fmla="*/ 438 w 606"/>
                <a:gd name="T63" fmla="*/ 448 h 704"/>
                <a:gd name="T64" fmla="*/ 480 w 606"/>
                <a:gd name="T65" fmla="*/ 480 h 704"/>
                <a:gd name="T66" fmla="*/ 463 w 606"/>
                <a:gd name="T67" fmla="*/ 440 h 704"/>
                <a:gd name="T68" fmla="*/ 353 w 606"/>
                <a:gd name="T69" fmla="*/ 384 h 704"/>
                <a:gd name="T70" fmla="*/ 337 w 606"/>
                <a:gd name="T71" fmla="*/ 400 h 704"/>
                <a:gd name="T72" fmla="*/ 311 w 606"/>
                <a:gd name="T73" fmla="*/ 408 h 704"/>
                <a:gd name="T74" fmla="*/ 294 w 606"/>
                <a:gd name="T75" fmla="*/ 376 h 704"/>
                <a:gd name="T76" fmla="*/ 337 w 606"/>
                <a:gd name="T77" fmla="*/ 360 h 704"/>
                <a:gd name="T78" fmla="*/ 320 w 606"/>
                <a:gd name="T79" fmla="*/ 320 h 704"/>
                <a:gd name="T80" fmla="*/ 236 w 606"/>
                <a:gd name="T81" fmla="*/ 240 h 704"/>
                <a:gd name="T82" fmla="*/ 261 w 606"/>
                <a:gd name="T83" fmla="*/ 200 h 704"/>
                <a:gd name="T84" fmla="*/ 294 w 606"/>
                <a:gd name="T85" fmla="*/ 232 h 704"/>
                <a:gd name="T86" fmla="*/ 337 w 606"/>
                <a:gd name="T87" fmla="*/ 264 h 704"/>
                <a:gd name="T88" fmla="*/ 362 w 606"/>
                <a:gd name="T89" fmla="*/ 208 h 704"/>
                <a:gd name="T90" fmla="*/ 387 w 606"/>
                <a:gd name="T91" fmla="*/ 144 h 704"/>
                <a:gd name="T92" fmla="*/ 497 w 606"/>
                <a:gd name="T93" fmla="*/ 112 h 704"/>
                <a:gd name="T94" fmla="*/ 564 w 606"/>
                <a:gd name="T95" fmla="*/ 112 h 704"/>
                <a:gd name="T96" fmla="*/ 598 w 606"/>
                <a:gd name="T97" fmla="*/ 96 h 7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06" h="704">
                  <a:moveTo>
                    <a:pt x="589" y="72"/>
                  </a:moveTo>
                  <a:lnTo>
                    <a:pt x="606" y="24"/>
                  </a:lnTo>
                  <a:lnTo>
                    <a:pt x="581" y="0"/>
                  </a:lnTo>
                  <a:lnTo>
                    <a:pt x="556" y="0"/>
                  </a:lnTo>
                  <a:lnTo>
                    <a:pt x="564" y="40"/>
                  </a:lnTo>
                  <a:lnTo>
                    <a:pt x="530" y="56"/>
                  </a:lnTo>
                  <a:lnTo>
                    <a:pt x="471" y="72"/>
                  </a:lnTo>
                  <a:lnTo>
                    <a:pt x="446" y="72"/>
                  </a:lnTo>
                  <a:lnTo>
                    <a:pt x="412" y="72"/>
                  </a:lnTo>
                  <a:lnTo>
                    <a:pt x="379" y="56"/>
                  </a:lnTo>
                  <a:lnTo>
                    <a:pt x="328" y="88"/>
                  </a:lnTo>
                  <a:lnTo>
                    <a:pt x="286" y="104"/>
                  </a:lnTo>
                  <a:lnTo>
                    <a:pt x="244" y="104"/>
                  </a:lnTo>
                  <a:lnTo>
                    <a:pt x="236" y="136"/>
                  </a:lnTo>
                  <a:lnTo>
                    <a:pt x="168" y="144"/>
                  </a:lnTo>
                  <a:lnTo>
                    <a:pt x="134" y="184"/>
                  </a:lnTo>
                  <a:lnTo>
                    <a:pt x="109" y="184"/>
                  </a:lnTo>
                  <a:lnTo>
                    <a:pt x="75" y="200"/>
                  </a:lnTo>
                  <a:lnTo>
                    <a:pt x="67" y="200"/>
                  </a:lnTo>
                  <a:lnTo>
                    <a:pt x="75" y="232"/>
                  </a:lnTo>
                  <a:lnTo>
                    <a:pt x="50" y="248"/>
                  </a:lnTo>
                  <a:lnTo>
                    <a:pt x="50" y="288"/>
                  </a:lnTo>
                  <a:lnTo>
                    <a:pt x="16" y="304"/>
                  </a:lnTo>
                  <a:lnTo>
                    <a:pt x="16" y="344"/>
                  </a:lnTo>
                  <a:lnTo>
                    <a:pt x="0" y="352"/>
                  </a:lnTo>
                  <a:lnTo>
                    <a:pt x="33" y="392"/>
                  </a:lnTo>
                  <a:lnTo>
                    <a:pt x="75" y="424"/>
                  </a:lnTo>
                  <a:lnTo>
                    <a:pt x="59" y="464"/>
                  </a:lnTo>
                  <a:lnTo>
                    <a:pt x="92" y="464"/>
                  </a:lnTo>
                  <a:lnTo>
                    <a:pt x="118" y="480"/>
                  </a:lnTo>
                  <a:lnTo>
                    <a:pt x="202" y="480"/>
                  </a:lnTo>
                  <a:lnTo>
                    <a:pt x="286" y="472"/>
                  </a:lnTo>
                  <a:lnTo>
                    <a:pt x="362" y="480"/>
                  </a:lnTo>
                  <a:lnTo>
                    <a:pt x="337" y="496"/>
                  </a:lnTo>
                  <a:lnTo>
                    <a:pt x="328" y="512"/>
                  </a:lnTo>
                  <a:lnTo>
                    <a:pt x="294" y="512"/>
                  </a:lnTo>
                  <a:lnTo>
                    <a:pt x="261" y="504"/>
                  </a:lnTo>
                  <a:lnTo>
                    <a:pt x="210" y="488"/>
                  </a:lnTo>
                  <a:lnTo>
                    <a:pt x="185" y="504"/>
                  </a:lnTo>
                  <a:lnTo>
                    <a:pt x="160" y="512"/>
                  </a:lnTo>
                  <a:lnTo>
                    <a:pt x="134" y="552"/>
                  </a:lnTo>
                  <a:lnTo>
                    <a:pt x="160" y="568"/>
                  </a:lnTo>
                  <a:lnTo>
                    <a:pt x="185" y="584"/>
                  </a:lnTo>
                  <a:lnTo>
                    <a:pt x="202" y="592"/>
                  </a:lnTo>
                  <a:lnTo>
                    <a:pt x="210" y="624"/>
                  </a:lnTo>
                  <a:lnTo>
                    <a:pt x="236" y="672"/>
                  </a:lnTo>
                  <a:lnTo>
                    <a:pt x="252" y="648"/>
                  </a:lnTo>
                  <a:lnTo>
                    <a:pt x="278" y="656"/>
                  </a:lnTo>
                  <a:lnTo>
                    <a:pt x="311" y="704"/>
                  </a:lnTo>
                  <a:lnTo>
                    <a:pt x="337" y="656"/>
                  </a:lnTo>
                  <a:lnTo>
                    <a:pt x="396" y="688"/>
                  </a:lnTo>
                  <a:lnTo>
                    <a:pt x="328" y="568"/>
                  </a:lnTo>
                  <a:lnTo>
                    <a:pt x="353" y="576"/>
                  </a:lnTo>
                  <a:lnTo>
                    <a:pt x="370" y="584"/>
                  </a:lnTo>
                  <a:lnTo>
                    <a:pt x="370" y="600"/>
                  </a:lnTo>
                  <a:lnTo>
                    <a:pt x="387" y="576"/>
                  </a:lnTo>
                  <a:lnTo>
                    <a:pt x="412" y="560"/>
                  </a:lnTo>
                  <a:lnTo>
                    <a:pt x="353" y="528"/>
                  </a:lnTo>
                  <a:lnTo>
                    <a:pt x="404" y="512"/>
                  </a:lnTo>
                  <a:lnTo>
                    <a:pt x="455" y="528"/>
                  </a:lnTo>
                  <a:lnTo>
                    <a:pt x="446" y="488"/>
                  </a:lnTo>
                  <a:lnTo>
                    <a:pt x="438" y="464"/>
                  </a:lnTo>
                  <a:lnTo>
                    <a:pt x="412" y="448"/>
                  </a:lnTo>
                  <a:lnTo>
                    <a:pt x="438" y="448"/>
                  </a:lnTo>
                  <a:lnTo>
                    <a:pt x="455" y="464"/>
                  </a:lnTo>
                  <a:lnTo>
                    <a:pt x="480" y="480"/>
                  </a:lnTo>
                  <a:lnTo>
                    <a:pt x="514" y="472"/>
                  </a:lnTo>
                  <a:lnTo>
                    <a:pt x="463" y="440"/>
                  </a:lnTo>
                  <a:lnTo>
                    <a:pt x="421" y="408"/>
                  </a:lnTo>
                  <a:lnTo>
                    <a:pt x="353" y="384"/>
                  </a:lnTo>
                  <a:lnTo>
                    <a:pt x="337" y="384"/>
                  </a:lnTo>
                  <a:lnTo>
                    <a:pt x="337" y="400"/>
                  </a:lnTo>
                  <a:lnTo>
                    <a:pt x="345" y="416"/>
                  </a:lnTo>
                  <a:lnTo>
                    <a:pt x="311" y="408"/>
                  </a:lnTo>
                  <a:lnTo>
                    <a:pt x="294" y="400"/>
                  </a:lnTo>
                  <a:lnTo>
                    <a:pt x="294" y="376"/>
                  </a:lnTo>
                  <a:lnTo>
                    <a:pt x="294" y="352"/>
                  </a:lnTo>
                  <a:lnTo>
                    <a:pt x="337" y="360"/>
                  </a:lnTo>
                  <a:lnTo>
                    <a:pt x="337" y="336"/>
                  </a:lnTo>
                  <a:lnTo>
                    <a:pt x="320" y="320"/>
                  </a:lnTo>
                  <a:lnTo>
                    <a:pt x="269" y="288"/>
                  </a:lnTo>
                  <a:lnTo>
                    <a:pt x="236" y="240"/>
                  </a:lnTo>
                  <a:lnTo>
                    <a:pt x="244" y="224"/>
                  </a:lnTo>
                  <a:lnTo>
                    <a:pt x="261" y="200"/>
                  </a:lnTo>
                  <a:lnTo>
                    <a:pt x="269" y="224"/>
                  </a:lnTo>
                  <a:lnTo>
                    <a:pt x="294" y="232"/>
                  </a:lnTo>
                  <a:lnTo>
                    <a:pt x="320" y="240"/>
                  </a:lnTo>
                  <a:lnTo>
                    <a:pt x="337" y="264"/>
                  </a:lnTo>
                  <a:lnTo>
                    <a:pt x="337" y="232"/>
                  </a:lnTo>
                  <a:lnTo>
                    <a:pt x="362" y="208"/>
                  </a:lnTo>
                  <a:lnTo>
                    <a:pt x="370" y="160"/>
                  </a:lnTo>
                  <a:lnTo>
                    <a:pt x="387" y="144"/>
                  </a:lnTo>
                  <a:lnTo>
                    <a:pt x="412" y="136"/>
                  </a:lnTo>
                  <a:lnTo>
                    <a:pt x="497" y="112"/>
                  </a:lnTo>
                  <a:lnTo>
                    <a:pt x="539" y="112"/>
                  </a:lnTo>
                  <a:lnTo>
                    <a:pt x="564" y="112"/>
                  </a:lnTo>
                  <a:lnTo>
                    <a:pt x="573" y="128"/>
                  </a:lnTo>
                  <a:lnTo>
                    <a:pt x="598" y="96"/>
                  </a:lnTo>
                  <a:lnTo>
                    <a:pt x="589" y="7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2" name="Freeform 71"/>
            <p:cNvSpPr>
              <a:spLocks/>
            </p:cNvSpPr>
            <p:nvPr>
              <p:custDataLst>
                <p:tags r:id="rId68"/>
              </p:custDataLst>
            </p:nvPr>
          </p:nvSpPr>
          <p:spPr bwMode="auto">
            <a:xfrm>
              <a:off x="4696" y="3480"/>
              <a:ext cx="210" cy="352"/>
            </a:xfrm>
            <a:custGeom>
              <a:avLst/>
              <a:gdLst>
                <a:gd name="T0" fmla="*/ 151 w 210"/>
                <a:gd name="T1" fmla="*/ 304 h 352"/>
                <a:gd name="T2" fmla="*/ 185 w 210"/>
                <a:gd name="T3" fmla="*/ 288 h 352"/>
                <a:gd name="T4" fmla="*/ 185 w 210"/>
                <a:gd name="T5" fmla="*/ 248 h 352"/>
                <a:gd name="T6" fmla="*/ 210 w 210"/>
                <a:gd name="T7" fmla="*/ 232 h 352"/>
                <a:gd name="T8" fmla="*/ 194 w 210"/>
                <a:gd name="T9" fmla="*/ 192 h 352"/>
                <a:gd name="T10" fmla="*/ 168 w 210"/>
                <a:gd name="T11" fmla="*/ 184 h 352"/>
                <a:gd name="T12" fmla="*/ 143 w 210"/>
                <a:gd name="T13" fmla="*/ 152 h 352"/>
                <a:gd name="T14" fmla="*/ 135 w 210"/>
                <a:gd name="T15" fmla="*/ 96 h 352"/>
                <a:gd name="T16" fmla="*/ 135 w 210"/>
                <a:gd name="T17" fmla="*/ 72 h 352"/>
                <a:gd name="T18" fmla="*/ 135 w 210"/>
                <a:gd name="T19" fmla="*/ 72 h 352"/>
                <a:gd name="T20" fmla="*/ 101 w 210"/>
                <a:gd name="T21" fmla="*/ 32 h 352"/>
                <a:gd name="T22" fmla="*/ 84 w 210"/>
                <a:gd name="T23" fmla="*/ 16 h 352"/>
                <a:gd name="T24" fmla="*/ 59 w 210"/>
                <a:gd name="T25" fmla="*/ 16 h 352"/>
                <a:gd name="T26" fmla="*/ 25 w 210"/>
                <a:gd name="T27" fmla="*/ 0 h 352"/>
                <a:gd name="T28" fmla="*/ 0 w 210"/>
                <a:gd name="T29" fmla="*/ 72 h 352"/>
                <a:gd name="T30" fmla="*/ 0 w 210"/>
                <a:gd name="T31" fmla="*/ 80 h 352"/>
                <a:gd name="T32" fmla="*/ 17 w 210"/>
                <a:gd name="T33" fmla="*/ 88 h 352"/>
                <a:gd name="T34" fmla="*/ 33 w 210"/>
                <a:gd name="T35" fmla="*/ 104 h 352"/>
                <a:gd name="T36" fmla="*/ 33 w 210"/>
                <a:gd name="T37" fmla="*/ 120 h 352"/>
                <a:gd name="T38" fmla="*/ 33 w 210"/>
                <a:gd name="T39" fmla="*/ 160 h 352"/>
                <a:gd name="T40" fmla="*/ 42 w 210"/>
                <a:gd name="T41" fmla="*/ 248 h 352"/>
                <a:gd name="T42" fmla="*/ 67 w 210"/>
                <a:gd name="T43" fmla="*/ 288 h 352"/>
                <a:gd name="T44" fmla="*/ 109 w 210"/>
                <a:gd name="T45" fmla="*/ 320 h 352"/>
                <a:gd name="T46" fmla="*/ 135 w 210"/>
                <a:gd name="T47" fmla="*/ 352 h 352"/>
                <a:gd name="T48" fmla="*/ 151 w 210"/>
                <a:gd name="T49" fmla="*/ 344 h 352"/>
                <a:gd name="T50" fmla="*/ 151 w 210"/>
                <a:gd name="T51" fmla="*/ 304 h 3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10" h="352">
                  <a:moveTo>
                    <a:pt x="151" y="304"/>
                  </a:moveTo>
                  <a:lnTo>
                    <a:pt x="185" y="288"/>
                  </a:lnTo>
                  <a:lnTo>
                    <a:pt x="185" y="248"/>
                  </a:lnTo>
                  <a:lnTo>
                    <a:pt x="210" y="232"/>
                  </a:lnTo>
                  <a:lnTo>
                    <a:pt x="194" y="192"/>
                  </a:lnTo>
                  <a:lnTo>
                    <a:pt x="168" y="184"/>
                  </a:lnTo>
                  <a:lnTo>
                    <a:pt x="143" y="152"/>
                  </a:lnTo>
                  <a:lnTo>
                    <a:pt x="135" y="96"/>
                  </a:lnTo>
                  <a:lnTo>
                    <a:pt x="135" y="72"/>
                  </a:lnTo>
                  <a:lnTo>
                    <a:pt x="101" y="32"/>
                  </a:lnTo>
                  <a:lnTo>
                    <a:pt x="84" y="16"/>
                  </a:lnTo>
                  <a:lnTo>
                    <a:pt x="59" y="16"/>
                  </a:lnTo>
                  <a:lnTo>
                    <a:pt x="25" y="0"/>
                  </a:lnTo>
                  <a:lnTo>
                    <a:pt x="0" y="72"/>
                  </a:lnTo>
                  <a:lnTo>
                    <a:pt x="0" y="80"/>
                  </a:lnTo>
                  <a:lnTo>
                    <a:pt x="17" y="88"/>
                  </a:lnTo>
                  <a:lnTo>
                    <a:pt x="33" y="104"/>
                  </a:lnTo>
                  <a:lnTo>
                    <a:pt x="33" y="120"/>
                  </a:lnTo>
                  <a:lnTo>
                    <a:pt x="33" y="160"/>
                  </a:lnTo>
                  <a:lnTo>
                    <a:pt x="42" y="248"/>
                  </a:lnTo>
                  <a:lnTo>
                    <a:pt x="67" y="288"/>
                  </a:lnTo>
                  <a:lnTo>
                    <a:pt x="109" y="320"/>
                  </a:lnTo>
                  <a:lnTo>
                    <a:pt x="135" y="352"/>
                  </a:lnTo>
                  <a:lnTo>
                    <a:pt x="151" y="344"/>
                  </a:lnTo>
                  <a:lnTo>
                    <a:pt x="151" y="304"/>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3" name="Freeform 72"/>
            <p:cNvSpPr>
              <a:spLocks/>
            </p:cNvSpPr>
            <p:nvPr>
              <p:custDataLst>
                <p:tags r:id="rId69"/>
              </p:custDataLst>
            </p:nvPr>
          </p:nvSpPr>
          <p:spPr bwMode="auto">
            <a:xfrm>
              <a:off x="4831" y="3480"/>
              <a:ext cx="606" cy="704"/>
            </a:xfrm>
            <a:custGeom>
              <a:avLst/>
              <a:gdLst>
                <a:gd name="T0" fmla="*/ 606 w 606"/>
                <a:gd name="T1" fmla="*/ 24 h 704"/>
                <a:gd name="T2" fmla="*/ 556 w 606"/>
                <a:gd name="T3" fmla="*/ 0 h 704"/>
                <a:gd name="T4" fmla="*/ 530 w 606"/>
                <a:gd name="T5" fmla="*/ 56 h 704"/>
                <a:gd name="T6" fmla="*/ 446 w 606"/>
                <a:gd name="T7" fmla="*/ 72 h 704"/>
                <a:gd name="T8" fmla="*/ 379 w 606"/>
                <a:gd name="T9" fmla="*/ 56 h 704"/>
                <a:gd name="T10" fmla="*/ 286 w 606"/>
                <a:gd name="T11" fmla="*/ 104 h 704"/>
                <a:gd name="T12" fmla="*/ 236 w 606"/>
                <a:gd name="T13" fmla="*/ 136 h 704"/>
                <a:gd name="T14" fmla="*/ 134 w 606"/>
                <a:gd name="T15" fmla="*/ 184 h 704"/>
                <a:gd name="T16" fmla="*/ 75 w 606"/>
                <a:gd name="T17" fmla="*/ 200 h 704"/>
                <a:gd name="T18" fmla="*/ 75 w 606"/>
                <a:gd name="T19" fmla="*/ 232 h 704"/>
                <a:gd name="T20" fmla="*/ 50 w 606"/>
                <a:gd name="T21" fmla="*/ 288 h 704"/>
                <a:gd name="T22" fmla="*/ 16 w 606"/>
                <a:gd name="T23" fmla="*/ 344 h 704"/>
                <a:gd name="T24" fmla="*/ 33 w 606"/>
                <a:gd name="T25" fmla="*/ 392 h 704"/>
                <a:gd name="T26" fmla="*/ 59 w 606"/>
                <a:gd name="T27" fmla="*/ 464 h 704"/>
                <a:gd name="T28" fmla="*/ 118 w 606"/>
                <a:gd name="T29" fmla="*/ 480 h 704"/>
                <a:gd name="T30" fmla="*/ 286 w 606"/>
                <a:gd name="T31" fmla="*/ 472 h 704"/>
                <a:gd name="T32" fmla="*/ 337 w 606"/>
                <a:gd name="T33" fmla="*/ 496 h 704"/>
                <a:gd name="T34" fmla="*/ 294 w 606"/>
                <a:gd name="T35" fmla="*/ 512 h 704"/>
                <a:gd name="T36" fmla="*/ 210 w 606"/>
                <a:gd name="T37" fmla="*/ 488 h 704"/>
                <a:gd name="T38" fmla="*/ 160 w 606"/>
                <a:gd name="T39" fmla="*/ 512 h 704"/>
                <a:gd name="T40" fmla="*/ 160 w 606"/>
                <a:gd name="T41" fmla="*/ 568 h 704"/>
                <a:gd name="T42" fmla="*/ 202 w 606"/>
                <a:gd name="T43" fmla="*/ 592 h 704"/>
                <a:gd name="T44" fmla="*/ 236 w 606"/>
                <a:gd name="T45" fmla="*/ 672 h 704"/>
                <a:gd name="T46" fmla="*/ 278 w 606"/>
                <a:gd name="T47" fmla="*/ 656 h 704"/>
                <a:gd name="T48" fmla="*/ 337 w 606"/>
                <a:gd name="T49" fmla="*/ 656 h 704"/>
                <a:gd name="T50" fmla="*/ 328 w 606"/>
                <a:gd name="T51" fmla="*/ 568 h 704"/>
                <a:gd name="T52" fmla="*/ 370 w 606"/>
                <a:gd name="T53" fmla="*/ 584 h 704"/>
                <a:gd name="T54" fmla="*/ 387 w 606"/>
                <a:gd name="T55" fmla="*/ 576 h 704"/>
                <a:gd name="T56" fmla="*/ 353 w 606"/>
                <a:gd name="T57" fmla="*/ 528 h 704"/>
                <a:gd name="T58" fmla="*/ 455 w 606"/>
                <a:gd name="T59" fmla="*/ 528 h 704"/>
                <a:gd name="T60" fmla="*/ 438 w 606"/>
                <a:gd name="T61" fmla="*/ 464 h 704"/>
                <a:gd name="T62" fmla="*/ 438 w 606"/>
                <a:gd name="T63" fmla="*/ 448 h 704"/>
                <a:gd name="T64" fmla="*/ 480 w 606"/>
                <a:gd name="T65" fmla="*/ 480 h 704"/>
                <a:gd name="T66" fmla="*/ 463 w 606"/>
                <a:gd name="T67" fmla="*/ 440 h 704"/>
                <a:gd name="T68" fmla="*/ 353 w 606"/>
                <a:gd name="T69" fmla="*/ 384 h 704"/>
                <a:gd name="T70" fmla="*/ 337 w 606"/>
                <a:gd name="T71" fmla="*/ 400 h 704"/>
                <a:gd name="T72" fmla="*/ 311 w 606"/>
                <a:gd name="T73" fmla="*/ 408 h 704"/>
                <a:gd name="T74" fmla="*/ 294 w 606"/>
                <a:gd name="T75" fmla="*/ 376 h 704"/>
                <a:gd name="T76" fmla="*/ 337 w 606"/>
                <a:gd name="T77" fmla="*/ 360 h 704"/>
                <a:gd name="T78" fmla="*/ 320 w 606"/>
                <a:gd name="T79" fmla="*/ 320 h 704"/>
                <a:gd name="T80" fmla="*/ 236 w 606"/>
                <a:gd name="T81" fmla="*/ 240 h 704"/>
                <a:gd name="T82" fmla="*/ 261 w 606"/>
                <a:gd name="T83" fmla="*/ 200 h 704"/>
                <a:gd name="T84" fmla="*/ 294 w 606"/>
                <a:gd name="T85" fmla="*/ 232 h 704"/>
                <a:gd name="T86" fmla="*/ 337 w 606"/>
                <a:gd name="T87" fmla="*/ 264 h 704"/>
                <a:gd name="T88" fmla="*/ 362 w 606"/>
                <a:gd name="T89" fmla="*/ 208 h 704"/>
                <a:gd name="T90" fmla="*/ 387 w 606"/>
                <a:gd name="T91" fmla="*/ 144 h 704"/>
                <a:gd name="T92" fmla="*/ 497 w 606"/>
                <a:gd name="T93" fmla="*/ 112 h 704"/>
                <a:gd name="T94" fmla="*/ 564 w 606"/>
                <a:gd name="T95" fmla="*/ 112 h 704"/>
                <a:gd name="T96" fmla="*/ 598 w 606"/>
                <a:gd name="T97" fmla="*/ 96 h 7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06" h="704">
                  <a:moveTo>
                    <a:pt x="589" y="72"/>
                  </a:moveTo>
                  <a:lnTo>
                    <a:pt x="606" y="24"/>
                  </a:lnTo>
                  <a:lnTo>
                    <a:pt x="581" y="0"/>
                  </a:lnTo>
                  <a:lnTo>
                    <a:pt x="556" y="0"/>
                  </a:lnTo>
                  <a:lnTo>
                    <a:pt x="564" y="40"/>
                  </a:lnTo>
                  <a:lnTo>
                    <a:pt x="530" y="56"/>
                  </a:lnTo>
                  <a:lnTo>
                    <a:pt x="471" y="72"/>
                  </a:lnTo>
                  <a:lnTo>
                    <a:pt x="446" y="72"/>
                  </a:lnTo>
                  <a:lnTo>
                    <a:pt x="412" y="72"/>
                  </a:lnTo>
                  <a:lnTo>
                    <a:pt x="379" y="56"/>
                  </a:lnTo>
                  <a:lnTo>
                    <a:pt x="328" y="88"/>
                  </a:lnTo>
                  <a:lnTo>
                    <a:pt x="286" y="104"/>
                  </a:lnTo>
                  <a:lnTo>
                    <a:pt x="244" y="104"/>
                  </a:lnTo>
                  <a:lnTo>
                    <a:pt x="236" y="136"/>
                  </a:lnTo>
                  <a:lnTo>
                    <a:pt x="168" y="144"/>
                  </a:lnTo>
                  <a:lnTo>
                    <a:pt x="134" y="184"/>
                  </a:lnTo>
                  <a:lnTo>
                    <a:pt x="109" y="184"/>
                  </a:lnTo>
                  <a:lnTo>
                    <a:pt x="75" y="200"/>
                  </a:lnTo>
                  <a:lnTo>
                    <a:pt x="67" y="200"/>
                  </a:lnTo>
                  <a:lnTo>
                    <a:pt x="75" y="232"/>
                  </a:lnTo>
                  <a:lnTo>
                    <a:pt x="50" y="248"/>
                  </a:lnTo>
                  <a:lnTo>
                    <a:pt x="50" y="288"/>
                  </a:lnTo>
                  <a:lnTo>
                    <a:pt x="16" y="304"/>
                  </a:lnTo>
                  <a:lnTo>
                    <a:pt x="16" y="344"/>
                  </a:lnTo>
                  <a:lnTo>
                    <a:pt x="0" y="352"/>
                  </a:lnTo>
                  <a:lnTo>
                    <a:pt x="33" y="392"/>
                  </a:lnTo>
                  <a:lnTo>
                    <a:pt x="75" y="424"/>
                  </a:lnTo>
                  <a:lnTo>
                    <a:pt x="59" y="464"/>
                  </a:lnTo>
                  <a:lnTo>
                    <a:pt x="92" y="464"/>
                  </a:lnTo>
                  <a:lnTo>
                    <a:pt x="118" y="480"/>
                  </a:lnTo>
                  <a:lnTo>
                    <a:pt x="202" y="480"/>
                  </a:lnTo>
                  <a:lnTo>
                    <a:pt x="286" y="472"/>
                  </a:lnTo>
                  <a:lnTo>
                    <a:pt x="362" y="480"/>
                  </a:lnTo>
                  <a:lnTo>
                    <a:pt x="337" y="496"/>
                  </a:lnTo>
                  <a:lnTo>
                    <a:pt x="328" y="512"/>
                  </a:lnTo>
                  <a:lnTo>
                    <a:pt x="294" y="512"/>
                  </a:lnTo>
                  <a:lnTo>
                    <a:pt x="261" y="504"/>
                  </a:lnTo>
                  <a:lnTo>
                    <a:pt x="210" y="488"/>
                  </a:lnTo>
                  <a:lnTo>
                    <a:pt x="185" y="504"/>
                  </a:lnTo>
                  <a:lnTo>
                    <a:pt x="160" y="512"/>
                  </a:lnTo>
                  <a:lnTo>
                    <a:pt x="134" y="552"/>
                  </a:lnTo>
                  <a:lnTo>
                    <a:pt x="160" y="568"/>
                  </a:lnTo>
                  <a:lnTo>
                    <a:pt x="185" y="584"/>
                  </a:lnTo>
                  <a:lnTo>
                    <a:pt x="202" y="592"/>
                  </a:lnTo>
                  <a:lnTo>
                    <a:pt x="210" y="624"/>
                  </a:lnTo>
                  <a:lnTo>
                    <a:pt x="236" y="672"/>
                  </a:lnTo>
                  <a:lnTo>
                    <a:pt x="252" y="648"/>
                  </a:lnTo>
                  <a:lnTo>
                    <a:pt x="278" y="656"/>
                  </a:lnTo>
                  <a:lnTo>
                    <a:pt x="311" y="704"/>
                  </a:lnTo>
                  <a:lnTo>
                    <a:pt x="337" y="656"/>
                  </a:lnTo>
                  <a:lnTo>
                    <a:pt x="396" y="688"/>
                  </a:lnTo>
                  <a:lnTo>
                    <a:pt x="328" y="568"/>
                  </a:lnTo>
                  <a:lnTo>
                    <a:pt x="353" y="576"/>
                  </a:lnTo>
                  <a:lnTo>
                    <a:pt x="370" y="584"/>
                  </a:lnTo>
                  <a:lnTo>
                    <a:pt x="370" y="600"/>
                  </a:lnTo>
                  <a:lnTo>
                    <a:pt x="387" y="576"/>
                  </a:lnTo>
                  <a:lnTo>
                    <a:pt x="412" y="560"/>
                  </a:lnTo>
                  <a:lnTo>
                    <a:pt x="353" y="528"/>
                  </a:lnTo>
                  <a:lnTo>
                    <a:pt x="404" y="512"/>
                  </a:lnTo>
                  <a:lnTo>
                    <a:pt x="455" y="528"/>
                  </a:lnTo>
                  <a:lnTo>
                    <a:pt x="446" y="488"/>
                  </a:lnTo>
                  <a:lnTo>
                    <a:pt x="438" y="464"/>
                  </a:lnTo>
                  <a:lnTo>
                    <a:pt x="412" y="448"/>
                  </a:lnTo>
                  <a:lnTo>
                    <a:pt x="438" y="448"/>
                  </a:lnTo>
                  <a:lnTo>
                    <a:pt x="455" y="464"/>
                  </a:lnTo>
                  <a:lnTo>
                    <a:pt x="480" y="480"/>
                  </a:lnTo>
                  <a:lnTo>
                    <a:pt x="514" y="472"/>
                  </a:lnTo>
                  <a:lnTo>
                    <a:pt x="463" y="440"/>
                  </a:lnTo>
                  <a:lnTo>
                    <a:pt x="421" y="408"/>
                  </a:lnTo>
                  <a:lnTo>
                    <a:pt x="353" y="384"/>
                  </a:lnTo>
                  <a:lnTo>
                    <a:pt x="337" y="384"/>
                  </a:lnTo>
                  <a:lnTo>
                    <a:pt x="337" y="400"/>
                  </a:lnTo>
                  <a:lnTo>
                    <a:pt x="345" y="416"/>
                  </a:lnTo>
                  <a:lnTo>
                    <a:pt x="311" y="408"/>
                  </a:lnTo>
                  <a:lnTo>
                    <a:pt x="294" y="400"/>
                  </a:lnTo>
                  <a:lnTo>
                    <a:pt x="294" y="376"/>
                  </a:lnTo>
                  <a:lnTo>
                    <a:pt x="294" y="352"/>
                  </a:lnTo>
                  <a:lnTo>
                    <a:pt x="337" y="360"/>
                  </a:lnTo>
                  <a:lnTo>
                    <a:pt x="337" y="336"/>
                  </a:lnTo>
                  <a:lnTo>
                    <a:pt x="320" y="320"/>
                  </a:lnTo>
                  <a:lnTo>
                    <a:pt x="269" y="288"/>
                  </a:lnTo>
                  <a:lnTo>
                    <a:pt x="236" y="240"/>
                  </a:lnTo>
                  <a:lnTo>
                    <a:pt x="244" y="224"/>
                  </a:lnTo>
                  <a:lnTo>
                    <a:pt x="261" y="200"/>
                  </a:lnTo>
                  <a:lnTo>
                    <a:pt x="269" y="224"/>
                  </a:lnTo>
                  <a:lnTo>
                    <a:pt x="294" y="232"/>
                  </a:lnTo>
                  <a:lnTo>
                    <a:pt x="320" y="240"/>
                  </a:lnTo>
                  <a:lnTo>
                    <a:pt x="337" y="264"/>
                  </a:lnTo>
                  <a:lnTo>
                    <a:pt x="337" y="232"/>
                  </a:lnTo>
                  <a:lnTo>
                    <a:pt x="362" y="208"/>
                  </a:lnTo>
                  <a:lnTo>
                    <a:pt x="370" y="160"/>
                  </a:lnTo>
                  <a:lnTo>
                    <a:pt x="387" y="144"/>
                  </a:lnTo>
                  <a:lnTo>
                    <a:pt x="412" y="136"/>
                  </a:lnTo>
                  <a:lnTo>
                    <a:pt x="497" y="112"/>
                  </a:lnTo>
                  <a:lnTo>
                    <a:pt x="539" y="112"/>
                  </a:lnTo>
                  <a:lnTo>
                    <a:pt x="564" y="112"/>
                  </a:lnTo>
                  <a:lnTo>
                    <a:pt x="573" y="128"/>
                  </a:lnTo>
                  <a:lnTo>
                    <a:pt x="598" y="96"/>
                  </a:lnTo>
                  <a:lnTo>
                    <a:pt x="589" y="72"/>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4" name="Freeform 73"/>
            <p:cNvSpPr>
              <a:spLocks/>
            </p:cNvSpPr>
            <p:nvPr>
              <p:custDataLst>
                <p:tags r:id="rId70"/>
              </p:custDataLst>
            </p:nvPr>
          </p:nvSpPr>
          <p:spPr bwMode="auto">
            <a:xfrm>
              <a:off x="4831" y="3488"/>
              <a:ext cx="244" cy="192"/>
            </a:xfrm>
            <a:custGeom>
              <a:avLst/>
              <a:gdLst>
                <a:gd name="T0" fmla="*/ 227 w 244"/>
                <a:gd name="T1" fmla="*/ 32 h 192"/>
                <a:gd name="T2" fmla="*/ 185 w 244"/>
                <a:gd name="T3" fmla="*/ 16 h 192"/>
                <a:gd name="T4" fmla="*/ 177 w 244"/>
                <a:gd name="T5" fmla="*/ 0 h 192"/>
                <a:gd name="T6" fmla="*/ 134 w 244"/>
                <a:gd name="T7" fmla="*/ 0 h 192"/>
                <a:gd name="T8" fmla="*/ 75 w 244"/>
                <a:gd name="T9" fmla="*/ 24 h 192"/>
                <a:gd name="T10" fmla="*/ 50 w 244"/>
                <a:gd name="T11" fmla="*/ 32 h 192"/>
                <a:gd name="T12" fmla="*/ 25 w 244"/>
                <a:gd name="T13" fmla="*/ 40 h 192"/>
                <a:gd name="T14" fmla="*/ 16 w 244"/>
                <a:gd name="T15" fmla="*/ 72 h 192"/>
                <a:gd name="T16" fmla="*/ 0 w 244"/>
                <a:gd name="T17" fmla="*/ 64 h 192"/>
                <a:gd name="T18" fmla="*/ 0 w 244"/>
                <a:gd name="T19" fmla="*/ 88 h 192"/>
                <a:gd name="T20" fmla="*/ 8 w 244"/>
                <a:gd name="T21" fmla="*/ 144 h 192"/>
                <a:gd name="T22" fmla="*/ 33 w 244"/>
                <a:gd name="T23" fmla="*/ 176 h 192"/>
                <a:gd name="T24" fmla="*/ 59 w 244"/>
                <a:gd name="T25" fmla="*/ 184 h 192"/>
                <a:gd name="T26" fmla="*/ 67 w 244"/>
                <a:gd name="T27" fmla="*/ 192 h 192"/>
                <a:gd name="T28" fmla="*/ 75 w 244"/>
                <a:gd name="T29" fmla="*/ 192 h 192"/>
                <a:gd name="T30" fmla="*/ 109 w 244"/>
                <a:gd name="T31" fmla="*/ 176 h 192"/>
                <a:gd name="T32" fmla="*/ 134 w 244"/>
                <a:gd name="T33" fmla="*/ 176 h 192"/>
                <a:gd name="T34" fmla="*/ 168 w 244"/>
                <a:gd name="T35" fmla="*/ 136 h 192"/>
                <a:gd name="T36" fmla="*/ 236 w 244"/>
                <a:gd name="T37" fmla="*/ 128 h 192"/>
                <a:gd name="T38" fmla="*/ 244 w 244"/>
                <a:gd name="T39" fmla="*/ 104 h 192"/>
                <a:gd name="T40" fmla="*/ 244 w 244"/>
                <a:gd name="T41" fmla="*/ 64 h 192"/>
                <a:gd name="T42" fmla="*/ 227 w 244"/>
                <a:gd name="T43" fmla="*/ 32 h 19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44" h="192">
                  <a:moveTo>
                    <a:pt x="227" y="32"/>
                  </a:moveTo>
                  <a:lnTo>
                    <a:pt x="185" y="16"/>
                  </a:lnTo>
                  <a:lnTo>
                    <a:pt x="177" y="0"/>
                  </a:lnTo>
                  <a:lnTo>
                    <a:pt x="134" y="0"/>
                  </a:lnTo>
                  <a:lnTo>
                    <a:pt x="75" y="24"/>
                  </a:lnTo>
                  <a:lnTo>
                    <a:pt x="50" y="32"/>
                  </a:lnTo>
                  <a:lnTo>
                    <a:pt x="25" y="40"/>
                  </a:lnTo>
                  <a:lnTo>
                    <a:pt x="16" y="72"/>
                  </a:lnTo>
                  <a:lnTo>
                    <a:pt x="0" y="64"/>
                  </a:lnTo>
                  <a:lnTo>
                    <a:pt x="0" y="88"/>
                  </a:lnTo>
                  <a:lnTo>
                    <a:pt x="8" y="144"/>
                  </a:lnTo>
                  <a:lnTo>
                    <a:pt x="33" y="176"/>
                  </a:lnTo>
                  <a:lnTo>
                    <a:pt x="59" y="184"/>
                  </a:lnTo>
                  <a:lnTo>
                    <a:pt x="67" y="192"/>
                  </a:lnTo>
                  <a:lnTo>
                    <a:pt x="75" y="192"/>
                  </a:lnTo>
                  <a:lnTo>
                    <a:pt x="109" y="176"/>
                  </a:lnTo>
                  <a:lnTo>
                    <a:pt x="134" y="176"/>
                  </a:lnTo>
                  <a:lnTo>
                    <a:pt x="168" y="136"/>
                  </a:lnTo>
                  <a:lnTo>
                    <a:pt x="236" y="128"/>
                  </a:lnTo>
                  <a:lnTo>
                    <a:pt x="244" y="104"/>
                  </a:lnTo>
                  <a:lnTo>
                    <a:pt x="244" y="64"/>
                  </a:lnTo>
                  <a:lnTo>
                    <a:pt x="227" y="3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5" name="Freeform 74"/>
            <p:cNvSpPr>
              <a:spLocks/>
            </p:cNvSpPr>
            <p:nvPr>
              <p:custDataLst>
                <p:tags r:id="rId71"/>
              </p:custDataLst>
            </p:nvPr>
          </p:nvSpPr>
          <p:spPr bwMode="auto">
            <a:xfrm>
              <a:off x="4965" y="3184"/>
              <a:ext cx="590" cy="408"/>
            </a:xfrm>
            <a:custGeom>
              <a:avLst/>
              <a:gdLst>
                <a:gd name="T0" fmla="*/ 455 w 590"/>
                <a:gd name="T1" fmla="*/ 256 h 408"/>
                <a:gd name="T2" fmla="*/ 489 w 590"/>
                <a:gd name="T3" fmla="*/ 248 h 408"/>
                <a:gd name="T4" fmla="*/ 514 w 590"/>
                <a:gd name="T5" fmla="*/ 232 h 408"/>
                <a:gd name="T6" fmla="*/ 565 w 590"/>
                <a:gd name="T7" fmla="*/ 240 h 408"/>
                <a:gd name="T8" fmla="*/ 590 w 590"/>
                <a:gd name="T9" fmla="*/ 232 h 408"/>
                <a:gd name="T10" fmla="*/ 565 w 590"/>
                <a:gd name="T11" fmla="*/ 200 h 408"/>
                <a:gd name="T12" fmla="*/ 523 w 590"/>
                <a:gd name="T13" fmla="*/ 176 h 408"/>
                <a:gd name="T14" fmla="*/ 548 w 590"/>
                <a:gd name="T15" fmla="*/ 144 h 408"/>
                <a:gd name="T16" fmla="*/ 548 w 590"/>
                <a:gd name="T17" fmla="*/ 104 h 408"/>
                <a:gd name="T18" fmla="*/ 548 w 590"/>
                <a:gd name="T19" fmla="*/ 72 h 408"/>
                <a:gd name="T20" fmla="*/ 573 w 590"/>
                <a:gd name="T21" fmla="*/ 64 h 408"/>
                <a:gd name="T22" fmla="*/ 582 w 590"/>
                <a:gd name="T23" fmla="*/ 48 h 408"/>
                <a:gd name="T24" fmla="*/ 582 w 590"/>
                <a:gd name="T25" fmla="*/ 32 h 408"/>
                <a:gd name="T26" fmla="*/ 582 w 590"/>
                <a:gd name="T27" fmla="*/ 16 h 408"/>
                <a:gd name="T28" fmla="*/ 531 w 590"/>
                <a:gd name="T29" fmla="*/ 16 h 408"/>
                <a:gd name="T30" fmla="*/ 523 w 590"/>
                <a:gd name="T31" fmla="*/ 0 h 408"/>
                <a:gd name="T32" fmla="*/ 481 w 590"/>
                <a:gd name="T33" fmla="*/ 8 h 408"/>
                <a:gd name="T34" fmla="*/ 455 w 590"/>
                <a:gd name="T35" fmla="*/ 0 h 408"/>
                <a:gd name="T36" fmla="*/ 413 w 590"/>
                <a:gd name="T37" fmla="*/ 8 h 408"/>
                <a:gd name="T38" fmla="*/ 363 w 590"/>
                <a:gd name="T39" fmla="*/ 24 h 408"/>
                <a:gd name="T40" fmla="*/ 321 w 590"/>
                <a:gd name="T41" fmla="*/ 80 h 408"/>
                <a:gd name="T42" fmla="*/ 270 w 590"/>
                <a:gd name="T43" fmla="*/ 88 h 408"/>
                <a:gd name="T44" fmla="*/ 219 w 590"/>
                <a:gd name="T45" fmla="*/ 88 h 408"/>
                <a:gd name="T46" fmla="*/ 194 w 590"/>
                <a:gd name="T47" fmla="*/ 88 h 408"/>
                <a:gd name="T48" fmla="*/ 169 w 590"/>
                <a:gd name="T49" fmla="*/ 112 h 408"/>
                <a:gd name="T50" fmla="*/ 76 w 590"/>
                <a:gd name="T51" fmla="*/ 112 h 408"/>
                <a:gd name="T52" fmla="*/ 43 w 590"/>
                <a:gd name="T53" fmla="*/ 104 h 408"/>
                <a:gd name="T54" fmla="*/ 43 w 590"/>
                <a:gd name="T55" fmla="*/ 80 h 408"/>
                <a:gd name="T56" fmla="*/ 9 w 590"/>
                <a:gd name="T57" fmla="*/ 64 h 408"/>
                <a:gd name="T58" fmla="*/ 0 w 590"/>
                <a:gd name="T59" fmla="*/ 88 h 408"/>
                <a:gd name="T60" fmla="*/ 9 w 590"/>
                <a:gd name="T61" fmla="*/ 120 h 408"/>
                <a:gd name="T62" fmla="*/ 26 w 590"/>
                <a:gd name="T63" fmla="*/ 152 h 408"/>
                <a:gd name="T64" fmla="*/ 68 w 590"/>
                <a:gd name="T65" fmla="*/ 184 h 408"/>
                <a:gd name="T66" fmla="*/ 51 w 590"/>
                <a:gd name="T67" fmla="*/ 224 h 408"/>
                <a:gd name="T68" fmla="*/ 34 w 590"/>
                <a:gd name="T69" fmla="*/ 232 h 408"/>
                <a:gd name="T70" fmla="*/ 34 w 590"/>
                <a:gd name="T71" fmla="*/ 264 h 408"/>
                <a:gd name="T72" fmla="*/ 51 w 590"/>
                <a:gd name="T73" fmla="*/ 272 h 408"/>
                <a:gd name="T74" fmla="*/ 43 w 590"/>
                <a:gd name="T75" fmla="*/ 304 h 408"/>
                <a:gd name="T76" fmla="*/ 51 w 590"/>
                <a:gd name="T77" fmla="*/ 320 h 408"/>
                <a:gd name="T78" fmla="*/ 93 w 590"/>
                <a:gd name="T79" fmla="*/ 336 h 408"/>
                <a:gd name="T80" fmla="*/ 110 w 590"/>
                <a:gd name="T81" fmla="*/ 368 h 408"/>
                <a:gd name="T82" fmla="*/ 110 w 590"/>
                <a:gd name="T83" fmla="*/ 408 h 408"/>
                <a:gd name="T84" fmla="*/ 110 w 590"/>
                <a:gd name="T85" fmla="*/ 400 h 408"/>
                <a:gd name="T86" fmla="*/ 152 w 590"/>
                <a:gd name="T87" fmla="*/ 400 h 408"/>
                <a:gd name="T88" fmla="*/ 194 w 590"/>
                <a:gd name="T89" fmla="*/ 384 h 408"/>
                <a:gd name="T90" fmla="*/ 245 w 590"/>
                <a:gd name="T91" fmla="*/ 352 h 408"/>
                <a:gd name="T92" fmla="*/ 278 w 590"/>
                <a:gd name="T93" fmla="*/ 368 h 408"/>
                <a:gd name="T94" fmla="*/ 312 w 590"/>
                <a:gd name="T95" fmla="*/ 368 h 408"/>
                <a:gd name="T96" fmla="*/ 337 w 590"/>
                <a:gd name="T97" fmla="*/ 368 h 408"/>
                <a:gd name="T98" fmla="*/ 396 w 590"/>
                <a:gd name="T99" fmla="*/ 352 h 408"/>
                <a:gd name="T100" fmla="*/ 430 w 590"/>
                <a:gd name="T101" fmla="*/ 336 h 408"/>
                <a:gd name="T102" fmla="*/ 422 w 590"/>
                <a:gd name="T103" fmla="*/ 296 h 408"/>
                <a:gd name="T104" fmla="*/ 447 w 590"/>
                <a:gd name="T105" fmla="*/ 296 h 408"/>
                <a:gd name="T106" fmla="*/ 455 w 590"/>
                <a:gd name="T107" fmla="*/ 280 h 408"/>
                <a:gd name="T108" fmla="*/ 455 w 590"/>
                <a:gd name="T109" fmla="*/ 256 h 40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90" h="408">
                  <a:moveTo>
                    <a:pt x="455" y="256"/>
                  </a:moveTo>
                  <a:lnTo>
                    <a:pt x="489" y="248"/>
                  </a:lnTo>
                  <a:lnTo>
                    <a:pt x="514" y="232"/>
                  </a:lnTo>
                  <a:lnTo>
                    <a:pt x="565" y="240"/>
                  </a:lnTo>
                  <a:lnTo>
                    <a:pt x="590" y="232"/>
                  </a:lnTo>
                  <a:lnTo>
                    <a:pt x="565" y="200"/>
                  </a:lnTo>
                  <a:lnTo>
                    <a:pt x="523" y="176"/>
                  </a:lnTo>
                  <a:lnTo>
                    <a:pt x="548" y="144"/>
                  </a:lnTo>
                  <a:lnTo>
                    <a:pt x="548" y="104"/>
                  </a:lnTo>
                  <a:lnTo>
                    <a:pt x="548" y="72"/>
                  </a:lnTo>
                  <a:lnTo>
                    <a:pt x="573" y="64"/>
                  </a:lnTo>
                  <a:lnTo>
                    <a:pt x="582" y="48"/>
                  </a:lnTo>
                  <a:lnTo>
                    <a:pt x="582" y="32"/>
                  </a:lnTo>
                  <a:lnTo>
                    <a:pt x="582" y="16"/>
                  </a:lnTo>
                  <a:lnTo>
                    <a:pt x="531" y="16"/>
                  </a:lnTo>
                  <a:lnTo>
                    <a:pt x="523" y="0"/>
                  </a:lnTo>
                  <a:lnTo>
                    <a:pt x="481" y="8"/>
                  </a:lnTo>
                  <a:lnTo>
                    <a:pt x="455" y="0"/>
                  </a:lnTo>
                  <a:lnTo>
                    <a:pt x="413" y="8"/>
                  </a:lnTo>
                  <a:lnTo>
                    <a:pt x="363" y="24"/>
                  </a:lnTo>
                  <a:lnTo>
                    <a:pt x="321" y="80"/>
                  </a:lnTo>
                  <a:lnTo>
                    <a:pt x="270" y="88"/>
                  </a:lnTo>
                  <a:lnTo>
                    <a:pt x="219" y="88"/>
                  </a:lnTo>
                  <a:lnTo>
                    <a:pt x="194" y="88"/>
                  </a:lnTo>
                  <a:lnTo>
                    <a:pt x="169" y="112"/>
                  </a:lnTo>
                  <a:lnTo>
                    <a:pt x="76" y="112"/>
                  </a:lnTo>
                  <a:lnTo>
                    <a:pt x="43" y="104"/>
                  </a:lnTo>
                  <a:lnTo>
                    <a:pt x="43" y="80"/>
                  </a:lnTo>
                  <a:lnTo>
                    <a:pt x="9" y="64"/>
                  </a:lnTo>
                  <a:lnTo>
                    <a:pt x="0" y="88"/>
                  </a:lnTo>
                  <a:lnTo>
                    <a:pt x="9" y="120"/>
                  </a:lnTo>
                  <a:lnTo>
                    <a:pt x="26" y="152"/>
                  </a:lnTo>
                  <a:lnTo>
                    <a:pt x="68" y="184"/>
                  </a:lnTo>
                  <a:lnTo>
                    <a:pt x="51" y="224"/>
                  </a:lnTo>
                  <a:lnTo>
                    <a:pt x="34" y="232"/>
                  </a:lnTo>
                  <a:lnTo>
                    <a:pt x="34" y="264"/>
                  </a:lnTo>
                  <a:lnTo>
                    <a:pt x="51" y="272"/>
                  </a:lnTo>
                  <a:lnTo>
                    <a:pt x="43" y="304"/>
                  </a:lnTo>
                  <a:lnTo>
                    <a:pt x="51" y="320"/>
                  </a:lnTo>
                  <a:lnTo>
                    <a:pt x="93" y="336"/>
                  </a:lnTo>
                  <a:lnTo>
                    <a:pt x="110" y="368"/>
                  </a:lnTo>
                  <a:lnTo>
                    <a:pt x="110" y="408"/>
                  </a:lnTo>
                  <a:lnTo>
                    <a:pt x="110" y="400"/>
                  </a:lnTo>
                  <a:lnTo>
                    <a:pt x="152" y="400"/>
                  </a:lnTo>
                  <a:lnTo>
                    <a:pt x="194" y="384"/>
                  </a:lnTo>
                  <a:lnTo>
                    <a:pt x="245" y="352"/>
                  </a:lnTo>
                  <a:lnTo>
                    <a:pt x="278" y="368"/>
                  </a:lnTo>
                  <a:lnTo>
                    <a:pt x="312" y="368"/>
                  </a:lnTo>
                  <a:lnTo>
                    <a:pt x="337" y="368"/>
                  </a:lnTo>
                  <a:lnTo>
                    <a:pt x="396" y="352"/>
                  </a:lnTo>
                  <a:lnTo>
                    <a:pt x="430" y="336"/>
                  </a:lnTo>
                  <a:lnTo>
                    <a:pt x="422" y="296"/>
                  </a:lnTo>
                  <a:lnTo>
                    <a:pt x="447" y="296"/>
                  </a:lnTo>
                  <a:lnTo>
                    <a:pt x="455" y="280"/>
                  </a:lnTo>
                  <a:lnTo>
                    <a:pt x="455" y="256"/>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6" name="Freeform 75"/>
            <p:cNvSpPr>
              <a:spLocks/>
            </p:cNvSpPr>
            <p:nvPr>
              <p:custDataLst>
                <p:tags r:id="rId72"/>
              </p:custDataLst>
            </p:nvPr>
          </p:nvSpPr>
          <p:spPr bwMode="auto">
            <a:xfrm>
              <a:off x="4831" y="3488"/>
              <a:ext cx="244" cy="192"/>
            </a:xfrm>
            <a:custGeom>
              <a:avLst/>
              <a:gdLst>
                <a:gd name="T0" fmla="*/ 227 w 244"/>
                <a:gd name="T1" fmla="*/ 32 h 192"/>
                <a:gd name="T2" fmla="*/ 185 w 244"/>
                <a:gd name="T3" fmla="*/ 16 h 192"/>
                <a:gd name="T4" fmla="*/ 177 w 244"/>
                <a:gd name="T5" fmla="*/ 0 h 192"/>
                <a:gd name="T6" fmla="*/ 177 w 244"/>
                <a:gd name="T7" fmla="*/ 0 h 192"/>
                <a:gd name="T8" fmla="*/ 134 w 244"/>
                <a:gd name="T9" fmla="*/ 0 h 192"/>
                <a:gd name="T10" fmla="*/ 75 w 244"/>
                <a:gd name="T11" fmla="*/ 24 h 192"/>
                <a:gd name="T12" fmla="*/ 50 w 244"/>
                <a:gd name="T13" fmla="*/ 32 h 192"/>
                <a:gd name="T14" fmla="*/ 25 w 244"/>
                <a:gd name="T15" fmla="*/ 40 h 192"/>
                <a:gd name="T16" fmla="*/ 16 w 244"/>
                <a:gd name="T17" fmla="*/ 72 h 192"/>
                <a:gd name="T18" fmla="*/ 0 w 244"/>
                <a:gd name="T19" fmla="*/ 64 h 192"/>
                <a:gd name="T20" fmla="*/ 0 w 244"/>
                <a:gd name="T21" fmla="*/ 88 h 192"/>
                <a:gd name="T22" fmla="*/ 8 w 244"/>
                <a:gd name="T23" fmla="*/ 144 h 192"/>
                <a:gd name="T24" fmla="*/ 33 w 244"/>
                <a:gd name="T25" fmla="*/ 176 h 192"/>
                <a:gd name="T26" fmla="*/ 59 w 244"/>
                <a:gd name="T27" fmla="*/ 184 h 192"/>
                <a:gd name="T28" fmla="*/ 67 w 244"/>
                <a:gd name="T29" fmla="*/ 192 h 192"/>
                <a:gd name="T30" fmla="*/ 75 w 244"/>
                <a:gd name="T31" fmla="*/ 192 h 192"/>
                <a:gd name="T32" fmla="*/ 109 w 244"/>
                <a:gd name="T33" fmla="*/ 176 h 192"/>
                <a:gd name="T34" fmla="*/ 134 w 244"/>
                <a:gd name="T35" fmla="*/ 176 h 192"/>
                <a:gd name="T36" fmla="*/ 168 w 244"/>
                <a:gd name="T37" fmla="*/ 136 h 192"/>
                <a:gd name="T38" fmla="*/ 236 w 244"/>
                <a:gd name="T39" fmla="*/ 128 h 192"/>
                <a:gd name="T40" fmla="*/ 244 w 244"/>
                <a:gd name="T41" fmla="*/ 104 h 192"/>
                <a:gd name="T42" fmla="*/ 244 w 244"/>
                <a:gd name="T43" fmla="*/ 64 h 192"/>
                <a:gd name="T44" fmla="*/ 227 w 244"/>
                <a:gd name="T45" fmla="*/ 32 h 1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44" h="192">
                  <a:moveTo>
                    <a:pt x="227" y="32"/>
                  </a:moveTo>
                  <a:lnTo>
                    <a:pt x="185" y="16"/>
                  </a:lnTo>
                  <a:lnTo>
                    <a:pt x="177" y="0"/>
                  </a:lnTo>
                  <a:lnTo>
                    <a:pt x="134" y="0"/>
                  </a:lnTo>
                  <a:lnTo>
                    <a:pt x="75" y="24"/>
                  </a:lnTo>
                  <a:lnTo>
                    <a:pt x="50" y="32"/>
                  </a:lnTo>
                  <a:lnTo>
                    <a:pt x="25" y="40"/>
                  </a:lnTo>
                  <a:lnTo>
                    <a:pt x="16" y="72"/>
                  </a:lnTo>
                  <a:lnTo>
                    <a:pt x="0" y="64"/>
                  </a:lnTo>
                  <a:lnTo>
                    <a:pt x="0" y="88"/>
                  </a:lnTo>
                  <a:lnTo>
                    <a:pt x="8" y="144"/>
                  </a:lnTo>
                  <a:lnTo>
                    <a:pt x="33" y="176"/>
                  </a:lnTo>
                  <a:lnTo>
                    <a:pt x="59" y="184"/>
                  </a:lnTo>
                  <a:lnTo>
                    <a:pt x="67" y="192"/>
                  </a:lnTo>
                  <a:lnTo>
                    <a:pt x="75" y="192"/>
                  </a:lnTo>
                  <a:lnTo>
                    <a:pt x="109" y="176"/>
                  </a:lnTo>
                  <a:lnTo>
                    <a:pt x="134" y="176"/>
                  </a:lnTo>
                  <a:lnTo>
                    <a:pt x="168" y="136"/>
                  </a:lnTo>
                  <a:lnTo>
                    <a:pt x="236" y="128"/>
                  </a:lnTo>
                  <a:lnTo>
                    <a:pt x="244" y="104"/>
                  </a:lnTo>
                  <a:lnTo>
                    <a:pt x="244" y="64"/>
                  </a:lnTo>
                  <a:lnTo>
                    <a:pt x="227" y="32"/>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7" name="Freeform 76"/>
            <p:cNvSpPr>
              <a:spLocks/>
            </p:cNvSpPr>
            <p:nvPr>
              <p:custDataLst>
                <p:tags r:id="rId73"/>
              </p:custDataLst>
            </p:nvPr>
          </p:nvSpPr>
          <p:spPr bwMode="auto">
            <a:xfrm>
              <a:off x="4965" y="3184"/>
              <a:ext cx="590" cy="408"/>
            </a:xfrm>
            <a:custGeom>
              <a:avLst/>
              <a:gdLst>
                <a:gd name="T0" fmla="*/ 455 w 590"/>
                <a:gd name="T1" fmla="*/ 256 h 408"/>
                <a:gd name="T2" fmla="*/ 489 w 590"/>
                <a:gd name="T3" fmla="*/ 248 h 408"/>
                <a:gd name="T4" fmla="*/ 514 w 590"/>
                <a:gd name="T5" fmla="*/ 232 h 408"/>
                <a:gd name="T6" fmla="*/ 565 w 590"/>
                <a:gd name="T7" fmla="*/ 240 h 408"/>
                <a:gd name="T8" fmla="*/ 590 w 590"/>
                <a:gd name="T9" fmla="*/ 232 h 408"/>
                <a:gd name="T10" fmla="*/ 565 w 590"/>
                <a:gd name="T11" fmla="*/ 200 h 408"/>
                <a:gd name="T12" fmla="*/ 523 w 590"/>
                <a:gd name="T13" fmla="*/ 176 h 408"/>
                <a:gd name="T14" fmla="*/ 548 w 590"/>
                <a:gd name="T15" fmla="*/ 144 h 408"/>
                <a:gd name="T16" fmla="*/ 548 w 590"/>
                <a:gd name="T17" fmla="*/ 104 h 408"/>
                <a:gd name="T18" fmla="*/ 548 w 590"/>
                <a:gd name="T19" fmla="*/ 72 h 408"/>
                <a:gd name="T20" fmla="*/ 573 w 590"/>
                <a:gd name="T21" fmla="*/ 64 h 408"/>
                <a:gd name="T22" fmla="*/ 582 w 590"/>
                <a:gd name="T23" fmla="*/ 48 h 408"/>
                <a:gd name="T24" fmla="*/ 582 w 590"/>
                <a:gd name="T25" fmla="*/ 32 h 408"/>
                <a:gd name="T26" fmla="*/ 582 w 590"/>
                <a:gd name="T27" fmla="*/ 16 h 408"/>
                <a:gd name="T28" fmla="*/ 531 w 590"/>
                <a:gd name="T29" fmla="*/ 16 h 408"/>
                <a:gd name="T30" fmla="*/ 523 w 590"/>
                <a:gd name="T31" fmla="*/ 0 h 408"/>
                <a:gd name="T32" fmla="*/ 481 w 590"/>
                <a:gd name="T33" fmla="*/ 8 h 408"/>
                <a:gd name="T34" fmla="*/ 455 w 590"/>
                <a:gd name="T35" fmla="*/ 0 h 408"/>
                <a:gd name="T36" fmla="*/ 413 w 590"/>
                <a:gd name="T37" fmla="*/ 8 h 408"/>
                <a:gd name="T38" fmla="*/ 363 w 590"/>
                <a:gd name="T39" fmla="*/ 24 h 408"/>
                <a:gd name="T40" fmla="*/ 321 w 590"/>
                <a:gd name="T41" fmla="*/ 80 h 408"/>
                <a:gd name="T42" fmla="*/ 270 w 590"/>
                <a:gd name="T43" fmla="*/ 88 h 408"/>
                <a:gd name="T44" fmla="*/ 219 w 590"/>
                <a:gd name="T45" fmla="*/ 88 h 408"/>
                <a:gd name="T46" fmla="*/ 194 w 590"/>
                <a:gd name="T47" fmla="*/ 88 h 408"/>
                <a:gd name="T48" fmla="*/ 169 w 590"/>
                <a:gd name="T49" fmla="*/ 112 h 408"/>
                <a:gd name="T50" fmla="*/ 76 w 590"/>
                <a:gd name="T51" fmla="*/ 112 h 408"/>
                <a:gd name="T52" fmla="*/ 43 w 590"/>
                <a:gd name="T53" fmla="*/ 104 h 408"/>
                <a:gd name="T54" fmla="*/ 43 w 590"/>
                <a:gd name="T55" fmla="*/ 80 h 408"/>
                <a:gd name="T56" fmla="*/ 9 w 590"/>
                <a:gd name="T57" fmla="*/ 64 h 408"/>
                <a:gd name="T58" fmla="*/ 0 w 590"/>
                <a:gd name="T59" fmla="*/ 88 h 408"/>
                <a:gd name="T60" fmla="*/ 9 w 590"/>
                <a:gd name="T61" fmla="*/ 120 h 408"/>
                <a:gd name="T62" fmla="*/ 26 w 590"/>
                <a:gd name="T63" fmla="*/ 152 h 408"/>
                <a:gd name="T64" fmla="*/ 68 w 590"/>
                <a:gd name="T65" fmla="*/ 184 h 408"/>
                <a:gd name="T66" fmla="*/ 51 w 590"/>
                <a:gd name="T67" fmla="*/ 224 h 408"/>
                <a:gd name="T68" fmla="*/ 34 w 590"/>
                <a:gd name="T69" fmla="*/ 232 h 408"/>
                <a:gd name="T70" fmla="*/ 34 w 590"/>
                <a:gd name="T71" fmla="*/ 264 h 408"/>
                <a:gd name="T72" fmla="*/ 51 w 590"/>
                <a:gd name="T73" fmla="*/ 272 h 408"/>
                <a:gd name="T74" fmla="*/ 43 w 590"/>
                <a:gd name="T75" fmla="*/ 304 h 408"/>
                <a:gd name="T76" fmla="*/ 51 w 590"/>
                <a:gd name="T77" fmla="*/ 320 h 408"/>
                <a:gd name="T78" fmla="*/ 93 w 590"/>
                <a:gd name="T79" fmla="*/ 336 h 408"/>
                <a:gd name="T80" fmla="*/ 110 w 590"/>
                <a:gd name="T81" fmla="*/ 368 h 408"/>
                <a:gd name="T82" fmla="*/ 110 w 590"/>
                <a:gd name="T83" fmla="*/ 408 h 408"/>
                <a:gd name="T84" fmla="*/ 110 w 590"/>
                <a:gd name="T85" fmla="*/ 400 h 408"/>
                <a:gd name="T86" fmla="*/ 152 w 590"/>
                <a:gd name="T87" fmla="*/ 400 h 408"/>
                <a:gd name="T88" fmla="*/ 194 w 590"/>
                <a:gd name="T89" fmla="*/ 384 h 408"/>
                <a:gd name="T90" fmla="*/ 245 w 590"/>
                <a:gd name="T91" fmla="*/ 352 h 408"/>
                <a:gd name="T92" fmla="*/ 278 w 590"/>
                <a:gd name="T93" fmla="*/ 368 h 408"/>
                <a:gd name="T94" fmla="*/ 312 w 590"/>
                <a:gd name="T95" fmla="*/ 368 h 408"/>
                <a:gd name="T96" fmla="*/ 337 w 590"/>
                <a:gd name="T97" fmla="*/ 368 h 408"/>
                <a:gd name="T98" fmla="*/ 396 w 590"/>
                <a:gd name="T99" fmla="*/ 352 h 408"/>
                <a:gd name="T100" fmla="*/ 430 w 590"/>
                <a:gd name="T101" fmla="*/ 336 h 408"/>
                <a:gd name="T102" fmla="*/ 422 w 590"/>
                <a:gd name="T103" fmla="*/ 296 h 408"/>
                <a:gd name="T104" fmla="*/ 447 w 590"/>
                <a:gd name="T105" fmla="*/ 296 h 408"/>
                <a:gd name="T106" fmla="*/ 447 w 590"/>
                <a:gd name="T107" fmla="*/ 296 h 408"/>
                <a:gd name="T108" fmla="*/ 455 w 590"/>
                <a:gd name="T109" fmla="*/ 280 h 408"/>
                <a:gd name="T110" fmla="*/ 455 w 590"/>
                <a:gd name="T111" fmla="*/ 256 h 4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90" h="408">
                  <a:moveTo>
                    <a:pt x="455" y="256"/>
                  </a:moveTo>
                  <a:lnTo>
                    <a:pt x="489" y="248"/>
                  </a:lnTo>
                  <a:lnTo>
                    <a:pt x="514" y="232"/>
                  </a:lnTo>
                  <a:lnTo>
                    <a:pt x="565" y="240"/>
                  </a:lnTo>
                  <a:lnTo>
                    <a:pt x="590" y="232"/>
                  </a:lnTo>
                  <a:lnTo>
                    <a:pt x="565" y="200"/>
                  </a:lnTo>
                  <a:lnTo>
                    <a:pt x="523" y="176"/>
                  </a:lnTo>
                  <a:lnTo>
                    <a:pt x="548" y="144"/>
                  </a:lnTo>
                  <a:lnTo>
                    <a:pt x="548" y="104"/>
                  </a:lnTo>
                  <a:lnTo>
                    <a:pt x="548" y="72"/>
                  </a:lnTo>
                  <a:lnTo>
                    <a:pt x="573" y="64"/>
                  </a:lnTo>
                  <a:lnTo>
                    <a:pt x="582" y="48"/>
                  </a:lnTo>
                  <a:lnTo>
                    <a:pt x="582" y="32"/>
                  </a:lnTo>
                  <a:lnTo>
                    <a:pt x="582" y="16"/>
                  </a:lnTo>
                  <a:lnTo>
                    <a:pt x="531" y="16"/>
                  </a:lnTo>
                  <a:lnTo>
                    <a:pt x="523" y="0"/>
                  </a:lnTo>
                  <a:lnTo>
                    <a:pt x="481" y="8"/>
                  </a:lnTo>
                  <a:lnTo>
                    <a:pt x="455" y="0"/>
                  </a:lnTo>
                  <a:lnTo>
                    <a:pt x="413" y="8"/>
                  </a:lnTo>
                  <a:lnTo>
                    <a:pt x="363" y="24"/>
                  </a:lnTo>
                  <a:lnTo>
                    <a:pt x="321" y="80"/>
                  </a:lnTo>
                  <a:lnTo>
                    <a:pt x="270" y="88"/>
                  </a:lnTo>
                  <a:lnTo>
                    <a:pt x="219" y="88"/>
                  </a:lnTo>
                  <a:lnTo>
                    <a:pt x="194" y="88"/>
                  </a:lnTo>
                  <a:lnTo>
                    <a:pt x="169" y="112"/>
                  </a:lnTo>
                  <a:lnTo>
                    <a:pt x="76" y="112"/>
                  </a:lnTo>
                  <a:lnTo>
                    <a:pt x="43" y="104"/>
                  </a:lnTo>
                  <a:lnTo>
                    <a:pt x="43" y="80"/>
                  </a:lnTo>
                  <a:lnTo>
                    <a:pt x="9" y="64"/>
                  </a:lnTo>
                  <a:lnTo>
                    <a:pt x="0" y="88"/>
                  </a:lnTo>
                  <a:lnTo>
                    <a:pt x="9" y="120"/>
                  </a:lnTo>
                  <a:lnTo>
                    <a:pt x="26" y="152"/>
                  </a:lnTo>
                  <a:lnTo>
                    <a:pt x="68" y="184"/>
                  </a:lnTo>
                  <a:lnTo>
                    <a:pt x="51" y="224"/>
                  </a:lnTo>
                  <a:lnTo>
                    <a:pt x="34" y="232"/>
                  </a:lnTo>
                  <a:lnTo>
                    <a:pt x="34" y="264"/>
                  </a:lnTo>
                  <a:lnTo>
                    <a:pt x="51" y="272"/>
                  </a:lnTo>
                  <a:lnTo>
                    <a:pt x="43" y="304"/>
                  </a:lnTo>
                  <a:lnTo>
                    <a:pt x="51" y="320"/>
                  </a:lnTo>
                  <a:lnTo>
                    <a:pt x="93" y="336"/>
                  </a:lnTo>
                  <a:lnTo>
                    <a:pt x="110" y="368"/>
                  </a:lnTo>
                  <a:lnTo>
                    <a:pt x="110" y="408"/>
                  </a:lnTo>
                  <a:lnTo>
                    <a:pt x="110" y="400"/>
                  </a:lnTo>
                  <a:lnTo>
                    <a:pt x="152" y="400"/>
                  </a:lnTo>
                  <a:lnTo>
                    <a:pt x="194" y="384"/>
                  </a:lnTo>
                  <a:lnTo>
                    <a:pt x="245" y="352"/>
                  </a:lnTo>
                  <a:lnTo>
                    <a:pt x="278" y="368"/>
                  </a:lnTo>
                  <a:lnTo>
                    <a:pt x="312" y="368"/>
                  </a:lnTo>
                  <a:lnTo>
                    <a:pt x="337" y="368"/>
                  </a:lnTo>
                  <a:lnTo>
                    <a:pt x="396" y="352"/>
                  </a:lnTo>
                  <a:lnTo>
                    <a:pt x="430" y="336"/>
                  </a:lnTo>
                  <a:lnTo>
                    <a:pt x="422" y="296"/>
                  </a:lnTo>
                  <a:lnTo>
                    <a:pt x="447" y="296"/>
                  </a:lnTo>
                  <a:lnTo>
                    <a:pt x="455" y="280"/>
                  </a:lnTo>
                  <a:lnTo>
                    <a:pt x="455" y="256"/>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8" name="Freeform 77"/>
            <p:cNvSpPr>
              <a:spLocks/>
            </p:cNvSpPr>
            <p:nvPr>
              <p:custDataLst>
                <p:tags r:id="rId74"/>
              </p:custDataLst>
            </p:nvPr>
          </p:nvSpPr>
          <p:spPr bwMode="auto">
            <a:xfrm>
              <a:off x="5404" y="3416"/>
              <a:ext cx="364" cy="616"/>
            </a:xfrm>
            <a:custGeom>
              <a:avLst/>
              <a:gdLst>
                <a:gd name="T0" fmla="*/ 219 w 364"/>
                <a:gd name="T1" fmla="*/ 40 h 616"/>
                <a:gd name="T2" fmla="*/ 151 w 364"/>
                <a:gd name="T3" fmla="*/ 0 h 616"/>
                <a:gd name="T4" fmla="*/ 75 w 364"/>
                <a:gd name="T5" fmla="*/ 0 h 616"/>
                <a:gd name="T6" fmla="*/ 16 w 364"/>
                <a:gd name="T7" fmla="*/ 24 h 616"/>
                <a:gd name="T8" fmla="*/ 8 w 364"/>
                <a:gd name="T9" fmla="*/ 64 h 616"/>
                <a:gd name="T10" fmla="*/ 16 w 364"/>
                <a:gd name="T11" fmla="*/ 136 h 616"/>
                <a:gd name="T12" fmla="*/ 0 w 364"/>
                <a:gd name="T13" fmla="*/ 192 h 616"/>
                <a:gd name="T14" fmla="*/ 67 w 364"/>
                <a:gd name="T15" fmla="*/ 184 h 616"/>
                <a:gd name="T16" fmla="*/ 33 w 364"/>
                <a:gd name="T17" fmla="*/ 256 h 616"/>
                <a:gd name="T18" fmla="*/ 118 w 364"/>
                <a:gd name="T19" fmla="*/ 312 h 616"/>
                <a:gd name="T20" fmla="*/ 160 w 364"/>
                <a:gd name="T21" fmla="*/ 384 h 616"/>
                <a:gd name="T22" fmla="*/ 168 w 364"/>
                <a:gd name="T23" fmla="*/ 432 h 616"/>
                <a:gd name="T24" fmla="*/ 101 w 364"/>
                <a:gd name="T25" fmla="*/ 440 h 616"/>
                <a:gd name="T26" fmla="*/ 126 w 364"/>
                <a:gd name="T27" fmla="*/ 496 h 616"/>
                <a:gd name="T28" fmla="*/ 168 w 364"/>
                <a:gd name="T29" fmla="*/ 480 h 616"/>
                <a:gd name="T30" fmla="*/ 219 w 364"/>
                <a:gd name="T31" fmla="*/ 504 h 616"/>
                <a:gd name="T32" fmla="*/ 235 w 364"/>
                <a:gd name="T33" fmla="*/ 560 h 616"/>
                <a:gd name="T34" fmla="*/ 244 w 364"/>
                <a:gd name="T35" fmla="*/ 592 h 616"/>
                <a:gd name="T36" fmla="*/ 261 w 364"/>
                <a:gd name="T37" fmla="*/ 600 h 616"/>
                <a:gd name="T38" fmla="*/ 337 w 364"/>
                <a:gd name="T39" fmla="*/ 616 h 616"/>
                <a:gd name="T40" fmla="*/ 360 w 364"/>
                <a:gd name="T41" fmla="*/ 578 h 616"/>
                <a:gd name="T42" fmla="*/ 303 w 364"/>
                <a:gd name="T43" fmla="*/ 56 h 616"/>
                <a:gd name="T44" fmla="*/ 320 w 364"/>
                <a:gd name="T45" fmla="*/ 152 h 616"/>
                <a:gd name="T46" fmla="*/ 244 w 364"/>
                <a:gd name="T47" fmla="*/ 168 h 616"/>
                <a:gd name="T48" fmla="*/ 151 w 364"/>
                <a:gd name="T49" fmla="*/ 200 h 616"/>
                <a:gd name="T50" fmla="*/ 92 w 364"/>
                <a:gd name="T51" fmla="*/ 208 h 616"/>
                <a:gd name="T52" fmla="*/ 42 w 364"/>
                <a:gd name="T53" fmla="*/ 264 h 616"/>
                <a:gd name="T54" fmla="*/ 59 w 364"/>
                <a:gd name="T55" fmla="*/ 232 h 616"/>
                <a:gd name="T56" fmla="*/ 126 w 364"/>
                <a:gd name="T57" fmla="*/ 168 h 616"/>
                <a:gd name="T58" fmla="*/ 185 w 364"/>
                <a:gd name="T59" fmla="*/ 104 h 616"/>
                <a:gd name="T60" fmla="*/ 286 w 364"/>
                <a:gd name="T61" fmla="*/ 80 h 616"/>
                <a:gd name="T62" fmla="*/ 303 w 364"/>
                <a:gd name="T63" fmla="*/ 96 h 616"/>
                <a:gd name="T64" fmla="*/ 328 w 364"/>
                <a:gd name="T65" fmla="*/ 112 h 616"/>
                <a:gd name="T66" fmla="*/ 303 w 364"/>
                <a:gd name="T67" fmla="*/ 56 h 61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64" h="616">
                  <a:moveTo>
                    <a:pt x="303" y="56"/>
                  </a:moveTo>
                  <a:lnTo>
                    <a:pt x="219" y="40"/>
                  </a:lnTo>
                  <a:lnTo>
                    <a:pt x="185" y="24"/>
                  </a:lnTo>
                  <a:lnTo>
                    <a:pt x="151" y="0"/>
                  </a:lnTo>
                  <a:lnTo>
                    <a:pt x="126" y="8"/>
                  </a:lnTo>
                  <a:lnTo>
                    <a:pt x="75" y="0"/>
                  </a:lnTo>
                  <a:lnTo>
                    <a:pt x="50" y="16"/>
                  </a:lnTo>
                  <a:lnTo>
                    <a:pt x="16" y="24"/>
                  </a:lnTo>
                  <a:lnTo>
                    <a:pt x="16" y="48"/>
                  </a:lnTo>
                  <a:lnTo>
                    <a:pt x="8" y="64"/>
                  </a:lnTo>
                  <a:lnTo>
                    <a:pt x="33" y="88"/>
                  </a:lnTo>
                  <a:lnTo>
                    <a:pt x="16" y="136"/>
                  </a:lnTo>
                  <a:lnTo>
                    <a:pt x="25" y="160"/>
                  </a:lnTo>
                  <a:lnTo>
                    <a:pt x="0" y="192"/>
                  </a:lnTo>
                  <a:lnTo>
                    <a:pt x="0" y="200"/>
                  </a:lnTo>
                  <a:lnTo>
                    <a:pt x="67" y="184"/>
                  </a:lnTo>
                  <a:lnTo>
                    <a:pt x="42" y="216"/>
                  </a:lnTo>
                  <a:lnTo>
                    <a:pt x="33" y="256"/>
                  </a:lnTo>
                  <a:lnTo>
                    <a:pt x="50" y="328"/>
                  </a:lnTo>
                  <a:lnTo>
                    <a:pt x="118" y="312"/>
                  </a:lnTo>
                  <a:lnTo>
                    <a:pt x="118" y="352"/>
                  </a:lnTo>
                  <a:lnTo>
                    <a:pt x="160" y="384"/>
                  </a:lnTo>
                  <a:lnTo>
                    <a:pt x="151" y="408"/>
                  </a:lnTo>
                  <a:lnTo>
                    <a:pt x="168" y="432"/>
                  </a:lnTo>
                  <a:lnTo>
                    <a:pt x="134" y="448"/>
                  </a:lnTo>
                  <a:lnTo>
                    <a:pt x="101" y="440"/>
                  </a:lnTo>
                  <a:lnTo>
                    <a:pt x="101" y="472"/>
                  </a:lnTo>
                  <a:lnTo>
                    <a:pt x="126" y="496"/>
                  </a:lnTo>
                  <a:lnTo>
                    <a:pt x="151" y="480"/>
                  </a:lnTo>
                  <a:lnTo>
                    <a:pt x="168" y="480"/>
                  </a:lnTo>
                  <a:lnTo>
                    <a:pt x="185" y="488"/>
                  </a:lnTo>
                  <a:lnTo>
                    <a:pt x="219" y="504"/>
                  </a:lnTo>
                  <a:lnTo>
                    <a:pt x="227" y="528"/>
                  </a:lnTo>
                  <a:lnTo>
                    <a:pt x="235" y="560"/>
                  </a:lnTo>
                  <a:lnTo>
                    <a:pt x="269" y="576"/>
                  </a:lnTo>
                  <a:lnTo>
                    <a:pt x="244" y="592"/>
                  </a:lnTo>
                  <a:lnTo>
                    <a:pt x="244" y="600"/>
                  </a:lnTo>
                  <a:lnTo>
                    <a:pt x="261" y="600"/>
                  </a:lnTo>
                  <a:lnTo>
                    <a:pt x="345" y="584"/>
                  </a:lnTo>
                  <a:lnTo>
                    <a:pt x="337" y="616"/>
                  </a:lnTo>
                  <a:lnTo>
                    <a:pt x="364" y="602"/>
                  </a:lnTo>
                  <a:lnTo>
                    <a:pt x="360" y="578"/>
                  </a:lnTo>
                  <a:lnTo>
                    <a:pt x="354" y="56"/>
                  </a:lnTo>
                  <a:lnTo>
                    <a:pt x="303" y="56"/>
                  </a:lnTo>
                  <a:lnTo>
                    <a:pt x="286" y="136"/>
                  </a:lnTo>
                  <a:lnTo>
                    <a:pt x="320" y="152"/>
                  </a:lnTo>
                  <a:lnTo>
                    <a:pt x="286" y="168"/>
                  </a:lnTo>
                  <a:lnTo>
                    <a:pt x="244" y="168"/>
                  </a:lnTo>
                  <a:lnTo>
                    <a:pt x="176" y="200"/>
                  </a:lnTo>
                  <a:lnTo>
                    <a:pt x="151" y="200"/>
                  </a:lnTo>
                  <a:lnTo>
                    <a:pt x="134" y="200"/>
                  </a:lnTo>
                  <a:lnTo>
                    <a:pt x="92" y="208"/>
                  </a:lnTo>
                  <a:lnTo>
                    <a:pt x="67" y="232"/>
                  </a:lnTo>
                  <a:lnTo>
                    <a:pt x="42" y="264"/>
                  </a:lnTo>
                  <a:lnTo>
                    <a:pt x="42" y="248"/>
                  </a:lnTo>
                  <a:lnTo>
                    <a:pt x="59" y="232"/>
                  </a:lnTo>
                  <a:lnTo>
                    <a:pt x="84" y="200"/>
                  </a:lnTo>
                  <a:lnTo>
                    <a:pt x="126" y="168"/>
                  </a:lnTo>
                  <a:lnTo>
                    <a:pt x="134" y="120"/>
                  </a:lnTo>
                  <a:lnTo>
                    <a:pt x="185" y="104"/>
                  </a:lnTo>
                  <a:lnTo>
                    <a:pt x="235" y="96"/>
                  </a:lnTo>
                  <a:lnTo>
                    <a:pt x="286" y="80"/>
                  </a:lnTo>
                  <a:lnTo>
                    <a:pt x="294" y="80"/>
                  </a:lnTo>
                  <a:lnTo>
                    <a:pt x="303" y="96"/>
                  </a:lnTo>
                  <a:lnTo>
                    <a:pt x="345" y="104"/>
                  </a:lnTo>
                  <a:lnTo>
                    <a:pt x="328" y="112"/>
                  </a:lnTo>
                  <a:lnTo>
                    <a:pt x="286" y="136"/>
                  </a:lnTo>
                  <a:lnTo>
                    <a:pt x="303" y="56"/>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9" name="Freeform 78"/>
            <p:cNvSpPr>
              <a:spLocks/>
            </p:cNvSpPr>
            <p:nvPr>
              <p:custDataLst>
                <p:tags r:id="rId75"/>
              </p:custDataLst>
            </p:nvPr>
          </p:nvSpPr>
          <p:spPr bwMode="auto">
            <a:xfrm>
              <a:off x="5404" y="3416"/>
              <a:ext cx="362" cy="616"/>
            </a:xfrm>
            <a:custGeom>
              <a:avLst/>
              <a:gdLst>
                <a:gd name="T0" fmla="*/ 303 w 362"/>
                <a:gd name="T1" fmla="*/ 56 h 616"/>
                <a:gd name="T2" fmla="*/ 219 w 362"/>
                <a:gd name="T3" fmla="*/ 40 h 616"/>
                <a:gd name="T4" fmla="*/ 185 w 362"/>
                <a:gd name="T5" fmla="*/ 24 h 616"/>
                <a:gd name="T6" fmla="*/ 151 w 362"/>
                <a:gd name="T7" fmla="*/ 0 h 616"/>
                <a:gd name="T8" fmla="*/ 126 w 362"/>
                <a:gd name="T9" fmla="*/ 8 h 616"/>
                <a:gd name="T10" fmla="*/ 75 w 362"/>
                <a:gd name="T11" fmla="*/ 0 h 616"/>
                <a:gd name="T12" fmla="*/ 50 w 362"/>
                <a:gd name="T13" fmla="*/ 16 h 616"/>
                <a:gd name="T14" fmla="*/ 16 w 362"/>
                <a:gd name="T15" fmla="*/ 24 h 616"/>
                <a:gd name="T16" fmla="*/ 16 w 362"/>
                <a:gd name="T17" fmla="*/ 48 h 616"/>
                <a:gd name="T18" fmla="*/ 8 w 362"/>
                <a:gd name="T19" fmla="*/ 64 h 616"/>
                <a:gd name="T20" fmla="*/ 33 w 362"/>
                <a:gd name="T21" fmla="*/ 88 h 616"/>
                <a:gd name="T22" fmla="*/ 16 w 362"/>
                <a:gd name="T23" fmla="*/ 136 h 616"/>
                <a:gd name="T24" fmla="*/ 25 w 362"/>
                <a:gd name="T25" fmla="*/ 160 h 616"/>
                <a:gd name="T26" fmla="*/ 0 w 362"/>
                <a:gd name="T27" fmla="*/ 192 h 616"/>
                <a:gd name="T28" fmla="*/ 0 w 362"/>
                <a:gd name="T29" fmla="*/ 200 h 616"/>
                <a:gd name="T30" fmla="*/ 67 w 362"/>
                <a:gd name="T31" fmla="*/ 184 h 616"/>
                <a:gd name="T32" fmla="*/ 42 w 362"/>
                <a:gd name="T33" fmla="*/ 216 h 616"/>
                <a:gd name="T34" fmla="*/ 33 w 362"/>
                <a:gd name="T35" fmla="*/ 256 h 616"/>
                <a:gd name="T36" fmla="*/ 50 w 362"/>
                <a:gd name="T37" fmla="*/ 328 h 616"/>
                <a:gd name="T38" fmla="*/ 118 w 362"/>
                <a:gd name="T39" fmla="*/ 312 h 616"/>
                <a:gd name="T40" fmla="*/ 118 w 362"/>
                <a:gd name="T41" fmla="*/ 352 h 616"/>
                <a:gd name="T42" fmla="*/ 160 w 362"/>
                <a:gd name="T43" fmla="*/ 384 h 616"/>
                <a:gd name="T44" fmla="*/ 151 w 362"/>
                <a:gd name="T45" fmla="*/ 408 h 616"/>
                <a:gd name="T46" fmla="*/ 168 w 362"/>
                <a:gd name="T47" fmla="*/ 432 h 616"/>
                <a:gd name="T48" fmla="*/ 134 w 362"/>
                <a:gd name="T49" fmla="*/ 448 h 616"/>
                <a:gd name="T50" fmla="*/ 101 w 362"/>
                <a:gd name="T51" fmla="*/ 440 h 616"/>
                <a:gd name="T52" fmla="*/ 101 w 362"/>
                <a:gd name="T53" fmla="*/ 472 h 616"/>
                <a:gd name="T54" fmla="*/ 126 w 362"/>
                <a:gd name="T55" fmla="*/ 496 h 616"/>
                <a:gd name="T56" fmla="*/ 151 w 362"/>
                <a:gd name="T57" fmla="*/ 480 h 616"/>
                <a:gd name="T58" fmla="*/ 168 w 362"/>
                <a:gd name="T59" fmla="*/ 480 h 616"/>
                <a:gd name="T60" fmla="*/ 185 w 362"/>
                <a:gd name="T61" fmla="*/ 488 h 616"/>
                <a:gd name="T62" fmla="*/ 219 w 362"/>
                <a:gd name="T63" fmla="*/ 504 h 616"/>
                <a:gd name="T64" fmla="*/ 227 w 362"/>
                <a:gd name="T65" fmla="*/ 528 h 616"/>
                <a:gd name="T66" fmla="*/ 235 w 362"/>
                <a:gd name="T67" fmla="*/ 560 h 616"/>
                <a:gd name="T68" fmla="*/ 269 w 362"/>
                <a:gd name="T69" fmla="*/ 576 h 616"/>
                <a:gd name="T70" fmla="*/ 244 w 362"/>
                <a:gd name="T71" fmla="*/ 592 h 616"/>
                <a:gd name="T72" fmla="*/ 244 w 362"/>
                <a:gd name="T73" fmla="*/ 600 h 616"/>
                <a:gd name="T74" fmla="*/ 261 w 362"/>
                <a:gd name="T75" fmla="*/ 600 h 616"/>
                <a:gd name="T76" fmla="*/ 345 w 362"/>
                <a:gd name="T77" fmla="*/ 584 h 616"/>
                <a:gd name="T78" fmla="*/ 337 w 362"/>
                <a:gd name="T79" fmla="*/ 616 h 616"/>
                <a:gd name="T80" fmla="*/ 362 w 362"/>
                <a:gd name="T81" fmla="*/ 600 h 616"/>
                <a:gd name="T82" fmla="*/ 354 w 362"/>
                <a:gd name="T83" fmla="*/ 50 h 616"/>
                <a:gd name="T84" fmla="*/ 303 w 362"/>
                <a:gd name="T85" fmla="*/ 56 h 616"/>
                <a:gd name="T86" fmla="*/ 303 w 362"/>
                <a:gd name="T87" fmla="*/ 56 h 6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62" h="616">
                  <a:moveTo>
                    <a:pt x="303" y="56"/>
                  </a:moveTo>
                  <a:lnTo>
                    <a:pt x="219" y="40"/>
                  </a:lnTo>
                  <a:lnTo>
                    <a:pt x="185" y="24"/>
                  </a:lnTo>
                  <a:lnTo>
                    <a:pt x="151" y="0"/>
                  </a:lnTo>
                  <a:lnTo>
                    <a:pt x="126" y="8"/>
                  </a:lnTo>
                  <a:lnTo>
                    <a:pt x="75" y="0"/>
                  </a:lnTo>
                  <a:lnTo>
                    <a:pt x="50" y="16"/>
                  </a:lnTo>
                  <a:lnTo>
                    <a:pt x="16" y="24"/>
                  </a:lnTo>
                  <a:lnTo>
                    <a:pt x="16" y="48"/>
                  </a:lnTo>
                  <a:lnTo>
                    <a:pt x="8" y="64"/>
                  </a:lnTo>
                  <a:lnTo>
                    <a:pt x="33" y="88"/>
                  </a:lnTo>
                  <a:lnTo>
                    <a:pt x="16" y="136"/>
                  </a:lnTo>
                  <a:lnTo>
                    <a:pt x="25" y="160"/>
                  </a:lnTo>
                  <a:lnTo>
                    <a:pt x="0" y="192"/>
                  </a:lnTo>
                  <a:lnTo>
                    <a:pt x="0" y="200"/>
                  </a:lnTo>
                  <a:lnTo>
                    <a:pt x="67" y="184"/>
                  </a:lnTo>
                  <a:lnTo>
                    <a:pt x="42" y="216"/>
                  </a:lnTo>
                  <a:lnTo>
                    <a:pt x="33" y="256"/>
                  </a:lnTo>
                  <a:lnTo>
                    <a:pt x="50" y="328"/>
                  </a:lnTo>
                  <a:lnTo>
                    <a:pt x="118" y="312"/>
                  </a:lnTo>
                  <a:lnTo>
                    <a:pt x="118" y="352"/>
                  </a:lnTo>
                  <a:lnTo>
                    <a:pt x="160" y="384"/>
                  </a:lnTo>
                  <a:lnTo>
                    <a:pt x="151" y="408"/>
                  </a:lnTo>
                  <a:lnTo>
                    <a:pt x="168" y="432"/>
                  </a:lnTo>
                  <a:lnTo>
                    <a:pt x="134" y="448"/>
                  </a:lnTo>
                  <a:lnTo>
                    <a:pt x="101" y="440"/>
                  </a:lnTo>
                  <a:lnTo>
                    <a:pt x="101" y="472"/>
                  </a:lnTo>
                  <a:lnTo>
                    <a:pt x="126" y="496"/>
                  </a:lnTo>
                  <a:lnTo>
                    <a:pt x="151" y="480"/>
                  </a:lnTo>
                  <a:lnTo>
                    <a:pt x="168" y="480"/>
                  </a:lnTo>
                  <a:lnTo>
                    <a:pt x="185" y="488"/>
                  </a:lnTo>
                  <a:lnTo>
                    <a:pt x="219" y="504"/>
                  </a:lnTo>
                  <a:lnTo>
                    <a:pt x="227" y="528"/>
                  </a:lnTo>
                  <a:lnTo>
                    <a:pt x="235" y="560"/>
                  </a:lnTo>
                  <a:lnTo>
                    <a:pt x="269" y="576"/>
                  </a:lnTo>
                  <a:lnTo>
                    <a:pt x="244" y="592"/>
                  </a:lnTo>
                  <a:lnTo>
                    <a:pt x="244" y="600"/>
                  </a:lnTo>
                  <a:lnTo>
                    <a:pt x="261" y="600"/>
                  </a:lnTo>
                  <a:lnTo>
                    <a:pt x="345" y="584"/>
                  </a:lnTo>
                  <a:lnTo>
                    <a:pt x="337" y="616"/>
                  </a:lnTo>
                  <a:lnTo>
                    <a:pt x="362" y="600"/>
                  </a:lnTo>
                  <a:lnTo>
                    <a:pt x="354" y="50"/>
                  </a:lnTo>
                  <a:lnTo>
                    <a:pt x="303" y="56"/>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0" name="Freeform 79"/>
            <p:cNvSpPr>
              <a:spLocks/>
            </p:cNvSpPr>
            <p:nvPr>
              <p:custDataLst>
                <p:tags r:id="rId76"/>
              </p:custDataLst>
            </p:nvPr>
          </p:nvSpPr>
          <p:spPr bwMode="auto">
            <a:xfrm>
              <a:off x="5446" y="3496"/>
              <a:ext cx="308" cy="184"/>
            </a:xfrm>
            <a:custGeom>
              <a:avLst/>
              <a:gdLst>
                <a:gd name="T0" fmla="*/ 244 w 308"/>
                <a:gd name="T1" fmla="*/ 56 h 184"/>
                <a:gd name="T2" fmla="*/ 278 w 308"/>
                <a:gd name="T3" fmla="*/ 72 h 184"/>
                <a:gd name="T4" fmla="*/ 244 w 308"/>
                <a:gd name="T5" fmla="*/ 88 h 184"/>
                <a:gd name="T6" fmla="*/ 202 w 308"/>
                <a:gd name="T7" fmla="*/ 88 h 184"/>
                <a:gd name="T8" fmla="*/ 134 w 308"/>
                <a:gd name="T9" fmla="*/ 120 h 184"/>
                <a:gd name="T10" fmla="*/ 109 w 308"/>
                <a:gd name="T11" fmla="*/ 120 h 184"/>
                <a:gd name="T12" fmla="*/ 92 w 308"/>
                <a:gd name="T13" fmla="*/ 120 h 184"/>
                <a:gd name="T14" fmla="*/ 50 w 308"/>
                <a:gd name="T15" fmla="*/ 128 h 184"/>
                <a:gd name="T16" fmla="*/ 25 w 308"/>
                <a:gd name="T17" fmla="*/ 152 h 184"/>
                <a:gd name="T18" fmla="*/ 0 w 308"/>
                <a:gd name="T19" fmla="*/ 184 h 184"/>
                <a:gd name="T20" fmla="*/ 0 w 308"/>
                <a:gd name="T21" fmla="*/ 168 h 184"/>
                <a:gd name="T22" fmla="*/ 17 w 308"/>
                <a:gd name="T23" fmla="*/ 152 h 184"/>
                <a:gd name="T24" fmla="*/ 42 w 308"/>
                <a:gd name="T25" fmla="*/ 120 h 184"/>
                <a:gd name="T26" fmla="*/ 84 w 308"/>
                <a:gd name="T27" fmla="*/ 88 h 184"/>
                <a:gd name="T28" fmla="*/ 92 w 308"/>
                <a:gd name="T29" fmla="*/ 40 h 184"/>
                <a:gd name="T30" fmla="*/ 143 w 308"/>
                <a:gd name="T31" fmla="*/ 24 h 184"/>
                <a:gd name="T32" fmla="*/ 193 w 308"/>
                <a:gd name="T33" fmla="*/ 16 h 184"/>
                <a:gd name="T34" fmla="*/ 244 w 308"/>
                <a:gd name="T35" fmla="*/ 0 h 184"/>
                <a:gd name="T36" fmla="*/ 252 w 308"/>
                <a:gd name="T37" fmla="*/ 0 h 184"/>
                <a:gd name="T38" fmla="*/ 261 w 308"/>
                <a:gd name="T39" fmla="*/ 16 h 184"/>
                <a:gd name="T40" fmla="*/ 303 w 308"/>
                <a:gd name="T41" fmla="*/ 24 h 184"/>
                <a:gd name="T42" fmla="*/ 308 w 308"/>
                <a:gd name="T43" fmla="*/ 24 h 184"/>
                <a:gd name="T44" fmla="*/ 286 w 308"/>
                <a:gd name="T45" fmla="*/ 32 h 184"/>
                <a:gd name="T46" fmla="*/ 244 w 308"/>
                <a:gd name="T47" fmla="*/ 56 h 184"/>
                <a:gd name="T48" fmla="*/ 244 w 308"/>
                <a:gd name="T49" fmla="*/ 56 h 18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08" h="184">
                  <a:moveTo>
                    <a:pt x="244" y="56"/>
                  </a:moveTo>
                  <a:lnTo>
                    <a:pt x="278" y="72"/>
                  </a:lnTo>
                  <a:lnTo>
                    <a:pt x="244" y="88"/>
                  </a:lnTo>
                  <a:lnTo>
                    <a:pt x="202" y="88"/>
                  </a:lnTo>
                  <a:lnTo>
                    <a:pt x="134" y="120"/>
                  </a:lnTo>
                  <a:lnTo>
                    <a:pt x="109" y="120"/>
                  </a:lnTo>
                  <a:lnTo>
                    <a:pt x="92" y="120"/>
                  </a:lnTo>
                  <a:lnTo>
                    <a:pt x="50" y="128"/>
                  </a:lnTo>
                  <a:lnTo>
                    <a:pt x="25" y="152"/>
                  </a:lnTo>
                  <a:lnTo>
                    <a:pt x="0" y="184"/>
                  </a:lnTo>
                  <a:lnTo>
                    <a:pt x="0" y="168"/>
                  </a:lnTo>
                  <a:lnTo>
                    <a:pt x="17" y="152"/>
                  </a:lnTo>
                  <a:lnTo>
                    <a:pt x="42" y="120"/>
                  </a:lnTo>
                  <a:lnTo>
                    <a:pt x="84" y="88"/>
                  </a:lnTo>
                  <a:lnTo>
                    <a:pt x="92" y="40"/>
                  </a:lnTo>
                  <a:lnTo>
                    <a:pt x="143" y="24"/>
                  </a:lnTo>
                  <a:lnTo>
                    <a:pt x="193" y="16"/>
                  </a:lnTo>
                  <a:lnTo>
                    <a:pt x="244" y="0"/>
                  </a:lnTo>
                  <a:lnTo>
                    <a:pt x="252" y="0"/>
                  </a:lnTo>
                  <a:lnTo>
                    <a:pt x="261" y="16"/>
                  </a:lnTo>
                  <a:lnTo>
                    <a:pt x="303" y="24"/>
                  </a:lnTo>
                  <a:lnTo>
                    <a:pt x="308" y="24"/>
                  </a:lnTo>
                  <a:lnTo>
                    <a:pt x="286" y="32"/>
                  </a:lnTo>
                  <a:lnTo>
                    <a:pt x="244" y="56"/>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1" name="Freeform 80"/>
            <p:cNvSpPr>
              <a:spLocks/>
            </p:cNvSpPr>
            <p:nvPr>
              <p:custDataLst>
                <p:tags r:id="rId77"/>
              </p:custDataLst>
            </p:nvPr>
          </p:nvSpPr>
          <p:spPr bwMode="auto">
            <a:xfrm>
              <a:off x="4721" y="2704"/>
              <a:ext cx="893" cy="592"/>
            </a:xfrm>
            <a:custGeom>
              <a:avLst/>
              <a:gdLst>
                <a:gd name="T0" fmla="*/ 784 w 893"/>
                <a:gd name="T1" fmla="*/ 312 h 592"/>
                <a:gd name="T2" fmla="*/ 725 w 893"/>
                <a:gd name="T3" fmla="*/ 280 h 592"/>
                <a:gd name="T4" fmla="*/ 708 w 893"/>
                <a:gd name="T5" fmla="*/ 208 h 592"/>
                <a:gd name="T6" fmla="*/ 708 w 893"/>
                <a:gd name="T7" fmla="*/ 168 h 592"/>
                <a:gd name="T8" fmla="*/ 666 w 893"/>
                <a:gd name="T9" fmla="*/ 120 h 592"/>
                <a:gd name="T10" fmla="*/ 632 w 893"/>
                <a:gd name="T11" fmla="*/ 96 h 592"/>
                <a:gd name="T12" fmla="*/ 581 w 893"/>
                <a:gd name="T13" fmla="*/ 56 h 592"/>
                <a:gd name="T14" fmla="*/ 548 w 893"/>
                <a:gd name="T15" fmla="*/ 16 h 592"/>
                <a:gd name="T16" fmla="*/ 506 w 893"/>
                <a:gd name="T17" fmla="*/ 0 h 592"/>
                <a:gd name="T18" fmla="*/ 472 w 893"/>
                <a:gd name="T19" fmla="*/ 48 h 592"/>
                <a:gd name="T20" fmla="*/ 396 w 893"/>
                <a:gd name="T21" fmla="*/ 72 h 592"/>
                <a:gd name="T22" fmla="*/ 371 w 893"/>
                <a:gd name="T23" fmla="*/ 96 h 592"/>
                <a:gd name="T24" fmla="*/ 337 w 893"/>
                <a:gd name="T25" fmla="*/ 80 h 592"/>
                <a:gd name="T26" fmla="*/ 287 w 893"/>
                <a:gd name="T27" fmla="*/ 88 h 592"/>
                <a:gd name="T28" fmla="*/ 253 w 893"/>
                <a:gd name="T29" fmla="*/ 88 h 592"/>
                <a:gd name="T30" fmla="*/ 219 w 893"/>
                <a:gd name="T31" fmla="*/ 80 h 592"/>
                <a:gd name="T32" fmla="*/ 185 w 893"/>
                <a:gd name="T33" fmla="*/ 104 h 592"/>
                <a:gd name="T34" fmla="*/ 160 w 893"/>
                <a:gd name="T35" fmla="*/ 128 h 592"/>
                <a:gd name="T36" fmla="*/ 135 w 893"/>
                <a:gd name="T37" fmla="*/ 168 h 592"/>
                <a:gd name="T38" fmla="*/ 110 w 893"/>
                <a:gd name="T39" fmla="*/ 224 h 592"/>
                <a:gd name="T40" fmla="*/ 84 w 893"/>
                <a:gd name="T41" fmla="*/ 256 h 592"/>
                <a:gd name="T42" fmla="*/ 76 w 893"/>
                <a:gd name="T43" fmla="*/ 280 h 592"/>
                <a:gd name="T44" fmla="*/ 67 w 893"/>
                <a:gd name="T45" fmla="*/ 320 h 592"/>
                <a:gd name="T46" fmla="*/ 51 w 893"/>
                <a:gd name="T47" fmla="*/ 328 h 592"/>
                <a:gd name="T48" fmla="*/ 25 w 893"/>
                <a:gd name="T49" fmla="*/ 344 h 592"/>
                <a:gd name="T50" fmla="*/ 0 w 893"/>
                <a:gd name="T51" fmla="*/ 352 h 592"/>
                <a:gd name="T52" fmla="*/ 17 w 893"/>
                <a:gd name="T53" fmla="*/ 368 h 592"/>
                <a:gd name="T54" fmla="*/ 51 w 893"/>
                <a:gd name="T55" fmla="*/ 392 h 592"/>
                <a:gd name="T56" fmla="*/ 59 w 893"/>
                <a:gd name="T57" fmla="*/ 416 h 592"/>
                <a:gd name="T58" fmla="*/ 93 w 893"/>
                <a:gd name="T59" fmla="*/ 440 h 592"/>
                <a:gd name="T60" fmla="*/ 135 w 893"/>
                <a:gd name="T61" fmla="*/ 456 h 592"/>
                <a:gd name="T62" fmla="*/ 118 w 893"/>
                <a:gd name="T63" fmla="*/ 488 h 592"/>
                <a:gd name="T64" fmla="*/ 160 w 893"/>
                <a:gd name="T65" fmla="*/ 496 h 592"/>
                <a:gd name="T66" fmla="*/ 202 w 893"/>
                <a:gd name="T67" fmla="*/ 512 h 592"/>
                <a:gd name="T68" fmla="*/ 244 w 893"/>
                <a:gd name="T69" fmla="*/ 488 h 592"/>
                <a:gd name="T70" fmla="*/ 244 w 893"/>
                <a:gd name="T71" fmla="*/ 528 h 592"/>
                <a:gd name="T72" fmla="*/ 261 w 893"/>
                <a:gd name="T73" fmla="*/ 536 h 592"/>
                <a:gd name="T74" fmla="*/ 253 w 893"/>
                <a:gd name="T75" fmla="*/ 544 h 592"/>
                <a:gd name="T76" fmla="*/ 287 w 893"/>
                <a:gd name="T77" fmla="*/ 560 h 592"/>
                <a:gd name="T78" fmla="*/ 287 w 893"/>
                <a:gd name="T79" fmla="*/ 584 h 592"/>
                <a:gd name="T80" fmla="*/ 320 w 893"/>
                <a:gd name="T81" fmla="*/ 592 h 592"/>
                <a:gd name="T82" fmla="*/ 413 w 893"/>
                <a:gd name="T83" fmla="*/ 592 h 592"/>
                <a:gd name="T84" fmla="*/ 438 w 893"/>
                <a:gd name="T85" fmla="*/ 568 h 592"/>
                <a:gd name="T86" fmla="*/ 463 w 893"/>
                <a:gd name="T87" fmla="*/ 568 h 592"/>
                <a:gd name="T88" fmla="*/ 514 w 893"/>
                <a:gd name="T89" fmla="*/ 568 h 592"/>
                <a:gd name="T90" fmla="*/ 565 w 893"/>
                <a:gd name="T91" fmla="*/ 560 h 592"/>
                <a:gd name="T92" fmla="*/ 607 w 893"/>
                <a:gd name="T93" fmla="*/ 504 h 592"/>
                <a:gd name="T94" fmla="*/ 657 w 893"/>
                <a:gd name="T95" fmla="*/ 488 h 592"/>
                <a:gd name="T96" fmla="*/ 699 w 893"/>
                <a:gd name="T97" fmla="*/ 480 h 592"/>
                <a:gd name="T98" fmla="*/ 725 w 893"/>
                <a:gd name="T99" fmla="*/ 488 h 592"/>
                <a:gd name="T100" fmla="*/ 767 w 893"/>
                <a:gd name="T101" fmla="*/ 480 h 592"/>
                <a:gd name="T102" fmla="*/ 775 w 893"/>
                <a:gd name="T103" fmla="*/ 496 h 592"/>
                <a:gd name="T104" fmla="*/ 826 w 893"/>
                <a:gd name="T105" fmla="*/ 496 h 592"/>
                <a:gd name="T106" fmla="*/ 834 w 893"/>
                <a:gd name="T107" fmla="*/ 416 h 592"/>
                <a:gd name="T108" fmla="*/ 851 w 893"/>
                <a:gd name="T109" fmla="*/ 376 h 592"/>
                <a:gd name="T110" fmla="*/ 885 w 893"/>
                <a:gd name="T111" fmla="*/ 336 h 592"/>
                <a:gd name="T112" fmla="*/ 893 w 893"/>
                <a:gd name="T113" fmla="*/ 312 h 592"/>
                <a:gd name="T114" fmla="*/ 876 w 893"/>
                <a:gd name="T115" fmla="*/ 288 h 592"/>
                <a:gd name="T116" fmla="*/ 834 w 893"/>
                <a:gd name="T117" fmla="*/ 288 h 592"/>
                <a:gd name="T118" fmla="*/ 784 w 893"/>
                <a:gd name="T119" fmla="*/ 312 h 59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93" h="592">
                  <a:moveTo>
                    <a:pt x="784" y="312"/>
                  </a:moveTo>
                  <a:lnTo>
                    <a:pt x="725" y="280"/>
                  </a:lnTo>
                  <a:lnTo>
                    <a:pt x="708" y="208"/>
                  </a:lnTo>
                  <a:lnTo>
                    <a:pt x="708" y="168"/>
                  </a:lnTo>
                  <a:lnTo>
                    <a:pt x="666" y="120"/>
                  </a:lnTo>
                  <a:lnTo>
                    <a:pt x="632" y="96"/>
                  </a:lnTo>
                  <a:lnTo>
                    <a:pt x="581" y="56"/>
                  </a:lnTo>
                  <a:lnTo>
                    <a:pt x="548" y="16"/>
                  </a:lnTo>
                  <a:lnTo>
                    <a:pt x="506" y="0"/>
                  </a:lnTo>
                  <a:lnTo>
                    <a:pt x="472" y="48"/>
                  </a:lnTo>
                  <a:lnTo>
                    <a:pt x="396" y="72"/>
                  </a:lnTo>
                  <a:lnTo>
                    <a:pt x="371" y="96"/>
                  </a:lnTo>
                  <a:lnTo>
                    <a:pt x="337" y="80"/>
                  </a:lnTo>
                  <a:lnTo>
                    <a:pt x="287" y="88"/>
                  </a:lnTo>
                  <a:lnTo>
                    <a:pt x="253" y="88"/>
                  </a:lnTo>
                  <a:lnTo>
                    <a:pt x="219" y="80"/>
                  </a:lnTo>
                  <a:lnTo>
                    <a:pt x="185" y="104"/>
                  </a:lnTo>
                  <a:lnTo>
                    <a:pt x="160" y="128"/>
                  </a:lnTo>
                  <a:lnTo>
                    <a:pt x="135" y="168"/>
                  </a:lnTo>
                  <a:lnTo>
                    <a:pt x="110" y="224"/>
                  </a:lnTo>
                  <a:lnTo>
                    <a:pt x="84" y="256"/>
                  </a:lnTo>
                  <a:lnTo>
                    <a:pt x="76" y="280"/>
                  </a:lnTo>
                  <a:lnTo>
                    <a:pt x="67" y="320"/>
                  </a:lnTo>
                  <a:lnTo>
                    <a:pt x="51" y="328"/>
                  </a:lnTo>
                  <a:lnTo>
                    <a:pt x="25" y="344"/>
                  </a:lnTo>
                  <a:lnTo>
                    <a:pt x="0" y="352"/>
                  </a:lnTo>
                  <a:lnTo>
                    <a:pt x="17" y="368"/>
                  </a:lnTo>
                  <a:lnTo>
                    <a:pt x="51" y="392"/>
                  </a:lnTo>
                  <a:lnTo>
                    <a:pt x="59" y="416"/>
                  </a:lnTo>
                  <a:lnTo>
                    <a:pt x="93" y="440"/>
                  </a:lnTo>
                  <a:lnTo>
                    <a:pt x="135" y="456"/>
                  </a:lnTo>
                  <a:lnTo>
                    <a:pt x="118" y="488"/>
                  </a:lnTo>
                  <a:lnTo>
                    <a:pt x="160" y="496"/>
                  </a:lnTo>
                  <a:lnTo>
                    <a:pt x="202" y="512"/>
                  </a:lnTo>
                  <a:lnTo>
                    <a:pt x="244" y="488"/>
                  </a:lnTo>
                  <a:lnTo>
                    <a:pt x="244" y="528"/>
                  </a:lnTo>
                  <a:lnTo>
                    <a:pt x="261" y="536"/>
                  </a:lnTo>
                  <a:lnTo>
                    <a:pt x="253" y="544"/>
                  </a:lnTo>
                  <a:lnTo>
                    <a:pt x="287" y="560"/>
                  </a:lnTo>
                  <a:lnTo>
                    <a:pt x="287" y="584"/>
                  </a:lnTo>
                  <a:lnTo>
                    <a:pt x="320" y="592"/>
                  </a:lnTo>
                  <a:lnTo>
                    <a:pt x="413" y="592"/>
                  </a:lnTo>
                  <a:lnTo>
                    <a:pt x="438" y="568"/>
                  </a:lnTo>
                  <a:lnTo>
                    <a:pt x="463" y="568"/>
                  </a:lnTo>
                  <a:lnTo>
                    <a:pt x="514" y="568"/>
                  </a:lnTo>
                  <a:lnTo>
                    <a:pt x="565" y="560"/>
                  </a:lnTo>
                  <a:lnTo>
                    <a:pt x="607" y="504"/>
                  </a:lnTo>
                  <a:lnTo>
                    <a:pt x="657" y="488"/>
                  </a:lnTo>
                  <a:lnTo>
                    <a:pt x="699" y="480"/>
                  </a:lnTo>
                  <a:lnTo>
                    <a:pt x="725" y="488"/>
                  </a:lnTo>
                  <a:lnTo>
                    <a:pt x="767" y="480"/>
                  </a:lnTo>
                  <a:lnTo>
                    <a:pt x="775" y="496"/>
                  </a:lnTo>
                  <a:lnTo>
                    <a:pt x="826" y="496"/>
                  </a:lnTo>
                  <a:lnTo>
                    <a:pt x="834" y="416"/>
                  </a:lnTo>
                  <a:lnTo>
                    <a:pt x="851" y="376"/>
                  </a:lnTo>
                  <a:lnTo>
                    <a:pt x="885" y="336"/>
                  </a:lnTo>
                  <a:lnTo>
                    <a:pt x="893" y="312"/>
                  </a:lnTo>
                  <a:lnTo>
                    <a:pt x="876" y="288"/>
                  </a:lnTo>
                  <a:lnTo>
                    <a:pt x="834" y="288"/>
                  </a:lnTo>
                  <a:lnTo>
                    <a:pt x="784" y="31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2" name="Freeform 81"/>
            <p:cNvSpPr>
              <a:spLocks/>
            </p:cNvSpPr>
            <p:nvPr>
              <p:custDataLst>
                <p:tags r:id="rId78"/>
              </p:custDataLst>
            </p:nvPr>
          </p:nvSpPr>
          <p:spPr bwMode="auto">
            <a:xfrm>
              <a:off x="5235" y="2664"/>
              <a:ext cx="354" cy="336"/>
            </a:xfrm>
            <a:custGeom>
              <a:avLst/>
              <a:gdLst>
                <a:gd name="T0" fmla="*/ 270 w 354"/>
                <a:gd name="T1" fmla="*/ 248 h 336"/>
                <a:gd name="T2" fmla="*/ 253 w 354"/>
                <a:gd name="T3" fmla="*/ 224 h 336"/>
                <a:gd name="T4" fmla="*/ 278 w 354"/>
                <a:gd name="T5" fmla="*/ 200 h 336"/>
                <a:gd name="T6" fmla="*/ 354 w 354"/>
                <a:gd name="T7" fmla="*/ 184 h 336"/>
                <a:gd name="T8" fmla="*/ 337 w 354"/>
                <a:gd name="T9" fmla="*/ 152 h 336"/>
                <a:gd name="T10" fmla="*/ 303 w 354"/>
                <a:gd name="T11" fmla="*/ 120 h 336"/>
                <a:gd name="T12" fmla="*/ 287 w 354"/>
                <a:gd name="T13" fmla="*/ 88 h 336"/>
                <a:gd name="T14" fmla="*/ 236 w 354"/>
                <a:gd name="T15" fmla="*/ 72 h 336"/>
                <a:gd name="T16" fmla="*/ 211 w 354"/>
                <a:gd name="T17" fmla="*/ 24 h 336"/>
                <a:gd name="T18" fmla="*/ 152 w 354"/>
                <a:gd name="T19" fmla="*/ 24 h 336"/>
                <a:gd name="T20" fmla="*/ 84 w 354"/>
                <a:gd name="T21" fmla="*/ 0 h 336"/>
                <a:gd name="T22" fmla="*/ 59 w 354"/>
                <a:gd name="T23" fmla="*/ 24 h 336"/>
                <a:gd name="T24" fmla="*/ 8 w 354"/>
                <a:gd name="T25" fmla="*/ 32 h 336"/>
                <a:gd name="T26" fmla="*/ 0 w 354"/>
                <a:gd name="T27" fmla="*/ 40 h 336"/>
                <a:gd name="T28" fmla="*/ 34 w 354"/>
                <a:gd name="T29" fmla="*/ 56 h 336"/>
                <a:gd name="T30" fmla="*/ 67 w 354"/>
                <a:gd name="T31" fmla="*/ 96 h 336"/>
                <a:gd name="T32" fmla="*/ 118 w 354"/>
                <a:gd name="T33" fmla="*/ 136 h 336"/>
                <a:gd name="T34" fmla="*/ 152 w 354"/>
                <a:gd name="T35" fmla="*/ 160 h 336"/>
                <a:gd name="T36" fmla="*/ 194 w 354"/>
                <a:gd name="T37" fmla="*/ 208 h 336"/>
                <a:gd name="T38" fmla="*/ 194 w 354"/>
                <a:gd name="T39" fmla="*/ 248 h 336"/>
                <a:gd name="T40" fmla="*/ 211 w 354"/>
                <a:gd name="T41" fmla="*/ 320 h 336"/>
                <a:gd name="T42" fmla="*/ 236 w 354"/>
                <a:gd name="T43" fmla="*/ 336 h 336"/>
                <a:gd name="T44" fmla="*/ 253 w 354"/>
                <a:gd name="T45" fmla="*/ 312 h 336"/>
                <a:gd name="T46" fmla="*/ 270 w 354"/>
                <a:gd name="T47" fmla="*/ 248 h 3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54" h="336">
                  <a:moveTo>
                    <a:pt x="270" y="248"/>
                  </a:moveTo>
                  <a:lnTo>
                    <a:pt x="253" y="224"/>
                  </a:lnTo>
                  <a:lnTo>
                    <a:pt x="278" y="200"/>
                  </a:lnTo>
                  <a:lnTo>
                    <a:pt x="354" y="184"/>
                  </a:lnTo>
                  <a:lnTo>
                    <a:pt x="337" y="152"/>
                  </a:lnTo>
                  <a:lnTo>
                    <a:pt x="303" y="120"/>
                  </a:lnTo>
                  <a:lnTo>
                    <a:pt x="287" y="88"/>
                  </a:lnTo>
                  <a:lnTo>
                    <a:pt x="236" y="72"/>
                  </a:lnTo>
                  <a:lnTo>
                    <a:pt x="211" y="24"/>
                  </a:lnTo>
                  <a:lnTo>
                    <a:pt x="152" y="24"/>
                  </a:lnTo>
                  <a:lnTo>
                    <a:pt x="84" y="0"/>
                  </a:lnTo>
                  <a:lnTo>
                    <a:pt x="59" y="24"/>
                  </a:lnTo>
                  <a:lnTo>
                    <a:pt x="8" y="32"/>
                  </a:lnTo>
                  <a:lnTo>
                    <a:pt x="0" y="40"/>
                  </a:lnTo>
                  <a:lnTo>
                    <a:pt x="34" y="56"/>
                  </a:lnTo>
                  <a:lnTo>
                    <a:pt x="67" y="96"/>
                  </a:lnTo>
                  <a:lnTo>
                    <a:pt x="118" y="136"/>
                  </a:lnTo>
                  <a:lnTo>
                    <a:pt x="152" y="160"/>
                  </a:lnTo>
                  <a:lnTo>
                    <a:pt x="194" y="208"/>
                  </a:lnTo>
                  <a:lnTo>
                    <a:pt x="194" y="248"/>
                  </a:lnTo>
                  <a:lnTo>
                    <a:pt x="211" y="320"/>
                  </a:lnTo>
                  <a:lnTo>
                    <a:pt x="236" y="336"/>
                  </a:lnTo>
                  <a:lnTo>
                    <a:pt x="253" y="312"/>
                  </a:lnTo>
                  <a:lnTo>
                    <a:pt x="270" y="248"/>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3" name="Freeform 82"/>
            <p:cNvSpPr>
              <a:spLocks/>
            </p:cNvSpPr>
            <p:nvPr>
              <p:custDataLst>
                <p:tags r:id="rId79"/>
              </p:custDataLst>
            </p:nvPr>
          </p:nvSpPr>
          <p:spPr bwMode="auto">
            <a:xfrm>
              <a:off x="4721" y="2704"/>
              <a:ext cx="893" cy="592"/>
            </a:xfrm>
            <a:custGeom>
              <a:avLst/>
              <a:gdLst>
                <a:gd name="T0" fmla="*/ 784 w 893"/>
                <a:gd name="T1" fmla="*/ 312 h 592"/>
                <a:gd name="T2" fmla="*/ 725 w 893"/>
                <a:gd name="T3" fmla="*/ 280 h 592"/>
                <a:gd name="T4" fmla="*/ 708 w 893"/>
                <a:gd name="T5" fmla="*/ 208 h 592"/>
                <a:gd name="T6" fmla="*/ 708 w 893"/>
                <a:gd name="T7" fmla="*/ 168 h 592"/>
                <a:gd name="T8" fmla="*/ 666 w 893"/>
                <a:gd name="T9" fmla="*/ 120 h 592"/>
                <a:gd name="T10" fmla="*/ 632 w 893"/>
                <a:gd name="T11" fmla="*/ 96 h 592"/>
                <a:gd name="T12" fmla="*/ 581 w 893"/>
                <a:gd name="T13" fmla="*/ 56 h 592"/>
                <a:gd name="T14" fmla="*/ 548 w 893"/>
                <a:gd name="T15" fmla="*/ 16 h 592"/>
                <a:gd name="T16" fmla="*/ 506 w 893"/>
                <a:gd name="T17" fmla="*/ 0 h 592"/>
                <a:gd name="T18" fmla="*/ 472 w 893"/>
                <a:gd name="T19" fmla="*/ 48 h 592"/>
                <a:gd name="T20" fmla="*/ 396 w 893"/>
                <a:gd name="T21" fmla="*/ 72 h 592"/>
                <a:gd name="T22" fmla="*/ 371 w 893"/>
                <a:gd name="T23" fmla="*/ 96 h 592"/>
                <a:gd name="T24" fmla="*/ 337 w 893"/>
                <a:gd name="T25" fmla="*/ 80 h 592"/>
                <a:gd name="T26" fmla="*/ 287 w 893"/>
                <a:gd name="T27" fmla="*/ 88 h 592"/>
                <a:gd name="T28" fmla="*/ 253 w 893"/>
                <a:gd name="T29" fmla="*/ 88 h 592"/>
                <a:gd name="T30" fmla="*/ 219 w 893"/>
                <a:gd name="T31" fmla="*/ 80 h 592"/>
                <a:gd name="T32" fmla="*/ 185 w 893"/>
                <a:gd name="T33" fmla="*/ 104 h 592"/>
                <a:gd name="T34" fmla="*/ 185 w 893"/>
                <a:gd name="T35" fmla="*/ 104 h 592"/>
                <a:gd name="T36" fmla="*/ 160 w 893"/>
                <a:gd name="T37" fmla="*/ 128 h 592"/>
                <a:gd name="T38" fmla="*/ 135 w 893"/>
                <a:gd name="T39" fmla="*/ 168 h 592"/>
                <a:gd name="T40" fmla="*/ 110 w 893"/>
                <a:gd name="T41" fmla="*/ 224 h 592"/>
                <a:gd name="T42" fmla="*/ 84 w 893"/>
                <a:gd name="T43" fmla="*/ 256 h 592"/>
                <a:gd name="T44" fmla="*/ 76 w 893"/>
                <a:gd name="T45" fmla="*/ 280 h 592"/>
                <a:gd name="T46" fmla="*/ 67 w 893"/>
                <a:gd name="T47" fmla="*/ 320 h 592"/>
                <a:gd name="T48" fmla="*/ 51 w 893"/>
                <a:gd name="T49" fmla="*/ 328 h 592"/>
                <a:gd name="T50" fmla="*/ 25 w 893"/>
                <a:gd name="T51" fmla="*/ 344 h 592"/>
                <a:gd name="T52" fmla="*/ 0 w 893"/>
                <a:gd name="T53" fmla="*/ 352 h 592"/>
                <a:gd name="T54" fmla="*/ 17 w 893"/>
                <a:gd name="T55" fmla="*/ 368 h 592"/>
                <a:gd name="T56" fmla="*/ 51 w 893"/>
                <a:gd name="T57" fmla="*/ 392 h 592"/>
                <a:gd name="T58" fmla="*/ 59 w 893"/>
                <a:gd name="T59" fmla="*/ 416 h 592"/>
                <a:gd name="T60" fmla="*/ 93 w 893"/>
                <a:gd name="T61" fmla="*/ 440 h 592"/>
                <a:gd name="T62" fmla="*/ 135 w 893"/>
                <a:gd name="T63" fmla="*/ 456 h 592"/>
                <a:gd name="T64" fmla="*/ 118 w 893"/>
                <a:gd name="T65" fmla="*/ 488 h 592"/>
                <a:gd name="T66" fmla="*/ 160 w 893"/>
                <a:gd name="T67" fmla="*/ 496 h 592"/>
                <a:gd name="T68" fmla="*/ 202 w 893"/>
                <a:gd name="T69" fmla="*/ 512 h 592"/>
                <a:gd name="T70" fmla="*/ 244 w 893"/>
                <a:gd name="T71" fmla="*/ 488 h 592"/>
                <a:gd name="T72" fmla="*/ 244 w 893"/>
                <a:gd name="T73" fmla="*/ 528 h 592"/>
                <a:gd name="T74" fmla="*/ 261 w 893"/>
                <a:gd name="T75" fmla="*/ 536 h 592"/>
                <a:gd name="T76" fmla="*/ 253 w 893"/>
                <a:gd name="T77" fmla="*/ 544 h 592"/>
                <a:gd name="T78" fmla="*/ 287 w 893"/>
                <a:gd name="T79" fmla="*/ 560 h 592"/>
                <a:gd name="T80" fmla="*/ 287 w 893"/>
                <a:gd name="T81" fmla="*/ 584 h 592"/>
                <a:gd name="T82" fmla="*/ 320 w 893"/>
                <a:gd name="T83" fmla="*/ 592 h 592"/>
                <a:gd name="T84" fmla="*/ 413 w 893"/>
                <a:gd name="T85" fmla="*/ 592 h 592"/>
                <a:gd name="T86" fmla="*/ 438 w 893"/>
                <a:gd name="T87" fmla="*/ 568 h 592"/>
                <a:gd name="T88" fmla="*/ 463 w 893"/>
                <a:gd name="T89" fmla="*/ 568 h 592"/>
                <a:gd name="T90" fmla="*/ 514 w 893"/>
                <a:gd name="T91" fmla="*/ 568 h 592"/>
                <a:gd name="T92" fmla="*/ 565 w 893"/>
                <a:gd name="T93" fmla="*/ 560 h 592"/>
                <a:gd name="T94" fmla="*/ 607 w 893"/>
                <a:gd name="T95" fmla="*/ 504 h 592"/>
                <a:gd name="T96" fmla="*/ 657 w 893"/>
                <a:gd name="T97" fmla="*/ 488 h 592"/>
                <a:gd name="T98" fmla="*/ 699 w 893"/>
                <a:gd name="T99" fmla="*/ 480 h 592"/>
                <a:gd name="T100" fmla="*/ 725 w 893"/>
                <a:gd name="T101" fmla="*/ 488 h 592"/>
                <a:gd name="T102" fmla="*/ 767 w 893"/>
                <a:gd name="T103" fmla="*/ 480 h 592"/>
                <a:gd name="T104" fmla="*/ 775 w 893"/>
                <a:gd name="T105" fmla="*/ 496 h 592"/>
                <a:gd name="T106" fmla="*/ 826 w 893"/>
                <a:gd name="T107" fmla="*/ 496 h 592"/>
                <a:gd name="T108" fmla="*/ 834 w 893"/>
                <a:gd name="T109" fmla="*/ 416 h 592"/>
                <a:gd name="T110" fmla="*/ 851 w 893"/>
                <a:gd name="T111" fmla="*/ 376 h 592"/>
                <a:gd name="T112" fmla="*/ 885 w 893"/>
                <a:gd name="T113" fmla="*/ 336 h 592"/>
                <a:gd name="T114" fmla="*/ 893 w 893"/>
                <a:gd name="T115" fmla="*/ 312 h 592"/>
                <a:gd name="T116" fmla="*/ 876 w 893"/>
                <a:gd name="T117" fmla="*/ 288 h 592"/>
                <a:gd name="T118" fmla="*/ 834 w 893"/>
                <a:gd name="T119" fmla="*/ 288 h 592"/>
                <a:gd name="T120" fmla="*/ 784 w 893"/>
                <a:gd name="T121" fmla="*/ 312 h 59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93" h="592">
                  <a:moveTo>
                    <a:pt x="784" y="312"/>
                  </a:moveTo>
                  <a:lnTo>
                    <a:pt x="725" y="280"/>
                  </a:lnTo>
                  <a:lnTo>
                    <a:pt x="708" y="208"/>
                  </a:lnTo>
                  <a:lnTo>
                    <a:pt x="708" y="168"/>
                  </a:lnTo>
                  <a:lnTo>
                    <a:pt x="666" y="120"/>
                  </a:lnTo>
                  <a:lnTo>
                    <a:pt x="632" y="96"/>
                  </a:lnTo>
                  <a:lnTo>
                    <a:pt x="581" y="56"/>
                  </a:lnTo>
                  <a:lnTo>
                    <a:pt x="548" y="16"/>
                  </a:lnTo>
                  <a:lnTo>
                    <a:pt x="506" y="0"/>
                  </a:lnTo>
                  <a:lnTo>
                    <a:pt x="472" y="48"/>
                  </a:lnTo>
                  <a:lnTo>
                    <a:pt x="396" y="72"/>
                  </a:lnTo>
                  <a:lnTo>
                    <a:pt x="371" y="96"/>
                  </a:lnTo>
                  <a:lnTo>
                    <a:pt x="337" y="80"/>
                  </a:lnTo>
                  <a:lnTo>
                    <a:pt x="287" y="88"/>
                  </a:lnTo>
                  <a:lnTo>
                    <a:pt x="253" y="88"/>
                  </a:lnTo>
                  <a:lnTo>
                    <a:pt x="219" y="80"/>
                  </a:lnTo>
                  <a:lnTo>
                    <a:pt x="185" y="104"/>
                  </a:lnTo>
                  <a:lnTo>
                    <a:pt x="160" y="128"/>
                  </a:lnTo>
                  <a:lnTo>
                    <a:pt x="135" y="168"/>
                  </a:lnTo>
                  <a:lnTo>
                    <a:pt x="110" y="224"/>
                  </a:lnTo>
                  <a:lnTo>
                    <a:pt x="84" y="256"/>
                  </a:lnTo>
                  <a:lnTo>
                    <a:pt x="76" y="280"/>
                  </a:lnTo>
                  <a:lnTo>
                    <a:pt x="67" y="320"/>
                  </a:lnTo>
                  <a:lnTo>
                    <a:pt x="51" y="328"/>
                  </a:lnTo>
                  <a:lnTo>
                    <a:pt x="25" y="344"/>
                  </a:lnTo>
                  <a:lnTo>
                    <a:pt x="0" y="352"/>
                  </a:lnTo>
                  <a:lnTo>
                    <a:pt x="17" y="368"/>
                  </a:lnTo>
                  <a:lnTo>
                    <a:pt x="51" y="392"/>
                  </a:lnTo>
                  <a:lnTo>
                    <a:pt x="59" y="416"/>
                  </a:lnTo>
                  <a:lnTo>
                    <a:pt x="93" y="440"/>
                  </a:lnTo>
                  <a:lnTo>
                    <a:pt x="135" y="456"/>
                  </a:lnTo>
                  <a:lnTo>
                    <a:pt x="118" y="488"/>
                  </a:lnTo>
                  <a:lnTo>
                    <a:pt x="160" y="496"/>
                  </a:lnTo>
                  <a:lnTo>
                    <a:pt x="202" y="512"/>
                  </a:lnTo>
                  <a:lnTo>
                    <a:pt x="244" y="488"/>
                  </a:lnTo>
                  <a:lnTo>
                    <a:pt x="244" y="528"/>
                  </a:lnTo>
                  <a:lnTo>
                    <a:pt x="261" y="536"/>
                  </a:lnTo>
                  <a:lnTo>
                    <a:pt x="253" y="544"/>
                  </a:lnTo>
                  <a:lnTo>
                    <a:pt x="287" y="560"/>
                  </a:lnTo>
                  <a:lnTo>
                    <a:pt x="287" y="584"/>
                  </a:lnTo>
                  <a:lnTo>
                    <a:pt x="320" y="592"/>
                  </a:lnTo>
                  <a:lnTo>
                    <a:pt x="413" y="592"/>
                  </a:lnTo>
                  <a:lnTo>
                    <a:pt x="438" y="568"/>
                  </a:lnTo>
                  <a:lnTo>
                    <a:pt x="463" y="568"/>
                  </a:lnTo>
                  <a:lnTo>
                    <a:pt x="514" y="568"/>
                  </a:lnTo>
                  <a:lnTo>
                    <a:pt x="565" y="560"/>
                  </a:lnTo>
                  <a:lnTo>
                    <a:pt x="607" y="504"/>
                  </a:lnTo>
                  <a:lnTo>
                    <a:pt x="657" y="488"/>
                  </a:lnTo>
                  <a:lnTo>
                    <a:pt x="699" y="480"/>
                  </a:lnTo>
                  <a:lnTo>
                    <a:pt x="725" y="488"/>
                  </a:lnTo>
                  <a:lnTo>
                    <a:pt x="767" y="480"/>
                  </a:lnTo>
                  <a:lnTo>
                    <a:pt x="775" y="496"/>
                  </a:lnTo>
                  <a:lnTo>
                    <a:pt x="826" y="496"/>
                  </a:lnTo>
                  <a:lnTo>
                    <a:pt x="834" y="416"/>
                  </a:lnTo>
                  <a:lnTo>
                    <a:pt x="851" y="376"/>
                  </a:lnTo>
                  <a:lnTo>
                    <a:pt x="885" y="336"/>
                  </a:lnTo>
                  <a:lnTo>
                    <a:pt x="893" y="312"/>
                  </a:lnTo>
                  <a:lnTo>
                    <a:pt x="876" y="288"/>
                  </a:lnTo>
                  <a:lnTo>
                    <a:pt x="834" y="288"/>
                  </a:lnTo>
                  <a:lnTo>
                    <a:pt x="784" y="312"/>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5" name="Freeform 84"/>
            <p:cNvSpPr>
              <a:spLocks/>
            </p:cNvSpPr>
            <p:nvPr>
              <p:custDataLst>
                <p:tags r:id="rId80"/>
              </p:custDataLst>
            </p:nvPr>
          </p:nvSpPr>
          <p:spPr bwMode="auto">
            <a:xfrm>
              <a:off x="4089" y="2040"/>
              <a:ext cx="860" cy="656"/>
            </a:xfrm>
            <a:custGeom>
              <a:avLst/>
              <a:gdLst>
                <a:gd name="T0" fmla="*/ 775 w 860"/>
                <a:gd name="T1" fmla="*/ 560 h 656"/>
                <a:gd name="T2" fmla="*/ 826 w 860"/>
                <a:gd name="T3" fmla="*/ 464 h 656"/>
                <a:gd name="T4" fmla="*/ 860 w 860"/>
                <a:gd name="T5" fmla="*/ 456 h 656"/>
                <a:gd name="T6" fmla="*/ 851 w 860"/>
                <a:gd name="T7" fmla="*/ 416 h 656"/>
                <a:gd name="T8" fmla="*/ 817 w 860"/>
                <a:gd name="T9" fmla="*/ 352 h 656"/>
                <a:gd name="T10" fmla="*/ 792 w 860"/>
                <a:gd name="T11" fmla="*/ 320 h 656"/>
                <a:gd name="T12" fmla="*/ 784 w 860"/>
                <a:gd name="T13" fmla="*/ 264 h 656"/>
                <a:gd name="T14" fmla="*/ 750 w 860"/>
                <a:gd name="T15" fmla="*/ 256 h 656"/>
                <a:gd name="T16" fmla="*/ 750 w 860"/>
                <a:gd name="T17" fmla="*/ 232 h 656"/>
                <a:gd name="T18" fmla="*/ 792 w 860"/>
                <a:gd name="T19" fmla="*/ 184 h 656"/>
                <a:gd name="T20" fmla="*/ 750 w 860"/>
                <a:gd name="T21" fmla="*/ 104 h 656"/>
                <a:gd name="T22" fmla="*/ 725 w 860"/>
                <a:gd name="T23" fmla="*/ 40 h 656"/>
                <a:gd name="T24" fmla="*/ 666 w 860"/>
                <a:gd name="T25" fmla="*/ 16 h 656"/>
                <a:gd name="T26" fmla="*/ 531 w 860"/>
                <a:gd name="T27" fmla="*/ 40 h 656"/>
                <a:gd name="T28" fmla="*/ 447 w 860"/>
                <a:gd name="T29" fmla="*/ 24 h 656"/>
                <a:gd name="T30" fmla="*/ 405 w 860"/>
                <a:gd name="T31" fmla="*/ 48 h 656"/>
                <a:gd name="T32" fmla="*/ 362 w 860"/>
                <a:gd name="T33" fmla="*/ 40 h 656"/>
                <a:gd name="T34" fmla="*/ 329 w 860"/>
                <a:gd name="T35" fmla="*/ 24 h 656"/>
                <a:gd name="T36" fmla="*/ 295 w 860"/>
                <a:gd name="T37" fmla="*/ 0 h 656"/>
                <a:gd name="T38" fmla="*/ 253 w 860"/>
                <a:gd name="T39" fmla="*/ 8 h 656"/>
                <a:gd name="T40" fmla="*/ 177 w 860"/>
                <a:gd name="T41" fmla="*/ 40 h 656"/>
                <a:gd name="T42" fmla="*/ 169 w 860"/>
                <a:gd name="T43" fmla="*/ 72 h 656"/>
                <a:gd name="T44" fmla="*/ 126 w 860"/>
                <a:gd name="T45" fmla="*/ 88 h 656"/>
                <a:gd name="T46" fmla="*/ 25 w 860"/>
                <a:gd name="T47" fmla="*/ 128 h 656"/>
                <a:gd name="T48" fmla="*/ 9 w 860"/>
                <a:gd name="T49" fmla="*/ 128 h 656"/>
                <a:gd name="T50" fmla="*/ 17 w 860"/>
                <a:gd name="T51" fmla="*/ 176 h 656"/>
                <a:gd name="T52" fmla="*/ 25 w 860"/>
                <a:gd name="T53" fmla="*/ 208 h 656"/>
                <a:gd name="T54" fmla="*/ 0 w 860"/>
                <a:gd name="T55" fmla="*/ 256 h 656"/>
                <a:gd name="T56" fmla="*/ 51 w 860"/>
                <a:gd name="T57" fmla="*/ 288 h 656"/>
                <a:gd name="T58" fmla="*/ 51 w 860"/>
                <a:gd name="T59" fmla="*/ 320 h 656"/>
                <a:gd name="T60" fmla="*/ 76 w 860"/>
                <a:gd name="T61" fmla="*/ 360 h 656"/>
                <a:gd name="T62" fmla="*/ 59 w 860"/>
                <a:gd name="T63" fmla="*/ 400 h 656"/>
                <a:gd name="T64" fmla="*/ 84 w 860"/>
                <a:gd name="T65" fmla="*/ 432 h 656"/>
                <a:gd name="T66" fmla="*/ 84 w 860"/>
                <a:gd name="T67" fmla="*/ 472 h 656"/>
                <a:gd name="T68" fmla="*/ 126 w 860"/>
                <a:gd name="T69" fmla="*/ 496 h 656"/>
                <a:gd name="T70" fmla="*/ 169 w 860"/>
                <a:gd name="T71" fmla="*/ 512 h 656"/>
                <a:gd name="T72" fmla="*/ 211 w 860"/>
                <a:gd name="T73" fmla="*/ 512 h 656"/>
                <a:gd name="T74" fmla="*/ 202 w 860"/>
                <a:gd name="T75" fmla="*/ 544 h 656"/>
                <a:gd name="T76" fmla="*/ 244 w 860"/>
                <a:gd name="T77" fmla="*/ 576 h 656"/>
                <a:gd name="T78" fmla="*/ 270 w 860"/>
                <a:gd name="T79" fmla="*/ 560 h 656"/>
                <a:gd name="T80" fmla="*/ 270 w 860"/>
                <a:gd name="T81" fmla="*/ 536 h 656"/>
                <a:gd name="T82" fmla="*/ 320 w 860"/>
                <a:gd name="T83" fmla="*/ 552 h 656"/>
                <a:gd name="T84" fmla="*/ 337 w 860"/>
                <a:gd name="T85" fmla="*/ 576 h 656"/>
                <a:gd name="T86" fmla="*/ 379 w 860"/>
                <a:gd name="T87" fmla="*/ 584 h 656"/>
                <a:gd name="T88" fmla="*/ 421 w 860"/>
                <a:gd name="T89" fmla="*/ 592 h 656"/>
                <a:gd name="T90" fmla="*/ 438 w 860"/>
                <a:gd name="T91" fmla="*/ 624 h 656"/>
                <a:gd name="T92" fmla="*/ 464 w 860"/>
                <a:gd name="T93" fmla="*/ 640 h 656"/>
                <a:gd name="T94" fmla="*/ 497 w 860"/>
                <a:gd name="T95" fmla="*/ 616 h 656"/>
                <a:gd name="T96" fmla="*/ 523 w 860"/>
                <a:gd name="T97" fmla="*/ 640 h 656"/>
                <a:gd name="T98" fmla="*/ 531 w 860"/>
                <a:gd name="T99" fmla="*/ 656 h 656"/>
                <a:gd name="T100" fmla="*/ 556 w 860"/>
                <a:gd name="T101" fmla="*/ 656 h 656"/>
                <a:gd name="T102" fmla="*/ 581 w 860"/>
                <a:gd name="T103" fmla="*/ 632 h 656"/>
                <a:gd name="T104" fmla="*/ 615 w 860"/>
                <a:gd name="T105" fmla="*/ 632 h 656"/>
                <a:gd name="T106" fmla="*/ 640 w 860"/>
                <a:gd name="T107" fmla="*/ 616 h 656"/>
                <a:gd name="T108" fmla="*/ 683 w 860"/>
                <a:gd name="T109" fmla="*/ 616 h 656"/>
                <a:gd name="T110" fmla="*/ 708 w 860"/>
                <a:gd name="T111" fmla="*/ 624 h 656"/>
                <a:gd name="T112" fmla="*/ 767 w 860"/>
                <a:gd name="T113" fmla="*/ 632 h 656"/>
                <a:gd name="T114" fmla="*/ 758 w 860"/>
                <a:gd name="T115" fmla="*/ 640 h 656"/>
                <a:gd name="T116" fmla="*/ 792 w 860"/>
                <a:gd name="T117" fmla="*/ 632 h 656"/>
                <a:gd name="T118" fmla="*/ 775 w 860"/>
                <a:gd name="T119" fmla="*/ 560 h 6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60" h="656">
                  <a:moveTo>
                    <a:pt x="775" y="560"/>
                  </a:moveTo>
                  <a:lnTo>
                    <a:pt x="826" y="464"/>
                  </a:lnTo>
                  <a:lnTo>
                    <a:pt x="860" y="456"/>
                  </a:lnTo>
                  <a:lnTo>
                    <a:pt x="851" y="416"/>
                  </a:lnTo>
                  <a:lnTo>
                    <a:pt x="817" y="352"/>
                  </a:lnTo>
                  <a:lnTo>
                    <a:pt x="792" y="320"/>
                  </a:lnTo>
                  <a:lnTo>
                    <a:pt x="784" y="264"/>
                  </a:lnTo>
                  <a:lnTo>
                    <a:pt x="750" y="256"/>
                  </a:lnTo>
                  <a:lnTo>
                    <a:pt x="750" y="232"/>
                  </a:lnTo>
                  <a:lnTo>
                    <a:pt x="792" y="184"/>
                  </a:lnTo>
                  <a:lnTo>
                    <a:pt x="750" y="104"/>
                  </a:lnTo>
                  <a:lnTo>
                    <a:pt x="725" y="40"/>
                  </a:lnTo>
                  <a:lnTo>
                    <a:pt x="666" y="16"/>
                  </a:lnTo>
                  <a:lnTo>
                    <a:pt x="531" y="40"/>
                  </a:lnTo>
                  <a:lnTo>
                    <a:pt x="447" y="24"/>
                  </a:lnTo>
                  <a:lnTo>
                    <a:pt x="405" y="48"/>
                  </a:lnTo>
                  <a:lnTo>
                    <a:pt x="362" y="40"/>
                  </a:lnTo>
                  <a:lnTo>
                    <a:pt x="329" y="24"/>
                  </a:lnTo>
                  <a:lnTo>
                    <a:pt x="295" y="0"/>
                  </a:lnTo>
                  <a:lnTo>
                    <a:pt x="253" y="8"/>
                  </a:lnTo>
                  <a:lnTo>
                    <a:pt x="177" y="40"/>
                  </a:lnTo>
                  <a:lnTo>
                    <a:pt x="169" y="72"/>
                  </a:lnTo>
                  <a:lnTo>
                    <a:pt x="126" y="88"/>
                  </a:lnTo>
                  <a:lnTo>
                    <a:pt x="25" y="128"/>
                  </a:lnTo>
                  <a:lnTo>
                    <a:pt x="9" y="128"/>
                  </a:lnTo>
                  <a:lnTo>
                    <a:pt x="17" y="176"/>
                  </a:lnTo>
                  <a:lnTo>
                    <a:pt x="25" y="208"/>
                  </a:lnTo>
                  <a:lnTo>
                    <a:pt x="0" y="256"/>
                  </a:lnTo>
                  <a:lnTo>
                    <a:pt x="51" y="288"/>
                  </a:lnTo>
                  <a:lnTo>
                    <a:pt x="51" y="320"/>
                  </a:lnTo>
                  <a:lnTo>
                    <a:pt x="76" y="360"/>
                  </a:lnTo>
                  <a:lnTo>
                    <a:pt x="59" y="400"/>
                  </a:lnTo>
                  <a:lnTo>
                    <a:pt x="84" y="432"/>
                  </a:lnTo>
                  <a:lnTo>
                    <a:pt x="84" y="472"/>
                  </a:lnTo>
                  <a:lnTo>
                    <a:pt x="126" y="496"/>
                  </a:lnTo>
                  <a:lnTo>
                    <a:pt x="169" y="512"/>
                  </a:lnTo>
                  <a:lnTo>
                    <a:pt x="211" y="512"/>
                  </a:lnTo>
                  <a:lnTo>
                    <a:pt x="202" y="544"/>
                  </a:lnTo>
                  <a:lnTo>
                    <a:pt x="244" y="576"/>
                  </a:lnTo>
                  <a:lnTo>
                    <a:pt x="270" y="560"/>
                  </a:lnTo>
                  <a:lnTo>
                    <a:pt x="270" y="536"/>
                  </a:lnTo>
                  <a:lnTo>
                    <a:pt x="320" y="552"/>
                  </a:lnTo>
                  <a:lnTo>
                    <a:pt x="337" y="576"/>
                  </a:lnTo>
                  <a:lnTo>
                    <a:pt x="379" y="584"/>
                  </a:lnTo>
                  <a:lnTo>
                    <a:pt x="421" y="592"/>
                  </a:lnTo>
                  <a:lnTo>
                    <a:pt x="438" y="624"/>
                  </a:lnTo>
                  <a:lnTo>
                    <a:pt x="464" y="640"/>
                  </a:lnTo>
                  <a:lnTo>
                    <a:pt x="497" y="616"/>
                  </a:lnTo>
                  <a:lnTo>
                    <a:pt x="523" y="640"/>
                  </a:lnTo>
                  <a:lnTo>
                    <a:pt x="531" y="656"/>
                  </a:lnTo>
                  <a:lnTo>
                    <a:pt x="556" y="656"/>
                  </a:lnTo>
                  <a:lnTo>
                    <a:pt x="581" y="632"/>
                  </a:lnTo>
                  <a:lnTo>
                    <a:pt x="615" y="632"/>
                  </a:lnTo>
                  <a:lnTo>
                    <a:pt x="640" y="616"/>
                  </a:lnTo>
                  <a:lnTo>
                    <a:pt x="683" y="616"/>
                  </a:lnTo>
                  <a:lnTo>
                    <a:pt x="708" y="624"/>
                  </a:lnTo>
                  <a:lnTo>
                    <a:pt x="767" y="632"/>
                  </a:lnTo>
                  <a:lnTo>
                    <a:pt x="758" y="640"/>
                  </a:lnTo>
                  <a:lnTo>
                    <a:pt x="792" y="632"/>
                  </a:lnTo>
                  <a:lnTo>
                    <a:pt x="775" y="56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6" name="Freeform 85"/>
            <p:cNvSpPr>
              <a:spLocks/>
            </p:cNvSpPr>
            <p:nvPr>
              <p:custDataLst>
                <p:tags r:id="rId81"/>
              </p:custDataLst>
            </p:nvPr>
          </p:nvSpPr>
          <p:spPr bwMode="auto">
            <a:xfrm>
              <a:off x="4536" y="1976"/>
              <a:ext cx="210" cy="112"/>
            </a:xfrm>
            <a:custGeom>
              <a:avLst/>
              <a:gdLst>
                <a:gd name="T0" fmla="*/ 168 w 210"/>
                <a:gd name="T1" fmla="*/ 8 h 112"/>
                <a:gd name="T2" fmla="*/ 109 w 210"/>
                <a:gd name="T3" fmla="*/ 8 h 112"/>
                <a:gd name="T4" fmla="*/ 76 w 210"/>
                <a:gd name="T5" fmla="*/ 0 h 112"/>
                <a:gd name="T6" fmla="*/ 67 w 210"/>
                <a:gd name="T7" fmla="*/ 24 h 112"/>
                <a:gd name="T8" fmla="*/ 42 w 210"/>
                <a:gd name="T9" fmla="*/ 32 h 112"/>
                <a:gd name="T10" fmla="*/ 8 w 210"/>
                <a:gd name="T11" fmla="*/ 48 h 112"/>
                <a:gd name="T12" fmla="*/ 8 w 210"/>
                <a:gd name="T13" fmla="*/ 72 h 112"/>
                <a:gd name="T14" fmla="*/ 0 w 210"/>
                <a:gd name="T15" fmla="*/ 96 h 112"/>
                <a:gd name="T16" fmla="*/ 84 w 210"/>
                <a:gd name="T17" fmla="*/ 112 h 112"/>
                <a:gd name="T18" fmla="*/ 210 w 210"/>
                <a:gd name="T19" fmla="*/ 88 h 112"/>
                <a:gd name="T20" fmla="*/ 193 w 210"/>
                <a:gd name="T21" fmla="*/ 16 h 112"/>
                <a:gd name="T22" fmla="*/ 168 w 210"/>
                <a:gd name="T23" fmla="*/ 8 h 1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0" h="112">
                  <a:moveTo>
                    <a:pt x="168" y="8"/>
                  </a:moveTo>
                  <a:lnTo>
                    <a:pt x="109" y="8"/>
                  </a:lnTo>
                  <a:lnTo>
                    <a:pt x="76" y="0"/>
                  </a:lnTo>
                  <a:lnTo>
                    <a:pt x="67" y="24"/>
                  </a:lnTo>
                  <a:lnTo>
                    <a:pt x="42" y="32"/>
                  </a:lnTo>
                  <a:lnTo>
                    <a:pt x="8" y="48"/>
                  </a:lnTo>
                  <a:lnTo>
                    <a:pt x="8" y="72"/>
                  </a:lnTo>
                  <a:lnTo>
                    <a:pt x="0" y="96"/>
                  </a:lnTo>
                  <a:lnTo>
                    <a:pt x="84" y="112"/>
                  </a:lnTo>
                  <a:lnTo>
                    <a:pt x="210" y="88"/>
                  </a:lnTo>
                  <a:lnTo>
                    <a:pt x="193" y="16"/>
                  </a:lnTo>
                  <a:lnTo>
                    <a:pt x="168" y="8"/>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7" name="Freeform 86"/>
            <p:cNvSpPr>
              <a:spLocks/>
            </p:cNvSpPr>
            <p:nvPr>
              <p:custDataLst>
                <p:tags r:id="rId82"/>
              </p:custDataLst>
            </p:nvPr>
          </p:nvSpPr>
          <p:spPr bwMode="auto">
            <a:xfrm>
              <a:off x="4089" y="2040"/>
              <a:ext cx="860" cy="656"/>
            </a:xfrm>
            <a:custGeom>
              <a:avLst/>
              <a:gdLst>
                <a:gd name="T0" fmla="*/ 775 w 860"/>
                <a:gd name="T1" fmla="*/ 560 h 656"/>
                <a:gd name="T2" fmla="*/ 826 w 860"/>
                <a:gd name="T3" fmla="*/ 464 h 656"/>
                <a:gd name="T4" fmla="*/ 860 w 860"/>
                <a:gd name="T5" fmla="*/ 456 h 656"/>
                <a:gd name="T6" fmla="*/ 851 w 860"/>
                <a:gd name="T7" fmla="*/ 416 h 656"/>
                <a:gd name="T8" fmla="*/ 817 w 860"/>
                <a:gd name="T9" fmla="*/ 352 h 656"/>
                <a:gd name="T10" fmla="*/ 792 w 860"/>
                <a:gd name="T11" fmla="*/ 320 h 656"/>
                <a:gd name="T12" fmla="*/ 784 w 860"/>
                <a:gd name="T13" fmla="*/ 264 h 656"/>
                <a:gd name="T14" fmla="*/ 750 w 860"/>
                <a:gd name="T15" fmla="*/ 256 h 656"/>
                <a:gd name="T16" fmla="*/ 750 w 860"/>
                <a:gd name="T17" fmla="*/ 232 h 656"/>
                <a:gd name="T18" fmla="*/ 792 w 860"/>
                <a:gd name="T19" fmla="*/ 184 h 656"/>
                <a:gd name="T20" fmla="*/ 750 w 860"/>
                <a:gd name="T21" fmla="*/ 104 h 656"/>
                <a:gd name="T22" fmla="*/ 725 w 860"/>
                <a:gd name="T23" fmla="*/ 40 h 656"/>
                <a:gd name="T24" fmla="*/ 666 w 860"/>
                <a:gd name="T25" fmla="*/ 16 h 656"/>
                <a:gd name="T26" fmla="*/ 531 w 860"/>
                <a:gd name="T27" fmla="*/ 40 h 656"/>
                <a:gd name="T28" fmla="*/ 447 w 860"/>
                <a:gd name="T29" fmla="*/ 24 h 656"/>
                <a:gd name="T30" fmla="*/ 405 w 860"/>
                <a:gd name="T31" fmla="*/ 48 h 656"/>
                <a:gd name="T32" fmla="*/ 362 w 860"/>
                <a:gd name="T33" fmla="*/ 40 h 656"/>
                <a:gd name="T34" fmla="*/ 329 w 860"/>
                <a:gd name="T35" fmla="*/ 24 h 656"/>
                <a:gd name="T36" fmla="*/ 295 w 860"/>
                <a:gd name="T37" fmla="*/ 0 h 656"/>
                <a:gd name="T38" fmla="*/ 253 w 860"/>
                <a:gd name="T39" fmla="*/ 8 h 656"/>
                <a:gd name="T40" fmla="*/ 177 w 860"/>
                <a:gd name="T41" fmla="*/ 40 h 656"/>
                <a:gd name="T42" fmla="*/ 169 w 860"/>
                <a:gd name="T43" fmla="*/ 72 h 656"/>
                <a:gd name="T44" fmla="*/ 126 w 860"/>
                <a:gd name="T45" fmla="*/ 88 h 656"/>
                <a:gd name="T46" fmla="*/ 25 w 860"/>
                <a:gd name="T47" fmla="*/ 128 h 656"/>
                <a:gd name="T48" fmla="*/ 9 w 860"/>
                <a:gd name="T49" fmla="*/ 128 h 656"/>
                <a:gd name="T50" fmla="*/ 17 w 860"/>
                <a:gd name="T51" fmla="*/ 176 h 656"/>
                <a:gd name="T52" fmla="*/ 25 w 860"/>
                <a:gd name="T53" fmla="*/ 208 h 656"/>
                <a:gd name="T54" fmla="*/ 0 w 860"/>
                <a:gd name="T55" fmla="*/ 256 h 656"/>
                <a:gd name="T56" fmla="*/ 51 w 860"/>
                <a:gd name="T57" fmla="*/ 288 h 656"/>
                <a:gd name="T58" fmla="*/ 51 w 860"/>
                <a:gd name="T59" fmla="*/ 320 h 656"/>
                <a:gd name="T60" fmla="*/ 76 w 860"/>
                <a:gd name="T61" fmla="*/ 360 h 656"/>
                <a:gd name="T62" fmla="*/ 59 w 860"/>
                <a:gd name="T63" fmla="*/ 400 h 656"/>
                <a:gd name="T64" fmla="*/ 84 w 860"/>
                <a:gd name="T65" fmla="*/ 432 h 656"/>
                <a:gd name="T66" fmla="*/ 84 w 860"/>
                <a:gd name="T67" fmla="*/ 472 h 656"/>
                <a:gd name="T68" fmla="*/ 126 w 860"/>
                <a:gd name="T69" fmla="*/ 496 h 656"/>
                <a:gd name="T70" fmla="*/ 169 w 860"/>
                <a:gd name="T71" fmla="*/ 512 h 656"/>
                <a:gd name="T72" fmla="*/ 211 w 860"/>
                <a:gd name="T73" fmla="*/ 512 h 656"/>
                <a:gd name="T74" fmla="*/ 202 w 860"/>
                <a:gd name="T75" fmla="*/ 544 h 656"/>
                <a:gd name="T76" fmla="*/ 244 w 860"/>
                <a:gd name="T77" fmla="*/ 576 h 656"/>
                <a:gd name="T78" fmla="*/ 270 w 860"/>
                <a:gd name="T79" fmla="*/ 560 h 656"/>
                <a:gd name="T80" fmla="*/ 270 w 860"/>
                <a:gd name="T81" fmla="*/ 536 h 656"/>
                <a:gd name="T82" fmla="*/ 320 w 860"/>
                <a:gd name="T83" fmla="*/ 552 h 656"/>
                <a:gd name="T84" fmla="*/ 337 w 860"/>
                <a:gd name="T85" fmla="*/ 576 h 656"/>
                <a:gd name="T86" fmla="*/ 379 w 860"/>
                <a:gd name="T87" fmla="*/ 584 h 656"/>
                <a:gd name="T88" fmla="*/ 421 w 860"/>
                <a:gd name="T89" fmla="*/ 592 h 656"/>
                <a:gd name="T90" fmla="*/ 438 w 860"/>
                <a:gd name="T91" fmla="*/ 624 h 656"/>
                <a:gd name="T92" fmla="*/ 438 w 860"/>
                <a:gd name="T93" fmla="*/ 624 h 656"/>
                <a:gd name="T94" fmla="*/ 464 w 860"/>
                <a:gd name="T95" fmla="*/ 640 h 656"/>
                <a:gd name="T96" fmla="*/ 497 w 860"/>
                <a:gd name="T97" fmla="*/ 616 h 656"/>
                <a:gd name="T98" fmla="*/ 523 w 860"/>
                <a:gd name="T99" fmla="*/ 640 h 656"/>
                <a:gd name="T100" fmla="*/ 531 w 860"/>
                <a:gd name="T101" fmla="*/ 656 h 656"/>
                <a:gd name="T102" fmla="*/ 556 w 860"/>
                <a:gd name="T103" fmla="*/ 656 h 656"/>
                <a:gd name="T104" fmla="*/ 581 w 860"/>
                <a:gd name="T105" fmla="*/ 632 h 656"/>
                <a:gd name="T106" fmla="*/ 615 w 860"/>
                <a:gd name="T107" fmla="*/ 632 h 656"/>
                <a:gd name="T108" fmla="*/ 640 w 860"/>
                <a:gd name="T109" fmla="*/ 616 h 656"/>
                <a:gd name="T110" fmla="*/ 683 w 860"/>
                <a:gd name="T111" fmla="*/ 616 h 656"/>
                <a:gd name="T112" fmla="*/ 708 w 860"/>
                <a:gd name="T113" fmla="*/ 624 h 656"/>
                <a:gd name="T114" fmla="*/ 767 w 860"/>
                <a:gd name="T115" fmla="*/ 632 h 656"/>
                <a:gd name="T116" fmla="*/ 758 w 860"/>
                <a:gd name="T117" fmla="*/ 640 h 656"/>
                <a:gd name="T118" fmla="*/ 792 w 860"/>
                <a:gd name="T119" fmla="*/ 632 h 656"/>
                <a:gd name="T120" fmla="*/ 775 w 860"/>
                <a:gd name="T121" fmla="*/ 560 h 65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60" h="656">
                  <a:moveTo>
                    <a:pt x="775" y="560"/>
                  </a:moveTo>
                  <a:lnTo>
                    <a:pt x="826" y="464"/>
                  </a:lnTo>
                  <a:lnTo>
                    <a:pt x="860" y="456"/>
                  </a:lnTo>
                  <a:lnTo>
                    <a:pt x="851" y="416"/>
                  </a:lnTo>
                  <a:lnTo>
                    <a:pt x="817" y="352"/>
                  </a:lnTo>
                  <a:lnTo>
                    <a:pt x="792" y="320"/>
                  </a:lnTo>
                  <a:lnTo>
                    <a:pt x="784" y="264"/>
                  </a:lnTo>
                  <a:lnTo>
                    <a:pt x="750" y="256"/>
                  </a:lnTo>
                  <a:lnTo>
                    <a:pt x="750" y="232"/>
                  </a:lnTo>
                  <a:lnTo>
                    <a:pt x="792" y="184"/>
                  </a:lnTo>
                  <a:lnTo>
                    <a:pt x="750" y="104"/>
                  </a:lnTo>
                  <a:lnTo>
                    <a:pt x="725" y="40"/>
                  </a:lnTo>
                  <a:lnTo>
                    <a:pt x="666" y="16"/>
                  </a:lnTo>
                  <a:lnTo>
                    <a:pt x="531" y="40"/>
                  </a:lnTo>
                  <a:lnTo>
                    <a:pt x="447" y="24"/>
                  </a:lnTo>
                  <a:lnTo>
                    <a:pt x="405" y="48"/>
                  </a:lnTo>
                  <a:lnTo>
                    <a:pt x="362" y="40"/>
                  </a:lnTo>
                  <a:lnTo>
                    <a:pt x="329" y="24"/>
                  </a:lnTo>
                  <a:lnTo>
                    <a:pt x="295" y="0"/>
                  </a:lnTo>
                  <a:lnTo>
                    <a:pt x="253" y="8"/>
                  </a:lnTo>
                  <a:lnTo>
                    <a:pt x="177" y="40"/>
                  </a:lnTo>
                  <a:lnTo>
                    <a:pt x="169" y="72"/>
                  </a:lnTo>
                  <a:lnTo>
                    <a:pt x="126" y="88"/>
                  </a:lnTo>
                  <a:lnTo>
                    <a:pt x="25" y="128"/>
                  </a:lnTo>
                  <a:lnTo>
                    <a:pt x="9" y="128"/>
                  </a:lnTo>
                  <a:lnTo>
                    <a:pt x="17" y="176"/>
                  </a:lnTo>
                  <a:lnTo>
                    <a:pt x="25" y="208"/>
                  </a:lnTo>
                  <a:lnTo>
                    <a:pt x="0" y="256"/>
                  </a:lnTo>
                  <a:lnTo>
                    <a:pt x="51" y="288"/>
                  </a:lnTo>
                  <a:lnTo>
                    <a:pt x="51" y="320"/>
                  </a:lnTo>
                  <a:lnTo>
                    <a:pt x="76" y="360"/>
                  </a:lnTo>
                  <a:lnTo>
                    <a:pt x="59" y="400"/>
                  </a:lnTo>
                  <a:lnTo>
                    <a:pt x="84" y="432"/>
                  </a:lnTo>
                  <a:lnTo>
                    <a:pt x="84" y="472"/>
                  </a:lnTo>
                  <a:lnTo>
                    <a:pt x="126" y="496"/>
                  </a:lnTo>
                  <a:lnTo>
                    <a:pt x="169" y="512"/>
                  </a:lnTo>
                  <a:lnTo>
                    <a:pt x="211" y="512"/>
                  </a:lnTo>
                  <a:lnTo>
                    <a:pt x="202" y="544"/>
                  </a:lnTo>
                  <a:lnTo>
                    <a:pt x="244" y="576"/>
                  </a:lnTo>
                  <a:lnTo>
                    <a:pt x="270" y="560"/>
                  </a:lnTo>
                  <a:lnTo>
                    <a:pt x="270" y="536"/>
                  </a:lnTo>
                  <a:lnTo>
                    <a:pt x="320" y="552"/>
                  </a:lnTo>
                  <a:lnTo>
                    <a:pt x="337" y="576"/>
                  </a:lnTo>
                  <a:lnTo>
                    <a:pt x="379" y="584"/>
                  </a:lnTo>
                  <a:lnTo>
                    <a:pt x="421" y="592"/>
                  </a:lnTo>
                  <a:lnTo>
                    <a:pt x="438" y="624"/>
                  </a:lnTo>
                  <a:lnTo>
                    <a:pt x="464" y="640"/>
                  </a:lnTo>
                  <a:lnTo>
                    <a:pt x="497" y="616"/>
                  </a:lnTo>
                  <a:lnTo>
                    <a:pt x="523" y="640"/>
                  </a:lnTo>
                  <a:lnTo>
                    <a:pt x="531" y="656"/>
                  </a:lnTo>
                  <a:lnTo>
                    <a:pt x="556" y="656"/>
                  </a:lnTo>
                  <a:lnTo>
                    <a:pt x="581" y="632"/>
                  </a:lnTo>
                  <a:lnTo>
                    <a:pt x="615" y="632"/>
                  </a:lnTo>
                  <a:lnTo>
                    <a:pt x="640" y="616"/>
                  </a:lnTo>
                  <a:lnTo>
                    <a:pt x="683" y="616"/>
                  </a:lnTo>
                  <a:lnTo>
                    <a:pt x="708" y="624"/>
                  </a:lnTo>
                  <a:lnTo>
                    <a:pt x="767" y="632"/>
                  </a:lnTo>
                  <a:lnTo>
                    <a:pt x="758" y="640"/>
                  </a:lnTo>
                  <a:lnTo>
                    <a:pt x="792" y="632"/>
                  </a:lnTo>
                  <a:lnTo>
                    <a:pt x="775" y="560"/>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8" name="Freeform 87"/>
            <p:cNvSpPr>
              <a:spLocks/>
            </p:cNvSpPr>
            <p:nvPr>
              <p:custDataLst>
                <p:tags r:id="rId83"/>
              </p:custDataLst>
            </p:nvPr>
          </p:nvSpPr>
          <p:spPr bwMode="auto">
            <a:xfrm>
              <a:off x="4536" y="1968"/>
              <a:ext cx="210" cy="112"/>
            </a:xfrm>
            <a:custGeom>
              <a:avLst/>
              <a:gdLst>
                <a:gd name="T0" fmla="*/ 168 w 210"/>
                <a:gd name="T1" fmla="*/ 8 h 112"/>
                <a:gd name="T2" fmla="*/ 109 w 210"/>
                <a:gd name="T3" fmla="*/ 8 h 112"/>
                <a:gd name="T4" fmla="*/ 76 w 210"/>
                <a:gd name="T5" fmla="*/ 0 h 112"/>
                <a:gd name="T6" fmla="*/ 67 w 210"/>
                <a:gd name="T7" fmla="*/ 24 h 112"/>
                <a:gd name="T8" fmla="*/ 42 w 210"/>
                <a:gd name="T9" fmla="*/ 32 h 112"/>
                <a:gd name="T10" fmla="*/ 8 w 210"/>
                <a:gd name="T11" fmla="*/ 48 h 112"/>
                <a:gd name="T12" fmla="*/ 8 w 210"/>
                <a:gd name="T13" fmla="*/ 72 h 112"/>
                <a:gd name="T14" fmla="*/ 0 w 210"/>
                <a:gd name="T15" fmla="*/ 96 h 112"/>
                <a:gd name="T16" fmla="*/ 84 w 210"/>
                <a:gd name="T17" fmla="*/ 112 h 112"/>
                <a:gd name="T18" fmla="*/ 210 w 210"/>
                <a:gd name="T19" fmla="*/ 88 h 112"/>
                <a:gd name="T20" fmla="*/ 193 w 210"/>
                <a:gd name="T21" fmla="*/ 16 h 112"/>
                <a:gd name="T22" fmla="*/ 168 w 210"/>
                <a:gd name="T23" fmla="*/ 8 h 1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0" h="112">
                  <a:moveTo>
                    <a:pt x="168" y="8"/>
                  </a:moveTo>
                  <a:lnTo>
                    <a:pt x="109" y="8"/>
                  </a:lnTo>
                  <a:lnTo>
                    <a:pt x="76" y="0"/>
                  </a:lnTo>
                  <a:lnTo>
                    <a:pt x="67" y="24"/>
                  </a:lnTo>
                  <a:lnTo>
                    <a:pt x="42" y="32"/>
                  </a:lnTo>
                  <a:lnTo>
                    <a:pt x="8" y="48"/>
                  </a:lnTo>
                  <a:lnTo>
                    <a:pt x="8" y="72"/>
                  </a:lnTo>
                  <a:lnTo>
                    <a:pt x="0" y="96"/>
                  </a:lnTo>
                  <a:lnTo>
                    <a:pt x="84" y="112"/>
                  </a:lnTo>
                  <a:lnTo>
                    <a:pt x="210" y="88"/>
                  </a:lnTo>
                  <a:lnTo>
                    <a:pt x="193" y="16"/>
                  </a:lnTo>
                  <a:lnTo>
                    <a:pt x="168" y="8"/>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9" name="Freeform 88"/>
            <p:cNvSpPr>
              <a:spLocks/>
            </p:cNvSpPr>
            <p:nvPr>
              <p:custDataLst>
                <p:tags r:id="rId84"/>
              </p:custDataLst>
            </p:nvPr>
          </p:nvSpPr>
          <p:spPr bwMode="auto">
            <a:xfrm>
              <a:off x="4578" y="1792"/>
              <a:ext cx="455" cy="320"/>
            </a:xfrm>
            <a:custGeom>
              <a:avLst/>
              <a:gdLst>
                <a:gd name="T0" fmla="*/ 312 w 455"/>
                <a:gd name="T1" fmla="*/ 304 h 320"/>
                <a:gd name="T2" fmla="*/ 328 w 455"/>
                <a:gd name="T3" fmla="*/ 296 h 320"/>
                <a:gd name="T4" fmla="*/ 320 w 455"/>
                <a:gd name="T5" fmla="*/ 272 h 320"/>
                <a:gd name="T6" fmla="*/ 354 w 455"/>
                <a:gd name="T7" fmla="*/ 264 h 320"/>
                <a:gd name="T8" fmla="*/ 379 w 455"/>
                <a:gd name="T9" fmla="*/ 248 h 320"/>
                <a:gd name="T10" fmla="*/ 404 w 455"/>
                <a:gd name="T11" fmla="*/ 256 h 320"/>
                <a:gd name="T12" fmla="*/ 387 w 455"/>
                <a:gd name="T13" fmla="*/ 224 h 320"/>
                <a:gd name="T14" fmla="*/ 387 w 455"/>
                <a:gd name="T15" fmla="*/ 192 h 320"/>
                <a:gd name="T16" fmla="*/ 387 w 455"/>
                <a:gd name="T17" fmla="*/ 160 h 320"/>
                <a:gd name="T18" fmla="*/ 413 w 455"/>
                <a:gd name="T19" fmla="*/ 152 h 320"/>
                <a:gd name="T20" fmla="*/ 421 w 455"/>
                <a:gd name="T21" fmla="*/ 128 h 320"/>
                <a:gd name="T22" fmla="*/ 446 w 455"/>
                <a:gd name="T23" fmla="*/ 120 h 320"/>
                <a:gd name="T24" fmla="*/ 455 w 455"/>
                <a:gd name="T25" fmla="*/ 104 h 320"/>
                <a:gd name="T26" fmla="*/ 430 w 455"/>
                <a:gd name="T27" fmla="*/ 96 h 320"/>
                <a:gd name="T28" fmla="*/ 430 w 455"/>
                <a:gd name="T29" fmla="*/ 64 h 320"/>
                <a:gd name="T30" fmla="*/ 396 w 455"/>
                <a:gd name="T31" fmla="*/ 56 h 320"/>
                <a:gd name="T32" fmla="*/ 371 w 455"/>
                <a:gd name="T33" fmla="*/ 40 h 320"/>
                <a:gd name="T34" fmla="*/ 337 w 455"/>
                <a:gd name="T35" fmla="*/ 24 h 320"/>
                <a:gd name="T36" fmla="*/ 286 w 455"/>
                <a:gd name="T37" fmla="*/ 16 h 320"/>
                <a:gd name="T38" fmla="*/ 278 w 455"/>
                <a:gd name="T39" fmla="*/ 0 h 320"/>
                <a:gd name="T40" fmla="*/ 227 w 455"/>
                <a:gd name="T41" fmla="*/ 32 h 320"/>
                <a:gd name="T42" fmla="*/ 185 w 455"/>
                <a:gd name="T43" fmla="*/ 24 h 320"/>
                <a:gd name="T44" fmla="*/ 143 w 455"/>
                <a:gd name="T45" fmla="*/ 32 h 320"/>
                <a:gd name="T46" fmla="*/ 84 w 455"/>
                <a:gd name="T47" fmla="*/ 32 h 320"/>
                <a:gd name="T48" fmla="*/ 25 w 455"/>
                <a:gd name="T49" fmla="*/ 64 h 320"/>
                <a:gd name="T50" fmla="*/ 0 w 455"/>
                <a:gd name="T51" fmla="*/ 88 h 320"/>
                <a:gd name="T52" fmla="*/ 8 w 455"/>
                <a:gd name="T53" fmla="*/ 104 h 320"/>
                <a:gd name="T54" fmla="*/ 25 w 455"/>
                <a:gd name="T55" fmla="*/ 168 h 320"/>
                <a:gd name="T56" fmla="*/ 34 w 455"/>
                <a:gd name="T57" fmla="*/ 184 h 320"/>
                <a:gd name="T58" fmla="*/ 67 w 455"/>
                <a:gd name="T59" fmla="*/ 192 h 320"/>
                <a:gd name="T60" fmla="*/ 126 w 455"/>
                <a:gd name="T61" fmla="*/ 192 h 320"/>
                <a:gd name="T62" fmla="*/ 151 w 455"/>
                <a:gd name="T63" fmla="*/ 200 h 320"/>
                <a:gd name="T64" fmla="*/ 168 w 455"/>
                <a:gd name="T65" fmla="*/ 272 h 320"/>
                <a:gd name="T66" fmla="*/ 177 w 455"/>
                <a:gd name="T67" fmla="*/ 272 h 320"/>
                <a:gd name="T68" fmla="*/ 236 w 455"/>
                <a:gd name="T69" fmla="*/ 296 h 320"/>
                <a:gd name="T70" fmla="*/ 244 w 455"/>
                <a:gd name="T71" fmla="*/ 320 h 320"/>
                <a:gd name="T72" fmla="*/ 278 w 455"/>
                <a:gd name="T73" fmla="*/ 296 h 320"/>
                <a:gd name="T74" fmla="*/ 312 w 455"/>
                <a:gd name="T75" fmla="*/ 304 h 3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55" h="320">
                  <a:moveTo>
                    <a:pt x="312" y="304"/>
                  </a:moveTo>
                  <a:lnTo>
                    <a:pt x="328" y="296"/>
                  </a:lnTo>
                  <a:lnTo>
                    <a:pt x="320" y="272"/>
                  </a:lnTo>
                  <a:lnTo>
                    <a:pt x="354" y="264"/>
                  </a:lnTo>
                  <a:lnTo>
                    <a:pt x="379" y="248"/>
                  </a:lnTo>
                  <a:lnTo>
                    <a:pt x="404" y="256"/>
                  </a:lnTo>
                  <a:lnTo>
                    <a:pt x="387" y="224"/>
                  </a:lnTo>
                  <a:lnTo>
                    <a:pt x="387" y="192"/>
                  </a:lnTo>
                  <a:lnTo>
                    <a:pt x="387" y="160"/>
                  </a:lnTo>
                  <a:lnTo>
                    <a:pt x="413" y="152"/>
                  </a:lnTo>
                  <a:lnTo>
                    <a:pt x="421" y="128"/>
                  </a:lnTo>
                  <a:lnTo>
                    <a:pt x="446" y="120"/>
                  </a:lnTo>
                  <a:lnTo>
                    <a:pt x="455" y="104"/>
                  </a:lnTo>
                  <a:lnTo>
                    <a:pt x="430" y="96"/>
                  </a:lnTo>
                  <a:lnTo>
                    <a:pt x="430" y="64"/>
                  </a:lnTo>
                  <a:lnTo>
                    <a:pt x="396" y="56"/>
                  </a:lnTo>
                  <a:lnTo>
                    <a:pt x="371" y="40"/>
                  </a:lnTo>
                  <a:lnTo>
                    <a:pt x="337" y="24"/>
                  </a:lnTo>
                  <a:lnTo>
                    <a:pt x="286" y="16"/>
                  </a:lnTo>
                  <a:lnTo>
                    <a:pt x="278" y="0"/>
                  </a:lnTo>
                  <a:lnTo>
                    <a:pt x="227" y="32"/>
                  </a:lnTo>
                  <a:lnTo>
                    <a:pt x="185" y="24"/>
                  </a:lnTo>
                  <a:lnTo>
                    <a:pt x="143" y="32"/>
                  </a:lnTo>
                  <a:lnTo>
                    <a:pt x="84" y="32"/>
                  </a:lnTo>
                  <a:lnTo>
                    <a:pt x="25" y="64"/>
                  </a:lnTo>
                  <a:lnTo>
                    <a:pt x="0" y="88"/>
                  </a:lnTo>
                  <a:lnTo>
                    <a:pt x="8" y="104"/>
                  </a:lnTo>
                  <a:lnTo>
                    <a:pt x="25" y="168"/>
                  </a:lnTo>
                  <a:lnTo>
                    <a:pt x="34" y="184"/>
                  </a:lnTo>
                  <a:lnTo>
                    <a:pt x="67" y="192"/>
                  </a:lnTo>
                  <a:lnTo>
                    <a:pt x="126" y="192"/>
                  </a:lnTo>
                  <a:lnTo>
                    <a:pt x="151" y="200"/>
                  </a:lnTo>
                  <a:lnTo>
                    <a:pt x="168" y="272"/>
                  </a:lnTo>
                  <a:lnTo>
                    <a:pt x="177" y="272"/>
                  </a:lnTo>
                  <a:lnTo>
                    <a:pt x="236" y="296"/>
                  </a:lnTo>
                  <a:lnTo>
                    <a:pt x="244" y="320"/>
                  </a:lnTo>
                  <a:lnTo>
                    <a:pt x="278" y="296"/>
                  </a:lnTo>
                  <a:lnTo>
                    <a:pt x="312" y="30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10" name="Freeform 89"/>
            <p:cNvSpPr>
              <a:spLocks/>
            </p:cNvSpPr>
            <p:nvPr>
              <p:custDataLst>
                <p:tags r:id="rId85"/>
              </p:custDataLst>
            </p:nvPr>
          </p:nvSpPr>
          <p:spPr bwMode="auto">
            <a:xfrm>
              <a:off x="4831" y="2096"/>
              <a:ext cx="969" cy="928"/>
            </a:xfrm>
            <a:custGeom>
              <a:avLst/>
              <a:gdLst>
                <a:gd name="T0" fmla="*/ 910 w 969"/>
                <a:gd name="T1" fmla="*/ 96 h 928"/>
                <a:gd name="T2" fmla="*/ 910 w 969"/>
                <a:gd name="T3" fmla="*/ 40 h 928"/>
                <a:gd name="T4" fmla="*/ 825 w 969"/>
                <a:gd name="T5" fmla="*/ 0 h 928"/>
                <a:gd name="T6" fmla="*/ 733 w 969"/>
                <a:gd name="T7" fmla="*/ 32 h 928"/>
                <a:gd name="T8" fmla="*/ 691 w 969"/>
                <a:gd name="T9" fmla="*/ 72 h 928"/>
                <a:gd name="T10" fmla="*/ 615 w 969"/>
                <a:gd name="T11" fmla="*/ 160 h 928"/>
                <a:gd name="T12" fmla="*/ 573 w 969"/>
                <a:gd name="T13" fmla="*/ 176 h 928"/>
                <a:gd name="T14" fmla="*/ 505 w 969"/>
                <a:gd name="T15" fmla="*/ 184 h 928"/>
                <a:gd name="T16" fmla="*/ 446 w 969"/>
                <a:gd name="T17" fmla="*/ 200 h 928"/>
                <a:gd name="T18" fmla="*/ 387 w 969"/>
                <a:gd name="T19" fmla="*/ 224 h 928"/>
                <a:gd name="T20" fmla="*/ 294 w 969"/>
                <a:gd name="T21" fmla="*/ 208 h 928"/>
                <a:gd name="T22" fmla="*/ 143 w 969"/>
                <a:gd name="T23" fmla="*/ 224 h 928"/>
                <a:gd name="T24" fmla="*/ 84 w 969"/>
                <a:gd name="T25" fmla="*/ 272 h 928"/>
                <a:gd name="T26" fmla="*/ 75 w 969"/>
                <a:gd name="T27" fmla="*/ 304 h 928"/>
                <a:gd name="T28" fmla="*/ 118 w 969"/>
                <a:gd name="T29" fmla="*/ 408 h 928"/>
                <a:gd name="T30" fmla="*/ 33 w 969"/>
                <a:gd name="T31" fmla="*/ 512 h 928"/>
                <a:gd name="T32" fmla="*/ 16 w 969"/>
                <a:gd name="T33" fmla="*/ 592 h 928"/>
                <a:gd name="T34" fmla="*/ 0 w 969"/>
                <a:gd name="T35" fmla="*/ 680 h 928"/>
                <a:gd name="T36" fmla="*/ 50 w 969"/>
                <a:gd name="T37" fmla="*/ 696 h 928"/>
                <a:gd name="T38" fmla="*/ 109 w 969"/>
                <a:gd name="T39" fmla="*/ 696 h 928"/>
                <a:gd name="T40" fmla="*/ 177 w 969"/>
                <a:gd name="T41" fmla="*/ 704 h 928"/>
                <a:gd name="T42" fmla="*/ 261 w 969"/>
                <a:gd name="T43" fmla="*/ 712 h 928"/>
                <a:gd name="T44" fmla="*/ 362 w 969"/>
                <a:gd name="T45" fmla="*/ 664 h 928"/>
                <a:gd name="T46" fmla="*/ 404 w 969"/>
                <a:gd name="T47" fmla="*/ 616 h 928"/>
                <a:gd name="T48" fmla="*/ 463 w 969"/>
                <a:gd name="T49" fmla="*/ 600 h 928"/>
                <a:gd name="T50" fmla="*/ 556 w 969"/>
                <a:gd name="T51" fmla="*/ 600 h 928"/>
                <a:gd name="T52" fmla="*/ 640 w 969"/>
                <a:gd name="T53" fmla="*/ 648 h 928"/>
                <a:gd name="T54" fmla="*/ 707 w 969"/>
                <a:gd name="T55" fmla="*/ 696 h 928"/>
                <a:gd name="T56" fmla="*/ 758 w 969"/>
                <a:gd name="T57" fmla="*/ 760 h 928"/>
                <a:gd name="T58" fmla="*/ 657 w 969"/>
                <a:gd name="T59" fmla="*/ 800 h 928"/>
                <a:gd name="T60" fmla="*/ 657 w 969"/>
                <a:gd name="T61" fmla="*/ 888 h 928"/>
                <a:gd name="T62" fmla="*/ 674 w 969"/>
                <a:gd name="T63" fmla="*/ 928 h 928"/>
                <a:gd name="T64" fmla="*/ 766 w 969"/>
                <a:gd name="T65" fmla="*/ 904 h 928"/>
                <a:gd name="T66" fmla="*/ 808 w 969"/>
                <a:gd name="T67" fmla="*/ 768 h 928"/>
                <a:gd name="T68" fmla="*/ 867 w 969"/>
                <a:gd name="T69" fmla="*/ 704 h 928"/>
                <a:gd name="T70" fmla="*/ 969 w 969"/>
                <a:gd name="T71" fmla="*/ 688 h 928"/>
                <a:gd name="T72" fmla="*/ 935 w 969"/>
                <a:gd name="T73" fmla="*/ 104 h 92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969" h="928">
                  <a:moveTo>
                    <a:pt x="935" y="104"/>
                  </a:moveTo>
                  <a:lnTo>
                    <a:pt x="910" y="96"/>
                  </a:lnTo>
                  <a:lnTo>
                    <a:pt x="893" y="56"/>
                  </a:lnTo>
                  <a:lnTo>
                    <a:pt x="910" y="40"/>
                  </a:lnTo>
                  <a:lnTo>
                    <a:pt x="867" y="16"/>
                  </a:lnTo>
                  <a:lnTo>
                    <a:pt x="825" y="0"/>
                  </a:lnTo>
                  <a:lnTo>
                    <a:pt x="766" y="32"/>
                  </a:lnTo>
                  <a:lnTo>
                    <a:pt x="733" y="32"/>
                  </a:lnTo>
                  <a:lnTo>
                    <a:pt x="724" y="72"/>
                  </a:lnTo>
                  <a:lnTo>
                    <a:pt x="691" y="72"/>
                  </a:lnTo>
                  <a:lnTo>
                    <a:pt x="632" y="96"/>
                  </a:lnTo>
                  <a:lnTo>
                    <a:pt x="615" y="160"/>
                  </a:lnTo>
                  <a:lnTo>
                    <a:pt x="623" y="192"/>
                  </a:lnTo>
                  <a:lnTo>
                    <a:pt x="573" y="176"/>
                  </a:lnTo>
                  <a:lnTo>
                    <a:pt x="530" y="200"/>
                  </a:lnTo>
                  <a:lnTo>
                    <a:pt x="505" y="184"/>
                  </a:lnTo>
                  <a:lnTo>
                    <a:pt x="480" y="216"/>
                  </a:lnTo>
                  <a:lnTo>
                    <a:pt x="446" y="200"/>
                  </a:lnTo>
                  <a:lnTo>
                    <a:pt x="412" y="200"/>
                  </a:lnTo>
                  <a:lnTo>
                    <a:pt x="387" y="224"/>
                  </a:lnTo>
                  <a:lnTo>
                    <a:pt x="353" y="200"/>
                  </a:lnTo>
                  <a:lnTo>
                    <a:pt x="294" y="208"/>
                  </a:lnTo>
                  <a:lnTo>
                    <a:pt x="202" y="216"/>
                  </a:lnTo>
                  <a:lnTo>
                    <a:pt x="143" y="224"/>
                  </a:lnTo>
                  <a:lnTo>
                    <a:pt x="101" y="248"/>
                  </a:lnTo>
                  <a:lnTo>
                    <a:pt x="84" y="272"/>
                  </a:lnTo>
                  <a:lnTo>
                    <a:pt x="50" y="272"/>
                  </a:lnTo>
                  <a:lnTo>
                    <a:pt x="75" y="304"/>
                  </a:lnTo>
                  <a:lnTo>
                    <a:pt x="109" y="368"/>
                  </a:lnTo>
                  <a:lnTo>
                    <a:pt x="118" y="408"/>
                  </a:lnTo>
                  <a:lnTo>
                    <a:pt x="84" y="416"/>
                  </a:lnTo>
                  <a:lnTo>
                    <a:pt x="33" y="512"/>
                  </a:lnTo>
                  <a:lnTo>
                    <a:pt x="50" y="584"/>
                  </a:lnTo>
                  <a:lnTo>
                    <a:pt x="16" y="592"/>
                  </a:lnTo>
                  <a:lnTo>
                    <a:pt x="8" y="632"/>
                  </a:lnTo>
                  <a:lnTo>
                    <a:pt x="0" y="680"/>
                  </a:lnTo>
                  <a:lnTo>
                    <a:pt x="16" y="672"/>
                  </a:lnTo>
                  <a:lnTo>
                    <a:pt x="50" y="696"/>
                  </a:lnTo>
                  <a:lnTo>
                    <a:pt x="75" y="720"/>
                  </a:lnTo>
                  <a:lnTo>
                    <a:pt x="109" y="696"/>
                  </a:lnTo>
                  <a:lnTo>
                    <a:pt x="143" y="704"/>
                  </a:lnTo>
                  <a:lnTo>
                    <a:pt x="177" y="704"/>
                  </a:lnTo>
                  <a:lnTo>
                    <a:pt x="227" y="696"/>
                  </a:lnTo>
                  <a:lnTo>
                    <a:pt x="261" y="712"/>
                  </a:lnTo>
                  <a:lnTo>
                    <a:pt x="286" y="688"/>
                  </a:lnTo>
                  <a:lnTo>
                    <a:pt x="362" y="664"/>
                  </a:lnTo>
                  <a:lnTo>
                    <a:pt x="396" y="616"/>
                  </a:lnTo>
                  <a:lnTo>
                    <a:pt x="404" y="616"/>
                  </a:lnTo>
                  <a:lnTo>
                    <a:pt x="412" y="608"/>
                  </a:lnTo>
                  <a:lnTo>
                    <a:pt x="463" y="600"/>
                  </a:lnTo>
                  <a:lnTo>
                    <a:pt x="488" y="576"/>
                  </a:lnTo>
                  <a:lnTo>
                    <a:pt x="556" y="600"/>
                  </a:lnTo>
                  <a:lnTo>
                    <a:pt x="615" y="600"/>
                  </a:lnTo>
                  <a:lnTo>
                    <a:pt x="640" y="648"/>
                  </a:lnTo>
                  <a:lnTo>
                    <a:pt x="691" y="664"/>
                  </a:lnTo>
                  <a:lnTo>
                    <a:pt x="707" y="696"/>
                  </a:lnTo>
                  <a:lnTo>
                    <a:pt x="741" y="728"/>
                  </a:lnTo>
                  <a:lnTo>
                    <a:pt x="758" y="760"/>
                  </a:lnTo>
                  <a:lnTo>
                    <a:pt x="682" y="776"/>
                  </a:lnTo>
                  <a:lnTo>
                    <a:pt x="657" y="800"/>
                  </a:lnTo>
                  <a:lnTo>
                    <a:pt x="674" y="824"/>
                  </a:lnTo>
                  <a:lnTo>
                    <a:pt x="657" y="888"/>
                  </a:lnTo>
                  <a:lnTo>
                    <a:pt x="640" y="912"/>
                  </a:lnTo>
                  <a:lnTo>
                    <a:pt x="674" y="928"/>
                  </a:lnTo>
                  <a:lnTo>
                    <a:pt x="724" y="904"/>
                  </a:lnTo>
                  <a:lnTo>
                    <a:pt x="766" y="904"/>
                  </a:lnTo>
                  <a:lnTo>
                    <a:pt x="766" y="872"/>
                  </a:lnTo>
                  <a:lnTo>
                    <a:pt x="808" y="768"/>
                  </a:lnTo>
                  <a:lnTo>
                    <a:pt x="834" y="736"/>
                  </a:lnTo>
                  <a:lnTo>
                    <a:pt x="867" y="704"/>
                  </a:lnTo>
                  <a:lnTo>
                    <a:pt x="918" y="680"/>
                  </a:lnTo>
                  <a:lnTo>
                    <a:pt x="969" y="688"/>
                  </a:lnTo>
                  <a:lnTo>
                    <a:pt x="969" y="104"/>
                  </a:lnTo>
                  <a:lnTo>
                    <a:pt x="935" y="10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13" name="Freeform 92"/>
            <p:cNvSpPr>
              <a:spLocks/>
            </p:cNvSpPr>
            <p:nvPr>
              <p:custDataLst>
                <p:tags r:id="rId86"/>
              </p:custDataLst>
            </p:nvPr>
          </p:nvSpPr>
          <p:spPr bwMode="auto">
            <a:xfrm>
              <a:off x="4822" y="1768"/>
              <a:ext cx="725" cy="600"/>
            </a:xfrm>
            <a:custGeom>
              <a:avLst/>
              <a:gdLst>
                <a:gd name="T0" fmla="*/ 657 w 725"/>
                <a:gd name="T1" fmla="*/ 320 h 600"/>
                <a:gd name="T2" fmla="*/ 641 w 725"/>
                <a:gd name="T3" fmla="*/ 280 h 600"/>
                <a:gd name="T4" fmla="*/ 708 w 725"/>
                <a:gd name="T5" fmla="*/ 256 h 600"/>
                <a:gd name="T6" fmla="*/ 700 w 725"/>
                <a:gd name="T7" fmla="*/ 208 h 600"/>
                <a:gd name="T8" fmla="*/ 624 w 725"/>
                <a:gd name="T9" fmla="*/ 168 h 600"/>
                <a:gd name="T10" fmla="*/ 548 w 725"/>
                <a:gd name="T11" fmla="*/ 136 h 600"/>
                <a:gd name="T12" fmla="*/ 514 w 725"/>
                <a:gd name="T13" fmla="*/ 104 h 600"/>
                <a:gd name="T14" fmla="*/ 506 w 725"/>
                <a:gd name="T15" fmla="*/ 40 h 600"/>
                <a:gd name="T16" fmla="*/ 438 w 725"/>
                <a:gd name="T17" fmla="*/ 8 h 600"/>
                <a:gd name="T18" fmla="*/ 379 w 725"/>
                <a:gd name="T19" fmla="*/ 16 h 600"/>
                <a:gd name="T20" fmla="*/ 329 w 725"/>
                <a:gd name="T21" fmla="*/ 16 h 600"/>
                <a:gd name="T22" fmla="*/ 278 w 725"/>
                <a:gd name="T23" fmla="*/ 0 h 600"/>
                <a:gd name="T24" fmla="*/ 202 w 725"/>
                <a:gd name="T25" fmla="*/ 64 h 600"/>
                <a:gd name="T26" fmla="*/ 186 w 725"/>
                <a:gd name="T27" fmla="*/ 88 h 600"/>
                <a:gd name="T28" fmla="*/ 211 w 725"/>
                <a:gd name="T29" fmla="*/ 128 h 600"/>
                <a:gd name="T30" fmla="*/ 177 w 725"/>
                <a:gd name="T31" fmla="*/ 152 h 600"/>
                <a:gd name="T32" fmla="*/ 143 w 725"/>
                <a:gd name="T33" fmla="*/ 184 h 600"/>
                <a:gd name="T34" fmla="*/ 143 w 725"/>
                <a:gd name="T35" fmla="*/ 248 h 600"/>
                <a:gd name="T36" fmla="*/ 135 w 725"/>
                <a:gd name="T37" fmla="*/ 272 h 600"/>
                <a:gd name="T38" fmla="*/ 76 w 725"/>
                <a:gd name="T39" fmla="*/ 296 h 600"/>
                <a:gd name="T40" fmla="*/ 68 w 725"/>
                <a:gd name="T41" fmla="*/ 328 h 600"/>
                <a:gd name="T42" fmla="*/ 0 w 725"/>
                <a:gd name="T43" fmla="*/ 344 h 600"/>
                <a:gd name="T44" fmla="*/ 59 w 725"/>
                <a:gd name="T45" fmla="*/ 464 h 600"/>
                <a:gd name="T46" fmla="*/ 17 w 725"/>
                <a:gd name="T47" fmla="*/ 536 h 600"/>
                <a:gd name="T48" fmla="*/ 59 w 725"/>
                <a:gd name="T49" fmla="*/ 600 h 600"/>
                <a:gd name="T50" fmla="*/ 110 w 725"/>
                <a:gd name="T51" fmla="*/ 576 h 600"/>
                <a:gd name="T52" fmla="*/ 211 w 725"/>
                <a:gd name="T53" fmla="*/ 544 h 600"/>
                <a:gd name="T54" fmla="*/ 362 w 725"/>
                <a:gd name="T55" fmla="*/ 528 h 600"/>
                <a:gd name="T56" fmla="*/ 421 w 725"/>
                <a:gd name="T57" fmla="*/ 528 h 600"/>
                <a:gd name="T58" fmla="*/ 489 w 725"/>
                <a:gd name="T59" fmla="*/ 544 h 600"/>
                <a:gd name="T60" fmla="*/ 539 w 725"/>
                <a:gd name="T61" fmla="*/ 528 h 600"/>
                <a:gd name="T62" fmla="*/ 632 w 725"/>
                <a:gd name="T63" fmla="*/ 520 h 600"/>
                <a:gd name="T64" fmla="*/ 641 w 725"/>
                <a:gd name="T65" fmla="*/ 424 h 600"/>
                <a:gd name="T66" fmla="*/ 674 w 725"/>
                <a:gd name="T67" fmla="*/ 368 h 6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725" h="600">
                  <a:moveTo>
                    <a:pt x="657" y="344"/>
                  </a:moveTo>
                  <a:lnTo>
                    <a:pt x="657" y="320"/>
                  </a:lnTo>
                  <a:lnTo>
                    <a:pt x="632" y="304"/>
                  </a:lnTo>
                  <a:lnTo>
                    <a:pt x="641" y="280"/>
                  </a:lnTo>
                  <a:lnTo>
                    <a:pt x="691" y="272"/>
                  </a:lnTo>
                  <a:lnTo>
                    <a:pt x="708" y="256"/>
                  </a:lnTo>
                  <a:lnTo>
                    <a:pt x="725" y="232"/>
                  </a:lnTo>
                  <a:lnTo>
                    <a:pt x="700" y="208"/>
                  </a:lnTo>
                  <a:lnTo>
                    <a:pt x="632" y="192"/>
                  </a:lnTo>
                  <a:lnTo>
                    <a:pt x="624" y="168"/>
                  </a:lnTo>
                  <a:lnTo>
                    <a:pt x="582" y="160"/>
                  </a:lnTo>
                  <a:lnTo>
                    <a:pt x="548" y="136"/>
                  </a:lnTo>
                  <a:lnTo>
                    <a:pt x="548" y="120"/>
                  </a:lnTo>
                  <a:lnTo>
                    <a:pt x="514" y="104"/>
                  </a:lnTo>
                  <a:lnTo>
                    <a:pt x="514" y="72"/>
                  </a:lnTo>
                  <a:lnTo>
                    <a:pt x="506" y="40"/>
                  </a:lnTo>
                  <a:lnTo>
                    <a:pt x="472" y="16"/>
                  </a:lnTo>
                  <a:lnTo>
                    <a:pt x="438" y="8"/>
                  </a:lnTo>
                  <a:lnTo>
                    <a:pt x="396" y="32"/>
                  </a:lnTo>
                  <a:lnTo>
                    <a:pt x="379" y="16"/>
                  </a:lnTo>
                  <a:lnTo>
                    <a:pt x="346" y="8"/>
                  </a:lnTo>
                  <a:lnTo>
                    <a:pt x="329" y="16"/>
                  </a:lnTo>
                  <a:lnTo>
                    <a:pt x="303" y="0"/>
                  </a:lnTo>
                  <a:lnTo>
                    <a:pt x="278" y="0"/>
                  </a:lnTo>
                  <a:lnTo>
                    <a:pt x="245" y="64"/>
                  </a:lnTo>
                  <a:lnTo>
                    <a:pt x="202" y="64"/>
                  </a:lnTo>
                  <a:lnTo>
                    <a:pt x="177" y="80"/>
                  </a:lnTo>
                  <a:lnTo>
                    <a:pt x="186" y="88"/>
                  </a:lnTo>
                  <a:lnTo>
                    <a:pt x="186" y="120"/>
                  </a:lnTo>
                  <a:lnTo>
                    <a:pt x="211" y="128"/>
                  </a:lnTo>
                  <a:lnTo>
                    <a:pt x="202" y="144"/>
                  </a:lnTo>
                  <a:lnTo>
                    <a:pt x="177" y="152"/>
                  </a:lnTo>
                  <a:lnTo>
                    <a:pt x="169" y="176"/>
                  </a:lnTo>
                  <a:lnTo>
                    <a:pt x="143" y="184"/>
                  </a:lnTo>
                  <a:lnTo>
                    <a:pt x="143" y="216"/>
                  </a:lnTo>
                  <a:lnTo>
                    <a:pt x="143" y="248"/>
                  </a:lnTo>
                  <a:lnTo>
                    <a:pt x="160" y="280"/>
                  </a:lnTo>
                  <a:lnTo>
                    <a:pt x="135" y="272"/>
                  </a:lnTo>
                  <a:lnTo>
                    <a:pt x="110" y="288"/>
                  </a:lnTo>
                  <a:lnTo>
                    <a:pt x="76" y="296"/>
                  </a:lnTo>
                  <a:lnTo>
                    <a:pt x="84" y="320"/>
                  </a:lnTo>
                  <a:lnTo>
                    <a:pt x="68" y="328"/>
                  </a:lnTo>
                  <a:lnTo>
                    <a:pt x="34" y="320"/>
                  </a:lnTo>
                  <a:lnTo>
                    <a:pt x="0" y="344"/>
                  </a:lnTo>
                  <a:lnTo>
                    <a:pt x="17" y="384"/>
                  </a:lnTo>
                  <a:lnTo>
                    <a:pt x="59" y="464"/>
                  </a:lnTo>
                  <a:lnTo>
                    <a:pt x="17" y="512"/>
                  </a:lnTo>
                  <a:lnTo>
                    <a:pt x="17" y="536"/>
                  </a:lnTo>
                  <a:lnTo>
                    <a:pt x="51" y="544"/>
                  </a:lnTo>
                  <a:lnTo>
                    <a:pt x="59" y="600"/>
                  </a:lnTo>
                  <a:lnTo>
                    <a:pt x="93" y="600"/>
                  </a:lnTo>
                  <a:lnTo>
                    <a:pt x="110" y="576"/>
                  </a:lnTo>
                  <a:lnTo>
                    <a:pt x="152" y="552"/>
                  </a:lnTo>
                  <a:lnTo>
                    <a:pt x="211" y="544"/>
                  </a:lnTo>
                  <a:lnTo>
                    <a:pt x="303" y="536"/>
                  </a:lnTo>
                  <a:lnTo>
                    <a:pt x="362" y="528"/>
                  </a:lnTo>
                  <a:lnTo>
                    <a:pt x="396" y="552"/>
                  </a:lnTo>
                  <a:lnTo>
                    <a:pt x="421" y="528"/>
                  </a:lnTo>
                  <a:lnTo>
                    <a:pt x="455" y="528"/>
                  </a:lnTo>
                  <a:lnTo>
                    <a:pt x="489" y="544"/>
                  </a:lnTo>
                  <a:lnTo>
                    <a:pt x="514" y="512"/>
                  </a:lnTo>
                  <a:lnTo>
                    <a:pt x="539" y="528"/>
                  </a:lnTo>
                  <a:lnTo>
                    <a:pt x="582" y="504"/>
                  </a:lnTo>
                  <a:lnTo>
                    <a:pt x="632" y="520"/>
                  </a:lnTo>
                  <a:lnTo>
                    <a:pt x="624" y="488"/>
                  </a:lnTo>
                  <a:lnTo>
                    <a:pt x="641" y="424"/>
                  </a:lnTo>
                  <a:lnTo>
                    <a:pt x="700" y="400"/>
                  </a:lnTo>
                  <a:lnTo>
                    <a:pt x="674" y="368"/>
                  </a:lnTo>
                  <a:lnTo>
                    <a:pt x="657" y="34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14" name="Freeform 93"/>
            <p:cNvSpPr>
              <a:spLocks/>
            </p:cNvSpPr>
            <p:nvPr>
              <p:custDataLst>
                <p:tags r:id="rId87"/>
              </p:custDataLst>
            </p:nvPr>
          </p:nvSpPr>
          <p:spPr bwMode="auto">
            <a:xfrm>
              <a:off x="4569" y="1600"/>
              <a:ext cx="531" cy="280"/>
            </a:xfrm>
            <a:custGeom>
              <a:avLst/>
              <a:gdLst>
                <a:gd name="T0" fmla="*/ 472 w 531"/>
                <a:gd name="T1" fmla="*/ 80 h 280"/>
                <a:gd name="T2" fmla="*/ 464 w 531"/>
                <a:gd name="T3" fmla="*/ 40 h 280"/>
                <a:gd name="T4" fmla="*/ 413 w 531"/>
                <a:gd name="T5" fmla="*/ 32 h 280"/>
                <a:gd name="T6" fmla="*/ 371 w 531"/>
                <a:gd name="T7" fmla="*/ 40 h 280"/>
                <a:gd name="T8" fmla="*/ 304 w 531"/>
                <a:gd name="T9" fmla="*/ 0 h 280"/>
                <a:gd name="T10" fmla="*/ 262 w 531"/>
                <a:gd name="T11" fmla="*/ 0 h 280"/>
                <a:gd name="T12" fmla="*/ 211 w 531"/>
                <a:gd name="T13" fmla="*/ 32 h 280"/>
                <a:gd name="T14" fmla="*/ 211 w 531"/>
                <a:gd name="T15" fmla="*/ 40 h 280"/>
                <a:gd name="T16" fmla="*/ 219 w 531"/>
                <a:gd name="T17" fmla="*/ 72 h 280"/>
                <a:gd name="T18" fmla="*/ 219 w 531"/>
                <a:gd name="T19" fmla="*/ 104 h 280"/>
                <a:gd name="T20" fmla="*/ 211 w 531"/>
                <a:gd name="T21" fmla="*/ 128 h 280"/>
                <a:gd name="T22" fmla="*/ 194 w 531"/>
                <a:gd name="T23" fmla="*/ 128 h 280"/>
                <a:gd name="T24" fmla="*/ 160 w 531"/>
                <a:gd name="T25" fmla="*/ 128 h 280"/>
                <a:gd name="T26" fmla="*/ 110 w 531"/>
                <a:gd name="T27" fmla="*/ 80 h 280"/>
                <a:gd name="T28" fmla="*/ 76 w 531"/>
                <a:gd name="T29" fmla="*/ 64 h 280"/>
                <a:gd name="T30" fmla="*/ 43 w 531"/>
                <a:gd name="T31" fmla="*/ 88 h 280"/>
                <a:gd name="T32" fmla="*/ 17 w 531"/>
                <a:gd name="T33" fmla="*/ 160 h 280"/>
                <a:gd name="T34" fmla="*/ 0 w 531"/>
                <a:gd name="T35" fmla="*/ 192 h 280"/>
                <a:gd name="T36" fmla="*/ 0 w 531"/>
                <a:gd name="T37" fmla="*/ 224 h 280"/>
                <a:gd name="T38" fmla="*/ 9 w 531"/>
                <a:gd name="T39" fmla="*/ 280 h 280"/>
                <a:gd name="T40" fmla="*/ 34 w 531"/>
                <a:gd name="T41" fmla="*/ 256 h 280"/>
                <a:gd name="T42" fmla="*/ 93 w 531"/>
                <a:gd name="T43" fmla="*/ 224 h 280"/>
                <a:gd name="T44" fmla="*/ 152 w 531"/>
                <a:gd name="T45" fmla="*/ 224 h 280"/>
                <a:gd name="T46" fmla="*/ 194 w 531"/>
                <a:gd name="T47" fmla="*/ 216 h 280"/>
                <a:gd name="T48" fmla="*/ 236 w 531"/>
                <a:gd name="T49" fmla="*/ 224 h 280"/>
                <a:gd name="T50" fmla="*/ 287 w 531"/>
                <a:gd name="T51" fmla="*/ 192 h 280"/>
                <a:gd name="T52" fmla="*/ 295 w 531"/>
                <a:gd name="T53" fmla="*/ 208 h 280"/>
                <a:gd name="T54" fmla="*/ 346 w 531"/>
                <a:gd name="T55" fmla="*/ 216 h 280"/>
                <a:gd name="T56" fmla="*/ 380 w 531"/>
                <a:gd name="T57" fmla="*/ 232 h 280"/>
                <a:gd name="T58" fmla="*/ 405 w 531"/>
                <a:gd name="T59" fmla="*/ 248 h 280"/>
                <a:gd name="T60" fmla="*/ 430 w 531"/>
                <a:gd name="T61" fmla="*/ 248 h 280"/>
                <a:gd name="T62" fmla="*/ 455 w 531"/>
                <a:gd name="T63" fmla="*/ 232 h 280"/>
                <a:gd name="T64" fmla="*/ 498 w 531"/>
                <a:gd name="T65" fmla="*/ 232 h 280"/>
                <a:gd name="T66" fmla="*/ 531 w 531"/>
                <a:gd name="T67" fmla="*/ 176 h 280"/>
                <a:gd name="T68" fmla="*/ 506 w 531"/>
                <a:gd name="T69" fmla="*/ 112 h 280"/>
                <a:gd name="T70" fmla="*/ 472 w 531"/>
                <a:gd name="T71" fmla="*/ 80 h 2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31" h="280">
                  <a:moveTo>
                    <a:pt x="472" y="80"/>
                  </a:moveTo>
                  <a:lnTo>
                    <a:pt x="464" y="40"/>
                  </a:lnTo>
                  <a:lnTo>
                    <a:pt x="413" y="32"/>
                  </a:lnTo>
                  <a:lnTo>
                    <a:pt x="371" y="40"/>
                  </a:lnTo>
                  <a:lnTo>
                    <a:pt x="304" y="0"/>
                  </a:lnTo>
                  <a:lnTo>
                    <a:pt x="262" y="0"/>
                  </a:lnTo>
                  <a:lnTo>
                    <a:pt x="211" y="32"/>
                  </a:lnTo>
                  <a:lnTo>
                    <a:pt x="211" y="40"/>
                  </a:lnTo>
                  <a:lnTo>
                    <a:pt x="219" y="72"/>
                  </a:lnTo>
                  <a:lnTo>
                    <a:pt x="219" y="104"/>
                  </a:lnTo>
                  <a:lnTo>
                    <a:pt x="211" y="128"/>
                  </a:lnTo>
                  <a:lnTo>
                    <a:pt x="194" y="128"/>
                  </a:lnTo>
                  <a:lnTo>
                    <a:pt x="160" y="128"/>
                  </a:lnTo>
                  <a:lnTo>
                    <a:pt x="110" y="80"/>
                  </a:lnTo>
                  <a:lnTo>
                    <a:pt x="76" y="64"/>
                  </a:lnTo>
                  <a:lnTo>
                    <a:pt x="43" y="88"/>
                  </a:lnTo>
                  <a:lnTo>
                    <a:pt x="17" y="160"/>
                  </a:lnTo>
                  <a:lnTo>
                    <a:pt x="0" y="192"/>
                  </a:lnTo>
                  <a:lnTo>
                    <a:pt x="0" y="224"/>
                  </a:lnTo>
                  <a:lnTo>
                    <a:pt x="9" y="280"/>
                  </a:lnTo>
                  <a:lnTo>
                    <a:pt x="34" y="256"/>
                  </a:lnTo>
                  <a:lnTo>
                    <a:pt x="93" y="224"/>
                  </a:lnTo>
                  <a:lnTo>
                    <a:pt x="152" y="224"/>
                  </a:lnTo>
                  <a:lnTo>
                    <a:pt x="194" y="216"/>
                  </a:lnTo>
                  <a:lnTo>
                    <a:pt x="236" y="224"/>
                  </a:lnTo>
                  <a:lnTo>
                    <a:pt x="287" y="192"/>
                  </a:lnTo>
                  <a:lnTo>
                    <a:pt x="295" y="208"/>
                  </a:lnTo>
                  <a:lnTo>
                    <a:pt x="346" y="216"/>
                  </a:lnTo>
                  <a:lnTo>
                    <a:pt x="380" y="232"/>
                  </a:lnTo>
                  <a:lnTo>
                    <a:pt x="405" y="248"/>
                  </a:lnTo>
                  <a:lnTo>
                    <a:pt x="430" y="248"/>
                  </a:lnTo>
                  <a:lnTo>
                    <a:pt x="455" y="232"/>
                  </a:lnTo>
                  <a:lnTo>
                    <a:pt x="498" y="232"/>
                  </a:lnTo>
                  <a:lnTo>
                    <a:pt x="531" y="176"/>
                  </a:lnTo>
                  <a:lnTo>
                    <a:pt x="506" y="112"/>
                  </a:lnTo>
                  <a:lnTo>
                    <a:pt x="472" y="8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17" name="Freeform 96"/>
            <p:cNvSpPr>
              <a:spLocks/>
            </p:cNvSpPr>
            <p:nvPr>
              <p:custDataLst>
                <p:tags r:id="rId88"/>
              </p:custDataLst>
            </p:nvPr>
          </p:nvSpPr>
          <p:spPr bwMode="auto">
            <a:xfrm>
              <a:off x="4679" y="1392"/>
              <a:ext cx="337" cy="248"/>
            </a:xfrm>
            <a:custGeom>
              <a:avLst/>
              <a:gdLst>
                <a:gd name="T0" fmla="*/ 295 w 337"/>
                <a:gd name="T1" fmla="*/ 128 h 248"/>
                <a:gd name="T2" fmla="*/ 295 w 337"/>
                <a:gd name="T3" fmla="*/ 64 h 248"/>
                <a:gd name="T4" fmla="*/ 295 w 337"/>
                <a:gd name="T5" fmla="*/ 16 h 248"/>
                <a:gd name="T6" fmla="*/ 286 w 337"/>
                <a:gd name="T7" fmla="*/ 0 h 248"/>
                <a:gd name="T8" fmla="*/ 236 w 337"/>
                <a:gd name="T9" fmla="*/ 8 h 248"/>
                <a:gd name="T10" fmla="*/ 126 w 337"/>
                <a:gd name="T11" fmla="*/ 16 h 248"/>
                <a:gd name="T12" fmla="*/ 67 w 337"/>
                <a:gd name="T13" fmla="*/ 40 h 248"/>
                <a:gd name="T14" fmla="*/ 25 w 337"/>
                <a:gd name="T15" fmla="*/ 64 h 248"/>
                <a:gd name="T16" fmla="*/ 8 w 337"/>
                <a:gd name="T17" fmla="*/ 88 h 248"/>
                <a:gd name="T18" fmla="*/ 0 w 337"/>
                <a:gd name="T19" fmla="*/ 112 h 248"/>
                <a:gd name="T20" fmla="*/ 25 w 337"/>
                <a:gd name="T21" fmla="*/ 128 h 248"/>
                <a:gd name="T22" fmla="*/ 17 w 337"/>
                <a:gd name="T23" fmla="*/ 152 h 248"/>
                <a:gd name="T24" fmla="*/ 25 w 337"/>
                <a:gd name="T25" fmla="*/ 176 h 248"/>
                <a:gd name="T26" fmla="*/ 42 w 337"/>
                <a:gd name="T27" fmla="*/ 184 h 248"/>
                <a:gd name="T28" fmla="*/ 67 w 337"/>
                <a:gd name="T29" fmla="*/ 184 h 248"/>
                <a:gd name="T30" fmla="*/ 93 w 337"/>
                <a:gd name="T31" fmla="*/ 176 h 248"/>
                <a:gd name="T32" fmla="*/ 101 w 337"/>
                <a:gd name="T33" fmla="*/ 240 h 248"/>
                <a:gd name="T34" fmla="*/ 152 w 337"/>
                <a:gd name="T35" fmla="*/ 208 h 248"/>
                <a:gd name="T36" fmla="*/ 194 w 337"/>
                <a:gd name="T37" fmla="*/ 208 h 248"/>
                <a:gd name="T38" fmla="*/ 261 w 337"/>
                <a:gd name="T39" fmla="*/ 248 h 248"/>
                <a:gd name="T40" fmla="*/ 303 w 337"/>
                <a:gd name="T41" fmla="*/ 240 h 248"/>
                <a:gd name="T42" fmla="*/ 320 w 337"/>
                <a:gd name="T43" fmla="*/ 240 h 248"/>
                <a:gd name="T44" fmla="*/ 337 w 337"/>
                <a:gd name="T45" fmla="*/ 176 h 248"/>
                <a:gd name="T46" fmla="*/ 295 w 337"/>
                <a:gd name="T47" fmla="*/ 128 h 24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37" h="248">
                  <a:moveTo>
                    <a:pt x="295" y="128"/>
                  </a:moveTo>
                  <a:lnTo>
                    <a:pt x="295" y="64"/>
                  </a:lnTo>
                  <a:lnTo>
                    <a:pt x="295" y="16"/>
                  </a:lnTo>
                  <a:lnTo>
                    <a:pt x="286" y="0"/>
                  </a:lnTo>
                  <a:lnTo>
                    <a:pt x="236" y="8"/>
                  </a:lnTo>
                  <a:lnTo>
                    <a:pt x="126" y="16"/>
                  </a:lnTo>
                  <a:lnTo>
                    <a:pt x="67" y="40"/>
                  </a:lnTo>
                  <a:lnTo>
                    <a:pt x="25" y="64"/>
                  </a:lnTo>
                  <a:lnTo>
                    <a:pt x="8" y="88"/>
                  </a:lnTo>
                  <a:lnTo>
                    <a:pt x="0" y="112"/>
                  </a:lnTo>
                  <a:lnTo>
                    <a:pt x="25" y="128"/>
                  </a:lnTo>
                  <a:lnTo>
                    <a:pt x="17" y="152"/>
                  </a:lnTo>
                  <a:lnTo>
                    <a:pt x="25" y="176"/>
                  </a:lnTo>
                  <a:lnTo>
                    <a:pt x="42" y="184"/>
                  </a:lnTo>
                  <a:lnTo>
                    <a:pt x="67" y="184"/>
                  </a:lnTo>
                  <a:lnTo>
                    <a:pt x="93" y="176"/>
                  </a:lnTo>
                  <a:lnTo>
                    <a:pt x="101" y="240"/>
                  </a:lnTo>
                  <a:lnTo>
                    <a:pt x="152" y="208"/>
                  </a:lnTo>
                  <a:lnTo>
                    <a:pt x="194" y="208"/>
                  </a:lnTo>
                  <a:lnTo>
                    <a:pt x="261" y="248"/>
                  </a:lnTo>
                  <a:lnTo>
                    <a:pt x="303" y="240"/>
                  </a:lnTo>
                  <a:lnTo>
                    <a:pt x="320" y="240"/>
                  </a:lnTo>
                  <a:lnTo>
                    <a:pt x="337" y="176"/>
                  </a:lnTo>
                  <a:lnTo>
                    <a:pt x="295" y="128"/>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18" name="Freeform 97"/>
            <p:cNvSpPr>
              <a:spLocks/>
            </p:cNvSpPr>
            <p:nvPr>
              <p:custDataLst>
                <p:tags r:id="rId89"/>
              </p:custDataLst>
            </p:nvPr>
          </p:nvSpPr>
          <p:spPr bwMode="auto">
            <a:xfrm>
              <a:off x="4687" y="-8"/>
              <a:ext cx="1121" cy="2200"/>
            </a:xfrm>
            <a:custGeom>
              <a:avLst/>
              <a:gdLst>
                <a:gd name="T0" fmla="*/ 995 w 1121"/>
                <a:gd name="T1" fmla="*/ 64 h 2200"/>
                <a:gd name="T2" fmla="*/ 1003 w 1121"/>
                <a:gd name="T3" fmla="*/ 160 h 2200"/>
                <a:gd name="T4" fmla="*/ 919 w 1121"/>
                <a:gd name="T5" fmla="*/ 168 h 2200"/>
                <a:gd name="T6" fmla="*/ 877 w 1121"/>
                <a:gd name="T7" fmla="*/ 168 h 2200"/>
                <a:gd name="T8" fmla="*/ 893 w 1121"/>
                <a:gd name="T9" fmla="*/ 88 h 2200"/>
                <a:gd name="T10" fmla="*/ 851 w 1121"/>
                <a:gd name="T11" fmla="*/ 16 h 2200"/>
                <a:gd name="T12" fmla="*/ 700 w 1121"/>
                <a:gd name="T13" fmla="*/ 48 h 2200"/>
                <a:gd name="T14" fmla="*/ 809 w 1121"/>
                <a:gd name="T15" fmla="*/ 176 h 2200"/>
                <a:gd name="T16" fmla="*/ 877 w 1121"/>
                <a:gd name="T17" fmla="*/ 224 h 2200"/>
                <a:gd name="T18" fmla="*/ 851 w 1121"/>
                <a:gd name="T19" fmla="*/ 304 h 2200"/>
                <a:gd name="T20" fmla="*/ 784 w 1121"/>
                <a:gd name="T21" fmla="*/ 328 h 2200"/>
                <a:gd name="T22" fmla="*/ 725 w 1121"/>
                <a:gd name="T23" fmla="*/ 448 h 2200"/>
                <a:gd name="T24" fmla="*/ 818 w 1121"/>
                <a:gd name="T25" fmla="*/ 560 h 2200"/>
                <a:gd name="T26" fmla="*/ 599 w 1121"/>
                <a:gd name="T27" fmla="*/ 568 h 2200"/>
                <a:gd name="T28" fmla="*/ 607 w 1121"/>
                <a:gd name="T29" fmla="*/ 640 h 2200"/>
                <a:gd name="T30" fmla="*/ 700 w 1121"/>
                <a:gd name="T31" fmla="*/ 664 h 2200"/>
                <a:gd name="T32" fmla="*/ 674 w 1121"/>
                <a:gd name="T33" fmla="*/ 712 h 2200"/>
                <a:gd name="T34" fmla="*/ 548 w 1121"/>
                <a:gd name="T35" fmla="*/ 688 h 2200"/>
                <a:gd name="T36" fmla="*/ 447 w 1121"/>
                <a:gd name="T37" fmla="*/ 592 h 2200"/>
                <a:gd name="T38" fmla="*/ 430 w 1121"/>
                <a:gd name="T39" fmla="*/ 512 h 2200"/>
                <a:gd name="T40" fmla="*/ 253 w 1121"/>
                <a:gd name="T41" fmla="*/ 424 h 2200"/>
                <a:gd name="T42" fmla="*/ 396 w 1121"/>
                <a:gd name="T43" fmla="*/ 440 h 2200"/>
                <a:gd name="T44" fmla="*/ 658 w 1121"/>
                <a:gd name="T45" fmla="*/ 416 h 2200"/>
                <a:gd name="T46" fmla="*/ 717 w 1121"/>
                <a:gd name="T47" fmla="*/ 288 h 2200"/>
                <a:gd name="T48" fmla="*/ 599 w 1121"/>
                <a:gd name="T49" fmla="*/ 192 h 2200"/>
                <a:gd name="T50" fmla="*/ 304 w 1121"/>
                <a:gd name="T51" fmla="*/ 128 h 2200"/>
                <a:gd name="T52" fmla="*/ 186 w 1121"/>
                <a:gd name="T53" fmla="*/ 96 h 2200"/>
                <a:gd name="T54" fmla="*/ 110 w 1121"/>
                <a:gd name="T55" fmla="*/ 112 h 2200"/>
                <a:gd name="T56" fmla="*/ 42 w 1121"/>
                <a:gd name="T57" fmla="*/ 176 h 2200"/>
                <a:gd name="T58" fmla="*/ 26 w 1121"/>
                <a:gd name="T59" fmla="*/ 336 h 2200"/>
                <a:gd name="T60" fmla="*/ 93 w 1121"/>
                <a:gd name="T61" fmla="*/ 448 h 2200"/>
                <a:gd name="T62" fmla="*/ 169 w 1121"/>
                <a:gd name="T63" fmla="*/ 656 h 2200"/>
                <a:gd name="T64" fmla="*/ 287 w 1121"/>
                <a:gd name="T65" fmla="*/ 808 h 2200"/>
                <a:gd name="T66" fmla="*/ 388 w 1121"/>
                <a:gd name="T67" fmla="*/ 944 h 2200"/>
                <a:gd name="T68" fmla="*/ 287 w 1121"/>
                <a:gd name="T69" fmla="*/ 1152 h 2200"/>
                <a:gd name="T70" fmla="*/ 304 w 1121"/>
                <a:gd name="T71" fmla="*/ 1264 h 2200"/>
                <a:gd name="T72" fmla="*/ 396 w 1121"/>
                <a:gd name="T73" fmla="*/ 1296 h 2200"/>
                <a:gd name="T74" fmla="*/ 346 w 1121"/>
                <a:gd name="T75" fmla="*/ 1312 h 2200"/>
                <a:gd name="T76" fmla="*/ 287 w 1121"/>
                <a:gd name="T77" fmla="*/ 1368 h 2200"/>
                <a:gd name="T78" fmla="*/ 287 w 1121"/>
                <a:gd name="T79" fmla="*/ 1408 h 2200"/>
                <a:gd name="T80" fmla="*/ 329 w 1121"/>
                <a:gd name="T81" fmla="*/ 1568 h 2200"/>
                <a:gd name="T82" fmla="*/ 354 w 1121"/>
                <a:gd name="T83" fmla="*/ 1680 h 2200"/>
                <a:gd name="T84" fmla="*/ 413 w 1121"/>
                <a:gd name="T85" fmla="*/ 1768 h 2200"/>
                <a:gd name="T86" fmla="*/ 481 w 1121"/>
                <a:gd name="T87" fmla="*/ 1776 h 2200"/>
                <a:gd name="T88" fmla="*/ 573 w 1121"/>
                <a:gd name="T89" fmla="*/ 1776 h 2200"/>
                <a:gd name="T90" fmla="*/ 649 w 1121"/>
                <a:gd name="T91" fmla="*/ 1840 h 2200"/>
                <a:gd name="T92" fmla="*/ 683 w 1121"/>
                <a:gd name="T93" fmla="*/ 1904 h 2200"/>
                <a:gd name="T94" fmla="*/ 767 w 1121"/>
                <a:gd name="T95" fmla="*/ 1960 h 2200"/>
                <a:gd name="T96" fmla="*/ 843 w 1121"/>
                <a:gd name="T97" fmla="*/ 2024 h 2200"/>
                <a:gd name="T98" fmla="*/ 767 w 1121"/>
                <a:gd name="T99" fmla="*/ 2072 h 2200"/>
                <a:gd name="T100" fmla="*/ 809 w 1121"/>
                <a:gd name="T101" fmla="*/ 2136 h 2200"/>
                <a:gd name="T102" fmla="*/ 877 w 1121"/>
                <a:gd name="T103" fmla="*/ 2128 h 2200"/>
                <a:gd name="T104" fmla="*/ 1011 w 1121"/>
                <a:gd name="T105" fmla="*/ 2112 h 2200"/>
                <a:gd name="T106" fmla="*/ 1054 w 1121"/>
                <a:gd name="T107" fmla="*/ 2192 h 2200"/>
                <a:gd name="T108" fmla="*/ 1113 w 1121"/>
                <a:gd name="T109" fmla="*/ 1360 h 2200"/>
                <a:gd name="T110" fmla="*/ 1014 w 1121"/>
                <a:gd name="T111" fmla="*/ 13 h 22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21" h="2200">
                  <a:moveTo>
                    <a:pt x="1014" y="13"/>
                  </a:moveTo>
                  <a:lnTo>
                    <a:pt x="1011" y="6"/>
                  </a:lnTo>
                  <a:lnTo>
                    <a:pt x="995" y="64"/>
                  </a:lnTo>
                  <a:lnTo>
                    <a:pt x="1011" y="112"/>
                  </a:lnTo>
                  <a:lnTo>
                    <a:pt x="1011" y="136"/>
                  </a:lnTo>
                  <a:lnTo>
                    <a:pt x="1003" y="160"/>
                  </a:lnTo>
                  <a:lnTo>
                    <a:pt x="961" y="184"/>
                  </a:lnTo>
                  <a:lnTo>
                    <a:pt x="936" y="184"/>
                  </a:lnTo>
                  <a:lnTo>
                    <a:pt x="919" y="168"/>
                  </a:lnTo>
                  <a:lnTo>
                    <a:pt x="902" y="160"/>
                  </a:lnTo>
                  <a:lnTo>
                    <a:pt x="893" y="168"/>
                  </a:lnTo>
                  <a:lnTo>
                    <a:pt x="877" y="168"/>
                  </a:lnTo>
                  <a:lnTo>
                    <a:pt x="877" y="144"/>
                  </a:lnTo>
                  <a:lnTo>
                    <a:pt x="877" y="112"/>
                  </a:lnTo>
                  <a:lnTo>
                    <a:pt x="893" y="88"/>
                  </a:lnTo>
                  <a:lnTo>
                    <a:pt x="902" y="64"/>
                  </a:lnTo>
                  <a:lnTo>
                    <a:pt x="893" y="48"/>
                  </a:lnTo>
                  <a:lnTo>
                    <a:pt x="851" y="16"/>
                  </a:lnTo>
                  <a:lnTo>
                    <a:pt x="801" y="24"/>
                  </a:lnTo>
                  <a:lnTo>
                    <a:pt x="750" y="40"/>
                  </a:lnTo>
                  <a:lnTo>
                    <a:pt x="700" y="48"/>
                  </a:lnTo>
                  <a:lnTo>
                    <a:pt x="742" y="64"/>
                  </a:lnTo>
                  <a:lnTo>
                    <a:pt x="784" y="88"/>
                  </a:lnTo>
                  <a:lnTo>
                    <a:pt x="809" y="176"/>
                  </a:lnTo>
                  <a:lnTo>
                    <a:pt x="818" y="200"/>
                  </a:lnTo>
                  <a:lnTo>
                    <a:pt x="843" y="200"/>
                  </a:lnTo>
                  <a:lnTo>
                    <a:pt x="877" y="224"/>
                  </a:lnTo>
                  <a:lnTo>
                    <a:pt x="902" y="264"/>
                  </a:lnTo>
                  <a:lnTo>
                    <a:pt x="910" y="312"/>
                  </a:lnTo>
                  <a:lnTo>
                    <a:pt x="851" y="304"/>
                  </a:lnTo>
                  <a:lnTo>
                    <a:pt x="801" y="312"/>
                  </a:lnTo>
                  <a:lnTo>
                    <a:pt x="784" y="320"/>
                  </a:lnTo>
                  <a:lnTo>
                    <a:pt x="784" y="328"/>
                  </a:lnTo>
                  <a:lnTo>
                    <a:pt x="776" y="360"/>
                  </a:lnTo>
                  <a:lnTo>
                    <a:pt x="750" y="400"/>
                  </a:lnTo>
                  <a:lnTo>
                    <a:pt x="725" y="448"/>
                  </a:lnTo>
                  <a:lnTo>
                    <a:pt x="717" y="480"/>
                  </a:lnTo>
                  <a:lnTo>
                    <a:pt x="733" y="496"/>
                  </a:lnTo>
                  <a:lnTo>
                    <a:pt x="818" y="560"/>
                  </a:lnTo>
                  <a:lnTo>
                    <a:pt x="750" y="584"/>
                  </a:lnTo>
                  <a:lnTo>
                    <a:pt x="666" y="584"/>
                  </a:lnTo>
                  <a:lnTo>
                    <a:pt x="599" y="568"/>
                  </a:lnTo>
                  <a:lnTo>
                    <a:pt x="582" y="584"/>
                  </a:lnTo>
                  <a:lnTo>
                    <a:pt x="573" y="608"/>
                  </a:lnTo>
                  <a:lnTo>
                    <a:pt x="607" y="640"/>
                  </a:lnTo>
                  <a:lnTo>
                    <a:pt x="658" y="648"/>
                  </a:lnTo>
                  <a:lnTo>
                    <a:pt x="683" y="648"/>
                  </a:lnTo>
                  <a:lnTo>
                    <a:pt x="700" y="664"/>
                  </a:lnTo>
                  <a:lnTo>
                    <a:pt x="700" y="680"/>
                  </a:lnTo>
                  <a:lnTo>
                    <a:pt x="683" y="704"/>
                  </a:lnTo>
                  <a:lnTo>
                    <a:pt x="674" y="712"/>
                  </a:lnTo>
                  <a:lnTo>
                    <a:pt x="649" y="712"/>
                  </a:lnTo>
                  <a:lnTo>
                    <a:pt x="599" y="696"/>
                  </a:lnTo>
                  <a:lnTo>
                    <a:pt x="548" y="688"/>
                  </a:lnTo>
                  <a:lnTo>
                    <a:pt x="523" y="680"/>
                  </a:lnTo>
                  <a:lnTo>
                    <a:pt x="506" y="664"/>
                  </a:lnTo>
                  <a:lnTo>
                    <a:pt x="447" y="592"/>
                  </a:lnTo>
                  <a:lnTo>
                    <a:pt x="438" y="552"/>
                  </a:lnTo>
                  <a:lnTo>
                    <a:pt x="438" y="536"/>
                  </a:lnTo>
                  <a:lnTo>
                    <a:pt x="430" y="512"/>
                  </a:lnTo>
                  <a:lnTo>
                    <a:pt x="380" y="496"/>
                  </a:lnTo>
                  <a:lnTo>
                    <a:pt x="337" y="480"/>
                  </a:lnTo>
                  <a:lnTo>
                    <a:pt x="253" y="424"/>
                  </a:lnTo>
                  <a:lnTo>
                    <a:pt x="287" y="424"/>
                  </a:lnTo>
                  <a:lnTo>
                    <a:pt x="321" y="440"/>
                  </a:lnTo>
                  <a:lnTo>
                    <a:pt x="396" y="440"/>
                  </a:lnTo>
                  <a:lnTo>
                    <a:pt x="565" y="448"/>
                  </a:lnTo>
                  <a:lnTo>
                    <a:pt x="624" y="432"/>
                  </a:lnTo>
                  <a:lnTo>
                    <a:pt x="658" y="416"/>
                  </a:lnTo>
                  <a:lnTo>
                    <a:pt x="683" y="384"/>
                  </a:lnTo>
                  <a:lnTo>
                    <a:pt x="708" y="320"/>
                  </a:lnTo>
                  <a:lnTo>
                    <a:pt x="717" y="288"/>
                  </a:lnTo>
                  <a:lnTo>
                    <a:pt x="708" y="256"/>
                  </a:lnTo>
                  <a:lnTo>
                    <a:pt x="666" y="208"/>
                  </a:lnTo>
                  <a:lnTo>
                    <a:pt x="599" y="192"/>
                  </a:lnTo>
                  <a:lnTo>
                    <a:pt x="447" y="152"/>
                  </a:lnTo>
                  <a:lnTo>
                    <a:pt x="371" y="128"/>
                  </a:lnTo>
                  <a:lnTo>
                    <a:pt x="304" y="128"/>
                  </a:lnTo>
                  <a:lnTo>
                    <a:pt x="152" y="128"/>
                  </a:lnTo>
                  <a:lnTo>
                    <a:pt x="177" y="104"/>
                  </a:lnTo>
                  <a:lnTo>
                    <a:pt x="186" y="96"/>
                  </a:lnTo>
                  <a:lnTo>
                    <a:pt x="169" y="88"/>
                  </a:lnTo>
                  <a:lnTo>
                    <a:pt x="127" y="80"/>
                  </a:lnTo>
                  <a:lnTo>
                    <a:pt x="110" y="112"/>
                  </a:lnTo>
                  <a:lnTo>
                    <a:pt x="76" y="120"/>
                  </a:lnTo>
                  <a:lnTo>
                    <a:pt x="76" y="144"/>
                  </a:lnTo>
                  <a:lnTo>
                    <a:pt x="42" y="176"/>
                  </a:lnTo>
                  <a:lnTo>
                    <a:pt x="9" y="224"/>
                  </a:lnTo>
                  <a:lnTo>
                    <a:pt x="0" y="272"/>
                  </a:lnTo>
                  <a:lnTo>
                    <a:pt x="26" y="336"/>
                  </a:lnTo>
                  <a:lnTo>
                    <a:pt x="68" y="352"/>
                  </a:lnTo>
                  <a:lnTo>
                    <a:pt x="110" y="392"/>
                  </a:lnTo>
                  <a:lnTo>
                    <a:pt x="93" y="448"/>
                  </a:lnTo>
                  <a:lnTo>
                    <a:pt x="144" y="544"/>
                  </a:lnTo>
                  <a:lnTo>
                    <a:pt x="211" y="608"/>
                  </a:lnTo>
                  <a:lnTo>
                    <a:pt x="169" y="656"/>
                  </a:lnTo>
                  <a:lnTo>
                    <a:pt x="177" y="712"/>
                  </a:lnTo>
                  <a:lnTo>
                    <a:pt x="245" y="752"/>
                  </a:lnTo>
                  <a:lnTo>
                    <a:pt x="287" y="808"/>
                  </a:lnTo>
                  <a:lnTo>
                    <a:pt x="270" y="856"/>
                  </a:lnTo>
                  <a:lnTo>
                    <a:pt x="337" y="896"/>
                  </a:lnTo>
                  <a:lnTo>
                    <a:pt x="388" y="944"/>
                  </a:lnTo>
                  <a:lnTo>
                    <a:pt x="380" y="1008"/>
                  </a:lnTo>
                  <a:lnTo>
                    <a:pt x="337" y="1080"/>
                  </a:lnTo>
                  <a:lnTo>
                    <a:pt x="287" y="1152"/>
                  </a:lnTo>
                  <a:lnTo>
                    <a:pt x="262" y="1248"/>
                  </a:lnTo>
                  <a:lnTo>
                    <a:pt x="278" y="1232"/>
                  </a:lnTo>
                  <a:lnTo>
                    <a:pt x="304" y="1264"/>
                  </a:lnTo>
                  <a:lnTo>
                    <a:pt x="346" y="1280"/>
                  </a:lnTo>
                  <a:lnTo>
                    <a:pt x="396" y="1288"/>
                  </a:lnTo>
                  <a:lnTo>
                    <a:pt x="396" y="1296"/>
                  </a:lnTo>
                  <a:lnTo>
                    <a:pt x="388" y="1304"/>
                  </a:lnTo>
                  <a:lnTo>
                    <a:pt x="363" y="1312"/>
                  </a:lnTo>
                  <a:lnTo>
                    <a:pt x="346" y="1312"/>
                  </a:lnTo>
                  <a:lnTo>
                    <a:pt x="337" y="1336"/>
                  </a:lnTo>
                  <a:lnTo>
                    <a:pt x="287" y="1344"/>
                  </a:lnTo>
                  <a:lnTo>
                    <a:pt x="287" y="1368"/>
                  </a:lnTo>
                  <a:lnTo>
                    <a:pt x="287" y="1392"/>
                  </a:lnTo>
                  <a:lnTo>
                    <a:pt x="278" y="1392"/>
                  </a:lnTo>
                  <a:lnTo>
                    <a:pt x="287" y="1408"/>
                  </a:lnTo>
                  <a:lnTo>
                    <a:pt x="287" y="1456"/>
                  </a:lnTo>
                  <a:lnTo>
                    <a:pt x="287" y="1520"/>
                  </a:lnTo>
                  <a:lnTo>
                    <a:pt x="329" y="1568"/>
                  </a:lnTo>
                  <a:lnTo>
                    <a:pt x="312" y="1632"/>
                  </a:lnTo>
                  <a:lnTo>
                    <a:pt x="346" y="1640"/>
                  </a:lnTo>
                  <a:lnTo>
                    <a:pt x="354" y="1680"/>
                  </a:lnTo>
                  <a:lnTo>
                    <a:pt x="388" y="1712"/>
                  </a:lnTo>
                  <a:lnTo>
                    <a:pt x="413" y="1776"/>
                  </a:lnTo>
                  <a:lnTo>
                    <a:pt x="413" y="1768"/>
                  </a:lnTo>
                  <a:lnTo>
                    <a:pt x="438" y="1768"/>
                  </a:lnTo>
                  <a:lnTo>
                    <a:pt x="464" y="1784"/>
                  </a:lnTo>
                  <a:lnTo>
                    <a:pt x="481" y="1776"/>
                  </a:lnTo>
                  <a:lnTo>
                    <a:pt x="514" y="1784"/>
                  </a:lnTo>
                  <a:lnTo>
                    <a:pt x="531" y="1800"/>
                  </a:lnTo>
                  <a:lnTo>
                    <a:pt x="573" y="1776"/>
                  </a:lnTo>
                  <a:lnTo>
                    <a:pt x="607" y="1784"/>
                  </a:lnTo>
                  <a:lnTo>
                    <a:pt x="641" y="1808"/>
                  </a:lnTo>
                  <a:lnTo>
                    <a:pt x="649" y="1840"/>
                  </a:lnTo>
                  <a:lnTo>
                    <a:pt x="649" y="1872"/>
                  </a:lnTo>
                  <a:lnTo>
                    <a:pt x="683" y="1888"/>
                  </a:lnTo>
                  <a:lnTo>
                    <a:pt x="683" y="1904"/>
                  </a:lnTo>
                  <a:lnTo>
                    <a:pt x="717" y="1928"/>
                  </a:lnTo>
                  <a:lnTo>
                    <a:pt x="759" y="1936"/>
                  </a:lnTo>
                  <a:lnTo>
                    <a:pt x="767" y="1960"/>
                  </a:lnTo>
                  <a:lnTo>
                    <a:pt x="835" y="1976"/>
                  </a:lnTo>
                  <a:lnTo>
                    <a:pt x="860" y="2000"/>
                  </a:lnTo>
                  <a:lnTo>
                    <a:pt x="843" y="2024"/>
                  </a:lnTo>
                  <a:lnTo>
                    <a:pt x="826" y="2040"/>
                  </a:lnTo>
                  <a:lnTo>
                    <a:pt x="776" y="2048"/>
                  </a:lnTo>
                  <a:lnTo>
                    <a:pt x="767" y="2072"/>
                  </a:lnTo>
                  <a:lnTo>
                    <a:pt x="792" y="2088"/>
                  </a:lnTo>
                  <a:lnTo>
                    <a:pt x="792" y="2112"/>
                  </a:lnTo>
                  <a:lnTo>
                    <a:pt x="809" y="2136"/>
                  </a:lnTo>
                  <a:lnTo>
                    <a:pt x="835" y="2168"/>
                  </a:lnTo>
                  <a:lnTo>
                    <a:pt x="868" y="2168"/>
                  </a:lnTo>
                  <a:lnTo>
                    <a:pt x="877" y="2128"/>
                  </a:lnTo>
                  <a:lnTo>
                    <a:pt x="910" y="2128"/>
                  </a:lnTo>
                  <a:lnTo>
                    <a:pt x="969" y="2096"/>
                  </a:lnTo>
                  <a:lnTo>
                    <a:pt x="1011" y="2112"/>
                  </a:lnTo>
                  <a:lnTo>
                    <a:pt x="1054" y="2136"/>
                  </a:lnTo>
                  <a:lnTo>
                    <a:pt x="1037" y="2152"/>
                  </a:lnTo>
                  <a:lnTo>
                    <a:pt x="1054" y="2192"/>
                  </a:lnTo>
                  <a:lnTo>
                    <a:pt x="1079" y="2200"/>
                  </a:lnTo>
                  <a:lnTo>
                    <a:pt x="1113" y="2200"/>
                  </a:lnTo>
                  <a:lnTo>
                    <a:pt x="1113" y="1360"/>
                  </a:lnTo>
                  <a:lnTo>
                    <a:pt x="1121" y="0"/>
                  </a:lnTo>
                  <a:lnTo>
                    <a:pt x="1116" y="8"/>
                  </a:lnTo>
                  <a:lnTo>
                    <a:pt x="1014" y="13"/>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20" name="Freeform 99"/>
            <p:cNvSpPr>
              <a:spLocks/>
            </p:cNvSpPr>
            <p:nvPr>
              <p:custDataLst>
                <p:tags r:id="rId90"/>
              </p:custDataLst>
            </p:nvPr>
          </p:nvSpPr>
          <p:spPr bwMode="auto">
            <a:xfrm>
              <a:off x="4687" y="7"/>
              <a:ext cx="1115" cy="2190"/>
            </a:xfrm>
            <a:custGeom>
              <a:avLst/>
              <a:gdLst>
                <a:gd name="T0" fmla="*/ 1011 w 1115"/>
                <a:gd name="T1" fmla="*/ 102 h 2190"/>
                <a:gd name="T2" fmla="*/ 961 w 1115"/>
                <a:gd name="T3" fmla="*/ 174 h 2190"/>
                <a:gd name="T4" fmla="*/ 902 w 1115"/>
                <a:gd name="T5" fmla="*/ 150 h 2190"/>
                <a:gd name="T6" fmla="*/ 877 w 1115"/>
                <a:gd name="T7" fmla="*/ 134 h 2190"/>
                <a:gd name="T8" fmla="*/ 902 w 1115"/>
                <a:gd name="T9" fmla="*/ 54 h 2190"/>
                <a:gd name="T10" fmla="*/ 801 w 1115"/>
                <a:gd name="T11" fmla="*/ 14 h 2190"/>
                <a:gd name="T12" fmla="*/ 742 w 1115"/>
                <a:gd name="T13" fmla="*/ 54 h 2190"/>
                <a:gd name="T14" fmla="*/ 818 w 1115"/>
                <a:gd name="T15" fmla="*/ 190 h 2190"/>
                <a:gd name="T16" fmla="*/ 902 w 1115"/>
                <a:gd name="T17" fmla="*/ 254 h 2190"/>
                <a:gd name="T18" fmla="*/ 801 w 1115"/>
                <a:gd name="T19" fmla="*/ 302 h 2190"/>
                <a:gd name="T20" fmla="*/ 776 w 1115"/>
                <a:gd name="T21" fmla="*/ 350 h 2190"/>
                <a:gd name="T22" fmla="*/ 717 w 1115"/>
                <a:gd name="T23" fmla="*/ 470 h 2190"/>
                <a:gd name="T24" fmla="*/ 750 w 1115"/>
                <a:gd name="T25" fmla="*/ 574 h 2190"/>
                <a:gd name="T26" fmla="*/ 582 w 1115"/>
                <a:gd name="T27" fmla="*/ 574 h 2190"/>
                <a:gd name="T28" fmla="*/ 658 w 1115"/>
                <a:gd name="T29" fmla="*/ 638 h 2190"/>
                <a:gd name="T30" fmla="*/ 700 w 1115"/>
                <a:gd name="T31" fmla="*/ 670 h 2190"/>
                <a:gd name="T32" fmla="*/ 649 w 1115"/>
                <a:gd name="T33" fmla="*/ 702 h 2190"/>
                <a:gd name="T34" fmla="*/ 523 w 1115"/>
                <a:gd name="T35" fmla="*/ 670 h 2190"/>
                <a:gd name="T36" fmla="*/ 438 w 1115"/>
                <a:gd name="T37" fmla="*/ 542 h 2190"/>
                <a:gd name="T38" fmla="*/ 380 w 1115"/>
                <a:gd name="T39" fmla="*/ 486 h 2190"/>
                <a:gd name="T40" fmla="*/ 287 w 1115"/>
                <a:gd name="T41" fmla="*/ 414 h 2190"/>
                <a:gd name="T42" fmla="*/ 565 w 1115"/>
                <a:gd name="T43" fmla="*/ 438 h 2190"/>
                <a:gd name="T44" fmla="*/ 683 w 1115"/>
                <a:gd name="T45" fmla="*/ 374 h 2190"/>
                <a:gd name="T46" fmla="*/ 708 w 1115"/>
                <a:gd name="T47" fmla="*/ 246 h 2190"/>
                <a:gd name="T48" fmla="*/ 447 w 1115"/>
                <a:gd name="T49" fmla="*/ 142 h 2190"/>
                <a:gd name="T50" fmla="*/ 152 w 1115"/>
                <a:gd name="T51" fmla="*/ 118 h 2190"/>
                <a:gd name="T52" fmla="*/ 169 w 1115"/>
                <a:gd name="T53" fmla="*/ 78 h 2190"/>
                <a:gd name="T54" fmla="*/ 76 w 1115"/>
                <a:gd name="T55" fmla="*/ 110 h 2190"/>
                <a:gd name="T56" fmla="*/ 9 w 1115"/>
                <a:gd name="T57" fmla="*/ 214 h 2190"/>
                <a:gd name="T58" fmla="*/ 68 w 1115"/>
                <a:gd name="T59" fmla="*/ 342 h 2190"/>
                <a:gd name="T60" fmla="*/ 144 w 1115"/>
                <a:gd name="T61" fmla="*/ 534 h 2190"/>
                <a:gd name="T62" fmla="*/ 177 w 1115"/>
                <a:gd name="T63" fmla="*/ 702 h 2190"/>
                <a:gd name="T64" fmla="*/ 270 w 1115"/>
                <a:gd name="T65" fmla="*/ 846 h 2190"/>
                <a:gd name="T66" fmla="*/ 380 w 1115"/>
                <a:gd name="T67" fmla="*/ 998 h 2190"/>
                <a:gd name="T68" fmla="*/ 262 w 1115"/>
                <a:gd name="T69" fmla="*/ 1238 h 2190"/>
                <a:gd name="T70" fmla="*/ 346 w 1115"/>
                <a:gd name="T71" fmla="*/ 1270 h 2190"/>
                <a:gd name="T72" fmla="*/ 388 w 1115"/>
                <a:gd name="T73" fmla="*/ 1294 h 2190"/>
                <a:gd name="T74" fmla="*/ 337 w 1115"/>
                <a:gd name="T75" fmla="*/ 1326 h 2190"/>
                <a:gd name="T76" fmla="*/ 287 w 1115"/>
                <a:gd name="T77" fmla="*/ 1382 h 2190"/>
                <a:gd name="T78" fmla="*/ 287 w 1115"/>
                <a:gd name="T79" fmla="*/ 1446 h 2190"/>
                <a:gd name="T80" fmla="*/ 312 w 1115"/>
                <a:gd name="T81" fmla="*/ 1622 h 2190"/>
                <a:gd name="T82" fmla="*/ 388 w 1115"/>
                <a:gd name="T83" fmla="*/ 1702 h 2190"/>
                <a:gd name="T84" fmla="*/ 438 w 1115"/>
                <a:gd name="T85" fmla="*/ 1758 h 2190"/>
                <a:gd name="T86" fmla="*/ 514 w 1115"/>
                <a:gd name="T87" fmla="*/ 1774 h 2190"/>
                <a:gd name="T88" fmla="*/ 607 w 1115"/>
                <a:gd name="T89" fmla="*/ 1774 h 2190"/>
                <a:gd name="T90" fmla="*/ 649 w 1115"/>
                <a:gd name="T91" fmla="*/ 1862 h 2190"/>
                <a:gd name="T92" fmla="*/ 717 w 1115"/>
                <a:gd name="T93" fmla="*/ 1918 h 2190"/>
                <a:gd name="T94" fmla="*/ 835 w 1115"/>
                <a:gd name="T95" fmla="*/ 1966 h 2190"/>
                <a:gd name="T96" fmla="*/ 826 w 1115"/>
                <a:gd name="T97" fmla="*/ 2030 h 2190"/>
                <a:gd name="T98" fmla="*/ 792 w 1115"/>
                <a:gd name="T99" fmla="*/ 2078 h 2190"/>
                <a:gd name="T100" fmla="*/ 835 w 1115"/>
                <a:gd name="T101" fmla="*/ 2158 h 2190"/>
                <a:gd name="T102" fmla="*/ 877 w 1115"/>
                <a:gd name="T103" fmla="*/ 2118 h 2190"/>
                <a:gd name="T104" fmla="*/ 1011 w 1115"/>
                <a:gd name="T105" fmla="*/ 2102 h 2190"/>
                <a:gd name="T106" fmla="*/ 1054 w 1115"/>
                <a:gd name="T107" fmla="*/ 2182 h 2190"/>
                <a:gd name="T108" fmla="*/ 1115 w 1115"/>
                <a:gd name="T109" fmla="*/ 0 h 219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15" h="2190">
                  <a:moveTo>
                    <a:pt x="1011" y="0"/>
                  </a:moveTo>
                  <a:lnTo>
                    <a:pt x="995" y="54"/>
                  </a:lnTo>
                  <a:lnTo>
                    <a:pt x="1011" y="102"/>
                  </a:lnTo>
                  <a:lnTo>
                    <a:pt x="1011" y="126"/>
                  </a:lnTo>
                  <a:lnTo>
                    <a:pt x="1003" y="150"/>
                  </a:lnTo>
                  <a:lnTo>
                    <a:pt x="961" y="174"/>
                  </a:lnTo>
                  <a:lnTo>
                    <a:pt x="936" y="174"/>
                  </a:lnTo>
                  <a:lnTo>
                    <a:pt x="919" y="158"/>
                  </a:lnTo>
                  <a:lnTo>
                    <a:pt x="902" y="150"/>
                  </a:lnTo>
                  <a:lnTo>
                    <a:pt x="893" y="158"/>
                  </a:lnTo>
                  <a:lnTo>
                    <a:pt x="877" y="158"/>
                  </a:lnTo>
                  <a:lnTo>
                    <a:pt x="877" y="134"/>
                  </a:lnTo>
                  <a:lnTo>
                    <a:pt x="877" y="102"/>
                  </a:lnTo>
                  <a:lnTo>
                    <a:pt x="893" y="78"/>
                  </a:lnTo>
                  <a:lnTo>
                    <a:pt x="902" y="54"/>
                  </a:lnTo>
                  <a:lnTo>
                    <a:pt x="893" y="38"/>
                  </a:lnTo>
                  <a:lnTo>
                    <a:pt x="851" y="6"/>
                  </a:lnTo>
                  <a:lnTo>
                    <a:pt x="801" y="14"/>
                  </a:lnTo>
                  <a:lnTo>
                    <a:pt x="750" y="30"/>
                  </a:lnTo>
                  <a:lnTo>
                    <a:pt x="700" y="38"/>
                  </a:lnTo>
                  <a:lnTo>
                    <a:pt x="742" y="54"/>
                  </a:lnTo>
                  <a:lnTo>
                    <a:pt x="784" y="78"/>
                  </a:lnTo>
                  <a:lnTo>
                    <a:pt x="809" y="166"/>
                  </a:lnTo>
                  <a:lnTo>
                    <a:pt x="818" y="190"/>
                  </a:lnTo>
                  <a:lnTo>
                    <a:pt x="843" y="190"/>
                  </a:lnTo>
                  <a:lnTo>
                    <a:pt x="877" y="214"/>
                  </a:lnTo>
                  <a:lnTo>
                    <a:pt x="902" y="254"/>
                  </a:lnTo>
                  <a:lnTo>
                    <a:pt x="910" y="302"/>
                  </a:lnTo>
                  <a:lnTo>
                    <a:pt x="851" y="294"/>
                  </a:lnTo>
                  <a:lnTo>
                    <a:pt x="801" y="302"/>
                  </a:lnTo>
                  <a:lnTo>
                    <a:pt x="784" y="310"/>
                  </a:lnTo>
                  <a:lnTo>
                    <a:pt x="784" y="318"/>
                  </a:lnTo>
                  <a:lnTo>
                    <a:pt x="776" y="350"/>
                  </a:lnTo>
                  <a:lnTo>
                    <a:pt x="750" y="390"/>
                  </a:lnTo>
                  <a:lnTo>
                    <a:pt x="725" y="438"/>
                  </a:lnTo>
                  <a:lnTo>
                    <a:pt x="717" y="470"/>
                  </a:lnTo>
                  <a:lnTo>
                    <a:pt x="733" y="486"/>
                  </a:lnTo>
                  <a:lnTo>
                    <a:pt x="818" y="550"/>
                  </a:lnTo>
                  <a:lnTo>
                    <a:pt x="750" y="574"/>
                  </a:lnTo>
                  <a:lnTo>
                    <a:pt x="666" y="574"/>
                  </a:lnTo>
                  <a:lnTo>
                    <a:pt x="599" y="558"/>
                  </a:lnTo>
                  <a:lnTo>
                    <a:pt x="582" y="574"/>
                  </a:lnTo>
                  <a:lnTo>
                    <a:pt x="573" y="598"/>
                  </a:lnTo>
                  <a:lnTo>
                    <a:pt x="607" y="630"/>
                  </a:lnTo>
                  <a:lnTo>
                    <a:pt x="658" y="638"/>
                  </a:lnTo>
                  <a:lnTo>
                    <a:pt x="683" y="638"/>
                  </a:lnTo>
                  <a:lnTo>
                    <a:pt x="700" y="654"/>
                  </a:lnTo>
                  <a:lnTo>
                    <a:pt x="700" y="670"/>
                  </a:lnTo>
                  <a:lnTo>
                    <a:pt x="683" y="694"/>
                  </a:lnTo>
                  <a:lnTo>
                    <a:pt x="674" y="702"/>
                  </a:lnTo>
                  <a:lnTo>
                    <a:pt x="649" y="702"/>
                  </a:lnTo>
                  <a:lnTo>
                    <a:pt x="599" y="686"/>
                  </a:lnTo>
                  <a:lnTo>
                    <a:pt x="548" y="678"/>
                  </a:lnTo>
                  <a:lnTo>
                    <a:pt x="523" y="670"/>
                  </a:lnTo>
                  <a:lnTo>
                    <a:pt x="506" y="654"/>
                  </a:lnTo>
                  <a:lnTo>
                    <a:pt x="447" y="582"/>
                  </a:lnTo>
                  <a:lnTo>
                    <a:pt x="438" y="542"/>
                  </a:lnTo>
                  <a:lnTo>
                    <a:pt x="438" y="526"/>
                  </a:lnTo>
                  <a:lnTo>
                    <a:pt x="430" y="502"/>
                  </a:lnTo>
                  <a:lnTo>
                    <a:pt x="380" y="486"/>
                  </a:lnTo>
                  <a:lnTo>
                    <a:pt x="337" y="470"/>
                  </a:lnTo>
                  <a:lnTo>
                    <a:pt x="253" y="414"/>
                  </a:lnTo>
                  <a:lnTo>
                    <a:pt x="287" y="414"/>
                  </a:lnTo>
                  <a:lnTo>
                    <a:pt x="321" y="430"/>
                  </a:lnTo>
                  <a:lnTo>
                    <a:pt x="396" y="430"/>
                  </a:lnTo>
                  <a:lnTo>
                    <a:pt x="565" y="438"/>
                  </a:lnTo>
                  <a:lnTo>
                    <a:pt x="624" y="422"/>
                  </a:lnTo>
                  <a:lnTo>
                    <a:pt x="658" y="406"/>
                  </a:lnTo>
                  <a:lnTo>
                    <a:pt x="683" y="374"/>
                  </a:lnTo>
                  <a:lnTo>
                    <a:pt x="708" y="310"/>
                  </a:lnTo>
                  <a:lnTo>
                    <a:pt x="717" y="278"/>
                  </a:lnTo>
                  <a:lnTo>
                    <a:pt x="708" y="246"/>
                  </a:lnTo>
                  <a:lnTo>
                    <a:pt x="666" y="198"/>
                  </a:lnTo>
                  <a:lnTo>
                    <a:pt x="599" y="182"/>
                  </a:lnTo>
                  <a:lnTo>
                    <a:pt x="447" y="142"/>
                  </a:lnTo>
                  <a:lnTo>
                    <a:pt x="371" y="118"/>
                  </a:lnTo>
                  <a:lnTo>
                    <a:pt x="304" y="118"/>
                  </a:lnTo>
                  <a:lnTo>
                    <a:pt x="152" y="118"/>
                  </a:lnTo>
                  <a:lnTo>
                    <a:pt x="177" y="94"/>
                  </a:lnTo>
                  <a:lnTo>
                    <a:pt x="186" y="86"/>
                  </a:lnTo>
                  <a:lnTo>
                    <a:pt x="169" y="78"/>
                  </a:lnTo>
                  <a:lnTo>
                    <a:pt x="127" y="70"/>
                  </a:lnTo>
                  <a:lnTo>
                    <a:pt x="110" y="102"/>
                  </a:lnTo>
                  <a:lnTo>
                    <a:pt x="76" y="110"/>
                  </a:lnTo>
                  <a:lnTo>
                    <a:pt x="76" y="134"/>
                  </a:lnTo>
                  <a:lnTo>
                    <a:pt x="42" y="166"/>
                  </a:lnTo>
                  <a:lnTo>
                    <a:pt x="9" y="214"/>
                  </a:lnTo>
                  <a:lnTo>
                    <a:pt x="0" y="262"/>
                  </a:lnTo>
                  <a:lnTo>
                    <a:pt x="26" y="326"/>
                  </a:lnTo>
                  <a:lnTo>
                    <a:pt x="68" y="342"/>
                  </a:lnTo>
                  <a:lnTo>
                    <a:pt x="110" y="382"/>
                  </a:lnTo>
                  <a:lnTo>
                    <a:pt x="93" y="438"/>
                  </a:lnTo>
                  <a:lnTo>
                    <a:pt x="144" y="534"/>
                  </a:lnTo>
                  <a:lnTo>
                    <a:pt x="211" y="598"/>
                  </a:lnTo>
                  <a:lnTo>
                    <a:pt x="169" y="646"/>
                  </a:lnTo>
                  <a:lnTo>
                    <a:pt x="177" y="702"/>
                  </a:lnTo>
                  <a:lnTo>
                    <a:pt x="245" y="742"/>
                  </a:lnTo>
                  <a:lnTo>
                    <a:pt x="287" y="798"/>
                  </a:lnTo>
                  <a:lnTo>
                    <a:pt x="270" y="846"/>
                  </a:lnTo>
                  <a:lnTo>
                    <a:pt x="337" y="886"/>
                  </a:lnTo>
                  <a:lnTo>
                    <a:pt x="388" y="934"/>
                  </a:lnTo>
                  <a:lnTo>
                    <a:pt x="380" y="998"/>
                  </a:lnTo>
                  <a:lnTo>
                    <a:pt x="337" y="1070"/>
                  </a:lnTo>
                  <a:lnTo>
                    <a:pt x="287" y="1142"/>
                  </a:lnTo>
                  <a:lnTo>
                    <a:pt x="262" y="1238"/>
                  </a:lnTo>
                  <a:lnTo>
                    <a:pt x="278" y="1222"/>
                  </a:lnTo>
                  <a:lnTo>
                    <a:pt x="304" y="1254"/>
                  </a:lnTo>
                  <a:lnTo>
                    <a:pt x="346" y="1270"/>
                  </a:lnTo>
                  <a:lnTo>
                    <a:pt x="396" y="1278"/>
                  </a:lnTo>
                  <a:lnTo>
                    <a:pt x="396" y="1286"/>
                  </a:lnTo>
                  <a:lnTo>
                    <a:pt x="388" y="1294"/>
                  </a:lnTo>
                  <a:lnTo>
                    <a:pt x="363" y="1302"/>
                  </a:lnTo>
                  <a:lnTo>
                    <a:pt x="346" y="1302"/>
                  </a:lnTo>
                  <a:lnTo>
                    <a:pt x="337" y="1326"/>
                  </a:lnTo>
                  <a:lnTo>
                    <a:pt x="287" y="1334"/>
                  </a:lnTo>
                  <a:lnTo>
                    <a:pt x="287" y="1358"/>
                  </a:lnTo>
                  <a:lnTo>
                    <a:pt x="287" y="1382"/>
                  </a:lnTo>
                  <a:lnTo>
                    <a:pt x="278" y="1382"/>
                  </a:lnTo>
                  <a:lnTo>
                    <a:pt x="287" y="1398"/>
                  </a:lnTo>
                  <a:lnTo>
                    <a:pt x="287" y="1446"/>
                  </a:lnTo>
                  <a:lnTo>
                    <a:pt x="287" y="1510"/>
                  </a:lnTo>
                  <a:lnTo>
                    <a:pt x="329" y="1558"/>
                  </a:lnTo>
                  <a:lnTo>
                    <a:pt x="312" y="1622"/>
                  </a:lnTo>
                  <a:lnTo>
                    <a:pt x="346" y="1630"/>
                  </a:lnTo>
                  <a:lnTo>
                    <a:pt x="354" y="1670"/>
                  </a:lnTo>
                  <a:lnTo>
                    <a:pt x="388" y="1702"/>
                  </a:lnTo>
                  <a:lnTo>
                    <a:pt x="413" y="1766"/>
                  </a:lnTo>
                  <a:lnTo>
                    <a:pt x="413" y="1758"/>
                  </a:lnTo>
                  <a:lnTo>
                    <a:pt x="438" y="1758"/>
                  </a:lnTo>
                  <a:lnTo>
                    <a:pt x="464" y="1774"/>
                  </a:lnTo>
                  <a:lnTo>
                    <a:pt x="481" y="1766"/>
                  </a:lnTo>
                  <a:lnTo>
                    <a:pt x="514" y="1774"/>
                  </a:lnTo>
                  <a:lnTo>
                    <a:pt x="531" y="1790"/>
                  </a:lnTo>
                  <a:lnTo>
                    <a:pt x="573" y="1766"/>
                  </a:lnTo>
                  <a:lnTo>
                    <a:pt x="607" y="1774"/>
                  </a:lnTo>
                  <a:lnTo>
                    <a:pt x="641" y="1798"/>
                  </a:lnTo>
                  <a:lnTo>
                    <a:pt x="649" y="1830"/>
                  </a:lnTo>
                  <a:lnTo>
                    <a:pt x="649" y="1862"/>
                  </a:lnTo>
                  <a:lnTo>
                    <a:pt x="683" y="1878"/>
                  </a:lnTo>
                  <a:lnTo>
                    <a:pt x="683" y="1894"/>
                  </a:lnTo>
                  <a:lnTo>
                    <a:pt x="717" y="1918"/>
                  </a:lnTo>
                  <a:lnTo>
                    <a:pt x="759" y="1926"/>
                  </a:lnTo>
                  <a:lnTo>
                    <a:pt x="767" y="1950"/>
                  </a:lnTo>
                  <a:lnTo>
                    <a:pt x="835" y="1966"/>
                  </a:lnTo>
                  <a:lnTo>
                    <a:pt x="860" y="1990"/>
                  </a:lnTo>
                  <a:lnTo>
                    <a:pt x="843" y="2014"/>
                  </a:lnTo>
                  <a:lnTo>
                    <a:pt x="826" y="2030"/>
                  </a:lnTo>
                  <a:lnTo>
                    <a:pt x="776" y="2038"/>
                  </a:lnTo>
                  <a:lnTo>
                    <a:pt x="767" y="2062"/>
                  </a:lnTo>
                  <a:lnTo>
                    <a:pt x="792" y="2078"/>
                  </a:lnTo>
                  <a:lnTo>
                    <a:pt x="792" y="2102"/>
                  </a:lnTo>
                  <a:lnTo>
                    <a:pt x="809" y="2126"/>
                  </a:lnTo>
                  <a:lnTo>
                    <a:pt x="835" y="2158"/>
                  </a:lnTo>
                  <a:lnTo>
                    <a:pt x="868" y="2158"/>
                  </a:lnTo>
                  <a:lnTo>
                    <a:pt x="877" y="2118"/>
                  </a:lnTo>
                  <a:lnTo>
                    <a:pt x="910" y="2118"/>
                  </a:lnTo>
                  <a:lnTo>
                    <a:pt x="969" y="2086"/>
                  </a:lnTo>
                  <a:lnTo>
                    <a:pt x="1011" y="2102"/>
                  </a:lnTo>
                  <a:lnTo>
                    <a:pt x="1054" y="2126"/>
                  </a:lnTo>
                  <a:lnTo>
                    <a:pt x="1037" y="2142"/>
                  </a:lnTo>
                  <a:lnTo>
                    <a:pt x="1054" y="2182"/>
                  </a:lnTo>
                  <a:lnTo>
                    <a:pt x="1079" y="2190"/>
                  </a:lnTo>
                  <a:lnTo>
                    <a:pt x="1113" y="2190"/>
                  </a:lnTo>
                  <a:lnTo>
                    <a:pt x="1115" y="0"/>
                  </a:lnTo>
                  <a:lnTo>
                    <a:pt x="1011" y="0"/>
                  </a:lnTo>
                  <a:close/>
                </a:path>
              </a:pathLst>
            </a:custGeom>
            <a:solidFill>
              <a:srgbClr val="6DBACE"/>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21" name="Freeform 100"/>
            <p:cNvSpPr>
              <a:spLocks/>
            </p:cNvSpPr>
            <p:nvPr>
              <p:custDataLst>
                <p:tags r:id="rId91"/>
              </p:custDataLst>
            </p:nvPr>
          </p:nvSpPr>
          <p:spPr bwMode="auto">
            <a:xfrm>
              <a:off x="4274" y="136"/>
              <a:ext cx="801" cy="1272"/>
            </a:xfrm>
            <a:custGeom>
              <a:avLst/>
              <a:gdLst>
                <a:gd name="T0" fmla="*/ 683 w 801"/>
                <a:gd name="T1" fmla="*/ 720 h 1272"/>
                <a:gd name="T2" fmla="*/ 658 w 801"/>
                <a:gd name="T3" fmla="*/ 616 h 1272"/>
                <a:gd name="T4" fmla="*/ 582 w 801"/>
                <a:gd name="T5" fmla="*/ 520 h 1272"/>
                <a:gd name="T6" fmla="*/ 557 w 801"/>
                <a:gd name="T7" fmla="*/ 408 h 1272"/>
                <a:gd name="T8" fmla="*/ 523 w 801"/>
                <a:gd name="T9" fmla="*/ 256 h 1272"/>
                <a:gd name="T10" fmla="*/ 439 w 801"/>
                <a:gd name="T11" fmla="*/ 200 h 1272"/>
                <a:gd name="T12" fmla="*/ 422 w 801"/>
                <a:gd name="T13" fmla="*/ 88 h 1272"/>
                <a:gd name="T14" fmla="*/ 413 w 801"/>
                <a:gd name="T15" fmla="*/ 32 h 1272"/>
                <a:gd name="T16" fmla="*/ 295 w 801"/>
                <a:gd name="T17" fmla="*/ 0 h 1272"/>
                <a:gd name="T18" fmla="*/ 262 w 801"/>
                <a:gd name="T19" fmla="*/ 112 h 1272"/>
                <a:gd name="T20" fmla="*/ 186 w 801"/>
                <a:gd name="T21" fmla="*/ 168 h 1272"/>
                <a:gd name="T22" fmla="*/ 43 w 801"/>
                <a:gd name="T23" fmla="*/ 136 h 1272"/>
                <a:gd name="T24" fmla="*/ 51 w 801"/>
                <a:gd name="T25" fmla="*/ 216 h 1272"/>
                <a:gd name="T26" fmla="*/ 177 w 801"/>
                <a:gd name="T27" fmla="*/ 296 h 1272"/>
                <a:gd name="T28" fmla="*/ 220 w 801"/>
                <a:gd name="T29" fmla="*/ 368 h 1272"/>
                <a:gd name="T30" fmla="*/ 228 w 801"/>
                <a:gd name="T31" fmla="*/ 464 h 1272"/>
                <a:gd name="T32" fmla="*/ 262 w 801"/>
                <a:gd name="T33" fmla="*/ 552 h 1272"/>
                <a:gd name="T34" fmla="*/ 329 w 801"/>
                <a:gd name="T35" fmla="*/ 576 h 1272"/>
                <a:gd name="T36" fmla="*/ 354 w 801"/>
                <a:gd name="T37" fmla="*/ 600 h 1272"/>
                <a:gd name="T38" fmla="*/ 354 w 801"/>
                <a:gd name="T39" fmla="*/ 632 h 1272"/>
                <a:gd name="T40" fmla="*/ 236 w 801"/>
                <a:gd name="T41" fmla="*/ 832 h 1272"/>
                <a:gd name="T42" fmla="*/ 177 w 801"/>
                <a:gd name="T43" fmla="*/ 896 h 1272"/>
                <a:gd name="T44" fmla="*/ 186 w 801"/>
                <a:gd name="T45" fmla="*/ 976 h 1272"/>
                <a:gd name="T46" fmla="*/ 228 w 801"/>
                <a:gd name="T47" fmla="*/ 1080 h 1272"/>
                <a:gd name="T48" fmla="*/ 236 w 801"/>
                <a:gd name="T49" fmla="*/ 1160 h 1272"/>
                <a:gd name="T50" fmla="*/ 287 w 801"/>
                <a:gd name="T51" fmla="*/ 1208 h 1272"/>
                <a:gd name="T52" fmla="*/ 312 w 801"/>
                <a:gd name="T53" fmla="*/ 1272 h 1272"/>
                <a:gd name="T54" fmla="*/ 380 w 801"/>
                <a:gd name="T55" fmla="*/ 1264 h 1272"/>
                <a:gd name="T56" fmla="*/ 506 w 801"/>
                <a:gd name="T57" fmla="*/ 1192 h 1272"/>
                <a:gd name="T58" fmla="*/ 675 w 801"/>
                <a:gd name="T59" fmla="*/ 1112 h 1272"/>
                <a:gd name="T60" fmla="*/ 750 w 801"/>
                <a:gd name="T61" fmla="*/ 944 h 1272"/>
                <a:gd name="T62" fmla="*/ 801 w 801"/>
                <a:gd name="T63" fmla="*/ 808 h 127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01" h="1272">
                  <a:moveTo>
                    <a:pt x="750" y="760"/>
                  </a:moveTo>
                  <a:lnTo>
                    <a:pt x="683" y="720"/>
                  </a:lnTo>
                  <a:lnTo>
                    <a:pt x="700" y="672"/>
                  </a:lnTo>
                  <a:lnTo>
                    <a:pt x="658" y="616"/>
                  </a:lnTo>
                  <a:lnTo>
                    <a:pt x="590" y="576"/>
                  </a:lnTo>
                  <a:lnTo>
                    <a:pt x="582" y="520"/>
                  </a:lnTo>
                  <a:lnTo>
                    <a:pt x="624" y="472"/>
                  </a:lnTo>
                  <a:lnTo>
                    <a:pt x="557" y="408"/>
                  </a:lnTo>
                  <a:lnTo>
                    <a:pt x="506" y="312"/>
                  </a:lnTo>
                  <a:lnTo>
                    <a:pt x="523" y="256"/>
                  </a:lnTo>
                  <a:lnTo>
                    <a:pt x="481" y="216"/>
                  </a:lnTo>
                  <a:lnTo>
                    <a:pt x="439" y="200"/>
                  </a:lnTo>
                  <a:lnTo>
                    <a:pt x="413" y="136"/>
                  </a:lnTo>
                  <a:lnTo>
                    <a:pt x="422" y="88"/>
                  </a:lnTo>
                  <a:lnTo>
                    <a:pt x="430" y="72"/>
                  </a:lnTo>
                  <a:lnTo>
                    <a:pt x="413" y="32"/>
                  </a:lnTo>
                  <a:lnTo>
                    <a:pt x="346" y="0"/>
                  </a:lnTo>
                  <a:lnTo>
                    <a:pt x="295" y="0"/>
                  </a:lnTo>
                  <a:lnTo>
                    <a:pt x="262" y="40"/>
                  </a:lnTo>
                  <a:lnTo>
                    <a:pt x="262" y="112"/>
                  </a:lnTo>
                  <a:lnTo>
                    <a:pt x="245" y="184"/>
                  </a:lnTo>
                  <a:lnTo>
                    <a:pt x="186" y="168"/>
                  </a:lnTo>
                  <a:lnTo>
                    <a:pt x="144" y="184"/>
                  </a:lnTo>
                  <a:lnTo>
                    <a:pt x="43" y="136"/>
                  </a:lnTo>
                  <a:lnTo>
                    <a:pt x="0" y="160"/>
                  </a:lnTo>
                  <a:lnTo>
                    <a:pt x="51" y="216"/>
                  </a:lnTo>
                  <a:lnTo>
                    <a:pt x="144" y="256"/>
                  </a:lnTo>
                  <a:lnTo>
                    <a:pt x="177" y="296"/>
                  </a:lnTo>
                  <a:lnTo>
                    <a:pt x="177" y="336"/>
                  </a:lnTo>
                  <a:lnTo>
                    <a:pt x="220" y="368"/>
                  </a:lnTo>
                  <a:lnTo>
                    <a:pt x="220" y="416"/>
                  </a:lnTo>
                  <a:lnTo>
                    <a:pt x="228" y="464"/>
                  </a:lnTo>
                  <a:lnTo>
                    <a:pt x="245" y="504"/>
                  </a:lnTo>
                  <a:lnTo>
                    <a:pt x="262" y="552"/>
                  </a:lnTo>
                  <a:lnTo>
                    <a:pt x="295" y="560"/>
                  </a:lnTo>
                  <a:lnTo>
                    <a:pt x="329" y="576"/>
                  </a:lnTo>
                  <a:lnTo>
                    <a:pt x="354" y="584"/>
                  </a:lnTo>
                  <a:lnTo>
                    <a:pt x="354" y="600"/>
                  </a:lnTo>
                  <a:lnTo>
                    <a:pt x="363" y="616"/>
                  </a:lnTo>
                  <a:lnTo>
                    <a:pt x="354" y="632"/>
                  </a:lnTo>
                  <a:lnTo>
                    <a:pt x="321" y="696"/>
                  </a:lnTo>
                  <a:lnTo>
                    <a:pt x="236" y="832"/>
                  </a:lnTo>
                  <a:lnTo>
                    <a:pt x="203" y="864"/>
                  </a:lnTo>
                  <a:lnTo>
                    <a:pt x="177" y="896"/>
                  </a:lnTo>
                  <a:lnTo>
                    <a:pt x="177" y="936"/>
                  </a:lnTo>
                  <a:lnTo>
                    <a:pt x="186" y="976"/>
                  </a:lnTo>
                  <a:lnTo>
                    <a:pt x="211" y="1048"/>
                  </a:lnTo>
                  <a:lnTo>
                    <a:pt x="228" y="1080"/>
                  </a:lnTo>
                  <a:lnTo>
                    <a:pt x="228" y="1120"/>
                  </a:lnTo>
                  <a:lnTo>
                    <a:pt x="236" y="1160"/>
                  </a:lnTo>
                  <a:lnTo>
                    <a:pt x="253" y="1192"/>
                  </a:lnTo>
                  <a:lnTo>
                    <a:pt x="287" y="1208"/>
                  </a:lnTo>
                  <a:lnTo>
                    <a:pt x="321" y="1224"/>
                  </a:lnTo>
                  <a:lnTo>
                    <a:pt x="312" y="1272"/>
                  </a:lnTo>
                  <a:lnTo>
                    <a:pt x="363" y="1272"/>
                  </a:lnTo>
                  <a:lnTo>
                    <a:pt x="380" y="1264"/>
                  </a:lnTo>
                  <a:lnTo>
                    <a:pt x="405" y="1248"/>
                  </a:lnTo>
                  <a:lnTo>
                    <a:pt x="506" y="1192"/>
                  </a:lnTo>
                  <a:lnTo>
                    <a:pt x="599" y="1152"/>
                  </a:lnTo>
                  <a:lnTo>
                    <a:pt x="675" y="1112"/>
                  </a:lnTo>
                  <a:lnTo>
                    <a:pt x="700" y="1016"/>
                  </a:lnTo>
                  <a:lnTo>
                    <a:pt x="750" y="944"/>
                  </a:lnTo>
                  <a:lnTo>
                    <a:pt x="793" y="872"/>
                  </a:lnTo>
                  <a:lnTo>
                    <a:pt x="801" y="808"/>
                  </a:lnTo>
                  <a:lnTo>
                    <a:pt x="750" y="760"/>
                  </a:lnTo>
                  <a:close/>
                </a:path>
              </a:pathLst>
            </a:custGeom>
            <a:solidFill>
              <a:srgbClr val="6DBACE"/>
            </a:solid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22" name="Freeform 101"/>
            <p:cNvSpPr>
              <a:spLocks/>
            </p:cNvSpPr>
            <p:nvPr>
              <p:custDataLst>
                <p:tags r:id="rId92"/>
              </p:custDataLst>
            </p:nvPr>
          </p:nvSpPr>
          <p:spPr bwMode="auto">
            <a:xfrm>
              <a:off x="3845" y="312"/>
              <a:ext cx="691" cy="1696"/>
            </a:xfrm>
            <a:custGeom>
              <a:avLst/>
              <a:gdLst>
                <a:gd name="T0" fmla="*/ 354 w 691"/>
                <a:gd name="T1" fmla="*/ 72 h 1696"/>
                <a:gd name="T2" fmla="*/ 295 w 691"/>
                <a:gd name="T3" fmla="*/ 128 h 1696"/>
                <a:gd name="T4" fmla="*/ 261 w 691"/>
                <a:gd name="T5" fmla="*/ 216 h 1696"/>
                <a:gd name="T6" fmla="*/ 210 w 691"/>
                <a:gd name="T7" fmla="*/ 312 h 1696"/>
                <a:gd name="T8" fmla="*/ 168 w 691"/>
                <a:gd name="T9" fmla="*/ 400 h 1696"/>
                <a:gd name="T10" fmla="*/ 118 w 691"/>
                <a:gd name="T11" fmla="*/ 576 h 1696"/>
                <a:gd name="T12" fmla="*/ 143 w 691"/>
                <a:gd name="T13" fmla="*/ 656 h 1696"/>
                <a:gd name="T14" fmla="*/ 33 w 691"/>
                <a:gd name="T15" fmla="*/ 736 h 1696"/>
                <a:gd name="T16" fmla="*/ 50 w 691"/>
                <a:gd name="T17" fmla="*/ 936 h 1696"/>
                <a:gd name="T18" fmla="*/ 92 w 691"/>
                <a:gd name="T19" fmla="*/ 1016 h 1696"/>
                <a:gd name="T20" fmla="*/ 67 w 691"/>
                <a:gd name="T21" fmla="*/ 1144 h 1696"/>
                <a:gd name="T22" fmla="*/ 17 w 691"/>
                <a:gd name="T23" fmla="*/ 1272 h 1696"/>
                <a:gd name="T24" fmla="*/ 8 w 691"/>
                <a:gd name="T25" fmla="*/ 1328 h 1696"/>
                <a:gd name="T26" fmla="*/ 42 w 691"/>
                <a:gd name="T27" fmla="*/ 1376 h 1696"/>
                <a:gd name="T28" fmla="*/ 84 w 691"/>
                <a:gd name="T29" fmla="*/ 1504 h 1696"/>
                <a:gd name="T30" fmla="*/ 118 w 691"/>
                <a:gd name="T31" fmla="*/ 1568 h 1696"/>
                <a:gd name="T32" fmla="*/ 109 w 691"/>
                <a:gd name="T33" fmla="*/ 1616 h 1696"/>
                <a:gd name="T34" fmla="*/ 135 w 691"/>
                <a:gd name="T35" fmla="*/ 1664 h 1696"/>
                <a:gd name="T36" fmla="*/ 202 w 691"/>
                <a:gd name="T37" fmla="*/ 1696 h 1696"/>
                <a:gd name="T38" fmla="*/ 244 w 691"/>
                <a:gd name="T39" fmla="*/ 1648 h 1696"/>
                <a:gd name="T40" fmla="*/ 286 w 691"/>
                <a:gd name="T41" fmla="*/ 1600 h 1696"/>
                <a:gd name="T42" fmla="*/ 387 w 691"/>
                <a:gd name="T43" fmla="*/ 1472 h 1696"/>
                <a:gd name="T44" fmla="*/ 387 w 691"/>
                <a:gd name="T45" fmla="*/ 1408 h 1696"/>
                <a:gd name="T46" fmla="*/ 396 w 691"/>
                <a:gd name="T47" fmla="*/ 1336 h 1696"/>
                <a:gd name="T48" fmla="*/ 421 w 691"/>
                <a:gd name="T49" fmla="*/ 1272 h 1696"/>
                <a:gd name="T50" fmla="*/ 497 w 691"/>
                <a:gd name="T51" fmla="*/ 1224 h 1696"/>
                <a:gd name="T52" fmla="*/ 505 w 691"/>
                <a:gd name="T53" fmla="*/ 1168 h 1696"/>
                <a:gd name="T54" fmla="*/ 480 w 691"/>
                <a:gd name="T55" fmla="*/ 1088 h 1696"/>
                <a:gd name="T56" fmla="*/ 396 w 691"/>
                <a:gd name="T57" fmla="*/ 1040 h 1696"/>
                <a:gd name="T58" fmla="*/ 387 w 691"/>
                <a:gd name="T59" fmla="*/ 984 h 1696"/>
                <a:gd name="T60" fmla="*/ 387 w 691"/>
                <a:gd name="T61" fmla="*/ 832 h 1696"/>
                <a:gd name="T62" fmla="*/ 480 w 691"/>
                <a:gd name="T63" fmla="*/ 704 h 1696"/>
                <a:gd name="T64" fmla="*/ 556 w 691"/>
                <a:gd name="T65" fmla="*/ 624 h 1696"/>
                <a:gd name="T66" fmla="*/ 581 w 691"/>
                <a:gd name="T67" fmla="*/ 560 h 1696"/>
                <a:gd name="T68" fmla="*/ 573 w 691"/>
                <a:gd name="T69" fmla="*/ 496 h 1696"/>
                <a:gd name="T70" fmla="*/ 606 w 691"/>
                <a:gd name="T71" fmla="*/ 424 h 1696"/>
                <a:gd name="T72" fmla="*/ 682 w 691"/>
                <a:gd name="T73" fmla="*/ 376 h 1696"/>
                <a:gd name="T74" fmla="*/ 674 w 691"/>
                <a:gd name="T75" fmla="*/ 328 h 1696"/>
                <a:gd name="T76" fmla="*/ 649 w 691"/>
                <a:gd name="T77" fmla="*/ 240 h 1696"/>
                <a:gd name="T78" fmla="*/ 606 w 691"/>
                <a:gd name="T79" fmla="*/ 160 h 1696"/>
                <a:gd name="T80" fmla="*/ 573 w 691"/>
                <a:gd name="T81" fmla="*/ 80 h 1696"/>
                <a:gd name="T82" fmla="*/ 446 w 691"/>
                <a:gd name="T83" fmla="*/ 0 h 1696"/>
                <a:gd name="T84" fmla="*/ 429 w 691"/>
                <a:gd name="T85" fmla="*/ 88 h 16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91" h="1696">
                  <a:moveTo>
                    <a:pt x="429" y="88"/>
                  </a:moveTo>
                  <a:lnTo>
                    <a:pt x="354" y="72"/>
                  </a:lnTo>
                  <a:lnTo>
                    <a:pt x="337" y="128"/>
                  </a:lnTo>
                  <a:lnTo>
                    <a:pt x="295" y="128"/>
                  </a:lnTo>
                  <a:lnTo>
                    <a:pt x="261" y="168"/>
                  </a:lnTo>
                  <a:lnTo>
                    <a:pt x="261" y="216"/>
                  </a:lnTo>
                  <a:lnTo>
                    <a:pt x="269" y="256"/>
                  </a:lnTo>
                  <a:lnTo>
                    <a:pt x="210" y="312"/>
                  </a:lnTo>
                  <a:lnTo>
                    <a:pt x="210" y="376"/>
                  </a:lnTo>
                  <a:lnTo>
                    <a:pt x="168" y="400"/>
                  </a:lnTo>
                  <a:lnTo>
                    <a:pt x="168" y="496"/>
                  </a:lnTo>
                  <a:lnTo>
                    <a:pt x="118" y="576"/>
                  </a:lnTo>
                  <a:lnTo>
                    <a:pt x="160" y="600"/>
                  </a:lnTo>
                  <a:lnTo>
                    <a:pt x="143" y="656"/>
                  </a:lnTo>
                  <a:lnTo>
                    <a:pt x="67" y="664"/>
                  </a:lnTo>
                  <a:lnTo>
                    <a:pt x="33" y="736"/>
                  </a:lnTo>
                  <a:lnTo>
                    <a:pt x="50" y="856"/>
                  </a:lnTo>
                  <a:lnTo>
                    <a:pt x="50" y="936"/>
                  </a:lnTo>
                  <a:lnTo>
                    <a:pt x="92" y="976"/>
                  </a:lnTo>
                  <a:lnTo>
                    <a:pt x="92" y="1016"/>
                  </a:lnTo>
                  <a:lnTo>
                    <a:pt x="67" y="1056"/>
                  </a:lnTo>
                  <a:lnTo>
                    <a:pt x="67" y="1144"/>
                  </a:lnTo>
                  <a:lnTo>
                    <a:pt x="33" y="1176"/>
                  </a:lnTo>
                  <a:lnTo>
                    <a:pt x="17" y="1272"/>
                  </a:lnTo>
                  <a:lnTo>
                    <a:pt x="0" y="1280"/>
                  </a:lnTo>
                  <a:lnTo>
                    <a:pt x="8" y="1328"/>
                  </a:lnTo>
                  <a:lnTo>
                    <a:pt x="33" y="1352"/>
                  </a:lnTo>
                  <a:lnTo>
                    <a:pt x="42" y="1376"/>
                  </a:lnTo>
                  <a:lnTo>
                    <a:pt x="42" y="1440"/>
                  </a:lnTo>
                  <a:lnTo>
                    <a:pt x="84" y="1504"/>
                  </a:lnTo>
                  <a:lnTo>
                    <a:pt x="109" y="1536"/>
                  </a:lnTo>
                  <a:lnTo>
                    <a:pt x="118" y="1568"/>
                  </a:lnTo>
                  <a:lnTo>
                    <a:pt x="109" y="1592"/>
                  </a:lnTo>
                  <a:lnTo>
                    <a:pt x="109" y="1616"/>
                  </a:lnTo>
                  <a:lnTo>
                    <a:pt x="126" y="1632"/>
                  </a:lnTo>
                  <a:lnTo>
                    <a:pt x="135" y="1664"/>
                  </a:lnTo>
                  <a:lnTo>
                    <a:pt x="135" y="1696"/>
                  </a:lnTo>
                  <a:lnTo>
                    <a:pt x="202" y="1696"/>
                  </a:lnTo>
                  <a:lnTo>
                    <a:pt x="236" y="1680"/>
                  </a:lnTo>
                  <a:lnTo>
                    <a:pt x="244" y="1648"/>
                  </a:lnTo>
                  <a:lnTo>
                    <a:pt x="261" y="1616"/>
                  </a:lnTo>
                  <a:lnTo>
                    <a:pt x="286" y="1600"/>
                  </a:lnTo>
                  <a:lnTo>
                    <a:pt x="354" y="1608"/>
                  </a:lnTo>
                  <a:lnTo>
                    <a:pt x="387" y="1472"/>
                  </a:lnTo>
                  <a:lnTo>
                    <a:pt x="396" y="1440"/>
                  </a:lnTo>
                  <a:lnTo>
                    <a:pt x="387" y="1408"/>
                  </a:lnTo>
                  <a:lnTo>
                    <a:pt x="387" y="1368"/>
                  </a:lnTo>
                  <a:lnTo>
                    <a:pt x="396" y="1336"/>
                  </a:lnTo>
                  <a:lnTo>
                    <a:pt x="404" y="1296"/>
                  </a:lnTo>
                  <a:lnTo>
                    <a:pt x="421" y="1272"/>
                  </a:lnTo>
                  <a:lnTo>
                    <a:pt x="472" y="1240"/>
                  </a:lnTo>
                  <a:lnTo>
                    <a:pt x="497" y="1224"/>
                  </a:lnTo>
                  <a:lnTo>
                    <a:pt x="497" y="1192"/>
                  </a:lnTo>
                  <a:lnTo>
                    <a:pt x="505" y="1168"/>
                  </a:lnTo>
                  <a:lnTo>
                    <a:pt x="522" y="1144"/>
                  </a:lnTo>
                  <a:lnTo>
                    <a:pt x="480" y="1088"/>
                  </a:lnTo>
                  <a:lnTo>
                    <a:pt x="413" y="1048"/>
                  </a:lnTo>
                  <a:lnTo>
                    <a:pt x="396" y="1040"/>
                  </a:lnTo>
                  <a:lnTo>
                    <a:pt x="387" y="1024"/>
                  </a:lnTo>
                  <a:lnTo>
                    <a:pt x="387" y="984"/>
                  </a:lnTo>
                  <a:lnTo>
                    <a:pt x="379" y="904"/>
                  </a:lnTo>
                  <a:lnTo>
                    <a:pt x="387" y="832"/>
                  </a:lnTo>
                  <a:lnTo>
                    <a:pt x="429" y="760"/>
                  </a:lnTo>
                  <a:lnTo>
                    <a:pt x="480" y="704"/>
                  </a:lnTo>
                  <a:lnTo>
                    <a:pt x="539" y="648"/>
                  </a:lnTo>
                  <a:lnTo>
                    <a:pt x="556" y="624"/>
                  </a:lnTo>
                  <a:lnTo>
                    <a:pt x="564" y="584"/>
                  </a:lnTo>
                  <a:lnTo>
                    <a:pt x="581" y="560"/>
                  </a:lnTo>
                  <a:lnTo>
                    <a:pt x="581" y="536"/>
                  </a:lnTo>
                  <a:lnTo>
                    <a:pt x="573" y="496"/>
                  </a:lnTo>
                  <a:lnTo>
                    <a:pt x="581" y="464"/>
                  </a:lnTo>
                  <a:lnTo>
                    <a:pt x="606" y="424"/>
                  </a:lnTo>
                  <a:lnTo>
                    <a:pt x="615" y="384"/>
                  </a:lnTo>
                  <a:lnTo>
                    <a:pt x="682" y="376"/>
                  </a:lnTo>
                  <a:lnTo>
                    <a:pt x="691" y="376"/>
                  </a:lnTo>
                  <a:lnTo>
                    <a:pt x="674" y="328"/>
                  </a:lnTo>
                  <a:lnTo>
                    <a:pt x="657" y="288"/>
                  </a:lnTo>
                  <a:lnTo>
                    <a:pt x="649" y="240"/>
                  </a:lnTo>
                  <a:lnTo>
                    <a:pt x="649" y="192"/>
                  </a:lnTo>
                  <a:lnTo>
                    <a:pt x="606" y="160"/>
                  </a:lnTo>
                  <a:lnTo>
                    <a:pt x="606" y="120"/>
                  </a:lnTo>
                  <a:lnTo>
                    <a:pt x="573" y="80"/>
                  </a:lnTo>
                  <a:lnTo>
                    <a:pt x="480" y="40"/>
                  </a:lnTo>
                  <a:lnTo>
                    <a:pt x="446" y="0"/>
                  </a:lnTo>
                  <a:lnTo>
                    <a:pt x="429" y="8"/>
                  </a:lnTo>
                  <a:lnTo>
                    <a:pt x="429" y="88"/>
                  </a:lnTo>
                  <a:close/>
                </a:path>
              </a:pathLst>
            </a:custGeom>
            <a:solidFill>
              <a:srgbClr val="6DBACE"/>
            </a:solid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25" name="Freeform 104"/>
            <p:cNvSpPr>
              <a:spLocks/>
            </p:cNvSpPr>
            <p:nvPr>
              <p:custDataLst>
                <p:tags r:id="rId93"/>
              </p:custDataLst>
            </p:nvPr>
          </p:nvSpPr>
          <p:spPr bwMode="auto">
            <a:xfrm>
              <a:off x="3423" y="0"/>
              <a:ext cx="1340" cy="1688"/>
            </a:xfrm>
            <a:custGeom>
              <a:avLst/>
              <a:gdLst>
                <a:gd name="T0" fmla="*/ 1323 w 1340"/>
                <a:gd name="T1" fmla="*/ 40 h 1688"/>
                <a:gd name="T2" fmla="*/ 1205 w 1340"/>
                <a:gd name="T3" fmla="*/ 24 h 1688"/>
                <a:gd name="T4" fmla="*/ 1172 w 1340"/>
                <a:gd name="T5" fmla="*/ 0 h 1688"/>
                <a:gd name="T6" fmla="*/ 1130 w 1340"/>
                <a:gd name="T7" fmla="*/ 24 h 1688"/>
                <a:gd name="T8" fmla="*/ 1071 w 1340"/>
                <a:gd name="T9" fmla="*/ 120 h 1688"/>
                <a:gd name="T10" fmla="*/ 1012 w 1340"/>
                <a:gd name="T11" fmla="*/ 40 h 1688"/>
                <a:gd name="T12" fmla="*/ 961 w 1340"/>
                <a:gd name="T13" fmla="*/ 136 h 1688"/>
                <a:gd name="T14" fmla="*/ 877 w 1340"/>
                <a:gd name="T15" fmla="*/ 184 h 1688"/>
                <a:gd name="T16" fmla="*/ 809 w 1340"/>
                <a:gd name="T17" fmla="*/ 176 h 1688"/>
                <a:gd name="T18" fmla="*/ 717 w 1340"/>
                <a:gd name="T19" fmla="*/ 248 h 1688"/>
                <a:gd name="T20" fmla="*/ 700 w 1340"/>
                <a:gd name="T21" fmla="*/ 328 h 1688"/>
                <a:gd name="T22" fmla="*/ 645 w 1340"/>
                <a:gd name="T23" fmla="*/ 418 h 1688"/>
                <a:gd name="T24" fmla="*/ 590 w 1340"/>
                <a:gd name="T25" fmla="*/ 504 h 1688"/>
                <a:gd name="T26" fmla="*/ 565 w 1340"/>
                <a:gd name="T27" fmla="*/ 560 h 1688"/>
                <a:gd name="T28" fmla="*/ 472 w 1340"/>
                <a:gd name="T29" fmla="*/ 744 h 1688"/>
                <a:gd name="T30" fmla="*/ 396 w 1340"/>
                <a:gd name="T31" fmla="*/ 848 h 1688"/>
                <a:gd name="T32" fmla="*/ 396 w 1340"/>
                <a:gd name="T33" fmla="*/ 896 h 1688"/>
                <a:gd name="T34" fmla="*/ 304 w 1340"/>
                <a:gd name="T35" fmla="*/ 1024 h 1688"/>
                <a:gd name="T36" fmla="*/ 236 w 1340"/>
                <a:gd name="T37" fmla="*/ 1032 h 1688"/>
                <a:gd name="T38" fmla="*/ 186 w 1340"/>
                <a:gd name="T39" fmla="*/ 1088 h 1688"/>
                <a:gd name="T40" fmla="*/ 93 w 1340"/>
                <a:gd name="T41" fmla="*/ 1144 h 1688"/>
                <a:gd name="T42" fmla="*/ 26 w 1340"/>
                <a:gd name="T43" fmla="*/ 1200 h 1688"/>
                <a:gd name="T44" fmla="*/ 9 w 1340"/>
                <a:gd name="T45" fmla="*/ 1264 h 1688"/>
                <a:gd name="T46" fmla="*/ 9 w 1340"/>
                <a:gd name="T47" fmla="*/ 1304 h 1688"/>
                <a:gd name="T48" fmla="*/ 0 w 1340"/>
                <a:gd name="T49" fmla="*/ 1352 h 1688"/>
                <a:gd name="T50" fmla="*/ 9 w 1340"/>
                <a:gd name="T51" fmla="*/ 1424 h 1688"/>
                <a:gd name="T52" fmla="*/ 51 w 1340"/>
                <a:gd name="T53" fmla="*/ 1464 h 1688"/>
                <a:gd name="T54" fmla="*/ 17 w 1340"/>
                <a:gd name="T55" fmla="*/ 1512 h 1688"/>
                <a:gd name="T56" fmla="*/ 59 w 1340"/>
                <a:gd name="T57" fmla="*/ 1552 h 1688"/>
                <a:gd name="T58" fmla="*/ 17 w 1340"/>
                <a:gd name="T59" fmla="*/ 1584 h 1688"/>
                <a:gd name="T60" fmla="*/ 51 w 1340"/>
                <a:gd name="T61" fmla="*/ 1632 h 1688"/>
                <a:gd name="T62" fmla="*/ 102 w 1340"/>
                <a:gd name="T63" fmla="*/ 1688 h 1688"/>
                <a:gd name="T64" fmla="*/ 278 w 1340"/>
                <a:gd name="T65" fmla="*/ 1624 h 1688"/>
                <a:gd name="T66" fmla="*/ 346 w 1340"/>
                <a:gd name="T67" fmla="*/ 1576 h 1688"/>
                <a:gd name="T68" fmla="*/ 388 w 1340"/>
                <a:gd name="T69" fmla="*/ 1512 h 1688"/>
                <a:gd name="T70" fmla="*/ 422 w 1340"/>
                <a:gd name="T71" fmla="*/ 1592 h 1688"/>
                <a:gd name="T72" fmla="*/ 489 w 1340"/>
                <a:gd name="T73" fmla="*/ 1456 h 1688"/>
                <a:gd name="T74" fmla="*/ 514 w 1340"/>
                <a:gd name="T75" fmla="*/ 1288 h 1688"/>
                <a:gd name="T76" fmla="*/ 455 w 1340"/>
                <a:gd name="T77" fmla="*/ 1048 h 1688"/>
                <a:gd name="T78" fmla="*/ 582 w 1340"/>
                <a:gd name="T79" fmla="*/ 912 h 1688"/>
                <a:gd name="T80" fmla="*/ 590 w 1340"/>
                <a:gd name="T81" fmla="*/ 712 h 1688"/>
                <a:gd name="T82" fmla="*/ 691 w 1340"/>
                <a:gd name="T83" fmla="*/ 568 h 1688"/>
                <a:gd name="T84" fmla="*/ 717 w 1340"/>
                <a:gd name="T85" fmla="*/ 440 h 1688"/>
                <a:gd name="T86" fmla="*/ 851 w 1340"/>
                <a:gd name="T87" fmla="*/ 400 h 1688"/>
                <a:gd name="T88" fmla="*/ 851 w 1340"/>
                <a:gd name="T89" fmla="*/ 296 h 1688"/>
                <a:gd name="T90" fmla="*/ 1037 w 1340"/>
                <a:gd name="T91" fmla="*/ 304 h 1688"/>
                <a:gd name="T92" fmla="*/ 1113 w 1340"/>
                <a:gd name="T93" fmla="*/ 176 h 1688"/>
                <a:gd name="T94" fmla="*/ 1264 w 1340"/>
                <a:gd name="T95" fmla="*/ 168 h 1688"/>
                <a:gd name="T96" fmla="*/ 1340 w 1340"/>
                <a:gd name="T97" fmla="*/ 144 h 168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340" h="1688">
                  <a:moveTo>
                    <a:pt x="1239" y="104"/>
                  </a:moveTo>
                  <a:lnTo>
                    <a:pt x="1281" y="80"/>
                  </a:lnTo>
                  <a:lnTo>
                    <a:pt x="1323" y="40"/>
                  </a:lnTo>
                  <a:lnTo>
                    <a:pt x="1239" y="16"/>
                  </a:lnTo>
                  <a:lnTo>
                    <a:pt x="1214" y="8"/>
                  </a:lnTo>
                  <a:lnTo>
                    <a:pt x="1205" y="24"/>
                  </a:lnTo>
                  <a:lnTo>
                    <a:pt x="1180" y="56"/>
                  </a:lnTo>
                  <a:lnTo>
                    <a:pt x="1172" y="16"/>
                  </a:lnTo>
                  <a:lnTo>
                    <a:pt x="1172" y="0"/>
                  </a:lnTo>
                  <a:lnTo>
                    <a:pt x="1146" y="0"/>
                  </a:lnTo>
                  <a:lnTo>
                    <a:pt x="1130" y="0"/>
                  </a:lnTo>
                  <a:lnTo>
                    <a:pt x="1130" y="24"/>
                  </a:lnTo>
                  <a:lnTo>
                    <a:pt x="1130" y="64"/>
                  </a:lnTo>
                  <a:lnTo>
                    <a:pt x="1104" y="24"/>
                  </a:lnTo>
                  <a:lnTo>
                    <a:pt x="1071" y="120"/>
                  </a:lnTo>
                  <a:lnTo>
                    <a:pt x="1062" y="48"/>
                  </a:lnTo>
                  <a:lnTo>
                    <a:pt x="1037" y="24"/>
                  </a:lnTo>
                  <a:lnTo>
                    <a:pt x="1012" y="40"/>
                  </a:lnTo>
                  <a:lnTo>
                    <a:pt x="961" y="80"/>
                  </a:lnTo>
                  <a:lnTo>
                    <a:pt x="953" y="112"/>
                  </a:lnTo>
                  <a:lnTo>
                    <a:pt x="961" y="136"/>
                  </a:lnTo>
                  <a:lnTo>
                    <a:pt x="902" y="144"/>
                  </a:lnTo>
                  <a:lnTo>
                    <a:pt x="885" y="160"/>
                  </a:lnTo>
                  <a:lnTo>
                    <a:pt x="877" y="184"/>
                  </a:lnTo>
                  <a:lnTo>
                    <a:pt x="851" y="192"/>
                  </a:lnTo>
                  <a:lnTo>
                    <a:pt x="826" y="192"/>
                  </a:lnTo>
                  <a:lnTo>
                    <a:pt x="809" y="176"/>
                  </a:lnTo>
                  <a:lnTo>
                    <a:pt x="784" y="176"/>
                  </a:lnTo>
                  <a:lnTo>
                    <a:pt x="750" y="208"/>
                  </a:lnTo>
                  <a:lnTo>
                    <a:pt x="717" y="248"/>
                  </a:lnTo>
                  <a:lnTo>
                    <a:pt x="683" y="296"/>
                  </a:lnTo>
                  <a:lnTo>
                    <a:pt x="683" y="320"/>
                  </a:lnTo>
                  <a:lnTo>
                    <a:pt x="700" y="328"/>
                  </a:lnTo>
                  <a:lnTo>
                    <a:pt x="659" y="374"/>
                  </a:lnTo>
                  <a:lnTo>
                    <a:pt x="641" y="368"/>
                  </a:lnTo>
                  <a:lnTo>
                    <a:pt x="645" y="418"/>
                  </a:lnTo>
                  <a:lnTo>
                    <a:pt x="616" y="456"/>
                  </a:lnTo>
                  <a:lnTo>
                    <a:pt x="599" y="480"/>
                  </a:lnTo>
                  <a:lnTo>
                    <a:pt x="590" y="504"/>
                  </a:lnTo>
                  <a:lnTo>
                    <a:pt x="607" y="520"/>
                  </a:lnTo>
                  <a:lnTo>
                    <a:pt x="573" y="536"/>
                  </a:lnTo>
                  <a:lnTo>
                    <a:pt x="565" y="560"/>
                  </a:lnTo>
                  <a:lnTo>
                    <a:pt x="540" y="576"/>
                  </a:lnTo>
                  <a:lnTo>
                    <a:pt x="523" y="624"/>
                  </a:lnTo>
                  <a:lnTo>
                    <a:pt x="472" y="744"/>
                  </a:lnTo>
                  <a:lnTo>
                    <a:pt x="455" y="816"/>
                  </a:lnTo>
                  <a:lnTo>
                    <a:pt x="439" y="840"/>
                  </a:lnTo>
                  <a:lnTo>
                    <a:pt x="396" y="848"/>
                  </a:lnTo>
                  <a:lnTo>
                    <a:pt x="405" y="872"/>
                  </a:lnTo>
                  <a:lnTo>
                    <a:pt x="413" y="888"/>
                  </a:lnTo>
                  <a:lnTo>
                    <a:pt x="396" y="896"/>
                  </a:lnTo>
                  <a:lnTo>
                    <a:pt x="346" y="952"/>
                  </a:lnTo>
                  <a:lnTo>
                    <a:pt x="321" y="1008"/>
                  </a:lnTo>
                  <a:lnTo>
                    <a:pt x="304" y="1024"/>
                  </a:lnTo>
                  <a:lnTo>
                    <a:pt x="295" y="1032"/>
                  </a:lnTo>
                  <a:lnTo>
                    <a:pt x="262" y="1024"/>
                  </a:lnTo>
                  <a:lnTo>
                    <a:pt x="236" y="1032"/>
                  </a:lnTo>
                  <a:lnTo>
                    <a:pt x="228" y="1040"/>
                  </a:lnTo>
                  <a:lnTo>
                    <a:pt x="220" y="1064"/>
                  </a:lnTo>
                  <a:lnTo>
                    <a:pt x="186" y="1088"/>
                  </a:lnTo>
                  <a:lnTo>
                    <a:pt x="152" y="1104"/>
                  </a:lnTo>
                  <a:lnTo>
                    <a:pt x="127" y="1128"/>
                  </a:lnTo>
                  <a:lnTo>
                    <a:pt x="93" y="1144"/>
                  </a:lnTo>
                  <a:lnTo>
                    <a:pt x="68" y="1168"/>
                  </a:lnTo>
                  <a:lnTo>
                    <a:pt x="51" y="1192"/>
                  </a:lnTo>
                  <a:lnTo>
                    <a:pt x="26" y="1200"/>
                  </a:lnTo>
                  <a:lnTo>
                    <a:pt x="17" y="1208"/>
                  </a:lnTo>
                  <a:lnTo>
                    <a:pt x="17" y="1248"/>
                  </a:lnTo>
                  <a:lnTo>
                    <a:pt x="9" y="1264"/>
                  </a:lnTo>
                  <a:lnTo>
                    <a:pt x="17" y="1272"/>
                  </a:lnTo>
                  <a:lnTo>
                    <a:pt x="17" y="1288"/>
                  </a:lnTo>
                  <a:lnTo>
                    <a:pt x="9" y="1304"/>
                  </a:lnTo>
                  <a:lnTo>
                    <a:pt x="17" y="1312"/>
                  </a:lnTo>
                  <a:lnTo>
                    <a:pt x="17" y="1328"/>
                  </a:lnTo>
                  <a:lnTo>
                    <a:pt x="0" y="1352"/>
                  </a:lnTo>
                  <a:lnTo>
                    <a:pt x="17" y="1384"/>
                  </a:lnTo>
                  <a:lnTo>
                    <a:pt x="43" y="1408"/>
                  </a:lnTo>
                  <a:lnTo>
                    <a:pt x="9" y="1424"/>
                  </a:lnTo>
                  <a:lnTo>
                    <a:pt x="34" y="1432"/>
                  </a:lnTo>
                  <a:lnTo>
                    <a:pt x="9" y="1480"/>
                  </a:lnTo>
                  <a:lnTo>
                    <a:pt x="51" y="1464"/>
                  </a:lnTo>
                  <a:lnTo>
                    <a:pt x="51" y="1480"/>
                  </a:lnTo>
                  <a:lnTo>
                    <a:pt x="43" y="1488"/>
                  </a:lnTo>
                  <a:lnTo>
                    <a:pt x="17" y="1512"/>
                  </a:lnTo>
                  <a:lnTo>
                    <a:pt x="17" y="1544"/>
                  </a:lnTo>
                  <a:lnTo>
                    <a:pt x="43" y="1544"/>
                  </a:lnTo>
                  <a:lnTo>
                    <a:pt x="59" y="1552"/>
                  </a:lnTo>
                  <a:lnTo>
                    <a:pt x="59" y="1568"/>
                  </a:lnTo>
                  <a:lnTo>
                    <a:pt x="34" y="1584"/>
                  </a:lnTo>
                  <a:lnTo>
                    <a:pt x="17" y="1584"/>
                  </a:lnTo>
                  <a:lnTo>
                    <a:pt x="9" y="1592"/>
                  </a:lnTo>
                  <a:lnTo>
                    <a:pt x="26" y="1616"/>
                  </a:lnTo>
                  <a:lnTo>
                    <a:pt x="51" y="1632"/>
                  </a:lnTo>
                  <a:lnTo>
                    <a:pt x="76" y="1656"/>
                  </a:lnTo>
                  <a:lnTo>
                    <a:pt x="118" y="1664"/>
                  </a:lnTo>
                  <a:lnTo>
                    <a:pt x="102" y="1688"/>
                  </a:lnTo>
                  <a:lnTo>
                    <a:pt x="177" y="1688"/>
                  </a:lnTo>
                  <a:lnTo>
                    <a:pt x="236" y="1664"/>
                  </a:lnTo>
                  <a:lnTo>
                    <a:pt x="278" y="1624"/>
                  </a:lnTo>
                  <a:lnTo>
                    <a:pt x="312" y="1576"/>
                  </a:lnTo>
                  <a:lnTo>
                    <a:pt x="329" y="1584"/>
                  </a:lnTo>
                  <a:lnTo>
                    <a:pt x="346" y="1576"/>
                  </a:lnTo>
                  <a:lnTo>
                    <a:pt x="363" y="1544"/>
                  </a:lnTo>
                  <a:lnTo>
                    <a:pt x="363" y="1512"/>
                  </a:lnTo>
                  <a:lnTo>
                    <a:pt x="388" y="1512"/>
                  </a:lnTo>
                  <a:lnTo>
                    <a:pt x="396" y="1528"/>
                  </a:lnTo>
                  <a:lnTo>
                    <a:pt x="405" y="1560"/>
                  </a:lnTo>
                  <a:lnTo>
                    <a:pt x="422" y="1592"/>
                  </a:lnTo>
                  <a:lnTo>
                    <a:pt x="439" y="1584"/>
                  </a:lnTo>
                  <a:lnTo>
                    <a:pt x="455" y="1488"/>
                  </a:lnTo>
                  <a:lnTo>
                    <a:pt x="489" y="1456"/>
                  </a:lnTo>
                  <a:lnTo>
                    <a:pt x="489" y="1368"/>
                  </a:lnTo>
                  <a:lnTo>
                    <a:pt x="514" y="1328"/>
                  </a:lnTo>
                  <a:lnTo>
                    <a:pt x="514" y="1288"/>
                  </a:lnTo>
                  <a:lnTo>
                    <a:pt x="472" y="1248"/>
                  </a:lnTo>
                  <a:lnTo>
                    <a:pt x="472" y="1168"/>
                  </a:lnTo>
                  <a:lnTo>
                    <a:pt x="455" y="1048"/>
                  </a:lnTo>
                  <a:lnTo>
                    <a:pt x="489" y="976"/>
                  </a:lnTo>
                  <a:lnTo>
                    <a:pt x="565" y="968"/>
                  </a:lnTo>
                  <a:lnTo>
                    <a:pt x="582" y="912"/>
                  </a:lnTo>
                  <a:lnTo>
                    <a:pt x="540" y="888"/>
                  </a:lnTo>
                  <a:lnTo>
                    <a:pt x="590" y="808"/>
                  </a:lnTo>
                  <a:lnTo>
                    <a:pt x="590" y="712"/>
                  </a:lnTo>
                  <a:lnTo>
                    <a:pt x="632" y="688"/>
                  </a:lnTo>
                  <a:lnTo>
                    <a:pt x="632" y="624"/>
                  </a:lnTo>
                  <a:lnTo>
                    <a:pt x="691" y="568"/>
                  </a:lnTo>
                  <a:lnTo>
                    <a:pt x="683" y="528"/>
                  </a:lnTo>
                  <a:lnTo>
                    <a:pt x="683" y="480"/>
                  </a:lnTo>
                  <a:lnTo>
                    <a:pt x="717" y="440"/>
                  </a:lnTo>
                  <a:lnTo>
                    <a:pt x="759" y="440"/>
                  </a:lnTo>
                  <a:lnTo>
                    <a:pt x="776" y="384"/>
                  </a:lnTo>
                  <a:lnTo>
                    <a:pt x="851" y="400"/>
                  </a:lnTo>
                  <a:lnTo>
                    <a:pt x="851" y="320"/>
                  </a:lnTo>
                  <a:lnTo>
                    <a:pt x="868" y="312"/>
                  </a:lnTo>
                  <a:lnTo>
                    <a:pt x="851" y="296"/>
                  </a:lnTo>
                  <a:lnTo>
                    <a:pt x="894" y="272"/>
                  </a:lnTo>
                  <a:lnTo>
                    <a:pt x="995" y="320"/>
                  </a:lnTo>
                  <a:lnTo>
                    <a:pt x="1037" y="304"/>
                  </a:lnTo>
                  <a:lnTo>
                    <a:pt x="1096" y="320"/>
                  </a:lnTo>
                  <a:lnTo>
                    <a:pt x="1113" y="248"/>
                  </a:lnTo>
                  <a:lnTo>
                    <a:pt x="1113" y="176"/>
                  </a:lnTo>
                  <a:lnTo>
                    <a:pt x="1146" y="136"/>
                  </a:lnTo>
                  <a:lnTo>
                    <a:pt x="1197" y="136"/>
                  </a:lnTo>
                  <a:lnTo>
                    <a:pt x="1264" y="168"/>
                  </a:lnTo>
                  <a:lnTo>
                    <a:pt x="1281" y="208"/>
                  </a:lnTo>
                  <a:lnTo>
                    <a:pt x="1306" y="176"/>
                  </a:lnTo>
                  <a:lnTo>
                    <a:pt x="1340" y="144"/>
                  </a:lnTo>
                  <a:lnTo>
                    <a:pt x="1340" y="120"/>
                  </a:lnTo>
                  <a:lnTo>
                    <a:pt x="1239" y="104"/>
                  </a:lnTo>
                  <a:close/>
                </a:path>
              </a:pathLst>
            </a:custGeom>
            <a:solidFill>
              <a:srgbClr val="6DBACE"/>
            </a:solid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sp>
        <p:nvSpPr>
          <p:cNvPr id="322" name="Title 9"/>
          <p:cNvSpPr txBox="1">
            <a:spLocks/>
          </p:cNvSpPr>
          <p:nvPr/>
        </p:nvSpPr>
        <p:spPr>
          <a:xfrm>
            <a:off x="431900" y="728663"/>
            <a:ext cx="11332800"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r>
              <a:rPr lang="en-GB" dirty="0" smtClean="0"/>
              <a:t>Engagement examples: </a:t>
            </a:r>
            <a:r>
              <a:rPr lang="en-US" dirty="0"/>
              <a:t>Employee Health &amp; Safety</a:t>
            </a:r>
            <a:endParaRPr lang="en-GB" dirty="0">
              <a:solidFill>
                <a:srgbClr val="FF0000"/>
              </a:solidFill>
            </a:endParaRPr>
          </a:p>
        </p:txBody>
      </p:sp>
      <p:sp>
        <p:nvSpPr>
          <p:cNvPr id="323" name="TextBox 322"/>
          <p:cNvSpPr txBox="1"/>
          <p:nvPr/>
        </p:nvSpPr>
        <p:spPr>
          <a:xfrm>
            <a:off x="1397099" y="1673455"/>
            <a:ext cx="6716754" cy="1723549"/>
          </a:xfrm>
          <a:prstGeom prst="rect">
            <a:avLst/>
          </a:prstGeom>
          <a:noFill/>
          <a:ln w="6350" cap="rnd">
            <a:noFill/>
          </a:ln>
        </p:spPr>
        <p:txBody>
          <a:bodyPr wrap="square" lIns="0" tIns="0" rIns="0" bIns="0" rtlCol="0">
            <a:spAutoFit/>
          </a:bodyPr>
          <a:lstStyle/>
          <a:p>
            <a:r>
              <a:rPr lang="en-US" sz="2800" dirty="0" smtClean="0">
                <a:solidFill>
                  <a:srgbClr val="003755"/>
                </a:solidFill>
                <a:latin typeface="Danske Human Medium Italic" panose="02000603050000020003" pitchFamily="2" charset="0"/>
              </a:rPr>
              <a:t>43 engagements</a:t>
            </a:r>
          </a:p>
          <a:p>
            <a:r>
              <a:rPr lang="en-US" sz="1400" dirty="0">
                <a:solidFill>
                  <a:srgbClr val="003755"/>
                </a:solidFill>
              </a:rPr>
              <a:t>A</a:t>
            </a:r>
            <a:r>
              <a:rPr lang="en-US" sz="1400" dirty="0" smtClean="0">
                <a:solidFill>
                  <a:srgbClr val="003755"/>
                </a:solidFill>
              </a:rPr>
              <a:t>mong </a:t>
            </a:r>
            <a:r>
              <a:rPr lang="en-US" sz="1400" dirty="0">
                <a:solidFill>
                  <a:srgbClr val="003755"/>
                </a:solidFill>
              </a:rPr>
              <a:t>the </a:t>
            </a:r>
            <a:r>
              <a:rPr lang="en-US" sz="1400" dirty="0" smtClean="0">
                <a:solidFill>
                  <a:srgbClr val="003755"/>
                </a:solidFill>
              </a:rPr>
              <a:t>348 total engagements focused </a:t>
            </a:r>
            <a:r>
              <a:rPr lang="en-US" sz="1400" dirty="0">
                <a:solidFill>
                  <a:srgbClr val="003755"/>
                </a:solidFill>
              </a:rPr>
              <a:t>on </a:t>
            </a:r>
            <a:r>
              <a:rPr lang="en-US" sz="1400" dirty="0" smtClean="0">
                <a:solidFill>
                  <a:srgbClr val="003755"/>
                </a:solidFill>
              </a:rPr>
              <a:t>Employee Health &amp; Safety. </a:t>
            </a:r>
            <a:endParaRPr lang="en-US" sz="1400" dirty="0">
              <a:solidFill>
                <a:srgbClr val="003755"/>
              </a:solidFill>
            </a:endParaRPr>
          </a:p>
          <a:p>
            <a:endParaRPr lang="en-US" sz="1400" b="1" dirty="0" smtClean="0">
              <a:solidFill>
                <a:srgbClr val="003755"/>
              </a:solidFill>
            </a:endParaRPr>
          </a:p>
          <a:p>
            <a:r>
              <a:rPr lang="en-US" sz="1400" b="1" dirty="0">
                <a:solidFill>
                  <a:srgbClr val="003755"/>
                </a:solidFill>
              </a:rPr>
              <a:t>Employee Health &amp; Safety </a:t>
            </a:r>
            <a:r>
              <a:rPr lang="en-US" sz="1400" dirty="0">
                <a:solidFill>
                  <a:srgbClr val="003755"/>
                </a:solidFill>
              </a:rPr>
              <a:t>is the </a:t>
            </a:r>
            <a:r>
              <a:rPr lang="en-US" sz="1400" dirty="0" smtClean="0">
                <a:solidFill>
                  <a:srgbClr val="003755"/>
                </a:solidFill>
              </a:rPr>
              <a:t>second most </a:t>
            </a:r>
            <a:r>
              <a:rPr lang="en-US" sz="1400" dirty="0">
                <a:solidFill>
                  <a:srgbClr val="003755"/>
                </a:solidFill>
              </a:rPr>
              <a:t>common topic for our portfolio managers to engage with companies on during </a:t>
            </a:r>
            <a:r>
              <a:rPr lang="en-US" sz="1400" dirty="0" smtClean="0">
                <a:solidFill>
                  <a:srgbClr val="003755"/>
                </a:solidFill>
              </a:rPr>
              <a:t>H1 2020</a:t>
            </a:r>
            <a:r>
              <a:rPr lang="en-US" sz="1400" dirty="0" smtClean="0">
                <a:solidFill>
                  <a:schemeClr val="accent1"/>
                </a:solidFill>
              </a:rPr>
              <a:t>.</a:t>
            </a:r>
            <a:r>
              <a:rPr lang="en-US" sz="1400" dirty="0" smtClean="0">
                <a:solidFill>
                  <a:srgbClr val="FF0000"/>
                </a:solidFill>
              </a:rPr>
              <a:t> </a:t>
            </a:r>
            <a:r>
              <a:rPr lang="en-US" sz="1400" b="1" dirty="0">
                <a:solidFill>
                  <a:srgbClr val="003755"/>
                </a:solidFill>
              </a:rPr>
              <a:t>Employee Health &amp; Safety </a:t>
            </a:r>
            <a:r>
              <a:rPr lang="en-US" sz="1400" dirty="0">
                <a:solidFill>
                  <a:srgbClr val="003755"/>
                </a:solidFill>
              </a:rPr>
              <a:t>focuses on creating and maintaining safe and healthy workplace environment that is free of accidents, injuries, fatalities, and illness. </a:t>
            </a:r>
            <a:endParaRPr lang="en-GB" sz="1400" dirty="0">
              <a:solidFill>
                <a:srgbClr val="003755"/>
              </a:solidFill>
            </a:endParaRPr>
          </a:p>
        </p:txBody>
      </p:sp>
      <p:pic>
        <p:nvPicPr>
          <p:cNvPr id="327" name="Check List"/>
          <p:cNvPicPr>
            <a:picLocks noChangeAspect="1"/>
          </p:cNvPicPr>
          <p:nvPr>
            <p:custDataLst>
              <p:tags r:id="rId2"/>
            </p:custDataLst>
          </p:nvPr>
        </p:nvPicPr>
        <p:blipFill>
          <a:blip r:embed="rId95" cstate="print">
            <a:extLst>
              <a:ext uri="{28A0092B-C50C-407E-A947-70E740481C1C}">
                <a14:useLocalDpi xmlns:a14="http://schemas.microsoft.com/office/drawing/2010/main" val="0"/>
              </a:ext>
            </a:extLst>
          </a:blip>
          <a:stretch>
            <a:fillRect/>
          </a:stretch>
        </p:blipFill>
        <p:spPr>
          <a:xfrm>
            <a:off x="431900" y="2016546"/>
            <a:ext cx="874993" cy="858405"/>
          </a:xfrm>
          <a:prstGeom prst="rect">
            <a:avLst/>
          </a:prstGeom>
        </p:spPr>
      </p:pic>
      <p:sp>
        <p:nvSpPr>
          <p:cNvPr id="373" name="Rounded Rectangle 372"/>
          <p:cNvSpPr/>
          <p:nvPr/>
        </p:nvSpPr>
        <p:spPr>
          <a:xfrm>
            <a:off x="8430035" y="6538249"/>
            <a:ext cx="180000" cy="180000"/>
          </a:xfrm>
          <a:prstGeom prst="roundRect">
            <a:avLst/>
          </a:prstGeom>
          <a:solidFill>
            <a:srgbClr val="6DBAC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smtClean="0">
              <a:solidFill>
                <a:schemeClr val="tx1"/>
              </a:solidFill>
            </a:endParaRPr>
          </a:p>
        </p:txBody>
      </p:sp>
      <p:sp>
        <p:nvSpPr>
          <p:cNvPr id="374" name="TextBox 373"/>
          <p:cNvSpPr txBox="1"/>
          <p:nvPr/>
        </p:nvSpPr>
        <p:spPr>
          <a:xfrm>
            <a:off x="8680054" y="6535916"/>
            <a:ext cx="1941370" cy="184666"/>
          </a:xfrm>
          <a:prstGeom prst="rect">
            <a:avLst/>
          </a:prstGeom>
          <a:noFill/>
        </p:spPr>
        <p:txBody>
          <a:bodyPr wrap="square" lIns="0" tIns="0" rIns="0" bIns="0" rtlCol="0">
            <a:spAutoFit/>
          </a:bodyPr>
          <a:lstStyle/>
          <a:p>
            <a:r>
              <a:rPr lang="en-GB" sz="1200" dirty="0" smtClean="0">
                <a:solidFill>
                  <a:srgbClr val="003755"/>
                </a:solidFill>
              </a:rPr>
              <a:t>Employee Health &amp; Safety</a:t>
            </a:r>
          </a:p>
        </p:txBody>
      </p:sp>
      <p:sp>
        <p:nvSpPr>
          <p:cNvPr id="375" name="Rounded Rectangle 374"/>
          <p:cNvSpPr/>
          <p:nvPr/>
        </p:nvSpPr>
        <p:spPr>
          <a:xfrm>
            <a:off x="10473817" y="6535917"/>
            <a:ext cx="180000" cy="180000"/>
          </a:xfrm>
          <a:prstGeom prst="roundRect">
            <a:avLst/>
          </a:prstGeom>
          <a:solidFill>
            <a:srgbClr val="CBE4E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smtClean="0">
              <a:solidFill>
                <a:schemeClr val="tx1"/>
              </a:solidFill>
            </a:endParaRPr>
          </a:p>
        </p:txBody>
      </p:sp>
      <p:sp>
        <p:nvSpPr>
          <p:cNvPr id="376" name="TextBox 375"/>
          <p:cNvSpPr txBox="1"/>
          <p:nvPr/>
        </p:nvSpPr>
        <p:spPr>
          <a:xfrm>
            <a:off x="10723836" y="6533583"/>
            <a:ext cx="1654118" cy="184666"/>
          </a:xfrm>
          <a:prstGeom prst="rect">
            <a:avLst/>
          </a:prstGeom>
          <a:noFill/>
        </p:spPr>
        <p:txBody>
          <a:bodyPr wrap="square" lIns="0" tIns="0" rIns="0" bIns="0" rtlCol="0">
            <a:spAutoFit/>
          </a:bodyPr>
          <a:lstStyle/>
          <a:p>
            <a:r>
              <a:rPr lang="en-US" sz="1200" dirty="0" smtClean="0">
                <a:solidFill>
                  <a:srgbClr val="003755"/>
                </a:solidFill>
              </a:rPr>
              <a:t>Other topics</a:t>
            </a:r>
          </a:p>
        </p:txBody>
      </p:sp>
      <p:sp>
        <p:nvSpPr>
          <p:cNvPr id="338" name="Rectangle 337"/>
          <p:cNvSpPr/>
          <p:nvPr/>
        </p:nvSpPr>
        <p:spPr>
          <a:xfrm>
            <a:off x="9728764" y="1444333"/>
            <a:ext cx="2948527" cy="600164"/>
          </a:xfrm>
          <a:prstGeom prst="rect">
            <a:avLst/>
          </a:prstGeom>
        </p:spPr>
        <p:txBody>
          <a:bodyPr wrap="square">
            <a:spAutoFit/>
          </a:bodyPr>
          <a:lstStyle/>
          <a:p>
            <a:pPr algn="ctr">
              <a:spcBef>
                <a:spcPts val="600"/>
              </a:spcBef>
              <a:buClr>
                <a:srgbClr val="003755"/>
              </a:buClr>
            </a:pPr>
            <a:r>
              <a:rPr lang="en-US" sz="1400" dirty="0">
                <a:solidFill>
                  <a:srgbClr val="003755"/>
                </a:solidFill>
                <a:latin typeface="Danske Human Medium Italic" panose="02000603050000020003" pitchFamily="2" charset="0"/>
              </a:rPr>
              <a:t>Topic addressed </a:t>
            </a:r>
            <a:endParaRPr lang="en-US" sz="1400" dirty="0" smtClean="0">
              <a:solidFill>
                <a:srgbClr val="003755"/>
              </a:solidFill>
              <a:latin typeface="Danske Human Medium Italic" panose="02000603050000020003" pitchFamily="2" charset="0"/>
            </a:endParaRPr>
          </a:p>
          <a:p>
            <a:pPr algn="ctr">
              <a:spcBef>
                <a:spcPts val="600"/>
              </a:spcBef>
              <a:buClr>
                <a:srgbClr val="003755"/>
              </a:buClr>
            </a:pPr>
            <a:r>
              <a:rPr lang="en-US" sz="1400" dirty="0" smtClean="0">
                <a:solidFill>
                  <a:srgbClr val="003755"/>
                </a:solidFill>
                <a:latin typeface="Danske Human Medium Italic" panose="02000603050000020003" pitchFamily="2" charset="0"/>
              </a:rPr>
              <a:t>in </a:t>
            </a:r>
            <a:r>
              <a:rPr lang="en-US" sz="1400" dirty="0">
                <a:solidFill>
                  <a:srgbClr val="003755"/>
                </a:solidFill>
                <a:latin typeface="Danske Human Medium Italic" panose="02000603050000020003" pitchFamily="2" charset="0"/>
              </a:rPr>
              <a:t>the following countries</a:t>
            </a:r>
          </a:p>
        </p:txBody>
      </p:sp>
      <p:grpSp>
        <p:nvGrpSpPr>
          <p:cNvPr id="4" name="Group 3"/>
          <p:cNvGrpSpPr/>
          <p:nvPr/>
        </p:nvGrpSpPr>
        <p:grpSpPr>
          <a:xfrm>
            <a:off x="869396" y="5169388"/>
            <a:ext cx="5073389" cy="432938"/>
            <a:chOff x="876238" y="5160477"/>
            <a:chExt cx="5073389" cy="432938"/>
          </a:xfrm>
        </p:grpSpPr>
        <p:sp>
          <p:nvSpPr>
            <p:cNvPr id="365" name="TextBox 364"/>
            <p:cNvSpPr txBox="1"/>
            <p:nvPr/>
          </p:nvSpPr>
          <p:spPr>
            <a:xfrm>
              <a:off x="1397099" y="5160477"/>
              <a:ext cx="4552528" cy="369332"/>
            </a:xfrm>
            <a:prstGeom prst="rect">
              <a:avLst/>
            </a:prstGeom>
            <a:noFill/>
          </p:spPr>
          <p:txBody>
            <a:bodyPr wrap="square" lIns="0" tIns="0" rIns="0" bIns="0" rtlCol="0">
              <a:spAutoFit/>
            </a:bodyPr>
            <a:lstStyle/>
            <a:p>
              <a:r>
                <a:rPr lang="en-US" sz="1200" b="1" dirty="0" smtClean="0">
                  <a:solidFill>
                    <a:schemeClr val="tx2"/>
                  </a:solidFill>
                </a:rPr>
                <a:t>Sector: </a:t>
              </a:r>
              <a:r>
                <a:rPr lang="en-US" sz="1200" b="1" dirty="0">
                  <a:solidFill>
                    <a:schemeClr val="tx2"/>
                  </a:solidFill>
                </a:rPr>
                <a:t>Consumer, Non-Cyclical</a:t>
              </a:r>
              <a:endParaRPr lang="en-US" sz="1200" b="1" dirty="0" smtClean="0">
                <a:solidFill>
                  <a:schemeClr val="tx2"/>
                </a:solidFill>
              </a:endParaRPr>
            </a:p>
            <a:p>
              <a:r>
                <a:rPr lang="en-US" sz="1200" i="1" dirty="0" smtClean="0">
                  <a:solidFill>
                    <a:schemeClr val="tx2"/>
                  </a:solidFill>
                </a:rPr>
                <a:t>“Company’s approach to employee safety</a:t>
              </a:r>
              <a:r>
                <a:rPr lang="en-US" sz="1200" i="1" dirty="0">
                  <a:solidFill>
                    <a:schemeClr val="tx2"/>
                  </a:solidFill>
                </a:rPr>
                <a:t>.”</a:t>
              </a:r>
            </a:p>
          </p:txBody>
        </p:sp>
        <p:pic>
          <p:nvPicPr>
            <p:cNvPr id="341" name="Germany_DE"/>
            <p:cNvPicPr>
              <a:picLocks noChangeAspect="1"/>
            </p:cNvPicPr>
            <p:nvPr>
              <p:custDataLst>
                <p:tags r:id="rId5"/>
              </p:custDataLst>
            </p:nvPr>
          </p:nvPicPr>
          <p:blipFill>
            <a:blip r:embed="rId96" cstate="print">
              <a:extLst>
                <a:ext uri="{28A0092B-C50C-407E-A947-70E740481C1C}">
                  <a14:useLocalDpi xmlns:a14="http://schemas.microsoft.com/office/drawing/2010/main" val="0"/>
                </a:ext>
              </a:extLst>
            </a:blip>
            <a:stretch>
              <a:fillRect/>
            </a:stretch>
          </p:blipFill>
          <p:spPr>
            <a:xfrm>
              <a:off x="876238" y="5165398"/>
              <a:ext cx="428017" cy="428017"/>
            </a:xfrm>
            <a:prstGeom prst="rect">
              <a:avLst/>
            </a:prstGeom>
          </p:spPr>
        </p:pic>
      </p:grpSp>
      <p:sp>
        <p:nvSpPr>
          <p:cNvPr id="108" name="Rectangle 107"/>
          <p:cNvSpPr/>
          <p:nvPr/>
        </p:nvSpPr>
        <p:spPr>
          <a:xfrm>
            <a:off x="1280346" y="3958306"/>
            <a:ext cx="2670924" cy="461665"/>
          </a:xfrm>
          <a:prstGeom prst="rect">
            <a:avLst/>
          </a:prstGeom>
        </p:spPr>
        <p:txBody>
          <a:bodyPr wrap="none">
            <a:spAutoFit/>
          </a:bodyPr>
          <a:lstStyle/>
          <a:p>
            <a:r>
              <a:rPr lang="en-US" sz="2400" dirty="0" smtClean="0">
                <a:solidFill>
                  <a:srgbClr val="003755"/>
                </a:solidFill>
                <a:latin typeface="Danske Human Medium Italic" panose="02000603050000020003" pitchFamily="2" charset="0"/>
              </a:rPr>
              <a:t>Company Example</a:t>
            </a:r>
            <a:endParaRPr lang="en-US" sz="2400" dirty="0"/>
          </a:p>
        </p:txBody>
      </p:sp>
      <p:grpSp>
        <p:nvGrpSpPr>
          <p:cNvPr id="2" name="Group 1"/>
          <p:cNvGrpSpPr/>
          <p:nvPr/>
        </p:nvGrpSpPr>
        <p:grpSpPr>
          <a:xfrm>
            <a:off x="869396" y="4551690"/>
            <a:ext cx="5539635" cy="431173"/>
            <a:chOff x="874957" y="4551690"/>
            <a:chExt cx="5539635" cy="431173"/>
          </a:xfrm>
        </p:grpSpPr>
        <p:sp>
          <p:nvSpPr>
            <p:cNvPr id="364" name="TextBox 363"/>
            <p:cNvSpPr txBox="1"/>
            <p:nvPr/>
          </p:nvSpPr>
          <p:spPr>
            <a:xfrm>
              <a:off x="1397099" y="4551690"/>
              <a:ext cx="5017493" cy="369332"/>
            </a:xfrm>
            <a:prstGeom prst="rect">
              <a:avLst/>
            </a:prstGeom>
            <a:noFill/>
          </p:spPr>
          <p:txBody>
            <a:bodyPr wrap="square" lIns="0" tIns="0" rIns="0" bIns="0" rtlCol="0">
              <a:spAutoFit/>
            </a:bodyPr>
            <a:lstStyle/>
            <a:p>
              <a:r>
                <a:rPr lang="en-US" sz="1200" dirty="0" smtClean="0">
                  <a:solidFill>
                    <a:schemeClr val="tx2"/>
                  </a:solidFill>
                </a:rPr>
                <a:t>Sector: Consumer, Non-Cyclical</a:t>
              </a:r>
            </a:p>
            <a:p>
              <a:r>
                <a:rPr lang="en-US" sz="1200" i="1" dirty="0">
                  <a:solidFill>
                    <a:schemeClr val="tx2"/>
                  </a:solidFill>
                </a:rPr>
                <a:t>“Safety for workers during </a:t>
              </a:r>
              <a:r>
                <a:rPr lang="en-US" sz="1200" i="1" dirty="0" smtClean="0">
                  <a:solidFill>
                    <a:schemeClr val="tx2"/>
                  </a:solidFill>
                </a:rPr>
                <a:t>Covid-19.”</a:t>
              </a:r>
              <a:endParaRPr lang="en-US" sz="1200" i="1" dirty="0">
                <a:solidFill>
                  <a:schemeClr val="tx2"/>
                </a:solidFill>
              </a:endParaRPr>
            </a:p>
          </p:txBody>
        </p:sp>
        <p:pic>
          <p:nvPicPr>
            <p:cNvPr id="107" name="Great-Britain_GB"/>
            <p:cNvPicPr>
              <a:picLocks noChangeAspect="1"/>
            </p:cNvPicPr>
            <p:nvPr>
              <p:custDataLst>
                <p:tags r:id="rId4"/>
              </p:custDataLst>
            </p:nvPr>
          </p:nvPicPr>
          <p:blipFill>
            <a:blip r:embed="rId97">
              <a:extLst>
                <a:ext uri="{28A0092B-C50C-407E-A947-70E740481C1C}">
                  <a14:useLocalDpi xmlns:a14="http://schemas.microsoft.com/office/drawing/2010/main" val="0"/>
                </a:ext>
              </a:extLst>
            </a:blip>
            <a:stretch>
              <a:fillRect/>
            </a:stretch>
          </p:blipFill>
          <p:spPr>
            <a:xfrm>
              <a:off x="874957" y="4553095"/>
              <a:ext cx="430578" cy="429768"/>
            </a:xfrm>
            <a:prstGeom prst="rect">
              <a:avLst/>
            </a:prstGeom>
          </p:spPr>
        </p:pic>
      </p:grpSp>
      <p:grpSp>
        <p:nvGrpSpPr>
          <p:cNvPr id="3" name="Group 2"/>
          <p:cNvGrpSpPr/>
          <p:nvPr/>
        </p:nvGrpSpPr>
        <p:grpSpPr>
          <a:xfrm>
            <a:off x="869396" y="5788852"/>
            <a:ext cx="5390806" cy="430824"/>
            <a:chOff x="869396" y="5788852"/>
            <a:chExt cx="5390806" cy="430824"/>
          </a:xfrm>
        </p:grpSpPr>
        <p:sp>
          <p:nvSpPr>
            <p:cNvPr id="366" name="TextBox 365"/>
            <p:cNvSpPr txBox="1"/>
            <p:nvPr/>
          </p:nvSpPr>
          <p:spPr>
            <a:xfrm>
              <a:off x="1400675" y="5793600"/>
              <a:ext cx="4859527" cy="369332"/>
            </a:xfrm>
            <a:prstGeom prst="rect">
              <a:avLst/>
            </a:prstGeom>
            <a:noFill/>
          </p:spPr>
          <p:txBody>
            <a:bodyPr wrap="square" lIns="0" tIns="0" rIns="0" bIns="0" rtlCol="0">
              <a:spAutoFit/>
            </a:bodyPr>
            <a:lstStyle/>
            <a:p>
              <a:r>
                <a:rPr lang="en-US" sz="1200" b="1" dirty="0" smtClean="0">
                  <a:solidFill>
                    <a:schemeClr val="tx2"/>
                  </a:solidFill>
                </a:rPr>
                <a:t>Sector: Financial</a:t>
              </a:r>
            </a:p>
            <a:p>
              <a:r>
                <a:rPr lang="en-US" sz="1200" i="1" dirty="0">
                  <a:solidFill>
                    <a:schemeClr val="tx2"/>
                  </a:solidFill>
                </a:rPr>
                <a:t>“Covid-19 impact on business.”</a:t>
              </a:r>
            </a:p>
          </p:txBody>
        </p:sp>
        <p:pic>
          <p:nvPicPr>
            <p:cNvPr id="109" name="Spain_ES"/>
            <p:cNvPicPr>
              <a:picLocks noChangeAspect="1"/>
            </p:cNvPicPr>
            <p:nvPr>
              <p:custDataLst>
                <p:tags r:id="rId3"/>
              </p:custDataLst>
            </p:nvPr>
          </p:nvPicPr>
          <p:blipFill>
            <a:blip r:embed="rId98">
              <a:extLst>
                <a:ext uri="{28A0092B-C50C-407E-A947-70E740481C1C}">
                  <a14:useLocalDpi xmlns:a14="http://schemas.microsoft.com/office/drawing/2010/main" val="0"/>
                </a:ext>
              </a:extLst>
            </a:blip>
            <a:stretch>
              <a:fillRect/>
            </a:stretch>
          </p:blipFill>
          <p:spPr>
            <a:xfrm>
              <a:off x="869396" y="5788852"/>
              <a:ext cx="430014" cy="430824"/>
            </a:xfrm>
            <a:prstGeom prst="rect">
              <a:avLst/>
            </a:prstGeom>
          </p:spPr>
        </p:pic>
      </p:grpSp>
    </p:spTree>
    <p:extLst>
      <p:ext uri="{BB962C8B-B14F-4D97-AF65-F5344CB8AC3E}">
        <p14:creationId xmlns:p14="http://schemas.microsoft.com/office/powerpoint/2010/main" val="64768284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grpSp>
        <p:nvGrpSpPr>
          <p:cNvPr id="127" name="Europe (3)"/>
          <p:cNvGrpSpPr>
            <a:grpSpLocks noChangeAspect="1"/>
          </p:cNvGrpSpPr>
          <p:nvPr>
            <p:custDataLst>
              <p:tags r:id="rId1"/>
            </p:custDataLst>
          </p:nvPr>
        </p:nvGrpSpPr>
        <p:grpSpPr bwMode="auto">
          <a:xfrm>
            <a:off x="8110846" y="2075857"/>
            <a:ext cx="4071138" cy="4272809"/>
            <a:chOff x="1730" y="-8"/>
            <a:chExt cx="4078" cy="4280"/>
          </a:xfrm>
          <a:solidFill>
            <a:srgbClr val="CBE4EC"/>
          </a:solidFill>
        </p:grpSpPr>
        <p:sp>
          <p:nvSpPr>
            <p:cNvPr id="128" name="Freeform 5"/>
            <p:cNvSpPr>
              <a:spLocks/>
            </p:cNvSpPr>
            <p:nvPr>
              <p:custDataLst>
                <p:tags r:id="rId6"/>
              </p:custDataLst>
            </p:nvPr>
          </p:nvSpPr>
          <p:spPr bwMode="auto">
            <a:xfrm>
              <a:off x="1890" y="3232"/>
              <a:ext cx="1205" cy="952"/>
            </a:xfrm>
            <a:custGeom>
              <a:avLst/>
              <a:gdLst>
                <a:gd name="T0" fmla="*/ 1154 w 1205"/>
                <a:gd name="T1" fmla="*/ 336 h 952"/>
                <a:gd name="T2" fmla="*/ 1036 w 1205"/>
                <a:gd name="T3" fmla="*/ 296 h 952"/>
                <a:gd name="T4" fmla="*/ 910 w 1205"/>
                <a:gd name="T5" fmla="*/ 280 h 952"/>
                <a:gd name="T6" fmla="*/ 859 w 1205"/>
                <a:gd name="T7" fmla="*/ 232 h 952"/>
                <a:gd name="T8" fmla="*/ 784 w 1205"/>
                <a:gd name="T9" fmla="*/ 192 h 952"/>
                <a:gd name="T10" fmla="*/ 716 w 1205"/>
                <a:gd name="T11" fmla="*/ 144 h 952"/>
                <a:gd name="T12" fmla="*/ 666 w 1205"/>
                <a:gd name="T13" fmla="*/ 136 h 952"/>
                <a:gd name="T14" fmla="*/ 598 w 1205"/>
                <a:gd name="T15" fmla="*/ 128 h 952"/>
                <a:gd name="T16" fmla="*/ 522 w 1205"/>
                <a:gd name="T17" fmla="*/ 104 h 952"/>
                <a:gd name="T18" fmla="*/ 387 w 1205"/>
                <a:gd name="T19" fmla="*/ 64 h 952"/>
                <a:gd name="T20" fmla="*/ 320 w 1205"/>
                <a:gd name="T21" fmla="*/ 48 h 952"/>
                <a:gd name="T22" fmla="*/ 202 w 1205"/>
                <a:gd name="T23" fmla="*/ 16 h 952"/>
                <a:gd name="T24" fmla="*/ 168 w 1205"/>
                <a:gd name="T25" fmla="*/ 0 h 952"/>
                <a:gd name="T26" fmla="*/ 135 w 1205"/>
                <a:gd name="T27" fmla="*/ 8 h 952"/>
                <a:gd name="T28" fmla="*/ 109 w 1205"/>
                <a:gd name="T29" fmla="*/ 24 h 952"/>
                <a:gd name="T30" fmla="*/ 17 w 1205"/>
                <a:gd name="T31" fmla="*/ 48 h 952"/>
                <a:gd name="T32" fmla="*/ 25 w 1205"/>
                <a:gd name="T33" fmla="*/ 88 h 952"/>
                <a:gd name="T34" fmla="*/ 34 w 1205"/>
                <a:gd name="T35" fmla="*/ 128 h 952"/>
                <a:gd name="T36" fmla="*/ 67 w 1205"/>
                <a:gd name="T37" fmla="*/ 176 h 952"/>
                <a:gd name="T38" fmla="*/ 84 w 1205"/>
                <a:gd name="T39" fmla="*/ 200 h 952"/>
                <a:gd name="T40" fmla="*/ 93 w 1205"/>
                <a:gd name="T41" fmla="*/ 216 h 952"/>
                <a:gd name="T42" fmla="*/ 143 w 1205"/>
                <a:gd name="T43" fmla="*/ 232 h 952"/>
                <a:gd name="T44" fmla="*/ 194 w 1205"/>
                <a:gd name="T45" fmla="*/ 224 h 952"/>
                <a:gd name="T46" fmla="*/ 236 w 1205"/>
                <a:gd name="T47" fmla="*/ 256 h 952"/>
                <a:gd name="T48" fmla="*/ 253 w 1205"/>
                <a:gd name="T49" fmla="*/ 272 h 952"/>
                <a:gd name="T50" fmla="*/ 261 w 1205"/>
                <a:gd name="T51" fmla="*/ 296 h 952"/>
                <a:gd name="T52" fmla="*/ 202 w 1205"/>
                <a:gd name="T53" fmla="*/ 328 h 952"/>
                <a:gd name="T54" fmla="*/ 177 w 1205"/>
                <a:gd name="T55" fmla="*/ 368 h 952"/>
                <a:gd name="T56" fmla="*/ 160 w 1205"/>
                <a:gd name="T57" fmla="*/ 424 h 952"/>
                <a:gd name="T58" fmla="*/ 143 w 1205"/>
                <a:gd name="T59" fmla="*/ 432 h 952"/>
                <a:gd name="T60" fmla="*/ 126 w 1205"/>
                <a:gd name="T61" fmla="*/ 480 h 952"/>
                <a:gd name="T62" fmla="*/ 76 w 1205"/>
                <a:gd name="T63" fmla="*/ 488 h 952"/>
                <a:gd name="T64" fmla="*/ 109 w 1205"/>
                <a:gd name="T65" fmla="*/ 568 h 952"/>
                <a:gd name="T66" fmla="*/ 101 w 1205"/>
                <a:gd name="T67" fmla="*/ 584 h 952"/>
                <a:gd name="T68" fmla="*/ 67 w 1205"/>
                <a:gd name="T69" fmla="*/ 608 h 952"/>
                <a:gd name="T70" fmla="*/ 67 w 1205"/>
                <a:gd name="T71" fmla="*/ 656 h 952"/>
                <a:gd name="T72" fmla="*/ 84 w 1205"/>
                <a:gd name="T73" fmla="*/ 672 h 952"/>
                <a:gd name="T74" fmla="*/ 17 w 1205"/>
                <a:gd name="T75" fmla="*/ 720 h 952"/>
                <a:gd name="T76" fmla="*/ 0 w 1205"/>
                <a:gd name="T77" fmla="*/ 784 h 952"/>
                <a:gd name="T78" fmla="*/ 59 w 1205"/>
                <a:gd name="T79" fmla="*/ 792 h 952"/>
                <a:gd name="T80" fmla="*/ 109 w 1205"/>
                <a:gd name="T81" fmla="*/ 840 h 952"/>
                <a:gd name="T82" fmla="*/ 118 w 1205"/>
                <a:gd name="T83" fmla="*/ 920 h 952"/>
                <a:gd name="T84" fmla="*/ 219 w 1205"/>
                <a:gd name="T85" fmla="*/ 928 h 952"/>
                <a:gd name="T86" fmla="*/ 295 w 1205"/>
                <a:gd name="T87" fmla="*/ 912 h 952"/>
                <a:gd name="T88" fmla="*/ 379 w 1205"/>
                <a:gd name="T89" fmla="*/ 904 h 952"/>
                <a:gd name="T90" fmla="*/ 539 w 1205"/>
                <a:gd name="T91" fmla="*/ 928 h 952"/>
                <a:gd name="T92" fmla="*/ 598 w 1205"/>
                <a:gd name="T93" fmla="*/ 904 h 952"/>
                <a:gd name="T94" fmla="*/ 649 w 1205"/>
                <a:gd name="T95" fmla="*/ 856 h 952"/>
                <a:gd name="T96" fmla="*/ 725 w 1205"/>
                <a:gd name="T97" fmla="*/ 824 h 952"/>
                <a:gd name="T98" fmla="*/ 784 w 1205"/>
                <a:gd name="T99" fmla="*/ 752 h 952"/>
                <a:gd name="T100" fmla="*/ 809 w 1205"/>
                <a:gd name="T101" fmla="*/ 664 h 952"/>
                <a:gd name="T102" fmla="*/ 842 w 1205"/>
                <a:gd name="T103" fmla="*/ 592 h 952"/>
                <a:gd name="T104" fmla="*/ 927 w 1205"/>
                <a:gd name="T105" fmla="*/ 504 h 952"/>
                <a:gd name="T106" fmla="*/ 944 w 1205"/>
                <a:gd name="T107" fmla="*/ 472 h 952"/>
                <a:gd name="T108" fmla="*/ 1019 w 1205"/>
                <a:gd name="T109" fmla="*/ 440 h 952"/>
                <a:gd name="T110" fmla="*/ 1196 w 1205"/>
                <a:gd name="T111" fmla="*/ 376 h 952"/>
                <a:gd name="T112" fmla="*/ 1205 w 1205"/>
                <a:gd name="T113" fmla="*/ 368 h 952"/>
                <a:gd name="T114" fmla="*/ 1180 w 1205"/>
                <a:gd name="T115" fmla="*/ 352 h 95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205" h="952">
                  <a:moveTo>
                    <a:pt x="1180" y="352"/>
                  </a:moveTo>
                  <a:lnTo>
                    <a:pt x="1154" y="336"/>
                  </a:lnTo>
                  <a:lnTo>
                    <a:pt x="1095" y="320"/>
                  </a:lnTo>
                  <a:lnTo>
                    <a:pt x="1036" y="296"/>
                  </a:lnTo>
                  <a:lnTo>
                    <a:pt x="969" y="288"/>
                  </a:lnTo>
                  <a:lnTo>
                    <a:pt x="910" y="280"/>
                  </a:lnTo>
                  <a:lnTo>
                    <a:pt x="893" y="256"/>
                  </a:lnTo>
                  <a:lnTo>
                    <a:pt x="859" y="232"/>
                  </a:lnTo>
                  <a:lnTo>
                    <a:pt x="817" y="224"/>
                  </a:lnTo>
                  <a:lnTo>
                    <a:pt x="784" y="192"/>
                  </a:lnTo>
                  <a:lnTo>
                    <a:pt x="733" y="152"/>
                  </a:lnTo>
                  <a:lnTo>
                    <a:pt x="716" y="144"/>
                  </a:lnTo>
                  <a:lnTo>
                    <a:pt x="699" y="144"/>
                  </a:lnTo>
                  <a:lnTo>
                    <a:pt x="666" y="136"/>
                  </a:lnTo>
                  <a:lnTo>
                    <a:pt x="632" y="120"/>
                  </a:lnTo>
                  <a:lnTo>
                    <a:pt x="598" y="128"/>
                  </a:lnTo>
                  <a:lnTo>
                    <a:pt x="556" y="104"/>
                  </a:lnTo>
                  <a:lnTo>
                    <a:pt x="522" y="104"/>
                  </a:lnTo>
                  <a:lnTo>
                    <a:pt x="480" y="96"/>
                  </a:lnTo>
                  <a:lnTo>
                    <a:pt x="387" y="64"/>
                  </a:lnTo>
                  <a:lnTo>
                    <a:pt x="362" y="48"/>
                  </a:lnTo>
                  <a:lnTo>
                    <a:pt x="320" y="48"/>
                  </a:lnTo>
                  <a:lnTo>
                    <a:pt x="227" y="32"/>
                  </a:lnTo>
                  <a:lnTo>
                    <a:pt x="202" y="16"/>
                  </a:lnTo>
                  <a:lnTo>
                    <a:pt x="185" y="0"/>
                  </a:lnTo>
                  <a:lnTo>
                    <a:pt x="168" y="0"/>
                  </a:lnTo>
                  <a:lnTo>
                    <a:pt x="143" y="0"/>
                  </a:lnTo>
                  <a:lnTo>
                    <a:pt x="135" y="8"/>
                  </a:lnTo>
                  <a:lnTo>
                    <a:pt x="126" y="24"/>
                  </a:lnTo>
                  <a:lnTo>
                    <a:pt x="109" y="24"/>
                  </a:lnTo>
                  <a:lnTo>
                    <a:pt x="59" y="32"/>
                  </a:lnTo>
                  <a:lnTo>
                    <a:pt x="17" y="48"/>
                  </a:lnTo>
                  <a:lnTo>
                    <a:pt x="25" y="80"/>
                  </a:lnTo>
                  <a:lnTo>
                    <a:pt x="25" y="88"/>
                  </a:lnTo>
                  <a:lnTo>
                    <a:pt x="25" y="104"/>
                  </a:lnTo>
                  <a:lnTo>
                    <a:pt x="34" y="128"/>
                  </a:lnTo>
                  <a:lnTo>
                    <a:pt x="17" y="184"/>
                  </a:lnTo>
                  <a:lnTo>
                    <a:pt x="67" y="176"/>
                  </a:lnTo>
                  <a:lnTo>
                    <a:pt x="84" y="184"/>
                  </a:lnTo>
                  <a:lnTo>
                    <a:pt x="84" y="200"/>
                  </a:lnTo>
                  <a:lnTo>
                    <a:pt x="76" y="208"/>
                  </a:lnTo>
                  <a:lnTo>
                    <a:pt x="93" y="216"/>
                  </a:lnTo>
                  <a:lnTo>
                    <a:pt x="126" y="216"/>
                  </a:lnTo>
                  <a:lnTo>
                    <a:pt x="143" y="232"/>
                  </a:lnTo>
                  <a:lnTo>
                    <a:pt x="168" y="232"/>
                  </a:lnTo>
                  <a:lnTo>
                    <a:pt x="194" y="224"/>
                  </a:lnTo>
                  <a:lnTo>
                    <a:pt x="227" y="240"/>
                  </a:lnTo>
                  <a:lnTo>
                    <a:pt x="236" y="256"/>
                  </a:lnTo>
                  <a:lnTo>
                    <a:pt x="236" y="264"/>
                  </a:lnTo>
                  <a:lnTo>
                    <a:pt x="253" y="272"/>
                  </a:lnTo>
                  <a:lnTo>
                    <a:pt x="261" y="288"/>
                  </a:lnTo>
                  <a:lnTo>
                    <a:pt x="261" y="296"/>
                  </a:lnTo>
                  <a:lnTo>
                    <a:pt x="227" y="312"/>
                  </a:lnTo>
                  <a:lnTo>
                    <a:pt x="202" y="328"/>
                  </a:lnTo>
                  <a:lnTo>
                    <a:pt x="168" y="344"/>
                  </a:lnTo>
                  <a:lnTo>
                    <a:pt x="177" y="368"/>
                  </a:lnTo>
                  <a:lnTo>
                    <a:pt x="160" y="400"/>
                  </a:lnTo>
                  <a:lnTo>
                    <a:pt x="160" y="424"/>
                  </a:lnTo>
                  <a:lnTo>
                    <a:pt x="152" y="432"/>
                  </a:lnTo>
                  <a:lnTo>
                    <a:pt x="143" y="432"/>
                  </a:lnTo>
                  <a:lnTo>
                    <a:pt x="143" y="464"/>
                  </a:lnTo>
                  <a:lnTo>
                    <a:pt x="126" y="480"/>
                  </a:lnTo>
                  <a:lnTo>
                    <a:pt x="101" y="488"/>
                  </a:lnTo>
                  <a:lnTo>
                    <a:pt x="76" y="488"/>
                  </a:lnTo>
                  <a:lnTo>
                    <a:pt x="93" y="552"/>
                  </a:lnTo>
                  <a:lnTo>
                    <a:pt x="109" y="568"/>
                  </a:lnTo>
                  <a:lnTo>
                    <a:pt x="109" y="576"/>
                  </a:lnTo>
                  <a:lnTo>
                    <a:pt x="101" y="584"/>
                  </a:lnTo>
                  <a:lnTo>
                    <a:pt x="76" y="592"/>
                  </a:lnTo>
                  <a:lnTo>
                    <a:pt x="67" y="608"/>
                  </a:lnTo>
                  <a:lnTo>
                    <a:pt x="59" y="632"/>
                  </a:lnTo>
                  <a:lnTo>
                    <a:pt x="67" y="656"/>
                  </a:lnTo>
                  <a:lnTo>
                    <a:pt x="76" y="672"/>
                  </a:lnTo>
                  <a:lnTo>
                    <a:pt x="84" y="672"/>
                  </a:lnTo>
                  <a:lnTo>
                    <a:pt x="59" y="696"/>
                  </a:lnTo>
                  <a:lnTo>
                    <a:pt x="17" y="720"/>
                  </a:lnTo>
                  <a:lnTo>
                    <a:pt x="8" y="752"/>
                  </a:lnTo>
                  <a:lnTo>
                    <a:pt x="0" y="784"/>
                  </a:lnTo>
                  <a:lnTo>
                    <a:pt x="17" y="784"/>
                  </a:lnTo>
                  <a:lnTo>
                    <a:pt x="59" y="792"/>
                  </a:lnTo>
                  <a:lnTo>
                    <a:pt x="93" y="816"/>
                  </a:lnTo>
                  <a:lnTo>
                    <a:pt x="109" y="840"/>
                  </a:lnTo>
                  <a:lnTo>
                    <a:pt x="109" y="880"/>
                  </a:lnTo>
                  <a:lnTo>
                    <a:pt x="118" y="920"/>
                  </a:lnTo>
                  <a:lnTo>
                    <a:pt x="152" y="952"/>
                  </a:lnTo>
                  <a:lnTo>
                    <a:pt x="219" y="928"/>
                  </a:lnTo>
                  <a:lnTo>
                    <a:pt x="253" y="920"/>
                  </a:lnTo>
                  <a:lnTo>
                    <a:pt x="295" y="912"/>
                  </a:lnTo>
                  <a:lnTo>
                    <a:pt x="337" y="896"/>
                  </a:lnTo>
                  <a:lnTo>
                    <a:pt x="379" y="904"/>
                  </a:lnTo>
                  <a:lnTo>
                    <a:pt x="463" y="920"/>
                  </a:lnTo>
                  <a:lnTo>
                    <a:pt x="539" y="928"/>
                  </a:lnTo>
                  <a:lnTo>
                    <a:pt x="573" y="928"/>
                  </a:lnTo>
                  <a:lnTo>
                    <a:pt x="598" y="904"/>
                  </a:lnTo>
                  <a:lnTo>
                    <a:pt x="615" y="872"/>
                  </a:lnTo>
                  <a:lnTo>
                    <a:pt x="649" y="856"/>
                  </a:lnTo>
                  <a:lnTo>
                    <a:pt x="733" y="848"/>
                  </a:lnTo>
                  <a:lnTo>
                    <a:pt x="725" y="824"/>
                  </a:lnTo>
                  <a:lnTo>
                    <a:pt x="733" y="800"/>
                  </a:lnTo>
                  <a:lnTo>
                    <a:pt x="784" y="752"/>
                  </a:lnTo>
                  <a:lnTo>
                    <a:pt x="842" y="720"/>
                  </a:lnTo>
                  <a:lnTo>
                    <a:pt x="809" y="664"/>
                  </a:lnTo>
                  <a:lnTo>
                    <a:pt x="809" y="624"/>
                  </a:lnTo>
                  <a:lnTo>
                    <a:pt x="842" y="592"/>
                  </a:lnTo>
                  <a:lnTo>
                    <a:pt x="885" y="536"/>
                  </a:lnTo>
                  <a:lnTo>
                    <a:pt x="927" y="504"/>
                  </a:lnTo>
                  <a:lnTo>
                    <a:pt x="935" y="504"/>
                  </a:lnTo>
                  <a:lnTo>
                    <a:pt x="944" y="472"/>
                  </a:lnTo>
                  <a:lnTo>
                    <a:pt x="977" y="448"/>
                  </a:lnTo>
                  <a:lnTo>
                    <a:pt x="1019" y="440"/>
                  </a:lnTo>
                  <a:lnTo>
                    <a:pt x="1095" y="432"/>
                  </a:lnTo>
                  <a:lnTo>
                    <a:pt x="1196" y="376"/>
                  </a:lnTo>
                  <a:lnTo>
                    <a:pt x="1205" y="376"/>
                  </a:lnTo>
                  <a:lnTo>
                    <a:pt x="1205" y="368"/>
                  </a:lnTo>
                  <a:lnTo>
                    <a:pt x="1205" y="344"/>
                  </a:lnTo>
                  <a:lnTo>
                    <a:pt x="1180" y="35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29" name="Freeform 6"/>
            <p:cNvSpPr>
              <a:spLocks/>
            </p:cNvSpPr>
            <p:nvPr>
              <p:custDataLst>
                <p:tags r:id="rId7"/>
              </p:custDataLst>
            </p:nvPr>
          </p:nvSpPr>
          <p:spPr bwMode="auto">
            <a:xfrm>
              <a:off x="1730" y="3408"/>
              <a:ext cx="421" cy="616"/>
            </a:xfrm>
            <a:custGeom>
              <a:avLst/>
              <a:gdLst>
                <a:gd name="T0" fmla="*/ 396 w 421"/>
                <a:gd name="T1" fmla="*/ 88 h 616"/>
                <a:gd name="T2" fmla="*/ 387 w 421"/>
                <a:gd name="T3" fmla="*/ 64 h 616"/>
                <a:gd name="T4" fmla="*/ 328 w 421"/>
                <a:gd name="T5" fmla="*/ 56 h 616"/>
                <a:gd name="T6" fmla="*/ 286 w 421"/>
                <a:gd name="T7" fmla="*/ 40 h 616"/>
                <a:gd name="T8" fmla="*/ 236 w 421"/>
                <a:gd name="T9" fmla="*/ 32 h 616"/>
                <a:gd name="T10" fmla="*/ 244 w 421"/>
                <a:gd name="T11" fmla="*/ 8 h 616"/>
                <a:gd name="T12" fmla="*/ 177 w 421"/>
                <a:gd name="T13" fmla="*/ 8 h 616"/>
                <a:gd name="T14" fmla="*/ 160 w 421"/>
                <a:gd name="T15" fmla="*/ 112 h 616"/>
                <a:gd name="T16" fmla="*/ 126 w 421"/>
                <a:gd name="T17" fmla="*/ 208 h 616"/>
                <a:gd name="T18" fmla="*/ 42 w 421"/>
                <a:gd name="T19" fmla="*/ 304 h 616"/>
                <a:gd name="T20" fmla="*/ 8 w 421"/>
                <a:gd name="T21" fmla="*/ 368 h 616"/>
                <a:gd name="T22" fmla="*/ 34 w 421"/>
                <a:gd name="T23" fmla="*/ 384 h 616"/>
                <a:gd name="T24" fmla="*/ 25 w 421"/>
                <a:gd name="T25" fmla="*/ 408 h 616"/>
                <a:gd name="T26" fmla="*/ 67 w 421"/>
                <a:gd name="T27" fmla="*/ 416 h 616"/>
                <a:gd name="T28" fmla="*/ 42 w 421"/>
                <a:gd name="T29" fmla="*/ 512 h 616"/>
                <a:gd name="T30" fmla="*/ 8 w 421"/>
                <a:gd name="T31" fmla="*/ 576 h 616"/>
                <a:gd name="T32" fmla="*/ 8 w 421"/>
                <a:gd name="T33" fmla="*/ 592 h 616"/>
                <a:gd name="T34" fmla="*/ 84 w 421"/>
                <a:gd name="T35" fmla="*/ 600 h 616"/>
                <a:gd name="T36" fmla="*/ 160 w 421"/>
                <a:gd name="T37" fmla="*/ 608 h 616"/>
                <a:gd name="T38" fmla="*/ 177 w 421"/>
                <a:gd name="T39" fmla="*/ 544 h 616"/>
                <a:gd name="T40" fmla="*/ 244 w 421"/>
                <a:gd name="T41" fmla="*/ 496 h 616"/>
                <a:gd name="T42" fmla="*/ 227 w 421"/>
                <a:gd name="T43" fmla="*/ 480 h 616"/>
                <a:gd name="T44" fmla="*/ 227 w 421"/>
                <a:gd name="T45" fmla="*/ 432 h 616"/>
                <a:gd name="T46" fmla="*/ 261 w 421"/>
                <a:gd name="T47" fmla="*/ 408 h 616"/>
                <a:gd name="T48" fmla="*/ 269 w 421"/>
                <a:gd name="T49" fmla="*/ 392 h 616"/>
                <a:gd name="T50" fmla="*/ 236 w 421"/>
                <a:gd name="T51" fmla="*/ 312 h 616"/>
                <a:gd name="T52" fmla="*/ 286 w 421"/>
                <a:gd name="T53" fmla="*/ 304 h 616"/>
                <a:gd name="T54" fmla="*/ 303 w 421"/>
                <a:gd name="T55" fmla="*/ 256 h 616"/>
                <a:gd name="T56" fmla="*/ 320 w 421"/>
                <a:gd name="T57" fmla="*/ 248 h 616"/>
                <a:gd name="T58" fmla="*/ 337 w 421"/>
                <a:gd name="T59" fmla="*/ 192 h 616"/>
                <a:gd name="T60" fmla="*/ 362 w 421"/>
                <a:gd name="T61" fmla="*/ 152 h 616"/>
                <a:gd name="T62" fmla="*/ 421 w 421"/>
                <a:gd name="T63" fmla="*/ 120 h 616"/>
                <a:gd name="T64" fmla="*/ 413 w 421"/>
                <a:gd name="T65" fmla="*/ 96 h 61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21" h="616">
                  <a:moveTo>
                    <a:pt x="413" y="96"/>
                  </a:moveTo>
                  <a:lnTo>
                    <a:pt x="396" y="88"/>
                  </a:lnTo>
                  <a:lnTo>
                    <a:pt x="396" y="80"/>
                  </a:lnTo>
                  <a:lnTo>
                    <a:pt x="387" y="64"/>
                  </a:lnTo>
                  <a:lnTo>
                    <a:pt x="354" y="48"/>
                  </a:lnTo>
                  <a:lnTo>
                    <a:pt x="328" y="56"/>
                  </a:lnTo>
                  <a:lnTo>
                    <a:pt x="303" y="56"/>
                  </a:lnTo>
                  <a:lnTo>
                    <a:pt x="286" y="40"/>
                  </a:lnTo>
                  <a:lnTo>
                    <a:pt x="253" y="40"/>
                  </a:lnTo>
                  <a:lnTo>
                    <a:pt x="236" y="32"/>
                  </a:lnTo>
                  <a:lnTo>
                    <a:pt x="244" y="24"/>
                  </a:lnTo>
                  <a:lnTo>
                    <a:pt x="244" y="8"/>
                  </a:lnTo>
                  <a:lnTo>
                    <a:pt x="227" y="0"/>
                  </a:lnTo>
                  <a:lnTo>
                    <a:pt x="177" y="8"/>
                  </a:lnTo>
                  <a:lnTo>
                    <a:pt x="177" y="40"/>
                  </a:lnTo>
                  <a:lnTo>
                    <a:pt x="160" y="112"/>
                  </a:lnTo>
                  <a:lnTo>
                    <a:pt x="143" y="144"/>
                  </a:lnTo>
                  <a:lnTo>
                    <a:pt x="126" y="208"/>
                  </a:lnTo>
                  <a:lnTo>
                    <a:pt x="92" y="256"/>
                  </a:lnTo>
                  <a:lnTo>
                    <a:pt x="42" y="304"/>
                  </a:lnTo>
                  <a:lnTo>
                    <a:pt x="17" y="352"/>
                  </a:lnTo>
                  <a:lnTo>
                    <a:pt x="8" y="368"/>
                  </a:lnTo>
                  <a:lnTo>
                    <a:pt x="17" y="376"/>
                  </a:lnTo>
                  <a:lnTo>
                    <a:pt x="34" y="384"/>
                  </a:lnTo>
                  <a:lnTo>
                    <a:pt x="25" y="400"/>
                  </a:lnTo>
                  <a:lnTo>
                    <a:pt x="25" y="408"/>
                  </a:lnTo>
                  <a:lnTo>
                    <a:pt x="34" y="416"/>
                  </a:lnTo>
                  <a:lnTo>
                    <a:pt x="67" y="416"/>
                  </a:lnTo>
                  <a:lnTo>
                    <a:pt x="42" y="480"/>
                  </a:lnTo>
                  <a:lnTo>
                    <a:pt x="42" y="512"/>
                  </a:lnTo>
                  <a:lnTo>
                    <a:pt x="25" y="544"/>
                  </a:lnTo>
                  <a:lnTo>
                    <a:pt x="8" y="576"/>
                  </a:lnTo>
                  <a:lnTo>
                    <a:pt x="0" y="592"/>
                  </a:lnTo>
                  <a:lnTo>
                    <a:pt x="8" y="592"/>
                  </a:lnTo>
                  <a:lnTo>
                    <a:pt x="50" y="592"/>
                  </a:lnTo>
                  <a:lnTo>
                    <a:pt x="84" y="600"/>
                  </a:lnTo>
                  <a:lnTo>
                    <a:pt x="126" y="616"/>
                  </a:lnTo>
                  <a:lnTo>
                    <a:pt x="160" y="608"/>
                  </a:lnTo>
                  <a:lnTo>
                    <a:pt x="168" y="576"/>
                  </a:lnTo>
                  <a:lnTo>
                    <a:pt x="177" y="544"/>
                  </a:lnTo>
                  <a:lnTo>
                    <a:pt x="219" y="520"/>
                  </a:lnTo>
                  <a:lnTo>
                    <a:pt x="244" y="496"/>
                  </a:lnTo>
                  <a:lnTo>
                    <a:pt x="236" y="496"/>
                  </a:lnTo>
                  <a:lnTo>
                    <a:pt x="227" y="480"/>
                  </a:lnTo>
                  <a:lnTo>
                    <a:pt x="219" y="456"/>
                  </a:lnTo>
                  <a:lnTo>
                    <a:pt x="227" y="432"/>
                  </a:lnTo>
                  <a:lnTo>
                    <a:pt x="236" y="416"/>
                  </a:lnTo>
                  <a:lnTo>
                    <a:pt x="261" y="408"/>
                  </a:lnTo>
                  <a:lnTo>
                    <a:pt x="269" y="400"/>
                  </a:lnTo>
                  <a:lnTo>
                    <a:pt x="269" y="392"/>
                  </a:lnTo>
                  <a:lnTo>
                    <a:pt x="253" y="376"/>
                  </a:lnTo>
                  <a:lnTo>
                    <a:pt x="236" y="312"/>
                  </a:lnTo>
                  <a:lnTo>
                    <a:pt x="261" y="312"/>
                  </a:lnTo>
                  <a:lnTo>
                    <a:pt x="286" y="304"/>
                  </a:lnTo>
                  <a:lnTo>
                    <a:pt x="303" y="288"/>
                  </a:lnTo>
                  <a:lnTo>
                    <a:pt x="303" y="256"/>
                  </a:lnTo>
                  <a:lnTo>
                    <a:pt x="312" y="256"/>
                  </a:lnTo>
                  <a:lnTo>
                    <a:pt x="320" y="248"/>
                  </a:lnTo>
                  <a:lnTo>
                    <a:pt x="320" y="224"/>
                  </a:lnTo>
                  <a:lnTo>
                    <a:pt x="337" y="192"/>
                  </a:lnTo>
                  <a:lnTo>
                    <a:pt x="328" y="168"/>
                  </a:lnTo>
                  <a:lnTo>
                    <a:pt x="362" y="152"/>
                  </a:lnTo>
                  <a:lnTo>
                    <a:pt x="387" y="136"/>
                  </a:lnTo>
                  <a:lnTo>
                    <a:pt x="421" y="120"/>
                  </a:lnTo>
                  <a:lnTo>
                    <a:pt x="421" y="112"/>
                  </a:lnTo>
                  <a:lnTo>
                    <a:pt x="413" y="96"/>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0" name="Freeform 7"/>
            <p:cNvSpPr>
              <a:spLocks/>
            </p:cNvSpPr>
            <p:nvPr>
              <p:custDataLst>
                <p:tags r:id="rId8"/>
              </p:custDataLst>
            </p:nvPr>
          </p:nvSpPr>
          <p:spPr bwMode="auto">
            <a:xfrm>
              <a:off x="1890" y="3232"/>
              <a:ext cx="1205" cy="952"/>
            </a:xfrm>
            <a:custGeom>
              <a:avLst/>
              <a:gdLst>
                <a:gd name="T0" fmla="*/ 1154 w 1205"/>
                <a:gd name="T1" fmla="*/ 336 h 952"/>
                <a:gd name="T2" fmla="*/ 1036 w 1205"/>
                <a:gd name="T3" fmla="*/ 296 h 952"/>
                <a:gd name="T4" fmla="*/ 910 w 1205"/>
                <a:gd name="T5" fmla="*/ 280 h 952"/>
                <a:gd name="T6" fmla="*/ 859 w 1205"/>
                <a:gd name="T7" fmla="*/ 232 h 952"/>
                <a:gd name="T8" fmla="*/ 784 w 1205"/>
                <a:gd name="T9" fmla="*/ 192 h 952"/>
                <a:gd name="T10" fmla="*/ 716 w 1205"/>
                <a:gd name="T11" fmla="*/ 144 h 952"/>
                <a:gd name="T12" fmla="*/ 666 w 1205"/>
                <a:gd name="T13" fmla="*/ 136 h 952"/>
                <a:gd name="T14" fmla="*/ 598 w 1205"/>
                <a:gd name="T15" fmla="*/ 128 h 952"/>
                <a:gd name="T16" fmla="*/ 522 w 1205"/>
                <a:gd name="T17" fmla="*/ 104 h 952"/>
                <a:gd name="T18" fmla="*/ 387 w 1205"/>
                <a:gd name="T19" fmla="*/ 64 h 952"/>
                <a:gd name="T20" fmla="*/ 320 w 1205"/>
                <a:gd name="T21" fmla="*/ 48 h 952"/>
                <a:gd name="T22" fmla="*/ 202 w 1205"/>
                <a:gd name="T23" fmla="*/ 16 h 952"/>
                <a:gd name="T24" fmla="*/ 168 w 1205"/>
                <a:gd name="T25" fmla="*/ 0 h 952"/>
                <a:gd name="T26" fmla="*/ 135 w 1205"/>
                <a:gd name="T27" fmla="*/ 8 h 952"/>
                <a:gd name="T28" fmla="*/ 109 w 1205"/>
                <a:gd name="T29" fmla="*/ 24 h 952"/>
                <a:gd name="T30" fmla="*/ 17 w 1205"/>
                <a:gd name="T31" fmla="*/ 48 h 952"/>
                <a:gd name="T32" fmla="*/ 25 w 1205"/>
                <a:gd name="T33" fmla="*/ 88 h 952"/>
                <a:gd name="T34" fmla="*/ 34 w 1205"/>
                <a:gd name="T35" fmla="*/ 128 h 952"/>
                <a:gd name="T36" fmla="*/ 67 w 1205"/>
                <a:gd name="T37" fmla="*/ 176 h 952"/>
                <a:gd name="T38" fmla="*/ 84 w 1205"/>
                <a:gd name="T39" fmla="*/ 200 h 952"/>
                <a:gd name="T40" fmla="*/ 93 w 1205"/>
                <a:gd name="T41" fmla="*/ 216 h 952"/>
                <a:gd name="T42" fmla="*/ 143 w 1205"/>
                <a:gd name="T43" fmla="*/ 232 h 952"/>
                <a:gd name="T44" fmla="*/ 194 w 1205"/>
                <a:gd name="T45" fmla="*/ 224 h 952"/>
                <a:gd name="T46" fmla="*/ 236 w 1205"/>
                <a:gd name="T47" fmla="*/ 256 h 952"/>
                <a:gd name="T48" fmla="*/ 253 w 1205"/>
                <a:gd name="T49" fmla="*/ 272 h 952"/>
                <a:gd name="T50" fmla="*/ 261 w 1205"/>
                <a:gd name="T51" fmla="*/ 296 h 952"/>
                <a:gd name="T52" fmla="*/ 202 w 1205"/>
                <a:gd name="T53" fmla="*/ 328 h 952"/>
                <a:gd name="T54" fmla="*/ 177 w 1205"/>
                <a:gd name="T55" fmla="*/ 368 h 952"/>
                <a:gd name="T56" fmla="*/ 160 w 1205"/>
                <a:gd name="T57" fmla="*/ 424 h 952"/>
                <a:gd name="T58" fmla="*/ 143 w 1205"/>
                <a:gd name="T59" fmla="*/ 432 h 952"/>
                <a:gd name="T60" fmla="*/ 126 w 1205"/>
                <a:gd name="T61" fmla="*/ 480 h 952"/>
                <a:gd name="T62" fmla="*/ 76 w 1205"/>
                <a:gd name="T63" fmla="*/ 488 h 952"/>
                <a:gd name="T64" fmla="*/ 109 w 1205"/>
                <a:gd name="T65" fmla="*/ 568 h 952"/>
                <a:gd name="T66" fmla="*/ 101 w 1205"/>
                <a:gd name="T67" fmla="*/ 584 h 952"/>
                <a:gd name="T68" fmla="*/ 67 w 1205"/>
                <a:gd name="T69" fmla="*/ 608 h 952"/>
                <a:gd name="T70" fmla="*/ 67 w 1205"/>
                <a:gd name="T71" fmla="*/ 656 h 952"/>
                <a:gd name="T72" fmla="*/ 84 w 1205"/>
                <a:gd name="T73" fmla="*/ 672 h 952"/>
                <a:gd name="T74" fmla="*/ 17 w 1205"/>
                <a:gd name="T75" fmla="*/ 720 h 952"/>
                <a:gd name="T76" fmla="*/ 0 w 1205"/>
                <a:gd name="T77" fmla="*/ 784 h 952"/>
                <a:gd name="T78" fmla="*/ 59 w 1205"/>
                <a:gd name="T79" fmla="*/ 792 h 952"/>
                <a:gd name="T80" fmla="*/ 109 w 1205"/>
                <a:gd name="T81" fmla="*/ 840 h 952"/>
                <a:gd name="T82" fmla="*/ 118 w 1205"/>
                <a:gd name="T83" fmla="*/ 920 h 952"/>
                <a:gd name="T84" fmla="*/ 219 w 1205"/>
                <a:gd name="T85" fmla="*/ 928 h 952"/>
                <a:gd name="T86" fmla="*/ 295 w 1205"/>
                <a:gd name="T87" fmla="*/ 912 h 952"/>
                <a:gd name="T88" fmla="*/ 379 w 1205"/>
                <a:gd name="T89" fmla="*/ 904 h 952"/>
                <a:gd name="T90" fmla="*/ 539 w 1205"/>
                <a:gd name="T91" fmla="*/ 928 h 952"/>
                <a:gd name="T92" fmla="*/ 598 w 1205"/>
                <a:gd name="T93" fmla="*/ 904 h 952"/>
                <a:gd name="T94" fmla="*/ 649 w 1205"/>
                <a:gd name="T95" fmla="*/ 856 h 952"/>
                <a:gd name="T96" fmla="*/ 725 w 1205"/>
                <a:gd name="T97" fmla="*/ 824 h 952"/>
                <a:gd name="T98" fmla="*/ 784 w 1205"/>
                <a:gd name="T99" fmla="*/ 752 h 952"/>
                <a:gd name="T100" fmla="*/ 809 w 1205"/>
                <a:gd name="T101" fmla="*/ 664 h 952"/>
                <a:gd name="T102" fmla="*/ 842 w 1205"/>
                <a:gd name="T103" fmla="*/ 592 h 952"/>
                <a:gd name="T104" fmla="*/ 927 w 1205"/>
                <a:gd name="T105" fmla="*/ 504 h 952"/>
                <a:gd name="T106" fmla="*/ 944 w 1205"/>
                <a:gd name="T107" fmla="*/ 472 h 952"/>
                <a:gd name="T108" fmla="*/ 944 w 1205"/>
                <a:gd name="T109" fmla="*/ 472 h 952"/>
                <a:gd name="T110" fmla="*/ 1019 w 1205"/>
                <a:gd name="T111" fmla="*/ 440 h 952"/>
                <a:gd name="T112" fmla="*/ 1196 w 1205"/>
                <a:gd name="T113" fmla="*/ 376 h 952"/>
                <a:gd name="T114" fmla="*/ 1205 w 1205"/>
                <a:gd name="T115" fmla="*/ 368 h 952"/>
                <a:gd name="T116" fmla="*/ 1205 w 1205"/>
                <a:gd name="T117" fmla="*/ 344 h 95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205" h="952">
                  <a:moveTo>
                    <a:pt x="1180" y="352"/>
                  </a:moveTo>
                  <a:lnTo>
                    <a:pt x="1154" y="336"/>
                  </a:lnTo>
                  <a:lnTo>
                    <a:pt x="1095" y="320"/>
                  </a:lnTo>
                  <a:lnTo>
                    <a:pt x="1036" y="296"/>
                  </a:lnTo>
                  <a:lnTo>
                    <a:pt x="969" y="288"/>
                  </a:lnTo>
                  <a:lnTo>
                    <a:pt x="910" y="280"/>
                  </a:lnTo>
                  <a:lnTo>
                    <a:pt x="893" y="256"/>
                  </a:lnTo>
                  <a:lnTo>
                    <a:pt x="859" y="232"/>
                  </a:lnTo>
                  <a:lnTo>
                    <a:pt x="817" y="224"/>
                  </a:lnTo>
                  <a:lnTo>
                    <a:pt x="784" y="192"/>
                  </a:lnTo>
                  <a:lnTo>
                    <a:pt x="733" y="152"/>
                  </a:lnTo>
                  <a:lnTo>
                    <a:pt x="716" y="144"/>
                  </a:lnTo>
                  <a:lnTo>
                    <a:pt x="699" y="144"/>
                  </a:lnTo>
                  <a:lnTo>
                    <a:pt x="666" y="136"/>
                  </a:lnTo>
                  <a:lnTo>
                    <a:pt x="632" y="120"/>
                  </a:lnTo>
                  <a:lnTo>
                    <a:pt x="598" y="128"/>
                  </a:lnTo>
                  <a:lnTo>
                    <a:pt x="556" y="104"/>
                  </a:lnTo>
                  <a:lnTo>
                    <a:pt x="522" y="104"/>
                  </a:lnTo>
                  <a:lnTo>
                    <a:pt x="480" y="96"/>
                  </a:lnTo>
                  <a:lnTo>
                    <a:pt x="387" y="64"/>
                  </a:lnTo>
                  <a:lnTo>
                    <a:pt x="362" y="48"/>
                  </a:lnTo>
                  <a:lnTo>
                    <a:pt x="320" y="48"/>
                  </a:lnTo>
                  <a:lnTo>
                    <a:pt x="227" y="32"/>
                  </a:lnTo>
                  <a:lnTo>
                    <a:pt x="202" y="16"/>
                  </a:lnTo>
                  <a:lnTo>
                    <a:pt x="185" y="0"/>
                  </a:lnTo>
                  <a:lnTo>
                    <a:pt x="168" y="0"/>
                  </a:lnTo>
                  <a:lnTo>
                    <a:pt x="143" y="0"/>
                  </a:lnTo>
                  <a:lnTo>
                    <a:pt x="135" y="8"/>
                  </a:lnTo>
                  <a:lnTo>
                    <a:pt x="126" y="24"/>
                  </a:lnTo>
                  <a:lnTo>
                    <a:pt x="109" y="24"/>
                  </a:lnTo>
                  <a:lnTo>
                    <a:pt x="59" y="32"/>
                  </a:lnTo>
                  <a:lnTo>
                    <a:pt x="17" y="48"/>
                  </a:lnTo>
                  <a:lnTo>
                    <a:pt x="25" y="80"/>
                  </a:lnTo>
                  <a:lnTo>
                    <a:pt x="25" y="88"/>
                  </a:lnTo>
                  <a:lnTo>
                    <a:pt x="25" y="104"/>
                  </a:lnTo>
                  <a:lnTo>
                    <a:pt x="34" y="128"/>
                  </a:lnTo>
                  <a:lnTo>
                    <a:pt x="17" y="184"/>
                  </a:lnTo>
                  <a:lnTo>
                    <a:pt x="67" y="176"/>
                  </a:lnTo>
                  <a:lnTo>
                    <a:pt x="84" y="184"/>
                  </a:lnTo>
                  <a:lnTo>
                    <a:pt x="84" y="200"/>
                  </a:lnTo>
                  <a:lnTo>
                    <a:pt x="76" y="208"/>
                  </a:lnTo>
                  <a:lnTo>
                    <a:pt x="93" y="216"/>
                  </a:lnTo>
                  <a:lnTo>
                    <a:pt x="126" y="216"/>
                  </a:lnTo>
                  <a:lnTo>
                    <a:pt x="143" y="232"/>
                  </a:lnTo>
                  <a:lnTo>
                    <a:pt x="168" y="232"/>
                  </a:lnTo>
                  <a:lnTo>
                    <a:pt x="194" y="224"/>
                  </a:lnTo>
                  <a:lnTo>
                    <a:pt x="227" y="240"/>
                  </a:lnTo>
                  <a:lnTo>
                    <a:pt x="236" y="256"/>
                  </a:lnTo>
                  <a:lnTo>
                    <a:pt x="236" y="264"/>
                  </a:lnTo>
                  <a:lnTo>
                    <a:pt x="253" y="272"/>
                  </a:lnTo>
                  <a:lnTo>
                    <a:pt x="261" y="288"/>
                  </a:lnTo>
                  <a:lnTo>
                    <a:pt x="261" y="296"/>
                  </a:lnTo>
                  <a:lnTo>
                    <a:pt x="227" y="312"/>
                  </a:lnTo>
                  <a:lnTo>
                    <a:pt x="202" y="328"/>
                  </a:lnTo>
                  <a:lnTo>
                    <a:pt x="168" y="344"/>
                  </a:lnTo>
                  <a:lnTo>
                    <a:pt x="177" y="368"/>
                  </a:lnTo>
                  <a:lnTo>
                    <a:pt x="160" y="400"/>
                  </a:lnTo>
                  <a:lnTo>
                    <a:pt x="160" y="424"/>
                  </a:lnTo>
                  <a:lnTo>
                    <a:pt x="152" y="432"/>
                  </a:lnTo>
                  <a:lnTo>
                    <a:pt x="143" y="432"/>
                  </a:lnTo>
                  <a:lnTo>
                    <a:pt x="143" y="464"/>
                  </a:lnTo>
                  <a:lnTo>
                    <a:pt x="126" y="480"/>
                  </a:lnTo>
                  <a:lnTo>
                    <a:pt x="101" y="488"/>
                  </a:lnTo>
                  <a:lnTo>
                    <a:pt x="76" y="488"/>
                  </a:lnTo>
                  <a:lnTo>
                    <a:pt x="93" y="552"/>
                  </a:lnTo>
                  <a:lnTo>
                    <a:pt x="109" y="568"/>
                  </a:lnTo>
                  <a:lnTo>
                    <a:pt x="109" y="576"/>
                  </a:lnTo>
                  <a:lnTo>
                    <a:pt x="101" y="584"/>
                  </a:lnTo>
                  <a:lnTo>
                    <a:pt x="76" y="592"/>
                  </a:lnTo>
                  <a:lnTo>
                    <a:pt x="67" y="608"/>
                  </a:lnTo>
                  <a:lnTo>
                    <a:pt x="59" y="632"/>
                  </a:lnTo>
                  <a:lnTo>
                    <a:pt x="67" y="656"/>
                  </a:lnTo>
                  <a:lnTo>
                    <a:pt x="76" y="672"/>
                  </a:lnTo>
                  <a:lnTo>
                    <a:pt x="84" y="672"/>
                  </a:lnTo>
                  <a:lnTo>
                    <a:pt x="59" y="696"/>
                  </a:lnTo>
                  <a:lnTo>
                    <a:pt x="17" y="720"/>
                  </a:lnTo>
                  <a:lnTo>
                    <a:pt x="8" y="752"/>
                  </a:lnTo>
                  <a:lnTo>
                    <a:pt x="0" y="784"/>
                  </a:lnTo>
                  <a:lnTo>
                    <a:pt x="17" y="784"/>
                  </a:lnTo>
                  <a:lnTo>
                    <a:pt x="59" y="792"/>
                  </a:lnTo>
                  <a:lnTo>
                    <a:pt x="93" y="816"/>
                  </a:lnTo>
                  <a:lnTo>
                    <a:pt x="109" y="840"/>
                  </a:lnTo>
                  <a:lnTo>
                    <a:pt x="109" y="880"/>
                  </a:lnTo>
                  <a:lnTo>
                    <a:pt x="118" y="920"/>
                  </a:lnTo>
                  <a:lnTo>
                    <a:pt x="152" y="952"/>
                  </a:lnTo>
                  <a:lnTo>
                    <a:pt x="219" y="928"/>
                  </a:lnTo>
                  <a:lnTo>
                    <a:pt x="253" y="920"/>
                  </a:lnTo>
                  <a:lnTo>
                    <a:pt x="295" y="912"/>
                  </a:lnTo>
                  <a:lnTo>
                    <a:pt x="337" y="896"/>
                  </a:lnTo>
                  <a:lnTo>
                    <a:pt x="379" y="904"/>
                  </a:lnTo>
                  <a:lnTo>
                    <a:pt x="463" y="920"/>
                  </a:lnTo>
                  <a:lnTo>
                    <a:pt x="539" y="928"/>
                  </a:lnTo>
                  <a:lnTo>
                    <a:pt x="573" y="928"/>
                  </a:lnTo>
                  <a:lnTo>
                    <a:pt x="598" y="904"/>
                  </a:lnTo>
                  <a:lnTo>
                    <a:pt x="615" y="872"/>
                  </a:lnTo>
                  <a:lnTo>
                    <a:pt x="649" y="856"/>
                  </a:lnTo>
                  <a:lnTo>
                    <a:pt x="733" y="848"/>
                  </a:lnTo>
                  <a:lnTo>
                    <a:pt x="725" y="824"/>
                  </a:lnTo>
                  <a:lnTo>
                    <a:pt x="733" y="800"/>
                  </a:lnTo>
                  <a:lnTo>
                    <a:pt x="784" y="752"/>
                  </a:lnTo>
                  <a:lnTo>
                    <a:pt x="842" y="720"/>
                  </a:lnTo>
                  <a:lnTo>
                    <a:pt x="809" y="664"/>
                  </a:lnTo>
                  <a:lnTo>
                    <a:pt x="809" y="624"/>
                  </a:lnTo>
                  <a:lnTo>
                    <a:pt x="842" y="592"/>
                  </a:lnTo>
                  <a:lnTo>
                    <a:pt x="885" y="536"/>
                  </a:lnTo>
                  <a:lnTo>
                    <a:pt x="927" y="504"/>
                  </a:lnTo>
                  <a:lnTo>
                    <a:pt x="935" y="504"/>
                  </a:lnTo>
                  <a:lnTo>
                    <a:pt x="944" y="472"/>
                  </a:lnTo>
                  <a:lnTo>
                    <a:pt x="977" y="448"/>
                  </a:lnTo>
                  <a:lnTo>
                    <a:pt x="1019" y="440"/>
                  </a:lnTo>
                  <a:lnTo>
                    <a:pt x="1095" y="432"/>
                  </a:lnTo>
                  <a:lnTo>
                    <a:pt x="1196" y="376"/>
                  </a:lnTo>
                  <a:lnTo>
                    <a:pt x="1205" y="376"/>
                  </a:lnTo>
                  <a:lnTo>
                    <a:pt x="1205" y="368"/>
                  </a:lnTo>
                  <a:lnTo>
                    <a:pt x="1205" y="344"/>
                  </a:lnTo>
                  <a:lnTo>
                    <a:pt x="1180" y="352"/>
                  </a:lnTo>
                  <a:close/>
                </a:path>
              </a:pathLst>
            </a:custGeom>
            <a:solidFill>
              <a:srgbClr val="09B89D"/>
            </a:solidFill>
            <a:ln w="6350" cmpd="sng">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1" name="Freeform 8"/>
            <p:cNvSpPr>
              <a:spLocks/>
            </p:cNvSpPr>
            <p:nvPr>
              <p:custDataLst>
                <p:tags r:id="rId9"/>
              </p:custDataLst>
            </p:nvPr>
          </p:nvSpPr>
          <p:spPr bwMode="auto">
            <a:xfrm>
              <a:off x="1730" y="3408"/>
              <a:ext cx="421" cy="616"/>
            </a:xfrm>
            <a:custGeom>
              <a:avLst/>
              <a:gdLst>
                <a:gd name="T0" fmla="*/ 396 w 421"/>
                <a:gd name="T1" fmla="*/ 88 h 616"/>
                <a:gd name="T2" fmla="*/ 387 w 421"/>
                <a:gd name="T3" fmla="*/ 64 h 616"/>
                <a:gd name="T4" fmla="*/ 328 w 421"/>
                <a:gd name="T5" fmla="*/ 56 h 616"/>
                <a:gd name="T6" fmla="*/ 286 w 421"/>
                <a:gd name="T7" fmla="*/ 40 h 616"/>
                <a:gd name="T8" fmla="*/ 236 w 421"/>
                <a:gd name="T9" fmla="*/ 32 h 616"/>
                <a:gd name="T10" fmla="*/ 244 w 421"/>
                <a:gd name="T11" fmla="*/ 8 h 616"/>
                <a:gd name="T12" fmla="*/ 177 w 421"/>
                <a:gd name="T13" fmla="*/ 8 h 616"/>
                <a:gd name="T14" fmla="*/ 160 w 421"/>
                <a:gd name="T15" fmla="*/ 112 h 616"/>
                <a:gd name="T16" fmla="*/ 126 w 421"/>
                <a:gd name="T17" fmla="*/ 208 h 616"/>
                <a:gd name="T18" fmla="*/ 42 w 421"/>
                <a:gd name="T19" fmla="*/ 304 h 616"/>
                <a:gd name="T20" fmla="*/ 8 w 421"/>
                <a:gd name="T21" fmla="*/ 368 h 616"/>
                <a:gd name="T22" fmla="*/ 34 w 421"/>
                <a:gd name="T23" fmla="*/ 384 h 616"/>
                <a:gd name="T24" fmla="*/ 25 w 421"/>
                <a:gd name="T25" fmla="*/ 408 h 616"/>
                <a:gd name="T26" fmla="*/ 67 w 421"/>
                <a:gd name="T27" fmla="*/ 416 h 616"/>
                <a:gd name="T28" fmla="*/ 42 w 421"/>
                <a:gd name="T29" fmla="*/ 512 h 616"/>
                <a:gd name="T30" fmla="*/ 8 w 421"/>
                <a:gd name="T31" fmla="*/ 576 h 616"/>
                <a:gd name="T32" fmla="*/ 8 w 421"/>
                <a:gd name="T33" fmla="*/ 592 h 616"/>
                <a:gd name="T34" fmla="*/ 84 w 421"/>
                <a:gd name="T35" fmla="*/ 600 h 616"/>
                <a:gd name="T36" fmla="*/ 160 w 421"/>
                <a:gd name="T37" fmla="*/ 608 h 616"/>
                <a:gd name="T38" fmla="*/ 168 w 421"/>
                <a:gd name="T39" fmla="*/ 576 h 616"/>
                <a:gd name="T40" fmla="*/ 219 w 421"/>
                <a:gd name="T41" fmla="*/ 520 h 616"/>
                <a:gd name="T42" fmla="*/ 236 w 421"/>
                <a:gd name="T43" fmla="*/ 496 h 616"/>
                <a:gd name="T44" fmla="*/ 219 w 421"/>
                <a:gd name="T45" fmla="*/ 456 h 616"/>
                <a:gd name="T46" fmla="*/ 236 w 421"/>
                <a:gd name="T47" fmla="*/ 416 h 616"/>
                <a:gd name="T48" fmla="*/ 269 w 421"/>
                <a:gd name="T49" fmla="*/ 400 h 616"/>
                <a:gd name="T50" fmla="*/ 253 w 421"/>
                <a:gd name="T51" fmla="*/ 376 h 616"/>
                <a:gd name="T52" fmla="*/ 261 w 421"/>
                <a:gd name="T53" fmla="*/ 312 h 616"/>
                <a:gd name="T54" fmla="*/ 303 w 421"/>
                <a:gd name="T55" fmla="*/ 288 h 616"/>
                <a:gd name="T56" fmla="*/ 312 w 421"/>
                <a:gd name="T57" fmla="*/ 256 h 616"/>
                <a:gd name="T58" fmla="*/ 320 w 421"/>
                <a:gd name="T59" fmla="*/ 224 h 616"/>
                <a:gd name="T60" fmla="*/ 328 w 421"/>
                <a:gd name="T61" fmla="*/ 168 h 616"/>
                <a:gd name="T62" fmla="*/ 387 w 421"/>
                <a:gd name="T63" fmla="*/ 136 h 616"/>
                <a:gd name="T64" fmla="*/ 421 w 421"/>
                <a:gd name="T65" fmla="*/ 112 h 616"/>
                <a:gd name="T66" fmla="*/ 413 w 421"/>
                <a:gd name="T67" fmla="*/ 96 h 61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21" h="616">
                  <a:moveTo>
                    <a:pt x="413" y="96"/>
                  </a:moveTo>
                  <a:lnTo>
                    <a:pt x="396" y="88"/>
                  </a:lnTo>
                  <a:lnTo>
                    <a:pt x="396" y="80"/>
                  </a:lnTo>
                  <a:lnTo>
                    <a:pt x="387" y="64"/>
                  </a:lnTo>
                  <a:lnTo>
                    <a:pt x="354" y="48"/>
                  </a:lnTo>
                  <a:lnTo>
                    <a:pt x="328" y="56"/>
                  </a:lnTo>
                  <a:lnTo>
                    <a:pt x="303" y="56"/>
                  </a:lnTo>
                  <a:lnTo>
                    <a:pt x="286" y="40"/>
                  </a:lnTo>
                  <a:lnTo>
                    <a:pt x="253" y="40"/>
                  </a:lnTo>
                  <a:lnTo>
                    <a:pt x="236" y="32"/>
                  </a:lnTo>
                  <a:lnTo>
                    <a:pt x="244" y="24"/>
                  </a:lnTo>
                  <a:lnTo>
                    <a:pt x="244" y="8"/>
                  </a:lnTo>
                  <a:lnTo>
                    <a:pt x="227" y="0"/>
                  </a:lnTo>
                  <a:lnTo>
                    <a:pt x="177" y="8"/>
                  </a:lnTo>
                  <a:lnTo>
                    <a:pt x="177" y="40"/>
                  </a:lnTo>
                  <a:lnTo>
                    <a:pt x="160" y="112"/>
                  </a:lnTo>
                  <a:lnTo>
                    <a:pt x="143" y="144"/>
                  </a:lnTo>
                  <a:lnTo>
                    <a:pt x="126" y="208"/>
                  </a:lnTo>
                  <a:lnTo>
                    <a:pt x="92" y="256"/>
                  </a:lnTo>
                  <a:lnTo>
                    <a:pt x="42" y="304"/>
                  </a:lnTo>
                  <a:lnTo>
                    <a:pt x="17" y="352"/>
                  </a:lnTo>
                  <a:lnTo>
                    <a:pt x="8" y="368"/>
                  </a:lnTo>
                  <a:lnTo>
                    <a:pt x="17" y="376"/>
                  </a:lnTo>
                  <a:lnTo>
                    <a:pt x="34" y="384"/>
                  </a:lnTo>
                  <a:lnTo>
                    <a:pt x="25" y="400"/>
                  </a:lnTo>
                  <a:lnTo>
                    <a:pt x="25" y="408"/>
                  </a:lnTo>
                  <a:lnTo>
                    <a:pt x="34" y="416"/>
                  </a:lnTo>
                  <a:lnTo>
                    <a:pt x="67" y="416"/>
                  </a:lnTo>
                  <a:lnTo>
                    <a:pt x="42" y="480"/>
                  </a:lnTo>
                  <a:lnTo>
                    <a:pt x="42" y="512"/>
                  </a:lnTo>
                  <a:lnTo>
                    <a:pt x="25" y="544"/>
                  </a:lnTo>
                  <a:lnTo>
                    <a:pt x="8" y="576"/>
                  </a:lnTo>
                  <a:lnTo>
                    <a:pt x="0" y="592"/>
                  </a:lnTo>
                  <a:lnTo>
                    <a:pt x="8" y="592"/>
                  </a:lnTo>
                  <a:lnTo>
                    <a:pt x="50" y="592"/>
                  </a:lnTo>
                  <a:lnTo>
                    <a:pt x="84" y="600"/>
                  </a:lnTo>
                  <a:lnTo>
                    <a:pt x="126" y="616"/>
                  </a:lnTo>
                  <a:lnTo>
                    <a:pt x="160" y="608"/>
                  </a:lnTo>
                  <a:lnTo>
                    <a:pt x="168" y="576"/>
                  </a:lnTo>
                  <a:lnTo>
                    <a:pt x="177" y="544"/>
                  </a:lnTo>
                  <a:lnTo>
                    <a:pt x="219" y="520"/>
                  </a:lnTo>
                  <a:lnTo>
                    <a:pt x="244" y="496"/>
                  </a:lnTo>
                  <a:lnTo>
                    <a:pt x="236" y="496"/>
                  </a:lnTo>
                  <a:lnTo>
                    <a:pt x="227" y="480"/>
                  </a:lnTo>
                  <a:lnTo>
                    <a:pt x="219" y="456"/>
                  </a:lnTo>
                  <a:lnTo>
                    <a:pt x="227" y="432"/>
                  </a:lnTo>
                  <a:lnTo>
                    <a:pt x="236" y="416"/>
                  </a:lnTo>
                  <a:lnTo>
                    <a:pt x="261" y="408"/>
                  </a:lnTo>
                  <a:lnTo>
                    <a:pt x="269" y="400"/>
                  </a:lnTo>
                  <a:lnTo>
                    <a:pt x="269" y="392"/>
                  </a:lnTo>
                  <a:lnTo>
                    <a:pt x="253" y="376"/>
                  </a:lnTo>
                  <a:lnTo>
                    <a:pt x="236" y="312"/>
                  </a:lnTo>
                  <a:lnTo>
                    <a:pt x="261" y="312"/>
                  </a:lnTo>
                  <a:lnTo>
                    <a:pt x="286" y="304"/>
                  </a:lnTo>
                  <a:lnTo>
                    <a:pt x="303" y="288"/>
                  </a:lnTo>
                  <a:lnTo>
                    <a:pt x="303" y="256"/>
                  </a:lnTo>
                  <a:lnTo>
                    <a:pt x="312" y="256"/>
                  </a:lnTo>
                  <a:lnTo>
                    <a:pt x="320" y="248"/>
                  </a:lnTo>
                  <a:lnTo>
                    <a:pt x="320" y="224"/>
                  </a:lnTo>
                  <a:lnTo>
                    <a:pt x="337" y="192"/>
                  </a:lnTo>
                  <a:lnTo>
                    <a:pt x="328" y="168"/>
                  </a:lnTo>
                  <a:lnTo>
                    <a:pt x="362" y="152"/>
                  </a:lnTo>
                  <a:lnTo>
                    <a:pt x="387" y="136"/>
                  </a:lnTo>
                  <a:lnTo>
                    <a:pt x="421" y="120"/>
                  </a:lnTo>
                  <a:lnTo>
                    <a:pt x="421" y="112"/>
                  </a:lnTo>
                  <a:lnTo>
                    <a:pt x="413" y="96"/>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2" name="Freeform 9"/>
            <p:cNvSpPr>
              <a:spLocks/>
            </p:cNvSpPr>
            <p:nvPr>
              <p:custDataLst>
                <p:tags r:id="rId10"/>
              </p:custDataLst>
            </p:nvPr>
          </p:nvSpPr>
          <p:spPr bwMode="auto">
            <a:xfrm>
              <a:off x="2117" y="1888"/>
              <a:ext cx="396" cy="408"/>
            </a:xfrm>
            <a:custGeom>
              <a:avLst/>
              <a:gdLst>
                <a:gd name="T0" fmla="*/ 363 w 396"/>
                <a:gd name="T1" fmla="*/ 160 h 408"/>
                <a:gd name="T2" fmla="*/ 354 w 396"/>
                <a:gd name="T3" fmla="*/ 136 h 408"/>
                <a:gd name="T4" fmla="*/ 329 w 396"/>
                <a:gd name="T5" fmla="*/ 120 h 408"/>
                <a:gd name="T6" fmla="*/ 295 w 396"/>
                <a:gd name="T7" fmla="*/ 144 h 408"/>
                <a:gd name="T8" fmla="*/ 262 w 396"/>
                <a:gd name="T9" fmla="*/ 96 h 408"/>
                <a:gd name="T10" fmla="*/ 278 w 396"/>
                <a:gd name="T11" fmla="*/ 80 h 408"/>
                <a:gd name="T12" fmla="*/ 278 w 396"/>
                <a:gd name="T13" fmla="*/ 64 h 408"/>
                <a:gd name="T14" fmla="*/ 312 w 396"/>
                <a:gd name="T15" fmla="*/ 64 h 408"/>
                <a:gd name="T16" fmla="*/ 321 w 396"/>
                <a:gd name="T17" fmla="*/ 48 h 408"/>
                <a:gd name="T18" fmla="*/ 329 w 396"/>
                <a:gd name="T19" fmla="*/ 32 h 408"/>
                <a:gd name="T20" fmla="*/ 346 w 396"/>
                <a:gd name="T21" fmla="*/ 24 h 408"/>
                <a:gd name="T22" fmla="*/ 354 w 396"/>
                <a:gd name="T23" fmla="*/ 0 h 408"/>
                <a:gd name="T24" fmla="*/ 329 w 396"/>
                <a:gd name="T25" fmla="*/ 0 h 408"/>
                <a:gd name="T26" fmla="*/ 304 w 396"/>
                <a:gd name="T27" fmla="*/ 8 h 408"/>
                <a:gd name="T28" fmla="*/ 262 w 396"/>
                <a:gd name="T29" fmla="*/ 8 h 408"/>
                <a:gd name="T30" fmla="*/ 253 w 396"/>
                <a:gd name="T31" fmla="*/ 32 h 408"/>
                <a:gd name="T32" fmla="*/ 219 w 396"/>
                <a:gd name="T33" fmla="*/ 56 h 408"/>
                <a:gd name="T34" fmla="*/ 219 w 396"/>
                <a:gd name="T35" fmla="*/ 80 h 408"/>
                <a:gd name="T36" fmla="*/ 186 w 396"/>
                <a:gd name="T37" fmla="*/ 96 h 408"/>
                <a:gd name="T38" fmla="*/ 127 w 396"/>
                <a:gd name="T39" fmla="*/ 72 h 408"/>
                <a:gd name="T40" fmla="*/ 93 w 396"/>
                <a:gd name="T41" fmla="*/ 104 h 408"/>
                <a:gd name="T42" fmla="*/ 110 w 396"/>
                <a:gd name="T43" fmla="*/ 136 h 408"/>
                <a:gd name="T44" fmla="*/ 76 w 396"/>
                <a:gd name="T45" fmla="*/ 160 h 408"/>
                <a:gd name="T46" fmla="*/ 110 w 396"/>
                <a:gd name="T47" fmla="*/ 192 h 408"/>
                <a:gd name="T48" fmla="*/ 152 w 396"/>
                <a:gd name="T49" fmla="*/ 208 h 408"/>
                <a:gd name="T50" fmla="*/ 144 w 396"/>
                <a:gd name="T51" fmla="*/ 224 h 408"/>
                <a:gd name="T52" fmla="*/ 118 w 396"/>
                <a:gd name="T53" fmla="*/ 224 h 408"/>
                <a:gd name="T54" fmla="*/ 102 w 396"/>
                <a:gd name="T55" fmla="*/ 256 h 408"/>
                <a:gd name="T56" fmla="*/ 51 w 396"/>
                <a:gd name="T57" fmla="*/ 272 h 408"/>
                <a:gd name="T58" fmla="*/ 51 w 396"/>
                <a:gd name="T59" fmla="*/ 304 h 408"/>
                <a:gd name="T60" fmla="*/ 9 w 396"/>
                <a:gd name="T61" fmla="*/ 312 h 408"/>
                <a:gd name="T62" fmla="*/ 26 w 396"/>
                <a:gd name="T63" fmla="*/ 328 h 408"/>
                <a:gd name="T64" fmla="*/ 0 w 396"/>
                <a:gd name="T65" fmla="*/ 368 h 408"/>
                <a:gd name="T66" fmla="*/ 26 w 396"/>
                <a:gd name="T67" fmla="*/ 376 h 408"/>
                <a:gd name="T68" fmla="*/ 26 w 396"/>
                <a:gd name="T69" fmla="*/ 400 h 408"/>
                <a:gd name="T70" fmla="*/ 59 w 396"/>
                <a:gd name="T71" fmla="*/ 408 h 408"/>
                <a:gd name="T72" fmla="*/ 160 w 396"/>
                <a:gd name="T73" fmla="*/ 408 h 408"/>
                <a:gd name="T74" fmla="*/ 228 w 396"/>
                <a:gd name="T75" fmla="*/ 376 h 408"/>
                <a:gd name="T76" fmla="*/ 287 w 396"/>
                <a:gd name="T77" fmla="*/ 376 h 408"/>
                <a:gd name="T78" fmla="*/ 329 w 396"/>
                <a:gd name="T79" fmla="*/ 392 h 408"/>
                <a:gd name="T80" fmla="*/ 329 w 396"/>
                <a:gd name="T81" fmla="*/ 360 h 408"/>
                <a:gd name="T82" fmla="*/ 354 w 396"/>
                <a:gd name="T83" fmla="*/ 328 h 408"/>
                <a:gd name="T84" fmla="*/ 371 w 396"/>
                <a:gd name="T85" fmla="*/ 304 h 408"/>
                <a:gd name="T86" fmla="*/ 388 w 396"/>
                <a:gd name="T87" fmla="*/ 232 h 408"/>
                <a:gd name="T88" fmla="*/ 380 w 396"/>
                <a:gd name="T89" fmla="*/ 208 h 408"/>
                <a:gd name="T90" fmla="*/ 371 w 396"/>
                <a:gd name="T91" fmla="*/ 176 h 408"/>
                <a:gd name="T92" fmla="*/ 396 w 396"/>
                <a:gd name="T93" fmla="*/ 168 h 408"/>
                <a:gd name="T94" fmla="*/ 380 w 396"/>
                <a:gd name="T95" fmla="*/ 160 h 408"/>
                <a:gd name="T96" fmla="*/ 363 w 396"/>
                <a:gd name="T97" fmla="*/ 160 h 40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96" h="408">
                  <a:moveTo>
                    <a:pt x="363" y="160"/>
                  </a:moveTo>
                  <a:lnTo>
                    <a:pt x="354" y="136"/>
                  </a:lnTo>
                  <a:lnTo>
                    <a:pt x="329" y="120"/>
                  </a:lnTo>
                  <a:lnTo>
                    <a:pt x="295" y="144"/>
                  </a:lnTo>
                  <a:lnTo>
                    <a:pt x="262" y="96"/>
                  </a:lnTo>
                  <a:lnTo>
                    <a:pt x="278" y="80"/>
                  </a:lnTo>
                  <a:lnTo>
                    <a:pt x="278" y="64"/>
                  </a:lnTo>
                  <a:lnTo>
                    <a:pt x="312" y="64"/>
                  </a:lnTo>
                  <a:lnTo>
                    <a:pt x="321" y="48"/>
                  </a:lnTo>
                  <a:lnTo>
                    <a:pt x="329" y="32"/>
                  </a:lnTo>
                  <a:lnTo>
                    <a:pt x="346" y="24"/>
                  </a:lnTo>
                  <a:lnTo>
                    <a:pt x="354" y="0"/>
                  </a:lnTo>
                  <a:lnTo>
                    <a:pt x="329" y="0"/>
                  </a:lnTo>
                  <a:lnTo>
                    <a:pt x="304" y="8"/>
                  </a:lnTo>
                  <a:lnTo>
                    <a:pt x="262" y="8"/>
                  </a:lnTo>
                  <a:lnTo>
                    <a:pt x="253" y="32"/>
                  </a:lnTo>
                  <a:lnTo>
                    <a:pt x="219" y="56"/>
                  </a:lnTo>
                  <a:lnTo>
                    <a:pt x="219" y="80"/>
                  </a:lnTo>
                  <a:lnTo>
                    <a:pt x="186" y="96"/>
                  </a:lnTo>
                  <a:lnTo>
                    <a:pt x="127" y="72"/>
                  </a:lnTo>
                  <a:lnTo>
                    <a:pt x="93" y="104"/>
                  </a:lnTo>
                  <a:lnTo>
                    <a:pt x="110" y="136"/>
                  </a:lnTo>
                  <a:lnTo>
                    <a:pt x="76" y="160"/>
                  </a:lnTo>
                  <a:lnTo>
                    <a:pt x="110" y="192"/>
                  </a:lnTo>
                  <a:lnTo>
                    <a:pt x="152" y="208"/>
                  </a:lnTo>
                  <a:lnTo>
                    <a:pt x="144" y="224"/>
                  </a:lnTo>
                  <a:lnTo>
                    <a:pt x="118" y="224"/>
                  </a:lnTo>
                  <a:lnTo>
                    <a:pt x="102" y="256"/>
                  </a:lnTo>
                  <a:lnTo>
                    <a:pt x="51" y="272"/>
                  </a:lnTo>
                  <a:lnTo>
                    <a:pt x="51" y="304"/>
                  </a:lnTo>
                  <a:lnTo>
                    <a:pt x="9" y="312"/>
                  </a:lnTo>
                  <a:lnTo>
                    <a:pt x="26" y="328"/>
                  </a:lnTo>
                  <a:lnTo>
                    <a:pt x="0" y="368"/>
                  </a:lnTo>
                  <a:lnTo>
                    <a:pt x="26" y="376"/>
                  </a:lnTo>
                  <a:lnTo>
                    <a:pt x="26" y="400"/>
                  </a:lnTo>
                  <a:lnTo>
                    <a:pt x="59" y="408"/>
                  </a:lnTo>
                  <a:lnTo>
                    <a:pt x="160" y="408"/>
                  </a:lnTo>
                  <a:lnTo>
                    <a:pt x="228" y="376"/>
                  </a:lnTo>
                  <a:lnTo>
                    <a:pt x="287" y="376"/>
                  </a:lnTo>
                  <a:lnTo>
                    <a:pt x="329" y="392"/>
                  </a:lnTo>
                  <a:lnTo>
                    <a:pt x="329" y="360"/>
                  </a:lnTo>
                  <a:lnTo>
                    <a:pt x="354" y="328"/>
                  </a:lnTo>
                  <a:lnTo>
                    <a:pt x="371" y="304"/>
                  </a:lnTo>
                  <a:lnTo>
                    <a:pt x="388" y="232"/>
                  </a:lnTo>
                  <a:lnTo>
                    <a:pt x="380" y="208"/>
                  </a:lnTo>
                  <a:lnTo>
                    <a:pt x="371" y="176"/>
                  </a:lnTo>
                  <a:lnTo>
                    <a:pt x="396" y="168"/>
                  </a:lnTo>
                  <a:lnTo>
                    <a:pt x="380" y="160"/>
                  </a:lnTo>
                  <a:lnTo>
                    <a:pt x="363" y="160"/>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3" name="Freeform 10"/>
            <p:cNvSpPr>
              <a:spLocks/>
            </p:cNvSpPr>
            <p:nvPr>
              <p:custDataLst>
                <p:tags r:id="rId11"/>
              </p:custDataLst>
            </p:nvPr>
          </p:nvSpPr>
          <p:spPr bwMode="auto">
            <a:xfrm>
              <a:off x="2379" y="1912"/>
              <a:ext cx="202" cy="144"/>
            </a:xfrm>
            <a:custGeom>
              <a:avLst/>
              <a:gdLst>
                <a:gd name="T0" fmla="*/ 185 w 202"/>
                <a:gd name="T1" fmla="*/ 72 h 144"/>
                <a:gd name="T2" fmla="*/ 177 w 202"/>
                <a:gd name="T3" fmla="*/ 48 h 144"/>
                <a:gd name="T4" fmla="*/ 177 w 202"/>
                <a:gd name="T5" fmla="*/ 16 h 144"/>
                <a:gd name="T6" fmla="*/ 151 w 202"/>
                <a:gd name="T7" fmla="*/ 0 h 144"/>
                <a:gd name="T8" fmla="*/ 126 w 202"/>
                <a:gd name="T9" fmla="*/ 0 h 144"/>
                <a:gd name="T10" fmla="*/ 109 w 202"/>
                <a:gd name="T11" fmla="*/ 0 h 144"/>
                <a:gd name="T12" fmla="*/ 84 w 202"/>
                <a:gd name="T13" fmla="*/ 0 h 144"/>
                <a:gd name="T14" fmla="*/ 84 w 202"/>
                <a:gd name="T15" fmla="*/ 8 h 144"/>
                <a:gd name="T16" fmla="*/ 84 w 202"/>
                <a:gd name="T17" fmla="*/ 0 h 144"/>
                <a:gd name="T18" fmla="*/ 67 w 202"/>
                <a:gd name="T19" fmla="*/ 8 h 144"/>
                <a:gd name="T20" fmla="*/ 59 w 202"/>
                <a:gd name="T21" fmla="*/ 24 h 144"/>
                <a:gd name="T22" fmla="*/ 50 w 202"/>
                <a:gd name="T23" fmla="*/ 40 h 144"/>
                <a:gd name="T24" fmla="*/ 16 w 202"/>
                <a:gd name="T25" fmla="*/ 40 h 144"/>
                <a:gd name="T26" fmla="*/ 16 w 202"/>
                <a:gd name="T27" fmla="*/ 56 h 144"/>
                <a:gd name="T28" fmla="*/ 0 w 202"/>
                <a:gd name="T29" fmla="*/ 72 h 144"/>
                <a:gd name="T30" fmla="*/ 33 w 202"/>
                <a:gd name="T31" fmla="*/ 120 h 144"/>
                <a:gd name="T32" fmla="*/ 67 w 202"/>
                <a:gd name="T33" fmla="*/ 96 h 144"/>
                <a:gd name="T34" fmla="*/ 92 w 202"/>
                <a:gd name="T35" fmla="*/ 112 h 144"/>
                <a:gd name="T36" fmla="*/ 101 w 202"/>
                <a:gd name="T37" fmla="*/ 136 h 144"/>
                <a:gd name="T38" fmla="*/ 118 w 202"/>
                <a:gd name="T39" fmla="*/ 136 h 144"/>
                <a:gd name="T40" fmla="*/ 134 w 202"/>
                <a:gd name="T41" fmla="*/ 144 h 144"/>
                <a:gd name="T42" fmla="*/ 143 w 202"/>
                <a:gd name="T43" fmla="*/ 144 h 144"/>
                <a:gd name="T44" fmla="*/ 168 w 202"/>
                <a:gd name="T45" fmla="*/ 128 h 144"/>
                <a:gd name="T46" fmla="*/ 193 w 202"/>
                <a:gd name="T47" fmla="*/ 120 h 144"/>
                <a:gd name="T48" fmla="*/ 202 w 202"/>
                <a:gd name="T49" fmla="*/ 88 h 144"/>
                <a:gd name="T50" fmla="*/ 185 w 202"/>
                <a:gd name="T51" fmla="*/ 72 h 14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02" h="144">
                  <a:moveTo>
                    <a:pt x="185" y="72"/>
                  </a:moveTo>
                  <a:lnTo>
                    <a:pt x="177" y="48"/>
                  </a:lnTo>
                  <a:lnTo>
                    <a:pt x="177" y="16"/>
                  </a:lnTo>
                  <a:lnTo>
                    <a:pt x="151" y="0"/>
                  </a:lnTo>
                  <a:lnTo>
                    <a:pt x="126" y="0"/>
                  </a:lnTo>
                  <a:lnTo>
                    <a:pt x="109" y="0"/>
                  </a:lnTo>
                  <a:lnTo>
                    <a:pt x="84" y="0"/>
                  </a:lnTo>
                  <a:lnTo>
                    <a:pt x="84" y="8"/>
                  </a:lnTo>
                  <a:lnTo>
                    <a:pt x="84" y="0"/>
                  </a:lnTo>
                  <a:lnTo>
                    <a:pt x="67" y="8"/>
                  </a:lnTo>
                  <a:lnTo>
                    <a:pt x="59" y="24"/>
                  </a:lnTo>
                  <a:lnTo>
                    <a:pt x="50" y="40"/>
                  </a:lnTo>
                  <a:lnTo>
                    <a:pt x="16" y="40"/>
                  </a:lnTo>
                  <a:lnTo>
                    <a:pt x="16" y="56"/>
                  </a:lnTo>
                  <a:lnTo>
                    <a:pt x="0" y="72"/>
                  </a:lnTo>
                  <a:lnTo>
                    <a:pt x="33" y="120"/>
                  </a:lnTo>
                  <a:lnTo>
                    <a:pt x="67" y="96"/>
                  </a:lnTo>
                  <a:lnTo>
                    <a:pt x="92" y="112"/>
                  </a:lnTo>
                  <a:lnTo>
                    <a:pt x="101" y="136"/>
                  </a:lnTo>
                  <a:lnTo>
                    <a:pt x="118" y="136"/>
                  </a:lnTo>
                  <a:lnTo>
                    <a:pt x="134" y="144"/>
                  </a:lnTo>
                  <a:lnTo>
                    <a:pt x="143" y="144"/>
                  </a:lnTo>
                  <a:lnTo>
                    <a:pt x="168" y="128"/>
                  </a:lnTo>
                  <a:lnTo>
                    <a:pt x="193" y="120"/>
                  </a:lnTo>
                  <a:lnTo>
                    <a:pt x="202" y="88"/>
                  </a:lnTo>
                  <a:lnTo>
                    <a:pt x="185" y="7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4" name="Freeform 11"/>
            <p:cNvSpPr>
              <a:spLocks/>
            </p:cNvSpPr>
            <p:nvPr>
              <p:custDataLst>
                <p:tags r:id="rId12"/>
              </p:custDataLst>
            </p:nvPr>
          </p:nvSpPr>
          <p:spPr bwMode="auto">
            <a:xfrm>
              <a:off x="2429" y="1536"/>
              <a:ext cx="666" cy="1016"/>
            </a:xfrm>
            <a:custGeom>
              <a:avLst/>
              <a:gdLst>
                <a:gd name="T0" fmla="*/ 337 w 666"/>
                <a:gd name="T1" fmla="*/ 96 h 1016"/>
                <a:gd name="T2" fmla="*/ 421 w 666"/>
                <a:gd name="T3" fmla="*/ 24 h 1016"/>
                <a:gd name="T4" fmla="*/ 270 w 666"/>
                <a:gd name="T5" fmla="*/ 24 h 1016"/>
                <a:gd name="T6" fmla="*/ 253 w 666"/>
                <a:gd name="T7" fmla="*/ 80 h 1016"/>
                <a:gd name="T8" fmla="*/ 202 w 666"/>
                <a:gd name="T9" fmla="*/ 136 h 1016"/>
                <a:gd name="T10" fmla="*/ 169 w 666"/>
                <a:gd name="T11" fmla="*/ 200 h 1016"/>
                <a:gd name="T12" fmla="*/ 202 w 666"/>
                <a:gd name="T13" fmla="*/ 232 h 1016"/>
                <a:gd name="T14" fmla="*/ 169 w 666"/>
                <a:gd name="T15" fmla="*/ 320 h 1016"/>
                <a:gd name="T16" fmla="*/ 186 w 666"/>
                <a:gd name="T17" fmla="*/ 344 h 1016"/>
                <a:gd name="T18" fmla="*/ 228 w 666"/>
                <a:gd name="T19" fmla="*/ 320 h 1016"/>
                <a:gd name="T20" fmla="*/ 186 w 666"/>
                <a:gd name="T21" fmla="*/ 424 h 1016"/>
                <a:gd name="T22" fmla="*/ 236 w 666"/>
                <a:gd name="T23" fmla="*/ 464 h 1016"/>
                <a:gd name="T24" fmla="*/ 303 w 666"/>
                <a:gd name="T25" fmla="*/ 448 h 1016"/>
                <a:gd name="T26" fmla="*/ 287 w 666"/>
                <a:gd name="T27" fmla="*/ 496 h 1016"/>
                <a:gd name="T28" fmla="*/ 329 w 666"/>
                <a:gd name="T29" fmla="*/ 576 h 1016"/>
                <a:gd name="T30" fmla="*/ 295 w 666"/>
                <a:gd name="T31" fmla="*/ 648 h 1016"/>
                <a:gd name="T32" fmla="*/ 202 w 666"/>
                <a:gd name="T33" fmla="*/ 624 h 1016"/>
                <a:gd name="T34" fmla="*/ 160 w 666"/>
                <a:gd name="T35" fmla="*/ 680 h 1016"/>
                <a:gd name="T36" fmla="*/ 211 w 666"/>
                <a:gd name="T37" fmla="*/ 744 h 1016"/>
                <a:gd name="T38" fmla="*/ 101 w 666"/>
                <a:gd name="T39" fmla="*/ 776 h 1016"/>
                <a:gd name="T40" fmla="*/ 101 w 666"/>
                <a:gd name="T41" fmla="*/ 808 h 1016"/>
                <a:gd name="T42" fmla="*/ 169 w 666"/>
                <a:gd name="T43" fmla="*/ 824 h 1016"/>
                <a:gd name="T44" fmla="*/ 219 w 666"/>
                <a:gd name="T45" fmla="*/ 864 h 1016"/>
                <a:gd name="T46" fmla="*/ 295 w 666"/>
                <a:gd name="T47" fmla="*/ 848 h 1016"/>
                <a:gd name="T48" fmla="*/ 228 w 666"/>
                <a:gd name="T49" fmla="*/ 896 h 1016"/>
                <a:gd name="T50" fmla="*/ 127 w 666"/>
                <a:gd name="T51" fmla="*/ 904 h 1016"/>
                <a:gd name="T52" fmla="*/ 0 w 666"/>
                <a:gd name="T53" fmla="*/ 984 h 1016"/>
                <a:gd name="T54" fmla="*/ 51 w 666"/>
                <a:gd name="T55" fmla="*/ 1016 h 1016"/>
                <a:gd name="T56" fmla="*/ 93 w 666"/>
                <a:gd name="T57" fmla="*/ 976 h 1016"/>
                <a:gd name="T58" fmla="*/ 219 w 666"/>
                <a:gd name="T59" fmla="*/ 960 h 1016"/>
                <a:gd name="T60" fmla="*/ 337 w 666"/>
                <a:gd name="T61" fmla="*/ 984 h 1016"/>
                <a:gd name="T62" fmla="*/ 421 w 666"/>
                <a:gd name="T63" fmla="*/ 968 h 1016"/>
                <a:gd name="T64" fmla="*/ 573 w 666"/>
                <a:gd name="T65" fmla="*/ 968 h 1016"/>
                <a:gd name="T66" fmla="*/ 624 w 666"/>
                <a:gd name="T67" fmla="*/ 928 h 1016"/>
                <a:gd name="T68" fmla="*/ 590 w 666"/>
                <a:gd name="T69" fmla="*/ 872 h 1016"/>
                <a:gd name="T70" fmla="*/ 649 w 666"/>
                <a:gd name="T71" fmla="*/ 840 h 1016"/>
                <a:gd name="T72" fmla="*/ 666 w 666"/>
                <a:gd name="T73" fmla="*/ 760 h 1016"/>
                <a:gd name="T74" fmla="*/ 539 w 666"/>
                <a:gd name="T75" fmla="*/ 728 h 1016"/>
                <a:gd name="T76" fmla="*/ 523 w 666"/>
                <a:gd name="T77" fmla="*/ 632 h 1016"/>
                <a:gd name="T78" fmla="*/ 539 w 666"/>
                <a:gd name="T79" fmla="*/ 576 h 1016"/>
                <a:gd name="T80" fmla="*/ 480 w 666"/>
                <a:gd name="T81" fmla="*/ 512 h 1016"/>
                <a:gd name="T82" fmla="*/ 455 w 666"/>
                <a:gd name="T83" fmla="*/ 392 h 1016"/>
                <a:gd name="T84" fmla="*/ 413 w 666"/>
                <a:gd name="T85" fmla="*/ 344 h 1016"/>
                <a:gd name="T86" fmla="*/ 337 w 666"/>
                <a:gd name="T87" fmla="*/ 320 h 1016"/>
                <a:gd name="T88" fmla="*/ 388 w 666"/>
                <a:gd name="T89" fmla="*/ 280 h 1016"/>
                <a:gd name="T90" fmla="*/ 447 w 666"/>
                <a:gd name="T91" fmla="*/ 224 h 1016"/>
                <a:gd name="T92" fmla="*/ 489 w 666"/>
                <a:gd name="T93" fmla="*/ 144 h 1016"/>
                <a:gd name="T94" fmla="*/ 379 w 666"/>
                <a:gd name="T95" fmla="*/ 120 h 101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666" h="1016">
                  <a:moveTo>
                    <a:pt x="329" y="128"/>
                  </a:moveTo>
                  <a:lnTo>
                    <a:pt x="354" y="104"/>
                  </a:lnTo>
                  <a:lnTo>
                    <a:pt x="337" y="96"/>
                  </a:lnTo>
                  <a:lnTo>
                    <a:pt x="388" y="64"/>
                  </a:lnTo>
                  <a:lnTo>
                    <a:pt x="413" y="56"/>
                  </a:lnTo>
                  <a:lnTo>
                    <a:pt x="421" y="24"/>
                  </a:lnTo>
                  <a:lnTo>
                    <a:pt x="320" y="16"/>
                  </a:lnTo>
                  <a:lnTo>
                    <a:pt x="287" y="0"/>
                  </a:lnTo>
                  <a:lnTo>
                    <a:pt x="270" y="24"/>
                  </a:lnTo>
                  <a:lnTo>
                    <a:pt x="253" y="40"/>
                  </a:lnTo>
                  <a:lnTo>
                    <a:pt x="245" y="56"/>
                  </a:lnTo>
                  <a:lnTo>
                    <a:pt x="253" y="80"/>
                  </a:lnTo>
                  <a:lnTo>
                    <a:pt x="219" y="88"/>
                  </a:lnTo>
                  <a:lnTo>
                    <a:pt x="202" y="104"/>
                  </a:lnTo>
                  <a:lnTo>
                    <a:pt x="202" y="136"/>
                  </a:lnTo>
                  <a:lnTo>
                    <a:pt x="202" y="160"/>
                  </a:lnTo>
                  <a:lnTo>
                    <a:pt x="186" y="184"/>
                  </a:lnTo>
                  <a:lnTo>
                    <a:pt x="169" y="200"/>
                  </a:lnTo>
                  <a:lnTo>
                    <a:pt x="135" y="248"/>
                  </a:lnTo>
                  <a:lnTo>
                    <a:pt x="160" y="256"/>
                  </a:lnTo>
                  <a:lnTo>
                    <a:pt x="202" y="232"/>
                  </a:lnTo>
                  <a:lnTo>
                    <a:pt x="186" y="264"/>
                  </a:lnTo>
                  <a:lnTo>
                    <a:pt x="177" y="296"/>
                  </a:lnTo>
                  <a:lnTo>
                    <a:pt x="169" y="320"/>
                  </a:lnTo>
                  <a:lnTo>
                    <a:pt x="143" y="376"/>
                  </a:lnTo>
                  <a:lnTo>
                    <a:pt x="169" y="376"/>
                  </a:lnTo>
                  <a:lnTo>
                    <a:pt x="186" y="344"/>
                  </a:lnTo>
                  <a:lnTo>
                    <a:pt x="202" y="304"/>
                  </a:lnTo>
                  <a:lnTo>
                    <a:pt x="211" y="328"/>
                  </a:lnTo>
                  <a:lnTo>
                    <a:pt x="228" y="320"/>
                  </a:lnTo>
                  <a:lnTo>
                    <a:pt x="219" y="344"/>
                  </a:lnTo>
                  <a:lnTo>
                    <a:pt x="228" y="360"/>
                  </a:lnTo>
                  <a:lnTo>
                    <a:pt x="186" y="424"/>
                  </a:lnTo>
                  <a:lnTo>
                    <a:pt x="194" y="472"/>
                  </a:lnTo>
                  <a:lnTo>
                    <a:pt x="202" y="440"/>
                  </a:lnTo>
                  <a:lnTo>
                    <a:pt x="236" y="464"/>
                  </a:lnTo>
                  <a:lnTo>
                    <a:pt x="253" y="456"/>
                  </a:lnTo>
                  <a:lnTo>
                    <a:pt x="278" y="464"/>
                  </a:lnTo>
                  <a:lnTo>
                    <a:pt x="303" y="448"/>
                  </a:lnTo>
                  <a:lnTo>
                    <a:pt x="329" y="456"/>
                  </a:lnTo>
                  <a:lnTo>
                    <a:pt x="295" y="480"/>
                  </a:lnTo>
                  <a:lnTo>
                    <a:pt x="287" y="496"/>
                  </a:lnTo>
                  <a:lnTo>
                    <a:pt x="312" y="544"/>
                  </a:lnTo>
                  <a:lnTo>
                    <a:pt x="329" y="544"/>
                  </a:lnTo>
                  <a:lnTo>
                    <a:pt x="329" y="576"/>
                  </a:lnTo>
                  <a:lnTo>
                    <a:pt x="320" y="576"/>
                  </a:lnTo>
                  <a:lnTo>
                    <a:pt x="312" y="632"/>
                  </a:lnTo>
                  <a:lnTo>
                    <a:pt x="295" y="648"/>
                  </a:lnTo>
                  <a:lnTo>
                    <a:pt x="287" y="640"/>
                  </a:lnTo>
                  <a:lnTo>
                    <a:pt x="236" y="640"/>
                  </a:lnTo>
                  <a:lnTo>
                    <a:pt x="202" y="624"/>
                  </a:lnTo>
                  <a:lnTo>
                    <a:pt x="186" y="632"/>
                  </a:lnTo>
                  <a:lnTo>
                    <a:pt x="202" y="648"/>
                  </a:lnTo>
                  <a:lnTo>
                    <a:pt x="160" y="680"/>
                  </a:lnTo>
                  <a:lnTo>
                    <a:pt x="177" y="688"/>
                  </a:lnTo>
                  <a:lnTo>
                    <a:pt x="202" y="680"/>
                  </a:lnTo>
                  <a:lnTo>
                    <a:pt x="211" y="744"/>
                  </a:lnTo>
                  <a:lnTo>
                    <a:pt x="169" y="760"/>
                  </a:lnTo>
                  <a:lnTo>
                    <a:pt x="143" y="768"/>
                  </a:lnTo>
                  <a:lnTo>
                    <a:pt x="101" y="776"/>
                  </a:lnTo>
                  <a:lnTo>
                    <a:pt x="84" y="784"/>
                  </a:lnTo>
                  <a:lnTo>
                    <a:pt x="93" y="792"/>
                  </a:lnTo>
                  <a:lnTo>
                    <a:pt x="101" y="808"/>
                  </a:lnTo>
                  <a:lnTo>
                    <a:pt x="135" y="824"/>
                  </a:lnTo>
                  <a:lnTo>
                    <a:pt x="152" y="808"/>
                  </a:lnTo>
                  <a:lnTo>
                    <a:pt x="169" y="824"/>
                  </a:lnTo>
                  <a:lnTo>
                    <a:pt x="160" y="840"/>
                  </a:lnTo>
                  <a:lnTo>
                    <a:pt x="194" y="840"/>
                  </a:lnTo>
                  <a:lnTo>
                    <a:pt x="219" y="864"/>
                  </a:lnTo>
                  <a:lnTo>
                    <a:pt x="261" y="864"/>
                  </a:lnTo>
                  <a:lnTo>
                    <a:pt x="278" y="856"/>
                  </a:lnTo>
                  <a:lnTo>
                    <a:pt x="295" y="848"/>
                  </a:lnTo>
                  <a:lnTo>
                    <a:pt x="270" y="872"/>
                  </a:lnTo>
                  <a:lnTo>
                    <a:pt x="261" y="888"/>
                  </a:lnTo>
                  <a:lnTo>
                    <a:pt x="228" y="896"/>
                  </a:lnTo>
                  <a:lnTo>
                    <a:pt x="160" y="888"/>
                  </a:lnTo>
                  <a:lnTo>
                    <a:pt x="152" y="896"/>
                  </a:lnTo>
                  <a:lnTo>
                    <a:pt x="127" y="904"/>
                  </a:lnTo>
                  <a:lnTo>
                    <a:pt x="110" y="928"/>
                  </a:lnTo>
                  <a:lnTo>
                    <a:pt x="42" y="976"/>
                  </a:lnTo>
                  <a:lnTo>
                    <a:pt x="0" y="984"/>
                  </a:lnTo>
                  <a:lnTo>
                    <a:pt x="9" y="992"/>
                  </a:lnTo>
                  <a:lnTo>
                    <a:pt x="34" y="992"/>
                  </a:lnTo>
                  <a:lnTo>
                    <a:pt x="51" y="1016"/>
                  </a:lnTo>
                  <a:lnTo>
                    <a:pt x="68" y="1008"/>
                  </a:lnTo>
                  <a:lnTo>
                    <a:pt x="68" y="992"/>
                  </a:lnTo>
                  <a:lnTo>
                    <a:pt x="93" y="976"/>
                  </a:lnTo>
                  <a:lnTo>
                    <a:pt x="143" y="976"/>
                  </a:lnTo>
                  <a:lnTo>
                    <a:pt x="169" y="1008"/>
                  </a:lnTo>
                  <a:lnTo>
                    <a:pt x="219" y="960"/>
                  </a:lnTo>
                  <a:lnTo>
                    <a:pt x="261" y="952"/>
                  </a:lnTo>
                  <a:lnTo>
                    <a:pt x="295" y="976"/>
                  </a:lnTo>
                  <a:lnTo>
                    <a:pt x="337" y="984"/>
                  </a:lnTo>
                  <a:lnTo>
                    <a:pt x="346" y="968"/>
                  </a:lnTo>
                  <a:lnTo>
                    <a:pt x="388" y="968"/>
                  </a:lnTo>
                  <a:lnTo>
                    <a:pt x="421" y="968"/>
                  </a:lnTo>
                  <a:lnTo>
                    <a:pt x="472" y="968"/>
                  </a:lnTo>
                  <a:lnTo>
                    <a:pt x="506" y="984"/>
                  </a:lnTo>
                  <a:lnTo>
                    <a:pt x="573" y="968"/>
                  </a:lnTo>
                  <a:lnTo>
                    <a:pt x="590" y="952"/>
                  </a:lnTo>
                  <a:lnTo>
                    <a:pt x="624" y="952"/>
                  </a:lnTo>
                  <a:lnTo>
                    <a:pt x="624" y="928"/>
                  </a:lnTo>
                  <a:lnTo>
                    <a:pt x="565" y="912"/>
                  </a:lnTo>
                  <a:lnTo>
                    <a:pt x="590" y="896"/>
                  </a:lnTo>
                  <a:lnTo>
                    <a:pt x="590" y="872"/>
                  </a:lnTo>
                  <a:lnTo>
                    <a:pt x="624" y="872"/>
                  </a:lnTo>
                  <a:lnTo>
                    <a:pt x="624" y="856"/>
                  </a:lnTo>
                  <a:lnTo>
                    <a:pt x="649" y="840"/>
                  </a:lnTo>
                  <a:lnTo>
                    <a:pt x="657" y="816"/>
                  </a:lnTo>
                  <a:lnTo>
                    <a:pt x="666" y="800"/>
                  </a:lnTo>
                  <a:lnTo>
                    <a:pt x="666" y="760"/>
                  </a:lnTo>
                  <a:lnTo>
                    <a:pt x="582" y="728"/>
                  </a:lnTo>
                  <a:lnTo>
                    <a:pt x="565" y="744"/>
                  </a:lnTo>
                  <a:lnTo>
                    <a:pt x="539" y="728"/>
                  </a:lnTo>
                  <a:lnTo>
                    <a:pt x="573" y="704"/>
                  </a:lnTo>
                  <a:lnTo>
                    <a:pt x="556" y="656"/>
                  </a:lnTo>
                  <a:lnTo>
                    <a:pt x="523" y="632"/>
                  </a:lnTo>
                  <a:lnTo>
                    <a:pt x="548" y="632"/>
                  </a:lnTo>
                  <a:lnTo>
                    <a:pt x="539" y="592"/>
                  </a:lnTo>
                  <a:lnTo>
                    <a:pt x="539" y="576"/>
                  </a:lnTo>
                  <a:lnTo>
                    <a:pt x="531" y="560"/>
                  </a:lnTo>
                  <a:lnTo>
                    <a:pt x="523" y="536"/>
                  </a:lnTo>
                  <a:lnTo>
                    <a:pt x="480" y="512"/>
                  </a:lnTo>
                  <a:lnTo>
                    <a:pt x="472" y="480"/>
                  </a:lnTo>
                  <a:lnTo>
                    <a:pt x="455" y="440"/>
                  </a:lnTo>
                  <a:lnTo>
                    <a:pt x="455" y="392"/>
                  </a:lnTo>
                  <a:lnTo>
                    <a:pt x="447" y="376"/>
                  </a:lnTo>
                  <a:lnTo>
                    <a:pt x="421" y="352"/>
                  </a:lnTo>
                  <a:lnTo>
                    <a:pt x="413" y="344"/>
                  </a:lnTo>
                  <a:lnTo>
                    <a:pt x="396" y="328"/>
                  </a:lnTo>
                  <a:lnTo>
                    <a:pt x="362" y="328"/>
                  </a:lnTo>
                  <a:lnTo>
                    <a:pt x="337" y="320"/>
                  </a:lnTo>
                  <a:lnTo>
                    <a:pt x="371" y="312"/>
                  </a:lnTo>
                  <a:lnTo>
                    <a:pt x="396" y="304"/>
                  </a:lnTo>
                  <a:lnTo>
                    <a:pt x="388" y="280"/>
                  </a:lnTo>
                  <a:lnTo>
                    <a:pt x="421" y="264"/>
                  </a:lnTo>
                  <a:lnTo>
                    <a:pt x="421" y="248"/>
                  </a:lnTo>
                  <a:lnTo>
                    <a:pt x="447" y="224"/>
                  </a:lnTo>
                  <a:lnTo>
                    <a:pt x="455" y="192"/>
                  </a:lnTo>
                  <a:lnTo>
                    <a:pt x="489" y="168"/>
                  </a:lnTo>
                  <a:lnTo>
                    <a:pt x="489" y="144"/>
                  </a:lnTo>
                  <a:lnTo>
                    <a:pt x="447" y="144"/>
                  </a:lnTo>
                  <a:lnTo>
                    <a:pt x="430" y="128"/>
                  </a:lnTo>
                  <a:lnTo>
                    <a:pt x="379" y="120"/>
                  </a:lnTo>
                  <a:lnTo>
                    <a:pt x="329" y="128"/>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5" name="Freeform 12"/>
            <p:cNvSpPr>
              <a:spLocks/>
            </p:cNvSpPr>
            <p:nvPr>
              <p:custDataLst>
                <p:tags r:id="rId13"/>
              </p:custDataLst>
            </p:nvPr>
          </p:nvSpPr>
          <p:spPr bwMode="auto">
            <a:xfrm>
              <a:off x="2379" y="1912"/>
              <a:ext cx="202" cy="144"/>
            </a:xfrm>
            <a:custGeom>
              <a:avLst/>
              <a:gdLst>
                <a:gd name="T0" fmla="*/ 185 w 202"/>
                <a:gd name="T1" fmla="*/ 72 h 144"/>
                <a:gd name="T2" fmla="*/ 177 w 202"/>
                <a:gd name="T3" fmla="*/ 48 h 144"/>
                <a:gd name="T4" fmla="*/ 177 w 202"/>
                <a:gd name="T5" fmla="*/ 16 h 144"/>
                <a:gd name="T6" fmla="*/ 151 w 202"/>
                <a:gd name="T7" fmla="*/ 0 h 144"/>
                <a:gd name="T8" fmla="*/ 126 w 202"/>
                <a:gd name="T9" fmla="*/ 0 h 144"/>
                <a:gd name="T10" fmla="*/ 109 w 202"/>
                <a:gd name="T11" fmla="*/ 0 h 144"/>
                <a:gd name="T12" fmla="*/ 84 w 202"/>
                <a:gd name="T13" fmla="*/ 0 h 144"/>
                <a:gd name="T14" fmla="*/ 84 w 202"/>
                <a:gd name="T15" fmla="*/ 8 h 144"/>
                <a:gd name="T16" fmla="*/ 84 w 202"/>
                <a:gd name="T17" fmla="*/ 0 h 144"/>
                <a:gd name="T18" fmla="*/ 67 w 202"/>
                <a:gd name="T19" fmla="*/ 8 h 144"/>
                <a:gd name="T20" fmla="*/ 59 w 202"/>
                <a:gd name="T21" fmla="*/ 24 h 144"/>
                <a:gd name="T22" fmla="*/ 50 w 202"/>
                <a:gd name="T23" fmla="*/ 40 h 144"/>
                <a:gd name="T24" fmla="*/ 16 w 202"/>
                <a:gd name="T25" fmla="*/ 40 h 144"/>
                <a:gd name="T26" fmla="*/ 16 w 202"/>
                <a:gd name="T27" fmla="*/ 56 h 144"/>
                <a:gd name="T28" fmla="*/ 0 w 202"/>
                <a:gd name="T29" fmla="*/ 72 h 144"/>
                <a:gd name="T30" fmla="*/ 33 w 202"/>
                <a:gd name="T31" fmla="*/ 120 h 144"/>
                <a:gd name="T32" fmla="*/ 67 w 202"/>
                <a:gd name="T33" fmla="*/ 96 h 144"/>
                <a:gd name="T34" fmla="*/ 92 w 202"/>
                <a:gd name="T35" fmla="*/ 112 h 144"/>
                <a:gd name="T36" fmla="*/ 101 w 202"/>
                <a:gd name="T37" fmla="*/ 136 h 144"/>
                <a:gd name="T38" fmla="*/ 118 w 202"/>
                <a:gd name="T39" fmla="*/ 136 h 144"/>
                <a:gd name="T40" fmla="*/ 134 w 202"/>
                <a:gd name="T41" fmla="*/ 144 h 144"/>
                <a:gd name="T42" fmla="*/ 143 w 202"/>
                <a:gd name="T43" fmla="*/ 144 h 144"/>
                <a:gd name="T44" fmla="*/ 143 w 202"/>
                <a:gd name="T45" fmla="*/ 144 h 144"/>
                <a:gd name="T46" fmla="*/ 168 w 202"/>
                <a:gd name="T47" fmla="*/ 128 h 144"/>
                <a:gd name="T48" fmla="*/ 193 w 202"/>
                <a:gd name="T49" fmla="*/ 120 h 144"/>
                <a:gd name="T50" fmla="*/ 202 w 202"/>
                <a:gd name="T51" fmla="*/ 88 h 144"/>
                <a:gd name="T52" fmla="*/ 185 w 202"/>
                <a:gd name="T53" fmla="*/ 72 h 14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02" h="144">
                  <a:moveTo>
                    <a:pt x="185" y="72"/>
                  </a:moveTo>
                  <a:lnTo>
                    <a:pt x="177" y="48"/>
                  </a:lnTo>
                  <a:lnTo>
                    <a:pt x="177" y="16"/>
                  </a:lnTo>
                  <a:lnTo>
                    <a:pt x="151" y="0"/>
                  </a:lnTo>
                  <a:lnTo>
                    <a:pt x="126" y="0"/>
                  </a:lnTo>
                  <a:lnTo>
                    <a:pt x="109" y="0"/>
                  </a:lnTo>
                  <a:lnTo>
                    <a:pt x="84" y="0"/>
                  </a:lnTo>
                  <a:lnTo>
                    <a:pt x="84" y="8"/>
                  </a:lnTo>
                  <a:lnTo>
                    <a:pt x="84" y="0"/>
                  </a:lnTo>
                  <a:lnTo>
                    <a:pt x="67" y="8"/>
                  </a:lnTo>
                  <a:lnTo>
                    <a:pt x="59" y="24"/>
                  </a:lnTo>
                  <a:lnTo>
                    <a:pt x="50" y="40"/>
                  </a:lnTo>
                  <a:lnTo>
                    <a:pt x="16" y="40"/>
                  </a:lnTo>
                  <a:lnTo>
                    <a:pt x="16" y="56"/>
                  </a:lnTo>
                  <a:lnTo>
                    <a:pt x="0" y="72"/>
                  </a:lnTo>
                  <a:lnTo>
                    <a:pt x="33" y="120"/>
                  </a:lnTo>
                  <a:lnTo>
                    <a:pt x="67" y="96"/>
                  </a:lnTo>
                  <a:lnTo>
                    <a:pt x="92" y="112"/>
                  </a:lnTo>
                  <a:lnTo>
                    <a:pt x="101" y="136"/>
                  </a:lnTo>
                  <a:lnTo>
                    <a:pt x="118" y="136"/>
                  </a:lnTo>
                  <a:lnTo>
                    <a:pt x="134" y="144"/>
                  </a:lnTo>
                  <a:lnTo>
                    <a:pt x="143" y="144"/>
                  </a:lnTo>
                  <a:lnTo>
                    <a:pt x="168" y="128"/>
                  </a:lnTo>
                  <a:lnTo>
                    <a:pt x="193" y="120"/>
                  </a:lnTo>
                  <a:lnTo>
                    <a:pt x="202" y="88"/>
                  </a:lnTo>
                  <a:lnTo>
                    <a:pt x="185" y="72"/>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6" name="Freeform 13"/>
            <p:cNvSpPr>
              <a:spLocks/>
            </p:cNvSpPr>
            <p:nvPr>
              <p:custDataLst>
                <p:tags r:id="rId14"/>
              </p:custDataLst>
            </p:nvPr>
          </p:nvSpPr>
          <p:spPr bwMode="auto">
            <a:xfrm>
              <a:off x="2429" y="1536"/>
              <a:ext cx="666" cy="1016"/>
            </a:xfrm>
            <a:custGeom>
              <a:avLst/>
              <a:gdLst>
                <a:gd name="T0" fmla="*/ 337 w 666"/>
                <a:gd name="T1" fmla="*/ 96 h 1016"/>
                <a:gd name="T2" fmla="*/ 421 w 666"/>
                <a:gd name="T3" fmla="*/ 24 h 1016"/>
                <a:gd name="T4" fmla="*/ 270 w 666"/>
                <a:gd name="T5" fmla="*/ 24 h 1016"/>
                <a:gd name="T6" fmla="*/ 253 w 666"/>
                <a:gd name="T7" fmla="*/ 80 h 1016"/>
                <a:gd name="T8" fmla="*/ 202 w 666"/>
                <a:gd name="T9" fmla="*/ 136 h 1016"/>
                <a:gd name="T10" fmla="*/ 169 w 666"/>
                <a:gd name="T11" fmla="*/ 200 h 1016"/>
                <a:gd name="T12" fmla="*/ 202 w 666"/>
                <a:gd name="T13" fmla="*/ 232 h 1016"/>
                <a:gd name="T14" fmla="*/ 169 w 666"/>
                <a:gd name="T15" fmla="*/ 320 h 1016"/>
                <a:gd name="T16" fmla="*/ 186 w 666"/>
                <a:gd name="T17" fmla="*/ 344 h 1016"/>
                <a:gd name="T18" fmla="*/ 228 w 666"/>
                <a:gd name="T19" fmla="*/ 320 h 1016"/>
                <a:gd name="T20" fmla="*/ 186 w 666"/>
                <a:gd name="T21" fmla="*/ 424 h 1016"/>
                <a:gd name="T22" fmla="*/ 236 w 666"/>
                <a:gd name="T23" fmla="*/ 464 h 1016"/>
                <a:gd name="T24" fmla="*/ 303 w 666"/>
                <a:gd name="T25" fmla="*/ 448 h 1016"/>
                <a:gd name="T26" fmla="*/ 287 w 666"/>
                <a:gd name="T27" fmla="*/ 496 h 1016"/>
                <a:gd name="T28" fmla="*/ 329 w 666"/>
                <a:gd name="T29" fmla="*/ 576 h 1016"/>
                <a:gd name="T30" fmla="*/ 295 w 666"/>
                <a:gd name="T31" fmla="*/ 648 h 1016"/>
                <a:gd name="T32" fmla="*/ 202 w 666"/>
                <a:gd name="T33" fmla="*/ 624 h 1016"/>
                <a:gd name="T34" fmla="*/ 160 w 666"/>
                <a:gd name="T35" fmla="*/ 680 h 1016"/>
                <a:gd name="T36" fmla="*/ 211 w 666"/>
                <a:gd name="T37" fmla="*/ 744 h 1016"/>
                <a:gd name="T38" fmla="*/ 101 w 666"/>
                <a:gd name="T39" fmla="*/ 776 h 1016"/>
                <a:gd name="T40" fmla="*/ 101 w 666"/>
                <a:gd name="T41" fmla="*/ 808 h 1016"/>
                <a:gd name="T42" fmla="*/ 169 w 666"/>
                <a:gd name="T43" fmla="*/ 824 h 1016"/>
                <a:gd name="T44" fmla="*/ 219 w 666"/>
                <a:gd name="T45" fmla="*/ 864 h 1016"/>
                <a:gd name="T46" fmla="*/ 295 w 666"/>
                <a:gd name="T47" fmla="*/ 848 h 1016"/>
                <a:gd name="T48" fmla="*/ 228 w 666"/>
                <a:gd name="T49" fmla="*/ 896 h 1016"/>
                <a:gd name="T50" fmla="*/ 127 w 666"/>
                <a:gd name="T51" fmla="*/ 904 h 1016"/>
                <a:gd name="T52" fmla="*/ 0 w 666"/>
                <a:gd name="T53" fmla="*/ 984 h 1016"/>
                <a:gd name="T54" fmla="*/ 51 w 666"/>
                <a:gd name="T55" fmla="*/ 1016 h 1016"/>
                <a:gd name="T56" fmla="*/ 93 w 666"/>
                <a:gd name="T57" fmla="*/ 976 h 1016"/>
                <a:gd name="T58" fmla="*/ 219 w 666"/>
                <a:gd name="T59" fmla="*/ 960 h 1016"/>
                <a:gd name="T60" fmla="*/ 337 w 666"/>
                <a:gd name="T61" fmla="*/ 984 h 1016"/>
                <a:gd name="T62" fmla="*/ 421 w 666"/>
                <a:gd name="T63" fmla="*/ 968 h 1016"/>
                <a:gd name="T64" fmla="*/ 573 w 666"/>
                <a:gd name="T65" fmla="*/ 968 h 1016"/>
                <a:gd name="T66" fmla="*/ 624 w 666"/>
                <a:gd name="T67" fmla="*/ 928 h 1016"/>
                <a:gd name="T68" fmla="*/ 590 w 666"/>
                <a:gd name="T69" fmla="*/ 872 h 1016"/>
                <a:gd name="T70" fmla="*/ 649 w 666"/>
                <a:gd name="T71" fmla="*/ 840 h 1016"/>
                <a:gd name="T72" fmla="*/ 666 w 666"/>
                <a:gd name="T73" fmla="*/ 760 h 1016"/>
                <a:gd name="T74" fmla="*/ 539 w 666"/>
                <a:gd name="T75" fmla="*/ 728 h 1016"/>
                <a:gd name="T76" fmla="*/ 523 w 666"/>
                <a:gd name="T77" fmla="*/ 632 h 1016"/>
                <a:gd name="T78" fmla="*/ 539 w 666"/>
                <a:gd name="T79" fmla="*/ 576 h 1016"/>
                <a:gd name="T80" fmla="*/ 480 w 666"/>
                <a:gd name="T81" fmla="*/ 512 h 1016"/>
                <a:gd name="T82" fmla="*/ 455 w 666"/>
                <a:gd name="T83" fmla="*/ 392 h 1016"/>
                <a:gd name="T84" fmla="*/ 413 w 666"/>
                <a:gd name="T85" fmla="*/ 344 h 1016"/>
                <a:gd name="T86" fmla="*/ 337 w 666"/>
                <a:gd name="T87" fmla="*/ 320 h 1016"/>
                <a:gd name="T88" fmla="*/ 388 w 666"/>
                <a:gd name="T89" fmla="*/ 280 h 1016"/>
                <a:gd name="T90" fmla="*/ 447 w 666"/>
                <a:gd name="T91" fmla="*/ 224 h 1016"/>
                <a:gd name="T92" fmla="*/ 489 w 666"/>
                <a:gd name="T93" fmla="*/ 144 h 1016"/>
                <a:gd name="T94" fmla="*/ 379 w 666"/>
                <a:gd name="T95" fmla="*/ 120 h 101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666" h="1016">
                  <a:moveTo>
                    <a:pt x="329" y="128"/>
                  </a:moveTo>
                  <a:lnTo>
                    <a:pt x="354" y="104"/>
                  </a:lnTo>
                  <a:lnTo>
                    <a:pt x="337" y="96"/>
                  </a:lnTo>
                  <a:lnTo>
                    <a:pt x="388" y="64"/>
                  </a:lnTo>
                  <a:lnTo>
                    <a:pt x="413" y="56"/>
                  </a:lnTo>
                  <a:lnTo>
                    <a:pt x="421" y="24"/>
                  </a:lnTo>
                  <a:lnTo>
                    <a:pt x="320" y="16"/>
                  </a:lnTo>
                  <a:lnTo>
                    <a:pt x="287" y="0"/>
                  </a:lnTo>
                  <a:lnTo>
                    <a:pt x="270" y="24"/>
                  </a:lnTo>
                  <a:lnTo>
                    <a:pt x="253" y="40"/>
                  </a:lnTo>
                  <a:lnTo>
                    <a:pt x="245" y="56"/>
                  </a:lnTo>
                  <a:lnTo>
                    <a:pt x="253" y="80"/>
                  </a:lnTo>
                  <a:lnTo>
                    <a:pt x="219" y="88"/>
                  </a:lnTo>
                  <a:lnTo>
                    <a:pt x="202" y="104"/>
                  </a:lnTo>
                  <a:lnTo>
                    <a:pt x="202" y="136"/>
                  </a:lnTo>
                  <a:lnTo>
                    <a:pt x="202" y="160"/>
                  </a:lnTo>
                  <a:lnTo>
                    <a:pt x="186" y="184"/>
                  </a:lnTo>
                  <a:lnTo>
                    <a:pt x="169" y="200"/>
                  </a:lnTo>
                  <a:lnTo>
                    <a:pt x="135" y="248"/>
                  </a:lnTo>
                  <a:lnTo>
                    <a:pt x="160" y="256"/>
                  </a:lnTo>
                  <a:lnTo>
                    <a:pt x="202" y="232"/>
                  </a:lnTo>
                  <a:lnTo>
                    <a:pt x="186" y="264"/>
                  </a:lnTo>
                  <a:lnTo>
                    <a:pt x="177" y="296"/>
                  </a:lnTo>
                  <a:lnTo>
                    <a:pt x="169" y="320"/>
                  </a:lnTo>
                  <a:lnTo>
                    <a:pt x="143" y="376"/>
                  </a:lnTo>
                  <a:lnTo>
                    <a:pt x="169" y="376"/>
                  </a:lnTo>
                  <a:lnTo>
                    <a:pt x="186" y="344"/>
                  </a:lnTo>
                  <a:lnTo>
                    <a:pt x="202" y="304"/>
                  </a:lnTo>
                  <a:lnTo>
                    <a:pt x="211" y="328"/>
                  </a:lnTo>
                  <a:lnTo>
                    <a:pt x="228" y="320"/>
                  </a:lnTo>
                  <a:lnTo>
                    <a:pt x="219" y="344"/>
                  </a:lnTo>
                  <a:lnTo>
                    <a:pt x="228" y="360"/>
                  </a:lnTo>
                  <a:lnTo>
                    <a:pt x="186" y="424"/>
                  </a:lnTo>
                  <a:lnTo>
                    <a:pt x="194" y="472"/>
                  </a:lnTo>
                  <a:lnTo>
                    <a:pt x="202" y="440"/>
                  </a:lnTo>
                  <a:lnTo>
                    <a:pt x="236" y="464"/>
                  </a:lnTo>
                  <a:lnTo>
                    <a:pt x="253" y="456"/>
                  </a:lnTo>
                  <a:lnTo>
                    <a:pt x="278" y="464"/>
                  </a:lnTo>
                  <a:lnTo>
                    <a:pt x="303" y="448"/>
                  </a:lnTo>
                  <a:lnTo>
                    <a:pt x="329" y="456"/>
                  </a:lnTo>
                  <a:lnTo>
                    <a:pt x="295" y="480"/>
                  </a:lnTo>
                  <a:lnTo>
                    <a:pt x="287" y="496"/>
                  </a:lnTo>
                  <a:lnTo>
                    <a:pt x="312" y="544"/>
                  </a:lnTo>
                  <a:lnTo>
                    <a:pt x="329" y="544"/>
                  </a:lnTo>
                  <a:lnTo>
                    <a:pt x="329" y="576"/>
                  </a:lnTo>
                  <a:lnTo>
                    <a:pt x="320" y="576"/>
                  </a:lnTo>
                  <a:lnTo>
                    <a:pt x="312" y="632"/>
                  </a:lnTo>
                  <a:lnTo>
                    <a:pt x="295" y="648"/>
                  </a:lnTo>
                  <a:lnTo>
                    <a:pt x="287" y="640"/>
                  </a:lnTo>
                  <a:lnTo>
                    <a:pt x="236" y="640"/>
                  </a:lnTo>
                  <a:lnTo>
                    <a:pt x="202" y="624"/>
                  </a:lnTo>
                  <a:lnTo>
                    <a:pt x="186" y="632"/>
                  </a:lnTo>
                  <a:lnTo>
                    <a:pt x="202" y="648"/>
                  </a:lnTo>
                  <a:lnTo>
                    <a:pt x="160" y="680"/>
                  </a:lnTo>
                  <a:lnTo>
                    <a:pt x="177" y="688"/>
                  </a:lnTo>
                  <a:lnTo>
                    <a:pt x="202" y="680"/>
                  </a:lnTo>
                  <a:lnTo>
                    <a:pt x="211" y="744"/>
                  </a:lnTo>
                  <a:lnTo>
                    <a:pt x="169" y="760"/>
                  </a:lnTo>
                  <a:lnTo>
                    <a:pt x="143" y="768"/>
                  </a:lnTo>
                  <a:lnTo>
                    <a:pt x="101" y="776"/>
                  </a:lnTo>
                  <a:lnTo>
                    <a:pt x="84" y="784"/>
                  </a:lnTo>
                  <a:lnTo>
                    <a:pt x="93" y="792"/>
                  </a:lnTo>
                  <a:lnTo>
                    <a:pt x="101" y="808"/>
                  </a:lnTo>
                  <a:lnTo>
                    <a:pt x="135" y="824"/>
                  </a:lnTo>
                  <a:lnTo>
                    <a:pt x="152" y="808"/>
                  </a:lnTo>
                  <a:lnTo>
                    <a:pt x="169" y="824"/>
                  </a:lnTo>
                  <a:lnTo>
                    <a:pt x="160" y="840"/>
                  </a:lnTo>
                  <a:lnTo>
                    <a:pt x="194" y="840"/>
                  </a:lnTo>
                  <a:lnTo>
                    <a:pt x="219" y="864"/>
                  </a:lnTo>
                  <a:lnTo>
                    <a:pt x="261" y="864"/>
                  </a:lnTo>
                  <a:lnTo>
                    <a:pt x="278" y="856"/>
                  </a:lnTo>
                  <a:lnTo>
                    <a:pt x="295" y="848"/>
                  </a:lnTo>
                  <a:lnTo>
                    <a:pt x="270" y="872"/>
                  </a:lnTo>
                  <a:lnTo>
                    <a:pt x="261" y="888"/>
                  </a:lnTo>
                  <a:lnTo>
                    <a:pt x="228" y="896"/>
                  </a:lnTo>
                  <a:lnTo>
                    <a:pt x="160" y="888"/>
                  </a:lnTo>
                  <a:lnTo>
                    <a:pt x="152" y="896"/>
                  </a:lnTo>
                  <a:lnTo>
                    <a:pt x="127" y="904"/>
                  </a:lnTo>
                  <a:lnTo>
                    <a:pt x="110" y="928"/>
                  </a:lnTo>
                  <a:lnTo>
                    <a:pt x="42" y="976"/>
                  </a:lnTo>
                  <a:lnTo>
                    <a:pt x="0" y="984"/>
                  </a:lnTo>
                  <a:lnTo>
                    <a:pt x="9" y="992"/>
                  </a:lnTo>
                  <a:lnTo>
                    <a:pt x="34" y="992"/>
                  </a:lnTo>
                  <a:lnTo>
                    <a:pt x="51" y="1016"/>
                  </a:lnTo>
                  <a:lnTo>
                    <a:pt x="68" y="1008"/>
                  </a:lnTo>
                  <a:lnTo>
                    <a:pt x="68" y="992"/>
                  </a:lnTo>
                  <a:lnTo>
                    <a:pt x="93" y="976"/>
                  </a:lnTo>
                  <a:lnTo>
                    <a:pt x="143" y="976"/>
                  </a:lnTo>
                  <a:lnTo>
                    <a:pt x="169" y="1008"/>
                  </a:lnTo>
                  <a:lnTo>
                    <a:pt x="219" y="960"/>
                  </a:lnTo>
                  <a:lnTo>
                    <a:pt x="261" y="952"/>
                  </a:lnTo>
                  <a:lnTo>
                    <a:pt x="295" y="976"/>
                  </a:lnTo>
                  <a:lnTo>
                    <a:pt x="337" y="984"/>
                  </a:lnTo>
                  <a:lnTo>
                    <a:pt x="346" y="968"/>
                  </a:lnTo>
                  <a:lnTo>
                    <a:pt x="388" y="968"/>
                  </a:lnTo>
                  <a:lnTo>
                    <a:pt x="421" y="968"/>
                  </a:lnTo>
                  <a:lnTo>
                    <a:pt x="472" y="968"/>
                  </a:lnTo>
                  <a:lnTo>
                    <a:pt x="506" y="984"/>
                  </a:lnTo>
                  <a:lnTo>
                    <a:pt x="573" y="968"/>
                  </a:lnTo>
                  <a:lnTo>
                    <a:pt x="590" y="952"/>
                  </a:lnTo>
                  <a:lnTo>
                    <a:pt x="624" y="952"/>
                  </a:lnTo>
                  <a:lnTo>
                    <a:pt x="624" y="928"/>
                  </a:lnTo>
                  <a:lnTo>
                    <a:pt x="565" y="912"/>
                  </a:lnTo>
                  <a:lnTo>
                    <a:pt x="590" y="896"/>
                  </a:lnTo>
                  <a:lnTo>
                    <a:pt x="590" y="872"/>
                  </a:lnTo>
                  <a:lnTo>
                    <a:pt x="624" y="872"/>
                  </a:lnTo>
                  <a:lnTo>
                    <a:pt x="624" y="856"/>
                  </a:lnTo>
                  <a:lnTo>
                    <a:pt x="649" y="840"/>
                  </a:lnTo>
                  <a:lnTo>
                    <a:pt x="657" y="816"/>
                  </a:lnTo>
                  <a:lnTo>
                    <a:pt x="666" y="800"/>
                  </a:lnTo>
                  <a:lnTo>
                    <a:pt x="666" y="760"/>
                  </a:lnTo>
                  <a:lnTo>
                    <a:pt x="582" y="728"/>
                  </a:lnTo>
                  <a:lnTo>
                    <a:pt x="565" y="744"/>
                  </a:lnTo>
                  <a:lnTo>
                    <a:pt x="539" y="728"/>
                  </a:lnTo>
                  <a:lnTo>
                    <a:pt x="573" y="704"/>
                  </a:lnTo>
                  <a:lnTo>
                    <a:pt x="556" y="656"/>
                  </a:lnTo>
                  <a:lnTo>
                    <a:pt x="523" y="632"/>
                  </a:lnTo>
                  <a:lnTo>
                    <a:pt x="548" y="632"/>
                  </a:lnTo>
                  <a:lnTo>
                    <a:pt x="539" y="592"/>
                  </a:lnTo>
                  <a:lnTo>
                    <a:pt x="539" y="576"/>
                  </a:lnTo>
                  <a:lnTo>
                    <a:pt x="531" y="560"/>
                  </a:lnTo>
                  <a:lnTo>
                    <a:pt x="523" y="536"/>
                  </a:lnTo>
                  <a:lnTo>
                    <a:pt x="480" y="512"/>
                  </a:lnTo>
                  <a:lnTo>
                    <a:pt x="472" y="480"/>
                  </a:lnTo>
                  <a:lnTo>
                    <a:pt x="455" y="440"/>
                  </a:lnTo>
                  <a:lnTo>
                    <a:pt x="455" y="392"/>
                  </a:lnTo>
                  <a:lnTo>
                    <a:pt x="447" y="376"/>
                  </a:lnTo>
                  <a:lnTo>
                    <a:pt x="421" y="352"/>
                  </a:lnTo>
                  <a:lnTo>
                    <a:pt x="413" y="344"/>
                  </a:lnTo>
                  <a:lnTo>
                    <a:pt x="396" y="328"/>
                  </a:lnTo>
                  <a:lnTo>
                    <a:pt x="362" y="328"/>
                  </a:lnTo>
                  <a:lnTo>
                    <a:pt x="337" y="320"/>
                  </a:lnTo>
                  <a:lnTo>
                    <a:pt x="371" y="312"/>
                  </a:lnTo>
                  <a:lnTo>
                    <a:pt x="396" y="304"/>
                  </a:lnTo>
                  <a:lnTo>
                    <a:pt x="388" y="280"/>
                  </a:lnTo>
                  <a:lnTo>
                    <a:pt x="421" y="264"/>
                  </a:lnTo>
                  <a:lnTo>
                    <a:pt x="421" y="248"/>
                  </a:lnTo>
                  <a:lnTo>
                    <a:pt x="447" y="224"/>
                  </a:lnTo>
                  <a:lnTo>
                    <a:pt x="455" y="192"/>
                  </a:lnTo>
                  <a:lnTo>
                    <a:pt x="489" y="168"/>
                  </a:lnTo>
                  <a:lnTo>
                    <a:pt x="489" y="144"/>
                  </a:lnTo>
                  <a:lnTo>
                    <a:pt x="447" y="144"/>
                  </a:lnTo>
                  <a:lnTo>
                    <a:pt x="430" y="128"/>
                  </a:lnTo>
                  <a:lnTo>
                    <a:pt x="379" y="120"/>
                  </a:lnTo>
                  <a:lnTo>
                    <a:pt x="329" y="128"/>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38" name="Freeform 15"/>
            <p:cNvSpPr>
              <a:spLocks/>
            </p:cNvSpPr>
            <p:nvPr>
              <p:custDataLst>
                <p:tags r:id="rId15"/>
              </p:custDataLst>
            </p:nvPr>
          </p:nvSpPr>
          <p:spPr bwMode="auto">
            <a:xfrm>
              <a:off x="3752" y="1984"/>
              <a:ext cx="67" cy="64"/>
            </a:xfrm>
            <a:custGeom>
              <a:avLst/>
              <a:gdLst>
                <a:gd name="T0" fmla="*/ 0 w 67"/>
                <a:gd name="T1" fmla="*/ 24 h 64"/>
                <a:gd name="T2" fmla="*/ 17 w 67"/>
                <a:gd name="T3" fmla="*/ 56 h 64"/>
                <a:gd name="T4" fmla="*/ 51 w 67"/>
                <a:gd name="T5" fmla="*/ 64 h 64"/>
                <a:gd name="T6" fmla="*/ 67 w 67"/>
                <a:gd name="T7" fmla="*/ 48 h 64"/>
                <a:gd name="T8" fmla="*/ 59 w 67"/>
                <a:gd name="T9" fmla="*/ 0 h 64"/>
                <a:gd name="T10" fmla="*/ 0 w 67"/>
                <a:gd name="T11" fmla="*/ 8 h 64"/>
                <a:gd name="T12" fmla="*/ 0 w 67"/>
                <a:gd name="T13" fmla="*/ 24 h 6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7" h="64">
                  <a:moveTo>
                    <a:pt x="0" y="24"/>
                  </a:moveTo>
                  <a:lnTo>
                    <a:pt x="17" y="56"/>
                  </a:lnTo>
                  <a:lnTo>
                    <a:pt x="51" y="64"/>
                  </a:lnTo>
                  <a:lnTo>
                    <a:pt x="67" y="48"/>
                  </a:lnTo>
                  <a:lnTo>
                    <a:pt x="59" y="0"/>
                  </a:lnTo>
                  <a:lnTo>
                    <a:pt x="0" y="8"/>
                  </a:lnTo>
                  <a:lnTo>
                    <a:pt x="0" y="2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0" name="Freeform 17"/>
            <p:cNvSpPr>
              <a:spLocks/>
            </p:cNvSpPr>
            <p:nvPr>
              <p:custDataLst>
                <p:tags r:id="rId16"/>
              </p:custDataLst>
            </p:nvPr>
          </p:nvSpPr>
          <p:spPr bwMode="auto">
            <a:xfrm>
              <a:off x="3752" y="1984"/>
              <a:ext cx="67" cy="64"/>
            </a:xfrm>
            <a:custGeom>
              <a:avLst/>
              <a:gdLst>
                <a:gd name="T0" fmla="*/ 0 w 67"/>
                <a:gd name="T1" fmla="*/ 24 h 64"/>
                <a:gd name="T2" fmla="*/ 17 w 67"/>
                <a:gd name="T3" fmla="*/ 56 h 64"/>
                <a:gd name="T4" fmla="*/ 51 w 67"/>
                <a:gd name="T5" fmla="*/ 64 h 64"/>
                <a:gd name="T6" fmla="*/ 67 w 67"/>
                <a:gd name="T7" fmla="*/ 48 h 64"/>
                <a:gd name="T8" fmla="*/ 59 w 67"/>
                <a:gd name="T9" fmla="*/ 0 h 64"/>
                <a:gd name="T10" fmla="*/ 0 w 67"/>
                <a:gd name="T11" fmla="*/ 8 h 6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7" h="64">
                  <a:moveTo>
                    <a:pt x="0" y="24"/>
                  </a:moveTo>
                  <a:lnTo>
                    <a:pt x="17" y="56"/>
                  </a:lnTo>
                  <a:lnTo>
                    <a:pt x="51" y="64"/>
                  </a:lnTo>
                  <a:lnTo>
                    <a:pt x="67" y="48"/>
                  </a:lnTo>
                  <a:lnTo>
                    <a:pt x="59" y="0"/>
                  </a:lnTo>
                  <a:lnTo>
                    <a:pt x="0" y="8"/>
                  </a:lnTo>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1" name="Freeform 18"/>
            <p:cNvSpPr>
              <a:spLocks/>
            </p:cNvSpPr>
            <p:nvPr>
              <p:custDataLst>
                <p:tags r:id="rId17"/>
              </p:custDataLst>
            </p:nvPr>
          </p:nvSpPr>
          <p:spPr bwMode="auto">
            <a:xfrm>
              <a:off x="3752" y="1984"/>
              <a:ext cx="67" cy="64"/>
            </a:xfrm>
            <a:custGeom>
              <a:avLst/>
              <a:gdLst>
                <a:gd name="T0" fmla="*/ 0 w 67"/>
                <a:gd name="T1" fmla="*/ 24 h 64"/>
                <a:gd name="T2" fmla="*/ 17 w 67"/>
                <a:gd name="T3" fmla="*/ 56 h 64"/>
                <a:gd name="T4" fmla="*/ 51 w 67"/>
                <a:gd name="T5" fmla="*/ 64 h 64"/>
                <a:gd name="T6" fmla="*/ 67 w 67"/>
                <a:gd name="T7" fmla="*/ 48 h 64"/>
                <a:gd name="T8" fmla="*/ 59 w 67"/>
                <a:gd name="T9" fmla="*/ 0 h 64"/>
                <a:gd name="T10" fmla="*/ 0 w 67"/>
                <a:gd name="T11" fmla="*/ 8 h 6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7" h="64">
                  <a:moveTo>
                    <a:pt x="0" y="24"/>
                  </a:moveTo>
                  <a:lnTo>
                    <a:pt x="17" y="56"/>
                  </a:lnTo>
                  <a:lnTo>
                    <a:pt x="51" y="64"/>
                  </a:lnTo>
                  <a:lnTo>
                    <a:pt x="67" y="48"/>
                  </a:lnTo>
                  <a:lnTo>
                    <a:pt x="59" y="0"/>
                  </a:lnTo>
                  <a:lnTo>
                    <a:pt x="0" y="8"/>
                  </a:lnTo>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2" name="Freeform 19"/>
            <p:cNvSpPr>
              <a:spLocks/>
            </p:cNvSpPr>
            <p:nvPr>
              <p:custDataLst>
                <p:tags r:id="rId18"/>
              </p:custDataLst>
            </p:nvPr>
          </p:nvSpPr>
          <p:spPr bwMode="auto">
            <a:xfrm>
              <a:off x="3845" y="1920"/>
              <a:ext cx="109" cy="176"/>
            </a:xfrm>
            <a:custGeom>
              <a:avLst/>
              <a:gdLst>
                <a:gd name="T0" fmla="*/ 0 w 109"/>
                <a:gd name="T1" fmla="*/ 168 h 176"/>
                <a:gd name="T2" fmla="*/ 50 w 109"/>
                <a:gd name="T3" fmla="*/ 176 h 176"/>
                <a:gd name="T4" fmla="*/ 76 w 109"/>
                <a:gd name="T5" fmla="*/ 144 h 176"/>
                <a:gd name="T6" fmla="*/ 76 w 109"/>
                <a:gd name="T7" fmla="*/ 112 h 176"/>
                <a:gd name="T8" fmla="*/ 109 w 109"/>
                <a:gd name="T9" fmla="*/ 96 h 176"/>
                <a:gd name="T10" fmla="*/ 92 w 109"/>
                <a:gd name="T11" fmla="*/ 72 h 176"/>
                <a:gd name="T12" fmla="*/ 109 w 109"/>
                <a:gd name="T13" fmla="*/ 64 h 176"/>
                <a:gd name="T14" fmla="*/ 101 w 109"/>
                <a:gd name="T15" fmla="*/ 8 h 176"/>
                <a:gd name="T16" fmla="*/ 84 w 109"/>
                <a:gd name="T17" fmla="*/ 0 h 176"/>
                <a:gd name="T18" fmla="*/ 67 w 109"/>
                <a:gd name="T19" fmla="*/ 16 h 176"/>
                <a:gd name="T20" fmla="*/ 59 w 109"/>
                <a:gd name="T21" fmla="*/ 48 h 176"/>
                <a:gd name="T22" fmla="*/ 42 w 109"/>
                <a:gd name="T23" fmla="*/ 16 h 176"/>
                <a:gd name="T24" fmla="*/ 8 w 109"/>
                <a:gd name="T25" fmla="*/ 40 h 176"/>
                <a:gd name="T26" fmla="*/ 0 w 109"/>
                <a:gd name="T27" fmla="*/ 48 h 176"/>
                <a:gd name="T28" fmla="*/ 8 w 109"/>
                <a:gd name="T29" fmla="*/ 72 h 176"/>
                <a:gd name="T30" fmla="*/ 42 w 109"/>
                <a:gd name="T31" fmla="*/ 88 h 176"/>
                <a:gd name="T32" fmla="*/ 50 w 109"/>
                <a:gd name="T33" fmla="*/ 112 h 176"/>
                <a:gd name="T34" fmla="*/ 33 w 109"/>
                <a:gd name="T35" fmla="*/ 144 h 176"/>
                <a:gd name="T36" fmla="*/ 8 w 109"/>
                <a:gd name="T37" fmla="*/ 136 h 176"/>
                <a:gd name="T38" fmla="*/ 0 w 109"/>
                <a:gd name="T39" fmla="*/ 168 h 1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9" h="176">
                  <a:moveTo>
                    <a:pt x="0" y="168"/>
                  </a:moveTo>
                  <a:lnTo>
                    <a:pt x="50" y="176"/>
                  </a:lnTo>
                  <a:lnTo>
                    <a:pt x="76" y="144"/>
                  </a:lnTo>
                  <a:lnTo>
                    <a:pt x="76" y="112"/>
                  </a:lnTo>
                  <a:lnTo>
                    <a:pt x="109" y="96"/>
                  </a:lnTo>
                  <a:lnTo>
                    <a:pt x="92" y="72"/>
                  </a:lnTo>
                  <a:lnTo>
                    <a:pt x="109" y="64"/>
                  </a:lnTo>
                  <a:lnTo>
                    <a:pt x="101" y="8"/>
                  </a:lnTo>
                  <a:lnTo>
                    <a:pt x="84" y="0"/>
                  </a:lnTo>
                  <a:lnTo>
                    <a:pt x="67" y="16"/>
                  </a:lnTo>
                  <a:lnTo>
                    <a:pt x="59" y="48"/>
                  </a:lnTo>
                  <a:lnTo>
                    <a:pt x="42" y="16"/>
                  </a:lnTo>
                  <a:lnTo>
                    <a:pt x="8" y="40"/>
                  </a:lnTo>
                  <a:lnTo>
                    <a:pt x="0" y="48"/>
                  </a:lnTo>
                  <a:lnTo>
                    <a:pt x="8" y="72"/>
                  </a:lnTo>
                  <a:lnTo>
                    <a:pt x="42" y="88"/>
                  </a:lnTo>
                  <a:lnTo>
                    <a:pt x="50" y="112"/>
                  </a:lnTo>
                  <a:lnTo>
                    <a:pt x="33" y="144"/>
                  </a:lnTo>
                  <a:lnTo>
                    <a:pt x="8" y="136"/>
                  </a:lnTo>
                  <a:lnTo>
                    <a:pt x="0" y="168"/>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3" name="Freeform 20"/>
            <p:cNvSpPr>
              <a:spLocks/>
            </p:cNvSpPr>
            <p:nvPr>
              <p:custDataLst>
                <p:tags r:id="rId19"/>
              </p:custDataLst>
            </p:nvPr>
          </p:nvSpPr>
          <p:spPr bwMode="auto">
            <a:xfrm>
              <a:off x="4039" y="4048"/>
              <a:ext cx="328" cy="208"/>
            </a:xfrm>
            <a:custGeom>
              <a:avLst/>
              <a:gdLst>
                <a:gd name="T0" fmla="*/ 0 w 328"/>
                <a:gd name="T1" fmla="*/ 80 h 208"/>
                <a:gd name="T2" fmla="*/ 0 w 328"/>
                <a:gd name="T3" fmla="*/ 56 h 208"/>
                <a:gd name="T4" fmla="*/ 25 w 328"/>
                <a:gd name="T5" fmla="*/ 32 h 208"/>
                <a:gd name="T6" fmla="*/ 50 w 328"/>
                <a:gd name="T7" fmla="*/ 48 h 208"/>
                <a:gd name="T8" fmla="*/ 67 w 328"/>
                <a:gd name="T9" fmla="*/ 32 h 208"/>
                <a:gd name="T10" fmla="*/ 92 w 328"/>
                <a:gd name="T11" fmla="*/ 24 h 208"/>
                <a:gd name="T12" fmla="*/ 101 w 328"/>
                <a:gd name="T13" fmla="*/ 32 h 208"/>
                <a:gd name="T14" fmla="*/ 117 w 328"/>
                <a:gd name="T15" fmla="*/ 40 h 208"/>
                <a:gd name="T16" fmla="*/ 134 w 328"/>
                <a:gd name="T17" fmla="*/ 48 h 208"/>
                <a:gd name="T18" fmla="*/ 160 w 328"/>
                <a:gd name="T19" fmla="*/ 40 h 208"/>
                <a:gd name="T20" fmla="*/ 210 w 328"/>
                <a:gd name="T21" fmla="*/ 40 h 208"/>
                <a:gd name="T22" fmla="*/ 235 w 328"/>
                <a:gd name="T23" fmla="*/ 32 h 208"/>
                <a:gd name="T24" fmla="*/ 252 w 328"/>
                <a:gd name="T25" fmla="*/ 16 h 208"/>
                <a:gd name="T26" fmla="*/ 261 w 328"/>
                <a:gd name="T27" fmla="*/ 16 h 208"/>
                <a:gd name="T28" fmla="*/ 286 w 328"/>
                <a:gd name="T29" fmla="*/ 24 h 208"/>
                <a:gd name="T30" fmla="*/ 294 w 328"/>
                <a:gd name="T31" fmla="*/ 8 h 208"/>
                <a:gd name="T32" fmla="*/ 320 w 328"/>
                <a:gd name="T33" fmla="*/ 0 h 208"/>
                <a:gd name="T34" fmla="*/ 328 w 328"/>
                <a:gd name="T35" fmla="*/ 16 h 208"/>
                <a:gd name="T36" fmla="*/ 311 w 328"/>
                <a:gd name="T37" fmla="*/ 56 h 208"/>
                <a:gd name="T38" fmla="*/ 303 w 328"/>
                <a:gd name="T39" fmla="*/ 80 h 208"/>
                <a:gd name="T40" fmla="*/ 286 w 328"/>
                <a:gd name="T41" fmla="*/ 104 h 208"/>
                <a:gd name="T42" fmla="*/ 286 w 328"/>
                <a:gd name="T43" fmla="*/ 112 h 208"/>
                <a:gd name="T44" fmla="*/ 303 w 328"/>
                <a:gd name="T45" fmla="*/ 128 h 208"/>
                <a:gd name="T46" fmla="*/ 320 w 328"/>
                <a:gd name="T47" fmla="*/ 160 h 208"/>
                <a:gd name="T48" fmla="*/ 303 w 328"/>
                <a:gd name="T49" fmla="*/ 176 h 208"/>
                <a:gd name="T50" fmla="*/ 303 w 328"/>
                <a:gd name="T51" fmla="*/ 208 h 208"/>
                <a:gd name="T52" fmla="*/ 269 w 328"/>
                <a:gd name="T53" fmla="*/ 200 h 208"/>
                <a:gd name="T54" fmla="*/ 227 w 328"/>
                <a:gd name="T55" fmla="*/ 192 h 208"/>
                <a:gd name="T56" fmla="*/ 202 w 328"/>
                <a:gd name="T57" fmla="*/ 152 h 208"/>
                <a:gd name="T58" fmla="*/ 168 w 328"/>
                <a:gd name="T59" fmla="*/ 160 h 208"/>
                <a:gd name="T60" fmla="*/ 143 w 328"/>
                <a:gd name="T61" fmla="*/ 144 h 208"/>
                <a:gd name="T62" fmla="*/ 126 w 328"/>
                <a:gd name="T63" fmla="*/ 128 h 208"/>
                <a:gd name="T64" fmla="*/ 109 w 328"/>
                <a:gd name="T65" fmla="*/ 128 h 208"/>
                <a:gd name="T66" fmla="*/ 84 w 328"/>
                <a:gd name="T67" fmla="*/ 112 h 208"/>
                <a:gd name="T68" fmla="*/ 67 w 328"/>
                <a:gd name="T69" fmla="*/ 112 h 208"/>
                <a:gd name="T70" fmla="*/ 50 w 328"/>
                <a:gd name="T71" fmla="*/ 96 h 208"/>
                <a:gd name="T72" fmla="*/ 25 w 328"/>
                <a:gd name="T73" fmla="*/ 104 h 208"/>
                <a:gd name="T74" fmla="*/ 0 w 328"/>
                <a:gd name="T75" fmla="*/ 80 h 2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28" h="208">
                  <a:moveTo>
                    <a:pt x="0" y="80"/>
                  </a:moveTo>
                  <a:lnTo>
                    <a:pt x="0" y="56"/>
                  </a:lnTo>
                  <a:lnTo>
                    <a:pt x="25" y="32"/>
                  </a:lnTo>
                  <a:lnTo>
                    <a:pt x="50" y="48"/>
                  </a:lnTo>
                  <a:lnTo>
                    <a:pt x="67" y="32"/>
                  </a:lnTo>
                  <a:lnTo>
                    <a:pt x="92" y="24"/>
                  </a:lnTo>
                  <a:lnTo>
                    <a:pt x="101" y="32"/>
                  </a:lnTo>
                  <a:lnTo>
                    <a:pt x="117" y="40"/>
                  </a:lnTo>
                  <a:lnTo>
                    <a:pt x="134" y="48"/>
                  </a:lnTo>
                  <a:lnTo>
                    <a:pt x="160" y="40"/>
                  </a:lnTo>
                  <a:lnTo>
                    <a:pt x="210" y="40"/>
                  </a:lnTo>
                  <a:lnTo>
                    <a:pt x="235" y="32"/>
                  </a:lnTo>
                  <a:lnTo>
                    <a:pt x="252" y="16"/>
                  </a:lnTo>
                  <a:lnTo>
                    <a:pt x="261" y="16"/>
                  </a:lnTo>
                  <a:lnTo>
                    <a:pt x="286" y="24"/>
                  </a:lnTo>
                  <a:lnTo>
                    <a:pt x="294" y="8"/>
                  </a:lnTo>
                  <a:lnTo>
                    <a:pt x="320" y="0"/>
                  </a:lnTo>
                  <a:lnTo>
                    <a:pt x="328" y="16"/>
                  </a:lnTo>
                  <a:lnTo>
                    <a:pt x="311" y="56"/>
                  </a:lnTo>
                  <a:lnTo>
                    <a:pt x="303" y="80"/>
                  </a:lnTo>
                  <a:lnTo>
                    <a:pt x="286" y="104"/>
                  </a:lnTo>
                  <a:lnTo>
                    <a:pt x="286" y="112"/>
                  </a:lnTo>
                  <a:lnTo>
                    <a:pt x="303" y="128"/>
                  </a:lnTo>
                  <a:lnTo>
                    <a:pt x="320" y="160"/>
                  </a:lnTo>
                  <a:lnTo>
                    <a:pt x="303" y="176"/>
                  </a:lnTo>
                  <a:lnTo>
                    <a:pt x="303" y="208"/>
                  </a:lnTo>
                  <a:lnTo>
                    <a:pt x="269" y="200"/>
                  </a:lnTo>
                  <a:lnTo>
                    <a:pt x="227" y="192"/>
                  </a:lnTo>
                  <a:lnTo>
                    <a:pt x="202" y="152"/>
                  </a:lnTo>
                  <a:lnTo>
                    <a:pt x="168" y="160"/>
                  </a:lnTo>
                  <a:lnTo>
                    <a:pt x="143" y="144"/>
                  </a:lnTo>
                  <a:lnTo>
                    <a:pt x="126" y="128"/>
                  </a:lnTo>
                  <a:lnTo>
                    <a:pt x="109" y="128"/>
                  </a:lnTo>
                  <a:lnTo>
                    <a:pt x="84" y="112"/>
                  </a:lnTo>
                  <a:lnTo>
                    <a:pt x="67" y="112"/>
                  </a:lnTo>
                  <a:lnTo>
                    <a:pt x="50" y="96"/>
                  </a:lnTo>
                  <a:lnTo>
                    <a:pt x="25" y="104"/>
                  </a:lnTo>
                  <a:lnTo>
                    <a:pt x="0" y="8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4" name="Freeform 21"/>
            <p:cNvSpPr>
              <a:spLocks/>
            </p:cNvSpPr>
            <p:nvPr>
              <p:custDataLst>
                <p:tags r:id="rId20"/>
              </p:custDataLst>
            </p:nvPr>
          </p:nvSpPr>
          <p:spPr bwMode="auto">
            <a:xfrm>
              <a:off x="3845" y="1920"/>
              <a:ext cx="109" cy="176"/>
            </a:xfrm>
            <a:custGeom>
              <a:avLst/>
              <a:gdLst>
                <a:gd name="T0" fmla="*/ 0 w 109"/>
                <a:gd name="T1" fmla="*/ 168 h 176"/>
                <a:gd name="T2" fmla="*/ 50 w 109"/>
                <a:gd name="T3" fmla="*/ 176 h 176"/>
                <a:gd name="T4" fmla="*/ 76 w 109"/>
                <a:gd name="T5" fmla="*/ 144 h 176"/>
                <a:gd name="T6" fmla="*/ 76 w 109"/>
                <a:gd name="T7" fmla="*/ 112 h 176"/>
                <a:gd name="T8" fmla="*/ 109 w 109"/>
                <a:gd name="T9" fmla="*/ 96 h 176"/>
                <a:gd name="T10" fmla="*/ 92 w 109"/>
                <a:gd name="T11" fmla="*/ 72 h 176"/>
                <a:gd name="T12" fmla="*/ 109 w 109"/>
                <a:gd name="T13" fmla="*/ 64 h 176"/>
                <a:gd name="T14" fmla="*/ 101 w 109"/>
                <a:gd name="T15" fmla="*/ 8 h 176"/>
                <a:gd name="T16" fmla="*/ 84 w 109"/>
                <a:gd name="T17" fmla="*/ 0 h 176"/>
                <a:gd name="T18" fmla="*/ 67 w 109"/>
                <a:gd name="T19" fmla="*/ 16 h 176"/>
                <a:gd name="T20" fmla="*/ 59 w 109"/>
                <a:gd name="T21" fmla="*/ 48 h 176"/>
                <a:gd name="T22" fmla="*/ 42 w 109"/>
                <a:gd name="T23" fmla="*/ 16 h 176"/>
                <a:gd name="T24" fmla="*/ 8 w 109"/>
                <a:gd name="T25" fmla="*/ 40 h 176"/>
                <a:gd name="T26" fmla="*/ 0 w 109"/>
                <a:gd name="T27" fmla="*/ 48 h 176"/>
                <a:gd name="T28" fmla="*/ 8 w 109"/>
                <a:gd name="T29" fmla="*/ 72 h 176"/>
                <a:gd name="T30" fmla="*/ 42 w 109"/>
                <a:gd name="T31" fmla="*/ 88 h 176"/>
                <a:gd name="T32" fmla="*/ 50 w 109"/>
                <a:gd name="T33" fmla="*/ 112 h 176"/>
                <a:gd name="T34" fmla="*/ 33 w 109"/>
                <a:gd name="T35" fmla="*/ 144 h 176"/>
                <a:gd name="T36" fmla="*/ 8 w 109"/>
                <a:gd name="T37" fmla="*/ 136 h 176"/>
                <a:gd name="T38" fmla="*/ 0 w 109"/>
                <a:gd name="T39" fmla="*/ 168 h 1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9" h="176">
                  <a:moveTo>
                    <a:pt x="0" y="168"/>
                  </a:moveTo>
                  <a:lnTo>
                    <a:pt x="50" y="176"/>
                  </a:lnTo>
                  <a:lnTo>
                    <a:pt x="76" y="144"/>
                  </a:lnTo>
                  <a:lnTo>
                    <a:pt x="76" y="112"/>
                  </a:lnTo>
                  <a:lnTo>
                    <a:pt x="109" y="96"/>
                  </a:lnTo>
                  <a:lnTo>
                    <a:pt x="92" y="72"/>
                  </a:lnTo>
                  <a:lnTo>
                    <a:pt x="109" y="64"/>
                  </a:lnTo>
                  <a:lnTo>
                    <a:pt x="101" y="8"/>
                  </a:lnTo>
                  <a:lnTo>
                    <a:pt x="84" y="0"/>
                  </a:lnTo>
                  <a:lnTo>
                    <a:pt x="67" y="16"/>
                  </a:lnTo>
                  <a:lnTo>
                    <a:pt x="59" y="48"/>
                  </a:lnTo>
                  <a:lnTo>
                    <a:pt x="42" y="16"/>
                  </a:lnTo>
                  <a:lnTo>
                    <a:pt x="8" y="40"/>
                  </a:lnTo>
                  <a:lnTo>
                    <a:pt x="0" y="48"/>
                  </a:lnTo>
                  <a:lnTo>
                    <a:pt x="8" y="72"/>
                  </a:lnTo>
                  <a:lnTo>
                    <a:pt x="42" y="88"/>
                  </a:lnTo>
                  <a:lnTo>
                    <a:pt x="50" y="112"/>
                  </a:lnTo>
                  <a:lnTo>
                    <a:pt x="33" y="144"/>
                  </a:lnTo>
                  <a:lnTo>
                    <a:pt x="8" y="136"/>
                  </a:lnTo>
                  <a:lnTo>
                    <a:pt x="0" y="168"/>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5" name="Freeform 22"/>
            <p:cNvSpPr>
              <a:spLocks/>
            </p:cNvSpPr>
            <p:nvPr>
              <p:custDataLst>
                <p:tags r:id="rId21"/>
              </p:custDataLst>
            </p:nvPr>
          </p:nvSpPr>
          <p:spPr bwMode="auto">
            <a:xfrm>
              <a:off x="4039" y="4048"/>
              <a:ext cx="328" cy="208"/>
            </a:xfrm>
            <a:custGeom>
              <a:avLst/>
              <a:gdLst>
                <a:gd name="T0" fmla="*/ 0 w 328"/>
                <a:gd name="T1" fmla="*/ 80 h 208"/>
                <a:gd name="T2" fmla="*/ 0 w 328"/>
                <a:gd name="T3" fmla="*/ 56 h 208"/>
                <a:gd name="T4" fmla="*/ 25 w 328"/>
                <a:gd name="T5" fmla="*/ 32 h 208"/>
                <a:gd name="T6" fmla="*/ 50 w 328"/>
                <a:gd name="T7" fmla="*/ 48 h 208"/>
                <a:gd name="T8" fmla="*/ 67 w 328"/>
                <a:gd name="T9" fmla="*/ 32 h 208"/>
                <a:gd name="T10" fmla="*/ 92 w 328"/>
                <a:gd name="T11" fmla="*/ 24 h 208"/>
                <a:gd name="T12" fmla="*/ 101 w 328"/>
                <a:gd name="T13" fmla="*/ 32 h 208"/>
                <a:gd name="T14" fmla="*/ 117 w 328"/>
                <a:gd name="T15" fmla="*/ 40 h 208"/>
                <a:gd name="T16" fmla="*/ 134 w 328"/>
                <a:gd name="T17" fmla="*/ 48 h 208"/>
                <a:gd name="T18" fmla="*/ 160 w 328"/>
                <a:gd name="T19" fmla="*/ 40 h 208"/>
                <a:gd name="T20" fmla="*/ 210 w 328"/>
                <a:gd name="T21" fmla="*/ 40 h 208"/>
                <a:gd name="T22" fmla="*/ 235 w 328"/>
                <a:gd name="T23" fmla="*/ 32 h 208"/>
                <a:gd name="T24" fmla="*/ 252 w 328"/>
                <a:gd name="T25" fmla="*/ 16 h 208"/>
                <a:gd name="T26" fmla="*/ 261 w 328"/>
                <a:gd name="T27" fmla="*/ 16 h 208"/>
                <a:gd name="T28" fmla="*/ 286 w 328"/>
                <a:gd name="T29" fmla="*/ 24 h 208"/>
                <a:gd name="T30" fmla="*/ 294 w 328"/>
                <a:gd name="T31" fmla="*/ 8 h 208"/>
                <a:gd name="T32" fmla="*/ 320 w 328"/>
                <a:gd name="T33" fmla="*/ 0 h 208"/>
                <a:gd name="T34" fmla="*/ 328 w 328"/>
                <a:gd name="T35" fmla="*/ 16 h 208"/>
                <a:gd name="T36" fmla="*/ 311 w 328"/>
                <a:gd name="T37" fmla="*/ 56 h 208"/>
                <a:gd name="T38" fmla="*/ 303 w 328"/>
                <a:gd name="T39" fmla="*/ 80 h 208"/>
                <a:gd name="T40" fmla="*/ 286 w 328"/>
                <a:gd name="T41" fmla="*/ 104 h 208"/>
                <a:gd name="T42" fmla="*/ 286 w 328"/>
                <a:gd name="T43" fmla="*/ 112 h 208"/>
                <a:gd name="T44" fmla="*/ 303 w 328"/>
                <a:gd name="T45" fmla="*/ 128 h 208"/>
                <a:gd name="T46" fmla="*/ 320 w 328"/>
                <a:gd name="T47" fmla="*/ 160 h 208"/>
                <a:gd name="T48" fmla="*/ 303 w 328"/>
                <a:gd name="T49" fmla="*/ 176 h 208"/>
                <a:gd name="T50" fmla="*/ 303 w 328"/>
                <a:gd name="T51" fmla="*/ 208 h 208"/>
                <a:gd name="T52" fmla="*/ 269 w 328"/>
                <a:gd name="T53" fmla="*/ 200 h 208"/>
                <a:gd name="T54" fmla="*/ 227 w 328"/>
                <a:gd name="T55" fmla="*/ 192 h 208"/>
                <a:gd name="T56" fmla="*/ 202 w 328"/>
                <a:gd name="T57" fmla="*/ 152 h 208"/>
                <a:gd name="T58" fmla="*/ 168 w 328"/>
                <a:gd name="T59" fmla="*/ 160 h 208"/>
                <a:gd name="T60" fmla="*/ 143 w 328"/>
                <a:gd name="T61" fmla="*/ 144 h 208"/>
                <a:gd name="T62" fmla="*/ 126 w 328"/>
                <a:gd name="T63" fmla="*/ 128 h 208"/>
                <a:gd name="T64" fmla="*/ 109 w 328"/>
                <a:gd name="T65" fmla="*/ 128 h 208"/>
                <a:gd name="T66" fmla="*/ 84 w 328"/>
                <a:gd name="T67" fmla="*/ 112 h 208"/>
                <a:gd name="T68" fmla="*/ 67 w 328"/>
                <a:gd name="T69" fmla="*/ 112 h 208"/>
                <a:gd name="T70" fmla="*/ 50 w 328"/>
                <a:gd name="T71" fmla="*/ 96 h 208"/>
                <a:gd name="T72" fmla="*/ 25 w 328"/>
                <a:gd name="T73" fmla="*/ 104 h 208"/>
                <a:gd name="T74" fmla="*/ 0 w 328"/>
                <a:gd name="T75" fmla="*/ 80 h 2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28" h="208">
                  <a:moveTo>
                    <a:pt x="0" y="80"/>
                  </a:moveTo>
                  <a:lnTo>
                    <a:pt x="0" y="56"/>
                  </a:lnTo>
                  <a:lnTo>
                    <a:pt x="25" y="32"/>
                  </a:lnTo>
                  <a:lnTo>
                    <a:pt x="50" y="48"/>
                  </a:lnTo>
                  <a:lnTo>
                    <a:pt x="67" y="32"/>
                  </a:lnTo>
                  <a:lnTo>
                    <a:pt x="92" y="24"/>
                  </a:lnTo>
                  <a:lnTo>
                    <a:pt x="101" y="32"/>
                  </a:lnTo>
                  <a:lnTo>
                    <a:pt x="117" y="40"/>
                  </a:lnTo>
                  <a:lnTo>
                    <a:pt x="134" y="48"/>
                  </a:lnTo>
                  <a:lnTo>
                    <a:pt x="160" y="40"/>
                  </a:lnTo>
                  <a:lnTo>
                    <a:pt x="210" y="40"/>
                  </a:lnTo>
                  <a:lnTo>
                    <a:pt x="235" y="32"/>
                  </a:lnTo>
                  <a:lnTo>
                    <a:pt x="252" y="16"/>
                  </a:lnTo>
                  <a:lnTo>
                    <a:pt x="261" y="16"/>
                  </a:lnTo>
                  <a:lnTo>
                    <a:pt x="286" y="24"/>
                  </a:lnTo>
                  <a:lnTo>
                    <a:pt x="294" y="8"/>
                  </a:lnTo>
                  <a:lnTo>
                    <a:pt x="320" y="0"/>
                  </a:lnTo>
                  <a:lnTo>
                    <a:pt x="328" y="16"/>
                  </a:lnTo>
                  <a:lnTo>
                    <a:pt x="311" y="56"/>
                  </a:lnTo>
                  <a:lnTo>
                    <a:pt x="303" y="80"/>
                  </a:lnTo>
                  <a:lnTo>
                    <a:pt x="286" y="104"/>
                  </a:lnTo>
                  <a:lnTo>
                    <a:pt x="286" y="112"/>
                  </a:lnTo>
                  <a:lnTo>
                    <a:pt x="303" y="128"/>
                  </a:lnTo>
                  <a:lnTo>
                    <a:pt x="320" y="160"/>
                  </a:lnTo>
                  <a:lnTo>
                    <a:pt x="303" y="176"/>
                  </a:lnTo>
                  <a:lnTo>
                    <a:pt x="303" y="208"/>
                  </a:lnTo>
                  <a:lnTo>
                    <a:pt x="269" y="200"/>
                  </a:lnTo>
                  <a:lnTo>
                    <a:pt x="227" y="192"/>
                  </a:lnTo>
                  <a:lnTo>
                    <a:pt x="202" y="152"/>
                  </a:lnTo>
                  <a:lnTo>
                    <a:pt x="168" y="160"/>
                  </a:lnTo>
                  <a:lnTo>
                    <a:pt x="143" y="144"/>
                  </a:lnTo>
                  <a:lnTo>
                    <a:pt x="126" y="128"/>
                  </a:lnTo>
                  <a:lnTo>
                    <a:pt x="109" y="128"/>
                  </a:lnTo>
                  <a:lnTo>
                    <a:pt x="84" y="112"/>
                  </a:lnTo>
                  <a:lnTo>
                    <a:pt x="67" y="112"/>
                  </a:lnTo>
                  <a:lnTo>
                    <a:pt x="50" y="96"/>
                  </a:lnTo>
                  <a:lnTo>
                    <a:pt x="25" y="104"/>
                  </a:lnTo>
                  <a:lnTo>
                    <a:pt x="0" y="80"/>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6" name="Freeform 23"/>
            <p:cNvSpPr>
              <a:spLocks/>
            </p:cNvSpPr>
            <p:nvPr>
              <p:custDataLst>
                <p:tags r:id="rId22"/>
              </p:custDataLst>
            </p:nvPr>
          </p:nvSpPr>
          <p:spPr bwMode="auto">
            <a:xfrm>
              <a:off x="5286" y="4200"/>
              <a:ext cx="311" cy="72"/>
            </a:xfrm>
            <a:custGeom>
              <a:avLst/>
              <a:gdLst>
                <a:gd name="T0" fmla="*/ 0 w 311"/>
                <a:gd name="T1" fmla="*/ 24 h 72"/>
                <a:gd name="T2" fmla="*/ 8 w 311"/>
                <a:gd name="T3" fmla="*/ 56 h 72"/>
                <a:gd name="T4" fmla="*/ 33 w 311"/>
                <a:gd name="T5" fmla="*/ 64 h 72"/>
                <a:gd name="T6" fmla="*/ 67 w 311"/>
                <a:gd name="T7" fmla="*/ 64 h 72"/>
                <a:gd name="T8" fmla="*/ 126 w 311"/>
                <a:gd name="T9" fmla="*/ 56 h 72"/>
                <a:gd name="T10" fmla="*/ 143 w 311"/>
                <a:gd name="T11" fmla="*/ 56 h 72"/>
                <a:gd name="T12" fmla="*/ 143 w 311"/>
                <a:gd name="T13" fmla="*/ 72 h 72"/>
                <a:gd name="T14" fmla="*/ 193 w 311"/>
                <a:gd name="T15" fmla="*/ 72 h 72"/>
                <a:gd name="T16" fmla="*/ 219 w 311"/>
                <a:gd name="T17" fmla="*/ 56 h 72"/>
                <a:gd name="T18" fmla="*/ 252 w 311"/>
                <a:gd name="T19" fmla="*/ 56 h 72"/>
                <a:gd name="T20" fmla="*/ 278 w 311"/>
                <a:gd name="T21" fmla="*/ 40 h 72"/>
                <a:gd name="T22" fmla="*/ 311 w 311"/>
                <a:gd name="T23" fmla="*/ 32 h 72"/>
                <a:gd name="T24" fmla="*/ 311 w 311"/>
                <a:gd name="T25" fmla="*/ 0 h 72"/>
                <a:gd name="T26" fmla="*/ 286 w 311"/>
                <a:gd name="T27" fmla="*/ 16 h 72"/>
                <a:gd name="T28" fmla="*/ 269 w 311"/>
                <a:gd name="T29" fmla="*/ 24 h 72"/>
                <a:gd name="T30" fmla="*/ 252 w 311"/>
                <a:gd name="T31" fmla="*/ 24 h 72"/>
                <a:gd name="T32" fmla="*/ 244 w 311"/>
                <a:gd name="T33" fmla="*/ 8 h 72"/>
                <a:gd name="T34" fmla="*/ 219 w 311"/>
                <a:gd name="T35" fmla="*/ 16 h 72"/>
                <a:gd name="T36" fmla="*/ 168 w 311"/>
                <a:gd name="T37" fmla="*/ 24 h 72"/>
                <a:gd name="T38" fmla="*/ 168 w 311"/>
                <a:gd name="T39" fmla="*/ 8 h 72"/>
                <a:gd name="T40" fmla="*/ 84 w 311"/>
                <a:gd name="T41" fmla="*/ 40 h 72"/>
                <a:gd name="T42" fmla="*/ 75 w 311"/>
                <a:gd name="T43" fmla="*/ 16 h 72"/>
                <a:gd name="T44" fmla="*/ 59 w 311"/>
                <a:gd name="T45" fmla="*/ 8 h 72"/>
                <a:gd name="T46" fmla="*/ 59 w 311"/>
                <a:gd name="T47" fmla="*/ 24 h 72"/>
                <a:gd name="T48" fmla="*/ 33 w 311"/>
                <a:gd name="T49" fmla="*/ 24 h 72"/>
                <a:gd name="T50" fmla="*/ 16 w 311"/>
                <a:gd name="T51" fmla="*/ 0 h 72"/>
                <a:gd name="T52" fmla="*/ 16 w 311"/>
                <a:gd name="T53" fmla="*/ 16 h 72"/>
                <a:gd name="T54" fmla="*/ 0 w 311"/>
                <a:gd name="T55" fmla="*/ 24 h 7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11" h="72">
                  <a:moveTo>
                    <a:pt x="0" y="24"/>
                  </a:moveTo>
                  <a:lnTo>
                    <a:pt x="8" y="56"/>
                  </a:lnTo>
                  <a:lnTo>
                    <a:pt x="33" y="64"/>
                  </a:lnTo>
                  <a:lnTo>
                    <a:pt x="67" y="64"/>
                  </a:lnTo>
                  <a:lnTo>
                    <a:pt x="126" y="56"/>
                  </a:lnTo>
                  <a:lnTo>
                    <a:pt x="143" y="56"/>
                  </a:lnTo>
                  <a:lnTo>
                    <a:pt x="143" y="72"/>
                  </a:lnTo>
                  <a:lnTo>
                    <a:pt x="193" y="72"/>
                  </a:lnTo>
                  <a:lnTo>
                    <a:pt x="219" y="56"/>
                  </a:lnTo>
                  <a:lnTo>
                    <a:pt x="252" y="56"/>
                  </a:lnTo>
                  <a:lnTo>
                    <a:pt x="278" y="40"/>
                  </a:lnTo>
                  <a:lnTo>
                    <a:pt x="311" y="32"/>
                  </a:lnTo>
                  <a:lnTo>
                    <a:pt x="311" y="0"/>
                  </a:lnTo>
                  <a:lnTo>
                    <a:pt x="286" y="16"/>
                  </a:lnTo>
                  <a:lnTo>
                    <a:pt x="269" y="24"/>
                  </a:lnTo>
                  <a:lnTo>
                    <a:pt x="252" y="24"/>
                  </a:lnTo>
                  <a:lnTo>
                    <a:pt x="244" y="8"/>
                  </a:lnTo>
                  <a:lnTo>
                    <a:pt x="219" y="16"/>
                  </a:lnTo>
                  <a:lnTo>
                    <a:pt x="168" y="24"/>
                  </a:lnTo>
                  <a:lnTo>
                    <a:pt x="168" y="8"/>
                  </a:lnTo>
                  <a:lnTo>
                    <a:pt x="84" y="40"/>
                  </a:lnTo>
                  <a:lnTo>
                    <a:pt x="75" y="16"/>
                  </a:lnTo>
                  <a:lnTo>
                    <a:pt x="59" y="8"/>
                  </a:lnTo>
                  <a:lnTo>
                    <a:pt x="59" y="24"/>
                  </a:lnTo>
                  <a:lnTo>
                    <a:pt x="33" y="24"/>
                  </a:lnTo>
                  <a:lnTo>
                    <a:pt x="16" y="0"/>
                  </a:lnTo>
                  <a:lnTo>
                    <a:pt x="16" y="16"/>
                  </a:lnTo>
                  <a:lnTo>
                    <a:pt x="0" y="2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7" name="Freeform 24"/>
            <p:cNvSpPr>
              <a:spLocks/>
            </p:cNvSpPr>
            <p:nvPr>
              <p:custDataLst>
                <p:tags r:id="rId23"/>
              </p:custDataLst>
            </p:nvPr>
          </p:nvSpPr>
          <p:spPr bwMode="auto">
            <a:xfrm>
              <a:off x="3584" y="3712"/>
              <a:ext cx="168" cy="288"/>
            </a:xfrm>
            <a:custGeom>
              <a:avLst/>
              <a:gdLst>
                <a:gd name="T0" fmla="*/ 0 w 168"/>
                <a:gd name="T1" fmla="*/ 40 h 288"/>
                <a:gd name="T2" fmla="*/ 33 w 168"/>
                <a:gd name="T3" fmla="*/ 48 h 288"/>
                <a:gd name="T4" fmla="*/ 59 w 168"/>
                <a:gd name="T5" fmla="*/ 40 h 288"/>
                <a:gd name="T6" fmla="*/ 101 w 168"/>
                <a:gd name="T7" fmla="*/ 8 h 288"/>
                <a:gd name="T8" fmla="*/ 109 w 168"/>
                <a:gd name="T9" fmla="*/ 0 h 288"/>
                <a:gd name="T10" fmla="*/ 143 w 168"/>
                <a:gd name="T11" fmla="*/ 16 h 288"/>
                <a:gd name="T12" fmla="*/ 143 w 168"/>
                <a:gd name="T13" fmla="*/ 32 h 288"/>
                <a:gd name="T14" fmla="*/ 168 w 168"/>
                <a:gd name="T15" fmla="*/ 96 h 288"/>
                <a:gd name="T16" fmla="*/ 151 w 168"/>
                <a:gd name="T17" fmla="*/ 120 h 288"/>
                <a:gd name="T18" fmla="*/ 168 w 168"/>
                <a:gd name="T19" fmla="*/ 152 h 288"/>
                <a:gd name="T20" fmla="*/ 143 w 168"/>
                <a:gd name="T21" fmla="*/ 256 h 288"/>
                <a:gd name="T22" fmla="*/ 117 w 168"/>
                <a:gd name="T23" fmla="*/ 248 h 288"/>
                <a:gd name="T24" fmla="*/ 92 w 168"/>
                <a:gd name="T25" fmla="*/ 248 h 288"/>
                <a:gd name="T26" fmla="*/ 84 w 168"/>
                <a:gd name="T27" fmla="*/ 264 h 288"/>
                <a:gd name="T28" fmla="*/ 67 w 168"/>
                <a:gd name="T29" fmla="*/ 280 h 288"/>
                <a:gd name="T30" fmla="*/ 42 w 168"/>
                <a:gd name="T31" fmla="*/ 288 h 288"/>
                <a:gd name="T32" fmla="*/ 25 w 168"/>
                <a:gd name="T33" fmla="*/ 248 h 288"/>
                <a:gd name="T34" fmla="*/ 25 w 168"/>
                <a:gd name="T35" fmla="*/ 200 h 288"/>
                <a:gd name="T36" fmla="*/ 33 w 168"/>
                <a:gd name="T37" fmla="*/ 176 h 288"/>
                <a:gd name="T38" fmla="*/ 25 w 168"/>
                <a:gd name="T39" fmla="*/ 160 h 288"/>
                <a:gd name="T40" fmla="*/ 33 w 168"/>
                <a:gd name="T41" fmla="*/ 136 h 288"/>
                <a:gd name="T42" fmla="*/ 33 w 168"/>
                <a:gd name="T43" fmla="*/ 112 h 288"/>
                <a:gd name="T44" fmla="*/ 25 w 168"/>
                <a:gd name="T45" fmla="*/ 80 h 288"/>
                <a:gd name="T46" fmla="*/ 0 w 168"/>
                <a:gd name="T47" fmla="*/ 72 h 288"/>
                <a:gd name="T48" fmla="*/ 0 w 168"/>
                <a:gd name="T49" fmla="*/ 40 h 28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68" h="288">
                  <a:moveTo>
                    <a:pt x="0" y="40"/>
                  </a:moveTo>
                  <a:lnTo>
                    <a:pt x="33" y="48"/>
                  </a:lnTo>
                  <a:lnTo>
                    <a:pt x="59" y="40"/>
                  </a:lnTo>
                  <a:lnTo>
                    <a:pt x="101" y="8"/>
                  </a:lnTo>
                  <a:lnTo>
                    <a:pt x="109" y="0"/>
                  </a:lnTo>
                  <a:lnTo>
                    <a:pt x="143" y="16"/>
                  </a:lnTo>
                  <a:lnTo>
                    <a:pt x="143" y="32"/>
                  </a:lnTo>
                  <a:lnTo>
                    <a:pt x="168" y="96"/>
                  </a:lnTo>
                  <a:lnTo>
                    <a:pt x="151" y="120"/>
                  </a:lnTo>
                  <a:lnTo>
                    <a:pt x="168" y="152"/>
                  </a:lnTo>
                  <a:lnTo>
                    <a:pt x="143" y="256"/>
                  </a:lnTo>
                  <a:lnTo>
                    <a:pt x="117" y="248"/>
                  </a:lnTo>
                  <a:lnTo>
                    <a:pt x="92" y="248"/>
                  </a:lnTo>
                  <a:lnTo>
                    <a:pt x="84" y="264"/>
                  </a:lnTo>
                  <a:lnTo>
                    <a:pt x="67" y="280"/>
                  </a:lnTo>
                  <a:lnTo>
                    <a:pt x="42" y="288"/>
                  </a:lnTo>
                  <a:lnTo>
                    <a:pt x="25" y="248"/>
                  </a:lnTo>
                  <a:lnTo>
                    <a:pt x="25" y="200"/>
                  </a:lnTo>
                  <a:lnTo>
                    <a:pt x="33" y="176"/>
                  </a:lnTo>
                  <a:lnTo>
                    <a:pt x="25" y="160"/>
                  </a:lnTo>
                  <a:lnTo>
                    <a:pt x="33" y="136"/>
                  </a:lnTo>
                  <a:lnTo>
                    <a:pt x="33" y="112"/>
                  </a:lnTo>
                  <a:lnTo>
                    <a:pt x="25" y="80"/>
                  </a:lnTo>
                  <a:lnTo>
                    <a:pt x="0" y="72"/>
                  </a:lnTo>
                  <a:lnTo>
                    <a:pt x="0" y="4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8" name="Freeform 25"/>
            <p:cNvSpPr>
              <a:spLocks/>
            </p:cNvSpPr>
            <p:nvPr>
              <p:custDataLst>
                <p:tags r:id="rId24"/>
              </p:custDataLst>
            </p:nvPr>
          </p:nvSpPr>
          <p:spPr bwMode="auto">
            <a:xfrm>
              <a:off x="5286" y="4200"/>
              <a:ext cx="311" cy="72"/>
            </a:xfrm>
            <a:custGeom>
              <a:avLst/>
              <a:gdLst>
                <a:gd name="T0" fmla="*/ 0 w 311"/>
                <a:gd name="T1" fmla="*/ 24 h 72"/>
                <a:gd name="T2" fmla="*/ 8 w 311"/>
                <a:gd name="T3" fmla="*/ 56 h 72"/>
                <a:gd name="T4" fmla="*/ 33 w 311"/>
                <a:gd name="T5" fmla="*/ 64 h 72"/>
                <a:gd name="T6" fmla="*/ 67 w 311"/>
                <a:gd name="T7" fmla="*/ 64 h 72"/>
                <a:gd name="T8" fmla="*/ 126 w 311"/>
                <a:gd name="T9" fmla="*/ 56 h 72"/>
                <a:gd name="T10" fmla="*/ 143 w 311"/>
                <a:gd name="T11" fmla="*/ 56 h 72"/>
                <a:gd name="T12" fmla="*/ 143 w 311"/>
                <a:gd name="T13" fmla="*/ 72 h 72"/>
                <a:gd name="T14" fmla="*/ 193 w 311"/>
                <a:gd name="T15" fmla="*/ 72 h 72"/>
                <a:gd name="T16" fmla="*/ 219 w 311"/>
                <a:gd name="T17" fmla="*/ 56 h 72"/>
                <a:gd name="T18" fmla="*/ 252 w 311"/>
                <a:gd name="T19" fmla="*/ 56 h 72"/>
                <a:gd name="T20" fmla="*/ 278 w 311"/>
                <a:gd name="T21" fmla="*/ 40 h 72"/>
                <a:gd name="T22" fmla="*/ 311 w 311"/>
                <a:gd name="T23" fmla="*/ 32 h 72"/>
                <a:gd name="T24" fmla="*/ 311 w 311"/>
                <a:gd name="T25" fmla="*/ 0 h 72"/>
                <a:gd name="T26" fmla="*/ 286 w 311"/>
                <a:gd name="T27" fmla="*/ 16 h 72"/>
                <a:gd name="T28" fmla="*/ 269 w 311"/>
                <a:gd name="T29" fmla="*/ 24 h 72"/>
                <a:gd name="T30" fmla="*/ 252 w 311"/>
                <a:gd name="T31" fmla="*/ 24 h 72"/>
                <a:gd name="T32" fmla="*/ 244 w 311"/>
                <a:gd name="T33" fmla="*/ 8 h 72"/>
                <a:gd name="T34" fmla="*/ 219 w 311"/>
                <a:gd name="T35" fmla="*/ 16 h 72"/>
                <a:gd name="T36" fmla="*/ 168 w 311"/>
                <a:gd name="T37" fmla="*/ 24 h 72"/>
                <a:gd name="T38" fmla="*/ 168 w 311"/>
                <a:gd name="T39" fmla="*/ 8 h 72"/>
                <a:gd name="T40" fmla="*/ 84 w 311"/>
                <a:gd name="T41" fmla="*/ 40 h 72"/>
                <a:gd name="T42" fmla="*/ 75 w 311"/>
                <a:gd name="T43" fmla="*/ 16 h 72"/>
                <a:gd name="T44" fmla="*/ 59 w 311"/>
                <a:gd name="T45" fmla="*/ 8 h 72"/>
                <a:gd name="T46" fmla="*/ 59 w 311"/>
                <a:gd name="T47" fmla="*/ 24 h 72"/>
                <a:gd name="T48" fmla="*/ 33 w 311"/>
                <a:gd name="T49" fmla="*/ 24 h 72"/>
                <a:gd name="T50" fmla="*/ 16 w 311"/>
                <a:gd name="T51" fmla="*/ 0 h 72"/>
                <a:gd name="T52" fmla="*/ 16 w 311"/>
                <a:gd name="T53" fmla="*/ 16 h 72"/>
                <a:gd name="T54" fmla="*/ 0 w 311"/>
                <a:gd name="T55" fmla="*/ 24 h 7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11" h="72">
                  <a:moveTo>
                    <a:pt x="0" y="24"/>
                  </a:moveTo>
                  <a:lnTo>
                    <a:pt x="8" y="56"/>
                  </a:lnTo>
                  <a:lnTo>
                    <a:pt x="33" y="64"/>
                  </a:lnTo>
                  <a:lnTo>
                    <a:pt x="67" y="64"/>
                  </a:lnTo>
                  <a:lnTo>
                    <a:pt x="126" y="56"/>
                  </a:lnTo>
                  <a:lnTo>
                    <a:pt x="143" y="56"/>
                  </a:lnTo>
                  <a:lnTo>
                    <a:pt x="143" y="72"/>
                  </a:lnTo>
                  <a:lnTo>
                    <a:pt x="193" y="72"/>
                  </a:lnTo>
                  <a:lnTo>
                    <a:pt x="219" y="56"/>
                  </a:lnTo>
                  <a:lnTo>
                    <a:pt x="252" y="56"/>
                  </a:lnTo>
                  <a:lnTo>
                    <a:pt x="278" y="40"/>
                  </a:lnTo>
                  <a:lnTo>
                    <a:pt x="311" y="32"/>
                  </a:lnTo>
                  <a:lnTo>
                    <a:pt x="311" y="0"/>
                  </a:lnTo>
                  <a:lnTo>
                    <a:pt x="286" y="16"/>
                  </a:lnTo>
                  <a:lnTo>
                    <a:pt x="269" y="24"/>
                  </a:lnTo>
                  <a:lnTo>
                    <a:pt x="252" y="24"/>
                  </a:lnTo>
                  <a:lnTo>
                    <a:pt x="244" y="8"/>
                  </a:lnTo>
                  <a:lnTo>
                    <a:pt x="219" y="16"/>
                  </a:lnTo>
                  <a:lnTo>
                    <a:pt x="168" y="24"/>
                  </a:lnTo>
                  <a:lnTo>
                    <a:pt x="168" y="8"/>
                  </a:lnTo>
                  <a:lnTo>
                    <a:pt x="84" y="40"/>
                  </a:lnTo>
                  <a:lnTo>
                    <a:pt x="75" y="16"/>
                  </a:lnTo>
                  <a:lnTo>
                    <a:pt x="59" y="8"/>
                  </a:lnTo>
                  <a:lnTo>
                    <a:pt x="59" y="24"/>
                  </a:lnTo>
                  <a:lnTo>
                    <a:pt x="33" y="24"/>
                  </a:lnTo>
                  <a:lnTo>
                    <a:pt x="16" y="0"/>
                  </a:lnTo>
                  <a:lnTo>
                    <a:pt x="16" y="16"/>
                  </a:lnTo>
                  <a:lnTo>
                    <a:pt x="0" y="24"/>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49" name="Freeform 26"/>
            <p:cNvSpPr>
              <a:spLocks/>
            </p:cNvSpPr>
            <p:nvPr>
              <p:custDataLst>
                <p:tags r:id="rId25"/>
              </p:custDataLst>
            </p:nvPr>
          </p:nvSpPr>
          <p:spPr bwMode="auto">
            <a:xfrm>
              <a:off x="3584" y="3712"/>
              <a:ext cx="168" cy="288"/>
            </a:xfrm>
            <a:custGeom>
              <a:avLst/>
              <a:gdLst>
                <a:gd name="T0" fmla="*/ 0 w 168"/>
                <a:gd name="T1" fmla="*/ 40 h 288"/>
                <a:gd name="T2" fmla="*/ 33 w 168"/>
                <a:gd name="T3" fmla="*/ 48 h 288"/>
                <a:gd name="T4" fmla="*/ 59 w 168"/>
                <a:gd name="T5" fmla="*/ 40 h 288"/>
                <a:gd name="T6" fmla="*/ 101 w 168"/>
                <a:gd name="T7" fmla="*/ 8 h 288"/>
                <a:gd name="T8" fmla="*/ 109 w 168"/>
                <a:gd name="T9" fmla="*/ 0 h 288"/>
                <a:gd name="T10" fmla="*/ 143 w 168"/>
                <a:gd name="T11" fmla="*/ 16 h 288"/>
                <a:gd name="T12" fmla="*/ 143 w 168"/>
                <a:gd name="T13" fmla="*/ 32 h 288"/>
                <a:gd name="T14" fmla="*/ 168 w 168"/>
                <a:gd name="T15" fmla="*/ 96 h 288"/>
                <a:gd name="T16" fmla="*/ 151 w 168"/>
                <a:gd name="T17" fmla="*/ 120 h 288"/>
                <a:gd name="T18" fmla="*/ 168 w 168"/>
                <a:gd name="T19" fmla="*/ 152 h 288"/>
                <a:gd name="T20" fmla="*/ 143 w 168"/>
                <a:gd name="T21" fmla="*/ 256 h 288"/>
                <a:gd name="T22" fmla="*/ 117 w 168"/>
                <a:gd name="T23" fmla="*/ 248 h 288"/>
                <a:gd name="T24" fmla="*/ 92 w 168"/>
                <a:gd name="T25" fmla="*/ 248 h 288"/>
                <a:gd name="T26" fmla="*/ 84 w 168"/>
                <a:gd name="T27" fmla="*/ 264 h 288"/>
                <a:gd name="T28" fmla="*/ 67 w 168"/>
                <a:gd name="T29" fmla="*/ 280 h 288"/>
                <a:gd name="T30" fmla="*/ 42 w 168"/>
                <a:gd name="T31" fmla="*/ 288 h 288"/>
                <a:gd name="T32" fmla="*/ 25 w 168"/>
                <a:gd name="T33" fmla="*/ 248 h 288"/>
                <a:gd name="T34" fmla="*/ 25 w 168"/>
                <a:gd name="T35" fmla="*/ 200 h 288"/>
                <a:gd name="T36" fmla="*/ 33 w 168"/>
                <a:gd name="T37" fmla="*/ 176 h 288"/>
                <a:gd name="T38" fmla="*/ 25 w 168"/>
                <a:gd name="T39" fmla="*/ 160 h 288"/>
                <a:gd name="T40" fmla="*/ 33 w 168"/>
                <a:gd name="T41" fmla="*/ 136 h 288"/>
                <a:gd name="T42" fmla="*/ 33 w 168"/>
                <a:gd name="T43" fmla="*/ 112 h 288"/>
                <a:gd name="T44" fmla="*/ 25 w 168"/>
                <a:gd name="T45" fmla="*/ 80 h 288"/>
                <a:gd name="T46" fmla="*/ 0 w 168"/>
                <a:gd name="T47" fmla="*/ 72 h 288"/>
                <a:gd name="T48" fmla="*/ 0 w 168"/>
                <a:gd name="T49" fmla="*/ 40 h 28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68" h="288">
                  <a:moveTo>
                    <a:pt x="0" y="40"/>
                  </a:moveTo>
                  <a:lnTo>
                    <a:pt x="33" y="48"/>
                  </a:lnTo>
                  <a:lnTo>
                    <a:pt x="59" y="40"/>
                  </a:lnTo>
                  <a:lnTo>
                    <a:pt x="101" y="8"/>
                  </a:lnTo>
                  <a:lnTo>
                    <a:pt x="109" y="0"/>
                  </a:lnTo>
                  <a:lnTo>
                    <a:pt x="143" y="16"/>
                  </a:lnTo>
                  <a:lnTo>
                    <a:pt x="143" y="32"/>
                  </a:lnTo>
                  <a:lnTo>
                    <a:pt x="168" y="96"/>
                  </a:lnTo>
                  <a:lnTo>
                    <a:pt x="151" y="120"/>
                  </a:lnTo>
                  <a:lnTo>
                    <a:pt x="168" y="152"/>
                  </a:lnTo>
                  <a:lnTo>
                    <a:pt x="143" y="256"/>
                  </a:lnTo>
                  <a:lnTo>
                    <a:pt x="117" y="248"/>
                  </a:lnTo>
                  <a:lnTo>
                    <a:pt x="92" y="248"/>
                  </a:lnTo>
                  <a:lnTo>
                    <a:pt x="84" y="264"/>
                  </a:lnTo>
                  <a:lnTo>
                    <a:pt x="67" y="280"/>
                  </a:lnTo>
                  <a:lnTo>
                    <a:pt x="42" y="288"/>
                  </a:lnTo>
                  <a:lnTo>
                    <a:pt x="25" y="248"/>
                  </a:lnTo>
                  <a:lnTo>
                    <a:pt x="25" y="200"/>
                  </a:lnTo>
                  <a:lnTo>
                    <a:pt x="33" y="176"/>
                  </a:lnTo>
                  <a:lnTo>
                    <a:pt x="25" y="160"/>
                  </a:lnTo>
                  <a:lnTo>
                    <a:pt x="33" y="136"/>
                  </a:lnTo>
                  <a:lnTo>
                    <a:pt x="33" y="112"/>
                  </a:lnTo>
                  <a:lnTo>
                    <a:pt x="25" y="80"/>
                  </a:lnTo>
                  <a:lnTo>
                    <a:pt x="0" y="72"/>
                  </a:lnTo>
                  <a:lnTo>
                    <a:pt x="0" y="40"/>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0" name="Freeform 27"/>
            <p:cNvSpPr>
              <a:spLocks/>
            </p:cNvSpPr>
            <p:nvPr>
              <p:custDataLst>
                <p:tags r:id="rId26"/>
              </p:custDataLst>
            </p:nvPr>
          </p:nvSpPr>
          <p:spPr bwMode="auto">
            <a:xfrm>
              <a:off x="3626" y="3496"/>
              <a:ext cx="101" cy="192"/>
            </a:xfrm>
            <a:custGeom>
              <a:avLst/>
              <a:gdLst>
                <a:gd name="T0" fmla="*/ 75 w 101"/>
                <a:gd name="T1" fmla="*/ 32 h 192"/>
                <a:gd name="T2" fmla="*/ 75 w 101"/>
                <a:gd name="T3" fmla="*/ 0 h 192"/>
                <a:gd name="T4" fmla="*/ 92 w 101"/>
                <a:gd name="T5" fmla="*/ 0 h 192"/>
                <a:gd name="T6" fmla="*/ 92 w 101"/>
                <a:gd name="T7" fmla="*/ 40 h 192"/>
                <a:gd name="T8" fmla="*/ 101 w 101"/>
                <a:gd name="T9" fmla="*/ 56 h 192"/>
                <a:gd name="T10" fmla="*/ 101 w 101"/>
                <a:gd name="T11" fmla="*/ 104 h 192"/>
                <a:gd name="T12" fmla="*/ 92 w 101"/>
                <a:gd name="T13" fmla="*/ 120 h 192"/>
                <a:gd name="T14" fmla="*/ 92 w 101"/>
                <a:gd name="T15" fmla="*/ 152 h 192"/>
                <a:gd name="T16" fmla="*/ 67 w 101"/>
                <a:gd name="T17" fmla="*/ 192 h 192"/>
                <a:gd name="T18" fmla="*/ 50 w 101"/>
                <a:gd name="T19" fmla="*/ 192 h 192"/>
                <a:gd name="T20" fmla="*/ 25 w 101"/>
                <a:gd name="T21" fmla="*/ 176 h 192"/>
                <a:gd name="T22" fmla="*/ 33 w 101"/>
                <a:gd name="T23" fmla="*/ 160 h 192"/>
                <a:gd name="T24" fmla="*/ 17 w 101"/>
                <a:gd name="T25" fmla="*/ 152 h 192"/>
                <a:gd name="T26" fmla="*/ 33 w 101"/>
                <a:gd name="T27" fmla="*/ 136 h 192"/>
                <a:gd name="T28" fmla="*/ 8 w 101"/>
                <a:gd name="T29" fmla="*/ 128 h 192"/>
                <a:gd name="T30" fmla="*/ 25 w 101"/>
                <a:gd name="T31" fmla="*/ 112 h 192"/>
                <a:gd name="T32" fmla="*/ 8 w 101"/>
                <a:gd name="T33" fmla="*/ 96 h 192"/>
                <a:gd name="T34" fmla="*/ 0 w 101"/>
                <a:gd name="T35" fmla="*/ 72 h 192"/>
                <a:gd name="T36" fmla="*/ 17 w 101"/>
                <a:gd name="T37" fmla="*/ 64 h 192"/>
                <a:gd name="T38" fmla="*/ 17 w 101"/>
                <a:gd name="T39" fmla="*/ 48 h 192"/>
                <a:gd name="T40" fmla="*/ 42 w 101"/>
                <a:gd name="T41" fmla="*/ 40 h 192"/>
                <a:gd name="T42" fmla="*/ 75 w 101"/>
                <a:gd name="T43" fmla="*/ 32 h 19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01" h="192">
                  <a:moveTo>
                    <a:pt x="75" y="32"/>
                  </a:moveTo>
                  <a:lnTo>
                    <a:pt x="75" y="0"/>
                  </a:lnTo>
                  <a:lnTo>
                    <a:pt x="92" y="0"/>
                  </a:lnTo>
                  <a:lnTo>
                    <a:pt x="92" y="40"/>
                  </a:lnTo>
                  <a:lnTo>
                    <a:pt x="101" y="56"/>
                  </a:lnTo>
                  <a:lnTo>
                    <a:pt x="101" y="104"/>
                  </a:lnTo>
                  <a:lnTo>
                    <a:pt x="92" y="120"/>
                  </a:lnTo>
                  <a:lnTo>
                    <a:pt x="92" y="152"/>
                  </a:lnTo>
                  <a:lnTo>
                    <a:pt x="67" y="192"/>
                  </a:lnTo>
                  <a:lnTo>
                    <a:pt x="50" y="192"/>
                  </a:lnTo>
                  <a:lnTo>
                    <a:pt x="25" y="176"/>
                  </a:lnTo>
                  <a:lnTo>
                    <a:pt x="33" y="160"/>
                  </a:lnTo>
                  <a:lnTo>
                    <a:pt x="17" y="152"/>
                  </a:lnTo>
                  <a:lnTo>
                    <a:pt x="33" y="136"/>
                  </a:lnTo>
                  <a:lnTo>
                    <a:pt x="8" y="128"/>
                  </a:lnTo>
                  <a:lnTo>
                    <a:pt x="25" y="112"/>
                  </a:lnTo>
                  <a:lnTo>
                    <a:pt x="8" y="96"/>
                  </a:lnTo>
                  <a:lnTo>
                    <a:pt x="0" y="72"/>
                  </a:lnTo>
                  <a:lnTo>
                    <a:pt x="17" y="64"/>
                  </a:lnTo>
                  <a:lnTo>
                    <a:pt x="17" y="48"/>
                  </a:lnTo>
                  <a:lnTo>
                    <a:pt x="42" y="40"/>
                  </a:lnTo>
                  <a:lnTo>
                    <a:pt x="75" y="3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1" name="Freeform 28"/>
            <p:cNvSpPr>
              <a:spLocks/>
            </p:cNvSpPr>
            <p:nvPr>
              <p:custDataLst>
                <p:tags r:id="rId27"/>
              </p:custDataLst>
            </p:nvPr>
          </p:nvSpPr>
          <p:spPr bwMode="auto">
            <a:xfrm>
              <a:off x="3626" y="3496"/>
              <a:ext cx="101" cy="192"/>
            </a:xfrm>
            <a:custGeom>
              <a:avLst/>
              <a:gdLst>
                <a:gd name="T0" fmla="*/ 75 w 101"/>
                <a:gd name="T1" fmla="*/ 32 h 192"/>
                <a:gd name="T2" fmla="*/ 75 w 101"/>
                <a:gd name="T3" fmla="*/ 0 h 192"/>
                <a:gd name="T4" fmla="*/ 92 w 101"/>
                <a:gd name="T5" fmla="*/ 0 h 192"/>
                <a:gd name="T6" fmla="*/ 92 w 101"/>
                <a:gd name="T7" fmla="*/ 40 h 192"/>
                <a:gd name="T8" fmla="*/ 101 w 101"/>
                <a:gd name="T9" fmla="*/ 56 h 192"/>
                <a:gd name="T10" fmla="*/ 101 w 101"/>
                <a:gd name="T11" fmla="*/ 104 h 192"/>
                <a:gd name="T12" fmla="*/ 92 w 101"/>
                <a:gd name="T13" fmla="*/ 120 h 192"/>
                <a:gd name="T14" fmla="*/ 92 w 101"/>
                <a:gd name="T15" fmla="*/ 152 h 192"/>
                <a:gd name="T16" fmla="*/ 67 w 101"/>
                <a:gd name="T17" fmla="*/ 192 h 192"/>
                <a:gd name="T18" fmla="*/ 50 w 101"/>
                <a:gd name="T19" fmla="*/ 192 h 192"/>
                <a:gd name="T20" fmla="*/ 25 w 101"/>
                <a:gd name="T21" fmla="*/ 176 h 192"/>
                <a:gd name="T22" fmla="*/ 33 w 101"/>
                <a:gd name="T23" fmla="*/ 160 h 192"/>
                <a:gd name="T24" fmla="*/ 17 w 101"/>
                <a:gd name="T25" fmla="*/ 152 h 192"/>
                <a:gd name="T26" fmla="*/ 33 w 101"/>
                <a:gd name="T27" fmla="*/ 136 h 192"/>
                <a:gd name="T28" fmla="*/ 8 w 101"/>
                <a:gd name="T29" fmla="*/ 128 h 192"/>
                <a:gd name="T30" fmla="*/ 25 w 101"/>
                <a:gd name="T31" fmla="*/ 112 h 192"/>
                <a:gd name="T32" fmla="*/ 8 w 101"/>
                <a:gd name="T33" fmla="*/ 96 h 192"/>
                <a:gd name="T34" fmla="*/ 0 w 101"/>
                <a:gd name="T35" fmla="*/ 72 h 192"/>
                <a:gd name="T36" fmla="*/ 17 w 101"/>
                <a:gd name="T37" fmla="*/ 64 h 192"/>
                <a:gd name="T38" fmla="*/ 17 w 101"/>
                <a:gd name="T39" fmla="*/ 48 h 192"/>
                <a:gd name="T40" fmla="*/ 42 w 101"/>
                <a:gd name="T41" fmla="*/ 40 h 192"/>
                <a:gd name="T42" fmla="*/ 75 w 101"/>
                <a:gd name="T43" fmla="*/ 32 h 19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01" h="192">
                  <a:moveTo>
                    <a:pt x="75" y="32"/>
                  </a:moveTo>
                  <a:lnTo>
                    <a:pt x="75" y="0"/>
                  </a:lnTo>
                  <a:lnTo>
                    <a:pt x="92" y="0"/>
                  </a:lnTo>
                  <a:lnTo>
                    <a:pt x="92" y="40"/>
                  </a:lnTo>
                  <a:lnTo>
                    <a:pt x="101" y="56"/>
                  </a:lnTo>
                  <a:lnTo>
                    <a:pt x="101" y="104"/>
                  </a:lnTo>
                  <a:lnTo>
                    <a:pt x="92" y="120"/>
                  </a:lnTo>
                  <a:lnTo>
                    <a:pt x="92" y="152"/>
                  </a:lnTo>
                  <a:lnTo>
                    <a:pt x="67" y="192"/>
                  </a:lnTo>
                  <a:lnTo>
                    <a:pt x="50" y="192"/>
                  </a:lnTo>
                  <a:lnTo>
                    <a:pt x="25" y="176"/>
                  </a:lnTo>
                  <a:lnTo>
                    <a:pt x="33" y="160"/>
                  </a:lnTo>
                  <a:lnTo>
                    <a:pt x="17" y="152"/>
                  </a:lnTo>
                  <a:lnTo>
                    <a:pt x="33" y="136"/>
                  </a:lnTo>
                  <a:lnTo>
                    <a:pt x="8" y="128"/>
                  </a:lnTo>
                  <a:lnTo>
                    <a:pt x="25" y="112"/>
                  </a:lnTo>
                  <a:lnTo>
                    <a:pt x="8" y="96"/>
                  </a:lnTo>
                  <a:lnTo>
                    <a:pt x="0" y="72"/>
                  </a:lnTo>
                  <a:lnTo>
                    <a:pt x="17" y="64"/>
                  </a:lnTo>
                  <a:lnTo>
                    <a:pt x="17" y="48"/>
                  </a:lnTo>
                  <a:lnTo>
                    <a:pt x="42" y="40"/>
                  </a:lnTo>
                  <a:lnTo>
                    <a:pt x="75" y="32"/>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2" name="Freeform 31"/>
            <p:cNvSpPr>
              <a:spLocks/>
            </p:cNvSpPr>
            <p:nvPr>
              <p:custDataLst>
                <p:tags r:id="rId28"/>
              </p:custDataLst>
            </p:nvPr>
          </p:nvSpPr>
          <p:spPr bwMode="auto">
            <a:xfrm>
              <a:off x="3457" y="3008"/>
              <a:ext cx="1180" cy="1080"/>
            </a:xfrm>
            <a:custGeom>
              <a:avLst/>
              <a:gdLst>
                <a:gd name="T0" fmla="*/ 1121 w 1180"/>
                <a:gd name="T1" fmla="*/ 728 h 1080"/>
                <a:gd name="T2" fmla="*/ 1003 w 1180"/>
                <a:gd name="T3" fmla="*/ 672 h 1080"/>
                <a:gd name="T4" fmla="*/ 935 w 1180"/>
                <a:gd name="T5" fmla="*/ 616 h 1080"/>
                <a:gd name="T6" fmla="*/ 902 w 1180"/>
                <a:gd name="T7" fmla="*/ 584 h 1080"/>
                <a:gd name="T8" fmla="*/ 817 w 1180"/>
                <a:gd name="T9" fmla="*/ 592 h 1080"/>
                <a:gd name="T10" fmla="*/ 733 w 1180"/>
                <a:gd name="T11" fmla="*/ 528 h 1080"/>
                <a:gd name="T12" fmla="*/ 683 w 1180"/>
                <a:gd name="T13" fmla="*/ 448 h 1080"/>
                <a:gd name="T14" fmla="*/ 556 w 1180"/>
                <a:gd name="T15" fmla="*/ 344 h 1080"/>
                <a:gd name="T16" fmla="*/ 523 w 1180"/>
                <a:gd name="T17" fmla="*/ 280 h 1080"/>
                <a:gd name="T18" fmla="*/ 548 w 1180"/>
                <a:gd name="T19" fmla="*/ 240 h 1080"/>
                <a:gd name="T20" fmla="*/ 531 w 1180"/>
                <a:gd name="T21" fmla="*/ 216 h 1080"/>
                <a:gd name="T22" fmla="*/ 556 w 1180"/>
                <a:gd name="T23" fmla="*/ 184 h 1080"/>
                <a:gd name="T24" fmla="*/ 649 w 1180"/>
                <a:gd name="T25" fmla="*/ 144 h 1080"/>
                <a:gd name="T26" fmla="*/ 649 w 1180"/>
                <a:gd name="T27" fmla="*/ 56 h 1080"/>
                <a:gd name="T28" fmla="*/ 514 w 1180"/>
                <a:gd name="T29" fmla="*/ 0 h 1080"/>
                <a:gd name="T30" fmla="*/ 405 w 1180"/>
                <a:gd name="T31" fmla="*/ 40 h 1080"/>
                <a:gd name="T32" fmla="*/ 354 w 1180"/>
                <a:gd name="T33" fmla="*/ 64 h 1080"/>
                <a:gd name="T34" fmla="*/ 295 w 1180"/>
                <a:gd name="T35" fmla="*/ 80 h 1080"/>
                <a:gd name="T36" fmla="*/ 228 w 1180"/>
                <a:gd name="T37" fmla="*/ 152 h 1080"/>
                <a:gd name="T38" fmla="*/ 118 w 1180"/>
                <a:gd name="T39" fmla="*/ 136 h 1080"/>
                <a:gd name="T40" fmla="*/ 42 w 1180"/>
                <a:gd name="T41" fmla="*/ 208 h 1080"/>
                <a:gd name="T42" fmla="*/ 25 w 1180"/>
                <a:gd name="T43" fmla="*/ 272 h 1080"/>
                <a:gd name="T44" fmla="*/ 93 w 1180"/>
                <a:gd name="T45" fmla="*/ 352 h 1080"/>
                <a:gd name="T46" fmla="*/ 93 w 1180"/>
                <a:gd name="T47" fmla="*/ 392 h 1080"/>
                <a:gd name="T48" fmla="*/ 160 w 1180"/>
                <a:gd name="T49" fmla="*/ 344 h 1080"/>
                <a:gd name="T50" fmla="*/ 202 w 1180"/>
                <a:gd name="T51" fmla="*/ 320 h 1080"/>
                <a:gd name="T52" fmla="*/ 261 w 1180"/>
                <a:gd name="T53" fmla="*/ 352 h 1080"/>
                <a:gd name="T54" fmla="*/ 312 w 1180"/>
                <a:gd name="T55" fmla="*/ 368 h 1080"/>
                <a:gd name="T56" fmla="*/ 337 w 1180"/>
                <a:gd name="T57" fmla="*/ 424 h 1080"/>
                <a:gd name="T58" fmla="*/ 371 w 1180"/>
                <a:gd name="T59" fmla="*/ 496 h 1080"/>
                <a:gd name="T60" fmla="*/ 430 w 1180"/>
                <a:gd name="T61" fmla="*/ 552 h 1080"/>
                <a:gd name="T62" fmla="*/ 497 w 1180"/>
                <a:gd name="T63" fmla="*/ 592 h 1080"/>
                <a:gd name="T64" fmla="*/ 607 w 1180"/>
                <a:gd name="T65" fmla="*/ 680 h 1080"/>
                <a:gd name="T66" fmla="*/ 649 w 1180"/>
                <a:gd name="T67" fmla="*/ 688 h 1080"/>
                <a:gd name="T68" fmla="*/ 742 w 1180"/>
                <a:gd name="T69" fmla="*/ 744 h 1080"/>
                <a:gd name="T70" fmla="*/ 775 w 1180"/>
                <a:gd name="T71" fmla="*/ 752 h 1080"/>
                <a:gd name="T72" fmla="*/ 809 w 1180"/>
                <a:gd name="T73" fmla="*/ 768 h 1080"/>
                <a:gd name="T74" fmla="*/ 851 w 1180"/>
                <a:gd name="T75" fmla="*/ 824 h 1080"/>
                <a:gd name="T76" fmla="*/ 927 w 1180"/>
                <a:gd name="T77" fmla="*/ 856 h 1080"/>
                <a:gd name="T78" fmla="*/ 978 w 1180"/>
                <a:gd name="T79" fmla="*/ 984 h 1080"/>
                <a:gd name="T80" fmla="*/ 935 w 1180"/>
                <a:gd name="T81" fmla="*/ 1000 h 1080"/>
                <a:gd name="T82" fmla="*/ 927 w 1180"/>
                <a:gd name="T83" fmla="*/ 1040 h 1080"/>
                <a:gd name="T84" fmla="*/ 935 w 1180"/>
                <a:gd name="T85" fmla="*/ 1072 h 1080"/>
                <a:gd name="T86" fmla="*/ 978 w 1180"/>
                <a:gd name="T87" fmla="*/ 1072 h 1080"/>
                <a:gd name="T88" fmla="*/ 1011 w 1180"/>
                <a:gd name="T89" fmla="*/ 1000 h 1080"/>
                <a:gd name="T90" fmla="*/ 1070 w 1180"/>
                <a:gd name="T91" fmla="*/ 952 h 1080"/>
                <a:gd name="T92" fmla="*/ 1053 w 1180"/>
                <a:gd name="T93" fmla="*/ 888 h 1080"/>
                <a:gd name="T94" fmla="*/ 1003 w 1180"/>
                <a:gd name="T95" fmla="*/ 864 h 1080"/>
                <a:gd name="T96" fmla="*/ 1011 w 1180"/>
                <a:gd name="T97" fmla="*/ 800 h 1080"/>
                <a:gd name="T98" fmla="*/ 1045 w 1180"/>
                <a:gd name="T99" fmla="*/ 768 h 1080"/>
                <a:gd name="T100" fmla="*/ 1146 w 1180"/>
                <a:gd name="T101" fmla="*/ 792 h 1080"/>
                <a:gd name="T102" fmla="*/ 1180 w 1180"/>
                <a:gd name="T103" fmla="*/ 784 h 108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180" h="1080">
                  <a:moveTo>
                    <a:pt x="1155" y="752"/>
                  </a:moveTo>
                  <a:lnTo>
                    <a:pt x="1121" y="728"/>
                  </a:lnTo>
                  <a:lnTo>
                    <a:pt x="1087" y="712"/>
                  </a:lnTo>
                  <a:lnTo>
                    <a:pt x="1003" y="672"/>
                  </a:lnTo>
                  <a:lnTo>
                    <a:pt x="919" y="632"/>
                  </a:lnTo>
                  <a:lnTo>
                    <a:pt x="935" y="616"/>
                  </a:lnTo>
                  <a:lnTo>
                    <a:pt x="927" y="600"/>
                  </a:lnTo>
                  <a:lnTo>
                    <a:pt x="902" y="584"/>
                  </a:lnTo>
                  <a:lnTo>
                    <a:pt x="868" y="592"/>
                  </a:lnTo>
                  <a:lnTo>
                    <a:pt x="817" y="592"/>
                  </a:lnTo>
                  <a:lnTo>
                    <a:pt x="775" y="568"/>
                  </a:lnTo>
                  <a:lnTo>
                    <a:pt x="733" y="528"/>
                  </a:lnTo>
                  <a:lnTo>
                    <a:pt x="708" y="488"/>
                  </a:lnTo>
                  <a:lnTo>
                    <a:pt x="683" y="448"/>
                  </a:lnTo>
                  <a:lnTo>
                    <a:pt x="641" y="408"/>
                  </a:lnTo>
                  <a:lnTo>
                    <a:pt x="556" y="344"/>
                  </a:lnTo>
                  <a:lnTo>
                    <a:pt x="523" y="296"/>
                  </a:lnTo>
                  <a:lnTo>
                    <a:pt x="523" y="280"/>
                  </a:lnTo>
                  <a:lnTo>
                    <a:pt x="539" y="256"/>
                  </a:lnTo>
                  <a:lnTo>
                    <a:pt x="548" y="240"/>
                  </a:lnTo>
                  <a:lnTo>
                    <a:pt x="539" y="224"/>
                  </a:lnTo>
                  <a:lnTo>
                    <a:pt x="531" y="216"/>
                  </a:lnTo>
                  <a:lnTo>
                    <a:pt x="531" y="200"/>
                  </a:lnTo>
                  <a:lnTo>
                    <a:pt x="556" y="184"/>
                  </a:lnTo>
                  <a:lnTo>
                    <a:pt x="641" y="152"/>
                  </a:lnTo>
                  <a:lnTo>
                    <a:pt x="649" y="144"/>
                  </a:lnTo>
                  <a:lnTo>
                    <a:pt x="641" y="88"/>
                  </a:lnTo>
                  <a:lnTo>
                    <a:pt x="649" y="56"/>
                  </a:lnTo>
                  <a:lnTo>
                    <a:pt x="531" y="24"/>
                  </a:lnTo>
                  <a:lnTo>
                    <a:pt x="514" y="0"/>
                  </a:lnTo>
                  <a:lnTo>
                    <a:pt x="438" y="8"/>
                  </a:lnTo>
                  <a:lnTo>
                    <a:pt x="405" y="40"/>
                  </a:lnTo>
                  <a:lnTo>
                    <a:pt x="371" y="32"/>
                  </a:lnTo>
                  <a:lnTo>
                    <a:pt x="354" y="64"/>
                  </a:lnTo>
                  <a:lnTo>
                    <a:pt x="320" y="64"/>
                  </a:lnTo>
                  <a:lnTo>
                    <a:pt x="295" y="80"/>
                  </a:lnTo>
                  <a:lnTo>
                    <a:pt x="253" y="72"/>
                  </a:lnTo>
                  <a:lnTo>
                    <a:pt x="228" y="152"/>
                  </a:lnTo>
                  <a:lnTo>
                    <a:pt x="160" y="72"/>
                  </a:lnTo>
                  <a:lnTo>
                    <a:pt x="118" y="136"/>
                  </a:lnTo>
                  <a:lnTo>
                    <a:pt x="25" y="144"/>
                  </a:lnTo>
                  <a:lnTo>
                    <a:pt x="42" y="208"/>
                  </a:lnTo>
                  <a:lnTo>
                    <a:pt x="0" y="232"/>
                  </a:lnTo>
                  <a:lnTo>
                    <a:pt x="25" y="272"/>
                  </a:lnTo>
                  <a:lnTo>
                    <a:pt x="17" y="320"/>
                  </a:lnTo>
                  <a:lnTo>
                    <a:pt x="93" y="352"/>
                  </a:lnTo>
                  <a:lnTo>
                    <a:pt x="76" y="392"/>
                  </a:lnTo>
                  <a:lnTo>
                    <a:pt x="93" y="392"/>
                  </a:lnTo>
                  <a:lnTo>
                    <a:pt x="135" y="376"/>
                  </a:lnTo>
                  <a:lnTo>
                    <a:pt x="160" y="344"/>
                  </a:lnTo>
                  <a:lnTo>
                    <a:pt x="177" y="328"/>
                  </a:lnTo>
                  <a:lnTo>
                    <a:pt x="202" y="320"/>
                  </a:lnTo>
                  <a:lnTo>
                    <a:pt x="244" y="336"/>
                  </a:lnTo>
                  <a:lnTo>
                    <a:pt x="261" y="352"/>
                  </a:lnTo>
                  <a:lnTo>
                    <a:pt x="278" y="368"/>
                  </a:lnTo>
                  <a:lnTo>
                    <a:pt x="312" y="368"/>
                  </a:lnTo>
                  <a:lnTo>
                    <a:pt x="329" y="384"/>
                  </a:lnTo>
                  <a:lnTo>
                    <a:pt x="337" y="424"/>
                  </a:lnTo>
                  <a:lnTo>
                    <a:pt x="362" y="472"/>
                  </a:lnTo>
                  <a:lnTo>
                    <a:pt x="371" y="496"/>
                  </a:lnTo>
                  <a:lnTo>
                    <a:pt x="396" y="512"/>
                  </a:lnTo>
                  <a:lnTo>
                    <a:pt x="430" y="552"/>
                  </a:lnTo>
                  <a:lnTo>
                    <a:pt x="472" y="576"/>
                  </a:lnTo>
                  <a:lnTo>
                    <a:pt x="497" y="592"/>
                  </a:lnTo>
                  <a:lnTo>
                    <a:pt x="514" y="608"/>
                  </a:lnTo>
                  <a:lnTo>
                    <a:pt x="607" y="680"/>
                  </a:lnTo>
                  <a:lnTo>
                    <a:pt x="624" y="696"/>
                  </a:lnTo>
                  <a:lnTo>
                    <a:pt x="649" y="688"/>
                  </a:lnTo>
                  <a:lnTo>
                    <a:pt x="708" y="712"/>
                  </a:lnTo>
                  <a:lnTo>
                    <a:pt x="742" y="744"/>
                  </a:lnTo>
                  <a:lnTo>
                    <a:pt x="767" y="744"/>
                  </a:lnTo>
                  <a:lnTo>
                    <a:pt x="775" y="752"/>
                  </a:lnTo>
                  <a:lnTo>
                    <a:pt x="775" y="768"/>
                  </a:lnTo>
                  <a:lnTo>
                    <a:pt x="809" y="768"/>
                  </a:lnTo>
                  <a:lnTo>
                    <a:pt x="826" y="800"/>
                  </a:lnTo>
                  <a:lnTo>
                    <a:pt x="851" y="824"/>
                  </a:lnTo>
                  <a:lnTo>
                    <a:pt x="893" y="840"/>
                  </a:lnTo>
                  <a:lnTo>
                    <a:pt x="927" y="856"/>
                  </a:lnTo>
                  <a:lnTo>
                    <a:pt x="944" y="904"/>
                  </a:lnTo>
                  <a:lnTo>
                    <a:pt x="978" y="984"/>
                  </a:lnTo>
                  <a:lnTo>
                    <a:pt x="952" y="984"/>
                  </a:lnTo>
                  <a:lnTo>
                    <a:pt x="935" y="1000"/>
                  </a:lnTo>
                  <a:lnTo>
                    <a:pt x="935" y="1016"/>
                  </a:lnTo>
                  <a:lnTo>
                    <a:pt x="927" y="1040"/>
                  </a:lnTo>
                  <a:lnTo>
                    <a:pt x="919" y="1056"/>
                  </a:lnTo>
                  <a:lnTo>
                    <a:pt x="935" y="1072"/>
                  </a:lnTo>
                  <a:lnTo>
                    <a:pt x="952" y="1080"/>
                  </a:lnTo>
                  <a:lnTo>
                    <a:pt x="978" y="1072"/>
                  </a:lnTo>
                  <a:lnTo>
                    <a:pt x="994" y="1040"/>
                  </a:lnTo>
                  <a:lnTo>
                    <a:pt x="1011" y="1000"/>
                  </a:lnTo>
                  <a:lnTo>
                    <a:pt x="1028" y="960"/>
                  </a:lnTo>
                  <a:lnTo>
                    <a:pt x="1070" y="952"/>
                  </a:lnTo>
                  <a:lnTo>
                    <a:pt x="1070" y="904"/>
                  </a:lnTo>
                  <a:lnTo>
                    <a:pt x="1053" y="888"/>
                  </a:lnTo>
                  <a:lnTo>
                    <a:pt x="1028" y="880"/>
                  </a:lnTo>
                  <a:lnTo>
                    <a:pt x="1003" y="864"/>
                  </a:lnTo>
                  <a:lnTo>
                    <a:pt x="994" y="848"/>
                  </a:lnTo>
                  <a:lnTo>
                    <a:pt x="1011" y="800"/>
                  </a:lnTo>
                  <a:lnTo>
                    <a:pt x="1028" y="776"/>
                  </a:lnTo>
                  <a:lnTo>
                    <a:pt x="1045" y="768"/>
                  </a:lnTo>
                  <a:lnTo>
                    <a:pt x="1104" y="776"/>
                  </a:lnTo>
                  <a:lnTo>
                    <a:pt x="1146" y="792"/>
                  </a:lnTo>
                  <a:lnTo>
                    <a:pt x="1180" y="824"/>
                  </a:lnTo>
                  <a:lnTo>
                    <a:pt x="1180" y="784"/>
                  </a:lnTo>
                  <a:lnTo>
                    <a:pt x="1155" y="75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3" name="Freeform 32"/>
            <p:cNvSpPr>
              <a:spLocks/>
            </p:cNvSpPr>
            <p:nvPr>
              <p:custDataLst>
                <p:tags r:id="rId29"/>
              </p:custDataLst>
            </p:nvPr>
          </p:nvSpPr>
          <p:spPr bwMode="auto">
            <a:xfrm>
              <a:off x="2463" y="2496"/>
              <a:ext cx="1146" cy="1088"/>
            </a:xfrm>
            <a:custGeom>
              <a:avLst/>
              <a:gdLst>
                <a:gd name="T0" fmla="*/ 969 w 1146"/>
                <a:gd name="T1" fmla="*/ 600 h 1088"/>
                <a:gd name="T2" fmla="*/ 944 w 1146"/>
                <a:gd name="T3" fmla="*/ 584 h 1088"/>
                <a:gd name="T4" fmla="*/ 986 w 1146"/>
                <a:gd name="T5" fmla="*/ 520 h 1088"/>
                <a:gd name="T6" fmla="*/ 1019 w 1146"/>
                <a:gd name="T7" fmla="*/ 472 h 1088"/>
                <a:gd name="T8" fmla="*/ 1087 w 1146"/>
                <a:gd name="T9" fmla="*/ 448 h 1088"/>
                <a:gd name="T10" fmla="*/ 1112 w 1146"/>
                <a:gd name="T11" fmla="*/ 320 h 1088"/>
                <a:gd name="T12" fmla="*/ 1095 w 1146"/>
                <a:gd name="T13" fmla="*/ 272 h 1088"/>
                <a:gd name="T14" fmla="*/ 1011 w 1146"/>
                <a:gd name="T15" fmla="*/ 248 h 1088"/>
                <a:gd name="T16" fmla="*/ 927 w 1146"/>
                <a:gd name="T17" fmla="*/ 208 h 1088"/>
                <a:gd name="T18" fmla="*/ 851 w 1146"/>
                <a:gd name="T19" fmla="*/ 136 h 1088"/>
                <a:gd name="T20" fmla="*/ 809 w 1146"/>
                <a:gd name="T21" fmla="*/ 112 h 1088"/>
                <a:gd name="T22" fmla="*/ 767 w 1146"/>
                <a:gd name="T23" fmla="*/ 88 h 1088"/>
                <a:gd name="T24" fmla="*/ 708 w 1146"/>
                <a:gd name="T25" fmla="*/ 48 h 1088"/>
                <a:gd name="T26" fmla="*/ 666 w 1146"/>
                <a:gd name="T27" fmla="*/ 0 h 1088"/>
                <a:gd name="T28" fmla="*/ 598 w 1146"/>
                <a:gd name="T29" fmla="*/ 24 h 1088"/>
                <a:gd name="T30" fmla="*/ 564 w 1146"/>
                <a:gd name="T31" fmla="*/ 104 h 1088"/>
                <a:gd name="T32" fmla="*/ 489 w 1146"/>
                <a:gd name="T33" fmla="*/ 136 h 1088"/>
                <a:gd name="T34" fmla="*/ 455 w 1146"/>
                <a:gd name="T35" fmla="*/ 168 h 1088"/>
                <a:gd name="T36" fmla="*/ 413 w 1146"/>
                <a:gd name="T37" fmla="*/ 184 h 1088"/>
                <a:gd name="T38" fmla="*/ 345 w 1146"/>
                <a:gd name="T39" fmla="*/ 160 h 1088"/>
                <a:gd name="T40" fmla="*/ 269 w 1146"/>
                <a:gd name="T41" fmla="*/ 144 h 1088"/>
                <a:gd name="T42" fmla="*/ 303 w 1146"/>
                <a:gd name="T43" fmla="*/ 256 h 1088"/>
                <a:gd name="T44" fmla="*/ 211 w 1146"/>
                <a:gd name="T45" fmla="*/ 240 h 1088"/>
                <a:gd name="T46" fmla="*/ 177 w 1146"/>
                <a:gd name="T47" fmla="*/ 232 h 1088"/>
                <a:gd name="T48" fmla="*/ 126 w 1146"/>
                <a:gd name="T49" fmla="*/ 208 h 1088"/>
                <a:gd name="T50" fmla="*/ 84 w 1146"/>
                <a:gd name="T51" fmla="*/ 216 h 1088"/>
                <a:gd name="T52" fmla="*/ 8 w 1146"/>
                <a:gd name="T53" fmla="*/ 232 h 1088"/>
                <a:gd name="T54" fmla="*/ 8 w 1146"/>
                <a:gd name="T55" fmla="*/ 248 h 1088"/>
                <a:gd name="T56" fmla="*/ 25 w 1146"/>
                <a:gd name="T57" fmla="*/ 272 h 1088"/>
                <a:gd name="T58" fmla="*/ 17 w 1146"/>
                <a:gd name="T59" fmla="*/ 288 h 1088"/>
                <a:gd name="T60" fmla="*/ 42 w 1146"/>
                <a:gd name="T61" fmla="*/ 312 h 1088"/>
                <a:gd name="T62" fmla="*/ 109 w 1146"/>
                <a:gd name="T63" fmla="*/ 328 h 1088"/>
                <a:gd name="T64" fmla="*/ 160 w 1146"/>
                <a:gd name="T65" fmla="*/ 368 h 1088"/>
                <a:gd name="T66" fmla="*/ 194 w 1146"/>
                <a:gd name="T67" fmla="*/ 400 h 1088"/>
                <a:gd name="T68" fmla="*/ 211 w 1146"/>
                <a:gd name="T69" fmla="*/ 448 h 1088"/>
                <a:gd name="T70" fmla="*/ 269 w 1146"/>
                <a:gd name="T71" fmla="*/ 536 h 1088"/>
                <a:gd name="T72" fmla="*/ 278 w 1146"/>
                <a:gd name="T73" fmla="*/ 584 h 1088"/>
                <a:gd name="T74" fmla="*/ 295 w 1146"/>
                <a:gd name="T75" fmla="*/ 640 h 1088"/>
                <a:gd name="T76" fmla="*/ 236 w 1146"/>
                <a:gd name="T77" fmla="*/ 776 h 1088"/>
                <a:gd name="T78" fmla="*/ 177 w 1146"/>
                <a:gd name="T79" fmla="*/ 872 h 1088"/>
                <a:gd name="T80" fmla="*/ 160 w 1146"/>
                <a:gd name="T81" fmla="*/ 888 h 1088"/>
                <a:gd name="T82" fmla="*/ 244 w 1146"/>
                <a:gd name="T83" fmla="*/ 960 h 1088"/>
                <a:gd name="T84" fmla="*/ 320 w 1146"/>
                <a:gd name="T85" fmla="*/ 992 h 1088"/>
                <a:gd name="T86" fmla="*/ 396 w 1146"/>
                <a:gd name="T87" fmla="*/ 1024 h 1088"/>
                <a:gd name="T88" fmla="*/ 522 w 1146"/>
                <a:gd name="T89" fmla="*/ 1056 h 1088"/>
                <a:gd name="T90" fmla="*/ 607 w 1146"/>
                <a:gd name="T91" fmla="*/ 1088 h 1088"/>
                <a:gd name="T92" fmla="*/ 640 w 1146"/>
                <a:gd name="T93" fmla="*/ 1064 h 1088"/>
                <a:gd name="T94" fmla="*/ 632 w 1146"/>
                <a:gd name="T95" fmla="*/ 992 h 1088"/>
                <a:gd name="T96" fmla="*/ 682 w 1146"/>
                <a:gd name="T97" fmla="*/ 944 h 1088"/>
                <a:gd name="T98" fmla="*/ 750 w 1146"/>
                <a:gd name="T99" fmla="*/ 928 h 1088"/>
                <a:gd name="T100" fmla="*/ 876 w 1146"/>
                <a:gd name="T101" fmla="*/ 968 h 1088"/>
                <a:gd name="T102" fmla="*/ 944 w 1146"/>
                <a:gd name="T103" fmla="*/ 984 h 1088"/>
                <a:gd name="T104" fmla="*/ 969 w 1146"/>
                <a:gd name="T105" fmla="*/ 968 h 1088"/>
                <a:gd name="T106" fmla="*/ 1019 w 1146"/>
                <a:gd name="T107" fmla="*/ 928 h 1088"/>
                <a:gd name="T108" fmla="*/ 1087 w 1146"/>
                <a:gd name="T109" fmla="*/ 864 h 1088"/>
                <a:gd name="T110" fmla="*/ 1019 w 1146"/>
                <a:gd name="T111" fmla="*/ 784 h 1088"/>
                <a:gd name="T112" fmla="*/ 1036 w 1146"/>
                <a:gd name="T113" fmla="*/ 720 h 1088"/>
                <a:gd name="T114" fmla="*/ 1036 w 1146"/>
                <a:gd name="T115" fmla="*/ 656 h 1088"/>
                <a:gd name="T116" fmla="*/ 1011 w 1146"/>
                <a:gd name="T117" fmla="*/ 616 h 10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146" h="1088">
                  <a:moveTo>
                    <a:pt x="1011" y="616"/>
                  </a:moveTo>
                  <a:lnTo>
                    <a:pt x="969" y="600"/>
                  </a:lnTo>
                  <a:lnTo>
                    <a:pt x="935" y="616"/>
                  </a:lnTo>
                  <a:lnTo>
                    <a:pt x="944" y="584"/>
                  </a:lnTo>
                  <a:lnTo>
                    <a:pt x="977" y="544"/>
                  </a:lnTo>
                  <a:lnTo>
                    <a:pt x="986" y="520"/>
                  </a:lnTo>
                  <a:lnTo>
                    <a:pt x="1011" y="504"/>
                  </a:lnTo>
                  <a:lnTo>
                    <a:pt x="1019" y="472"/>
                  </a:lnTo>
                  <a:lnTo>
                    <a:pt x="1053" y="464"/>
                  </a:lnTo>
                  <a:lnTo>
                    <a:pt x="1087" y="448"/>
                  </a:lnTo>
                  <a:lnTo>
                    <a:pt x="1104" y="360"/>
                  </a:lnTo>
                  <a:lnTo>
                    <a:pt x="1112" y="320"/>
                  </a:lnTo>
                  <a:lnTo>
                    <a:pt x="1146" y="288"/>
                  </a:lnTo>
                  <a:lnTo>
                    <a:pt x="1095" y="272"/>
                  </a:lnTo>
                  <a:lnTo>
                    <a:pt x="1036" y="256"/>
                  </a:lnTo>
                  <a:lnTo>
                    <a:pt x="1011" y="248"/>
                  </a:lnTo>
                  <a:lnTo>
                    <a:pt x="986" y="216"/>
                  </a:lnTo>
                  <a:lnTo>
                    <a:pt x="927" y="208"/>
                  </a:lnTo>
                  <a:lnTo>
                    <a:pt x="868" y="168"/>
                  </a:lnTo>
                  <a:lnTo>
                    <a:pt x="851" y="136"/>
                  </a:lnTo>
                  <a:lnTo>
                    <a:pt x="809" y="144"/>
                  </a:lnTo>
                  <a:lnTo>
                    <a:pt x="809" y="112"/>
                  </a:lnTo>
                  <a:lnTo>
                    <a:pt x="767" y="96"/>
                  </a:lnTo>
                  <a:lnTo>
                    <a:pt x="767" y="88"/>
                  </a:lnTo>
                  <a:lnTo>
                    <a:pt x="733" y="72"/>
                  </a:lnTo>
                  <a:lnTo>
                    <a:pt x="708" y="48"/>
                  </a:lnTo>
                  <a:lnTo>
                    <a:pt x="682" y="16"/>
                  </a:lnTo>
                  <a:lnTo>
                    <a:pt x="666" y="0"/>
                  </a:lnTo>
                  <a:lnTo>
                    <a:pt x="623" y="8"/>
                  </a:lnTo>
                  <a:lnTo>
                    <a:pt x="598" y="24"/>
                  </a:lnTo>
                  <a:lnTo>
                    <a:pt x="581" y="88"/>
                  </a:lnTo>
                  <a:lnTo>
                    <a:pt x="564" y="104"/>
                  </a:lnTo>
                  <a:lnTo>
                    <a:pt x="539" y="120"/>
                  </a:lnTo>
                  <a:lnTo>
                    <a:pt x="489" y="136"/>
                  </a:lnTo>
                  <a:lnTo>
                    <a:pt x="463" y="144"/>
                  </a:lnTo>
                  <a:lnTo>
                    <a:pt x="455" y="168"/>
                  </a:lnTo>
                  <a:lnTo>
                    <a:pt x="446" y="184"/>
                  </a:lnTo>
                  <a:lnTo>
                    <a:pt x="413" y="184"/>
                  </a:lnTo>
                  <a:lnTo>
                    <a:pt x="362" y="168"/>
                  </a:lnTo>
                  <a:lnTo>
                    <a:pt x="345" y="160"/>
                  </a:lnTo>
                  <a:lnTo>
                    <a:pt x="328" y="144"/>
                  </a:lnTo>
                  <a:lnTo>
                    <a:pt x="269" y="144"/>
                  </a:lnTo>
                  <a:lnTo>
                    <a:pt x="295" y="200"/>
                  </a:lnTo>
                  <a:lnTo>
                    <a:pt x="303" y="256"/>
                  </a:lnTo>
                  <a:lnTo>
                    <a:pt x="253" y="248"/>
                  </a:lnTo>
                  <a:lnTo>
                    <a:pt x="211" y="240"/>
                  </a:lnTo>
                  <a:lnTo>
                    <a:pt x="194" y="248"/>
                  </a:lnTo>
                  <a:lnTo>
                    <a:pt x="177" y="232"/>
                  </a:lnTo>
                  <a:lnTo>
                    <a:pt x="152" y="208"/>
                  </a:lnTo>
                  <a:lnTo>
                    <a:pt x="126" y="208"/>
                  </a:lnTo>
                  <a:lnTo>
                    <a:pt x="109" y="216"/>
                  </a:lnTo>
                  <a:lnTo>
                    <a:pt x="84" y="216"/>
                  </a:lnTo>
                  <a:lnTo>
                    <a:pt x="34" y="216"/>
                  </a:lnTo>
                  <a:lnTo>
                    <a:pt x="8" y="232"/>
                  </a:lnTo>
                  <a:lnTo>
                    <a:pt x="0" y="240"/>
                  </a:lnTo>
                  <a:lnTo>
                    <a:pt x="8" y="248"/>
                  </a:lnTo>
                  <a:lnTo>
                    <a:pt x="50" y="272"/>
                  </a:lnTo>
                  <a:lnTo>
                    <a:pt x="25" y="272"/>
                  </a:lnTo>
                  <a:lnTo>
                    <a:pt x="17" y="280"/>
                  </a:lnTo>
                  <a:lnTo>
                    <a:pt x="17" y="288"/>
                  </a:lnTo>
                  <a:lnTo>
                    <a:pt x="25" y="304"/>
                  </a:lnTo>
                  <a:lnTo>
                    <a:pt x="42" y="312"/>
                  </a:lnTo>
                  <a:lnTo>
                    <a:pt x="76" y="320"/>
                  </a:lnTo>
                  <a:lnTo>
                    <a:pt x="109" y="328"/>
                  </a:lnTo>
                  <a:lnTo>
                    <a:pt x="135" y="352"/>
                  </a:lnTo>
                  <a:lnTo>
                    <a:pt x="160" y="368"/>
                  </a:lnTo>
                  <a:lnTo>
                    <a:pt x="185" y="376"/>
                  </a:lnTo>
                  <a:lnTo>
                    <a:pt x="194" y="400"/>
                  </a:lnTo>
                  <a:lnTo>
                    <a:pt x="219" y="424"/>
                  </a:lnTo>
                  <a:lnTo>
                    <a:pt x="211" y="448"/>
                  </a:lnTo>
                  <a:lnTo>
                    <a:pt x="244" y="512"/>
                  </a:lnTo>
                  <a:lnTo>
                    <a:pt x="269" y="536"/>
                  </a:lnTo>
                  <a:lnTo>
                    <a:pt x="286" y="560"/>
                  </a:lnTo>
                  <a:lnTo>
                    <a:pt x="278" y="584"/>
                  </a:lnTo>
                  <a:lnTo>
                    <a:pt x="253" y="592"/>
                  </a:lnTo>
                  <a:lnTo>
                    <a:pt x="295" y="640"/>
                  </a:lnTo>
                  <a:lnTo>
                    <a:pt x="269" y="632"/>
                  </a:lnTo>
                  <a:lnTo>
                    <a:pt x="236" y="776"/>
                  </a:lnTo>
                  <a:lnTo>
                    <a:pt x="202" y="848"/>
                  </a:lnTo>
                  <a:lnTo>
                    <a:pt x="177" y="872"/>
                  </a:lnTo>
                  <a:lnTo>
                    <a:pt x="143" y="880"/>
                  </a:lnTo>
                  <a:lnTo>
                    <a:pt x="160" y="888"/>
                  </a:lnTo>
                  <a:lnTo>
                    <a:pt x="211" y="928"/>
                  </a:lnTo>
                  <a:lnTo>
                    <a:pt x="244" y="960"/>
                  </a:lnTo>
                  <a:lnTo>
                    <a:pt x="278" y="968"/>
                  </a:lnTo>
                  <a:lnTo>
                    <a:pt x="320" y="992"/>
                  </a:lnTo>
                  <a:lnTo>
                    <a:pt x="337" y="1016"/>
                  </a:lnTo>
                  <a:lnTo>
                    <a:pt x="396" y="1024"/>
                  </a:lnTo>
                  <a:lnTo>
                    <a:pt x="463" y="1032"/>
                  </a:lnTo>
                  <a:lnTo>
                    <a:pt x="522" y="1056"/>
                  </a:lnTo>
                  <a:lnTo>
                    <a:pt x="581" y="1072"/>
                  </a:lnTo>
                  <a:lnTo>
                    <a:pt x="607" y="1088"/>
                  </a:lnTo>
                  <a:lnTo>
                    <a:pt x="632" y="1080"/>
                  </a:lnTo>
                  <a:lnTo>
                    <a:pt x="640" y="1064"/>
                  </a:lnTo>
                  <a:lnTo>
                    <a:pt x="623" y="1032"/>
                  </a:lnTo>
                  <a:lnTo>
                    <a:pt x="632" y="992"/>
                  </a:lnTo>
                  <a:lnTo>
                    <a:pt x="649" y="968"/>
                  </a:lnTo>
                  <a:lnTo>
                    <a:pt x="682" y="944"/>
                  </a:lnTo>
                  <a:lnTo>
                    <a:pt x="716" y="928"/>
                  </a:lnTo>
                  <a:lnTo>
                    <a:pt x="750" y="928"/>
                  </a:lnTo>
                  <a:lnTo>
                    <a:pt x="842" y="952"/>
                  </a:lnTo>
                  <a:lnTo>
                    <a:pt x="876" y="968"/>
                  </a:lnTo>
                  <a:lnTo>
                    <a:pt x="910" y="984"/>
                  </a:lnTo>
                  <a:lnTo>
                    <a:pt x="944" y="984"/>
                  </a:lnTo>
                  <a:lnTo>
                    <a:pt x="960" y="976"/>
                  </a:lnTo>
                  <a:lnTo>
                    <a:pt x="969" y="968"/>
                  </a:lnTo>
                  <a:lnTo>
                    <a:pt x="977" y="960"/>
                  </a:lnTo>
                  <a:lnTo>
                    <a:pt x="1019" y="928"/>
                  </a:lnTo>
                  <a:lnTo>
                    <a:pt x="1070" y="904"/>
                  </a:lnTo>
                  <a:lnTo>
                    <a:pt x="1087" y="864"/>
                  </a:lnTo>
                  <a:lnTo>
                    <a:pt x="1011" y="832"/>
                  </a:lnTo>
                  <a:lnTo>
                    <a:pt x="1019" y="784"/>
                  </a:lnTo>
                  <a:lnTo>
                    <a:pt x="994" y="744"/>
                  </a:lnTo>
                  <a:lnTo>
                    <a:pt x="1036" y="720"/>
                  </a:lnTo>
                  <a:lnTo>
                    <a:pt x="1019" y="656"/>
                  </a:lnTo>
                  <a:lnTo>
                    <a:pt x="1036" y="656"/>
                  </a:lnTo>
                  <a:lnTo>
                    <a:pt x="1019" y="632"/>
                  </a:lnTo>
                  <a:lnTo>
                    <a:pt x="1011" y="616"/>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4" name="Freeform 33"/>
            <p:cNvSpPr>
              <a:spLocks/>
            </p:cNvSpPr>
            <p:nvPr>
              <p:custDataLst>
                <p:tags r:id="rId30"/>
              </p:custDataLst>
            </p:nvPr>
          </p:nvSpPr>
          <p:spPr bwMode="auto">
            <a:xfrm>
              <a:off x="3457" y="3008"/>
              <a:ext cx="1180" cy="1080"/>
            </a:xfrm>
            <a:custGeom>
              <a:avLst/>
              <a:gdLst>
                <a:gd name="T0" fmla="*/ 1121 w 1180"/>
                <a:gd name="T1" fmla="*/ 728 h 1080"/>
                <a:gd name="T2" fmla="*/ 1003 w 1180"/>
                <a:gd name="T3" fmla="*/ 672 h 1080"/>
                <a:gd name="T4" fmla="*/ 935 w 1180"/>
                <a:gd name="T5" fmla="*/ 616 h 1080"/>
                <a:gd name="T6" fmla="*/ 902 w 1180"/>
                <a:gd name="T7" fmla="*/ 584 h 1080"/>
                <a:gd name="T8" fmla="*/ 817 w 1180"/>
                <a:gd name="T9" fmla="*/ 592 h 1080"/>
                <a:gd name="T10" fmla="*/ 733 w 1180"/>
                <a:gd name="T11" fmla="*/ 528 h 1080"/>
                <a:gd name="T12" fmla="*/ 683 w 1180"/>
                <a:gd name="T13" fmla="*/ 448 h 1080"/>
                <a:gd name="T14" fmla="*/ 556 w 1180"/>
                <a:gd name="T15" fmla="*/ 344 h 1080"/>
                <a:gd name="T16" fmla="*/ 523 w 1180"/>
                <a:gd name="T17" fmla="*/ 280 h 1080"/>
                <a:gd name="T18" fmla="*/ 548 w 1180"/>
                <a:gd name="T19" fmla="*/ 240 h 1080"/>
                <a:gd name="T20" fmla="*/ 531 w 1180"/>
                <a:gd name="T21" fmla="*/ 216 h 1080"/>
                <a:gd name="T22" fmla="*/ 556 w 1180"/>
                <a:gd name="T23" fmla="*/ 184 h 1080"/>
                <a:gd name="T24" fmla="*/ 649 w 1180"/>
                <a:gd name="T25" fmla="*/ 144 h 1080"/>
                <a:gd name="T26" fmla="*/ 649 w 1180"/>
                <a:gd name="T27" fmla="*/ 56 h 1080"/>
                <a:gd name="T28" fmla="*/ 514 w 1180"/>
                <a:gd name="T29" fmla="*/ 0 h 1080"/>
                <a:gd name="T30" fmla="*/ 405 w 1180"/>
                <a:gd name="T31" fmla="*/ 40 h 1080"/>
                <a:gd name="T32" fmla="*/ 354 w 1180"/>
                <a:gd name="T33" fmla="*/ 64 h 1080"/>
                <a:gd name="T34" fmla="*/ 295 w 1180"/>
                <a:gd name="T35" fmla="*/ 80 h 1080"/>
                <a:gd name="T36" fmla="*/ 228 w 1180"/>
                <a:gd name="T37" fmla="*/ 152 h 1080"/>
                <a:gd name="T38" fmla="*/ 118 w 1180"/>
                <a:gd name="T39" fmla="*/ 136 h 1080"/>
                <a:gd name="T40" fmla="*/ 42 w 1180"/>
                <a:gd name="T41" fmla="*/ 208 h 1080"/>
                <a:gd name="T42" fmla="*/ 25 w 1180"/>
                <a:gd name="T43" fmla="*/ 272 h 1080"/>
                <a:gd name="T44" fmla="*/ 93 w 1180"/>
                <a:gd name="T45" fmla="*/ 352 h 1080"/>
                <a:gd name="T46" fmla="*/ 93 w 1180"/>
                <a:gd name="T47" fmla="*/ 392 h 1080"/>
                <a:gd name="T48" fmla="*/ 160 w 1180"/>
                <a:gd name="T49" fmla="*/ 344 h 1080"/>
                <a:gd name="T50" fmla="*/ 202 w 1180"/>
                <a:gd name="T51" fmla="*/ 320 h 1080"/>
                <a:gd name="T52" fmla="*/ 261 w 1180"/>
                <a:gd name="T53" fmla="*/ 352 h 1080"/>
                <a:gd name="T54" fmla="*/ 312 w 1180"/>
                <a:gd name="T55" fmla="*/ 368 h 1080"/>
                <a:gd name="T56" fmla="*/ 337 w 1180"/>
                <a:gd name="T57" fmla="*/ 424 h 1080"/>
                <a:gd name="T58" fmla="*/ 371 w 1180"/>
                <a:gd name="T59" fmla="*/ 496 h 1080"/>
                <a:gd name="T60" fmla="*/ 430 w 1180"/>
                <a:gd name="T61" fmla="*/ 552 h 1080"/>
                <a:gd name="T62" fmla="*/ 497 w 1180"/>
                <a:gd name="T63" fmla="*/ 592 h 1080"/>
                <a:gd name="T64" fmla="*/ 607 w 1180"/>
                <a:gd name="T65" fmla="*/ 680 h 1080"/>
                <a:gd name="T66" fmla="*/ 649 w 1180"/>
                <a:gd name="T67" fmla="*/ 688 h 1080"/>
                <a:gd name="T68" fmla="*/ 742 w 1180"/>
                <a:gd name="T69" fmla="*/ 744 h 1080"/>
                <a:gd name="T70" fmla="*/ 775 w 1180"/>
                <a:gd name="T71" fmla="*/ 752 h 1080"/>
                <a:gd name="T72" fmla="*/ 809 w 1180"/>
                <a:gd name="T73" fmla="*/ 768 h 1080"/>
                <a:gd name="T74" fmla="*/ 851 w 1180"/>
                <a:gd name="T75" fmla="*/ 824 h 1080"/>
                <a:gd name="T76" fmla="*/ 927 w 1180"/>
                <a:gd name="T77" fmla="*/ 856 h 1080"/>
                <a:gd name="T78" fmla="*/ 978 w 1180"/>
                <a:gd name="T79" fmla="*/ 984 h 1080"/>
                <a:gd name="T80" fmla="*/ 935 w 1180"/>
                <a:gd name="T81" fmla="*/ 1000 h 1080"/>
                <a:gd name="T82" fmla="*/ 927 w 1180"/>
                <a:gd name="T83" fmla="*/ 1040 h 1080"/>
                <a:gd name="T84" fmla="*/ 935 w 1180"/>
                <a:gd name="T85" fmla="*/ 1072 h 1080"/>
                <a:gd name="T86" fmla="*/ 978 w 1180"/>
                <a:gd name="T87" fmla="*/ 1072 h 1080"/>
                <a:gd name="T88" fmla="*/ 1011 w 1180"/>
                <a:gd name="T89" fmla="*/ 1000 h 1080"/>
                <a:gd name="T90" fmla="*/ 1070 w 1180"/>
                <a:gd name="T91" fmla="*/ 952 h 1080"/>
                <a:gd name="T92" fmla="*/ 1053 w 1180"/>
                <a:gd name="T93" fmla="*/ 888 h 1080"/>
                <a:gd name="T94" fmla="*/ 1003 w 1180"/>
                <a:gd name="T95" fmla="*/ 864 h 1080"/>
                <a:gd name="T96" fmla="*/ 1011 w 1180"/>
                <a:gd name="T97" fmla="*/ 800 h 1080"/>
                <a:gd name="T98" fmla="*/ 1045 w 1180"/>
                <a:gd name="T99" fmla="*/ 768 h 1080"/>
                <a:gd name="T100" fmla="*/ 1146 w 1180"/>
                <a:gd name="T101" fmla="*/ 792 h 1080"/>
                <a:gd name="T102" fmla="*/ 1180 w 1180"/>
                <a:gd name="T103" fmla="*/ 784 h 1080"/>
                <a:gd name="T104" fmla="*/ 1155 w 1180"/>
                <a:gd name="T105" fmla="*/ 752 h 108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180" h="1080">
                  <a:moveTo>
                    <a:pt x="1155" y="752"/>
                  </a:moveTo>
                  <a:lnTo>
                    <a:pt x="1121" y="728"/>
                  </a:lnTo>
                  <a:lnTo>
                    <a:pt x="1087" y="712"/>
                  </a:lnTo>
                  <a:lnTo>
                    <a:pt x="1003" y="672"/>
                  </a:lnTo>
                  <a:lnTo>
                    <a:pt x="919" y="632"/>
                  </a:lnTo>
                  <a:lnTo>
                    <a:pt x="935" y="616"/>
                  </a:lnTo>
                  <a:lnTo>
                    <a:pt x="927" y="600"/>
                  </a:lnTo>
                  <a:lnTo>
                    <a:pt x="902" y="584"/>
                  </a:lnTo>
                  <a:lnTo>
                    <a:pt x="868" y="592"/>
                  </a:lnTo>
                  <a:lnTo>
                    <a:pt x="817" y="592"/>
                  </a:lnTo>
                  <a:lnTo>
                    <a:pt x="775" y="568"/>
                  </a:lnTo>
                  <a:lnTo>
                    <a:pt x="733" y="528"/>
                  </a:lnTo>
                  <a:lnTo>
                    <a:pt x="708" y="488"/>
                  </a:lnTo>
                  <a:lnTo>
                    <a:pt x="683" y="448"/>
                  </a:lnTo>
                  <a:lnTo>
                    <a:pt x="641" y="408"/>
                  </a:lnTo>
                  <a:lnTo>
                    <a:pt x="556" y="344"/>
                  </a:lnTo>
                  <a:lnTo>
                    <a:pt x="523" y="296"/>
                  </a:lnTo>
                  <a:lnTo>
                    <a:pt x="523" y="280"/>
                  </a:lnTo>
                  <a:lnTo>
                    <a:pt x="539" y="256"/>
                  </a:lnTo>
                  <a:lnTo>
                    <a:pt x="548" y="240"/>
                  </a:lnTo>
                  <a:lnTo>
                    <a:pt x="539" y="224"/>
                  </a:lnTo>
                  <a:lnTo>
                    <a:pt x="531" y="216"/>
                  </a:lnTo>
                  <a:lnTo>
                    <a:pt x="531" y="200"/>
                  </a:lnTo>
                  <a:lnTo>
                    <a:pt x="556" y="184"/>
                  </a:lnTo>
                  <a:lnTo>
                    <a:pt x="641" y="152"/>
                  </a:lnTo>
                  <a:lnTo>
                    <a:pt x="649" y="144"/>
                  </a:lnTo>
                  <a:lnTo>
                    <a:pt x="641" y="88"/>
                  </a:lnTo>
                  <a:lnTo>
                    <a:pt x="649" y="56"/>
                  </a:lnTo>
                  <a:lnTo>
                    <a:pt x="531" y="24"/>
                  </a:lnTo>
                  <a:lnTo>
                    <a:pt x="514" y="0"/>
                  </a:lnTo>
                  <a:lnTo>
                    <a:pt x="438" y="8"/>
                  </a:lnTo>
                  <a:lnTo>
                    <a:pt x="405" y="40"/>
                  </a:lnTo>
                  <a:lnTo>
                    <a:pt x="371" y="32"/>
                  </a:lnTo>
                  <a:lnTo>
                    <a:pt x="354" y="64"/>
                  </a:lnTo>
                  <a:lnTo>
                    <a:pt x="320" y="64"/>
                  </a:lnTo>
                  <a:lnTo>
                    <a:pt x="295" y="80"/>
                  </a:lnTo>
                  <a:lnTo>
                    <a:pt x="253" y="72"/>
                  </a:lnTo>
                  <a:lnTo>
                    <a:pt x="228" y="152"/>
                  </a:lnTo>
                  <a:lnTo>
                    <a:pt x="160" y="72"/>
                  </a:lnTo>
                  <a:lnTo>
                    <a:pt x="118" y="136"/>
                  </a:lnTo>
                  <a:lnTo>
                    <a:pt x="25" y="144"/>
                  </a:lnTo>
                  <a:lnTo>
                    <a:pt x="42" y="208"/>
                  </a:lnTo>
                  <a:lnTo>
                    <a:pt x="0" y="232"/>
                  </a:lnTo>
                  <a:lnTo>
                    <a:pt x="25" y="272"/>
                  </a:lnTo>
                  <a:lnTo>
                    <a:pt x="17" y="320"/>
                  </a:lnTo>
                  <a:lnTo>
                    <a:pt x="93" y="352"/>
                  </a:lnTo>
                  <a:lnTo>
                    <a:pt x="76" y="392"/>
                  </a:lnTo>
                  <a:lnTo>
                    <a:pt x="93" y="392"/>
                  </a:lnTo>
                  <a:lnTo>
                    <a:pt x="135" y="376"/>
                  </a:lnTo>
                  <a:lnTo>
                    <a:pt x="160" y="344"/>
                  </a:lnTo>
                  <a:lnTo>
                    <a:pt x="177" y="328"/>
                  </a:lnTo>
                  <a:lnTo>
                    <a:pt x="202" y="320"/>
                  </a:lnTo>
                  <a:lnTo>
                    <a:pt x="244" y="336"/>
                  </a:lnTo>
                  <a:lnTo>
                    <a:pt x="261" y="352"/>
                  </a:lnTo>
                  <a:lnTo>
                    <a:pt x="278" y="368"/>
                  </a:lnTo>
                  <a:lnTo>
                    <a:pt x="312" y="368"/>
                  </a:lnTo>
                  <a:lnTo>
                    <a:pt x="329" y="384"/>
                  </a:lnTo>
                  <a:lnTo>
                    <a:pt x="337" y="424"/>
                  </a:lnTo>
                  <a:lnTo>
                    <a:pt x="362" y="472"/>
                  </a:lnTo>
                  <a:lnTo>
                    <a:pt x="371" y="496"/>
                  </a:lnTo>
                  <a:lnTo>
                    <a:pt x="396" y="512"/>
                  </a:lnTo>
                  <a:lnTo>
                    <a:pt x="430" y="552"/>
                  </a:lnTo>
                  <a:lnTo>
                    <a:pt x="472" y="576"/>
                  </a:lnTo>
                  <a:lnTo>
                    <a:pt x="497" y="592"/>
                  </a:lnTo>
                  <a:lnTo>
                    <a:pt x="514" y="608"/>
                  </a:lnTo>
                  <a:lnTo>
                    <a:pt x="607" y="680"/>
                  </a:lnTo>
                  <a:lnTo>
                    <a:pt x="624" y="696"/>
                  </a:lnTo>
                  <a:lnTo>
                    <a:pt x="649" y="688"/>
                  </a:lnTo>
                  <a:lnTo>
                    <a:pt x="708" y="712"/>
                  </a:lnTo>
                  <a:lnTo>
                    <a:pt x="742" y="744"/>
                  </a:lnTo>
                  <a:lnTo>
                    <a:pt x="767" y="744"/>
                  </a:lnTo>
                  <a:lnTo>
                    <a:pt x="775" y="752"/>
                  </a:lnTo>
                  <a:lnTo>
                    <a:pt x="775" y="768"/>
                  </a:lnTo>
                  <a:lnTo>
                    <a:pt x="809" y="768"/>
                  </a:lnTo>
                  <a:lnTo>
                    <a:pt x="826" y="800"/>
                  </a:lnTo>
                  <a:lnTo>
                    <a:pt x="851" y="824"/>
                  </a:lnTo>
                  <a:lnTo>
                    <a:pt x="893" y="840"/>
                  </a:lnTo>
                  <a:lnTo>
                    <a:pt x="927" y="856"/>
                  </a:lnTo>
                  <a:lnTo>
                    <a:pt x="944" y="904"/>
                  </a:lnTo>
                  <a:lnTo>
                    <a:pt x="978" y="984"/>
                  </a:lnTo>
                  <a:lnTo>
                    <a:pt x="952" y="984"/>
                  </a:lnTo>
                  <a:lnTo>
                    <a:pt x="935" y="1000"/>
                  </a:lnTo>
                  <a:lnTo>
                    <a:pt x="935" y="1016"/>
                  </a:lnTo>
                  <a:lnTo>
                    <a:pt x="927" y="1040"/>
                  </a:lnTo>
                  <a:lnTo>
                    <a:pt x="919" y="1056"/>
                  </a:lnTo>
                  <a:lnTo>
                    <a:pt x="935" y="1072"/>
                  </a:lnTo>
                  <a:lnTo>
                    <a:pt x="952" y="1080"/>
                  </a:lnTo>
                  <a:lnTo>
                    <a:pt x="978" y="1072"/>
                  </a:lnTo>
                  <a:lnTo>
                    <a:pt x="994" y="1040"/>
                  </a:lnTo>
                  <a:lnTo>
                    <a:pt x="1011" y="1000"/>
                  </a:lnTo>
                  <a:lnTo>
                    <a:pt x="1028" y="960"/>
                  </a:lnTo>
                  <a:lnTo>
                    <a:pt x="1070" y="952"/>
                  </a:lnTo>
                  <a:lnTo>
                    <a:pt x="1070" y="904"/>
                  </a:lnTo>
                  <a:lnTo>
                    <a:pt x="1053" y="888"/>
                  </a:lnTo>
                  <a:lnTo>
                    <a:pt x="1028" y="880"/>
                  </a:lnTo>
                  <a:lnTo>
                    <a:pt x="1003" y="864"/>
                  </a:lnTo>
                  <a:lnTo>
                    <a:pt x="994" y="848"/>
                  </a:lnTo>
                  <a:lnTo>
                    <a:pt x="1011" y="800"/>
                  </a:lnTo>
                  <a:lnTo>
                    <a:pt x="1028" y="776"/>
                  </a:lnTo>
                  <a:lnTo>
                    <a:pt x="1045" y="768"/>
                  </a:lnTo>
                  <a:lnTo>
                    <a:pt x="1104" y="776"/>
                  </a:lnTo>
                  <a:lnTo>
                    <a:pt x="1146" y="792"/>
                  </a:lnTo>
                  <a:lnTo>
                    <a:pt x="1180" y="824"/>
                  </a:lnTo>
                  <a:lnTo>
                    <a:pt x="1180" y="784"/>
                  </a:lnTo>
                  <a:lnTo>
                    <a:pt x="1155" y="752"/>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5" name="Freeform 34"/>
            <p:cNvSpPr>
              <a:spLocks/>
            </p:cNvSpPr>
            <p:nvPr>
              <p:custDataLst>
                <p:tags r:id="rId31"/>
              </p:custDataLst>
            </p:nvPr>
          </p:nvSpPr>
          <p:spPr bwMode="auto">
            <a:xfrm>
              <a:off x="2463" y="2496"/>
              <a:ext cx="1146" cy="1088"/>
            </a:xfrm>
            <a:custGeom>
              <a:avLst/>
              <a:gdLst>
                <a:gd name="T0" fmla="*/ 969 w 1146"/>
                <a:gd name="T1" fmla="*/ 600 h 1088"/>
                <a:gd name="T2" fmla="*/ 944 w 1146"/>
                <a:gd name="T3" fmla="*/ 584 h 1088"/>
                <a:gd name="T4" fmla="*/ 986 w 1146"/>
                <a:gd name="T5" fmla="*/ 520 h 1088"/>
                <a:gd name="T6" fmla="*/ 1019 w 1146"/>
                <a:gd name="T7" fmla="*/ 472 h 1088"/>
                <a:gd name="T8" fmla="*/ 1087 w 1146"/>
                <a:gd name="T9" fmla="*/ 448 h 1088"/>
                <a:gd name="T10" fmla="*/ 1112 w 1146"/>
                <a:gd name="T11" fmla="*/ 320 h 1088"/>
                <a:gd name="T12" fmla="*/ 1095 w 1146"/>
                <a:gd name="T13" fmla="*/ 272 h 1088"/>
                <a:gd name="T14" fmla="*/ 1011 w 1146"/>
                <a:gd name="T15" fmla="*/ 248 h 1088"/>
                <a:gd name="T16" fmla="*/ 927 w 1146"/>
                <a:gd name="T17" fmla="*/ 208 h 1088"/>
                <a:gd name="T18" fmla="*/ 851 w 1146"/>
                <a:gd name="T19" fmla="*/ 136 h 1088"/>
                <a:gd name="T20" fmla="*/ 809 w 1146"/>
                <a:gd name="T21" fmla="*/ 112 h 1088"/>
                <a:gd name="T22" fmla="*/ 767 w 1146"/>
                <a:gd name="T23" fmla="*/ 88 h 1088"/>
                <a:gd name="T24" fmla="*/ 708 w 1146"/>
                <a:gd name="T25" fmla="*/ 48 h 1088"/>
                <a:gd name="T26" fmla="*/ 666 w 1146"/>
                <a:gd name="T27" fmla="*/ 0 h 1088"/>
                <a:gd name="T28" fmla="*/ 598 w 1146"/>
                <a:gd name="T29" fmla="*/ 24 h 1088"/>
                <a:gd name="T30" fmla="*/ 564 w 1146"/>
                <a:gd name="T31" fmla="*/ 104 h 1088"/>
                <a:gd name="T32" fmla="*/ 489 w 1146"/>
                <a:gd name="T33" fmla="*/ 136 h 1088"/>
                <a:gd name="T34" fmla="*/ 455 w 1146"/>
                <a:gd name="T35" fmla="*/ 168 h 1088"/>
                <a:gd name="T36" fmla="*/ 413 w 1146"/>
                <a:gd name="T37" fmla="*/ 184 h 1088"/>
                <a:gd name="T38" fmla="*/ 345 w 1146"/>
                <a:gd name="T39" fmla="*/ 160 h 1088"/>
                <a:gd name="T40" fmla="*/ 269 w 1146"/>
                <a:gd name="T41" fmla="*/ 144 h 1088"/>
                <a:gd name="T42" fmla="*/ 303 w 1146"/>
                <a:gd name="T43" fmla="*/ 256 h 1088"/>
                <a:gd name="T44" fmla="*/ 211 w 1146"/>
                <a:gd name="T45" fmla="*/ 240 h 1088"/>
                <a:gd name="T46" fmla="*/ 177 w 1146"/>
                <a:gd name="T47" fmla="*/ 232 h 1088"/>
                <a:gd name="T48" fmla="*/ 126 w 1146"/>
                <a:gd name="T49" fmla="*/ 208 h 1088"/>
                <a:gd name="T50" fmla="*/ 84 w 1146"/>
                <a:gd name="T51" fmla="*/ 216 h 1088"/>
                <a:gd name="T52" fmla="*/ 8 w 1146"/>
                <a:gd name="T53" fmla="*/ 232 h 1088"/>
                <a:gd name="T54" fmla="*/ 8 w 1146"/>
                <a:gd name="T55" fmla="*/ 248 h 1088"/>
                <a:gd name="T56" fmla="*/ 25 w 1146"/>
                <a:gd name="T57" fmla="*/ 272 h 1088"/>
                <a:gd name="T58" fmla="*/ 17 w 1146"/>
                <a:gd name="T59" fmla="*/ 288 h 1088"/>
                <a:gd name="T60" fmla="*/ 42 w 1146"/>
                <a:gd name="T61" fmla="*/ 312 h 1088"/>
                <a:gd name="T62" fmla="*/ 109 w 1146"/>
                <a:gd name="T63" fmla="*/ 328 h 1088"/>
                <a:gd name="T64" fmla="*/ 160 w 1146"/>
                <a:gd name="T65" fmla="*/ 368 h 1088"/>
                <a:gd name="T66" fmla="*/ 194 w 1146"/>
                <a:gd name="T67" fmla="*/ 400 h 1088"/>
                <a:gd name="T68" fmla="*/ 211 w 1146"/>
                <a:gd name="T69" fmla="*/ 448 h 1088"/>
                <a:gd name="T70" fmla="*/ 269 w 1146"/>
                <a:gd name="T71" fmla="*/ 536 h 1088"/>
                <a:gd name="T72" fmla="*/ 278 w 1146"/>
                <a:gd name="T73" fmla="*/ 584 h 1088"/>
                <a:gd name="T74" fmla="*/ 295 w 1146"/>
                <a:gd name="T75" fmla="*/ 640 h 1088"/>
                <a:gd name="T76" fmla="*/ 236 w 1146"/>
                <a:gd name="T77" fmla="*/ 776 h 1088"/>
                <a:gd name="T78" fmla="*/ 177 w 1146"/>
                <a:gd name="T79" fmla="*/ 872 h 1088"/>
                <a:gd name="T80" fmla="*/ 160 w 1146"/>
                <a:gd name="T81" fmla="*/ 888 h 1088"/>
                <a:gd name="T82" fmla="*/ 244 w 1146"/>
                <a:gd name="T83" fmla="*/ 960 h 1088"/>
                <a:gd name="T84" fmla="*/ 320 w 1146"/>
                <a:gd name="T85" fmla="*/ 992 h 1088"/>
                <a:gd name="T86" fmla="*/ 396 w 1146"/>
                <a:gd name="T87" fmla="*/ 1024 h 1088"/>
                <a:gd name="T88" fmla="*/ 522 w 1146"/>
                <a:gd name="T89" fmla="*/ 1056 h 1088"/>
                <a:gd name="T90" fmla="*/ 607 w 1146"/>
                <a:gd name="T91" fmla="*/ 1088 h 1088"/>
                <a:gd name="T92" fmla="*/ 632 w 1146"/>
                <a:gd name="T93" fmla="*/ 1080 h 1088"/>
                <a:gd name="T94" fmla="*/ 623 w 1146"/>
                <a:gd name="T95" fmla="*/ 1032 h 1088"/>
                <a:gd name="T96" fmla="*/ 649 w 1146"/>
                <a:gd name="T97" fmla="*/ 968 h 1088"/>
                <a:gd name="T98" fmla="*/ 716 w 1146"/>
                <a:gd name="T99" fmla="*/ 928 h 1088"/>
                <a:gd name="T100" fmla="*/ 842 w 1146"/>
                <a:gd name="T101" fmla="*/ 952 h 1088"/>
                <a:gd name="T102" fmla="*/ 910 w 1146"/>
                <a:gd name="T103" fmla="*/ 984 h 1088"/>
                <a:gd name="T104" fmla="*/ 960 w 1146"/>
                <a:gd name="T105" fmla="*/ 976 h 1088"/>
                <a:gd name="T106" fmla="*/ 977 w 1146"/>
                <a:gd name="T107" fmla="*/ 960 h 1088"/>
                <a:gd name="T108" fmla="*/ 1070 w 1146"/>
                <a:gd name="T109" fmla="*/ 904 h 1088"/>
                <a:gd name="T110" fmla="*/ 1011 w 1146"/>
                <a:gd name="T111" fmla="*/ 832 h 1088"/>
                <a:gd name="T112" fmla="*/ 994 w 1146"/>
                <a:gd name="T113" fmla="*/ 744 h 1088"/>
                <a:gd name="T114" fmla="*/ 1019 w 1146"/>
                <a:gd name="T115" fmla="*/ 656 h 1088"/>
                <a:gd name="T116" fmla="*/ 1019 w 1146"/>
                <a:gd name="T117" fmla="*/ 632 h 10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146" h="1088">
                  <a:moveTo>
                    <a:pt x="1011" y="616"/>
                  </a:moveTo>
                  <a:lnTo>
                    <a:pt x="969" y="600"/>
                  </a:lnTo>
                  <a:lnTo>
                    <a:pt x="935" y="616"/>
                  </a:lnTo>
                  <a:lnTo>
                    <a:pt x="944" y="584"/>
                  </a:lnTo>
                  <a:lnTo>
                    <a:pt x="977" y="544"/>
                  </a:lnTo>
                  <a:lnTo>
                    <a:pt x="986" y="520"/>
                  </a:lnTo>
                  <a:lnTo>
                    <a:pt x="1011" y="504"/>
                  </a:lnTo>
                  <a:lnTo>
                    <a:pt x="1019" y="472"/>
                  </a:lnTo>
                  <a:lnTo>
                    <a:pt x="1053" y="464"/>
                  </a:lnTo>
                  <a:lnTo>
                    <a:pt x="1087" y="448"/>
                  </a:lnTo>
                  <a:lnTo>
                    <a:pt x="1104" y="360"/>
                  </a:lnTo>
                  <a:lnTo>
                    <a:pt x="1112" y="320"/>
                  </a:lnTo>
                  <a:lnTo>
                    <a:pt x="1146" y="288"/>
                  </a:lnTo>
                  <a:lnTo>
                    <a:pt x="1095" y="272"/>
                  </a:lnTo>
                  <a:lnTo>
                    <a:pt x="1036" y="256"/>
                  </a:lnTo>
                  <a:lnTo>
                    <a:pt x="1011" y="248"/>
                  </a:lnTo>
                  <a:lnTo>
                    <a:pt x="986" y="216"/>
                  </a:lnTo>
                  <a:lnTo>
                    <a:pt x="927" y="208"/>
                  </a:lnTo>
                  <a:lnTo>
                    <a:pt x="868" y="168"/>
                  </a:lnTo>
                  <a:lnTo>
                    <a:pt x="851" y="136"/>
                  </a:lnTo>
                  <a:lnTo>
                    <a:pt x="809" y="144"/>
                  </a:lnTo>
                  <a:lnTo>
                    <a:pt x="809" y="112"/>
                  </a:lnTo>
                  <a:lnTo>
                    <a:pt x="767" y="96"/>
                  </a:lnTo>
                  <a:lnTo>
                    <a:pt x="767" y="88"/>
                  </a:lnTo>
                  <a:lnTo>
                    <a:pt x="733" y="72"/>
                  </a:lnTo>
                  <a:lnTo>
                    <a:pt x="708" y="48"/>
                  </a:lnTo>
                  <a:lnTo>
                    <a:pt x="682" y="16"/>
                  </a:lnTo>
                  <a:lnTo>
                    <a:pt x="666" y="0"/>
                  </a:lnTo>
                  <a:lnTo>
                    <a:pt x="623" y="8"/>
                  </a:lnTo>
                  <a:lnTo>
                    <a:pt x="598" y="24"/>
                  </a:lnTo>
                  <a:lnTo>
                    <a:pt x="581" y="88"/>
                  </a:lnTo>
                  <a:lnTo>
                    <a:pt x="564" y="104"/>
                  </a:lnTo>
                  <a:lnTo>
                    <a:pt x="539" y="120"/>
                  </a:lnTo>
                  <a:lnTo>
                    <a:pt x="489" y="136"/>
                  </a:lnTo>
                  <a:lnTo>
                    <a:pt x="463" y="144"/>
                  </a:lnTo>
                  <a:lnTo>
                    <a:pt x="455" y="168"/>
                  </a:lnTo>
                  <a:lnTo>
                    <a:pt x="446" y="184"/>
                  </a:lnTo>
                  <a:lnTo>
                    <a:pt x="413" y="184"/>
                  </a:lnTo>
                  <a:lnTo>
                    <a:pt x="362" y="168"/>
                  </a:lnTo>
                  <a:lnTo>
                    <a:pt x="345" y="160"/>
                  </a:lnTo>
                  <a:lnTo>
                    <a:pt x="328" y="144"/>
                  </a:lnTo>
                  <a:lnTo>
                    <a:pt x="269" y="144"/>
                  </a:lnTo>
                  <a:lnTo>
                    <a:pt x="295" y="200"/>
                  </a:lnTo>
                  <a:lnTo>
                    <a:pt x="303" y="256"/>
                  </a:lnTo>
                  <a:lnTo>
                    <a:pt x="253" y="248"/>
                  </a:lnTo>
                  <a:lnTo>
                    <a:pt x="211" y="240"/>
                  </a:lnTo>
                  <a:lnTo>
                    <a:pt x="194" y="248"/>
                  </a:lnTo>
                  <a:lnTo>
                    <a:pt x="177" y="232"/>
                  </a:lnTo>
                  <a:lnTo>
                    <a:pt x="152" y="208"/>
                  </a:lnTo>
                  <a:lnTo>
                    <a:pt x="126" y="208"/>
                  </a:lnTo>
                  <a:lnTo>
                    <a:pt x="109" y="216"/>
                  </a:lnTo>
                  <a:lnTo>
                    <a:pt x="84" y="216"/>
                  </a:lnTo>
                  <a:lnTo>
                    <a:pt x="34" y="216"/>
                  </a:lnTo>
                  <a:lnTo>
                    <a:pt x="8" y="232"/>
                  </a:lnTo>
                  <a:lnTo>
                    <a:pt x="0" y="240"/>
                  </a:lnTo>
                  <a:lnTo>
                    <a:pt x="8" y="248"/>
                  </a:lnTo>
                  <a:lnTo>
                    <a:pt x="50" y="272"/>
                  </a:lnTo>
                  <a:lnTo>
                    <a:pt x="25" y="272"/>
                  </a:lnTo>
                  <a:lnTo>
                    <a:pt x="17" y="280"/>
                  </a:lnTo>
                  <a:lnTo>
                    <a:pt x="17" y="288"/>
                  </a:lnTo>
                  <a:lnTo>
                    <a:pt x="25" y="304"/>
                  </a:lnTo>
                  <a:lnTo>
                    <a:pt x="42" y="312"/>
                  </a:lnTo>
                  <a:lnTo>
                    <a:pt x="76" y="320"/>
                  </a:lnTo>
                  <a:lnTo>
                    <a:pt x="109" y="328"/>
                  </a:lnTo>
                  <a:lnTo>
                    <a:pt x="135" y="352"/>
                  </a:lnTo>
                  <a:lnTo>
                    <a:pt x="160" y="368"/>
                  </a:lnTo>
                  <a:lnTo>
                    <a:pt x="185" y="376"/>
                  </a:lnTo>
                  <a:lnTo>
                    <a:pt x="194" y="400"/>
                  </a:lnTo>
                  <a:lnTo>
                    <a:pt x="219" y="424"/>
                  </a:lnTo>
                  <a:lnTo>
                    <a:pt x="211" y="448"/>
                  </a:lnTo>
                  <a:lnTo>
                    <a:pt x="244" y="512"/>
                  </a:lnTo>
                  <a:lnTo>
                    <a:pt x="269" y="536"/>
                  </a:lnTo>
                  <a:lnTo>
                    <a:pt x="286" y="560"/>
                  </a:lnTo>
                  <a:lnTo>
                    <a:pt x="278" y="584"/>
                  </a:lnTo>
                  <a:lnTo>
                    <a:pt x="253" y="592"/>
                  </a:lnTo>
                  <a:lnTo>
                    <a:pt x="295" y="640"/>
                  </a:lnTo>
                  <a:lnTo>
                    <a:pt x="269" y="632"/>
                  </a:lnTo>
                  <a:lnTo>
                    <a:pt x="236" y="776"/>
                  </a:lnTo>
                  <a:lnTo>
                    <a:pt x="202" y="848"/>
                  </a:lnTo>
                  <a:lnTo>
                    <a:pt x="177" y="872"/>
                  </a:lnTo>
                  <a:lnTo>
                    <a:pt x="143" y="880"/>
                  </a:lnTo>
                  <a:lnTo>
                    <a:pt x="160" y="888"/>
                  </a:lnTo>
                  <a:lnTo>
                    <a:pt x="211" y="928"/>
                  </a:lnTo>
                  <a:lnTo>
                    <a:pt x="244" y="960"/>
                  </a:lnTo>
                  <a:lnTo>
                    <a:pt x="278" y="968"/>
                  </a:lnTo>
                  <a:lnTo>
                    <a:pt x="320" y="992"/>
                  </a:lnTo>
                  <a:lnTo>
                    <a:pt x="337" y="1016"/>
                  </a:lnTo>
                  <a:lnTo>
                    <a:pt x="396" y="1024"/>
                  </a:lnTo>
                  <a:lnTo>
                    <a:pt x="463" y="1032"/>
                  </a:lnTo>
                  <a:lnTo>
                    <a:pt x="522" y="1056"/>
                  </a:lnTo>
                  <a:lnTo>
                    <a:pt x="581" y="1072"/>
                  </a:lnTo>
                  <a:lnTo>
                    <a:pt x="607" y="1088"/>
                  </a:lnTo>
                  <a:lnTo>
                    <a:pt x="632" y="1080"/>
                  </a:lnTo>
                  <a:lnTo>
                    <a:pt x="640" y="1064"/>
                  </a:lnTo>
                  <a:lnTo>
                    <a:pt x="623" y="1032"/>
                  </a:lnTo>
                  <a:lnTo>
                    <a:pt x="632" y="992"/>
                  </a:lnTo>
                  <a:lnTo>
                    <a:pt x="649" y="968"/>
                  </a:lnTo>
                  <a:lnTo>
                    <a:pt x="682" y="944"/>
                  </a:lnTo>
                  <a:lnTo>
                    <a:pt x="716" y="928"/>
                  </a:lnTo>
                  <a:lnTo>
                    <a:pt x="750" y="928"/>
                  </a:lnTo>
                  <a:lnTo>
                    <a:pt x="842" y="952"/>
                  </a:lnTo>
                  <a:lnTo>
                    <a:pt x="876" y="968"/>
                  </a:lnTo>
                  <a:lnTo>
                    <a:pt x="910" y="984"/>
                  </a:lnTo>
                  <a:lnTo>
                    <a:pt x="944" y="984"/>
                  </a:lnTo>
                  <a:lnTo>
                    <a:pt x="960" y="976"/>
                  </a:lnTo>
                  <a:lnTo>
                    <a:pt x="969" y="968"/>
                  </a:lnTo>
                  <a:lnTo>
                    <a:pt x="977" y="960"/>
                  </a:lnTo>
                  <a:lnTo>
                    <a:pt x="1019" y="928"/>
                  </a:lnTo>
                  <a:lnTo>
                    <a:pt x="1070" y="904"/>
                  </a:lnTo>
                  <a:lnTo>
                    <a:pt x="1087" y="864"/>
                  </a:lnTo>
                  <a:lnTo>
                    <a:pt x="1011" y="832"/>
                  </a:lnTo>
                  <a:lnTo>
                    <a:pt x="1019" y="784"/>
                  </a:lnTo>
                  <a:lnTo>
                    <a:pt x="994" y="744"/>
                  </a:lnTo>
                  <a:lnTo>
                    <a:pt x="1036" y="720"/>
                  </a:lnTo>
                  <a:lnTo>
                    <a:pt x="1019" y="656"/>
                  </a:lnTo>
                  <a:lnTo>
                    <a:pt x="1036" y="656"/>
                  </a:lnTo>
                  <a:lnTo>
                    <a:pt x="1019" y="632"/>
                  </a:lnTo>
                  <a:lnTo>
                    <a:pt x="1011" y="616"/>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6" name="Freeform 35"/>
            <p:cNvSpPr>
              <a:spLocks/>
            </p:cNvSpPr>
            <p:nvPr>
              <p:custDataLst>
                <p:tags r:id="rId32"/>
              </p:custDataLst>
            </p:nvPr>
          </p:nvSpPr>
          <p:spPr bwMode="auto">
            <a:xfrm>
              <a:off x="3129" y="2472"/>
              <a:ext cx="328" cy="232"/>
            </a:xfrm>
            <a:custGeom>
              <a:avLst/>
              <a:gdLst>
                <a:gd name="T0" fmla="*/ 278 w 328"/>
                <a:gd name="T1" fmla="*/ 184 h 232"/>
                <a:gd name="T2" fmla="*/ 286 w 328"/>
                <a:gd name="T3" fmla="*/ 168 h 232"/>
                <a:gd name="T4" fmla="*/ 311 w 328"/>
                <a:gd name="T5" fmla="*/ 160 h 232"/>
                <a:gd name="T6" fmla="*/ 328 w 328"/>
                <a:gd name="T7" fmla="*/ 144 h 232"/>
                <a:gd name="T8" fmla="*/ 328 w 328"/>
                <a:gd name="T9" fmla="*/ 112 h 232"/>
                <a:gd name="T10" fmla="*/ 303 w 328"/>
                <a:gd name="T11" fmla="*/ 88 h 232"/>
                <a:gd name="T12" fmla="*/ 269 w 328"/>
                <a:gd name="T13" fmla="*/ 72 h 232"/>
                <a:gd name="T14" fmla="*/ 278 w 328"/>
                <a:gd name="T15" fmla="*/ 48 h 232"/>
                <a:gd name="T16" fmla="*/ 261 w 328"/>
                <a:gd name="T17" fmla="*/ 24 h 232"/>
                <a:gd name="T18" fmla="*/ 219 w 328"/>
                <a:gd name="T19" fmla="*/ 16 h 232"/>
                <a:gd name="T20" fmla="*/ 168 w 328"/>
                <a:gd name="T21" fmla="*/ 8 h 232"/>
                <a:gd name="T22" fmla="*/ 134 w 328"/>
                <a:gd name="T23" fmla="*/ 24 h 232"/>
                <a:gd name="T24" fmla="*/ 101 w 328"/>
                <a:gd name="T25" fmla="*/ 16 h 232"/>
                <a:gd name="T26" fmla="*/ 75 w 328"/>
                <a:gd name="T27" fmla="*/ 0 h 232"/>
                <a:gd name="T28" fmla="*/ 42 w 328"/>
                <a:gd name="T29" fmla="*/ 16 h 232"/>
                <a:gd name="T30" fmla="*/ 0 w 328"/>
                <a:gd name="T31" fmla="*/ 24 h 232"/>
                <a:gd name="T32" fmla="*/ 16 w 328"/>
                <a:gd name="T33" fmla="*/ 40 h 232"/>
                <a:gd name="T34" fmla="*/ 42 w 328"/>
                <a:gd name="T35" fmla="*/ 72 h 232"/>
                <a:gd name="T36" fmla="*/ 67 w 328"/>
                <a:gd name="T37" fmla="*/ 96 h 232"/>
                <a:gd name="T38" fmla="*/ 101 w 328"/>
                <a:gd name="T39" fmla="*/ 112 h 232"/>
                <a:gd name="T40" fmla="*/ 101 w 328"/>
                <a:gd name="T41" fmla="*/ 120 h 232"/>
                <a:gd name="T42" fmla="*/ 143 w 328"/>
                <a:gd name="T43" fmla="*/ 136 h 232"/>
                <a:gd name="T44" fmla="*/ 143 w 328"/>
                <a:gd name="T45" fmla="*/ 168 h 232"/>
                <a:gd name="T46" fmla="*/ 185 w 328"/>
                <a:gd name="T47" fmla="*/ 160 h 232"/>
                <a:gd name="T48" fmla="*/ 202 w 328"/>
                <a:gd name="T49" fmla="*/ 192 h 232"/>
                <a:gd name="T50" fmla="*/ 261 w 328"/>
                <a:gd name="T51" fmla="*/ 232 h 232"/>
                <a:gd name="T52" fmla="*/ 278 w 328"/>
                <a:gd name="T53" fmla="*/ 232 h 232"/>
                <a:gd name="T54" fmla="*/ 278 w 328"/>
                <a:gd name="T55" fmla="*/ 208 h 232"/>
                <a:gd name="T56" fmla="*/ 278 w 328"/>
                <a:gd name="T57" fmla="*/ 184 h 23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28" h="232">
                  <a:moveTo>
                    <a:pt x="278" y="184"/>
                  </a:moveTo>
                  <a:lnTo>
                    <a:pt x="286" y="168"/>
                  </a:lnTo>
                  <a:lnTo>
                    <a:pt x="311" y="160"/>
                  </a:lnTo>
                  <a:lnTo>
                    <a:pt x="328" y="144"/>
                  </a:lnTo>
                  <a:lnTo>
                    <a:pt x="328" y="112"/>
                  </a:lnTo>
                  <a:lnTo>
                    <a:pt x="303" y="88"/>
                  </a:lnTo>
                  <a:lnTo>
                    <a:pt x="269" y="72"/>
                  </a:lnTo>
                  <a:lnTo>
                    <a:pt x="278" y="48"/>
                  </a:lnTo>
                  <a:lnTo>
                    <a:pt x="261" y="24"/>
                  </a:lnTo>
                  <a:lnTo>
                    <a:pt x="219" y="16"/>
                  </a:lnTo>
                  <a:lnTo>
                    <a:pt x="168" y="8"/>
                  </a:lnTo>
                  <a:lnTo>
                    <a:pt x="134" y="24"/>
                  </a:lnTo>
                  <a:lnTo>
                    <a:pt x="101" y="16"/>
                  </a:lnTo>
                  <a:lnTo>
                    <a:pt x="75" y="0"/>
                  </a:lnTo>
                  <a:lnTo>
                    <a:pt x="42" y="16"/>
                  </a:lnTo>
                  <a:lnTo>
                    <a:pt x="0" y="24"/>
                  </a:lnTo>
                  <a:lnTo>
                    <a:pt x="16" y="40"/>
                  </a:lnTo>
                  <a:lnTo>
                    <a:pt x="42" y="72"/>
                  </a:lnTo>
                  <a:lnTo>
                    <a:pt x="67" y="96"/>
                  </a:lnTo>
                  <a:lnTo>
                    <a:pt x="101" y="112"/>
                  </a:lnTo>
                  <a:lnTo>
                    <a:pt x="101" y="120"/>
                  </a:lnTo>
                  <a:lnTo>
                    <a:pt x="143" y="136"/>
                  </a:lnTo>
                  <a:lnTo>
                    <a:pt x="143" y="168"/>
                  </a:lnTo>
                  <a:lnTo>
                    <a:pt x="185" y="160"/>
                  </a:lnTo>
                  <a:lnTo>
                    <a:pt x="202" y="192"/>
                  </a:lnTo>
                  <a:lnTo>
                    <a:pt x="261" y="232"/>
                  </a:lnTo>
                  <a:lnTo>
                    <a:pt x="278" y="232"/>
                  </a:lnTo>
                  <a:lnTo>
                    <a:pt x="278" y="208"/>
                  </a:lnTo>
                  <a:lnTo>
                    <a:pt x="278" y="184"/>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7" name="Freeform 36"/>
            <p:cNvSpPr>
              <a:spLocks/>
            </p:cNvSpPr>
            <p:nvPr>
              <p:custDataLst>
                <p:tags r:id="rId33"/>
              </p:custDataLst>
            </p:nvPr>
          </p:nvSpPr>
          <p:spPr bwMode="auto">
            <a:xfrm>
              <a:off x="3407" y="2632"/>
              <a:ext cx="59" cy="80"/>
            </a:xfrm>
            <a:custGeom>
              <a:avLst/>
              <a:gdLst>
                <a:gd name="T0" fmla="*/ 25 w 59"/>
                <a:gd name="T1" fmla="*/ 24 h 80"/>
                <a:gd name="T2" fmla="*/ 25 w 59"/>
                <a:gd name="T3" fmla="*/ 0 h 80"/>
                <a:gd name="T4" fmla="*/ 8 w 59"/>
                <a:gd name="T5" fmla="*/ 8 h 80"/>
                <a:gd name="T6" fmla="*/ 0 w 59"/>
                <a:gd name="T7" fmla="*/ 24 h 80"/>
                <a:gd name="T8" fmla="*/ 0 w 59"/>
                <a:gd name="T9" fmla="*/ 48 h 80"/>
                <a:gd name="T10" fmla="*/ 0 w 59"/>
                <a:gd name="T11" fmla="*/ 72 h 80"/>
                <a:gd name="T12" fmla="*/ 42 w 59"/>
                <a:gd name="T13" fmla="*/ 80 h 80"/>
                <a:gd name="T14" fmla="*/ 59 w 59"/>
                <a:gd name="T15" fmla="*/ 48 h 80"/>
                <a:gd name="T16" fmla="*/ 25 w 59"/>
                <a:gd name="T17" fmla="*/ 24 h 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9" h="80">
                  <a:moveTo>
                    <a:pt x="25" y="24"/>
                  </a:moveTo>
                  <a:lnTo>
                    <a:pt x="25" y="0"/>
                  </a:lnTo>
                  <a:lnTo>
                    <a:pt x="8" y="8"/>
                  </a:lnTo>
                  <a:lnTo>
                    <a:pt x="0" y="24"/>
                  </a:lnTo>
                  <a:lnTo>
                    <a:pt x="0" y="48"/>
                  </a:lnTo>
                  <a:lnTo>
                    <a:pt x="0" y="72"/>
                  </a:lnTo>
                  <a:lnTo>
                    <a:pt x="42" y="80"/>
                  </a:lnTo>
                  <a:lnTo>
                    <a:pt x="59" y="48"/>
                  </a:lnTo>
                  <a:lnTo>
                    <a:pt x="25" y="2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8" name="Freeform 37"/>
            <p:cNvSpPr>
              <a:spLocks/>
            </p:cNvSpPr>
            <p:nvPr>
              <p:custDataLst>
                <p:tags r:id="rId34"/>
              </p:custDataLst>
            </p:nvPr>
          </p:nvSpPr>
          <p:spPr bwMode="auto">
            <a:xfrm>
              <a:off x="3204" y="2232"/>
              <a:ext cx="337" cy="320"/>
            </a:xfrm>
            <a:custGeom>
              <a:avLst/>
              <a:gdLst>
                <a:gd name="T0" fmla="*/ 236 w 337"/>
                <a:gd name="T1" fmla="*/ 280 h 320"/>
                <a:gd name="T2" fmla="*/ 236 w 337"/>
                <a:gd name="T3" fmla="*/ 232 h 320"/>
                <a:gd name="T4" fmla="*/ 236 w 337"/>
                <a:gd name="T5" fmla="*/ 200 h 320"/>
                <a:gd name="T6" fmla="*/ 287 w 337"/>
                <a:gd name="T7" fmla="*/ 192 h 320"/>
                <a:gd name="T8" fmla="*/ 287 w 337"/>
                <a:gd name="T9" fmla="*/ 168 h 320"/>
                <a:gd name="T10" fmla="*/ 312 w 337"/>
                <a:gd name="T11" fmla="*/ 160 h 320"/>
                <a:gd name="T12" fmla="*/ 321 w 337"/>
                <a:gd name="T13" fmla="*/ 128 h 320"/>
                <a:gd name="T14" fmla="*/ 295 w 337"/>
                <a:gd name="T15" fmla="*/ 104 h 320"/>
                <a:gd name="T16" fmla="*/ 321 w 337"/>
                <a:gd name="T17" fmla="*/ 96 h 320"/>
                <a:gd name="T18" fmla="*/ 337 w 337"/>
                <a:gd name="T19" fmla="*/ 56 h 320"/>
                <a:gd name="T20" fmla="*/ 329 w 337"/>
                <a:gd name="T21" fmla="*/ 16 h 320"/>
                <a:gd name="T22" fmla="*/ 321 w 337"/>
                <a:gd name="T23" fmla="*/ 16 h 320"/>
                <a:gd name="T24" fmla="*/ 304 w 337"/>
                <a:gd name="T25" fmla="*/ 0 h 320"/>
                <a:gd name="T26" fmla="*/ 278 w 337"/>
                <a:gd name="T27" fmla="*/ 0 h 320"/>
                <a:gd name="T28" fmla="*/ 219 w 337"/>
                <a:gd name="T29" fmla="*/ 16 h 320"/>
                <a:gd name="T30" fmla="*/ 203 w 337"/>
                <a:gd name="T31" fmla="*/ 24 h 320"/>
                <a:gd name="T32" fmla="*/ 194 w 337"/>
                <a:gd name="T33" fmla="*/ 48 h 320"/>
                <a:gd name="T34" fmla="*/ 203 w 337"/>
                <a:gd name="T35" fmla="*/ 72 h 320"/>
                <a:gd name="T36" fmla="*/ 219 w 337"/>
                <a:gd name="T37" fmla="*/ 96 h 320"/>
                <a:gd name="T38" fmla="*/ 228 w 337"/>
                <a:gd name="T39" fmla="*/ 112 h 320"/>
                <a:gd name="T40" fmla="*/ 211 w 337"/>
                <a:gd name="T41" fmla="*/ 128 h 320"/>
                <a:gd name="T42" fmla="*/ 186 w 337"/>
                <a:gd name="T43" fmla="*/ 136 h 320"/>
                <a:gd name="T44" fmla="*/ 160 w 337"/>
                <a:gd name="T45" fmla="*/ 120 h 320"/>
                <a:gd name="T46" fmla="*/ 169 w 337"/>
                <a:gd name="T47" fmla="*/ 72 h 320"/>
                <a:gd name="T48" fmla="*/ 160 w 337"/>
                <a:gd name="T49" fmla="*/ 56 h 320"/>
                <a:gd name="T50" fmla="*/ 152 w 337"/>
                <a:gd name="T51" fmla="*/ 32 h 320"/>
                <a:gd name="T52" fmla="*/ 110 w 337"/>
                <a:gd name="T53" fmla="*/ 128 h 320"/>
                <a:gd name="T54" fmla="*/ 76 w 337"/>
                <a:gd name="T55" fmla="*/ 168 h 320"/>
                <a:gd name="T56" fmla="*/ 68 w 337"/>
                <a:gd name="T57" fmla="*/ 216 h 320"/>
                <a:gd name="T58" fmla="*/ 42 w 337"/>
                <a:gd name="T59" fmla="*/ 216 h 320"/>
                <a:gd name="T60" fmla="*/ 34 w 337"/>
                <a:gd name="T61" fmla="*/ 216 h 320"/>
                <a:gd name="T62" fmla="*/ 26 w 337"/>
                <a:gd name="T63" fmla="*/ 232 h 320"/>
                <a:gd name="T64" fmla="*/ 0 w 337"/>
                <a:gd name="T65" fmla="*/ 240 h 320"/>
                <a:gd name="T66" fmla="*/ 26 w 337"/>
                <a:gd name="T67" fmla="*/ 256 h 320"/>
                <a:gd name="T68" fmla="*/ 59 w 337"/>
                <a:gd name="T69" fmla="*/ 264 h 320"/>
                <a:gd name="T70" fmla="*/ 93 w 337"/>
                <a:gd name="T71" fmla="*/ 248 h 320"/>
                <a:gd name="T72" fmla="*/ 144 w 337"/>
                <a:gd name="T73" fmla="*/ 256 h 320"/>
                <a:gd name="T74" fmla="*/ 186 w 337"/>
                <a:gd name="T75" fmla="*/ 264 h 320"/>
                <a:gd name="T76" fmla="*/ 203 w 337"/>
                <a:gd name="T77" fmla="*/ 288 h 320"/>
                <a:gd name="T78" fmla="*/ 194 w 337"/>
                <a:gd name="T79" fmla="*/ 312 h 320"/>
                <a:gd name="T80" fmla="*/ 219 w 337"/>
                <a:gd name="T81" fmla="*/ 320 h 320"/>
                <a:gd name="T82" fmla="*/ 219 w 337"/>
                <a:gd name="T83" fmla="*/ 296 h 320"/>
                <a:gd name="T84" fmla="*/ 236 w 337"/>
                <a:gd name="T85" fmla="*/ 280 h 32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37" h="320">
                  <a:moveTo>
                    <a:pt x="236" y="280"/>
                  </a:moveTo>
                  <a:lnTo>
                    <a:pt x="236" y="232"/>
                  </a:lnTo>
                  <a:lnTo>
                    <a:pt x="236" y="200"/>
                  </a:lnTo>
                  <a:lnTo>
                    <a:pt x="287" y="192"/>
                  </a:lnTo>
                  <a:lnTo>
                    <a:pt x="287" y="168"/>
                  </a:lnTo>
                  <a:lnTo>
                    <a:pt x="312" y="160"/>
                  </a:lnTo>
                  <a:lnTo>
                    <a:pt x="321" y="128"/>
                  </a:lnTo>
                  <a:lnTo>
                    <a:pt x="295" y="104"/>
                  </a:lnTo>
                  <a:lnTo>
                    <a:pt x="321" y="96"/>
                  </a:lnTo>
                  <a:lnTo>
                    <a:pt x="337" y="56"/>
                  </a:lnTo>
                  <a:lnTo>
                    <a:pt x="329" y="16"/>
                  </a:lnTo>
                  <a:lnTo>
                    <a:pt x="321" y="16"/>
                  </a:lnTo>
                  <a:lnTo>
                    <a:pt x="304" y="0"/>
                  </a:lnTo>
                  <a:lnTo>
                    <a:pt x="278" y="0"/>
                  </a:lnTo>
                  <a:lnTo>
                    <a:pt x="219" y="16"/>
                  </a:lnTo>
                  <a:lnTo>
                    <a:pt x="203" y="24"/>
                  </a:lnTo>
                  <a:lnTo>
                    <a:pt x="194" y="48"/>
                  </a:lnTo>
                  <a:lnTo>
                    <a:pt x="203" y="72"/>
                  </a:lnTo>
                  <a:lnTo>
                    <a:pt x="219" y="96"/>
                  </a:lnTo>
                  <a:lnTo>
                    <a:pt x="228" y="112"/>
                  </a:lnTo>
                  <a:lnTo>
                    <a:pt x="211" y="128"/>
                  </a:lnTo>
                  <a:lnTo>
                    <a:pt x="186" y="136"/>
                  </a:lnTo>
                  <a:lnTo>
                    <a:pt x="160" y="120"/>
                  </a:lnTo>
                  <a:lnTo>
                    <a:pt x="169" y="72"/>
                  </a:lnTo>
                  <a:lnTo>
                    <a:pt x="160" y="56"/>
                  </a:lnTo>
                  <a:lnTo>
                    <a:pt x="152" y="32"/>
                  </a:lnTo>
                  <a:lnTo>
                    <a:pt x="110" y="128"/>
                  </a:lnTo>
                  <a:lnTo>
                    <a:pt x="76" y="168"/>
                  </a:lnTo>
                  <a:lnTo>
                    <a:pt x="68" y="216"/>
                  </a:lnTo>
                  <a:lnTo>
                    <a:pt x="42" y="216"/>
                  </a:lnTo>
                  <a:lnTo>
                    <a:pt x="34" y="216"/>
                  </a:lnTo>
                  <a:lnTo>
                    <a:pt x="26" y="232"/>
                  </a:lnTo>
                  <a:lnTo>
                    <a:pt x="0" y="240"/>
                  </a:lnTo>
                  <a:lnTo>
                    <a:pt x="26" y="256"/>
                  </a:lnTo>
                  <a:lnTo>
                    <a:pt x="59" y="264"/>
                  </a:lnTo>
                  <a:lnTo>
                    <a:pt x="93" y="248"/>
                  </a:lnTo>
                  <a:lnTo>
                    <a:pt x="144" y="256"/>
                  </a:lnTo>
                  <a:lnTo>
                    <a:pt x="186" y="264"/>
                  </a:lnTo>
                  <a:lnTo>
                    <a:pt x="203" y="288"/>
                  </a:lnTo>
                  <a:lnTo>
                    <a:pt x="194" y="312"/>
                  </a:lnTo>
                  <a:lnTo>
                    <a:pt x="219" y="320"/>
                  </a:lnTo>
                  <a:lnTo>
                    <a:pt x="219" y="296"/>
                  </a:lnTo>
                  <a:lnTo>
                    <a:pt x="236" y="28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59" name="Freeform 38"/>
            <p:cNvSpPr>
              <a:spLocks/>
            </p:cNvSpPr>
            <p:nvPr>
              <p:custDataLst>
                <p:tags r:id="rId35"/>
              </p:custDataLst>
            </p:nvPr>
          </p:nvSpPr>
          <p:spPr bwMode="auto">
            <a:xfrm>
              <a:off x="3407" y="2632"/>
              <a:ext cx="59" cy="80"/>
            </a:xfrm>
            <a:custGeom>
              <a:avLst/>
              <a:gdLst>
                <a:gd name="T0" fmla="*/ 25 w 59"/>
                <a:gd name="T1" fmla="*/ 24 h 80"/>
                <a:gd name="T2" fmla="*/ 25 w 59"/>
                <a:gd name="T3" fmla="*/ 0 h 80"/>
                <a:gd name="T4" fmla="*/ 8 w 59"/>
                <a:gd name="T5" fmla="*/ 8 h 80"/>
                <a:gd name="T6" fmla="*/ 0 w 59"/>
                <a:gd name="T7" fmla="*/ 24 h 80"/>
                <a:gd name="T8" fmla="*/ 0 w 59"/>
                <a:gd name="T9" fmla="*/ 48 h 80"/>
                <a:gd name="T10" fmla="*/ 0 w 59"/>
                <a:gd name="T11" fmla="*/ 72 h 80"/>
                <a:gd name="T12" fmla="*/ 42 w 59"/>
                <a:gd name="T13" fmla="*/ 80 h 80"/>
                <a:gd name="T14" fmla="*/ 59 w 59"/>
                <a:gd name="T15" fmla="*/ 48 h 80"/>
                <a:gd name="T16" fmla="*/ 25 w 59"/>
                <a:gd name="T17" fmla="*/ 24 h 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9" h="80">
                  <a:moveTo>
                    <a:pt x="25" y="24"/>
                  </a:moveTo>
                  <a:lnTo>
                    <a:pt x="25" y="0"/>
                  </a:lnTo>
                  <a:lnTo>
                    <a:pt x="8" y="8"/>
                  </a:lnTo>
                  <a:lnTo>
                    <a:pt x="0" y="24"/>
                  </a:lnTo>
                  <a:lnTo>
                    <a:pt x="0" y="48"/>
                  </a:lnTo>
                  <a:lnTo>
                    <a:pt x="0" y="72"/>
                  </a:lnTo>
                  <a:lnTo>
                    <a:pt x="42" y="80"/>
                  </a:lnTo>
                  <a:lnTo>
                    <a:pt x="59" y="48"/>
                  </a:lnTo>
                  <a:lnTo>
                    <a:pt x="25" y="24"/>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0" name="Freeform 39"/>
            <p:cNvSpPr>
              <a:spLocks/>
            </p:cNvSpPr>
            <p:nvPr>
              <p:custDataLst>
                <p:tags r:id="rId36"/>
              </p:custDataLst>
            </p:nvPr>
          </p:nvSpPr>
          <p:spPr bwMode="auto">
            <a:xfrm>
              <a:off x="3204" y="2232"/>
              <a:ext cx="337" cy="320"/>
            </a:xfrm>
            <a:custGeom>
              <a:avLst/>
              <a:gdLst>
                <a:gd name="T0" fmla="*/ 236 w 337"/>
                <a:gd name="T1" fmla="*/ 280 h 320"/>
                <a:gd name="T2" fmla="*/ 236 w 337"/>
                <a:gd name="T3" fmla="*/ 232 h 320"/>
                <a:gd name="T4" fmla="*/ 236 w 337"/>
                <a:gd name="T5" fmla="*/ 200 h 320"/>
                <a:gd name="T6" fmla="*/ 287 w 337"/>
                <a:gd name="T7" fmla="*/ 192 h 320"/>
                <a:gd name="T8" fmla="*/ 287 w 337"/>
                <a:gd name="T9" fmla="*/ 168 h 320"/>
                <a:gd name="T10" fmla="*/ 312 w 337"/>
                <a:gd name="T11" fmla="*/ 160 h 320"/>
                <a:gd name="T12" fmla="*/ 321 w 337"/>
                <a:gd name="T13" fmla="*/ 128 h 320"/>
                <a:gd name="T14" fmla="*/ 295 w 337"/>
                <a:gd name="T15" fmla="*/ 104 h 320"/>
                <a:gd name="T16" fmla="*/ 321 w 337"/>
                <a:gd name="T17" fmla="*/ 96 h 320"/>
                <a:gd name="T18" fmla="*/ 337 w 337"/>
                <a:gd name="T19" fmla="*/ 56 h 320"/>
                <a:gd name="T20" fmla="*/ 329 w 337"/>
                <a:gd name="T21" fmla="*/ 16 h 320"/>
                <a:gd name="T22" fmla="*/ 321 w 337"/>
                <a:gd name="T23" fmla="*/ 16 h 320"/>
                <a:gd name="T24" fmla="*/ 304 w 337"/>
                <a:gd name="T25" fmla="*/ 0 h 320"/>
                <a:gd name="T26" fmla="*/ 278 w 337"/>
                <a:gd name="T27" fmla="*/ 0 h 320"/>
                <a:gd name="T28" fmla="*/ 219 w 337"/>
                <a:gd name="T29" fmla="*/ 16 h 320"/>
                <a:gd name="T30" fmla="*/ 203 w 337"/>
                <a:gd name="T31" fmla="*/ 24 h 320"/>
                <a:gd name="T32" fmla="*/ 194 w 337"/>
                <a:gd name="T33" fmla="*/ 48 h 320"/>
                <a:gd name="T34" fmla="*/ 203 w 337"/>
                <a:gd name="T35" fmla="*/ 72 h 320"/>
                <a:gd name="T36" fmla="*/ 219 w 337"/>
                <a:gd name="T37" fmla="*/ 96 h 320"/>
                <a:gd name="T38" fmla="*/ 228 w 337"/>
                <a:gd name="T39" fmla="*/ 112 h 320"/>
                <a:gd name="T40" fmla="*/ 211 w 337"/>
                <a:gd name="T41" fmla="*/ 128 h 320"/>
                <a:gd name="T42" fmla="*/ 186 w 337"/>
                <a:gd name="T43" fmla="*/ 136 h 320"/>
                <a:gd name="T44" fmla="*/ 160 w 337"/>
                <a:gd name="T45" fmla="*/ 120 h 320"/>
                <a:gd name="T46" fmla="*/ 169 w 337"/>
                <a:gd name="T47" fmla="*/ 72 h 320"/>
                <a:gd name="T48" fmla="*/ 160 w 337"/>
                <a:gd name="T49" fmla="*/ 56 h 320"/>
                <a:gd name="T50" fmla="*/ 152 w 337"/>
                <a:gd name="T51" fmla="*/ 32 h 320"/>
                <a:gd name="T52" fmla="*/ 110 w 337"/>
                <a:gd name="T53" fmla="*/ 128 h 320"/>
                <a:gd name="T54" fmla="*/ 76 w 337"/>
                <a:gd name="T55" fmla="*/ 168 h 320"/>
                <a:gd name="T56" fmla="*/ 68 w 337"/>
                <a:gd name="T57" fmla="*/ 216 h 320"/>
                <a:gd name="T58" fmla="*/ 42 w 337"/>
                <a:gd name="T59" fmla="*/ 216 h 320"/>
                <a:gd name="T60" fmla="*/ 34 w 337"/>
                <a:gd name="T61" fmla="*/ 216 h 320"/>
                <a:gd name="T62" fmla="*/ 26 w 337"/>
                <a:gd name="T63" fmla="*/ 232 h 320"/>
                <a:gd name="T64" fmla="*/ 0 w 337"/>
                <a:gd name="T65" fmla="*/ 240 h 320"/>
                <a:gd name="T66" fmla="*/ 26 w 337"/>
                <a:gd name="T67" fmla="*/ 256 h 320"/>
                <a:gd name="T68" fmla="*/ 59 w 337"/>
                <a:gd name="T69" fmla="*/ 264 h 320"/>
                <a:gd name="T70" fmla="*/ 93 w 337"/>
                <a:gd name="T71" fmla="*/ 248 h 320"/>
                <a:gd name="T72" fmla="*/ 144 w 337"/>
                <a:gd name="T73" fmla="*/ 256 h 320"/>
                <a:gd name="T74" fmla="*/ 186 w 337"/>
                <a:gd name="T75" fmla="*/ 264 h 320"/>
                <a:gd name="T76" fmla="*/ 203 w 337"/>
                <a:gd name="T77" fmla="*/ 288 h 320"/>
                <a:gd name="T78" fmla="*/ 194 w 337"/>
                <a:gd name="T79" fmla="*/ 312 h 320"/>
                <a:gd name="T80" fmla="*/ 219 w 337"/>
                <a:gd name="T81" fmla="*/ 320 h 320"/>
                <a:gd name="T82" fmla="*/ 219 w 337"/>
                <a:gd name="T83" fmla="*/ 296 h 320"/>
                <a:gd name="T84" fmla="*/ 236 w 337"/>
                <a:gd name="T85" fmla="*/ 280 h 32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37" h="320">
                  <a:moveTo>
                    <a:pt x="236" y="280"/>
                  </a:moveTo>
                  <a:lnTo>
                    <a:pt x="236" y="232"/>
                  </a:lnTo>
                  <a:lnTo>
                    <a:pt x="236" y="200"/>
                  </a:lnTo>
                  <a:lnTo>
                    <a:pt x="287" y="192"/>
                  </a:lnTo>
                  <a:lnTo>
                    <a:pt x="287" y="168"/>
                  </a:lnTo>
                  <a:lnTo>
                    <a:pt x="312" y="160"/>
                  </a:lnTo>
                  <a:lnTo>
                    <a:pt x="321" y="128"/>
                  </a:lnTo>
                  <a:lnTo>
                    <a:pt x="295" y="104"/>
                  </a:lnTo>
                  <a:lnTo>
                    <a:pt x="321" y="96"/>
                  </a:lnTo>
                  <a:lnTo>
                    <a:pt x="337" y="56"/>
                  </a:lnTo>
                  <a:lnTo>
                    <a:pt x="329" y="16"/>
                  </a:lnTo>
                  <a:lnTo>
                    <a:pt x="321" y="16"/>
                  </a:lnTo>
                  <a:lnTo>
                    <a:pt x="304" y="0"/>
                  </a:lnTo>
                  <a:lnTo>
                    <a:pt x="278" y="0"/>
                  </a:lnTo>
                  <a:lnTo>
                    <a:pt x="219" y="16"/>
                  </a:lnTo>
                  <a:lnTo>
                    <a:pt x="203" y="24"/>
                  </a:lnTo>
                  <a:lnTo>
                    <a:pt x="194" y="48"/>
                  </a:lnTo>
                  <a:lnTo>
                    <a:pt x="203" y="72"/>
                  </a:lnTo>
                  <a:lnTo>
                    <a:pt x="219" y="96"/>
                  </a:lnTo>
                  <a:lnTo>
                    <a:pt x="228" y="112"/>
                  </a:lnTo>
                  <a:lnTo>
                    <a:pt x="211" y="128"/>
                  </a:lnTo>
                  <a:lnTo>
                    <a:pt x="186" y="136"/>
                  </a:lnTo>
                  <a:lnTo>
                    <a:pt x="160" y="120"/>
                  </a:lnTo>
                  <a:lnTo>
                    <a:pt x="169" y="72"/>
                  </a:lnTo>
                  <a:lnTo>
                    <a:pt x="160" y="56"/>
                  </a:lnTo>
                  <a:lnTo>
                    <a:pt x="152" y="32"/>
                  </a:lnTo>
                  <a:lnTo>
                    <a:pt x="110" y="128"/>
                  </a:lnTo>
                  <a:lnTo>
                    <a:pt x="76" y="168"/>
                  </a:lnTo>
                  <a:lnTo>
                    <a:pt x="68" y="216"/>
                  </a:lnTo>
                  <a:lnTo>
                    <a:pt x="42" y="216"/>
                  </a:lnTo>
                  <a:lnTo>
                    <a:pt x="34" y="216"/>
                  </a:lnTo>
                  <a:lnTo>
                    <a:pt x="26" y="232"/>
                  </a:lnTo>
                  <a:lnTo>
                    <a:pt x="0" y="240"/>
                  </a:lnTo>
                  <a:lnTo>
                    <a:pt x="26" y="256"/>
                  </a:lnTo>
                  <a:lnTo>
                    <a:pt x="59" y="264"/>
                  </a:lnTo>
                  <a:lnTo>
                    <a:pt x="93" y="248"/>
                  </a:lnTo>
                  <a:lnTo>
                    <a:pt x="144" y="256"/>
                  </a:lnTo>
                  <a:lnTo>
                    <a:pt x="186" y="264"/>
                  </a:lnTo>
                  <a:lnTo>
                    <a:pt x="203" y="288"/>
                  </a:lnTo>
                  <a:lnTo>
                    <a:pt x="194" y="312"/>
                  </a:lnTo>
                  <a:lnTo>
                    <a:pt x="219" y="320"/>
                  </a:lnTo>
                  <a:lnTo>
                    <a:pt x="219" y="296"/>
                  </a:lnTo>
                  <a:lnTo>
                    <a:pt x="236" y="280"/>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1" name="Freeform 40"/>
            <p:cNvSpPr>
              <a:spLocks/>
            </p:cNvSpPr>
            <p:nvPr>
              <p:custDataLst>
                <p:tags r:id="rId37"/>
              </p:custDataLst>
            </p:nvPr>
          </p:nvSpPr>
          <p:spPr bwMode="auto">
            <a:xfrm>
              <a:off x="3617" y="1744"/>
              <a:ext cx="211" cy="344"/>
            </a:xfrm>
            <a:custGeom>
              <a:avLst/>
              <a:gdLst>
                <a:gd name="T0" fmla="*/ 143 w 211"/>
                <a:gd name="T1" fmla="*/ 344 h 344"/>
                <a:gd name="T2" fmla="*/ 118 w 211"/>
                <a:gd name="T3" fmla="*/ 312 h 344"/>
                <a:gd name="T4" fmla="*/ 143 w 211"/>
                <a:gd name="T5" fmla="*/ 312 h 344"/>
                <a:gd name="T6" fmla="*/ 127 w 211"/>
                <a:gd name="T7" fmla="*/ 280 h 344"/>
                <a:gd name="T8" fmla="*/ 127 w 211"/>
                <a:gd name="T9" fmla="*/ 248 h 344"/>
                <a:gd name="T10" fmla="*/ 169 w 211"/>
                <a:gd name="T11" fmla="*/ 184 h 344"/>
                <a:gd name="T12" fmla="*/ 186 w 211"/>
                <a:gd name="T13" fmla="*/ 192 h 344"/>
                <a:gd name="T14" fmla="*/ 211 w 211"/>
                <a:gd name="T15" fmla="*/ 136 h 344"/>
                <a:gd name="T16" fmla="*/ 177 w 211"/>
                <a:gd name="T17" fmla="*/ 112 h 344"/>
                <a:gd name="T18" fmla="*/ 169 w 211"/>
                <a:gd name="T19" fmla="*/ 72 h 344"/>
                <a:gd name="T20" fmla="*/ 177 w 211"/>
                <a:gd name="T21" fmla="*/ 24 h 344"/>
                <a:gd name="T22" fmla="*/ 177 w 211"/>
                <a:gd name="T23" fmla="*/ 8 h 344"/>
                <a:gd name="T24" fmla="*/ 160 w 211"/>
                <a:gd name="T25" fmla="*/ 0 h 344"/>
                <a:gd name="T26" fmla="*/ 135 w 211"/>
                <a:gd name="T27" fmla="*/ 8 h 344"/>
                <a:gd name="T28" fmla="*/ 127 w 211"/>
                <a:gd name="T29" fmla="*/ 24 h 344"/>
                <a:gd name="T30" fmla="*/ 101 w 211"/>
                <a:gd name="T31" fmla="*/ 40 h 344"/>
                <a:gd name="T32" fmla="*/ 76 w 211"/>
                <a:gd name="T33" fmla="*/ 48 h 344"/>
                <a:gd name="T34" fmla="*/ 51 w 211"/>
                <a:gd name="T35" fmla="*/ 56 h 344"/>
                <a:gd name="T36" fmla="*/ 34 w 211"/>
                <a:gd name="T37" fmla="*/ 72 h 344"/>
                <a:gd name="T38" fmla="*/ 26 w 211"/>
                <a:gd name="T39" fmla="*/ 96 h 344"/>
                <a:gd name="T40" fmla="*/ 42 w 211"/>
                <a:gd name="T41" fmla="*/ 112 h 344"/>
                <a:gd name="T42" fmla="*/ 17 w 211"/>
                <a:gd name="T43" fmla="*/ 120 h 344"/>
                <a:gd name="T44" fmla="*/ 9 w 211"/>
                <a:gd name="T45" fmla="*/ 144 h 344"/>
                <a:gd name="T46" fmla="*/ 9 w 211"/>
                <a:gd name="T47" fmla="*/ 168 h 344"/>
                <a:gd name="T48" fmla="*/ 26 w 211"/>
                <a:gd name="T49" fmla="*/ 192 h 344"/>
                <a:gd name="T50" fmla="*/ 0 w 211"/>
                <a:gd name="T51" fmla="*/ 208 h 344"/>
                <a:gd name="T52" fmla="*/ 0 w 211"/>
                <a:gd name="T53" fmla="*/ 224 h 344"/>
                <a:gd name="T54" fmla="*/ 26 w 211"/>
                <a:gd name="T55" fmla="*/ 272 h 344"/>
                <a:gd name="T56" fmla="*/ 42 w 211"/>
                <a:gd name="T57" fmla="*/ 256 h 344"/>
                <a:gd name="T58" fmla="*/ 51 w 211"/>
                <a:gd name="T59" fmla="*/ 304 h 344"/>
                <a:gd name="T60" fmla="*/ 59 w 211"/>
                <a:gd name="T61" fmla="*/ 328 h 344"/>
                <a:gd name="T62" fmla="*/ 84 w 211"/>
                <a:gd name="T63" fmla="*/ 336 h 344"/>
                <a:gd name="T64" fmla="*/ 143 w 211"/>
                <a:gd name="T65" fmla="*/ 344 h 3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1" h="344">
                  <a:moveTo>
                    <a:pt x="143" y="344"/>
                  </a:moveTo>
                  <a:lnTo>
                    <a:pt x="118" y="312"/>
                  </a:lnTo>
                  <a:lnTo>
                    <a:pt x="143" y="312"/>
                  </a:lnTo>
                  <a:lnTo>
                    <a:pt x="127" y="280"/>
                  </a:lnTo>
                  <a:lnTo>
                    <a:pt x="127" y="248"/>
                  </a:lnTo>
                  <a:lnTo>
                    <a:pt x="169" y="184"/>
                  </a:lnTo>
                  <a:lnTo>
                    <a:pt x="186" y="192"/>
                  </a:lnTo>
                  <a:lnTo>
                    <a:pt x="211" y="136"/>
                  </a:lnTo>
                  <a:lnTo>
                    <a:pt x="177" y="112"/>
                  </a:lnTo>
                  <a:lnTo>
                    <a:pt x="169" y="72"/>
                  </a:lnTo>
                  <a:lnTo>
                    <a:pt x="177" y="24"/>
                  </a:lnTo>
                  <a:lnTo>
                    <a:pt x="177" y="8"/>
                  </a:lnTo>
                  <a:lnTo>
                    <a:pt x="160" y="0"/>
                  </a:lnTo>
                  <a:lnTo>
                    <a:pt x="135" y="8"/>
                  </a:lnTo>
                  <a:lnTo>
                    <a:pt x="127" y="24"/>
                  </a:lnTo>
                  <a:lnTo>
                    <a:pt x="101" y="40"/>
                  </a:lnTo>
                  <a:lnTo>
                    <a:pt x="76" y="48"/>
                  </a:lnTo>
                  <a:lnTo>
                    <a:pt x="51" y="56"/>
                  </a:lnTo>
                  <a:lnTo>
                    <a:pt x="34" y="72"/>
                  </a:lnTo>
                  <a:lnTo>
                    <a:pt x="26" y="96"/>
                  </a:lnTo>
                  <a:lnTo>
                    <a:pt x="42" y="112"/>
                  </a:lnTo>
                  <a:lnTo>
                    <a:pt x="17" y="120"/>
                  </a:lnTo>
                  <a:lnTo>
                    <a:pt x="9" y="144"/>
                  </a:lnTo>
                  <a:lnTo>
                    <a:pt x="9" y="168"/>
                  </a:lnTo>
                  <a:lnTo>
                    <a:pt x="26" y="192"/>
                  </a:lnTo>
                  <a:lnTo>
                    <a:pt x="0" y="208"/>
                  </a:lnTo>
                  <a:lnTo>
                    <a:pt x="0" y="224"/>
                  </a:lnTo>
                  <a:lnTo>
                    <a:pt x="26" y="272"/>
                  </a:lnTo>
                  <a:lnTo>
                    <a:pt x="42" y="256"/>
                  </a:lnTo>
                  <a:lnTo>
                    <a:pt x="51" y="304"/>
                  </a:lnTo>
                  <a:lnTo>
                    <a:pt x="59" y="328"/>
                  </a:lnTo>
                  <a:lnTo>
                    <a:pt x="84" y="336"/>
                  </a:lnTo>
                  <a:lnTo>
                    <a:pt x="143" y="34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2" name="Freeform 41"/>
            <p:cNvSpPr>
              <a:spLocks/>
            </p:cNvSpPr>
            <p:nvPr>
              <p:custDataLst>
                <p:tags r:id="rId38"/>
              </p:custDataLst>
            </p:nvPr>
          </p:nvSpPr>
          <p:spPr bwMode="auto">
            <a:xfrm>
              <a:off x="3428" y="2084"/>
              <a:ext cx="750" cy="888"/>
            </a:xfrm>
            <a:custGeom>
              <a:avLst/>
              <a:gdLst>
                <a:gd name="T0" fmla="*/ 228 w 750"/>
                <a:gd name="T1" fmla="*/ 848 h 888"/>
                <a:gd name="T2" fmla="*/ 354 w 750"/>
                <a:gd name="T3" fmla="*/ 888 h 888"/>
                <a:gd name="T4" fmla="*/ 447 w 750"/>
                <a:gd name="T5" fmla="*/ 880 h 888"/>
                <a:gd name="T6" fmla="*/ 557 w 750"/>
                <a:gd name="T7" fmla="*/ 848 h 888"/>
                <a:gd name="T8" fmla="*/ 616 w 750"/>
                <a:gd name="T9" fmla="*/ 832 h 888"/>
                <a:gd name="T10" fmla="*/ 632 w 750"/>
                <a:gd name="T11" fmla="*/ 776 h 888"/>
                <a:gd name="T12" fmla="*/ 675 w 750"/>
                <a:gd name="T13" fmla="*/ 744 h 888"/>
                <a:gd name="T14" fmla="*/ 607 w 750"/>
                <a:gd name="T15" fmla="*/ 656 h 888"/>
                <a:gd name="T16" fmla="*/ 557 w 750"/>
                <a:gd name="T17" fmla="*/ 584 h 888"/>
                <a:gd name="T18" fmla="*/ 557 w 750"/>
                <a:gd name="T19" fmla="*/ 520 h 888"/>
                <a:gd name="T20" fmla="*/ 641 w 750"/>
                <a:gd name="T21" fmla="*/ 488 h 888"/>
                <a:gd name="T22" fmla="*/ 691 w 750"/>
                <a:gd name="T23" fmla="*/ 440 h 888"/>
                <a:gd name="T24" fmla="*/ 750 w 750"/>
                <a:gd name="T25" fmla="*/ 456 h 888"/>
                <a:gd name="T26" fmla="*/ 725 w 750"/>
                <a:gd name="T27" fmla="*/ 360 h 888"/>
                <a:gd name="T28" fmla="*/ 717 w 750"/>
                <a:gd name="T29" fmla="*/ 280 h 888"/>
                <a:gd name="T30" fmla="*/ 666 w 750"/>
                <a:gd name="T31" fmla="*/ 216 h 888"/>
                <a:gd name="T32" fmla="*/ 683 w 750"/>
                <a:gd name="T33" fmla="*/ 136 h 888"/>
                <a:gd name="T34" fmla="*/ 641 w 750"/>
                <a:gd name="T35" fmla="*/ 80 h 888"/>
                <a:gd name="T36" fmla="*/ 616 w 750"/>
                <a:gd name="T37" fmla="*/ 32 h 888"/>
                <a:gd name="T38" fmla="*/ 582 w 750"/>
                <a:gd name="T39" fmla="*/ 32 h 888"/>
                <a:gd name="T40" fmla="*/ 557 w 750"/>
                <a:gd name="T41" fmla="*/ 40 h 888"/>
                <a:gd name="T42" fmla="*/ 540 w 750"/>
                <a:gd name="T43" fmla="*/ 40 h 888"/>
                <a:gd name="T44" fmla="*/ 481 w 750"/>
                <a:gd name="T45" fmla="*/ 72 h 888"/>
                <a:gd name="T46" fmla="*/ 439 w 750"/>
                <a:gd name="T47" fmla="*/ 96 h 888"/>
                <a:gd name="T48" fmla="*/ 430 w 750"/>
                <a:gd name="T49" fmla="*/ 64 h 888"/>
                <a:gd name="T50" fmla="*/ 396 w 750"/>
                <a:gd name="T51" fmla="*/ 56 h 888"/>
                <a:gd name="T52" fmla="*/ 346 w 750"/>
                <a:gd name="T53" fmla="*/ 16 h 888"/>
                <a:gd name="T54" fmla="*/ 253 w 750"/>
                <a:gd name="T55" fmla="*/ 0 h 888"/>
                <a:gd name="T56" fmla="*/ 245 w 750"/>
                <a:gd name="T57" fmla="*/ 40 h 888"/>
                <a:gd name="T58" fmla="*/ 278 w 750"/>
                <a:gd name="T59" fmla="*/ 112 h 888"/>
                <a:gd name="T60" fmla="*/ 236 w 750"/>
                <a:gd name="T61" fmla="*/ 112 h 888"/>
                <a:gd name="T62" fmla="*/ 220 w 750"/>
                <a:gd name="T63" fmla="*/ 136 h 888"/>
                <a:gd name="T64" fmla="*/ 186 w 750"/>
                <a:gd name="T65" fmla="*/ 128 h 888"/>
                <a:gd name="T66" fmla="*/ 110 w 750"/>
                <a:gd name="T67" fmla="*/ 144 h 888"/>
                <a:gd name="T68" fmla="*/ 118 w 750"/>
                <a:gd name="T69" fmla="*/ 208 h 888"/>
                <a:gd name="T70" fmla="*/ 76 w 750"/>
                <a:gd name="T71" fmla="*/ 256 h 888"/>
                <a:gd name="T72" fmla="*/ 93 w 750"/>
                <a:gd name="T73" fmla="*/ 312 h 888"/>
                <a:gd name="T74" fmla="*/ 68 w 750"/>
                <a:gd name="T75" fmla="*/ 344 h 888"/>
                <a:gd name="T76" fmla="*/ 17 w 750"/>
                <a:gd name="T77" fmla="*/ 384 h 888"/>
                <a:gd name="T78" fmla="*/ 0 w 750"/>
                <a:gd name="T79" fmla="*/ 448 h 888"/>
                <a:gd name="T80" fmla="*/ 9 w 750"/>
                <a:gd name="T81" fmla="*/ 480 h 888"/>
                <a:gd name="T82" fmla="*/ 34 w 750"/>
                <a:gd name="T83" fmla="*/ 536 h 888"/>
                <a:gd name="T84" fmla="*/ 9 w 750"/>
                <a:gd name="T85" fmla="*/ 552 h 888"/>
                <a:gd name="T86" fmla="*/ 43 w 750"/>
                <a:gd name="T87" fmla="*/ 600 h 888"/>
                <a:gd name="T88" fmla="*/ 51 w 750"/>
                <a:gd name="T89" fmla="*/ 664 h 888"/>
                <a:gd name="T90" fmla="*/ 135 w 750"/>
                <a:gd name="T91" fmla="*/ 688 h 888"/>
                <a:gd name="T92" fmla="*/ 152 w 750"/>
                <a:gd name="T93" fmla="*/ 736 h 888"/>
                <a:gd name="T94" fmla="*/ 127 w 750"/>
                <a:gd name="T95" fmla="*/ 864 h 888"/>
                <a:gd name="T96" fmla="*/ 144 w 750"/>
                <a:gd name="T97" fmla="*/ 872 h 88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50" h="888">
                  <a:moveTo>
                    <a:pt x="194" y="864"/>
                  </a:moveTo>
                  <a:lnTo>
                    <a:pt x="228" y="848"/>
                  </a:lnTo>
                  <a:lnTo>
                    <a:pt x="312" y="872"/>
                  </a:lnTo>
                  <a:lnTo>
                    <a:pt x="354" y="888"/>
                  </a:lnTo>
                  <a:lnTo>
                    <a:pt x="388" y="872"/>
                  </a:lnTo>
                  <a:lnTo>
                    <a:pt x="447" y="880"/>
                  </a:lnTo>
                  <a:lnTo>
                    <a:pt x="489" y="872"/>
                  </a:lnTo>
                  <a:lnTo>
                    <a:pt x="557" y="848"/>
                  </a:lnTo>
                  <a:lnTo>
                    <a:pt x="616" y="864"/>
                  </a:lnTo>
                  <a:lnTo>
                    <a:pt x="616" y="832"/>
                  </a:lnTo>
                  <a:lnTo>
                    <a:pt x="599" y="800"/>
                  </a:lnTo>
                  <a:lnTo>
                    <a:pt x="632" y="776"/>
                  </a:lnTo>
                  <a:lnTo>
                    <a:pt x="641" y="744"/>
                  </a:lnTo>
                  <a:lnTo>
                    <a:pt x="675" y="744"/>
                  </a:lnTo>
                  <a:lnTo>
                    <a:pt x="683" y="712"/>
                  </a:lnTo>
                  <a:lnTo>
                    <a:pt x="607" y="656"/>
                  </a:lnTo>
                  <a:lnTo>
                    <a:pt x="548" y="608"/>
                  </a:lnTo>
                  <a:lnTo>
                    <a:pt x="557" y="584"/>
                  </a:lnTo>
                  <a:lnTo>
                    <a:pt x="523" y="544"/>
                  </a:lnTo>
                  <a:lnTo>
                    <a:pt x="557" y="520"/>
                  </a:lnTo>
                  <a:lnTo>
                    <a:pt x="599" y="512"/>
                  </a:lnTo>
                  <a:lnTo>
                    <a:pt x="641" y="488"/>
                  </a:lnTo>
                  <a:lnTo>
                    <a:pt x="683" y="472"/>
                  </a:lnTo>
                  <a:lnTo>
                    <a:pt x="691" y="440"/>
                  </a:lnTo>
                  <a:lnTo>
                    <a:pt x="725" y="440"/>
                  </a:lnTo>
                  <a:lnTo>
                    <a:pt x="750" y="456"/>
                  </a:lnTo>
                  <a:lnTo>
                    <a:pt x="750" y="392"/>
                  </a:lnTo>
                  <a:lnTo>
                    <a:pt x="725" y="360"/>
                  </a:lnTo>
                  <a:lnTo>
                    <a:pt x="742" y="320"/>
                  </a:lnTo>
                  <a:lnTo>
                    <a:pt x="717" y="280"/>
                  </a:lnTo>
                  <a:lnTo>
                    <a:pt x="717" y="248"/>
                  </a:lnTo>
                  <a:lnTo>
                    <a:pt x="666" y="216"/>
                  </a:lnTo>
                  <a:lnTo>
                    <a:pt x="691" y="168"/>
                  </a:lnTo>
                  <a:lnTo>
                    <a:pt x="683" y="136"/>
                  </a:lnTo>
                  <a:lnTo>
                    <a:pt x="675" y="88"/>
                  </a:lnTo>
                  <a:lnTo>
                    <a:pt x="641" y="80"/>
                  </a:lnTo>
                  <a:lnTo>
                    <a:pt x="607" y="64"/>
                  </a:lnTo>
                  <a:lnTo>
                    <a:pt x="616" y="32"/>
                  </a:lnTo>
                  <a:lnTo>
                    <a:pt x="590" y="16"/>
                  </a:lnTo>
                  <a:lnTo>
                    <a:pt x="582" y="32"/>
                  </a:lnTo>
                  <a:lnTo>
                    <a:pt x="573" y="48"/>
                  </a:lnTo>
                  <a:lnTo>
                    <a:pt x="557" y="40"/>
                  </a:lnTo>
                  <a:lnTo>
                    <a:pt x="548" y="40"/>
                  </a:lnTo>
                  <a:lnTo>
                    <a:pt x="540" y="40"/>
                  </a:lnTo>
                  <a:lnTo>
                    <a:pt x="514" y="64"/>
                  </a:lnTo>
                  <a:lnTo>
                    <a:pt x="481" y="72"/>
                  </a:lnTo>
                  <a:lnTo>
                    <a:pt x="464" y="96"/>
                  </a:lnTo>
                  <a:lnTo>
                    <a:pt x="439" y="96"/>
                  </a:lnTo>
                  <a:lnTo>
                    <a:pt x="413" y="88"/>
                  </a:lnTo>
                  <a:lnTo>
                    <a:pt x="430" y="64"/>
                  </a:lnTo>
                  <a:lnTo>
                    <a:pt x="422" y="32"/>
                  </a:lnTo>
                  <a:lnTo>
                    <a:pt x="396" y="56"/>
                  </a:lnTo>
                  <a:lnTo>
                    <a:pt x="346" y="40"/>
                  </a:lnTo>
                  <a:lnTo>
                    <a:pt x="346" y="16"/>
                  </a:lnTo>
                  <a:lnTo>
                    <a:pt x="337" y="8"/>
                  </a:lnTo>
                  <a:lnTo>
                    <a:pt x="253" y="0"/>
                  </a:lnTo>
                  <a:lnTo>
                    <a:pt x="270" y="24"/>
                  </a:lnTo>
                  <a:lnTo>
                    <a:pt x="245" y="40"/>
                  </a:lnTo>
                  <a:lnTo>
                    <a:pt x="245" y="64"/>
                  </a:lnTo>
                  <a:lnTo>
                    <a:pt x="278" y="112"/>
                  </a:lnTo>
                  <a:lnTo>
                    <a:pt x="253" y="112"/>
                  </a:lnTo>
                  <a:lnTo>
                    <a:pt x="236" y="112"/>
                  </a:lnTo>
                  <a:lnTo>
                    <a:pt x="228" y="128"/>
                  </a:lnTo>
                  <a:lnTo>
                    <a:pt x="220" y="136"/>
                  </a:lnTo>
                  <a:lnTo>
                    <a:pt x="211" y="136"/>
                  </a:lnTo>
                  <a:lnTo>
                    <a:pt x="186" y="128"/>
                  </a:lnTo>
                  <a:lnTo>
                    <a:pt x="135" y="128"/>
                  </a:lnTo>
                  <a:lnTo>
                    <a:pt x="110" y="144"/>
                  </a:lnTo>
                  <a:lnTo>
                    <a:pt x="110" y="168"/>
                  </a:lnTo>
                  <a:lnTo>
                    <a:pt x="118" y="208"/>
                  </a:lnTo>
                  <a:lnTo>
                    <a:pt x="102" y="248"/>
                  </a:lnTo>
                  <a:lnTo>
                    <a:pt x="76" y="256"/>
                  </a:lnTo>
                  <a:lnTo>
                    <a:pt x="102" y="280"/>
                  </a:lnTo>
                  <a:lnTo>
                    <a:pt x="93" y="312"/>
                  </a:lnTo>
                  <a:lnTo>
                    <a:pt x="68" y="320"/>
                  </a:lnTo>
                  <a:lnTo>
                    <a:pt x="68" y="344"/>
                  </a:lnTo>
                  <a:lnTo>
                    <a:pt x="17" y="352"/>
                  </a:lnTo>
                  <a:lnTo>
                    <a:pt x="17" y="384"/>
                  </a:lnTo>
                  <a:lnTo>
                    <a:pt x="17" y="432"/>
                  </a:lnTo>
                  <a:lnTo>
                    <a:pt x="0" y="448"/>
                  </a:lnTo>
                  <a:lnTo>
                    <a:pt x="0" y="472"/>
                  </a:lnTo>
                  <a:lnTo>
                    <a:pt x="9" y="480"/>
                  </a:lnTo>
                  <a:lnTo>
                    <a:pt x="34" y="504"/>
                  </a:lnTo>
                  <a:lnTo>
                    <a:pt x="34" y="536"/>
                  </a:lnTo>
                  <a:lnTo>
                    <a:pt x="17" y="552"/>
                  </a:lnTo>
                  <a:lnTo>
                    <a:pt x="9" y="552"/>
                  </a:lnTo>
                  <a:lnTo>
                    <a:pt x="9" y="576"/>
                  </a:lnTo>
                  <a:lnTo>
                    <a:pt x="43" y="600"/>
                  </a:lnTo>
                  <a:lnTo>
                    <a:pt x="26" y="632"/>
                  </a:lnTo>
                  <a:lnTo>
                    <a:pt x="51" y="664"/>
                  </a:lnTo>
                  <a:lnTo>
                    <a:pt x="76" y="672"/>
                  </a:lnTo>
                  <a:lnTo>
                    <a:pt x="135" y="688"/>
                  </a:lnTo>
                  <a:lnTo>
                    <a:pt x="186" y="704"/>
                  </a:lnTo>
                  <a:lnTo>
                    <a:pt x="152" y="736"/>
                  </a:lnTo>
                  <a:lnTo>
                    <a:pt x="144" y="776"/>
                  </a:lnTo>
                  <a:lnTo>
                    <a:pt x="127" y="864"/>
                  </a:lnTo>
                  <a:lnTo>
                    <a:pt x="118" y="864"/>
                  </a:lnTo>
                  <a:lnTo>
                    <a:pt x="144" y="872"/>
                  </a:lnTo>
                  <a:lnTo>
                    <a:pt x="194" y="86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3" name="Freeform 42"/>
            <p:cNvSpPr>
              <a:spLocks/>
            </p:cNvSpPr>
            <p:nvPr>
              <p:custDataLst>
                <p:tags r:id="rId39"/>
              </p:custDataLst>
            </p:nvPr>
          </p:nvSpPr>
          <p:spPr bwMode="auto">
            <a:xfrm>
              <a:off x="3617" y="1744"/>
              <a:ext cx="211" cy="344"/>
            </a:xfrm>
            <a:custGeom>
              <a:avLst/>
              <a:gdLst>
                <a:gd name="T0" fmla="*/ 143 w 211"/>
                <a:gd name="T1" fmla="*/ 344 h 344"/>
                <a:gd name="T2" fmla="*/ 118 w 211"/>
                <a:gd name="T3" fmla="*/ 312 h 344"/>
                <a:gd name="T4" fmla="*/ 143 w 211"/>
                <a:gd name="T5" fmla="*/ 312 h 344"/>
                <a:gd name="T6" fmla="*/ 127 w 211"/>
                <a:gd name="T7" fmla="*/ 280 h 344"/>
                <a:gd name="T8" fmla="*/ 127 w 211"/>
                <a:gd name="T9" fmla="*/ 248 h 344"/>
                <a:gd name="T10" fmla="*/ 169 w 211"/>
                <a:gd name="T11" fmla="*/ 184 h 344"/>
                <a:gd name="T12" fmla="*/ 186 w 211"/>
                <a:gd name="T13" fmla="*/ 192 h 344"/>
                <a:gd name="T14" fmla="*/ 211 w 211"/>
                <a:gd name="T15" fmla="*/ 136 h 344"/>
                <a:gd name="T16" fmla="*/ 177 w 211"/>
                <a:gd name="T17" fmla="*/ 112 h 344"/>
                <a:gd name="T18" fmla="*/ 169 w 211"/>
                <a:gd name="T19" fmla="*/ 72 h 344"/>
                <a:gd name="T20" fmla="*/ 177 w 211"/>
                <a:gd name="T21" fmla="*/ 24 h 344"/>
                <a:gd name="T22" fmla="*/ 177 w 211"/>
                <a:gd name="T23" fmla="*/ 8 h 344"/>
                <a:gd name="T24" fmla="*/ 160 w 211"/>
                <a:gd name="T25" fmla="*/ 0 h 344"/>
                <a:gd name="T26" fmla="*/ 135 w 211"/>
                <a:gd name="T27" fmla="*/ 8 h 344"/>
                <a:gd name="T28" fmla="*/ 127 w 211"/>
                <a:gd name="T29" fmla="*/ 24 h 344"/>
                <a:gd name="T30" fmla="*/ 101 w 211"/>
                <a:gd name="T31" fmla="*/ 40 h 344"/>
                <a:gd name="T32" fmla="*/ 76 w 211"/>
                <a:gd name="T33" fmla="*/ 48 h 344"/>
                <a:gd name="T34" fmla="*/ 51 w 211"/>
                <a:gd name="T35" fmla="*/ 56 h 344"/>
                <a:gd name="T36" fmla="*/ 34 w 211"/>
                <a:gd name="T37" fmla="*/ 72 h 344"/>
                <a:gd name="T38" fmla="*/ 26 w 211"/>
                <a:gd name="T39" fmla="*/ 96 h 344"/>
                <a:gd name="T40" fmla="*/ 42 w 211"/>
                <a:gd name="T41" fmla="*/ 112 h 344"/>
                <a:gd name="T42" fmla="*/ 17 w 211"/>
                <a:gd name="T43" fmla="*/ 120 h 344"/>
                <a:gd name="T44" fmla="*/ 9 w 211"/>
                <a:gd name="T45" fmla="*/ 144 h 344"/>
                <a:gd name="T46" fmla="*/ 9 w 211"/>
                <a:gd name="T47" fmla="*/ 168 h 344"/>
                <a:gd name="T48" fmla="*/ 26 w 211"/>
                <a:gd name="T49" fmla="*/ 192 h 344"/>
                <a:gd name="T50" fmla="*/ 0 w 211"/>
                <a:gd name="T51" fmla="*/ 208 h 344"/>
                <a:gd name="T52" fmla="*/ 0 w 211"/>
                <a:gd name="T53" fmla="*/ 224 h 344"/>
                <a:gd name="T54" fmla="*/ 26 w 211"/>
                <a:gd name="T55" fmla="*/ 272 h 344"/>
                <a:gd name="T56" fmla="*/ 42 w 211"/>
                <a:gd name="T57" fmla="*/ 256 h 344"/>
                <a:gd name="T58" fmla="*/ 51 w 211"/>
                <a:gd name="T59" fmla="*/ 304 h 344"/>
                <a:gd name="T60" fmla="*/ 59 w 211"/>
                <a:gd name="T61" fmla="*/ 328 h 344"/>
                <a:gd name="T62" fmla="*/ 84 w 211"/>
                <a:gd name="T63" fmla="*/ 336 h 344"/>
                <a:gd name="T64" fmla="*/ 143 w 211"/>
                <a:gd name="T65" fmla="*/ 344 h 3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1" h="344">
                  <a:moveTo>
                    <a:pt x="143" y="344"/>
                  </a:moveTo>
                  <a:lnTo>
                    <a:pt x="118" y="312"/>
                  </a:lnTo>
                  <a:lnTo>
                    <a:pt x="143" y="312"/>
                  </a:lnTo>
                  <a:lnTo>
                    <a:pt x="127" y="280"/>
                  </a:lnTo>
                  <a:lnTo>
                    <a:pt x="127" y="248"/>
                  </a:lnTo>
                  <a:lnTo>
                    <a:pt x="169" y="184"/>
                  </a:lnTo>
                  <a:lnTo>
                    <a:pt x="186" y="192"/>
                  </a:lnTo>
                  <a:lnTo>
                    <a:pt x="211" y="136"/>
                  </a:lnTo>
                  <a:lnTo>
                    <a:pt x="177" y="112"/>
                  </a:lnTo>
                  <a:lnTo>
                    <a:pt x="169" y="72"/>
                  </a:lnTo>
                  <a:lnTo>
                    <a:pt x="177" y="24"/>
                  </a:lnTo>
                  <a:lnTo>
                    <a:pt x="177" y="8"/>
                  </a:lnTo>
                  <a:lnTo>
                    <a:pt x="160" y="0"/>
                  </a:lnTo>
                  <a:lnTo>
                    <a:pt x="135" y="8"/>
                  </a:lnTo>
                  <a:lnTo>
                    <a:pt x="127" y="24"/>
                  </a:lnTo>
                  <a:lnTo>
                    <a:pt x="101" y="40"/>
                  </a:lnTo>
                  <a:lnTo>
                    <a:pt x="76" y="48"/>
                  </a:lnTo>
                  <a:lnTo>
                    <a:pt x="51" y="56"/>
                  </a:lnTo>
                  <a:lnTo>
                    <a:pt x="34" y="72"/>
                  </a:lnTo>
                  <a:lnTo>
                    <a:pt x="26" y="96"/>
                  </a:lnTo>
                  <a:lnTo>
                    <a:pt x="42" y="112"/>
                  </a:lnTo>
                  <a:lnTo>
                    <a:pt x="17" y="120"/>
                  </a:lnTo>
                  <a:lnTo>
                    <a:pt x="9" y="144"/>
                  </a:lnTo>
                  <a:lnTo>
                    <a:pt x="9" y="168"/>
                  </a:lnTo>
                  <a:lnTo>
                    <a:pt x="26" y="192"/>
                  </a:lnTo>
                  <a:lnTo>
                    <a:pt x="0" y="208"/>
                  </a:lnTo>
                  <a:lnTo>
                    <a:pt x="0" y="224"/>
                  </a:lnTo>
                  <a:lnTo>
                    <a:pt x="26" y="272"/>
                  </a:lnTo>
                  <a:lnTo>
                    <a:pt x="42" y="256"/>
                  </a:lnTo>
                  <a:lnTo>
                    <a:pt x="51" y="304"/>
                  </a:lnTo>
                  <a:lnTo>
                    <a:pt x="59" y="328"/>
                  </a:lnTo>
                  <a:lnTo>
                    <a:pt x="84" y="336"/>
                  </a:lnTo>
                  <a:lnTo>
                    <a:pt x="143" y="344"/>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4" name="Freeform 43"/>
            <p:cNvSpPr>
              <a:spLocks/>
            </p:cNvSpPr>
            <p:nvPr>
              <p:custDataLst>
                <p:tags r:id="rId40"/>
              </p:custDataLst>
            </p:nvPr>
          </p:nvSpPr>
          <p:spPr bwMode="auto">
            <a:xfrm>
              <a:off x="3423" y="2080"/>
              <a:ext cx="750" cy="888"/>
            </a:xfrm>
            <a:custGeom>
              <a:avLst/>
              <a:gdLst>
                <a:gd name="T0" fmla="*/ 228 w 750"/>
                <a:gd name="T1" fmla="*/ 848 h 888"/>
                <a:gd name="T2" fmla="*/ 354 w 750"/>
                <a:gd name="T3" fmla="*/ 888 h 888"/>
                <a:gd name="T4" fmla="*/ 447 w 750"/>
                <a:gd name="T5" fmla="*/ 880 h 888"/>
                <a:gd name="T6" fmla="*/ 557 w 750"/>
                <a:gd name="T7" fmla="*/ 848 h 888"/>
                <a:gd name="T8" fmla="*/ 616 w 750"/>
                <a:gd name="T9" fmla="*/ 832 h 888"/>
                <a:gd name="T10" fmla="*/ 632 w 750"/>
                <a:gd name="T11" fmla="*/ 776 h 888"/>
                <a:gd name="T12" fmla="*/ 675 w 750"/>
                <a:gd name="T13" fmla="*/ 744 h 888"/>
                <a:gd name="T14" fmla="*/ 607 w 750"/>
                <a:gd name="T15" fmla="*/ 656 h 888"/>
                <a:gd name="T16" fmla="*/ 557 w 750"/>
                <a:gd name="T17" fmla="*/ 584 h 888"/>
                <a:gd name="T18" fmla="*/ 557 w 750"/>
                <a:gd name="T19" fmla="*/ 520 h 888"/>
                <a:gd name="T20" fmla="*/ 641 w 750"/>
                <a:gd name="T21" fmla="*/ 488 h 888"/>
                <a:gd name="T22" fmla="*/ 691 w 750"/>
                <a:gd name="T23" fmla="*/ 440 h 888"/>
                <a:gd name="T24" fmla="*/ 750 w 750"/>
                <a:gd name="T25" fmla="*/ 456 h 888"/>
                <a:gd name="T26" fmla="*/ 725 w 750"/>
                <a:gd name="T27" fmla="*/ 360 h 888"/>
                <a:gd name="T28" fmla="*/ 717 w 750"/>
                <a:gd name="T29" fmla="*/ 280 h 888"/>
                <a:gd name="T30" fmla="*/ 666 w 750"/>
                <a:gd name="T31" fmla="*/ 216 h 888"/>
                <a:gd name="T32" fmla="*/ 683 w 750"/>
                <a:gd name="T33" fmla="*/ 136 h 888"/>
                <a:gd name="T34" fmla="*/ 641 w 750"/>
                <a:gd name="T35" fmla="*/ 80 h 888"/>
                <a:gd name="T36" fmla="*/ 616 w 750"/>
                <a:gd name="T37" fmla="*/ 32 h 888"/>
                <a:gd name="T38" fmla="*/ 582 w 750"/>
                <a:gd name="T39" fmla="*/ 32 h 888"/>
                <a:gd name="T40" fmla="*/ 557 w 750"/>
                <a:gd name="T41" fmla="*/ 40 h 888"/>
                <a:gd name="T42" fmla="*/ 540 w 750"/>
                <a:gd name="T43" fmla="*/ 40 h 888"/>
                <a:gd name="T44" fmla="*/ 481 w 750"/>
                <a:gd name="T45" fmla="*/ 72 h 888"/>
                <a:gd name="T46" fmla="*/ 439 w 750"/>
                <a:gd name="T47" fmla="*/ 96 h 888"/>
                <a:gd name="T48" fmla="*/ 430 w 750"/>
                <a:gd name="T49" fmla="*/ 64 h 888"/>
                <a:gd name="T50" fmla="*/ 396 w 750"/>
                <a:gd name="T51" fmla="*/ 56 h 888"/>
                <a:gd name="T52" fmla="*/ 346 w 750"/>
                <a:gd name="T53" fmla="*/ 16 h 888"/>
                <a:gd name="T54" fmla="*/ 253 w 750"/>
                <a:gd name="T55" fmla="*/ 0 h 888"/>
                <a:gd name="T56" fmla="*/ 245 w 750"/>
                <a:gd name="T57" fmla="*/ 40 h 888"/>
                <a:gd name="T58" fmla="*/ 278 w 750"/>
                <a:gd name="T59" fmla="*/ 112 h 888"/>
                <a:gd name="T60" fmla="*/ 236 w 750"/>
                <a:gd name="T61" fmla="*/ 112 h 888"/>
                <a:gd name="T62" fmla="*/ 220 w 750"/>
                <a:gd name="T63" fmla="*/ 136 h 888"/>
                <a:gd name="T64" fmla="*/ 186 w 750"/>
                <a:gd name="T65" fmla="*/ 128 h 888"/>
                <a:gd name="T66" fmla="*/ 110 w 750"/>
                <a:gd name="T67" fmla="*/ 144 h 888"/>
                <a:gd name="T68" fmla="*/ 118 w 750"/>
                <a:gd name="T69" fmla="*/ 208 h 888"/>
                <a:gd name="T70" fmla="*/ 76 w 750"/>
                <a:gd name="T71" fmla="*/ 256 h 888"/>
                <a:gd name="T72" fmla="*/ 93 w 750"/>
                <a:gd name="T73" fmla="*/ 312 h 888"/>
                <a:gd name="T74" fmla="*/ 68 w 750"/>
                <a:gd name="T75" fmla="*/ 344 h 888"/>
                <a:gd name="T76" fmla="*/ 17 w 750"/>
                <a:gd name="T77" fmla="*/ 384 h 888"/>
                <a:gd name="T78" fmla="*/ 0 w 750"/>
                <a:gd name="T79" fmla="*/ 448 h 888"/>
                <a:gd name="T80" fmla="*/ 9 w 750"/>
                <a:gd name="T81" fmla="*/ 480 h 888"/>
                <a:gd name="T82" fmla="*/ 34 w 750"/>
                <a:gd name="T83" fmla="*/ 536 h 888"/>
                <a:gd name="T84" fmla="*/ 9 w 750"/>
                <a:gd name="T85" fmla="*/ 552 h 888"/>
                <a:gd name="T86" fmla="*/ 43 w 750"/>
                <a:gd name="T87" fmla="*/ 600 h 888"/>
                <a:gd name="T88" fmla="*/ 26 w 750"/>
                <a:gd name="T89" fmla="*/ 632 h 888"/>
                <a:gd name="T90" fmla="*/ 76 w 750"/>
                <a:gd name="T91" fmla="*/ 672 h 888"/>
                <a:gd name="T92" fmla="*/ 186 w 750"/>
                <a:gd name="T93" fmla="*/ 704 h 888"/>
                <a:gd name="T94" fmla="*/ 144 w 750"/>
                <a:gd name="T95" fmla="*/ 776 h 888"/>
                <a:gd name="T96" fmla="*/ 118 w 750"/>
                <a:gd name="T97" fmla="*/ 864 h 888"/>
                <a:gd name="T98" fmla="*/ 194 w 750"/>
                <a:gd name="T99" fmla="*/ 864 h 88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750" h="888">
                  <a:moveTo>
                    <a:pt x="194" y="864"/>
                  </a:moveTo>
                  <a:lnTo>
                    <a:pt x="228" y="848"/>
                  </a:lnTo>
                  <a:lnTo>
                    <a:pt x="312" y="872"/>
                  </a:lnTo>
                  <a:lnTo>
                    <a:pt x="354" y="888"/>
                  </a:lnTo>
                  <a:lnTo>
                    <a:pt x="388" y="872"/>
                  </a:lnTo>
                  <a:lnTo>
                    <a:pt x="447" y="880"/>
                  </a:lnTo>
                  <a:lnTo>
                    <a:pt x="489" y="872"/>
                  </a:lnTo>
                  <a:lnTo>
                    <a:pt x="557" y="848"/>
                  </a:lnTo>
                  <a:lnTo>
                    <a:pt x="616" y="864"/>
                  </a:lnTo>
                  <a:lnTo>
                    <a:pt x="616" y="832"/>
                  </a:lnTo>
                  <a:lnTo>
                    <a:pt x="599" y="800"/>
                  </a:lnTo>
                  <a:lnTo>
                    <a:pt x="632" y="776"/>
                  </a:lnTo>
                  <a:lnTo>
                    <a:pt x="641" y="744"/>
                  </a:lnTo>
                  <a:lnTo>
                    <a:pt x="675" y="744"/>
                  </a:lnTo>
                  <a:lnTo>
                    <a:pt x="683" y="712"/>
                  </a:lnTo>
                  <a:lnTo>
                    <a:pt x="607" y="656"/>
                  </a:lnTo>
                  <a:lnTo>
                    <a:pt x="548" y="608"/>
                  </a:lnTo>
                  <a:lnTo>
                    <a:pt x="557" y="584"/>
                  </a:lnTo>
                  <a:lnTo>
                    <a:pt x="523" y="544"/>
                  </a:lnTo>
                  <a:lnTo>
                    <a:pt x="557" y="520"/>
                  </a:lnTo>
                  <a:lnTo>
                    <a:pt x="599" y="512"/>
                  </a:lnTo>
                  <a:lnTo>
                    <a:pt x="641" y="488"/>
                  </a:lnTo>
                  <a:lnTo>
                    <a:pt x="683" y="472"/>
                  </a:lnTo>
                  <a:lnTo>
                    <a:pt x="691" y="440"/>
                  </a:lnTo>
                  <a:lnTo>
                    <a:pt x="725" y="440"/>
                  </a:lnTo>
                  <a:lnTo>
                    <a:pt x="750" y="456"/>
                  </a:lnTo>
                  <a:lnTo>
                    <a:pt x="750" y="392"/>
                  </a:lnTo>
                  <a:lnTo>
                    <a:pt x="725" y="360"/>
                  </a:lnTo>
                  <a:lnTo>
                    <a:pt x="742" y="320"/>
                  </a:lnTo>
                  <a:lnTo>
                    <a:pt x="717" y="280"/>
                  </a:lnTo>
                  <a:lnTo>
                    <a:pt x="717" y="248"/>
                  </a:lnTo>
                  <a:lnTo>
                    <a:pt x="666" y="216"/>
                  </a:lnTo>
                  <a:lnTo>
                    <a:pt x="691" y="168"/>
                  </a:lnTo>
                  <a:lnTo>
                    <a:pt x="683" y="136"/>
                  </a:lnTo>
                  <a:lnTo>
                    <a:pt x="675" y="88"/>
                  </a:lnTo>
                  <a:lnTo>
                    <a:pt x="641" y="80"/>
                  </a:lnTo>
                  <a:lnTo>
                    <a:pt x="607" y="64"/>
                  </a:lnTo>
                  <a:lnTo>
                    <a:pt x="616" y="32"/>
                  </a:lnTo>
                  <a:lnTo>
                    <a:pt x="590" y="16"/>
                  </a:lnTo>
                  <a:lnTo>
                    <a:pt x="582" y="32"/>
                  </a:lnTo>
                  <a:lnTo>
                    <a:pt x="573" y="48"/>
                  </a:lnTo>
                  <a:lnTo>
                    <a:pt x="557" y="40"/>
                  </a:lnTo>
                  <a:lnTo>
                    <a:pt x="548" y="40"/>
                  </a:lnTo>
                  <a:lnTo>
                    <a:pt x="540" y="40"/>
                  </a:lnTo>
                  <a:lnTo>
                    <a:pt x="514" y="64"/>
                  </a:lnTo>
                  <a:lnTo>
                    <a:pt x="481" y="72"/>
                  </a:lnTo>
                  <a:lnTo>
                    <a:pt x="464" y="96"/>
                  </a:lnTo>
                  <a:lnTo>
                    <a:pt x="439" y="96"/>
                  </a:lnTo>
                  <a:lnTo>
                    <a:pt x="413" y="88"/>
                  </a:lnTo>
                  <a:lnTo>
                    <a:pt x="430" y="64"/>
                  </a:lnTo>
                  <a:lnTo>
                    <a:pt x="422" y="32"/>
                  </a:lnTo>
                  <a:lnTo>
                    <a:pt x="396" y="56"/>
                  </a:lnTo>
                  <a:lnTo>
                    <a:pt x="346" y="40"/>
                  </a:lnTo>
                  <a:lnTo>
                    <a:pt x="346" y="16"/>
                  </a:lnTo>
                  <a:lnTo>
                    <a:pt x="337" y="8"/>
                  </a:lnTo>
                  <a:lnTo>
                    <a:pt x="253" y="0"/>
                  </a:lnTo>
                  <a:lnTo>
                    <a:pt x="270" y="24"/>
                  </a:lnTo>
                  <a:lnTo>
                    <a:pt x="245" y="40"/>
                  </a:lnTo>
                  <a:lnTo>
                    <a:pt x="245" y="64"/>
                  </a:lnTo>
                  <a:lnTo>
                    <a:pt x="278" y="112"/>
                  </a:lnTo>
                  <a:lnTo>
                    <a:pt x="253" y="112"/>
                  </a:lnTo>
                  <a:lnTo>
                    <a:pt x="236" y="112"/>
                  </a:lnTo>
                  <a:lnTo>
                    <a:pt x="228" y="128"/>
                  </a:lnTo>
                  <a:lnTo>
                    <a:pt x="220" y="136"/>
                  </a:lnTo>
                  <a:lnTo>
                    <a:pt x="211" y="136"/>
                  </a:lnTo>
                  <a:lnTo>
                    <a:pt x="186" y="128"/>
                  </a:lnTo>
                  <a:lnTo>
                    <a:pt x="135" y="128"/>
                  </a:lnTo>
                  <a:lnTo>
                    <a:pt x="110" y="144"/>
                  </a:lnTo>
                  <a:lnTo>
                    <a:pt x="110" y="168"/>
                  </a:lnTo>
                  <a:lnTo>
                    <a:pt x="118" y="208"/>
                  </a:lnTo>
                  <a:lnTo>
                    <a:pt x="102" y="248"/>
                  </a:lnTo>
                  <a:lnTo>
                    <a:pt x="76" y="256"/>
                  </a:lnTo>
                  <a:lnTo>
                    <a:pt x="102" y="280"/>
                  </a:lnTo>
                  <a:lnTo>
                    <a:pt x="93" y="312"/>
                  </a:lnTo>
                  <a:lnTo>
                    <a:pt x="68" y="320"/>
                  </a:lnTo>
                  <a:lnTo>
                    <a:pt x="68" y="344"/>
                  </a:lnTo>
                  <a:lnTo>
                    <a:pt x="17" y="352"/>
                  </a:lnTo>
                  <a:lnTo>
                    <a:pt x="17" y="384"/>
                  </a:lnTo>
                  <a:lnTo>
                    <a:pt x="17" y="432"/>
                  </a:lnTo>
                  <a:lnTo>
                    <a:pt x="0" y="448"/>
                  </a:lnTo>
                  <a:lnTo>
                    <a:pt x="0" y="472"/>
                  </a:lnTo>
                  <a:lnTo>
                    <a:pt x="9" y="480"/>
                  </a:lnTo>
                  <a:lnTo>
                    <a:pt x="34" y="504"/>
                  </a:lnTo>
                  <a:lnTo>
                    <a:pt x="34" y="536"/>
                  </a:lnTo>
                  <a:lnTo>
                    <a:pt x="17" y="552"/>
                  </a:lnTo>
                  <a:lnTo>
                    <a:pt x="9" y="552"/>
                  </a:lnTo>
                  <a:lnTo>
                    <a:pt x="9" y="576"/>
                  </a:lnTo>
                  <a:lnTo>
                    <a:pt x="43" y="600"/>
                  </a:lnTo>
                  <a:lnTo>
                    <a:pt x="26" y="632"/>
                  </a:lnTo>
                  <a:lnTo>
                    <a:pt x="51" y="664"/>
                  </a:lnTo>
                  <a:lnTo>
                    <a:pt x="76" y="672"/>
                  </a:lnTo>
                  <a:lnTo>
                    <a:pt x="135" y="688"/>
                  </a:lnTo>
                  <a:lnTo>
                    <a:pt x="186" y="704"/>
                  </a:lnTo>
                  <a:lnTo>
                    <a:pt x="152" y="736"/>
                  </a:lnTo>
                  <a:lnTo>
                    <a:pt x="144" y="776"/>
                  </a:lnTo>
                  <a:lnTo>
                    <a:pt x="127" y="864"/>
                  </a:lnTo>
                  <a:lnTo>
                    <a:pt x="118" y="864"/>
                  </a:lnTo>
                  <a:lnTo>
                    <a:pt x="144" y="872"/>
                  </a:lnTo>
                  <a:lnTo>
                    <a:pt x="194" y="864"/>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5" name="Freeform 44"/>
            <p:cNvSpPr>
              <a:spLocks/>
            </p:cNvSpPr>
            <p:nvPr>
              <p:custDataLst>
                <p:tags r:id="rId41"/>
              </p:custDataLst>
            </p:nvPr>
          </p:nvSpPr>
          <p:spPr bwMode="auto">
            <a:xfrm>
              <a:off x="3398" y="2928"/>
              <a:ext cx="421" cy="232"/>
            </a:xfrm>
            <a:custGeom>
              <a:avLst/>
              <a:gdLst>
                <a:gd name="T0" fmla="*/ 371 w 421"/>
                <a:gd name="T1" fmla="*/ 104 h 232"/>
                <a:gd name="T2" fmla="*/ 354 w 421"/>
                <a:gd name="T3" fmla="*/ 88 h 232"/>
                <a:gd name="T4" fmla="*/ 329 w 421"/>
                <a:gd name="T5" fmla="*/ 72 h 232"/>
                <a:gd name="T6" fmla="*/ 337 w 421"/>
                <a:gd name="T7" fmla="*/ 32 h 232"/>
                <a:gd name="T8" fmla="*/ 337 w 421"/>
                <a:gd name="T9" fmla="*/ 24 h 232"/>
                <a:gd name="T10" fmla="*/ 253 w 421"/>
                <a:gd name="T11" fmla="*/ 0 h 232"/>
                <a:gd name="T12" fmla="*/ 219 w 421"/>
                <a:gd name="T13" fmla="*/ 16 h 232"/>
                <a:gd name="T14" fmla="*/ 169 w 421"/>
                <a:gd name="T15" fmla="*/ 24 h 232"/>
                <a:gd name="T16" fmla="*/ 143 w 421"/>
                <a:gd name="T17" fmla="*/ 16 h 232"/>
                <a:gd name="T18" fmla="*/ 118 w 421"/>
                <a:gd name="T19" fmla="*/ 32 h 232"/>
                <a:gd name="T20" fmla="*/ 84 w 421"/>
                <a:gd name="T21" fmla="*/ 40 h 232"/>
                <a:gd name="T22" fmla="*/ 76 w 421"/>
                <a:gd name="T23" fmla="*/ 72 h 232"/>
                <a:gd name="T24" fmla="*/ 51 w 421"/>
                <a:gd name="T25" fmla="*/ 88 h 232"/>
                <a:gd name="T26" fmla="*/ 42 w 421"/>
                <a:gd name="T27" fmla="*/ 112 h 232"/>
                <a:gd name="T28" fmla="*/ 9 w 421"/>
                <a:gd name="T29" fmla="*/ 152 h 232"/>
                <a:gd name="T30" fmla="*/ 0 w 421"/>
                <a:gd name="T31" fmla="*/ 184 h 232"/>
                <a:gd name="T32" fmla="*/ 34 w 421"/>
                <a:gd name="T33" fmla="*/ 168 h 232"/>
                <a:gd name="T34" fmla="*/ 76 w 421"/>
                <a:gd name="T35" fmla="*/ 184 h 232"/>
                <a:gd name="T36" fmla="*/ 84 w 421"/>
                <a:gd name="T37" fmla="*/ 200 h 232"/>
                <a:gd name="T38" fmla="*/ 101 w 421"/>
                <a:gd name="T39" fmla="*/ 224 h 232"/>
                <a:gd name="T40" fmla="*/ 177 w 421"/>
                <a:gd name="T41" fmla="*/ 216 h 232"/>
                <a:gd name="T42" fmla="*/ 219 w 421"/>
                <a:gd name="T43" fmla="*/ 152 h 232"/>
                <a:gd name="T44" fmla="*/ 287 w 421"/>
                <a:gd name="T45" fmla="*/ 232 h 232"/>
                <a:gd name="T46" fmla="*/ 312 w 421"/>
                <a:gd name="T47" fmla="*/ 152 h 232"/>
                <a:gd name="T48" fmla="*/ 354 w 421"/>
                <a:gd name="T49" fmla="*/ 160 h 232"/>
                <a:gd name="T50" fmla="*/ 379 w 421"/>
                <a:gd name="T51" fmla="*/ 144 h 232"/>
                <a:gd name="T52" fmla="*/ 413 w 421"/>
                <a:gd name="T53" fmla="*/ 144 h 232"/>
                <a:gd name="T54" fmla="*/ 421 w 421"/>
                <a:gd name="T55" fmla="*/ 136 h 232"/>
                <a:gd name="T56" fmla="*/ 413 w 421"/>
                <a:gd name="T57" fmla="*/ 96 h 232"/>
                <a:gd name="T58" fmla="*/ 371 w 421"/>
                <a:gd name="T59" fmla="*/ 104 h 23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1" h="232">
                  <a:moveTo>
                    <a:pt x="371" y="104"/>
                  </a:moveTo>
                  <a:lnTo>
                    <a:pt x="354" y="88"/>
                  </a:lnTo>
                  <a:lnTo>
                    <a:pt x="329" y="72"/>
                  </a:lnTo>
                  <a:lnTo>
                    <a:pt x="337" y="32"/>
                  </a:lnTo>
                  <a:lnTo>
                    <a:pt x="337" y="24"/>
                  </a:lnTo>
                  <a:lnTo>
                    <a:pt x="253" y="0"/>
                  </a:lnTo>
                  <a:lnTo>
                    <a:pt x="219" y="16"/>
                  </a:lnTo>
                  <a:lnTo>
                    <a:pt x="169" y="24"/>
                  </a:lnTo>
                  <a:lnTo>
                    <a:pt x="143" y="16"/>
                  </a:lnTo>
                  <a:lnTo>
                    <a:pt x="118" y="32"/>
                  </a:lnTo>
                  <a:lnTo>
                    <a:pt x="84" y="40"/>
                  </a:lnTo>
                  <a:lnTo>
                    <a:pt x="76" y="72"/>
                  </a:lnTo>
                  <a:lnTo>
                    <a:pt x="51" y="88"/>
                  </a:lnTo>
                  <a:lnTo>
                    <a:pt x="42" y="112"/>
                  </a:lnTo>
                  <a:lnTo>
                    <a:pt x="9" y="152"/>
                  </a:lnTo>
                  <a:lnTo>
                    <a:pt x="0" y="184"/>
                  </a:lnTo>
                  <a:lnTo>
                    <a:pt x="34" y="168"/>
                  </a:lnTo>
                  <a:lnTo>
                    <a:pt x="76" y="184"/>
                  </a:lnTo>
                  <a:lnTo>
                    <a:pt x="84" y="200"/>
                  </a:lnTo>
                  <a:lnTo>
                    <a:pt x="101" y="224"/>
                  </a:lnTo>
                  <a:lnTo>
                    <a:pt x="177" y="216"/>
                  </a:lnTo>
                  <a:lnTo>
                    <a:pt x="219" y="152"/>
                  </a:lnTo>
                  <a:lnTo>
                    <a:pt x="287" y="232"/>
                  </a:lnTo>
                  <a:lnTo>
                    <a:pt x="312" y="152"/>
                  </a:lnTo>
                  <a:lnTo>
                    <a:pt x="354" y="160"/>
                  </a:lnTo>
                  <a:lnTo>
                    <a:pt x="379" y="144"/>
                  </a:lnTo>
                  <a:lnTo>
                    <a:pt x="413" y="144"/>
                  </a:lnTo>
                  <a:lnTo>
                    <a:pt x="421" y="136"/>
                  </a:lnTo>
                  <a:lnTo>
                    <a:pt x="413" y="96"/>
                  </a:lnTo>
                  <a:lnTo>
                    <a:pt x="371" y="10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6" name="Freeform 45"/>
            <p:cNvSpPr>
              <a:spLocks/>
            </p:cNvSpPr>
            <p:nvPr>
              <p:custDataLst>
                <p:tags r:id="rId42"/>
              </p:custDataLst>
            </p:nvPr>
          </p:nvSpPr>
          <p:spPr bwMode="auto">
            <a:xfrm>
              <a:off x="3727" y="2760"/>
              <a:ext cx="682" cy="312"/>
            </a:xfrm>
            <a:custGeom>
              <a:avLst/>
              <a:gdLst>
                <a:gd name="T0" fmla="*/ 472 w 682"/>
                <a:gd name="T1" fmla="*/ 304 h 312"/>
                <a:gd name="T2" fmla="*/ 505 w 682"/>
                <a:gd name="T3" fmla="*/ 280 h 312"/>
                <a:gd name="T4" fmla="*/ 556 w 682"/>
                <a:gd name="T5" fmla="*/ 280 h 312"/>
                <a:gd name="T6" fmla="*/ 598 w 682"/>
                <a:gd name="T7" fmla="*/ 272 h 312"/>
                <a:gd name="T8" fmla="*/ 598 w 682"/>
                <a:gd name="T9" fmla="*/ 248 h 312"/>
                <a:gd name="T10" fmla="*/ 623 w 682"/>
                <a:gd name="T11" fmla="*/ 224 h 312"/>
                <a:gd name="T12" fmla="*/ 632 w 682"/>
                <a:gd name="T13" fmla="*/ 184 h 312"/>
                <a:gd name="T14" fmla="*/ 632 w 682"/>
                <a:gd name="T15" fmla="*/ 144 h 312"/>
                <a:gd name="T16" fmla="*/ 674 w 682"/>
                <a:gd name="T17" fmla="*/ 128 h 312"/>
                <a:gd name="T18" fmla="*/ 682 w 682"/>
                <a:gd name="T19" fmla="*/ 96 h 312"/>
                <a:gd name="T20" fmla="*/ 649 w 682"/>
                <a:gd name="T21" fmla="*/ 72 h 312"/>
                <a:gd name="T22" fmla="*/ 649 w 682"/>
                <a:gd name="T23" fmla="*/ 24 h 312"/>
                <a:gd name="T24" fmla="*/ 564 w 682"/>
                <a:gd name="T25" fmla="*/ 24 h 312"/>
                <a:gd name="T26" fmla="*/ 488 w 682"/>
                <a:gd name="T27" fmla="*/ 0 h 312"/>
                <a:gd name="T28" fmla="*/ 463 w 682"/>
                <a:gd name="T29" fmla="*/ 48 h 312"/>
                <a:gd name="T30" fmla="*/ 413 w 682"/>
                <a:gd name="T31" fmla="*/ 64 h 312"/>
                <a:gd name="T32" fmla="*/ 371 w 682"/>
                <a:gd name="T33" fmla="*/ 40 h 312"/>
                <a:gd name="T34" fmla="*/ 371 w 682"/>
                <a:gd name="T35" fmla="*/ 64 h 312"/>
                <a:gd name="T36" fmla="*/ 337 w 682"/>
                <a:gd name="T37" fmla="*/ 64 h 312"/>
                <a:gd name="T38" fmla="*/ 328 w 682"/>
                <a:gd name="T39" fmla="*/ 96 h 312"/>
                <a:gd name="T40" fmla="*/ 295 w 682"/>
                <a:gd name="T41" fmla="*/ 120 h 312"/>
                <a:gd name="T42" fmla="*/ 312 w 682"/>
                <a:gd name="T43" fmla="*/ 152 h 312"/>
                <a:gd name="T44" fmla="*/ 312 w 682"/>
                <a:gd name="T45" fmla="*/ 184 h 312"/>
                <a:gd name="T46" fmla="*/ 253 w 682"/>
                <a:gd name="T47" fmla="*/ 168 h 312"/>
                <a:gd name="T48" fmla="*/ 185 w 682"/>
                <a:gd name="T49" fmla="*/ 192 h 312"/>
                <a:gd name="T50" fmla="*/ 143 w 682"/>
                <a:gd name="T51" fmla="*/ 200 h 312"/>
                <a:gd name="T52" fmla="*/ 84 w 682"/>
                <a:gd name="T53" fmla="*/ 192 h 312"/>
                <a:gd name="T54" fmla="*/ 50 w 682"/>
                <a:gd name="T55" fmla="*/ 208 h 312"/>
                <a:gd name="T56" fmla="*/ 8 w 682"/>
                <a:gd name="T57" fmla="*/ 200 h 312"/>
                <a:gd name="T58" fmla="*/ 0 w 682"/>
                <a:gd name="T59" fmla="*/ 240 h 312"/>
                <a:gd name="T60" fmla="*/ 25 w 682"/>
                <a:gd name="T61" fmla="*/ 256 h 312"/>
                <a:gd name="T62" fmla="*/ 42 w 682"/>
                <a:gd name="T63" fmla="*/ 272 h 312"/>
                <a:gd name="T64" fmla="*/ 84 w 682"/>
                <a:gd name="T65" fmla="*/ 264 h 312"/>
                <a:gd name="T66" fmla="*/ 92 w 682"/>
                <a:gd name="T67" fmla="*/ 304 h 312"/>
                <a:gd name="T68" fmla="*/ 101 w 682"/>
                <a:gd name="T69" fmla="*/ 280 h 312"/>
                <a:gd name="T70" fmla="*/ 135 w 682"/>
                <a:gd name="T71" fmla="*/ 288 h 312"/>
                <a:gd name="T72" fmla="*/ 168 w 682"/>
                <a:gd name="T73" fmla="*/ 256 h 312"/>
                <a:gd name="T74" fmla="*/ 244 w 682"/>
                <a:gd name="T75" fmla="*/ 248 h 312"/>
                <a:gd name="T76" fmla="*/ 261 w 682"/>
                <a:gd name="T77" fmla="*/ 272 h 312"/>
                <a:gd name="T78" fmla="*/ 379 w 682"/>
                <a:gd name="T79" fmla="*/ 304 h 312"/>
                <a:gd name="T80" fmla="*/ 379 w 682"/>
                <a:gd name="T81" fmla="*/ 312 h 312"/>
                <a:gd name="T82" fmla="*/ 413 w 682"/>
                <a:gd name="T83" fmla="*/ 304 h 312"/>
                <a:gd name="T84" fmla="*/ 472 w 682"/>
                <a:gd name="T85" fmla="*/ 304 h 3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82" h="312">
                  <a:moveTo>
                    <a:pt x="472" y="304"/>
                  </a:moveTo>
                  <a:lnTo>
                    <a:pt x="505" y="280"/>
                  </a:lnTo>
                  <a:lnTo>
                    <a:pt x="556" y="280"/>
                  </a:lnTo>
                  <a:lnTo>
                    <a:pt x="598" y="272"/>
                  </a:lnTo>
                  <a:lnTo>
                    <a:pt x="598" y="248"/>
                  </a:lnTo>
                  <a:lnTo>
                    <a:pt x="623" y="224"/>
                  </a:lnTo>
                  <a:lnTo>
                    <a:pt x="632" y="184"/>
                  </a:lnTo>
                  <a:lnTo>
                    <a:pt x="632" y="144"/>
                  </a:lnTo>
                  <a:lnTo>
                    <a:pt x="674" y="128"/>
                  </a:lnTo>
                  <a:lnTo>
                    <a:pt x="682" y="96"/>
                  </a:lnTo>
                  <a:lnTo>
                    <a:pt x="649" y="72"/>
                  </a:lnTo>
                  <a:lnTo>
                    <a:pt x="649" y="24"/>
                  </a:lnTo>
                  <a:lnTo>
                    <a:pt x="564" y="24"/>
                  </a:lnTo>
                  <a:lnTo>
                    <a:pt x="488" y="0"/>
                  </a:lnTo>
                  <a:lnTo>
                    <a:pt x="463" y="48"/>
                  </a:lnTo>
                  <a:lnTo>
                    <a:pt x="413" y="64"/>
                  </a:lnTo>
                  <a:lnTo>
                    <a:pt x="371" y="40"/>
                  </a:lnTo>
                  <a:lnTo>
                    <a:pt x="371" y="64"/>
                  </a:lnTo>
                  <a:lnTo>
                    <a:pt x="337" y="64"/>
                  </a:lnTo>
                  <a:lnTo>
                    <a:pt x="328" y="96"/>
                  </a:lnTo>
                  <a:lnTo>
                    <a:pt x="295" y="120"/>
                  </a:lnTo>
                  <a:lnTo>
                    <a:pt x="312" y="152"/>
                  </a:lnTo>
                  <a:lnTo>
                    <a:pt x="312" y="184"/>
                  </a:lnTo>
                  <a:lnTo>
                    <a:pt x="253" y="168"/>
                  </a:lnTo>
                  <a:lnTo>
                    <a:pt x="185" y="192"/>
                  </a:lnTo>
                  <a:lnTo>
                    <a:pt x="143" y="200"/>
                  </a:lnTo>
                  <a:lnTo>
                    <a:pt x="84" y="192"/>
                  </a:lnTo>
                  <a:lnTo>
                    <a:pt x="50" y="208"/>
                  </a:lnTo>
                  <a:lnTo>
                    <a:pt x="8" y="200"/>
                  </a:lnTo>
                  <a:lnTo>
                    <a:pt x="0" y="240"/>
                  </a:lnTo>
                  <a:lnTo>
                    <a:pt x="25" y="256"/>
                  </a:lnTo>
                  <a:lnTo>
                    <a:pt x="42" y="272"/>
                  </a:lnTo>
                  <a:lnTo>
                    <a:pt x="84" y="264"/>
                  </a:lnTo>
                  <a:lnTo>
                    <a:pt x="92" y="304"/>
                  </a:lnTo>
                  <a:lnTo>
                    <a:pt x="101" y="280"/>
                  </a:lnTo>
                  <a:lnTo>
                    <a:pt x="135" y="288"/>
                  </a:lnTo>
                  <a:lnTo>
                    <a:pt x="168" y="256"/>
                  </a:lnTo>
                  <a:lnTo>
                    <a:pt x="244" y="248"/>
                  </a:lnTo>
                  <a:lnTo>
                    <a:pt x="261" y="272"/>
                  </a:lnTo>
                  <a:lnTo>
                    <a:pt x="379" y="304"/>
                  </a:lnTo>
                  <a:lnTo>
                    <a:pt x="379" y="312"/>
                  </a:lnTo>
                  <a:lnTo>
                    <a:pt x="413" y="304"/>
                  </a:lnTo>
                  <a:lnTo>
                    <a:pt x="472" y="30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7" name="Freeform 46"/>
            <p:cNvSpPr>
              <a:spLocks/>
            </p:cNvSpPr>
            <p:nvPr>
              <p:custDataLst>
                <p:tags r:id="rId43"/>
              </p:custDataLst>
            </p:nvPr>
          </p:nvSpPr>
          <p:spPr bwMode="auto">
            <a:xfrm>
              <a:off x="3398" y="2928"/>
              <a:ext cx="421" cy="232"/>
            </a:xfrm>
            <a:custGeom>
              <a:avLst/>
              <a:gdLst>
                <a:gd name="T0" fmla="*/ 371 w 421"/>
                <a:gd name="T1" fmla="*/ 104 h 232"/>
                <a:gd name="T2" fmla="*/ 354 w 421"/>
                <a:gd name="T3" fmla="*/ 88 h 232"/>
                <a:gd name="T4" fmla="*/ 329 w 421"/>
                <a:gd name="T5" fmla="*/ 72 h 232"/>
                <a:gd name="T6" fmla="*/ 337 w 421"/>
                <a:gd name="T7" fmla="*/ 32 h 232"/>
                <a:gd name="T8" fmla="*/ 337 w 421"/>
                <a:gd name="T9" fmla="*/ 24 h 232"/>
                <a:gd name="T10" fmla="*/ 253 w 421"/>
                <a:gd name="T11" fmla="*/ 0 h 232"/>
                <a:gd name="T12" fmla="*/ 219 w 421"/>
                <a:gd name="T13" fmla="*/ 16 h 232"/>
                <a:gd name="T14" fmla="*/ 169 w 421"/>
                <a:gd name="T15" fmla="*/ 24 h 232"/>
                <a:gd name="T16" fmla="*/ 143 w 421"/>
                <a:gd name="T17" fmla="*/ 16 h 232"/>
                <a:gd name="T18" fmla="*/ 118 w 421"/>
                <a:gd name="T19" fmla="*/ 32 h 232"/>
                <a:gd name="T20" fmla="*/ 84 w 421"/>
                <a:gd name="T21" fmla="*/ 40 h 232"/>
                <a:gd name="T22" fmla="*/ 76 w 421"/>
                <a:gd name="T23" fmla="*/ 72 h 232"/>
                <a:gd name="T24" fmla="*/ 51 w 421"/>
                <a:gd name="T25" fmla="*/ 88 h 232"/>
                <a:gd name="T26" fmla="*/ 42 w 421"/>
                <a:gd name="T27" fmla="*/ 112 h 232"/>
                <a:gd name="T28" fmla="*/ 9 w 421"/>
                <a:gd name="T29" fmla="*/ 152 h 232"/>
                <a:gd name="T30" fmla="*/ 0 w 421"/>
                <a:gd name="T31" fmla="*/ 184 h 232"/>
                <a:gd name="T32" fmla="*/ 34 w 421"/>
                <a:gd name="T33" fmla="*/ 168 h 232"/>
                <a:gd name="T34" fmla="*/ 76 w 421"/>
                <a:gd name="T35" fmla="*/ 184 h 232"/>
                <a:gd name="T36" fmla="*/ 84 w 421"/>
                <a:gd name="T37" fmla="*/ 200 h 232"/>
                <a:gd name="T38" fmla="*/ 101 w 421"/>
                <a:gd name="T39" fmla="*/ 224 h 232"/>
                <a:gd name="T40" fmla="*/ 177 w 421"/>
                <a:gd name="T41" fmla="*/ 216 h 232"/>
                <a:gd name="T42" fmla="*/ 219 w 421"/>
                <a:gd name="T43" fmla="*/ 152 h 232"/>
                <a:gd name="T44" fmla="*/ 287 w 421"/>
                <a:gd name="T45" fmla="*/ 232 h 232"/>
                <a:gd name="T46" fmla="*/ 312 w 421"/>
                <a:gd name="T47" fmla="*/ 152 h 232"/>
                <a:gd name="T48" fmla="*/ 354 w 421"/>
                <a:gd name="T49" fmla="*/ 160 h 232"/>
                <a:gd name="T50" fmla="*/ 379 w 421"/>
                <a:gd name="T51" fmla="*/ 144 h 232"/>
                <a:gd name="T52" fmla="*/ 413 w 421"/>
                <a:gd name="T53" fmla="*/ 144 h 232"/>
                <a:gd name="T54" fmla="*/ 421 w 421"/>
                <a:gd name="T55" fmla="*/ 136 h 232"/>
                <a:gd name="T56" fmla="*/ 413 w 421"/>
                <a:gd name="T57" fmla="*/ 96 h 232"/>
                <a:gd name="T58" fmla="*/ 371 w 421"/>
                <a:gd name="T59" fmla="*/ 104 h 23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21" h="232">
                  <a:moveTo>
                    <a:pt x="371" y="104"/>
                  </a:moveTo>
                  <a:lnTo>
                    <a:pt x="354" y="88"/>
                  </a:lnTo>
                  <a:lnTo>
                    <a:pt x="329" y="72"/>
                  </a:lnTo>
                  <a:lnTo>
                    <a:pt x="337" y="32"/>
                  </a:lnTo>
                  <a:lnTo>
                    <a:pt x="337" y="24"/>
                  </a:lnTo>
                  <a:lnTo>
                    <a:pt x="253" y="0"/>
                  </a:lnTo>
                  <a:lnTo>
                    <a:pt x="219" y="16"/>
                  </a:lnTo>
                  <a:lnTo>
                    <a:pt x="169" y="24"/>
                  </a:lnTo>
                  <a:lnTo>
                    <a:pt x="143" y="16"/>
                  </a:lnTo>
                  <a:lnTo>
                    <a:pt x="118" y="32"/>
                  </a:lnTo>
                  <a:lnTo>
                    <a:pt x="84" y="40"/>
                  </a:lnTo>
                  <a:lnTo>
                    <a:pt x="76" y="72"/>
                  </a:lnTo>
                  <a:lnTo>
                    <a:pt x="51" y="88"/>
                  </a:lnTo>
                  <a:lnTo>
                    <a:pt x="42" y="112"/>
                  </a:lnTo>
                  <a:lnTo>
                    <a:pt x="9" y="152"/>
                  </a:lnTo>
                  <a:lnTo>
                    <a:pt x="0" y="184"/>
                  </a:lnTo>
                  <a:lnTo>
                    <a:pt x="34" y="168"/>
                  </a:lnTo>
                  <a:lnTo>
                    <a:pt x="76" y="184"/>
                  </a:lnTo>
                  <a:lnTo>
                    <a:pt x="84" y="200"/>
                  </a:lnTo>
                  <a:lnTo>
                    <a:pt x="101" y="224"/>
                  </a:lnTo>
                  <a:lnTo>
                    <a:pt x="177" y="216"/>
                  </a:lnTo>
                  <a:lnTo>
                    <a:pt x="219" y="152"/>
                  </a:lnTo>
                  <a:lnTo>
                    <a:pt x="287" y="232"/>
                  </a:lnTo>
                  <a:lnTo>
                    <a:pt x="312" y="152"/>
                  </a:lnTo>
                  <a:lnTo>
                    <a:pt x="354" y="160"/>
                  </a:lnTo>
                  <a:lnTo>
                    <a:pt x="379" y="144"/>
                  </a:lnTo>
                  <a:lnTo>
                    <a:pt x="413" y="144"/>
                  </a:lnTo>
                  <a:lnTo>
                    <a:pt x="421" y="136"/>
                  </a:lnTo>
                  <a:lnTo>
                    <a:pt x="413" y="96"/>
                  </a:lnTo>
                  <a:lnTo>
                    <a:pt x="371" y="104"/>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8" name="Freeform 47"/>
            <p:cNvSpPr>
              <a:spLocks/>
            </p:cNvSpPr>
            <p:nvPr>
              <p:custDataLst>
                <p:tags r:id="rId44"/>
              </p:custDataLst>
            </p:nvPr>
          </p:nvSpPr>
          <p:spPr bwMode="auto">
            <a:xfrm>
              <a:off x="3727" y="2760"/>
              <a:ext cx="682" cy="312"/>
            </a:xfrm>
            <a:custGeom>
              <a:avLst/>
              <a:gdLst>
                <a:gd name="T0" fmla="*/ 472 w 682"/>
                <a:gd name="T1" fmla="*/ 304 h 312"/>
                <a:gd name="T2" fmla="*/ 505 w 682"/>
                <a:gd name="T3" fmla="*/ 280 h 312"/>
                <a:gd name="T4" fmla="*/ 556 w 682"/>
                <a:gd name="T5" fmla="*/ 280 h 312"/>
                <a:gd name="T6" fmla="*/ 598 w 682"/>
                <a:gd name="T7" fmla="*/ 272 h 312"/>
                <a:gd name="T8" fmla="*/ 598 w 682"/>
                <a:gd name="T9" fmla="*/ 248 h 312"/>
                <a:gd name="T10" fmla="*/ 623 w 682"/>
                <a:gd name="T11" fmla="*/ 224 h 312"/>
                <a:gd name="T12" fmla="*/ 632 w 682"/>
                <a:gd name="T13" fmla="*/ 184 h 312"/>
                <a:gd name="T14" fmla="*/ 632 w 682"/>
                <a:gd name="T15" fmla="*/ 144 h 312"/>
                <a:gd name="T16" fmla="*/ 674 w 682"/>
                <a:gd name="T17" fmla="*/ 128 h 312"/>
                <a:gd name="T18" fmla="*/ 682 w 682"/>
                <a:gd name="T19" fmla="*/ 96 h 312"/>
                <a:gd name="T20" fmla="*/ 649 w 682"/>
                <a:gd name="T21" fmla="*/ 72 h 312"/>
                <a:gd name="T22" fmla="*/ 649 w 682"/>
                <a:gd name="T23" fmla="*/ 24 h 312"/>
                <a:gd name="T24" fmla="*/ 564 w 682"/>
                <a:gd name="T25" fmla="*/ 24 h 312"/>
                <a:gd name="T26" fmla="*/ 488 w 682"/>
                <a:gd name="T27" fmla="*/ 0 h 312"/>
                <a:gd name="T28" fmla="*/ 463 w 682"/>
                <a:gd name="T29" fmla="*/ 48 h 312"/>
                <a:gd name="T30" fmla="*/ 413 w 682"/>
                <a:gd name="T31" fmla="*/ 64 h 312"/>
                <a:gd name="T32" fmla="*/ 371 w 682"/>
                <a:gd name="T33" fmla="*/ 40 h 312"/>
                <a:gd name="T34" fmla="*/ 371 w 682"/>
                <a:gd name="T35" fmla="*/ 64 h 312"/>
                <a:gd name="T36" fmla="*/ 337 w 682"/>
                <a:gd name="T37" fmla="*/ 64 h 312"/>
                <a:gd name="T38" fmla="*/ 328 w 682"/>
                <a:gd name="T39" fmla="*/ 96 h 312"/>
                <a:gd name="T40" fmla="*/ 295 w 682"/>
                <a:gd name="T41" fmla="*/ 120 h 312"/>
                <a:gd name="T42" fmla="*/ 312 w 682"/>
                <a:gd name="T43" fmla="*/ 152 h 312"/>
                <a:gd name="T44" fmla="*/ 312 w 682"/>
                <a:gd name="T45" fmla="*/ 184 h 312"/>
                <a:gd name="T46" fmla="*/ 253 w 682"/>
                <a:gd name="T47" fmla="*/ 168 h 312"/>
                <a:gd name="T48" fmla="*/ 185 w 682"/>
                <a:gd name="T49" fmla="*/ 192 h 312"/>
                <a:gd name="T50" fmla="*/ 143 w 682"/>
                <a:gd name="T51" fmla="*/ 200 h 312"/>
                <a:gd name="T52" fmla="*/ 84 w 682"/>
                <a:gd name="T53" fmla="*/ 192 h 312"/>
                <a:gd name="T54" fmla="*/ 50 w 682"/>
                <a:gd name="T55" fmla="*/ 208 h 312"/>
                <a:gd name="T56" fmla="*/ 8 w 682"/>
                <a:gd name="T57" fmla="*/ 200 h 312"/>
                <a:gd name="T58" fmla="*/ 0 w 682"/>
                <a:gd name="T59" fmla="*/ 240 h 312"/>
                <a:gd name="T60" fmla="*/ 25 w 682"/>
                <a:gd name="T61" fmla="*/ 256 h 312"/>
                <a:gd name="T62" fmla="*/ 42 w 682"/>
                <a:gd name="T63" fmla="*/ 272 h 312"/>
                <a:gd name="T64" fmla="*/ 84 w 682"/>
                <a:gd name="T65" fmla="*/ 264 h 312"/>
                <a:gd name="T66" fmla="*/ 92 w 682"/>
                <a:gd name="T67" fmla="*/ 304 h 312"/>
                <a:gd name="T68" fmla="*/ 101 w 682"/>
                <a:gd name="T69" fmla="*/ 280 h 312"/>
                <a:gd name="T70" fmla="*/ 135 w 682"/>
                <a:gd name="T71" fmla="*/ 288 h 312"/>
                <a:gd name="T72" fmla="*/ 168 w 682"/>
                <a:gd name="T73" fmla="*/ 256 h 312"/>
                <a:gd name="T74" fmla="*/ 244 w 682"/>
                <a:gd name="T75" fmla="*/ 248 h 312"/>
                <a:gd name="T76" fmla="*/ 261 w 682"/>
                <a:gd name="T77" fmla="*/ 272 h 312"/>
                <a:gd name="T78" fmla="*/ 379 w 682"/>
                <a:gd name="T79" fmla="*/ 304 h 312"/>
                <a:gd name="T80" fmla="*/ 379 w 682"/>
                <a:gd name="T81" fmla="*/ 312 h 312"/>
                <a:gd name="T82" fmla="*/ 413 w 682"/>
                <a:gd name="T83" fmla="*/ 304 h 312"/>
                <a:gd name="T84" fmla="*/ 472 w 682"/>
                <a:gd name="T85" fmla="*/ 304 h 3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82" h="312">
                  <a:moveTo>
                    <a:pt x="472" y="304"/>
                  </a:moveTo>
                  <a:lnTo>
                    <a:pt x="505" y="280"/>
                  </a:lnTo>
                  <a:lnTo>
                    <a:pt x="556" y="280"/>
                  </a:lnTo>
                  <a:lnTo>
                    <a:pt x="598" y="272"/>
                  </a:lnTo>
                  <a:lnTo>
                    <a:pt x="598" y="248"/>
                  </a:lnTo>
                  <a:lnTo>
                    <a:pt x="623" y="224"/>
                  </a:lnTo>
                  <a:lnTo>
                    <a:pt x="632" y="184"/>
                  </a:lnTo>
                  <a:lnTo>
                    <a:pt x="632" y="144"/>
                  </a:lnTo>
                  <a:lnTo>
                    <a:pt x="674" y="128"/>
                  </a:lnTo>
                  <a:lnTo>
                    <a:pt x="682" y="96"/>
                  </a:lnTo>
                  <a:lnTo>
                    <a:pt x="649" y="72"/>
                  </a:lnTo>
                  <a:lnTo>
                    <a:pt x="649" y="24"/>
                  </a:lnTo>
                  <a:lnTo>
                    <a:pt x="564" y="24"/>
                  </a:lnTo>
                  <a:lnTo>
                    <a:pt x="488" y="0"/>
                  </a:lnTo>
                  <a:lnTo>
                    <a:pt x="463" y="48"/>
                  </a:lnTo>
                  <a:lnTo>
                    <a:pt x="413" y="64"/>
                  </a:lnTo>
                  <a:lnTo>
                    <a:pt x="371" y="40"/>
                  </a:lnTo>
                  <a:lnTo>
                    <a:pt x="371" y="64"/>
                  </a:lnTo>
                  <a:lnTo>
                    <a:pt x="337" y="64"/>
                  </a:lnTo>
                  <a:lnTo>
                    <a:pt x="328" y="96"/>
                  </a:lnTo>
                  <a:lnTo>
                    <a:pt x="295" y="120"/>
                  </a:lnTo>
                  <a:lnTo>
                    <a:pt x="312" y="152"/>
                  </a:lnTo>
                  <a:lnTo>
                    <a:pt x="312" y="184"/>
                  </a:lnTo>
                  <a:lnTo>
                    <a:pt x="253" y="168"/>
                  </a:lnTo>
                  <a:lnTo>
                    <a:pt x="185" y="192"/>
                  </a:lnTo>
                  <a:lnTo>
                    <a:pt x="143" y="200"/>
                  </a:lnTo>
                  <a:lnTo>
                    <a:pt x="84" y="192"/>
                  </a:lnTo>
                  <a:lnTo>
                    <a:pt x="50" y="208"/>
                  </a:lnTo>
                  <a:lnTo>
                    <a:pt x="8" y="200"/>
                  </a:lnTo>
                  <a:lnTo>
                    <a:pt x="0" y="240"/>
                  </a:lnTo>
                  <a:lnTo>
                    <a:pt x="25" y="256"/>
                  </a:lnTo>
                  <a:lnTo>
                    <a:pt x="42" y="272"/>
                  </a:lnTo>
                  <a:lnTo>
                    <a:pt x="84" y="264"/>
                  </a:lnTo>
                  <a:lnTo>
                    <a:pt x="92" y="304"/>
                  </a:lnTo>
                  <a:lnTo>
                    <a:pt x="101" y="280"/>
                  </a:lnTo>
                  <a:lnTo>
                    <a:pt x="135" y="288"/>
                  </a:lnTo>
                  <a:lnTo>
                    <a:pt x="168" y="256"/>
                  </a:lnTo>
                  <a:lnTo>
                    <a:pt x="244" y="248"/>
                  </a:lnTo>
                  <a:lnTo>
                    <a:pt x="261" y="272"/>
                  </a:lnTo>
                  <a:lnTo>
                    <a:pt x="379" y="304"/>
                  </a:lnTo>
                  <a:lnTo>
                    <a:pt x="379" y="312"/>
                  </a:lnTo>
                  <a:lnTo>
                    <a:pt x="413" y="304"/>
                  </a:lnTo>
                  <a:lnTo>
                    <a:pt x="472" y="304"/>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69" name="Freeform 48"/>
            <p:cNvSpPr>
              <a:spLocks/>
            </p:cNvSpPr>
            <p:nvPr>
              <p:custDataLst>
                <p:tags r:id="rId45"/>
              </p:custDataLst>
            </p:nvPr>
          </p:nvSpPr>
          <p:spPr bwMode="auto">
            <a:xfrm>
              <a:off x="3946" y="2512"/>
              <a:ext cx="581" cy="312"/>
            </a:xfrm>
            <a:custGeom>
              <a:avLst/>
              <a:gdLst>
                <a:gd name="T0" fmla="*/ 497 w 581"/>
                <a:gd name="T1" fmla="*/ 248 h 312"/>
                <a:gd name="T2" fmla="*/ 531 w 581"/>
                <a:gd name="T3" fmla="*/ 200 h 312"/>
                <a:gd name="T4" fmla="*/ 556 w 581"/>
                <a:gd name="T5" fmla="*/ 176 h 312"/>
                <a:gd name="T6" fmla="*/ 581 w 581"/>
                <a:gd name="T7" fmla="*/ 152 h 312"/>
                <a:gd name="T8" fmla="*/ 564 w 581"/>
                <a:gd name="T9" fmla="*/ 120 h 312"/>
                <a:gd name="T10" fmla="*/ 522 w 581"/>
                <a:gd name="T11" fmla="*/ 112 h 312"/>
                <a:gd name="T12" fmla="*/ 480 w 581"/>
                <a:gd name="T13" fmla="*/ 104 h 312"/>
                <a:gd name="T14" fmla="*/ 463 w 581"/>
                <a:gd name="T15" fmla="*/ 80 h 312"/>
                <a:gd name="T16" fmla="*/ 413 w 581"/>
                <a:gd name="T17" fmla="*/ 64 h 312"/>
                <a:gd name="T18" fmla="*/ 413 w 581"/>
                <a:gd name="T19" fmla="*/ 88 h 312"/>
                <a:gd name="T20" fmla="*/ 387 w 581"/>
                <a:gd name="T21" fmla="*/ 104 h 312"/>
                <a:gd name="T22" fmla="*/ 345 w 581"/>
                <a:gd name="T23" fmla="*/ 72 h 312"/>
                <a:gd name="T24" fmla="*/ 354 w 581"/>
                <a:gd name="T25" fmla="*/ 40 h 312"/>
                <a:gd name="T26" fmla="*/ 312 w 581"/>
                <a:gd name="T27" fmla="*/ 40 h 312"/>
                <a:gd name="T28" fmla="*/ 269 w 581"/>
                <a:gd name="T29" fmla="*/ 24 h 312"/>
                <a:gd name="T30" fmla="*/ 227 w 581"/>
                <a:gd name="T31" fmla="*/ 0 h 312"/>
                <a:gd name="T32" fmla="*/ 227 w 581"/>
                <a:gd name="T33" fmla="*/ 24 h 312"/>
                <a:gd name="T34" fmla="*/ 202 w 581"/>
                <a:gd name="T35" fmla="*/ 8 h 312"/>
                <a:gd name="T36" fmla="*/ 168 w 581"/>
                <a:gd name="T37" fmla="*/ 8 h 312"/>
                <a:gd name="T38" fmla="*/ 160 w 581"/>
                <a:gd name="T39" fmla="*/ 40 h 312"/>
                <a:gd name="T40" fmla="*/ 118 w 581"/>
                <a:gd name="T41" fmla="*/ 56 h 312"/>
                <a:gd name="T42" fmla="*/ 76 w 581"/>
                <a:gd name="T43" fmla="*/ 80 h 312"/>
                <a:gd name="T44" fmla="*/ 34 w 581"/>
                <a:gd name="T45" fmla="*/ 88 h 312"/>
                <a:gd name="T46" fmla="*/ 0 w 581"/>
                <a:gd name="T47" fmla="*/ 112 h 312"/>
                <a:gd name="T48" fmla="*/ 34 w 581"/>
                <a:gd name="T49" fmla="*/ 152 h 312"/>
                <a:gd name="T50" fmla="*/ 25 w 581"/>
                <a:gd name="T51" fmla="*/ 176 h 312"/>
                <a:gd name="T52" fmla="*/ 84 w 581"/>
                <a:gd name="T53" fmla="*/ 224 h 312"/>
                <a:gd name="T54" fmla="*/ 160 w 581"/>
                <a:gd name="T55" fmla="*/ 280 h 312"/>
                <a:gd name="T56" fmla="*/ 152 w 581"/>
                <a:gd name="T57" fmla="*/ 288 h 312"/>
                <a:gd name="T58" fmla="*/ 194 w 581"/>
                <a:gd name="T59" fmla="*/ 312 h 312"/>
                <a:gd name="T60" fmla="*/ 244 w 581"/>
                <a:gd name="T61" fmla="*/ 296 h 312"/>
                <a:gd name="T62" fmla="*/ 269 w 581"/>
                <a:gd name="T63" fmla="*/ 248 h 312"/>
                <a:gd name="T64" fmla="*/ 345 w 581"/>
                <a:gd name="T65" fmla="*/ 272 h 312"/>
                <a:gd name="T66" fmla="*/ 430 w 581"/>
                <a:gd name="T67" fmla="*/ 272 h 312"/>
                <a:gd name="T68" fmla="*/ 430 w 581"/>
                <a:gd name="T69" fmla="*/ 280 h 312"/>
                <a:gd name="T70" fmla="*/ 455 w 581"/>
                <a:gd name="T71" fmla="*/ 248 h 312"/>
                <a:gd name="T72" fmla="*/ 497 w 581"/>
                <a:gd name="T73" fmla="*/ 248 h 31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81" h="312">
                  <a:moveTo>
                    <a:pt x="497" y="248"/>
                  </a:moveTo>
                  <a:lnTo>
                    <a:pt x="531" y="200"/>
                  </a:lnTo>
                  <a:lnTo>
                    <a:pt x="556" y="176"/>
                  </a:lnTo>
                  <a:lnTo>
                    <a:pt x="581" y="152"/>
                  </a:lnTo>
                  <a:lnTo>
                    <a:pt x="564" y="120"/>
                  </a:lnTo>
                  <a:lnTo>
                    <a:pt x="522" y="112"/>
                  </a:lnTo>
                  <a:lnTo>
                    <a:pt x="480" y="104"/>
                  </a:lnTo>
                  <a:lnTo>
                    <a:pt x="463" y="80"/>
                  </a:lnTo>
                  <a:lnTo>
                    <a:pt x="413" y="64"/>
                  </a:lnTo>
                  <a:lnTo>
                    <a:pt x="413" y="88"/>
                  </a:lnTo>
                  <a:lnTo>
                    <a:pt x="387" y="104"/>
                  </a:lnTo>
                  <a:lnTo>
                    <a:pt x="345" y="72"/>
                  </a:lnTo>
                  <a:lnTo>
                    <a:pt x="354" y="40"/>
                  </a:lnTo>
                  <a:lnTo>
                    <a:pt x="312" y="40"/>
                  </a:lnTo>
                  <a:lnTo>
                    <a:pt x="269" y="24"/>
                  </a:lnTo>
                  <a:lnTo>
                    <a:pt x="227" y="0"/>
                  </a:lnTo>
                  <a:lnTo>
                    <a:pt x="227" y="24"/>
                  </a:lnTo>
                  <a:lnTo>
                    <a:pt x="202" y="8"/>
                  </a:lnTo>
                  <a:lnTo>
                    <a:pt x="168" y="8"/>
                  </a:lnTo>
                  <a:lnTo>
                    <a:pt x="160" y="40"/>
                  </a:lnTo>
                  <a:lnTo>
                    <a:pt x="118" y="56"/>
                  </a:lnTo>
                  <a:lnTo>
                    <a:pt x="76" y="80"/>
                  </a:lnTo>
                  <a:lnTo>
                    <a:pt x="34" y="88"/>
                  </a:lnTo>
                  <a:lnTo>
                    <a:pt x="0" y="112"/>
                  </a:lnTo>
                  <a:lnTo>
                    <a:pt x="34" y="152"/>
                  </a:lnTo>
                  <a:lnTo>
                    <a:pt x="25" y="176"/>
                  </a:lnTo>
                  <a:lnTo>
                    <a:pt x="84" y="224"/>
                  </a:lnTo>
                  <a:lnTo>
                    <a:pt x="160" y="280"/>
                  </a:lnTo>
                  <a:lnTo>
                    <a:pt x="152" y="288"/>
                  </a:lnTo>
                  <a:lnTo>
                    <a:pt x="194" y="312"/>
                  </a:lnTo>
                  <a:lnTo>
                    <a:pt x="244" y="296"/>
                  </a:lnTo>
                  <a:lnTo>
                    <a:pt x="269" y="248"/>
                  </a:lnTo>
                  <a:lnTo>
                    <a:pt x="345" y="272"/>
                  </a:lnTo>
                  <a:lnTo>
                    <a:pt x="430" y="272"/>
                  </a:lnTo>
                  <a:lnTo>
                    <a:pt x="430" y="280"/>
                  </a:lnTo>
                  <a:lnTo>
                    <a:pt x="455" y="248"/>
                  </a:lnTo>
                  <a:lnTo>
                    <a:pt x="497" y="248"/>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0" name="Freeform 49"/>
            <p:cNvSpPr>
              <a:spLocks/>
            </p:cNvSpPr>
            <p:nvPr>
              <p:custDataLst>
                <p:tags r:id="rId46"/>
              </p:custDataLst>
            </p:nvPr>
          </p:nvSpPr>
          <p:spPr bwMode="auto">
            <a:xfrm>
              <a:off x="4098" y="3000"/>
              <a:ext cx="278" cy="200"/>
            </a:xfrm>
            <a:custGeom>
              <a:avLst/>
              <a:gdLst>
                <a:gd name="T0" fmla="*/ 50 w 278"/>
                <a:gd name="T1" fmla="*/ 192 h 200"/>
                <a:gd name="T2" fmla="*/ 92 w 278"/>
                <a:gd name="T3" fmla="*/ 160 h 200"/>
                <a:gd name="T4" fmla="*/ 117 w 278"/>
                <a:gd name="T5" fmla="*/ 176 h 200"/>
                <a:gd name="T6" fmla="*/ 151 w 278"/>
                <a:gd name="T7" fmla="*/ 184 h 200"/>
                <a:gd name="T8" fmla="*/ 168 w 278"/>
                <a:gd name="T9" fmla="*/ 152 h 200"/>
                <a:gd name="T10" fmla="*/ 202 w 278"/>
                <a:gd name="T11" fmla="*/ 144 h 200"/>
                <a:gd name="T12" fmla="*/ 202 w 278"/>
                <a:gd name="T13" fmla="*/ 104 h 200"/>
                <a:gd name="T14" fmla="*/ 235 w 278"/>
                <a:gd name="T15" fmla="*/ 64 h 200"/>
                <a:gd name="T16" fmla="*/ 278 w 278"/>
                <a:gd name="T17" fmla="*/ 48 h 200"/>
                <a:gd name="T18" fmla="*/ 235 w 278"/>
                <a:gd name="T19" fmla="*/ 0 h 200"/>
                <a:gd name="T20" fmla="*/ 227 w 278"/>
                <a:gd name="T21" fmla="*/ 8 h 200"/>
                <a:gd name="T22" fmla="*/ 227 w 278"/>
                <a:gd name="T23" fmla="*/ 32 h 200"/>
                <a:gd name="T24" fmla="*/ 185 w 278"/>
                <a:gd name="T25" fmla="*/ 40 h 200"/>
                <a:gd name="T26" fmla="*/ 134 w 278"/>
                <a:gd name="T27" fmla="*/ 40 h 200"/>
                <a:gd name="T28" fmla="*/ 101 w 278"/>
                <a:gd name="T29" fmla="*/ 64 h 200"/>
                <a:gd name="T30" fmla="*/ 42 w 278"/>
                <a:gd name="T31" fmla="*/ 64 h 200"/>
                <a:gd name="T32" fmla="*/ 8 w 278"/>
                <a:gd name="T33" fmla="*/ 72 h 200"/>
                <a:gd name="T34" fmla="*/ 0 w 278"/>
                <a:gd name="T35" fmla="*/ 96 h 200"/>
                <a:gd name="T36" fmla="*/ 8 w 278"/>
                <a:gd name="T37" fmla="*/ 152 h 200"/>
                <a:gd name="T38" fmla="*/ 0 w 278"/>
                <a:gd name="T39" fmla="*/ 160 h 200"/>
                <a:gd name="T40" fmla="*/ 25 w 278"/>
                <a:gd name="T41" fmla="*/ 152 h 200"/>
                <a:gd name="T42" fmla="*/ 8 w 278"/>
                <a:gd name="T43" fmla="*/ 176 h 200"/>
                <a:gd name="T44" fmla="*/ 8 w 278"/>
                <a:gd name="T45" fmla="*/ 200 h 200"/>
                <a:gd name="T46" fmla="*/ 16 w 278"/>
                <a:gd name="T47" fmla="*/ 200 h 200"/>
                <a:gd name="T48" fmla="*/ 50 w 278"/>
                <a:gd name="T49" fmla="*/ 192 h 2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78" h="200">
                  <a:moveTo>
                    <a:pt x="50" y="192"/>
                  </a:moveTo>
                  <a:lnTo>
                    <a:pt x="92" y="160"/>
                  </a:lnTo>
                  <a:lnTo>
                    <a:pt x="117" y="176"/>
                  </a:lnTo>
                  <a:lnTo>
                    <a:pt x="151" y="184"/>
                  </a:lnTo>
                  <a:lnTo>
                    <a:pt x="168" y="152"/>
                  </a:lnTo>
                  <a:lnTo>
                    <a:pt x="202" y="144"/>
                  </a:lnTo>
                  <a:lnTo>
                    <a:pt x="202" y="104"/>
                  </a:lnTo>
                  <a:lnTo>
                    <a:pt x="235" y="64"/>
                  </a:lnTo>
                  <a:lnTo>
                    <a:pt x="278" y="48"/>
                  </a:lnTo>
                  <a:lnTo>
                    <a:pt x="235" y="0"/>
                  </a:lnTo>
                  <a:lnTo>
                    <a:pt x="227" y="8"/>
                  </a:lnTo>
                  <a:lnTo>
                    <a:pt x="227" y="32"/>
                  </a:lnTo>
                  <a:lnTo>
                    <a:pt x="185" y="40"/>
                  </a:lnTo>
                  <a:lnTo>
                    <a:pt x="134" y="40"/>
                  </a:lnTo>
                  <a:lnTo>
                    <a:pt x="101" y="64"/>
                  </a:lnTo>
                  <a:lnTo>
                    <a:pt x="42" y="64"/>
                  </a:lnTo>
                  <a:lnTo>
                    <a:pt x="8" y="72"/>
                  </a:lnTo>
                  <a:lnTo>
                    <a:pt x="0" y="96"/>
                  </a:lnTo>
                  <a:lnTo>
                    <a:pt x="8" y="152"/>
                  </a:lnTo>
                  <a:lnTo>
                    <a:pt x="0" y="160"/>
                  </a:lnTo>
                  <a:lnTo>
                    <a:pt x="25" y="152"/>
                  </a:lnTo>
                  <a:lnTo>
                    <a:pt x="8" y="176"/>
                  </a:lnTo>
                  <a:lnTo>
                    <a:pt x="8" y="200"/>
                  </a:lnTo>
                  <a:lnTo>
                    <a:pt x="16" y="200"/>
                  </a:lnTo>
                  <a:lnTo>
                    <a:pt x="50" y="19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1" name="Freeform 50"/>
            <p:cNvSpPr>
              <a:spLocks/>
            </p:cNvSpPr>
            <p:nvPr>
              <p:custDataLst>
                <p:tags r:id="rId47"/>
              </p:custDataLst>
            </p:nvPr>
          </p:nvSpPr>
          <p:spPr bwMode="auto">
            <a:xfrm>
              <a:off x="4106" y="3056"/>
              <a:ext cx="548" cy="416"/>
            </a:xfrm>
            <a:custGeom>
              <a:avLst/>
              <a:gdLst>
                <a:gd name="T0" fmla="*/ 388 w 548"/>
                <a:gd name="T1" fmla="*/ 360 h 416"/>
                <a:gd name="T2" fmla="*/ 379 w 548"/>
                <a:gd name="T3" fmla="*/ 344 h 416"/>
                <a:gd name="T4" fmla="*/ 345 w 548"/>
                <a:gd name="T5" fmla="*/ 328 h 416"/>
                <a:gd name="T6" fmla="*/ 320 w 548"/>
                <a:gd name="T7" fmla="*/ 296 h 416"/>
                <a:gd name="T8" fmla="*/ 270 w 548"/>
                <a:gd name="T9" fmla="*/ 264 h 416"/>
                <a:gd name="T10" fmla="*/ 236 w 548"/>
                <a:gd name="T11" fmla="*/ 216 h 416"/>
                <a:gd name="T12" fmla="*/ 202 w 548"/>
                <a:gd name="T13" fmla="*/ 200 h 416"/>
                <a:gd name="T14" fmla="*/ 219 w 548"/>
                <a:gd name="T15" fmla="*/ 152 h 416"/>
                <a:gd name="T16" fmla="*/ 236 w 548"/>
                <a:gd name="T17" fmla="*/ 152 h 416"/>
                <a:gd name="T18" fmla="*/ 270 w 548"/>
                <a:gd name="T19" fmla="*/ 168 h 416"/>
                <a:gd name="T20" fmla="*/ 278 w 548"/>
                <a:gd name="T21" fmla="*/ 144 h 416"/>
                <a:gd name="T22" fmla="*/ 312 w 548"/>
                <a:gd name="T23" fmla="*/ 136 h 416"/>
                <a:gd name="T24" fmla="*/ 354 w 548"/>
                <a:gd name="T25" fmla="*/ 144 h 416"/>
                <a:gd name="T26" fmla="*/ 404 w 548"/>
                <a:gd name="T27" fmla="*/ 152 h 416"/>
                <a:gd name="T28" fmla="*/ 438 w 548"/>
                <a:gd name="T29" fmla="*/ 144 h 416"/>
                <a:gd name="T30" fmla="*/ 472 w 548"/>
                <a:gd name="T31" fmla="*/ 152 h 416"/>
                <a:gd name="T32" fmla="*/ 522 w 548"/>
                <a:gd name="T33" fmla="*/ 160 h 416"/>
                <a:gd name="T34" fmla="*/ 522 w 548"/>
                <a:gd name="T35" fmla="*/ 128 h 416"/>
                <a:gd name="T36" fmla="*/ 548 w 548"/>
                <a:gd name="T37" fmla="*/ 120 h 416"/>
                <a:gd name="T38" fmla="*/ 522 w 548"/>
                <a:gd name="T39" fmla="*/ 112 h 416"/>
                <a:gd name="T40" fmla="*/ 497 w 548"/>
                <a:gd name="T41" fmla="*/ 80 h 416"/>
                <a:gd name="T42" fmla="*/ 480 w 548"/>
                <a:gd name="T43" fmla="*/ 48 h 416"/>
                <a:gd name="T44" fmla="*/ 421 w 548"/>
                <a:gd name="T45" fmla="*/ 72 h 416"/>
                <a:gd name="T46" fmla="*/ 388 w 548"/>
                <a:gd name="T47" fmla="*/ 72 h 416"/>
                <a:gd name="T48" fmla="*/ 379 w 548"/>
                <a:gd name="T49" fmla="*/ 48 h 416"/>
                <a:gd name="T50" fmla="*/ 345 w 548"/>
                <a:gd name="T51" fmla="*/ 56 h 416"/>
                <a:gd name="T52" fmla="*/ 320 w 548"/>
                <a:gd name="T53" fmla="*/ 40 h 416"/>
                <a:gd name="T54" fmla="*/ 295 w 548"/>
                <a:gd name="T55" fmla="*/ 16 h 416"/>
                <a:gd name="T56" fmla="*/ 261 w 548"/>
                <a:gd name="T57" fmla="*/ 0 h 416"/>
                <a:gd name="T58" fmla="*/ 227 w 548"/>
                <a:gd name="T59" fmla="*/ 8 h 416"/>
                <a:gd name="T60" fmla="*/ 194 w 548"/>
                <a:gd name="T61" fmla="*/ 48 h 416"/>
                <a:gd name="T62" fmla="*/ 194 w 548"/>
                <a:gd name="T63" fmla="*/ 88 h 416"/>
                <a:gd name="T64" fmla="*/ 160 w 548"/>
                <a:gd name="T65" fmla="*/ 96 h 416"/>
                <a:gd name="T66" fmla="*/ 143 w 548"/>
                <a:gd name="T67" fmla="*/ 128 h 416"/>
                <a:gd name="T68" fmla="*/ 109 w 548"/>
                <a:gd name="T69" fmla="*/ 120 h 416"/>
                <a:gd name="T70" fmla="*/ 84 w 548"/>
                <a:gd name="T71" fmla="*/ 104 h 416"/>
                <a:gd name="T72" fmla="*/ 42 w 548"/>
                <a:gd name="T73" fmla="*/ 136 h 416"/>
                <a:gd name="T74" fmla="*/ 8 w 548"/>
                <a:gd name="T75" fmla="*/ 144 h 416"/>
                <a:gd name="T76" fmla="*/ 0 w 548"/>
                <a:gd name="T77" fmla="*/ 144 h 416"/>
                <a:gd name="T78" fmla="*/ 0 w 548"/>
                <a:gd name="T79" fmla="*/ 152 h 416"/>
                <a:gd name="T80" fmla="*/ 34 w 548"/>
                <a:gd name="T81" fmla="*/ 216 h 416"/>
                <a:gd name="T82" fmla="*/ 84 w 548"/>
                <a:gd name="T83" fmla="*/ 152 h 416"/>
                <a:gd name="T84" fmla="*/ 84 w 548"/>
                <a:gd name="T85" fmla="*/ 216 h 416"/>
                <a:gd name="T86" fmla="*/ 126 w 548"/>
                <a:gd name="T87" fmla="*/ 192 h 416"/>
                <a:gd name="T88" fmla="*/ 126 w 548"/>
                <a:gd name="T89" fmla="*/ 240 h 416"/>
                <a:gd name="T90" fmla="*/ 177 w 548"/>
                <a:gd name="T91" fmla="*/ 264 h 416"/>
                <a:gd name="T92" fmla="*/ 160 w 548"/>
                <a:gd name="T93" fmla="*/ 272 h 416"/>
                <a:gd name="T94" fmla="*/ 219 w 548"/>
                <a:gd name="T95" fmla="*/ 312 h 416"/>
                <a:gd name="T96" fmla="*/ 227 w 548"/>
                <a:gd name="T97" fmla="*/ 336 h 416"/>
                <a:gd name="T98" fmla="*/ 253 w 548"/>
                <a:gd name="T99" fmla="*/ 352 h 416"/>
                <a:gd name="T100" fmla="*/ 312 w 548"/>
                <a:gd name="T101" fmla="*/ 360 h 416"/>
                <a:gd name="T102" fmla="*/ 371 w 548"/>
                <a:gd name="T103" fmla="*/ 384 h 416"/>
                <a:gd name="T104" fmla="*/ 312 w 548"/>
                <a:gd name="T105" fmla="*/ 392 h 416"/>
                <a:gd name="T106" fmla="*/ 413 w 548"/>
                <a:gd name="T107" fmla="*/ 416 h 416"/>
                <a:gd name="T108" fmla="*/ 413 w 548"/>
                <a:gd name="T109" fmla="*/ 384 h 416"/>
                <a:gd name="T110" fmla="*/ 388 w 548"/>
                <a:gd name="T111" fmla="*/ 360 h 41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48" h="416">
                  <a:moveTo>
                    <a:pt x="388" y="360"/>
                  </a:moveTo>
                  <a:lnTo>
                    <a:pt x="379" y="344"/>
                  </a:lnTo>
                  <a:lnTo>
                    <a:pt x="345" y="328"/>
                  </a:lnTo>
                  <a:lnTo>
                    <a:pt x="320" y="296"/>
                  </a:lnTo>
                  <a:lnTo>
                    <a:pt x="270" y="264"/>
                  </a:lnTo>
                  <a:lnTo>
                    <a:pt x="236" y="216"/>
                  </a:lnTo>
                  <a:lnTo>
                    <a:pt x="202" y="200"/>
                  </a:lnTo>
                  <a:lnTo>
                    <a:pt x="219" y="152"/>
                  </a:lnTo>
                  <a:lnTo>
                    <a:pt x="236" y="152"/>
                  </a:lnTo>
                  <a:lnTo>
                    <a:pt x="270" y="168"/>
                  </a:lnTo>
                  <a:lnTo>
                    <a:pt x="278" y="144"/>
                  </a:lnTo>
                  <a:lnTo>
                    <a:pt x="312" y="136"/>
                  </a:lnTo>
                  <a:lnTo>
                    <a:pt x="354" y="144"/>
                  </a:lnTo>
                  <a:lnTo>
                    <a:pt x="404" y="152"/>
                  </a:lnTo>
                  <a:lnTo>
                    <a:pt x="438" y="144"/>
                  </a:lnTo>
                  <a:lnTo>
                    <a:pt x="472" y="152"/>
                  </a:lnTo>
                  <a:lnTo>
                    <a:pt x="522" y="160"/>
                  </a:lnTo>
                  <a:lnTo>
                    <a:pt x="522" y="128"/>
                  </a:lnTo>
                  <a:lnTo>
                    <a:pt x="548" y="120"/>
                  </a:lnTo>
                  <a:lnTo>
                    <a:pt x="522" y="112"/>
                  </a:lnTo>
                  <a:lnTo>
                    <a:pt x="497" y="80"/>
                  </a:lnTo>
                  <a:lnTo>
                    <a:pt x="480" y="48"/>
                  </a:lnTo>
                  <a:lnTo>
                    <a:pt x="421" y="72"/>
                  </a:lnTo>
                  <a:lnTo>
                    <a:pt x="388" y="72"/>
                  </a:lnTo>
                  <a:lnTo>
                    <a:pt x="379" y="48"/>
                  </a:lnTo>
                  <a:lnTo>
                    <a:pt x="345" y="56"/>
                  </a:lnTo>
                  <a:lnTo>
                    <a:pt x="320" y="40"/>
                  </a:lnTo>
                  <a:lnTo>
                    <a:pt x="295" y="16"/>
                  </a:lnTo>
                  <a:lnTo>
                    <a:pt x="261" y="0"/>
                  </a:lnTo>
                  <a:lnTo>
                    <a:pt x="227" y="8"/>
                  </a:lnTo>
                  <a:lnTo>
                    <a:pt x="194" y="48"/>
                  </a:lnTo>
                  <a:lnTo>
                    <a:pt x="194" y="88"/>
                  </a:lnTo>
                  <a:lnTo>
                    <a:pt x="160" y="96"/>
                  </a:lnTo>
                  <a:lnTo>
                    <a:pt x="143" y="128"/>
                  </a:lnTo>
                  <a:lnTo>
                    <a:pt x="109" y="120"/>
                  </a:lnTo>
                  <a:lnTo>
                    <a:pt x="84" y="104"/>
                  </a:lnTo>
                  <a:lnTo>
                    <a:pt x="42" y="136"/>
                  </a:lnTo>
                  <a:lnTo>
                    <a:pt x="8" y="144"/>
                  </a:lnTo>
                  <a:lnTo>
                    <a:pt x="0" y="144"/>
                  </a:lnTo>
                  <a:lnTo>
                    <a:pt x="0" y="152"/>
                  </a:lnTo>
                  <a:lnTo>
                    <a:pt x="34" y="216"/>
                  </a:lnTo>
                  <a:lnTo>
                    <a:pt x="84" y="152"/>
                  </a:lnTo>
                  <a:lnTo>
                    <a:pt x="84" y="216"/>
                  </a:lnTo>
                  <a:lnTo>
                    <a:pt x="126" y="192"/>
                  </a:lnTo>
                  <a:lnTo>
                    <a:pt x="126" y="240"/>
                  </a:lnTo>
                  <a:lnTo>
                    <a:pt x="177" y="264"/>
                  </a:lnTo>
                  <a:lnTo>
                    <a:pt x="160" y="272"/>
                  </a:lnTo>
                  <a:lnTo>
                    <a:pt x="219" y="312"/>
                  </a:lnTo>
                  <a:lnTo>
                    <a:pt x="227" y="336"/>
                  </a:lnTo>
                  <a:lnTo>
                    <a:pt x="253" y="352"/>
                  </a:lnTo>
                  <a:lnTo>
                    <a:pt x="312" y="360"/>
                  </a:lnTo>
                  <a:lnTo>
                    <a:pt x="371" y="384"/>
                  </a:lnTo>
                  <a:lnTo>
                    <a:pt x="312" y="392"/>
                  </a:lnTo>
                  <a:lnTo>
                    <a:pt x="413" y="416"/>
                  </a:lnTo>
                  <a:lnTo>
                    <a:pt x="413" y="384"/>
                  </a:lnTo>
                  <a:lnTo>
                    <a:pt x="388" y="36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2" name="Freeform 51"/>
            <p:cNvSpPr>
              <a:spLocks/>
            </p:cNvSpPr>
            <p:nvPr>
              <p:custDataLst>
                <p:tags r:id="rId48"/>
              </p:custDataLst>
            </p:nvPr>
          </p:nvSpPr>
          <p:spPr bwMode="auto">
            <a:xfrm>
              <a:off x="4098" y="3000"/>
              <a:ext cx="278" cy="200"/>
            </a:xfrm>
            <a:custGeom>
              <a:avLst/>
              <a:gdLst>
                <a:gd name="T0" fmla="*/ 50 w 278"/>
                <a:gd name="T1" fmla="*/ 192 h 200"/>
                <a:gd name="T2" fmla="*/ 92 w 278"/>
                <a:gd name="T3" fmla="*/ 160 h 200"/>
                <a:gd name="T4" fmla="*/ 117 w 278"/>
                <a:gd name="T5" fmla="*/ 176 h 200"/>
                <a:gd name="T6" fmla="*/ 151 w 278"/>
                <a:gd name="T7" fmla="*/ 184 h 200"/>
                <a:gd name="T8" fmla="*/ 168 w 278"/>
                <a:gd name="T9" fmla="*/ 152 h 200"/>
                <a:gd name="T10" fmla="*/ 202 w 278"/>
                <a:gd name="T11" fmla="*/ 144 h 200"/>
                <a:gd name="T12" fmla="*/ 202 w 278"/>
                <a:gd name="T13" fmla="*/ 104 h 200"/>
                <a:gd name="T14" fmla="*/ 235 w 278"/>
                <a:gd name="T15" fmla="*/ 64 h 200"/>
                <a:gd name="T16" fmla="*/ 278 w 278"/>
                <a:gd name="T17" fmla="*/ 48 h 200"/>
                <a:gd name="T18" fmla="*/ 235 w 278"/>
                <a:gd name="T19" fmla="*/ 0 h 200"/>
                <a:gd name="T20" fmla="*/ 227 w 278"/>
                <a:gd name="T21" fmla="*/ 8 h 200"/>
                <a:gd name="T22" fmla="*/ 227 w 278"/>
                <a:gd name="T23" fmla="*/ 32 h 200"/>
                <a:gd name="T24" fmla="*/ 185 w 278"/>
                <a:gd name="T25" fmla="*/ 40 h 200"/>
                <a:gd name="T26" fmla="*/ 134 w 278"/>
                <a:gd name="T27" fmla="*/ 40 h 200"/>
                <a:gd name="T28" fmla="*/ 101 w 278"/>
                <a:gd name="T29" fmla="*/ 64 h 200"/>
                <a:gd name="T30" fmla="*/ 42 w 278"/>
                <a:gd name="T31" fmla="*/ 64 h 200"/>
                <a:gd name="T32" fmla="*/ 8 w 278"/>
                <a:gd name="T33" fmla="*/ 72 h 200"/>
                <a:gd name="T34" fmla="*/ 0 w 278"/>
                <a:gd name="T35" fmla="*/ 96 h 200"/>
                <a:gd name="T36" fmla="*/ 8 w 278"/>
                <a:gd name="T37" fmla="*/ 152 h 200"/>
                <a:gd name="T38" fmla="*/ 0 w 278"/>
                <a:gd name="T39" fmla="*/ 160 h 200"/>
                <a:gd name="T40" fmla="*/ 25 w 278"/>
                <a:gd name="T41" fmla="*/ 152 h 200"/>
                <a:gd name="T42" fmla="*/ 8 w 278"/>
                <a:gd name="T43" fmla="*/ 176 h 200"/>
                <a:gd name="T44" fmla="*/ 8 w 278"/>
                <a:gd name="T45" fmla="*/ 200 h 200"/>
                <a:gd name="T46" fmla="*/ 16 w 278"/>
                <a:gd name="T47" fmla="*/ 200 h 200"/>
                <a:gd name="T48" fmla="*/ 50 w 278"/>
                <a:gd name="T49" fmla="*/ 192 h 2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78" h="200">
                  <a:moveTo>
                    <a:pt x="50" y="192"/>
                  </a:moveTo>
                  <a:lnTo>
                    <a:pt x="92" y="160"/>
                  </a:lnTo>
                  <a:lnTo>
                    <a:pt x="117" y="176"/>
                  </a:lnTo>
                  <a:lnTo>
                    <a:pt x="151" y="184"/>
                  </a:lnTo>
                  <a:lnTo>
                    <a:pt x="168" y="152"/>
                  </a:lnTo>
                  <a:lnTo>
                    <a:pt x="202" y="144"/>
                  </a:lnTo>
                  <a:lnTo>
                    <a:pt x="202" y="104"/>
                  </a:lnTo>
                  <a:lnTo>
                    <a:pt x="235" y="64"/>
                  </a:lnTo>
                  <a:lnTo>
                    <a:pt x="278" y="48"/>
                  </a:lnTo>
                  <a:lnTo>
                    <a:pt x="235" y="0"/>
                  </a:lnTo>
                  <a:lnTo>
                    <a:pt x="227" y="8"/>
                  </a:lnTo>
                  <a:lnTo>
                    <a:pt x="227" y="32"/>
                  </a:lnTo>
                  <a:lnTo>
                    <a:pt x="185" y="40"/>
                  </a:lnTo>
                  <a:lnTo>
                    <a:pt x="134" y="40"/>
                  </a:lnTo>
                  <a:lnTo>
                    <a:pt x="101" y="64"/>
                  </a:lnTo>
                  <a:lnTo>
                    <a:pt x="42" y="64"/>
                  </a:lnTo>
                  <a:lnTo>
                    <a:pt x="8" y="72"/>
                  </a:lnTo>
                  <a:lnTo>
                    <a:pt x="0" y="96"/>
                  </a:lnTo>
                  <a:lnTo>
                    <a:pt x="8" y="152"/>
                  </a:lnTo>
                  <a:lnTo>
                    <a:pt x="0" y="160"/>
                  </a:lnTo>
                  <a:lnTo>
                    <a:pt x="25" y="152"/>
                  </a:lnTo>
                  <a:lnTo>
                    <a:pt x="8" y="176"/>
                  </a:lnTo>
                  <a:lnTo>
                    <a:pt x="8" y="200"/>
                  </a:lnTo>
                  <a:lnTo>
                    <a:pt x="16" y="200"/>
                  </a:lnTo>
                  <a:lnTo>
                    <a:pt x="50" y="192"/>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3" name="Freeform 52"/>
            <p:cNvSpPr>
              <a:spLocks/>
            </p:cNvSpPr>
            <p:nvPr>
              <p:custDataLst>
                <p:tags r:id="rId49"/>
              </p:custDataLst>
            </p:nvPr>
          </p:nvSpPr>
          <p:spPr bwMode="auto">
            <a:xfrm>
              <a:off x="4106" y="3056"/>
              <a:ext cx="548" cy="416"/>
            </a:xfrm>
            <a:custGeom>
              <a:avLst/>
              <a:gdLst>
                <a:gd name="T0" fmla="*/ 388 w 548"/>
                <a:gd name="T1" fmla="*/ 360 h 416"/>
                <a:gd name="T2" fmla="*/ 379 w 548"/>
                <a:gd name="T3" fmla="*/ 344 h 416"/>
                <a:gd name="T4" fmla="*/ 345 w 548"/>
                <a:gd name="T5" fmla="*/ 328 h 416"/>
                <a:gd name="T6" fmla="*/ 320 w 548"/>
                <a:gd name="T7" fmla="*/ 296 h 416"/>
                <a:gd name="T8" fmla="*/ 270 w 548"/>
                <a:gd name="T9" fmla="*/ 264 h 416"/>
                <a:gd name="T10" fmla="*/ 236 w 548"/>
                <a:gd name="T11" fmla="*/ 216 h 416"/>
                <a:gd name="T12" fmla="*/ 202 w 548"/>
                <a:gd name="T13" fmla="*/ 200 h 416"/>
                <a:gd name="T14" fmla="*/ 219 w 548"/>
                <a:gd name="T15" fmla="*/ 152 h 416"/>
                <a:gd name="T16" fmla="*/ 236 w 548"/>
                <a:gd name="T17" fmla="*/ 152 h 416"/>
                <a:gd name="T18" fmla="*/ 270 w 548"/>
                <a:gd name="T19" fmla="*/ 168 h 416"/>
                <a:gd name="T20" fmla="*/ 278 w 548"/>
                <a:gd name="T21" fmla="*/ 144 h 416"/>
                <a:gd name="T22" fmla="*/ 312 w 548"/>
                <a:gd name="T23" fmla="*/ 136 h 416"/>
                <a:gd name="T24" fmla="*/ 354 w 548"/>
                <a:gd name="T25" fmla="*/ 144 h 416"/>
                <a:gd name="T26" fmla="*/ 404 w 548"/>
                <a:gd name="T27" fmla="*/ 152 h 416"/>
                <a:gd name="T28" fmla="*/ 438 w 548"/>
                <a:gd name="T29" fmla="*/ 144 h 416"/>
                <a:gd name="T30" fmla="*/ 472 w 548"/>
                <a:gd name="T31" fmla="*/ 152 h 416"/>
                <a:gd name="T32" fmla="*/ 522 w 548"/>
                <a:gd name="T33" fmla="*/ 160 h 416"/>
                <a:gd name="T34" fmla="*/ 522 w 548"/>
                <a:gd name="T35" fmla="*/ 128 h 416"/>
                <a:gd name="T36" fmla="*/ 548 w 548"/>
                <a:gd name="T37" fmla="*/ 120 h 416"/>
                <a:gd name="T38" fmla="*/ 522 w 548"/>
                <a:gd name="T39" fmla="*/ 112 h 416"/>
                <a:gd name="T40" fmla="*/ 497 w 548"/>
                <a:gd name="T41" fmla="*/ 80 h 416"/>
                <a:gd name="T42" fmla="*/ 480 w 548"/>
                <a:gd name="T43" fmla="*/ 48 h 416"/>
                <a:gd name="T44" fmla="*/ 421 w 548"/>
                <a:gd name="T45" fmla="*/ 72 h 416"/>
                <a:gd name="T46" fmla="*/ 388 w 548"/>
                <a:gd name="T47" fmla="*/ 72 h 416"/>
                <a:gd name="T48" fmla="*/ 379 w 548"/>
                <a:gd name="T49" fmla="*/ 48 h 416"/>
                <a:gd name="T50" fmla="*/ 345 w 548"/>
                <a:gd name="T51" fmla="*/ 56 h 416"/>
                <a:gd name="T52" fmla="*/ 320 w 548"/>
                <a:gd name="T53" fmla="*/ 40 h 416"/>
                <a:gd name="T54" fmla="*/ 295 w 548"/>
                <a:gd name="T55" fmla="*/ 16 h 416"/>
                <a:gd name="T56" fmla="*/ 261 w 548"/>
                <a:gd name="T57" fmla="*/ 0 h 416"/>
                <a:gd name="T58" fmla="*/ 227 w 548"/>
                <a:gd name="T59" fmla="*/ 8 h 416"/>
                <a:gd name="T60" fmla="*/ 194 w 548"/>
                <a:gd name="T61" fmla="*/ 48 h 416"/>
                <a:gd name="T62" fmla="*/ 194 w 548"/>
                <a:gd name="T63" fmla="*/ 88 h 416"/>
                <a:gd name="T64" fmla="*/ 160 w 548"/>
                <a:gd name="T65" fmla="*/ 96 h 416"/>
                <a:gd name="T66" fmla="*/ 143 w 548"/>
                <a:gd name="T67" fmla="*/ 128 h 416"/>
                <a:gd name="T68" fmla="*/ 109 w 548"/>
                <a:gd name="T69" fmla="*/ 120 h 416"/>
                <a:gd name="T70" fmla="*/ 84 w 548"/>
                <a:gd name="T71" fmla="*/ 104 h 416"/>
                <a:gd name="T72" fmla="*/ 42 w 548"/>
                <a:gd name="T73" fmla="*/ 136 h 416"/>
                <a:gd name="T74" fmla="*/ 8 w 548"/>
                <a:gd name="T75" fmla="*/ 144 h 416"/>
                <a:gd name="T76" fmla="*/ 0 w 548"/>
                <a:gd name="T77" fmla="*/ 144 h 416"/>
                <a:gd name="T78" fmla="*/ 0 w 548"/>
                <a:gd name="T79" fmla="*/ 152 h 416"/>
                <a:gd name="T80" fmla="*/ 34 w 548"/>
                <a:gd name="T81" fmla="*/ 216 h 416"/>
                <a:gd name="T82" fmla="*/ 84 w 548"/>
                <a:gd name="T83" fmla="*/ 152 h 416"/>
                <a:gd name="T84" fmla="*/ 84 w 548"/>
                <a:gd name="T85" fmla="*/ 216 h 416"/>
                <a:gd name="T86" fmla="*/ 126 w 548"/>
                <a:gd name="T87" fmla="*/ 192 h 416"/>
                <a:gd name="T88" fmla="*/ 126 w 548"/>
                <a:gd name="T89" fmla="*/ 240 h 416"/>
                <a:gd name="T90" fmla="*/ 177 w 548"/>
                <a:gd name="T91" fmla="*/ 264 h 416"/>
                <a:gd name="T92" fmla="*/ 160 w 548"/>
                <a:gd name="T93" fmla="*/ 272 h 416"/>
                <a:gd name="T94" fmla="*/ 219 w 548"/>
                <a:gd name="T95" fmla="*/ 312 h 416"/>
                <a:gd name="T96" fmla="*/ 227 w 548"/>
                <a:gd name="T97" fmla="*/ 336 h 416"/>
                <a:gd name="T98" fmla="*/ 253 w 548"/>
                <a:gd name="T99" fmla="*/ 352 h 416"/>
                <a:gd name="T100" fmla="*/ 312 w 548"/>
                <a:gd name="T101" fmla="*/ 360 h 416"/>
                <a:gd name="T102" fmla="*/ 371 w 548"/>
                <a:gd name="T103" fmla="*/ 384 h 416"/>
                <a:gd name="T104" fmla="*/ 312 w 548"/>
                <a:gd name="T105" fmla="*/ 392 h 416"/>
                <a:gd name="T106" fmla="*/ 413 w 548"/>
                <a:gd name="T107" fmla="*/ 416 h 416"/>
                <a:gd name="T108" fmla="*/ 413 w 548"/>
                <a:gd name="T109" fmla="*/ 384 h 416"/>
                <a:gd name="T110" fmla="*/ 388 w 548"/>
                <a:gd name="T111" fmla="*/ 360 h 41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48" h="416">
                  <a:moveTo>
                    <a:pt x="388" y="360"/>
                  </a:moveTo>
                  <a:lnTo>
                    <a:pt x="379" y="344"/>
                  </a:lnTo>
                  <a:lnTo>
                    <a:pt x="345" y="328"/>
                  </a:lnTo>
                  <a:lnTo>
                    <a:pt x="320" y="296"/>
                  </a:lnTo>
                  <a:lnTo>
                    <a:pt x="270" y="264"/>
                  </a:lnTo>
                  <a:lnTo>
                    <a:pt x="236" y="216"/>
                  </a:lnTo>
                  <a:lnTo>
                    <a:pt x="202" y="200"/>
                  </a:lnTo>
                  <a:lnTo>
                    <a:pt x="219" y="152"/>
                  </a:lnTo>
                  <a:lnTo>
                    <a:pt x="236" y="152"/>
                  </a:lnTo>
                  <a:lnTo>
                    <a:pt x="270" y="168"/>
                  </a:lnTo>
                  <a:lnTo>
                    <a:pt x="278" y="144"/>
                  </a:lnTo>
                  <a:lnTo>
                    <a:pt x="312" y="136"/>
                  </a:lnTo>
                  <a:lnTo>
                    <a:pt x="354" y="144"/>
                  </a:lnTo>
                  <a:lnTo>
                    <a:pt x="404" y="152"/>
                  </a:lnTo>
                  <a:lnTo>
                    <a:pt x="438" y="144"/>
                  </a:lnTo>
                  <a:lnTo>
                    <a:pt x="472" y="152"/>
                  </a:lnTo>
                  <a:lnTo>
                    <a:pt x="522" y="160"/>
                  </a:lnTo>
                  <a:lnTo>
                    <a:pt x="522" y="128"/>
                  </a:lnTo>
                  <a:lnTo>
                    <a:pt x="548" y="120"/>
                  </a:lnTo>
                  <a:lnTo>
                    <a:pt x="522" y="112"/>
                  </a:lnTo>
                  <a:lnTo>
                    <a:pt x="497" y="80"/>
                  </a:lnTo>
                  <a:lnTo>
                    <a:pt x="480" y="48"/>
                  </a:lnTo>
                  <a:lnTo>
                    <a:pt x="421" y="72"/>
                  </a:lnTo>
                  <a:lnTo>
                    <a:pt x="388" y="72"/>
                  </a:lnTo>
                  <a:lnTo>
                    <a:pt x="379" y="48"/>
                  </a:lnTo>
                  <a:lnTo>
                    <a:pt x="345" y="56"/>
                  </a:lnTo>
                  <a:lnTo>
                    <a:pt x="320" y="40"/>
                  </a:lnTo>
                  <a:lnTo>
                    <a:pt x="295" y="16"/>
                  </a:lnTo>
                  <a:lnTo>
                    <a:pt x="261" y="0"/>
                  </a:lnTo>
                  <a:lnTo>
                    <a:pt x="227" y="8"/>
                  </a:lnTo>
                  <a:lnTo>
                    <a:pt x="194" y="48"/>
                  </a:lnTo>
                  <a:lnTo>
                    <a:pt x="194" y="88"/>
                  </a:lnTo>
                  <a:lnTo>
                    <a:pt x="160" y="96"/>
                  </a:lnTo>
                  <a:lnTo>
                    <a:pt x="143" y="128"/>
                  </a:lnTo>
                  <a:lnTo>
                    <a:pt x="109" y="120"/>
                  </a:lnTo>
                  <a:lnTo>
                    <a:pt x="84" y="104"/>
                  </a:lnTo>
                  <a:lnTo>
                    <a:pt x="42" y="136"/>
                  </a:lnTo>
                  <a:lnTo>
                    <a:pt x="8" y="144"/>
                  </a:lnTo>
                  <a:lnTo>
                    <a:pt x="0" y="144"/>
                  </a:lnTo>
                  <a:lnTo>
                    <a:pt x="0" y="152"/>
                  </a:lnTo>
                  <a:lnTo>
                    <a:pt x="34" y="216"/>
                  </a:lnTo>
                  <a:lnTo>
                    <a:pt x="84" y="152"/>
                  </a:lnTo>
                  <a:lnTo>
                    <a:pt x="84" y="216"/>
                  </a:lnTo>
                  <a:lnTo>
                    <a:pt x="126" y="192"/>
                  </a:lnTo>
                  <a:lnTo>
                    <a:pt x="126" y="240"/>
                  </a:lnTo>
                  <a:lnTo>
                    <a:pt x="177" y="264"/>
                  </a:lnTo>
                  <a:lnTo>
                    <a:pt x="160" y="272"/>
                  </a:lnTo>
                  <a:lnTo>
                    <a:pt x="219" y="312"/>
                  </a:lnTo>
                  <a:lnTo>
                    <a:pt x="227" y="336"/>
                  </a:lnTo>
                  <a:lnTo>
                    <a:pt x="253" y="352"/>
                  </a:lnTo>
                  <a:lnTo>
                    <a:pt x="312" y="360"/>
                  </a:lnTo>
                  <a:lnTo>
                    <a:pt x="371" y="384"/>
                  </a:lnTo>
                  <a:lnTo>
                    <a:pt x="312" y="392"/>
                  </a:lnTo>
                  <a:lnTo>
                    <a:pt x="413" y="416"/>
                  </a:lnTo>
                  <a:lnTo>
                    <a:pt x="413" y="384"/>
                  </a:lnTo>
                  <a:lnTo>
                    <a:pt x="388" y="360"/>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4" name="Freeform 53"/>
            <p:cNvSpPr>
              <a:spLocks/>
            </p:cNvSpPr>
            <p:nvPr>
              <p:custDataLst>
                <p:tags r:id="rId50"/>
              </p:custDataLst>
            </p:nvPr>
          </p:nvSpPr>
          <p:spPr bwMode="auto">
            <a:xfrm>
              <a:off x="4308" y="3192"/>
              <a:ext cx="388" cy="320"/>
            </a:xfrm>
            <a:custGeom>
              <a:avLst/>
              <a:gdLst>
                <a:gd name="T0" fmla="*/ 287 w 388"/>
                <a:gd name="T1" fmla="*/ 264 h 320"/>
                <a:gd name="T2" fmla="*/ 312 w 388"/>
                <a:gd name="T3" fmla="*/ 248 h 320"/>
                <a:gd name="T4" fmla="*/ 320 w 388"/>
                <a:gd name="T5" fmla="*/ 216 h 320"/>
                <a:gd name="T6" fmla="*/ 346 w 388"/>
                <a:gd name="T7" fmla="*/ 216 h 320"/>
                <a:gd name="T8" fmla="*/ 337 w 388"/>
                <a:gd name="T9" fmla="*/ 192 h 320"/>
                <a:gd name="T10" fmla="*/ 388 w 388"/>
                <a:gd name="T11" fmla="*/ 176 h 320"/>
                <a:gd name="T12" fmla="*/ 362 w 388"/>
                <a:gd name="T13" fmla="*/ 136 h 320"/>
                <a:gd name="T14" fmla="*/ 388 w 388"/>
                <a:gd name="T15" fmla="*/ 120 h 320"/>
                <a:gd name="T16" fmla="*/ 346 w 388"/>
                <a:gd name="T17" fmla="*/ 96 h 320"/>
                <a:gd name="T18" fmla="*/ 337 w 388"/>
                <a:gd name="T19" fmla="*/ 64 h 320"/>
                <a:gd name="T20" fmla="*/ 337 w 388"/>
                <a:gd name="T21" fmla="*/ 32 h 320"/>
                <a:gd name="T22" fmla="*/ 304 w 388"/>
                <a:gd name="T23" fmla="*/ 32 h 320"/>
                <a:gd name="T24" fmla="*/ 295 w 388"/>
                <a:gd name="T25" fmla="*/ 16 h 320"/>
                <a:gd name="T26" fmla="*/ 270 w 388"/>
                <a:gd name="T27" fmla="*/ 16 h 320"/>
                <a:gd name="T28" fmla="*/ 236 w 388"/>
                <a:gd name="T29" fmla="*/ 8 h 320"/>
                <a:gd name="T30" fmla="*/ 202 w 388"/>
                <a:gd name="T31" fmla="*/ 16 h 320"/>
                <a:gd name="T32" fmla="*/ 152 w 388"/>
                <a:gd name="T33" fmla="*/ 8 h 320"/>
                <a:gd name="T34" fmla="*/ 110 w 388"/>
                <a:gd name="T35" fmla="*/ 0 h 320"/>
                <a:gd name="T36" fmla="*/ 76 w 388"/>
                <a:gd name="T37" fmla="*/ 8 h 320"/>
                <a:gd name="T38" fmla="*/ 68 w 388"/>
                <a:gd name="T39" fmla="*/ 32 h 320"/>
                <a:gd name="T40" fmla="*/ 34 w 388"/>
                <a:gd name="T41" fmla="*/ 16 h 320"/>
                <a:gd name="T42" fmla="*/ 17 w 388"/>
                <a:gd name="T43" fmla="*/ 16 h 320"/>
                <a:gd name="T44" fmla="*/ 0 w 388"/>
                <a:gd name="T45" fmla="*/ 64 h 320"/>
                <a:gd name="T46" fmla="*/ 34 w 388"/>
                <a:gd name="T47" fmla="*/ 80 h 320"/>
                <a:gd name="T48" fmla="*/ 68 w 388"/>
                <a:gd name="T49" fmla="*/ 128 h 320"/>
                <a:gd name="T50" fmla="*/ 118 w 388"/>
                <a:gd name="T51" fmla="*/ 160 h 320"/>
                <a:gd name="T52" fmla="*/ 143 w 388"/>
                <a:gd name="T53" fmla="*/ 192 h 320"/>
                <a:gd name="T54" fmla="*/ 177 w 388"/>
                <a:gd name="T55" fmla="*/ 208 h 320"/>
                <a:gd name="T56" fmla="*/ 186 w 388"/>
                <a:gd name="T57" fmla="*/ 224 h 320"/>
                <a:gd name="T58" fmla="*/ 211 w 388"/>
                <a:gd name="T59" fmla="*/ 248 h 320"/>
                <a:gd name="T60" fmla="*/ 211 w 388"/>
                <a:gd name="T61" fmla="*/ 280 h 320"/>
                <a:gd name="T62" fmla="*/ 295 w 388"/>
                <a:gd name="T63" fmla="*/ 320 h 320"/>
                <a:gd name="T64" fmla="*/ 295 w 388"/>
                <a:gd name="T65" fmla="*/ 280 h 320"/>
                <a:gd name="T66" fmla="*/ 287 w 388"/>
                <a:gd name="T67" fmla="*/ 264 h 32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88" h="320">
                  <a:moveTo>
                    <a:pt x="287" y="264"/>
                  </a:moveTo>
                  <a:lnTo>
                    <a:pt x="312" y="248"/>
                  </a:lnTo>
                  <a:lnTo>
                    <a:pt x="320" y="216"/>
                  </a:lnTo>
                  <a:lnTo>
                    <a:pt x="346" y="216"/>
                  </a:lnTo>
                  <a:lnTo>
                    <a:pt x="337" y="192"/>
                  </a:lnTo>
                  <a:lnTo>
                    <a:pt x="388" y="176"/>
                  </a:lnTo>
                  <a:lnTo>
                    <a:pt x="362" y="136"/>
                  </a:lnTo>
                  <a:lnTo>
                    <a:pt x="388" y="120"/>
                  </a:lnTo>
                  <a:lnTo>
                    <a:pt x="346" y="96"/>
                  </a:lnTo>
                  <a:lnTo>
                    <a:pt x="337" y="64"/>
                  </a:lnTo>
                  <a:lnTo>
                    <a:pt x="337" y="32"/>
                  </a:lnTo>
                  <a:lnTo>
                    <a:pt x="304" y="32"/>
                  </a:lnTo>
                  <a:lnTo>
                    <a:pt x="295" y="16"/>
                  </a:lnTo>
                  <a:lnTo>
                    <a:pt x="270" y="16"/>
                  </a:lnTo>
                  <a:lnTo>
                    <a:pt x="236" y="8"/>
                  </a:lnTo>
                  <a:lnTo>
                    <a:pt x="202" y="16"/>
                  </a:lnTo>
                  <a:lnTo>
                    <a:pt x="152" y="8"/>
                  </a:lnTo>
                  <a:lnTo>
                    <a:pt x="110" y="0"/>
                  </a:lnTo>
                  <a:lnTo>
                    <a:pt x="76" y="8"/>
                  </a:lnTo>
                  <a:lnTo>
                    <a:pt x="68" y="32"/>
                  </a:lnTo>
                  <a:lnTo>
                    <a:pt x="34" y="16"/>
                  </a:lnTo>
                  <a:lnTo>
                    <a:pt x="17" y="16"/>
                  </a:lnTo>
                  <a:lnTo>
                    <a:pt x="0" y="64"/>
                  </a:lnTo>
                  <a:lnTo>
                    <a:pt x="34" y="80"/>
                  </a:lnTo>
                  <a:lnTo>
                    <a:pt x="68" y="128"/>
                  </a:lnTo>
                  <a:lnTo>
                    <a:pt x="118" y="160"/>
                  </a:lnTo>
                  <a:lnTo>
                    <a:pt x="143" y="192"/>
                  </a:lnTo>
                  <a:lnTo>
                    <a:pt x="177" y="208"/>
                  </a:lnTo>
                  <a:lnTo>
                    <a:pt x="186" y="224"/>
                  </a:lnTo>
                  <a:lnTo>
                    <a:pt x="211" y="248"/>
                  </a:lnTo>
                  <a:lnTo>
                    <a:pt x="211" y="280"/>
                  </a:lnTo>
                  <a:lnTo>
                    <a:pt x="295" y="320"/>
                  </a:lnTo>
                  <a:lnTo>
                    <a:pt x="295" y="280"/>
                  </a:lnTo>
                  <a:lnTo>
                    <a:pt x="287" y="26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5" name="Freeform 54"/>
            <p:cNvSpPr>
              <a:spLocks/>
            </p:cNvSpPr>
            <p:nvPr>
              <p:custDataLst>
                <p:tags r:id="rId51"/>
              </p:custDataLst>
            </p:nvPr>
          </p:nvSpPr>
          <p:spPr bwMode="auto">
            <a:xfrm>
              <a:off x="4333" y="2760"/>
              <a:ext cx="573" cy="368"/>
            </a:xfrm>
            <a:custGeom>
              <a:avLst/>
              <a:gdLst>
                <a:gd name="T0" fmla="*/ 295 w 573"/>
                <a:gd name="T1" fmla="*/ 320 h 368"/>
                <a:gd name="T2" fmla="*/ 329 w 573"/>
                <a:gd name="T3" fmla="*/ 304 h 368"/>
                <a:gd name="T4" fmla="*/ 380 w 573"/>
                <a:gd name="T5" fmla="*/ 304 h 368"/>
                <a:gd name="T6" fmla="*/ 413 w 573"/>
                <a:gd name="T7" fmla="*/ 288 h 368"/>
                <a:gd name="T8" fmla="*/ 439 w 573"/>
                <a:gd name="T9" fmla="*/ 272 h 368"/>
                <a:gd name="T10" fmla="*/ 455 w 573"/>
                <a:gd name="T11" fmla="*/ 264 h 368"/>
                <a:gd name="T12" fmla="*/ 464 w 573"/>
                <a:gd name="T13" fmla="*/ 224 h 368"/>
                <a:gd name="T14" fmla="*/ 472 w 573"/>
                <a:gd name="T15" fmla="*/ 200 h 368"/>
                <a:gd name="T16" fmla="*/ 498 w 573"/>
                <a:gd name="T17" fmla="*/ 168 h 368"/>
                <a:gd name="T18" fmla="*/ 523 w 573"/>
                <a:gd name="T19" fmla="*/ 112 h 368"/>
                <a:gd name="T20" fmla="*/ 548 w 573"/>
                <a:gd name="T21" fmla="*/ 72 h 368"/>
                <a:gd name="T22" fmla="*/ 573 w 573"/>
                <a:gd name="T23" fmla="*/ 48 h 368"/>
                <a:gd name="T24" fmla="*/ 548 w 573"/>
                <a:gd name="T25" fmla="*/ 24 h 368"/>
                <a:gd name="T26" fmla="*/ 514 w 573"/>
                <a:gd name="T27" fmla="*/ 0 h 368"/>
                <a:gd name="T28" fmla="*/ 472 w 573"/>
                <a:gd name="T29" fmla="*/ 8 h 368"/>
                <a:gd name="T30" fmla="*/ 447 w 573"/>
                <a:gd name="T31" fmla="*/ 0 h 368"/>
                <a:gd name="T32" fmla="*/ 405 w 573"/>
                <a:gd name="T33" fmla="*/ 8 h 368"/>
                <a:gd name="T34" fmla="*/ 371 w 573"/>
                <a:gd name="T35" fmla="*/ 8 h 368"/>
                <a:gd name="T36" fmla="*/ 329 w 573"/>
                <a:gd name="T37" fmla="*/ 56 h 368"/>
                <a:gd name="T38" fmla="*/ 287 w 573"/>
                <a:gd name="T39" fmla="*/ 48 h 368"/>
                <a:gd name="T40" fmla="*/ 279 w 573"/>
                <a:gd name="T41" fmla="*/ 64 h 368"/>
                <a:gd name="T42" fmla="*/ 228 w 573"/>
                <a:gd name="T43" fmla="*/ 80 h 368"/>
                <a:gd name="T44" fmla="*/ 228 w 573"/>
                <a:gd name="T45" fmla="*/ 112 h 368"/>
                <a:gd name="T46" fmla="*/ 110 w 573"/>
                <a:gd name="T47" fmla="*/ 128 h 368"/>
                <a:gd name="T48" fmla="*/ 85 w 573"/>
                <a:gd name="T49" fmla="*/ 112 h 368"/>
                <a:gd name="T50" fmla="*/ 68 w 573"/>
                <a:gd name="T51" fmla="*/ 104 h 368"/>
                <a:gd name="T52" fmla="*/ 68 w 573"/>
                <a:gd name="T53" fmla="*/ 128 h 368"/>
                <a:gd name="T54" fmla="*/ 26 w 573"/>
                <a:gd name="T55" fmla="*/ 144 h 368"/>
                <a:gd name="T56" fmla="*/ 26 w 573"/>
                <a:gd name="T57" fmla="*/ 184 h 368"/>
                <a:gd name="T58" fmla="*/ 17 w 573"/>
                <a:gd name="T59" fmla="*/ 224 h 368"/>
                <a:gd name="T60" fmla="*/ 0 w 573"/>
                <a:gd name="T61" fmla="*/ 240 h 368"/>
                <a:gd name="T62" fmla="*/ 43 w 573"/>
                <a:gd name="T63" fmla="*/ 288 h 368"/>
                <a:gd name="T64" fmla="*/ 34 w 573"/>
                <a:gd name="T65" fmla="*/ 296 h 368"/>
                <a:gd name="T66" fmla="*/ 68 w 573"/>
                <a:gd name="T67" fmla="*/ 312 h 368"/>
                <a:gd name="T68" fmla="*/ 93 w 573"/>
                <a:gd name="T69" fmla="*/ 336 h 368"/>
                <a:gd name="T70" fmla="*/ 118 w 573"/>
                <a:gd name="T71" fmla="*/ 352 h 368"/>
                <a:gd name="T72" fmla="*/ 152 w 573"/>
                <a:gd name="T73" fmla="*/ 344 h 368"/>
                <a:gd name="T74" fmla="*/ 161 w 573"/>
                <a:gd name="T75" fmla="*/ 368 h 368"/>
                <a:gd name="T76" fmla="*/ 194 w 573"/>
                <a:gd name="T77" fmla="*/ 368 h 368"/>
                <a:gd name="T78" fmla="*/ 253 w 573"/>
                <a:gd name="T79" fmla="*/ 344 h 368"/>
                <a:gd name="T80" fmla="*/ 262 w 573"/>
                <a:gd name="T81" fmla="*/ 344 h 368"/>
                <a:gd name="T82" fmla="*/ 270 w 573"/>
                <a:gd name="T83" fmla="*/ 320 h 368"/>
                <a:gd name="T84" fmla="*/ 295 w 573"/>
                <a:gd name="T85" fmla="*/ 320 h 3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3" h="368">
                  <a:moveTo>
                    <a:pt x="295" y="320"/>
                  </a:moveTo>
                  <a:lnTo>
                    <a:pt x="329" y="304"/>
                  </a:lnTo>
                  <a:lnTo>
                    <a:pt x="380" y="304"/>
                  </a:lnTo>
                  <a:lnTo>
                    <a:pt x="413" y="288"/>
                  </a:lnTo>
                  <a:lnTo>
                    <a:pt x="439" y="272"/>
                  </a:lnTo>
                  <a:lnTo>
                    <a:pt x="455" y="264"/>
                  </a:lnTo>
                  <a:lnTo>
                    <a:pt x="464" y="224"/>
                  </a:lnTo>
                  <a:lnTo>
                    <a:pt x="472" y="200"/>
                  </a:lnTo>
                  <a:lnTo>
                    <a:pt x="498" y="168"/>
                  </a:lnTo>
                  <a:lnTo>
                    <a:pt x="523" y="112"/>
                  </a:lnTo>
                  <a:lnTo>
                    <a:pt x="548" y="72"/>
                  </a:lnTo>
                  <a:lnTo>
                    <a:pt x="573" y="48"/>
                  </a:lnTo>
                  <a:lnTo>
                    <a:pt x="548" y="24"/>
                  </a:lnTo>
                  <a:lnTo>
                    <a:pt x="514" y="0"/>
                  </a:lnTo>
                  <a:lnTo>
                    <a:pt x="472" y="8"/>
                  </a:lnTo>
                  <a:lnTo>
                    <a:pt x="447" y="0"/>
                  </a:lnTo>
                  <a:lnTo>
                    <a:pt x="405" y="8"/>
                  </a:lnTo>
                  <a:lnTo>
                    <a:pt x="371" y="8"/>
                  </a:lnTo>
                  <a:lnTo>
                    <a:pt x="329" y="56"/>
                  </a:lnTo>
                  <a:lnTo>
                    <a:pt x="287" y="48"/>
                  </a:lnTo>
                  <a:lnTo>
                    <a:pt x="279" y="64"/>
                  </a:lnTo>
                  <a:lnTo>
                    <a:pt x="228" y="80"/>
                  </a:lnTo>
                  <a:lnTo>
                    <a:pt x="228" y="112"/>
                  </a:lnTo>
                  <a:lnTo>
                    <a:pt x="110" y="128"/>
                  </a:lnTo>
                  <a:lnTo>
                    <a:pt x="85" y="112"/>
                  </a:lnTo>
                  <a:lnTo>
                    <a:pt x="68" y="104"/>
                  </a:lnTo>
                  <a:lnTo>
                    <a:pt x="68" y="128"/>
                  </a:lnTo>
                  <a:lnTo>
                    <a:pt x="26" y="144"/>
                  </a:lnTo>
                  <a:lnTo>
                    <a:pt x="26" y="184"/>
                  </a:lnTo>
                  <a:lnTo>
                    <a:pt x="17" y="224"/>
                  </a:lnTo>
                  <a:lnTo>
                    <a:pt x="0" y="240"/>
                  </a:lnTo>
                  <a:lnTo>
                    <a:pt x="43" y="288"/>
                  </a:lnTo>
                  <a:lnTo>
                    <a:pt x="34" y="296"/>
                  </a:lnTo>
                  <a:lnTo>
                    <a:pt x="68" y="312"/>
                  </a:lnTo>
                  <a:lnTo>
                    <a:pt x="93" y="336"/>
                  </a:lnTo>
                  <a:lnTo>
                    <a:pt x="118" y="352"/>
                  </a:lnTo>
                  <a:lnTo>
                    <a:pt x="152" y="344"/>
                  </a:lnTo>
                  <a:lnTo>
                    <a:pt x="161" y="368"/>
                  </a:lnTo>
                  <a:lnTo>
                    <a:pt x="194" y="368"/>
                  </a:lnTo>
                  <a:lnTo>
                    <a:pt x="253" y="344"/>
                  </a:lnTo>
                  <a:lnTo>
                    <a:pt x="262" y="344"/>
                  </a:lnTo>
                  <a:lnTo>
                    <a:pt x="270" y="320"/>
                  </a:lnTo>
                  <a:lnTo>
                    <a:pt x="295" y="32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6" name="Freeform 55"/>
            <p:cNvSpPr>
              <a:spLocks/>
            </p:cNvSpPr>
            <p:nvPr>
              <p:custDataLst>
                <p:tags r:id="rId52"/>
              </p:custDataLst>
            </p:nvPr>
          </p:nvSpPr>
          <p:spPr bwMode="auto">
            <a:xfrm>
              <a:off x="4308" y="3192"/>
              <a:ext cx="388" cy="320"/>
            </a:xfrm>
            <a:custGeom>
              <a:avLst/>
              <a:gdLst>
                <a:gd name="T0" fmla="*/ 287 w 388"/>
                <a:gd name="T1" fmla="*/ 264 h 320"/>
                <a:gd name="T2" fmla="*/ 312 w 388"/>
                <a:gd name="T3" fmla="*/ 248 h 320"/>
                <a:gd name="T4" fmla="*/ 320 w 388"/>
                <a:gd name="T5" fmla="*/ 216 h 320"/>
                <a:gd name="T6" fmla="*/ 346 w 388"/>
                <a:gd name="T7" fmla="*/ 216 h 320"/>
                <a:gd name="T8" fmla="*/ 337 w 388"/>
                <a:gd name="T9" fmla="*/ 192 h 320"/>
                <a:gd name="T10" fmla="*/ 388 w 388"/>
                <a:gd name="T11" fmla="*/ 176 h 320"/>
                <a:gd name="T12" fmla="*/ 362 w 388"/>
                <a:gd name="T13" fmla="*/ 136 h 320"/>
                <a:gd name="T14" fmla="*/ 388 w 388"/>
                <a:gd name="T15" fmla="*/ 120 h 320"/>
                <a:gd name="T16" fmla="*/ 346 w 388"/>
                <a:gd name="T17" fmla="*/ 96 h 320"/>
                <a:gd name="T18" fmla="*/ 337 w 388"/>
                <a:gd name="T19" fmla="*/ 64 h 320"/>
                <a:gd name="T20" fmla="*/ 337 w 388"/>
                <a:gd name="T21" fmla="*/ 32 h 320"/>
                <a:gd name="T22" fmla="*/ 304 w 388"/>
                <a:gd name="T23" fmla="*/ 32 h 320"/>
                <a:gd name="T24" fmla="*/ 295 w 388"/>
                <a:gd name="T25" fmla="*/ 16 h 320"/>
                <a:gd name="T26" fmla="*/ 270 w 388"/>
                <a:gd name="T27" fmla="*/ 16 h 320"/>
                <a:gd name="T28" fmla="*/ 236 w 388"/>
                <a:gd name="T29" fmla="*/ 8 h 320"/>
                <a:gd name="T30" fmla="*/ 202 w 388"/>
                <a:gd name="T31" fmla="*/ 16 h 320"/>
                <a:gd name="T32" fmla="*/ 152 w 388"/>
                <a:gd name="T33" fmla="*/ 8 h 320"/>
                <a:gd name="T34" fmla="*/ 110 w 388"/>
                <a:gd name="T35" fmla="*/ 0 h 320"/>
                <a:gd name="T36" fmla="*/ 76 w 388"/>
                <a:gd name="T37" fmla="*/ 8 h 320"/>
                <a:gd name="T38" fmla="*/ 68 w 388"/>
                <a:gd name="T39" fmla="*/ 32 h 320"/>
                <a:gd name="T40" fmla="*/ 34 w 388"/>
                <a:gd name="T41" fmla="*/ 16 h 320"/>
                <a:gd name="T42" fmla="*/ 17 w 388"/>
                <a:gd name="T43" fmla="*/ 16 h 320"/>
                <a:gd name="T44" fmla="*/ 0 w 388"/>
                <a:gd name="T45" fmla="*/ 64 h 320"/>
                <a:gd name="T46" fmla="*/ 34 w 388"/>
                <a:gd name="T47" fmla="*/ 80 h 320"/>
                <a:gd name="T48" fmla="*/ 68 w 388"/>
                <a:gd name="T49" fmla="*/ 128 h 320"/>
                <a:gd name="T50" fmla="*/ 118 w 388"/>
                <a:gd name="T51" fmla="*/ 160 h 320"/>
                <a:gd name="T52" fmla="*/ 143 w 388"/>
                <a:gd name="T53" fmla="*/ 192 h 320"/>
                <a:gd name="T54" fmla="*/ 177 w 388"/>
                <a:gd name="T55" fmla="*/ 208 h 320"/>
                <a:gd name="T56" fmla="*/ 186 w 388"/>
                <a:gd name="T57" fmla="*/ 224 h 320"/>
                <a:gd name="T58" fmla="*/ 211 w 388"/>
                <a:gd name="T59" fmla="*/ 248 h 320"/>
                <a:gd name="T60" fmla="*/ 211 w 388"/>
                <a:gd name="T61" fmla="*/ 280 h 320"/>
                <a:gd name="T62" fmla="*/ 295 w 388"/>
                <a:gd name="T63" fmla="*/ 320 h 320"/>
                <a:gd name="T64" fmla="*/ 295 w 388"/>
                <a:gd name="T65" fmla="*/ 280 h 320"/>
                <a:gd name="T66" fmla="*/ 287 w 388"/>
                <a:gd name="T67" fmla="*/ 264 h 32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88" h="320">
                  <a:moveTo>
                    <a:pt x="287" y="264"/>
                  </a:moveTo>
                  <a:lnTo>
                    <a:pt x="312" y="248"/>
                  </a:lnTo>
                  <a:lnTo>
                    <a:pt x="320" y="216"/>
                  </a:lnTo>
                  <a:lnTo>
                    <a:pt x="346" y="216"/>
                  </a:lnTo>
                  <a:lnTo>
                    <a:pt x="337" y="192"/>
                  </a:lnTo>
                  <a:lnTo>
                    <a:pt x="388" y="176"/>
                  </a:lnTo>
                  <a:lnTo>
                    <a:pt x="362" y="136"/>
                  </a:lnTo>
                  <a:lnTo>
                    <a:pt x="388" y="120"/>
                  </a:lnTo>
                  <a:lnTo>
                    <a:pt x="346" y="96"/>
                  </a:lnTo>
                  <a:lnTo>
                    <a:pt x="337" y="64"/>
                  </a:lnTo>
                  <a:lnTo>
                    <a:pt x="337" y="32"/>
                  </a:lnTo>
                  <a:lnTo>
                    <a:pt x="304" y="32"/>
                  </a:lnTo>
                  <a:lnTo>
                    <a:pt x="295" y="16"/>
                  </a:lnTo>
                  <a:lnTo>
                    <a:pt x="270" y="16"/>
                  </a:lnTo>
                  <a:lnTo>
                    <a:pt x="236" y="8"/>
                  </a:lnTo>
                  <a:lnTo>
                    <a:pt x="202" y="16"/>
                  </a:lnTo>
                  <a:lnTo>
                    <a:pt x="152" y="8"/>
                  </a:lnTo>
                  <a:lnTo>
                    <a:pt x="110" y="0"/>
                  </a:lnTo>
                  <a:lnTo>
                    <a:pt x="76" y="8"/>
                  </a:lnTo>
                  <a:lnTo>
                    <a:pt x="68" y="32"/>
                  </a:lnTo>
                  <a:lnTo>
                    <a:pt x="34" y="16"/>
                  </a:lnTo>
                  <a:lnTo>
                    <a:pt x="17" y="16"/>
                  </a:lnTo>
                  <a:lnTo>
                    <a:pt x="0" y="64"/>
                  </a:lnTo>
                  <a:lnTo>
                    <a:pt x="34" y="80"/>
                  </a:lnTo>
                  <a:lnTo>
                    <a:pt x="68" y="128"/>
                  </a:lnTo>
                  <a:lnTo>
                    <a:pt x="118" y="160"/>
                  </a:lnTo>
                  <a:lnTo>
                    <a:pt x="143" y="192"/>
                  </a:lnTo>
                  <a:lnTo>
                    <a:pt x="177" y="208"/>
                  </a:lnTo>
                  <a:lnTo>
                    <a:pt x="186" y="224"/>
                  </a:lnTo>
                  <a:lnTo>
                    <a:pt x="211" y="248"/>
                  </a:lnTo>
                  <a:lnTo>
                    <a:pt x="211" y="280"/>
                  </a:lnTo>
                  <a:lnTo>
                    <a:pt x="295" y="320"/>
                  </a:lnTo>
                  <a:lnTo>
                    <a:pt x="295" y="280"/>
                  </a:lnTo>
                  <a:lnTo>
                    <a:pt x="287" y="264"/>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7" name="Freeform 56"/>
            <p:cNvSpPr>
              <a:spLocks/>
            </p:cNvSpPr>
            <p:nvPr>
              <p:custDataLst>
                <p:tags r:id="rId53"/>
              </p:custDataLst>
            </p:nvPr>
          </p:nvSpPr>
          <p:spPr bwMode="auto">
            <a:xfrm>
              <a:off x="4333" y="2760"/>
              <a:ext cx="573" cy="368"/>
            </a:xfrm>
            <a:custGeom>
              <a:avLst/>
              <a:gdLst>
                <a:gd name="T0" fmla="*/ 295 w 573"/>
                <a:gd name="T1" fmla="*/ 320 h 368"/>
                <a:gd name="T2" fmla="*/ 329 w 573"/>
                <a:gd name="T3" fmla="*/ 304 h 368"/>
                <a:gd name="T4" fmla="*/ 380 w 573"/>
                <a:gd name="T5" fmla="*/ 304 h 368"/>
                <a:gd name="T6" fmla="*/ 413 w 573"/>
                <a:gd name="T7" fmla="*/ 288 h 368"/>
                <a:gd name="T8" fmla="*/ 439 w 573"/>
                <a:gd name="T9" fmla="*/ 272 h 368"/>
                <a:gd name="T10" fmla="*/ 455 w 573"/>
                <a:gd name="T11" fmla="*/ 264 h 368"/>
                <a:gd name="T12" fmla="*/ 464 w 573"/>
                <a:gd name="T13" fmla="*/ 224 h 368"/>
                <a:gd name="T14" fmla="*/ 472 w 573"/>
                <a:gd name="T15" fmla="*/ 200 h 368"/>
                <a:gd name="T16" fmla="*/ 498 w 573"/>
                <a:gd name="T17" fmla="*/ 168 h 368"/>
                <a:gd name="T18" fmla="*/ 523 w 573"/>
                <a:gd name="T19" fmla="*/ 112 h 368"/>
                <a:gd name="T20" fmla="*/ 548 w 573"/>
                <a:gd name="T21" fmla="*/ 72 h 368"/>
                <a:gd name="T22" fmla="*/ 573 w 573"/>
                <a:gd name="T23" fmla="*/ 48 h 368"/>
                <a:gd name="T24" fmla="*/ 548 w 573"/>
                <a:gd name="T25" fmla="*/ 24 h 368"/>
                <a:gd name="T26" fmla="*/ 514 w 573"/>
                <a:gd name="T27" fmla="*/ 0 h 368"/>
                <a:gd name="T28" fmla="*/ 472 w 573"/>
                <a:gd name="T29" fmla="*/ 8 h 368"/>
                <a:gd name="T30" fmla="*/ 447 w 573"/>
                <a:gd name="T31" fmla="*/ 0 h 368"/>
                <a:gd name="T32" fmla="*/ 405 w 573"/>
                <a:gd name="T33" fmla="*/ 8 h 368"/>
                <a:gd name="T34" fmla="*/ 371 w 573"/>
                <a:gd name="T35" fmla="*/ 8 h 368"/>
                <a:gd name="T36" fmla="*/ 329 w 573"/>
                <a:gd name="T37" fmla="*/ 56 h 368"/>
                <a:gd name="T38" fmla="*/ 287 w 573"/>
                <a:gd name="T39" fmla="*/ 48 h 368"/>
                <a:gd name="T40" fmla="*/ 279 w 573"/>
                <a:gd name="T41" fmla="*/ 64 h 368"/>
                <a:gd name="T42" fmla="*/ 228 w 573"/>
                <a:gd name="T43" fmla="*/ 80 h 368"/>
                <a:gd name="T44" fmla="*/ 228 w 573"/>
                <a:gd name="T45" fmla="*/ 112 h 368"/>
                <a:gd name="T46" fmla="*/ 110 w 573"/>
                <a:gd name="T47" fmla="*/ 128 h 368"/>
                <a:gd name="T48" fmla="*/ 85 w 573"/>
                <a:gd name="T49" fmla="*/ 112 h 368"/>
                <a:gd name="T50" fmla="*/ 68 w 573"/>
                <a:gd name="T51" fmla="*/ 104 h 368"/>
                <a:gd name="T52" fmla="*/ 68 w 573"/>
                <a:gd name="T53" fmla="*/ 128 h 368"/>
                <a:gd name="T54" fmla="*/ 26 w 573"/>
                <a:gd name="T55" fmla="*/ 144 h 368"/>
                <a:gd name="T56" fmla="*/ 26 w 573"/>
                <a:gd name="T57" fmla="*/ 184 h 368"/>
                <a:gd name="T58" fmla="*/ 17 w 573"/>
                <a:gd name="T59" fmla="*/ 224 h 368"/>
                <a:gd name="T60" fmla="*/ 0 w 573"/>
                <a:gd name="T61" fmla="*/ 240 h 368"/>
                <a:gd name="T62" fmla="*/ 43 w 573"/>
                <a:gd name="T63" fmla="*/ 288 h 368"/>
                <a:gd name="T64" fmla="*/ 34 w 573"/>
                <a:gd name="T65" fmla="*/ 296 h 368"/>
                <a:gd name="T66" fmla="*/ 68 w 573"/>
                <a:gd name="T67" fmla="*/ 312 h 368"/>
                <a:gd name="T68" fmla="*/ 93 w 573"/>
                <a:gd name="T69" fmla="*/ 336 h 368"/>
                <a:gd name="T70" fmla="*/ 118 w 573"/>
                <a:gd name="T71" fmla="*/ 352 h 368"/>
                <a:gd name="T72" fmla="*/ 152 w 573"/>
                <a:gd name="T73" fmla="*/ 344 h 368"/>
                <a:gd name="T74" fmla="*/ 161 w 573"/>
                <a:gd name="T75" fmla="*/ 368 h 368"/>
                <a:gd name="T76" fmla="*/ 194 w 573"/>
                <a:gd name="T77" fmla="*/ 368 h 368"/>
                <a:gd name="T78" fmla="*/ 253 w 573"/>
                <a:gd name="T79" fmla="*/ 344 h 368"/>
                <a:gd name="T80" fmla="*/ 262 w 573"/>
                <a:gd name="T81" fmla="*/ 344 h 368"/>
                <a:gd name="T82" fmla="*/ 270 w 573"/>
                <a:gd name="T83" fmla="*/ 320 h 368"/>
                <a:gd name="T84" fmla="*/ 295 w 573"/>
                <a:gd name="T85" fmla="*/ 320 h 3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73" h="368">
                  <a:moveTo>
                    <a:pt x="295" y="320"/>
                  </a:moveTo>
                  <a:lnTo>
                    <a:pt x="329" y="304"/>
                  </a:lnTo>
                  <a:lnTo>
                    <a:pt x="380" y="304"/>
                  </a:lnTo>
                  <a:lnTo>
                    <a:pt x="413" y="288"/>
                  </a:lnTo>
                  <a:lnTo>
                    <a:pt x="439" y="272"/>
                  </a:lnTo>
                  <a:lnTo>
                    <a:pt x="455" y="264"/>
                  </a:lnTo>
                  <a:lnTo>
                    <a:pt x="464" y="224"/>
                  </a:lnTo>
                  <a:lnTo>
                    <a:pt x="472" y="200"/>
                  </a:lnTo>
                  <a:lnTo>
                    <a:pt x="498" y="168"/>
                  </a:lnTo>
                  <a:lnTo>
                    <a:pt x="523" y="112"/>
                  </a:lnTo>
                  <a:lnTo>
                    <a:pt x="548" y="72"/>
                  </a:lnTo>
                  <a:lnTo>
                    <a:pt x="573" y="48"/>
                  </a:lnTo>
                  <a:lnTo>
                    <a:pt x="548" y="24"/>
                  </a:lnTo>
                  <a:lnTo>
                    <a:pt x="514" y="0"/>
                  </a:lnTo>
                  <a:lnTo>
                    <a:pt x="472" y="8"/>
                  </a:lnTo>
                  <a:lnTo>
                    <a:pt x="447" y="0"/>
                  </a:lnTo>
                  <a:lnTo>
                    <a:pt x="405" y="8"/>
                  </a:lnTo>
                  <a:lnTo>
                    <a:pt x="371" y="8"/>
                  </a:lnTo>
                  <a:lnTo>
                    <a:pt x="329" y="56"/>
                  </a:lnTo>
                  <a:lnTo>
                    <a:pt x="287" y="48"/>
                  </a:lnTo>
                  <a:lnTo>
                    <a:pt x="279" y="64"/>
                  </a:lnTo>
                  <a:lnTo>
                    <a:pt x="228" y="80"/>
                  </a:lnTo>
                  <a:lnTo>
                    <a:pt x="228" y="112"/>
                  </a:lnTo>
                  <a:lnTo>
                    <a:pt x="110" y="128"/>
                  </a:lnTo>
                  <a:lnTo>
                    <a:pt x="85" y="112"/>
                  </a:lnTo>
                  <a:lnTo>
                    <a:pt x="68" y="104"/>
                  </a:lnTo>
                  <a:lnTo>
                    <a:pt x="68" y="128"/>
                  </a:lnTo>
                  <a:lnTo>
                    <a:pt x="26" y="144"/>
                  </a:lnTo>
                  <a:lnTo>
                    <a:pt x="26" y="184"/>
                  </a:lnTo>
                  <a:lnTo>
                    <a:pt x="17" y="224"/>
                  </a:lnTo>
                  <a:lnTo>
                    <a:pt x="0" y="240"/>
                  </a:lnTo>
                  <a:lnTo>
                    <a:pt x="43" y="288"/>
                  </a:lnTo>
                  <a:lnTo>
                    <a:pt x="34" y="296"/>
                  </a:lnTo>
                  <a:lnTo>
                    <a:pt x="68" y="312"/>
                  </a:lnTo>
                  <a:lnTo>
                    <a:pt x="93" y="336"/>
                  </a:lnTo>
                  <a:lnTo>
                    <a:pt x="118" y="352"/>
                  </a:lnTo>
                  <a:lnTo>
                    <a:pt x="152" y="344"/>
                  </a:lnTo>
                  <a:lnTo>
                    <a:pt x="161" y="368"/>
                  </a:lnTo>
                  <a:lnTo>
                    <a:pt x="194" y="368"/>
                  </a:lnTo>
                  <a:lnTo>
                    <a:pt x="253" y="344"/>
                  </a:lnTo>
                  <a:lnTo>
                    <a:pt x="262" y="344"/>
                  </a:lnTo>
                  <a:lnTo>
                    <a:pt x="270" y="320"/>
                  </a:lnTo>
                  <a:lnTo>
                    <a:pt x="295" y="320"/>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8" name="Freeform 57"/>
            <p:cNvSpPr>
              <a:spLocks/>
            </p:cNvSpPr>
            <p:nvPr>
              <p:custDataLst>
                <p:tags r:id="rId54"/>
              </p:custDataLst>
            </p:nvPr>
          </p:nvSpPr>
          <p:spPr bwMode="auto">
            <a:xfrm>
              <a:off x="4788" y="2760"/>
              <a:ext cx="26" cy="8"/>
            </a:xfrm>
            <a:custGeom>
              <a:avLst/>
              <a:gdLst>
                <a:gd name="T0" fmla="*/ 17 w 26"/>
                <a:gd name="T1" fmla="*/ 8 h 8"/>
                <a:gd name="T2" fmla="*/ 26 w 26"/>
                <a:gd name="T3" fmla="*/ 8 h 8"/>
                <a:gd name="T4" fmla="*/ 0 w 26"/>
                <a:gd name="T5" fmla="*/ 0 h 8"/>
                <a:gd name="T6" fmla="*/ 17 w 26"/>
                <a:gd name="T7" fmla="*/ 8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6" h="8">
                  <a:moveTo>
                    <a:pt x="17" y="8"/>
                  </a:moveTo>
                  <a:lnTo>
                    <a:pt x="26" y="8"/>
                  </a:lnTo>
                  <a:lnTo>
                    <a:pt x="0" y="0"/>
                  </a:lnTo>
                  <a:lnTo>
                    <a:pt x="17" y="8"/>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79" name="Freeform 58"/>
            <p:cNvSpPr>
              <a:spLocks/>
            </p:cNvSpPr>
            <p:nvPr>
              <p:custDataLst>
                <p:tags r:id="rId55"/>
              </p:custDataLst>
            </p:nvPr>
          </p:nvSpPr>
          <p:spPr bwMode="auto">
            <a:xfrm>
              <a:off x="4814" y="2768"/>
              <a:ext cx="17" cy="1"/>
            </a:xfrm>
            <a:custGeom>
              <a:avLst/>
              <a:gdLst>
                <a:gd name="T0" fmla="*/ 17 w 17"/>
                <a:gd name="T1" fmla="*/ 0 h 1"/>
                <a:gd name="T2" fmla="*/ 0 w 17"/>
                <a:gd name="T3" fmla="*/ 0 h 1"/>
                <a:gd name="T4" fmla="*/ 17 w 17"/>
                <a:gd name="T5" fmla="*/ 0 h 1"/>
                <a:gd name="T6" fmla="*/ 0 60000 65536"/>
                <a:gd name="T7" fmla="*/ 0 60000 65536"/>
                <a:gd name="T8" fmla="*/ 0 60000 65536"/>
              </a:gdLst>
              <a:ahLst/>
              <a:cxnLst>
                <a:cxn ang="T6">
                  <a:pos x="T0" y="T1"/>
                </a:cxn>
                <a:cxn ang="T7">
                  <a:pos x="T2" y="T3"/>
                </a:cxn>
                <a:cxn ang="T8">
                  <a:pos x="T4" y="T5"/>
                </a:cxn>
              </a:cxnLst>
              <a:rect l="0" t="0" r="r" b="b"/>
              <a:pathLst>
                <a:path w="17" h="1">
                  <a:moveTo>
                    <a:pt x="17" y="0"/>
                  </a:moveTo>
                  <a:lnTo>
                    <a:pt x="0" y="0"/>
                  </a:lnTo>
                  <a:lnTo>
                    <a:pt x="17" y="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0" name="Line 59"/>
            <p:cNvSpPr>
              <a:spLocks noChangeShapeType="1"/>
            </p:cNvSpPr>
            <p:nvPr>
              <p:custDataLst>
                <p:tags r:id="rId56"/>
              </p:custDataLst>
            </p:nvPr>
          </p:nvSpPr>
          <p:spPr bwMode="auto">
            <a:xfrm flipV="1">
              <a:off x="4805" y="2760"/>
              <a:ext cx="26" cy="8"/>
            </a:xfrm>
            <a:prstGeom prst="line">
              <a:avLst/>
            </a:pr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1" name="Line 60"/>
            <p:cNvSpPr>
              <a:spLocks noChangeShapeType="1"/>
            </p:cNvSpPr>
            <p:nvPr>
              <p:custDataLst>
                <p:tags r:id="rId57"/>
              </p:custDataLst>
            </p:nvPr>
          </p:nvSpPr>
          <p:spPr bwMode="auto">
            <a:xfrm flipV="1">
              <a:off x="4805" y="2760"/>
              <a:ext cx="26" cy="8"/>
            </a:xfrm>
            <a:prstGeom prst="line">
              <a:avLst/>
            </a:pr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2" name="Freeform 61"/>
            <p:cNvSpPr>
              <a:spLocks/>
            </p:cNvSpPr>
            <p:nvPr>
              <p:custDataLst>
                <p:tags r:id="rId58"/>
              </p:custDataLst>
            </p:nvPr>
          </p:nvSpPr>
          <p:spPr bwMode="auto">
            <a:xfrm>
              <a:off x="4780" y="2760"/>
              <a:ext cx="8" cy="1"/>
            </a:xfrm>
            <a:custGeom>
              <a:avLst/>
              <a:gdLst>
                <a:gd name="T0" fmla="*/ 0 w 8"/>
                <a:gd name="T1" fmla="*/ 0 h 1"/>
                <a:gd name="T2" fmla="*/ 8 w 8"/>
                <a:gd name="T3" fmla="*/ 0 h 1"/>
                <a:gd name="T4" fmla="*/ 0 w 8"/>
                <a:gd name="T5" fmla="*/ 0 h 1"/>
                <a:gd name="T6" fmla="*/ 0 60000 65536"/>
                <a:gd name="T7" fmla="*/ 0 60000 65536"/>
                <a:gd name="T8" fmla="*/ 0 60000 65536"/>
              </a:gdLst>
              <a:ahLst/>
              <a:cxnLst>
                <a:cxn ang="T6">
                  <a:pos x="T0" y="T1"/>
                </a:cxn>
                <a:cxn ang="T7">
                  <a:pos x="T2" y="T3"/>
                </a:cxn>
                <a:cxn ang="T8">
                  <a:pos x="T4" y="T5"/>
                </a:cxn>
              </a:cxnLst>
              <a:rect l="0" t="0" r="r" b="b"/>
              <a:pathLst>
                <a:path w="8" h="1">
                  <a:moveTo>
                    <a:pt x="0" y="0"/>
                  </a:moveTo>
                  <a:lnTo>
                    <a:pt x="8" y="0"/>
                  </a:lnTo>
                  <a:lnTo>
                    <a:pt x="0" y="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3" name="Freeform 62"/>
            <p:cNvSpPr>
              <a:spLocks/>
            </p:cNvSpPr>
            <p:nvPr>
              <p:custDataLst>
                <p:tags r:id="rId59"/>
              </p:custDataLst>
            </p:nvPr>
          </p:nvSpPr>
          <p:spPr bwMode="auto">
            <a:xfrm>
              <a:off x="4527" y="2664"/>
              <a:ext cx="26" cy="16"/>
            </a:xfrm>
            <a:custGeom>
              <a:avLst/>
              <a:gdLst>
                <a:gd name="T0" fmla="*/ 26 w 26"/>
                <a:gd name="T1" fmla="*/ 16 h 16"/>
                <a:gd name="T2" fmla="*/ 0 w 26"/>
                <a:gd name="T3" fmla="*/ 0 h 16"/>
                <a:gd name="T4" fmla="*/ 0 w 26"/>
                <a:gd name="T5" fmla="*/ 8 h 16"/>
                <a:gd name="T6" fmla="*/ 17 w 26"/>
                <a:gd name="T7" fmla="*/ 16 h 16"/>
                <a:gd name="T8" fmla="*/ 26 w 26"/>
                <a:gd name="T9" fmla="*/ 16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6">
                  <a:moveTo>
                    <a:pt x="26" y="16"/>
                  </a:moveTo>
                  <a:lnTo>
                    <a:pt x="0" y="0"/>
                  </a:lnTo>
                  <a:lnTo>
                    <a:pt x="0" y="8"/>
                  </a:lnTo>
                  <a:lnTo>
                    <a:pt x="17" y="16"/>
                  </a:lnTo>
                  <a:lnTo>
                    <a:pt x="26" y="16"/>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4" name="Freeform 63"/>
            <p:cNvSpPr>
              <a:spLocks/>
            </p:cNvSpPr>
            <p:nvPr>
              <p:custDataLst>
                <p:tags r:id="rId60"/>
              </p:custDataLst>
            </p:nvPr>
          </p:nvSpPr>
          <p:spPr bwMode="auto">
            <a:xfrm>
              <a:off x="4780" y="2760"/>
              <a:ext cx="8" cy="1"/>
            </a:xfrm>
            <a:custGeom>
              <a:avLst/>
              <a:gdLst>
                <a:gd name="T0" fmla="*/ 0 w 8"/>
                <a:gd name="T1" fmla="*/ 0 h 1"/>
                <a:gd name="T2" fmla="*/ 8 w 8"/>
                <a:gd name="T3" fmla="*/ 0 h 1"/>
                <a:gd name="T4" fmla="*/ 0 w 8"/>
                <a:gd name="T5" fmla="*/ 0 h 1"/>
                <a:gd name="T6" fmla="*/ 0 w 8"/>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
                  <a:moveTo>
                    <a:pt x="0" y="0"/>
                  </a:moveTo>
                  <a:lnTo>
                    <a:pt x="8" y="0"/>
                  </a:lnTo>
                  <a:lnTo>
                    <a:pt x="0" y="0"/>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5" name="Freeform 64"/>
            <p:cNvSpPr>
              <a:spLocks/>
            </p:cNvSpPr>
            <p:nvPr>
              <p:custDataLst>
                <p:tags r:id="rId61"/>
              </p:custDataLst>
            </p:nvPr>
          </p:nvSpPr>
          <p:spPr bwMode="auto">
            <a:xfrm>
              <a:off x="4527" y="2664"/>
              <a:ext cx="26" cy="16"/>
            </a:xfrm>
            <a:custGeom>
              <a:avLst/>
              <a:gdLst>
                <a:gd name="T0" fmla="*/ 26 w 26"/>
                <a:gd name="T1" fmla="*/ 16 h 16"/>
                <a:gd name="T2" fmla="*/ 0 w 26"/>
                <a:gd name="T3" fmla="*/ 0 h 16"/>
                <a:gd name="T4" fmla="*/ 0 w 26"/>
                <a:gd name="T5" fmla="*/ 8 h 16"/>
                <a:gd name="T6" fmla="*/ 17 w 26"/>
                <a:gd name="T7" fmla="*/ 16 h 16"/>
                <a:gd name="T8" fmla="*/ 26 w 26"/>
                <a:gd name="T9" fmla="*/ 16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6">
                  <a:moveTo>
                    <a:pt x="26" y="16"/>
                  </a:moveTo>
                  <a:lnTo>
                    <a:pt x="0" y="0"/>
                  </a:lnTo>
                  <a:lnTo>
                    <a:pt x="0" y="8"/>
                  </a:lnTo>
                  <a:lnTo>
                    <a:pt x="17" y="16"/>
                  </a:lnTo>
                  <a:lnTo>
                    <a:pt x="26" y="16"/>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6" name="Freeform 65"/>
            <p:cNvSpPr>
              <a:spLocks/>
            </p:cNvSpPr>
            <p:nvPr>
              <p:custDataLst>
                <p:tags r:id="rId62"/>
              </p:custDataLst>
            </p:nvPr>
          </p:nvSpPr>
          <p:spPr bwMode="auto">
            <a:xfrm>
              <a:off x="4376" y="2656"/>
              <a:ext cx="480" cy="232"/>
            </a:xfrm>
            <a:custGeom>
              <a:avLst/>
              <a:gdLst>
                <a:gd name="T0" fmla="*/ 421 w 480"/>
                <a:gd name="T1" fmla="*/ 8 h 232"/>
                <a:gd name="T2" fmla="*/ 396 w 480"/>
                <a:gd name="T3" fmla="*/ 0 h 232"/>
                <a:gd name="T4" fmla="*/ 353 w 480"/>
                <a:gd name="T5" fmla="*/ 0 h 232"/>
                <a:gd name="T6" fmla="*/ 328 w 480"/>
                <a:gd name="T7" fmla="*/ 16 h 232"/>
                <a:gd name="T8" fmla="*/ 294 w 480"/>
                <a:gd name="T9" fmla="*/ 16 h 232"/>
                <a:gd name="T10" fmla="*/ 269 w 480"/>
                <a:gd name="T11" fmla="*/ 40 h 232"/>
                <a:gd name="T12" fmla="*/ 244 w 480"/>
                <a:gd name="T13" fmla="*/ 40 h 232"/>
                <a:gd name="T14" fmla="*/ 236 w 480"/>
                <a:gd name="T15" fmla="*/ 24 h 232"/>
                <a:gd name="T16" fmla="*/ 210 w 480"/>
                <a:gd name="T17" fmla="*/ 0 h 232"/>
                <a:gd name="T18" fmla="*/ 177 w 480"/>
                <a:gd name="T19" fmla="*/ 24 h 232"/>
                <a:gd name="T20" fmla="*/ 168 w 480"/>
                <a:gd name="T21" fmla="*/ 24 h 232"/>
                <a:gd name="T22" fmla="*/ 151 w 480"/>
                <a:gd name="T23" fmla="*/ 16 h 232"/>
                <a:gd name="T24" fmla="*/ 126 w 480"/>
                <a:gd name="T25" fmla="*/ 32 h 232"/>
                <a:gd name="T26" fmla="*/ 101 w 480"/>
                <a:gd name="T27" fmla="*/ 56 h 232"/>
                <a:gd name="T28" fmla="*/ 67 w 480"/>
                <a:gd name="T29" fmla="*/ 104 h 232"/>
                <a:gd name="T30" fmla="*/ 25 w 480"/>
                <a:gd name="T31" fmla="*/ 104 h 232"/>
                <a:gd name="T32" fmla="*/ 0 w 480"/>
                <a:gd name="T33" fmla="*/ 136 h 232"/>
                <a:gd name="T34" fmla="*/ 0 w 480"/>
                <a:gd name="T35" fmla="*/ 176 h 232"/>
                <a:gd name="T36" fmla="*/ 33 w 480"/>
                <a:gd name="T37" fmla="*/ 200 h 232"/>
                <a:gd name="T38" fmla="*/ 25 w 480"/>
                <a:gd name="T39" fmla="*/ 208 h 232"/>
                <a:gd name="T40" fmla="*/ 42 w 480"/>
                <a:gd name="T41" fmla="*/ 216 h 232"/>
                <a:gd name="T42" fmla="*/ 67 w 480"/>
                <a:gd name="T43" fmla="*/ 232 h 232"/>
                <a:gd name="T44" fmla="*/ 185 w 480"/>
                <a:gd name="T45" fmla="*/ 216 h 232"/>
                <a:gd name="T46" fmla="*/ 185 w 480"/>
                <a:gd name="T47" fmla="*/ 184 h 232"/>
                <a:gd name="T48" fmla="*/ 236 w 480"/>
                <a:gd name="T49" fmla="*/ 168 h 232"/>
                <a:gd name="T50" fmla="*/ 244 w 480"/>
                <a:gd name="T51" fmla="*/ 152 h 232"/>
                <a:gd name="T52" fmla="*/ 286 w 480"/>
                <a:gd name="T53" fmla="*/ 160 h 232"/>
                <a:gd name="T54" fmla="*/ 328 w 480"/>
                <a:gd name="T55" fmla="*/ 112 h 232"/>
                <a:gd name="T56" fmla="*/ 362 w 480"/>
                <a:gd name="T57" fmla="*/ 112 h 232"/>
                <a:gd name="T58" fmla="*/ 404 w 480"/>
                <a:gd name="T59" fmla="*/ 104 h 232"/>
                <a:gd name="T60" fmla="*/ 412 w 480"/>
                <a:gd name="T61" fmla="*/ 104 h 232"/>
                <a:gd name="T62" fmla="*/ 438 w 480"/>
                <a:gd name="T63" fmla="*/ 112 h 232"/>
                <a:gd name="T64" fmla="*/ 455 w 480"/>
                <a:gd name="T65" fmla="*/ 112 h 232"/>
                <a:gd name="T66" fmla="*/ 463 w 480"/>
                <a:gd name="T67" fmla="*/ 64 h 232"/>
                <a:gd name="T68" fmla="*/ 480 w 480"/>
                <a:gd name="T69" fmla="*/ 16 h 232"/>
                <a:gd name="T70" fmla="*/ 421 w 480"/>
                <a:gd name="T71" fmla="*/ 8 h 2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480" h="232">
                  <a:moveTo>
                    <a:pt x="421" y="8"/>
                  </a:moveTo>
                  <a:lnTo>
                    <a:pt x="396" y="0"/>
                  </a:lnTo>
                  <a:lnTo>
                    <a:pt x="353" y="0"/>
                  </a:lnTo>
                  <a:lnTo>
                    <a:pt x="328" y="16"/>
                  </a:lnTo>
                  <a:lnTo>
                    <a:pt x="294" y="16"/>
                  </a:lnTo>
                  <a:lnTo>
                    <a:pt x="269" y="40"/>
                  </a:lnTo>
                  <a:lnTo>
                    <a:pt x="244" y="40"/>
                  </a:lnTo>
                  <a:lnTo>
                    <a:pt x="236" y="24"/>
                  </a:lnTo>
                  <a:lnTo>
                    <a:pt x="210" y="0"/>
                  </a:lnTo>
                  <a:lnTo>
                    <a:pt x="177" y="24"/>
                  </a:lnTo>
                  <a:lnTo>
                    <a:pt x="168" y="24"/>
                  </a:lnTo>
                  <a:lnTo>
                    <a:pt x="151" y="16"/>
                  </a:lnTo>
                  <a:lnTo>
                    <a:pt x="126" y="32"/>
                  </a:lnTo>
                  <a:lnTo>
                    <a:pt x="101" y="56"/>
                  </a:lnTo>
                  <a:lnTo>
                    <a:pt x="67" y="104"/>
                  </a:lnTo>
                  <a:lnTo>
                    <a:pt x="25" y="104"/>
                  </a:lnTo>
                  <a:lnTo>
                    <a:pt x="0" y="136"/>
                  </a:lnTo>
                  <a:lnTo>
                    <a:pt x="0" y="176"/>
                  </a:lnTo>
                  <a:lnTo>
                    <a:pt x="33" y="200"/>
                  </a:lnTo>
                  <a:lnTo>
                    <a:pt x="25" y="208"/>
                  </a:lnTo>
                  <a:lnTo>
                    <a:pt x="42" y="216"/>
                  </a:lnTo>
                  <a:lnTo>
                    <a:pt x="67" y="232"/>
                  </a:lnTo>
                  <a:lnTo>
                    <a:pt x="185" y="216"/>
                  </a:lnTo>
                  <a:lnTo>
                    <a:pt x="185" y="184"/>
                  </a:lnTo>
                  <a:lnTo>
                    <a:pt x="236" y="168"/>
                  </a:lnTo>
                  <a:lnTo>
                    <a:pt x="244" y="152"/>
                  </a:lnTo>
                  <a:lnTo>
                    <a:pt x="286" y="160"/>
                  </a:lnTo>
                  <a:lnTo>
                    <a:pt x="328" y="112"/>
                  </a:lnTo>
                  <a:lnTo>
                    <a:pt x="362" y="112"/>
                  </a:lnTo>
                  <a:lnTo>
                    <a:pt x="404" y="104"/>
                  </a:lnTo>
                  <a:lnTo>
                    <a:pt x="412" y="104"/>
                  </a:lnTo>
                  <a:lnTo>
                    <a:pt x="438" y="112"/>
                  </a:lnTo>
                  <a:lnTo>
                    <a:pt x="455" y="112"/>
                  </a:lnTo>
                  <a:lnTo>
                    <a:pt x="463" y="64"/>
                  </a:lnTo>
                  <a:lnTo>
                    <a:pt x="480" y="16"/>
                  </a:lnTo>
                  <a:lnTo>
                    <a:pt x="421" y="8"/>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7" name="Freeform 66"/>
            <p:cNvSpPr>
              <a:spLocks/>
            </p:cNvSpPr>
            <p:nvPr>
              <p:custDataLst>
                <p:tags r:id="rId63"/>
              </p:custDataLst>
            </p:nvPr>
          </p:nvSpPr>
          <p:spPr bwMode="auto">
            <a:xfrm>
              <a:off x="4595" y="3056"/>
              <a:ext cx="438" cy="504"/>
            </a:xfrm>
            <a:custGeom>
              <a:avLst/>
              <a:gdLst>
                <a:gd name="T0" fmla="*/ 126 w 438"/>
                <a:gd name="T1" fmla="*/ 424 h 504"/>
                <a:gd name="T2" fmla="*/ 160 w 438"/>
                <a:gd name="T3" fmla="*/ 440 h 504"/>
                <a:gd name="T4" fmla="*/ 185 w 438"/>
                <a:gd name="T5" fmla="*/ 440 h 504"/>
                <a:gd name="T6" fmla="*/ 202 w 438"/>
                <a:gd name="T7" fmla="*/ 456 h 504"/>
                <a:gd name="T8" fmla="*/ 236 w 438"/>
                <a:gd name="T9" fmla="*/ 496 h 504"/>
                <a:gd name="T10" fmla="*/ 252 w 438"/>
                <a:gd name="T11" fmla="*/ 504 h 504"/>
                <a:gd name="T12" fmla="*/ 261 w 438"/>
                <a:gd name="T13" fmla="*/ 472 h 504"/>
                <a:gd name="T14" fmla="*/ 286 w 438"/>
                <a:gd name="T15" fmla="*/ 464 h 504"/>
                <a:gd name="T16" fmla="*/ 311 w 438"/>
                <a:gd name="T17" fmla="*/ 456 h 504"/>
                <a:gd name="T18" fmla="*/ 370 w 438"/>
                <a:gd name="T19" fmla="*/ 432 h 504"/>
                <a:gd name="T20" fmla="*/ 413 w 438"/>
                <a:gd name="T21" fmla="*/ 432 h 504"/>
                <a:gd name="T22" fmla="*/ 421 w 438"/>
                <a:gd name="T23" fmla="*/ 400 h 504"/>
                <a:gd name="T24" fmla="*/ 404 w 438"/>
                <a:gd name="T25" fmla="*/ 392 h 504"/>
                <a:gd name="T26" fmla="*/ 404 w 438"/>
                <a:gd name="T27" fmla="*/ 360 h 504"/>
                <a:gd name="T28" fmla="*/ 421 w 438"/>
                <a:gd name="T29" fmla="*/ 352 h 504"/>
                <a:gd name="T30" fmla="*/ 438 w 438"/>
                <a:gd name="T31" fmla="*/ 312 h 504"/>
                <a:gd name="T32" fmla="*/ 396 w 438"/>
                <a:gd name="T33" fmla="*/ 280 h 504"/>
                <a:gd name="T34" fmla="*/ 379 w 438"/>
                <a:gd name="T35" fmla="*/ 248 h 504"/>
                <a:gd name="T36" fmla="*/ 370 w 438"/>
                <a:gd name="T37" fmla="*/ 216 h 504"/>
                <a:gd name="T38" fmla="*/ 387 w 438"/>
                <a:gd name="T39" fmla="*/ 184 h 504"/>
                <a:gd name="T40" fmla="*/ 370 w 438"/>
                <a:gd name="T41" fmla="*/ 176 h 504"/>
                <a:gd name="T42" fmla="*/ 370 w 438"/>
                <a:gd name="T43" fmla="*/ 136 h 504"/>
                <a:gd name="T44" fmla="*/ 328 w 438"/>
                <a:gd name="T45" fmla="*/ 160 h 504"/>
                <a:gd name="T46" fmla="*/ 286 w 438"/>
                <a:gd name="T47" fmla="*/ 144 h 504"/>
                <a:gd name="T48" fmla="*/ 244 w 438"/>
                <a:gd name="T49" fmla="*/ 136 h 504"/>
                <a:gd name="T50" fmla="*/ 261 w 438"/>
                <a:gd name="T51" fmla="*/ 104 h 504"/>
                <a:gd name="T52" fmla="*/ 219 w 438"/>
                <a:gd name="T53" fmla="*/ 88 h 504"/>
                <a:gd name="T54" fmla="*/ 185 w 438"/>
                <a:gd name="T55" fmla="*/ 64 h 504"/>
                <a:gd name="T56" fmla="*/ 177 w 438"/>
                <a:gd name="T57" fmla="*/ 40 h 504"/>
                <a:gd name="T58" fmla="*/ 143 w 438"/>
                <a:gd name="T59" fmla="*/ 16 h 504"/>
                <a:gd name="T60" fmla="*/ 126 w 438"/>
                <a:gd name="T61" fmla="*/ 0 h 504"/>
                <a:gd name="T62" fmla="*/ 118 w 438"/>
                <a:gd name="T63" fmla="*/ 8 h 504"/>
                <a:gd name="T64" fmla="*/ 67 w 438"/>
                <a:gd name="T65" fmla="*/ 8 h 504"/>
                <a:gd name="T66" fmla="*/ 33 w 438"/>
                <a:gd name="T67" fmla="*/ 24 h 504"/>
                <a:gd name="T68" fmla="*/ 8 w 438"/>
                <a:gd name="T69" fmla="*/ 24 h 504"/>
                <a:gd name="T70" fmla="*/ 0 w 438"/>
                <a:gd name="T71" fmla="*/ 48 h 504"/>
                <a:gd name="T72" fmla="*/ 8 w 438"/>
                <a:gd name="T73" fmla="*/ 80 h 504"/>
                <a:gd name="T74" fmla="*/ 33 w 438"/>
                <a:gd name="T75" fmla="*/ 112 h 504"/>
                <a:gd name="T76" fmla="*/ 59 w 438"/>
                <a:gd name="T77" fmla="*/ 120 h 504"/>
                <a:gd name="T78" fmla="*/ 33 w 438"/>
                <a:gd name="T79" fmla="*/ 128 h 504"/>
                <a:gd name="T80" fmla="*/ 33 w 438"/>
                <a:gd name="T81" fmla="*/ 160 h 504"/>
                <a:gd name="T82" fmla="*/ 8 w 438"/>
                <a:gd name="T83" fmla="*/ 152 h 504"/>
                <a:gd name="T84" fmla="*/ 17 w 438"/>
                <a:gd name="T85" fmla="*/ 168 h 504"/>
                <a:gd name="T86" fmla="*/ 50 w 438"/>
                <a:gd name="T87" fmla="*/ 168 h 504"/>
                <a:gd name="T88" fmla="*/ 50 w 438"/>
                <a:gd name="T89" fmla="*/ 200 h 504"/>
                <a:gd name="T90" fmla="*/ 59 w 438"/>
                <a:gd name="T91" fmla="*/ 232 h 504"/>
                <a:gd name="T92" fmla="*/ 101 w 438"/>
                <a:gd name="T93" fmla="*/ 256 h 504"/>
                <a:gd name="T94" fmla="*/ 75 w 438"/>
                <a:gd name="T95" fmla="*/ 272 h 504"/>
                <a:gd name="T96" fmla="*/ 101 w 438"/>
                <a:gd name="T97" fmla="*/ 312 h 504"/>
                <a:gd name="T98" fmla="*/ 50 w 438"/>
                <a:gd name="T99" fmla="*/ 328 h 504"/>
                <a:gd name="T100" fmla="*/ 59 w 438"/>
                <a:gd name="T101" fmla="*/ 352 h 504"/>
                <a:gd name="T102" fmla="*/ 33 w 438"/>
                <a:gd name="T103" fmla="*/ 352 h 504"/>
                <a:gd name="T104" fmla="*/ 25 w 438"/>
                <a:gd name="T105" fmla="*/ 384 h 504"/>
                <a:gd name="T106" fmla="*/ 0 w 438"/>
                <a:gd name="T107" fmla="*/ 400 h 504"/>
                <a:gd name="T108" fmla="*/ 8 w 438"/>
                <a:gd name="T109" fmla="*/ 416 h 504"/>
                <a:gd name="T110" fmla="*/ 8 w 438"/>
                <a:gd name="T111" fmla="*/ 456 h 504"/>
                <a:gd name="T112" fmla="*/ 17 w 438"/>
                <a:gd name="T113" fmla="*/ 456 h 504"/>
                <a:gd name="T114" fmla="*/ 101 w 438"/>
                <a:gd name="T115" fmla="*/ 504 h 504"/>
                <a:gd name="T116" fmla="*/ 101 w 438"/>
                <a:gd name="T117" fmla="*/ 496 h 504"/>
                <a:gd name="T118" fmla="*/ 126 w 438"/>
                <a:gd name="T119" fmla="*/ 424 h 5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38" h="504">
                  <a:moveTo>
                    <a:pt x="126" y="424"/>
                  </a:moveTo>
                  <a:lnTo>
                    <a:pt x="160" y="440"/>
                  </a:lnTo>
                  <a:lnTo>
                    <a:pt x="185" y="440"/>
                  </a:lnTo>
                  <a:lnTo>
                    <a:pt x="202" y="456"/>
                  </a:lnTo>
                  <a:lnTo>
                    <a:pt x="236" y="496"/>
                  </a:lnTo>
                  <a:lnTo>
                    <a:pt x="252" y="504"/>
                  </a:lnTo>
                  <a:lnTo>
                    <a:pt x="261" y="472"/>
                  </a:lnTo>
                  <a:lnTo>
                    <a:pt x="286" y="464"/>
                  </a:lnTo>
                  <a:lnTo>
                    <a:pt x="311" y="456"/>
                  </a:lnTo>
                  <a:lnTo>
                    <a:pt x="370" y="432"/>
                  </a:lnTo>
                  <a:lnTo>
                    <a:pt x="413" y="432"/>
                  </a:lnTo>
                  <a:lnTo>
                    <a:pt x="421" y="400"/>
                  </a:lnTo>
                  <a:lnTo>
                    <a:pt x="404" y="392"/>
                  </a:lnTo>
                  <a:lnTo>
                    <a:pt x="404" y="360"/>
                  </a:lnTo>
                  <a:lnTo>
                    <a:pt x="421" y="352"/>
                  </a:lnTo>
                  <a:lnTo>
                    <a:pt x="438" y="312"/>
                  </a:lnTo>
                  <a:lnTo>
                    <a:pt x="396" y="280"/>
                  </a:lnTo>
                  <a:lnTo>
                    <a:pt x="379" y="248"/>
                  </a:lnTo>
                  <a:lnTo>
                    <a:pt x="370" y="216"/>
                  </a:lnTo>
                  <a:lnTo>
                    <a:pt x="387" y="184"/>
                  </a:lnTo>
                  <a:lnTo>
                    <a:pt x="370" y="176"/>
                  </a:lnTo>
                  <a:lnTo>
                    <a:pt x="370" y="136"/>
                  </a:lnTo>
                  <a:lnTo>
                    <a:pt x="328" y="160"/>
                  </a:lnTo>
                  <a:lnTo>
                    <a:pt x="286" y="144"/>
                  </a:lnTo>
                  <a:lnTo>
                    <a:pt x="244" y="136"/>
                  </a:lnTo>
                  <a:lnTo>
                    <a:pt x="261" y="104"/>
                  </a:lnTo>
                  <a:lnTo>
                    <a:pt x="219" y="88"/>
                  </a:lnTo>
                  <a:lnTo>
                    <a:pt x="185" y="64"/>
                  </a:lnTo>
                  <a:lnTo>
                    <a:pt x="177" y="40"/>
                  </a:lnTo>
                  <a:lnTo>
                    <a:pt x="143" y="16"/>
                  </a:lnTo>
                  <a:lnTo>
                    <a:pt x="126" y="0"/>
                  </a:lnTo>
                  <a:lnTo>
                    <a:pt x="118" y="8"/>
                  </a:lnTo>
                  <a:lnTo>
                    <a:pt x="67" y="8"/>
                  </a:lnTo>
                  <a:lnTo>
                    <a:pt x="33" y="24"/>
                  </a:lnTo>
                  <a:lnTo>
                    <a:pt x="8" y="24"/>
                  </a:lnTo>
                  <a:lnTo>
                    <a:pt x="0" y="48"/>
                  </a:lnTo>
                  <a:lnTo>
                    <a:pt x="8" y="80"/>
                  </a:lnTo>
                  <a:lnTo>
                    <a:pt x="33" y="112"/>
                  </a:lnTo>
                  <a:lnTo>
                    <a:pt x="59" y="120"/>
                  </a:lnTo>
                  <a:lnTo>
                    <a:pt x="33" y="128"/>
                  </a:lnTo>
                  <a:lnTo>
                    <a:pt x="33" y="160"/>
                  </a:lnTo>
                  <a:lnTo>
                    <a:pt x="8" y="152"/>
                  </a:lnTo>
                  <a:lnTo>
                    <a:pt x="17" y="168"/>
                  </a:lnTo>
                  <a:lnTo>
                    <a:pt x="50" y="168"/>
                  </a:lnTo>
                  <a:lnTo>
                    <a:pt x="50" y="200"/>
                  </a:lnTo>
                  <a:lnTo>
                    <a:pt x="59" y="232"/>
                  </a:lnTo>
                  <a:lnTo>
                    <a:pt x="101" y="256"/>
                  </a:lnTo>
                  <a:lnTo>
                    <a:pt x="75" y="272"/>
                  </a:lnTo>
                  <a:lnTo>
                    <a:pt x="101" y="312"/>
                  </a:lnTo>
                  <a:lnTo>
                    <a:pt x="50" y="328"/>
                  </a:lnTo>
                  <a:lnTo>
                    <a:pt x="59" y="352"/>
                  </a:lnTo>
                  <a:lnTo>
                    <a:pt x="33" y="352"/>
                  </a:lnTo>
                  <a:lnTo>
                    <a:pt x="25" y="384"/>
                  </a:lnTo>
                  <a:lnTo>
                    <a:pt x="0" y="400"/>
                  </a:lnTo>
                  <a:lnTo>
                    <a:pt x="8" y="416"/>
                  </a:lnTo>
                  <a:lnTo>
                    <a:pt x="8" y="456"/>
                  </a:lnTo>
                  <a:lnTo>
                    <a:pt x="17" y="456"/>
                  </a:lnTo>
                  <a:lnTo>
                    <a:pt x="101" y="504"/>
                  </a:lnTo>
                  <a:lnTo>
                    <a:pt x="101" y="496"/>
                  </a:lnTo>
                  <a:lnTo>
                    <a:pt x="126" y="42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8" name="Freeform 67"/>
            <p:cNvSpPr>
              <a:spLocks/>
            </p:cNvSpPr>
            <p:nvPr>
              <p:custDataLst>
                <p:tags r:id="rId64"/>
              </p:custDataLst>
            </p:nvPr>
          </p:nvSpPr>
          <p:spPr bwMode="auto">
            <a:xfrm>
              <a:off x="4376" y="2656"/>
              <a:ext cx="480" cy="232"/>
            </a:xfrm>
            <a:custGeom>
              <a:avLst/>
              <a:gdLst>
                <a:gd name="T0" fmla="*/ 421 w 480"/>
                <a:gd name="T1" fmla="*/ 8 h 232"/>
                <a:gd name="T2" fmla="*/ 396 w 480"/>
                <a:gd name="T3" fmla="*/ 0 h 232"/>
                <a:gd name="T4" fmla="*/ 353 w 480"/>
                <a:gd name="T5" fmla="*/ 0 h 232"/>
                <a:gd name="T6" fmla="*/ 328 w 480"/>
                <a:gd name="T7" fmla="*/ 16 h 232"/>
                <a:gd name="T8" fmla="*/ 294 w 480"/>
                <a:gd name="T9" fmla="*/ 16 h 232"/>
                <a:gd name="T10" fmla="*/ 269 w 480"/>
                <a:gd name="T11" fmla="*/ 40 h 232"/>
                <a:gd name="T12" fmla="*/ 244 w 480"/>
                <a:gd name="T13" fmla="*/ 40 h 232"/>
                <a:gd name="T14" fmla="*/ 236 w 480"/>
                <a:gd name="T15" fmla="*/ 24 h 232"/>
                <a:gd name="T16" fmla="*/ 210 w 480"/>
                <a:gd name="T17" fmla="*/ 0 h 232"/>
                <a:gd name="T18" fmla="*/ 177 w 480"/>
                <a:gd name="T19" fmla="*/ 24 h 232"/>
                <a:gd name="T20" fmla="*/ 168 w 480"/>
                <a:gd name="T21" fmla="*/ 24 h 232"/>
                <a:gd name="T22" fmla="*/ 151 w 480"/>
                <a:gd name="T23" fmla="*/ 16 h 232"/>
                <a:gd name="T24" fmla="*/ 126 w 480"/>
                <a:gd name="T25" fmla="*/ 32 h 232"/>
                <a:gd name="T26" fmla="*/ 101 w 480"/>
                <a:gd name="T27" fmla="*/ 56 h 232"/>
                <a:gd name="T28" fmla="*/ 67 w 480"/>
                <a:gd name="T29" fmla="*/ 104 h 232"/>
                <a:gd name="T30" fmla="*/ 25 w 480"/>
                <a:gd name="T31" fmla="*/ 104 h 232"/>
                <a:gd name="T32" fmla="*/ 0 w 480"/>
                <a:gd name="T33" fmla="*/ 136 h 232"/>
                <a:gd name="T34" fmla="*/ 0 w 480"/>
                <a:gd name="T35" fmla="*/ 176 h 232"/>
                <a:gd name="T36" fmla="*/ 33 w 480"/>
                <a:gd name="T37" fmla="*/ 200 h 232"/>
                <a:gd name="T38" fmla="*/ 25 w 480"/>
                <a:gd name="T39" fmla="*/ 208 h 232"/>
                <a:gd name="T40" fmla="*/ 42 w 480"/>
                <a:gd name="T41" fmla="*/ 216 h 232"/>
                <a:gd name="T42" fmla="*/ 67 w 480"/>
                <a:gd name="T43" fmla="*/ 232 h 232"/>
                <a:gd name="T44" fmla="*/ 185 w 480"/>
                <a:gd name="T45" fmla="*/ 216 h 232"/>
                <a:gd name="T46" fmla="*/ 185 w 480"/>
                <a:gd name="T47" fmla="*/ 184 h 232"/>
                <a:gd name="T48" fmla="*/ 236 w 480"/>
                <a:gd name="T49" fmla="*/ 168 h 232"/>
                <a:gd name="T50" fmla="*/ 244 w 480"/>
                <a:gd name="T51" fmla="*/ 152 h 232"/>
                <a:gd name="T52" fmla="*/ 286 w 480"/>
                <a:gd name="T53" fmla="*/ 160 h 232"/>
                <a:gd name="T54" fmla="*/ 328 w 480"/>
                <a:gd name="T55" fmla="*/ 112 h 232"/>
                <a:gd name="T56" fmla="*/ 362 w 480"/>
                <a:gd name="T57" fmla="*/ 112 h 232"/>
                <a:gd name="T58" fmla="*/ 404 w 480"/>
                <a:gd name="T59" fmla="*/ 104 h 232"/>
                <a:gd name="T60" fmla="*/ 404 w 480"/>
                <a:gd name="T61" fmla="*/ 104 h 232"/>
                <a:gd name="T62" fmla="*/ 412 w 480"/>
                <a:gd name="T63" fmla="*/ 104 h 232"/>
                <a:gd name="T64" fmla="*/ 438 w 480"/>
                <a:gd name="T65" fmla="*/ 112 h 232"/>
                <a:gd name="T66" fmla="*/ 455 w 480"/>
                <a:gd name="T67" fmla="*/ 112 h 232"/>
                <a:gd name="T68" fmla="*/ 463 w 480"/>
                <a:gd name="T69" fmla="*/ 64 h 232"/>
                <a:gd name="T70" fmla="*/ 480 w 480"/>
                <a:gd name="T71" fmla="*/ 16 h 232"/>
                <a:gd name="T72" fmla="*/ 421 w 480"/>
                <a:gd name="T73" fmla="*/ 8 h 23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80" h="232">
                  <a:moveTo>
                    <a:pt x="421" y="8"/>
                  </a:moveTo>
                  <a:lnTo>
                    <a:pt x="396" y="0"/>
                  </a:lnTo>
                  <a:lnTo>
                    <a:pt x="353" y="0"/>
                  </a:lnTo>
                  <a:lnTo>
                    <a:pt x="328" y="16"/>
                  </a:lnTo>
                  <a:lnTo>
                    <a:pt x="294" y="16"/>
                  </a:lnTo>
                  <a:lnTo>
                    <a:pt x="269" y="40"/>
                  </a:lnTo>
                  <a:lnTo>
                    <a:pt x="244" y="40"/>
                  </a:lnTo>
                  <a:lnTo>
                    <a:pt x="236" y="24"/>
                  </a:lnTo>
                  <a:lnTo>
                    <a:pt x="210" y="0"/>
                  </a:lnTo>
                  <a:lnTo>
                    <a:pt x="177" y="24"/>
                  </a:lnTo>
                  <a:lnTo>
                    <a:pt x="168" y="24"/>
                  </a:lnTo>
                  <a:lnTo>
                    <a:pt x="151" y="16"/>
                  </a:lnTo>
                  <a:lnTo>
                    <a:pt x="126" y="32"/>
                  </a:lnTo>
                  <a:lnTo>
                    <a:pt x="101" y="56"/>
                  </a:lnTo>
                  <a:lnTo>
                    <a:pt x="67" y="104"/>
                  </a:lnTo>
                  <a:lnTo>
                    <a:pt x="25" y="104"/>
                  </a:lnTo>
                  <a:lnTo>
                    <a:pt x="0" y="136"/>
                  </a:lnTo>
                  <a:lnTo>
                    <a:pt x="0" y="176"/>
                  </a:lnTo>
                  <a:lnTo>
                    <a:pt x="33" y="200"/>
                  </a:lnTo>
                  <a:lnTo>
                    <a:pt x="25" y="208"/>
                  </a:lnTo>
                  <a:lnTo>
                    <a:pt x="42" y="216"/>
                  </a:lnTo>
                  <a:lnTo>
                    <a:pt x="67" y="232"/>
                  </a:lnTo>
                  <a:lnTo>
                    <a:pt x="185" y="216"/>
                  </a:lnTo>
                  <a:lnTo>
                    <a:pt x="185" y="184"/>
                  </a:lnTo>
                  <a:lnTo>
                    <a:pt x="236" y="168"/>
                  </a:lnTo>
                  <a:lnTo>
                    <a:pt x="244" y="152"/>
                  </a:lnTo>
                  <a:lnTo>
                    <a:pt x="286" y="160"/>
                  </a:lnTo>
                  <a:lnTo>
                    <a:pt x="328" y="112"/>
                  </a:lnTo>
                  <a:lnTo>
                    <a:pt x="362" y="112"/>
                  </a:lnTo>
                  <a:lnTo>
                    <a:pt x="404" y="104"/>
                  </a:lnTo>
                  <a:lnTo>
                    <a:pt x="412" y="104"/>
                  </a:lnTo>
                  <a:lnTo>
                    <a:pt x="438" y="112"/>
                  </a:lnTo>
                  <a:lnTo>
                    <a:pt x="455" y="112"/>
                  </a:lnTo>
                  <a:lnTo>
                    <a:pt x="463" y="64"/>
                  </a:lnTo>
                  <a:lnTo>
                    <a:pt x="480" y="16"/>
                  </a:lnTo>
                  <a:lnTo>
                    <a:pt x="421" y="8"/>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89" name="Freeform 68"/>
            <p:cNvSpPr>
              <a:spLocks/>
            </p:cNvSpPr>
            <p:nvPr>
              <p:custDataLst>
                <p:tags r:id="rId65"/>
              </p:custDataLst>
            </p:nvPr>
          </p:nvSpPr>
          <p:spPr bwMode="auto">
            <a:xfrm>
              <a:off x="4595" y="3056"/>
              <a:ext cx="438" cy="504"/>
            </a:xfrm>
            <a:custGeom>
              <a:avLst/>
              <a:gdLst>
                <a:gd name="T0" fmla="*/ 126 w 438"/>
                <a:gd name="T1" fmla="*/ 424 h 504"/>
                <a:gd name="T2" fmla="*/ 160 w 438"/>
                <a:gd name="T3" fmla="*/ 440 h 504"/>
                <a:gd name="T4" fmla="*/ 185 w 438"/>
                <a:gd name="T5" fmla="*/ 440 h 504"/>
                <a:gd name="T6" fmla="*/ 202 w 438"/>
                <a:gd name="T7" fmla="*/ 456 h 504"/>
                <a:gd name="T8" fmla="*/ 236 w 438"/>
                <a:gd name="T9" fmla="*/ 496 h 504"/>
                <a:gd name="T10" fmla="*/ 252 w 438"/>
                <a:gd name="T11" fmla="*/ 504 h 504"/>
                <a:gd name="T12" fmla="*/ 261 w 438"/>
                <a:gd name="T13" fmla="*/ 472 h 504"/>
                <a:gd name="T14" fmla="*/ 286 w 438"/>
                <a:gd name="T15" fmla="*/ 464 h 504"/>
                <a:gd name="T16" fmla="*/ 311 w 438"/>
                <a:gd name="T17" fmla="*/ 456 h 504"/>
                <a:gd name="T18" fmla="*/ 370 w 438"/>
                <a:gd name="T19" fmla="*/ 432 h 504"/>
                <a:gd name="T20" fmla="*/ 413 w 438"/>
                <a:gd name="T21" fmla="*/ 432 h 504"/>
                <a:gd name="T22" fmla="*/ 421 w 438"/>
                <a:gd name="T23" fmla="*/ 400 h 504"/>
                <a:gd name="T24" fmla="*/ 404 w 438"/>
                <a:gd name="T25" fmla="*/ 392 h 504"/>
                <a:gd name="T26" fmla="*/ 404 w 438"/>
                <a:gd name="T27" fmla="*/ 360 h 504"/>
                <a:gd name="T28" fmla="*/ 421 w 438"/>
                <a:gd name="T29" fmla="*/ 352 h 504"/>
                <a:gd name="T30" fmla="*/ 438 w 438"/>
                <a:gd name="T31" fmla="*/ 312 h 504"/>
                <a:gd name="T32" fmla="*/ 396 w 438"/>
                <a:gd name="T33" fmla="*/ 280 h 504"/>
                <a:gd name="T34" fmla="*/ 379 w 438"/>
                <a:gd name="T35" fmla="*/ 248 h 504"/>
                <a:gd name="T36" fmla="*/ 370 w 438"/>
                <a:gd name="T37" fmla="*/ 216 h 504"/>
                <a:gd name="T38" fmla="*/ 387 w 438"/>
                <a:gd name="T39" fmla="*/ 184 h 504"/>
                <a:gd name="T40" fmla="*/ 370 w 438"/>
                <a:gd name="T41" fmla="*/ 176 h 504"/>
                <a:gd name="T42" fmla="*/ 370 w 438"/>
                <a:gd name="T43" fmla="*/ 136 h 504"/>
                <a:gd name="T44" fmla="*/ 328 w 438"/>
                <a:gd name="T45" fmla="*/ 160 h 504"/>
                <a:gd name="T46" fmla="*/ 286 w 438"/>
                <a:gd name="T47" fmla="*/ 144 h 504"/>
                <a:gd name="T48" fmla="*/ 244 w 438"/>
                <a:gd name="T49" fmla="*/ 136 h 504"/>
                <a:gd name="T50" fmla="*/ 261 w 438"/>
                <a:gd name="T51" fmla="*/ 104 h 504"/>
                <a:gd name="T52" fmla="*/ 219 w 438"/>
                <a:gd name="T53" fmla="*/ 88 h 504"/>
                <a:gd name="T54" fmla="*/ 185 w 438"/>
                <a:gd name="T55" fmla="*/ 64 h 504"/>
                <a:gd name="T56" fmla="*/ 177 w 438"/>
                <a:gd name="T57" fmla="*/ 40 h 504"/>
                <a:gd name="T58" fmla="*/ 143 w 438"/>
                <a:gd name="T59" fmla="*/ 16 h 504"/>
                <a:gd name="T60" fmla="*/ 126 w 438"/>
                <a:gd name="T61" fmla="*/ 0 h 504"/>
                <a:gd name="T62" fmla="*/ 118 w 438"/>
                <a:gd name="T63" fmla="*/ 8 h 504"/>
                <a:gd name="T64" fmla="*/ 67 w 438"/>
                <a:gd name="T65" fmla="*/ 8 h 504"/>
                <a:gd name="T66" fmla="*/ 33 w 438"/>
                <a:gd name="T67" fmla="*/ 24 h 504"/>
                <a:gd name="T68" fmla="*/ 8 w 438"/>
                <a:gd name="T69" fmla="*/ 24 h 504"/>
                <a:gd name="T70" fmla="*/ 0 w 438"/>
                <a:gd name="T71" fmla="*/ 48 h 504"/>
                <a:gd name="T72" fmla="*/ 8 w 438"/>
                <a:gd name="T73" fmla="*/ 80 h 504"/>
                <a:gd name="T74" fmla="*/ 33 w 438"/>
                <a:gd name="T75" fmla="*/ 112 h 504"/>
                <a:gd name="T76" fmla="*/ 59 w 438"/>
                <a:gd name="T77" fmla="*/ 120 h 504"/>
                <a:gd name="T78" fmla="*/ 33 w 438"/>
                <a:gd name="T79" fmla="*/ 128 h 504"/>
                <a:gd name="T80" fmla="*/ 33 w 438"/>
                <a:gd name="T81" fmla="*/ 160 h 504"/>
                <a:gd name="T82" fmla="*/ 8 w 438"/>
                <a:gd name="T83" fmla="*/ 152 h 504"/>
                <a:gd name="T84" fmla="*/ 17 w 438"/>
                <a:gd name="T85" fmla="*/ 168 h 504"/>
                <a:gd name="T86" fmla="*/ 50 w 438"/>
                <a:gd name="T87" fmla="*/ 168 h 504"/>
                <a:gd name="T88" fmla="*/ 50 w 438"/>
                <a:gd name="T89" fmla="*/ 200 h 504"/>
                <a:gd name="T90" fmla="*/ 59 w 438"/>
                <a:gd name="T91" fmla="*/ 232 h 504"/>
                <a:gd name="T92" fmla="*/ 101 w 438"/>
                <a:gd name="T93" fmla="*/ 256 h 504"/>
                <a:gd name="T94" fmla="*/ 75 w 438"/>
                <a:gd name="T95" fmla="*/ 272 h 504"/>
                <a:gd name="T96" fmla="*/ 101 w 438"/>
                <a:gd name="T97" fmla="*/ 312 h 504"/>
                <a:gd name="T98" fmla="*/ 50 w 438"/>
                <a:gd name="T99" fmla="*/ 328 h 504"/>
                <a:gd name="T100" fmla="*/ 59 w 438"/>
                <a:gd name="T101" fmla="*/ 352 h 504"/>
                <a:gd name="T102" fmla="*/ 33 w 438"/>
                <a:gd name="T103" fmla="*/ 352 h 504"/>
                <a:gd name="T104" fmla="*/ 25 w 438"/>
                <a:gd name="T105" fmla="*/ 384 h 504"/>
                <a:gd name="T106" fmla="*/ 0 w 438"/>
                <a:gd name="T107" fmla="*/ 400 h 504"/>
                <a:gd name="T108" fmla="*/ 8 w 438"/>
                <a:gd name="T109" fmla="*/ 416 h 504"/>
                <a:gd name="T110" fmla="*/ 8 w 438"/>
                <a:gd name="T111" fmla="*/ 456 h 504"/>
                <a:gd name="T112" fmla="*/ 17 w 438"/>
                <a:gd name="T113" fmla="*/ 456 h 504"/>
                <a:gd name="T114" fmla="*/ 101 w 438"/>
                <a:gd name="T115" fmla="*/ 504 h 504"/>
                <a:gd name="T116" fmla="*/ 101 w 438"/>
                <a:gd name="T117" fmla="*/ 496 h 504"/>
                <a:gd name="T118" fmla="*/ 126 w 438"/>
                <a:gd name="T119" fmla="*/ 424 h 5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38" h="504">
                  <a:moveTo>
                    <a:pt x="126" y="424"/>
                  </a:moveTo>
                  <a:lnTo>
                    <a:pt x="160" y="440"/>
                  </a:lnTo>
                  <a:lnTo>
                    <a:pt x="185" y="440"/>
                  </a:lnTo>
                  <a:lnTo>
                    <a:pt x="202" y="456"/>
                  </a:lnTo>
                  <a:lnTo>
                    <a:pt x="236" y="496"/>
                  </a:lnTo>
                  <a:lnTo>
                    <a:pt x="252" y="504"/>
                  </a:lnTo>
                  <a:lnTo>
                    <a:pt x="261" y="472"/>
                  </a:lnTo>
                  <a:lnTo>
                    <a:pt x="286" y="464"/>
                  </a:lnTo>
                  <a:lnTo>
                    <a:pt x="311" y="456"/>
                  </a:lnTo>
                  <a:lnTo>
                    <a:pt x="370" y="432"/>
                  </a:lnTo>
                  <a:lnTo>
                    <a:pt x="413" y="432"/>
                  </a:lnTo>
                  <a:lnTo>
                    <a:pt x="421" y="400"/>
                  </a:lnTo>
                  <a:lnTo>
                    <a:pt x="404" y="392"/>
                  </a:lnTo>
                  <a:lnTo>
                    <a:pt x="404" y="360"/>
                  </a:lnTo>
                  <a:lnTo>
                    <a:pt x="421" y="352"/>
                  </a:lnTo>
                  <a:lnTo>
                    <a:pt x="438" y="312"/>
                  </a:lnTo>
                  <a:lnTo>
                    <a:pt x="396" y="280"/>
                  </a:lnTo>
                  <a:lnTo>
                    <a:pt x="379" y="248"/>
                  </a:lnTo>
                  <a:lnTo>
                    <a:pt x="370" y="216"/>
                  </a:lnTo>
                  <a:lnTo>
                    <a:pt x="387" y="184"/>
                  </a:lnTo>
                  <a:lnTo>
                    <a:pt x="370" y="176"/>
                  </a:lnTo>
                  <a:lnTo>
                    <a:pt x="370" y="136"/>
                  </a:lnTo>
                  <a:lnTo>
                    <a:pt x="328" y="160"/>
                  </a:lnTo>
                  <a:lnTo>
                    <a:pt x="286" y="144"/>
                  </a:lnTo>
                  <a:lnTo>
                    <a:pt x="244" y="136"/>
                  </a:lnTo>
                  <a:lnTo>
                    <a:pt x="261" y="104"/>
                  </a:lnTo>
                  <a:lnTo>
                    <a:pt x="219" y="88"/>
                  </a:lnTo>
                  <a:lnTo>
                    <a:pt x="185" y="64"/>
                  </a:lnTo>
                  <a:lnTo>
                    <a:pt x="177" y="40"/>
                  </a:lnTo>
                  <a:lnTo>
                    <a:pt x="143" y="16"/>
                  </a:lnTo>
                  <a:lnTo>
                    <a:pt x="126" y="0"/>
                  </a:lnTo>
                  <a:lnTo>
                    <a:pt x="118" y="8"/>
                  </a:lnTo>
                  <a:lnTo>
                    <a:pt x="67" y="8"/>
                  </a:lnTo>
                  <a:lnTo>
                    <a:pt x="33" y="24"/>
                  </a:lnTo>
                  <a:lnTo>
                    <a:pt x="8" y="24"/>
                  </a:lnTo>
                  <a:lnTo>
                    <a:pt x="0" y="48"/>
                  </a:lnTo>
                  <a:lnTo>
                    <a:pt x="8" y="80"/>
                  </a:lnTo>
                  <a:lnTo>
                    <a:pt x="33" y="112"/>
                  </a:lnTo>
                  <a:lnTo>
                    <a:pt x="59" y="120"/>
                  </a:lnTo>
                  <a:lnTo>
                    <a:pt x="33" y="128"/>
                  </a:lnTo>
                  <a:lnTo>
                    <a:pt x="33" y="160"/>
                  </a:lnTo>
                  <a:lnTo>
                    <a:pt x="8" y="152"/>
                  </a:lnTo>
                  <a:lnTo>
                    <a:pt x="17" y="168"/>
                  </a:lnTo>
                  <a:lnTo>
                    <a:pt x="50" y="168"/>
                  </a:lnTo>
                  <a:lnTo>
                    <a:pt x="50" y="200"/>
                  </a:lnTo>
                  <a:lnTo>
                    <a:pt x="59" y="232"/>
                  </a:lnTo>
                  <a:lnTo>
                    <a:pt x="101" y="256"/>
                  </a:lnTo>
                  <a:lnTo>
                    <a:pt x="75" y="272"/>
                  </a:lnTo>
                  <a:lnTo>
                    <a:pt x="101" y="312"/>
                  </a:lnTo>
                  <a:lnTo>
                    <a:pt x="50" y="328"/>
                  </a:lnTo>
                  <a:lnTo>
                    <a:pt x="59" y="352"/>
                  </a:lnTo>
                  <a:lnTo>
                    <a:pt x="33" y="352"/>
                  </a:lnTo>
                  <a:lnTo>
                    <a:pt x="25" y="384"/>
                  </a:lnTo>
                  <a:lnTo>
                    <a:pt x="0" y="400"/>
                  </a:lnTo>
                  <a:lnTo>
                    <a:pt x="8" y="416"/>
                  </a:lnTo>
                  <a:lnTo>
                    <a:pt x="8" y="456"/>
                  </a:lnTo>
                  <a:lnTo>
                    <a:pt x="17" y="456"/>
                  </a:lnTo>
                  <a:lnTo>
                    <a:pt x="101" y="504"/>
                  </a:lnTo>
                  <a:lnTo>
                    <a:pt x="101" y="496"/>
                  </a:lnTo>
                  <a:lnTo>
                    <a:pt x="126" y="424"/>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0" name="Freeform 69"/>
            <p:cNvSpPr>
              <a:spLocks/>
            </p:cNvSpPr>
            <p:nvPr>
              <p:custDataLst>
                <p:tags r:id="rId66"/>
              </p:custDataLst>
            </p:nvPr>
          </p:nvSpPr>
          <p:spPr bwMode="auto">
            <a:xfrm>
              <a:off x="4696" y="3480"/>
              <a:ext cx="210" cy="352"/>
            </a:xfrm>
            <a:custGeom>
              <a:avLst/>
              <a:gdLst>
                <a:gd name="T0" fmla="*/ 151 w 210"/>
                <a:gd name="T1" fmla="*/ 304 h 352"/>
                <a:gd name="T2" fmla="*/ 185 w 210"/>
                <a:gd name="T3" fmla="*/ 288 h 352"/>
                <a:gd name="T4" fmla="*/ 185 w 210"/>
                <a:gd name="T5" fmla="*/ 248 h 352"/>
                <a:gd name="T6" fmla="*/ 210 w 210"/>
                <a:gd name="T7" fmla="*/ 232 h 352"/>
                <a:gd name="T8" fmla="*/ 194 w 210"/>
                <a:gd name="T9" fmla="*/ 192 h 352"/>
                <a:gd name="T10" fmla="*/ 168 w 210"/>
                <a:gd name="T11" fmla="*/ 184 h 352"/>
                <a:gd name="T12" fmla="*/ 143 w 210"/>
                <a:gd name="T13" fmla="*/ 152 h 352"/>
                <a:gd name="T14" fmla="*/ 135 w 210"/>
                <a:gd name="T15" fmla="*/ 96 h 352"/>
                <a:gd name="T16" fmla="*/ 135 w 210"/>
                <a:gd name="T17" fmla="*/ 72 h 352"/>
                <a:gd name="T18" fmla="*/ 101 w 210"/>
                <a:gd name="T19" fmla="*/ 32 h 352"/>
                <a:gd name="T20" fmla="*/ 84 w 210"/>
                <a:gd name="T21" fmla="*/ 16 h 352"/>
                <a:gd name="T22" fmla="*/ 59 w 210"/>
                <a:gd name="T23" fmla="*/ 16 h 352"/>
                <a:gd name="T24" fmla="*/ 25 w 210"/>
                <a:gd name="T25" fmla="*/ 0 h 352"/>
                <a:gd name="T26" fmla="*/ 0 w 210"/>
                <a:gd name="T27" fmla="*/ 72 h 352"/>
                <a:gd name="T28" fmla="*/ 0 w 210"/>
                <a:gd name="T29" fmla="*/ 80 h 352"/>
                <a:gd name="T30" fmla="*/ 17 w 210"/>
                <a:gd name="T31" fmla="*/ 88 h 352"/>
                <a:gd name="T32" fmla="*/ 33 w 210"/>
                <a:gd name="T33" fmla="*/ 104 h 352"/>
                <a:gd name="T34" fmla="*/ 33 w 210"/>
                <a:gd name="T35" fmla="*/ 120 h 352"/>
                <a:gd name="T36" fmla="*/ 33 w 210"/>
                <a:gd name="T37" fmla="*/ 160 h 352"/>
                <a:gd name="T38" fmla="*/ 42 w 210"/>
                <a:gd name="T39" fmla="*/ 248 h 352"/>
                <a:gd name="T40" fmla="*/ 67 w 210"/>
                <a:gd name="T41" fmla="*/ 288 h 352"/>
                <a:gd name="T42" fmla="*/ 109 w 210"/>
                <a:gd name="T43" fmla="*/ 320 h 352"/>
                <a:gd name="T44" fmla="*/ 135 w 210"/>
                <a:gd name="T45" fmla="*/ 352 h 352"/>
                <a:gd name="T46" fmla="*/ 151 w 210"/>
                <a:gd name="T47" fmla="*/ 344 h 352"/>
                <a:gd name="T48" fmla="*/ 151 w 210"/>
                <a:gd name="T49" fmla="*/ 304 h 3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10" h="352">
                  <a:moveTo>
                    <a:pt x="151" y="304"/>
                  </a:moveTo>
                  <a:lnTo>
                    <a:pt x="185" y="288"/>
                  </a:lnTo>
                  <a:lnTo>
                    <a:pt x="185" y="248"/>
                  </a:lnTo>
                  <a:lnTo>
                    <a:pt x="210" y="232"/>
                  </a:lnTo>
                  <a:lnTo>
                    <a:pt x="194" y="192"/>
                  </a:lnTo>
                  <a:lnTo>
                    <a:pt x="168" y="184"/>
                  </a:lnTo>
                  <a:lnTo>
                    <a:pt x="143" y="152"/>
                  </a:lnTo>
                  <a:lnTo>
                    <a:pt x="135" y="96"/>
                  </a:lnTo>
                  <a:lnTo>
                    <a:pt x="135" y="72"/>
                  </a:lnTo>
                  <a:lnTo>
                    <a:pt x="101" y="32"/>
                  </a:lnTo>
                  <a:lnTo>
                    <a:pt x="84" y="16"/>
                  </a:lnTo>
                  <a:lnTo>
                    <a:pt x="59" y="16"/>
                  </a:lnTo>
                  <a:lnTo>
                    <a:pt x="25" y="0"/>
                  </a:lnTo>
                  <a:lnTo>
                    <a:pt x="0" y="72"/>
                  </a:lnTo>
                  <a:lnTo>
                    <a:pt x="0" y="80"/>
                  </a:lnTo>
                  <a:lnTo>
                    <a:pt x="17" y="88"/>
                  </a:lnTo>
                  <a:lnTo>
                    <a:pt x="33" y="104"/>
                  </a:lnTo>
                  <a:lnTo>
                    <a:pt x="33" y="120"/>
                  </a:lnTo>
                  <a:lnTo>
                    <a:pt x="33" y="160"/>
                  </a:lnTo>
                  <a:lnTo>
                    <a:pt x="42" y="248"/>
                  </a:lnTo>
                  <a:lnTo>
                    <a:pt x="67" y="288"/>
                  </a:lnTo>
                  <a:lnTo>
                    <a:pt x="109" y="320"/>
                  </a:lnTo>
                  <a:lnTo>
                    <a:pt x="135" y="352"/>
                  </a:lnTo>
                  <a:lnTo>
                    <a:pt x="151" y="344"/>
                  </a:lnTo>
                  <a:lnTo>
                    <a:pt x="151" y="30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1" name="Freeform 70"/>
            <p:cNvSpPr>
              <a:spLocks/>
            </p:cNvSpPr>
            <p:nvPr>
              <p:custDataLst>
                <p:tags r:id="rId67"/>
              </p:custDataLst>
            </p:nvPr>
          </p:nvSpPr>
          <p:spPr bwMode="auto">
            <a:xfrm>
              <a:off x="4831" y="3480"/>
              <a:ext cx="606" cy="704"/>
            </a:xfrm>
            <a:custGeom>
              <a:avLst/>
              <a:gdLst>
                <a:gd name="T0" fmla="*/ 606 w 606"/>
                <a:gd name="T1" fmla="*/ 24 h 704"/>
                <a:gd name="T2" fmla="*/ 556 w 606"/>
                <a:gd name="T3" fmla="*/ 0 h 704"/>
                <a:gd name="T4" fmla="*/ 530 w 606"/>
                <a:gd name="T5" fmla="*/ 56 h 704"/>
                <a:gd name="T6" fmla="*/ 446 w 606"/>
                <a:gd name="T7" fmla="*/ 72 h 704"/>
                <a:gd name="T8" fmla="*/ 379 w 606"/>
                <a:gd name="T9" fmla="*/ 56 h 704"/>
                <a:gd name="T10" fmla="*/ 286 w 606"/>
                <a:gd name="T11" fmla="*/ 104 h 704"/>
                <a:gd name="T12" fmla="*/ 236 w 606"/>
                <a:gd name="T13" fmla="*/ 136 h 704"/>
                <a:gd name="T14" fmla="*/ 134 w 606"/>
                <a:gd name="T15" fmla="*/ 184 h 704"/>
                <a:gd name="T16" fmla="*/ 75 w 606"/>
                <a:gd name="T17" fmla="*/ 200 h 704"/>
                <a:gd name="T18" fmla="*/ 75 w 606"/>
                <a:gd name="T19" fmla="*/ 232 h 704"/>
                <a:gd name="T20" fmla="*/ 50 w 606"/>
                <a:gd name="T21" fmla="*/ 288 h 704"/>
                <a:gd name="T22" fmla="*/ 16 w 606"/>
                <a:gd name="T23" fmla="*/ 344 h 704"/>
                <a:gd name="T24" fmla="*/ 33 w 606"/>
                <a:gd name="T25" fmla="*/ 392 h 704"/>
                <a:gd name="T26" fmla="*/ 59 w 606"/>
                <a:gd name="T27" fmla="*/ 464 h 704"/>
                <a:gd name="T28" fmla="*/ 118 w 606"/>
                <a:gd name="T29" fmla="*/ 480 h 704"/>
                <a:gd name="T30" fmla="*/ 286 w 606"/>
                <a:gd name="T31" fmla="*/ 472 h 704"/>
                <a:gd name="T32" fmla="*/ 337 w 606"/>
                <a:gd name="T33" fmla="*/ 496 h 704"/>
                <a:gd name="T34" fmla="*/ 294 w 606"/>
                <a:gd name="T35" fmla="*/ 512 h 704"/>
                <a:gd name="T36" fmla="*/ 210 w 606"/>
                <a:gd name="T37" fmla="*/ 488 h 704"/>
                <a:gd name="T38" fmla="*/ 160 w 606"/>
                <a:gd name="T39" fmla="*/ 512 h 704"/>
                <a:gd name="T40" fmla="*/ 160 w 606"/>
                <a:gd name="T41" fmla="*/ 568 h 704"/>
                <a:gd name="T42" fmla="*/ 202 w 606"/>
                <a:gd name="T43" fmla="*/ 592 h 704"/>
                <a:gd name="T44" fmla="*/ 236 w 606"/>
                <a:gd name="T45" fmla="*/ 672 h 704"/>
                <a:gd name="T46" fmla="*/ 278 w 606"/>
                <a:gd name="T47" fmla="*/ 656 h 704"/>
                <a:gd name="T48" fmla="*/ 337 w 606"/>
                <a:gd name="T49" fmla="*/ 656 h 704"/>
                <a:gd name="T50" fmla="*/ 328 w 606"/>
                <a:gd name="T51" fmla="*/ 568 h 704"/>
                <a:gd name="T52" fmla="*/ 370 w 606"/>
                <a:gd name="T53" fmla="*/ 584 h 704"/>
                <a:gd name="T54" fmla="*/ 387 w 606"/>
                <a:gd name="T55" fmla="*/ 576 h 704"/>
                <a:gd name="T56" fmla="*/ 353 w 606"/>
                <a:gd name="T57" fmla="*/ 528 h 704"/>
                <a:gd name="T58" fmla="*/ 455 w 606"/>
                <a:gd name="T59" fmla="*/ 528 h 704"/>
                <a:gd name="T60" fmla="*/ 438 w 606"/>
                <a:gd name="T61" fmla="*/ 464 h 704"/>
                <a:gd name="T62" fmla="*/ 438 w 606"/>
                <a:gd name="T63" fmla="*/ 448 h 704"/>
                <a:gd name="T64" fmla="*/ 480 w 606"/>
                <a:gd name="T65" fmla="*/ 480 h 704"/>
                <a:gd name="T66" fmla="*/ 463 w 606"/>
                <a:gd name="T67" fmla="*/ 440 h 704"/>
                <a:gd name="T68" fmla="*/ 353 w 606"/>
                <a:gd name="T69" fmla="*/ 384 h 704"/>
                <a:gd name="T70" fmla="*/ 337 w 606"/>
                <a:gd name="T71" fmla="*/ 400 h 704"/>
                <a:gd name="T72" fmla="*/ 311 w 606"/>
                <a:gd name="T73" fmla="*/ 408 h 704"/>
                <a:gd name="T74" fmla="*/ 294 w 606"/>
                <a:gd name="T75" fmla="*/ 376 h 704"/>
                <a:gd name="T76" fmla="*/ 337 w 606"/>
                <a:gd name="T77" fmla="*/ 360 h 704"/>
                <a:gd name="T78" fmla="*/ 320 w 606"/>
                <a:gd name="T79" fmla="*/ 320 h 704"/>
                <a:gd name="T80" fmla="*/ 236 w 606"/>
                <a:gd name="T81" fmla="*/ 240 h 704"/>
                <a:gd name="T82" fmla="*/ 261 w 606"/>
                <a:gd name="T83" fmla="*/ 200 h 704"/>
                <a:gd name="T84" fmla="*/ 294 w 606"/>
                <a:gd name="T85" fmla="*/ 232 h 704"/>
                <a:gd name="T86" fmla="*/ 337 w 606"/>
                <a:gd name="T87" fmla="*/ 264 h 704"/>
                <a:gd name="T88" fmla="*/ 362 w 606"/>
                <a:gd name="T89" fmla="*/ 208 h 704"/>
                <a:gd name="T90" fmla="*/ 387 w 606"/>
                <a:gd name="T91" fmla="*/ 144 h 704"/>
                <a:gd name="T92" fmla="*/ 497 w 606"/>
                <a:gd name="T93" fmla="*/ 112 h 704"/>
                <a:gd name="T94" fmla="*/ 564 w 606"/>
                <a:gd name="T95" fmla="*/ 112 h 704"/>
                <a:gd name="T96" fmla="*/ 598 w 606"/>
                <a:gd name="T97" fmla="*/ 96 h 7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06" h="704">
                  <a:moveTo>
                    <a:pt x="589" y="72"/>
                  </a:moveTo>
                  <a:lnTo>
                    <a:pt x="606" y="24"/>
                  </a:lnTo>
                  <a:lnTo>
                    <a:pt x="581" y="0"/>
                  </a:lnTo>
                  <a:lnTo>
                    <a:pt x="556" y="0"/>
                  </a:lnTo>
                  <a:lnTo>
                    <a:pt x="564" y="40"/>
                  </a:lnTo>
                  <a:lnTo>
                    <a:pt x="530" y="56"/>
                  </a:lnTo>
                  <a:lnTo>
                    <a:pt x="471" y="72"/>
                  </a:lnTo>
                  <a:lnTo>
                    <a:pt x="446" y="72"/>
                  </a:lnTo>
                  <a:lnTo>
                    <a:pt x="412" y="72"/>
                  </a:lnTo>
                  <a:lnTo>
                    <a:pt x="379" y="56"/>
                  </a:lnTo>
                  <a:lnTo>
                    <a:pt x="328" y="88"/>
                  </a:lnTo>
                  <a:lnTo>
                    <a:pt x="286" y="104"/>
                  </a:lnTo>
                  <a:lnTo>
                    <a:pt x="244" y="104"/>
                  </a:lnTo>
                  <a:lnTo>
                    <a:pt x="236" y="136"/>
                  </a:lnTo>
                  <a:lnTo>
                    <a:pt x="168" y="144"/>
                  </a:lnTo>
                  <a:lnTo>
                    <a:pt x="134" y="184"/>
                  </a:lnTo>
                  <a:lnTo>
                    <a:pt x="109" y="184"/>
                  </a:lnTo>
                  <a:lnTo>
                    <a:pt x="75" y="200"/>
                  </a:lnTo>
                  <a:lnTo>
                    <a:pt x="67" y="200"/>
                  </a:lnTo>
                  <a:lnTo>
                    <a:pt x="75" y="232"/>
                  </a:lnTo>
                  <a:lnTo>
                    <a:pt x="50" y="248"/>
                  </a:lnTo>
                  <a:lnTo>
                    <a:pt x="50" y="288"/>
                  </a:lnTo>
                  <a:lnTo>
                    <a:pt x="16" y="304"/>
                  </a:lnTo>
                  <a:lnTo>
                    <a:pt x="16" y="344"/>
                  </a:lnTo>
                  <a:lnTo>
                    <a:pt x="0" y="352"/>
                  </a:lnTo>
                  <a:lnTo>
                    <a:pt x="33" y="392"/>
                  </a:lnTo>
                  <a:lnTo>
                    <a:pt x="75" y="424"/>
                  </a:lnTo>
                  <a:lnTo>
                    <a:pt x="59" y="464"/>
                  </a:lnTo>
                  <a:lnTo>
                    <a:pt x="92" y="464"/>
                  </a:lnTo>
                  <a:lnTo>
                    <a:pt x="118" y="480"/>
                  </a:lnTo>
                  <a:lnTo>
                    <a:pt x="202" y="480"/>
                  </a:lnTo>
                  <a:lnTo>
                    <a:pt x="286" y="472"/>
                  </a:lnTo>
                  <a:lnTo>
                    <a:pt x="362" y="480"/>
                  </a:lnTo>
                  <a:lnTo>
                    <a:pt x="337" y="496"/>
                  </a:lnTo>
                  <a:lnTo>
                    <a:pt x="328" y="512"/>
                  </a:lnTo>
                  <a:lnTo>
                    <a:pt x="294" y="512"/>
                  </a:lnTo>
                  <a:lnTo>
                    <a:pt x="261" y="504"/>
                  </a:lnTo>
                  <a:lnTo>
                    <a:pt x="210" y="488"/>
                  </a:lnTo>
                  <a:lnTo>
                    <a:pt x="185" y="504"/>
                  </a:lnTo>
                  <a:lnTo>
                    <a:pt x="160" y="512"/>
                  </a:lnTo>
                  <a:lnTo>
                    <a:pt x="134" y="552"/>
                  </a:lnTo>
                  <a:lnTo>
                    <a:pt x="160" y="568"/>
                  </a:lnTo>
                  <a:lnTo>
                    <a:pt x="185" y="584"/>
                  </a:lnTo>
                  <a:lnTo>
                    <a:pt x="202" y="592"/>
                  </a:lnTo>
                  <a:lnTo>
                    <a:pt x="210" y="624"/>
                  </a:lnTo>
                  <a:lnTo>
                    <a:pt x="236" y="672"/>
                  </a:lnTo>
                  <a:lnTo>
                    <a:pt x="252" y="648"/>
                  </a:lnTo>
                  <a:lnTo>
                    <a:pt x="278" y="656"/>
                  </a:lnTo>
                  <a:lnTo>
                    <a:pt x="311" y="704"/>
                  </a:lnTo>
                  <a:lnTo>
                    <a:pt x="337" y="656"/>
                  </a:lnTo>
                  <a:lnTo>
                    <a:pt x="396" y="688"/>
                  </a:lnTo>
                  <a:lnTo>
                    <a:pt x="328" y="568"/>
                  </a:lnTo>
                  <a:lnTo>
                    <a:pt x="353" y="576"/>
                  </a:lnTo>
                  <a:lnTo>
                    <a:pt x="370" y="584"/>
                  </a:lnTo>
                  <a:lnTo>
                    <a:pt x="370" y="600"/>
                  </a:lnTo>
                  <a:lnTo>
                    <a:pt x="387" y="576"/>
                  </a:lnTo>
                  <a:lnTo>
                    <a:pt x="412" y="560"/>
                  </a:lnTo>
                  <a:lnTo>
                    <a:pt x="353" y="528"/>
                  </a:lnTo>
                  <a:lnTo>
                    <a:pt x="404" y="512"/>
                  </a:lnTo>
                  <a:lnTo>
                    <a:pt x="455" y="528"/>
                  </a:lnTo>
                  <a:lnTo>
                    <a:pt x="446" y="488"/>
                  </a:lnTo>
                  <a:lnTo>
                    <a:pt x="438" y="464"/>
                  </a:lnTo>
                  <a:lnTo>
                    <a:pt x="412" y="448"/>
                  </a:lnTo>
                  <a:lnTo>
                    <a:pt x="438" y="448"/>
                  </a:lnTo>
                  <a:lnTo>
                    <a:pt x="455" y="464"/>
                  </a:lnTo>
                  <a:lnTo>
                    <a:pt x="480" y="480"/>
                  </a:lnTo>
                  <a:lnTo>
                    <a:pt x="514" y="472"/>
                  </a:lnTo>
                  <a:lnTo>
                    <a:pt x="463" y="440"/>
                  </a:lnTo>
                  <a:lnTo>
                    <a:pt x="421" y="408"/>
                  </a:lnTo>
                  <a:lnTo>
                    <a:pt x="353" y="384"/>
                  </a:lnTo>
                  <a:lnTo>
                    <a:pt x="337" y="384"/>
                  </a:lnTo>
                  <a:lnTo>
                    <a:pt x="337" y="400"/>
                  </a:lnTo>
                  <a:lnTo>
                    <a:pt x="345" y="416"/>
                  </a:lnTo>
                  <a:lnTo>
                    <a:pt x="311" y="408"/>
                  </a:lnTo>
                  <a:lnTo>
                    <a:pt x="294" y="400"/>
                  </a:lnTo>
                  <a:lnTo>
                    <a:pt x="294" y="376"/>
                  </a:lnTo>
                  <a:lnTo>
                    <a:pt x="294" y="352"/>
                  </a:lnTo>
                  <a:lnTo>
                    <a:pt x="337" y="360"/>
                  </a:lnTo>
                  <a:lnTo>
                    <a:pt x="337" y="336"/>
                  </a:lnTo>
                  <a:lnTo>
                    <a:pt x="320" y="320"/>
                  </a:lnTo>
                  <a:lnTo>
                    <a:pt x="269" y="288"/>
                  </a:lnTo>
                  <a:lnTo>
                    <a:pt x="236" y="240"/>
                  </a:lnTo>
                  <a:lnTo>
                    <a:pt x="244" y="224"/>
                  </a:lnTo>
                  <a:lnTo>
                    <a:pt x="261" y="200"/>
                  </a:lnTo>
                  <a:lnTo>
                    <a:pt x="269" y="224"/>
                  </a:lnTo>
                  <a:lnTo>
                    <a:pt x="294" y="232"/>
                  </a:lnTo>
                  <a:lnTo>
                    <a:pt x="320" y="240"/>
                  </a:lnTo>
                  <a:lnTo>
                    <a:pt x="337" y="264"/>
                  </a:lnTo>
                  <a:lnTo>
                    <a:pt x="337" y="232"/>
                  </a:lnTo>
                  <a:lnTo>
                    <a:pt x="362" y="208"/>
                  </a:lnTo>
                  <a:lnTo>
                    <a:pt x="370" y="160"/>
                  </a:lnTo>
                  <a:lnTo>
                    <a:pt x="387" y="144"/>
                  </a:lnTo>
                  <a:lnTo>
                    <a:pt x="412" y="136"/>
                  </a:lnTo>
                  <a:lnTo>
                    <a:pt x="497" y="112"/>
                  </a:lnTo>
                  <a:lnTo>
                    <a:pt x="539" y="112"/>
                  </a:lnTo>
                  <a:lnTo>
                    <a:pt x="564" y="112"/>
                  </a:lnTo>
                  <a:lnTo>
                    <a:pt x="573" y="128"/>
                  </a:lnTo>
                  <a:lnTo>
                    <a:pt x="598" y="96"/>
                  </a:lnTo>
                  <a:lnTo>
                    <a:pt x="589" y="7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2" name="Freeform 71"/>
            <p:cNvSpPr>
              <a:spLocks/>
            </p:cNvSpPr>
            <p:nvPr>
              <p:custDataLst>
                <p:tags r:id="rId68"/>
              </p:custDataLst>
            </p:nvPr>
          </p:nvSpPr>
          <p:spPr bwMode="auto">
            <a:xfrm>
              <a:off x="4696" y="3480"/>
              <a:ext cx="210" cy="352"/>
            </a:xfrm>
            <a:custGeom>
              <a:avLst/>
              <a:gdLst>
                <a:gd name="T0" fmla="*/ 151 w 210"/>
                <a:gd name="T1" fmla="*/ 304 h 352"/>
                <a:gd name="T2" fmla="*/ 185 w 210"/>
                <a:gd name="T3" fmla="*/ 288 h 352"/>
                <a:gd name="T4" fmla="*/ 185 w 210"/>
                <a:gd name="T5" fmla="*/ 248 h 352"/>
                <a:gd name="T6" fmla="*/ 210 w 210"/>
                <a:gd name="T7" fmla="*/ 232 h 352"/>
                <a:gd name="T8" fmla="*/ 194 w 210"/>
                <a:gd name="T9" fmla="*/ 192 h 352"/>
                <a:gd name="T10" fmla="*/ 168 w 210"/>
                <a:gd name="T11" fmla="*/ 184 h 352"/>
                <a:gd name="T12" fmla="*/ 143 w 210"/>
                <a:gd name="T13" fmla="*/ 152 h 352"/>
                <a:gd name="T14" fmla="*/ 135 w 210"/>
                <a:gd name="T15" fmla="*/ 96 h 352"/>
                <a:gd name="T16" fmla="*/ 135 w 210"/>
                <a:gd name="T17" fmla="*/ 72 h 352"/>
                <a:gd name="T18" fmla="*/ 135 w 210"/>
                <a:gd name="T19" fmla="*/ 72 h 352"/>
                <a:gd name="T20" fmla="*/ 101 w 210"/>
                <a:gd name="T21" fmla="*/ 32 h 352"/>
                <a:gd name="T22" fmla="*/ 84 w 210"/>
                <a:gd name="T23" fmla="*/ 16 h 352"/>
                <a:gd name="T24" fmla="*/ 59 w 210"/>
                <a:gd name="T25" fmla="*/ 16 h 352"/>
                <a:gd name="T26" fmla="*/ 25 w 210"/>
                <a:gd name="T27" fmla="*/ 0 h 352"/>
                <a:gd name="T28" fmla="*/ 0 w 210"/>
                <a:gd name="T29" fmla="*/ 72 h 352"/>
                <a:gd name="T30" fmla="*/ 0 w 210"/>
                <a:gd name="T31" fmla="*/ 80 h 352"/>
                <a:gd name="T32" fmla="*/ 17 w 210"/>
                <a:gd name="T33" fmla="*/ 88 h 352"/>
                <a:gd name="T34" fmla="*/ 33 w 210"/>
                <a:gd name="T35" fmla="*/ 104 h 352"/>
                <a:gd name="T36" fmla="*/ 33 w 210"/>
                <a:gd name="T37" fmla="*/ 120 h 352"/>
                <a:gd name="T38" fmla="*/ 33 w 210"/>
                <a:gd name="T39" fmla="*/ 160 h 352"/>
                <a:gd name="T40" fmla="*/ 42 w 210"/>
                <a:gd name="T41" fmla="*/ 248 h 352"/>
                <a:gd name="T42" fmla="*/ 67 w 210"/>
                <a:gd name="T43" fmla="*/ 288 h 352"/>
                <a:gd name="T44" fmla="*/ 109 w 210"/>
                <a:gd name="T45" fmla="*/ 320 h 352"/>
                <a:gd name="T46" fmla="*/ 135 w 210"/>
                <a:gd name="T47" fmla="*/ 352 h 352"/>
                <a:gd name="T48" fmla="*/ 151 w 210"/>
                <a:gd name="T49" fmla="*/ 344 h 352"/>
                <a:gd name="T50" fmla="*/ 151 w 210"/>
                <a:gd name="T51" fmla="*/ 304 h 3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10" h="352">
                  <a:moveTo>
                    <a:pt x="151" y="304"/>
                  </a:moveTo>
                  <a:lnTo>
                    <a:pt x="185" y="288"/>
                  </a:lnTo>
                  <a:lnTo>
                    <a:pt x="185" y="248"/>
                  </a:lnTo>
                  <a:lnTo>
                    <a:pt x="210" y="232"/>
                  </a:lnTo>
                  <a:lnTo>
                    <a:pt x="194" y="192"/>
                  </a:lnTo>
                  <a:lnTo>
                    <a:pt x="168" y="184"/>
                  </a:lnTo>
                  <a:lnTo>
                    <a:pt x="143" y="152"/>
                  </a:lnTo>
                  <a:lnTo>
                    <a:pt x="135" y="96"/>
                  </a:lnTo>
                  <a:lnTo>
                    <a:pt x="135" y="72"/>
                  </a:lnTo>
                  <a:lnTo>
                    <a:pt x="101" y="32"/>
                  </a:lnTo>
                  <a:lnTo>
                    <a:pt x="84" y="16"/>
                  </a:lnTo>
                  <a:lnTo>
                    <a:pt x="59" y="16"/>
                  </a:lnTo>
                  <a:lnTo>
                    <a:pt x="25" y="0"/>
                  </a:lnTo>
                  <a:lnTo>
                    <a:pt x="0" y="72"/>
                  </a:lnTo>
                  <a:lnTo>
                    <a:pt x="0" y="80"/>
                  </a:lnTo>
                  <a:lnTo>
                    <a:pt x="17" y="88"/>
                  </a:lnTo>
                  <a:lnTo>
                    <a:pt x="33" y="104"/>
                  </a:lnTo>
                  <a:lnTo>
                    <a:pt x="33" y="120"/>
                  </a:lnTo>
                  <a:lnTo>
                    <a:pt x="33" y="160"/>
                  </a:lnTo>
                  <a:lnTo>
                    <a:pt x="42" y="248"/>
                  </a:lnTo>
                  <a:lnTo>
                    <a:pt x="67" y="288"/>
                  </a:lnTo>
                  <a:lnTo>
                    <a:pt x="109" y="320"/>
                  </a:lnTo>
                  <a:lnTo>
                    <a:pt x="135" y="352"/>
                  </a:lnTo>
                  <a:lnTo>
                    <a:pt x="151" y="344"/>
                  </a:lnTo>
                  <a:lnTo>
                    <a:pt x="151" y="304"/>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3" name="Freeform 72"/>
            <p:cNvSpPr>
              <a:spLocks/>
            </p:cNvSpPr>
            <p:nvPr>
              <p:custDataLst>
                <p:tags r:id="rId69"/>
              </p:custDataLst>
            </p:nvPr>
          </p:nvSpPr>
          <p:spPr bwMode="auto">
            <a:xfrm>
              <a:off x="4831" y="3480"/>
              <a:ext cx="606" cy="704"/>
            </a:xfrm>
            <a:custGeom>
              <a:avLst/>
              <a:gdLst>
                <a:gd name="T0" fmla="*/ 606 w 606"/>
                <a:gd name="T1" fmla="*/ 24 h 704"/>
                <a:gd name="T2" fmla="*/ 556 w 606"/>
                <a:gd name="T3" fmla="*/ 0 h 704"/>
                <a:gd name="T4" fmla="*/ 530 w 606"/>
                <a:gd name="T5" fmla="*/ 56 h 704"/>
                <a:gd name="T6" fmla="*/ 446 w 606"/>
                <a:gd name="T7" fmla="*/ 72 h 704"/>
                <a:gd name="T8" fmla="*/ 379 w 606"/>
                <a:gd name="T9" fmla="*/ 56 h 704"/>
                <a:gd name="T10" fmla="*/ 286 w 606"/>
                <a:gd name="T11" fmla="*/ 104 h 704"/>
                <a:gd name="T12" fmla="*/ 236 w 606"/>
                <a:gd name="T13" fmla="*/ 136 h 704"/>
                <a:gd name="T14" fmla="*/ 134 w 606"/>
                <a:gd name="T15" fmla="*/ 184 h 704"/>
                <a:gd name="T16" fmla="*/ 75 w 606"/>
                <a:gd name="T17" fmla="*/ 200 h 704"/>
                <a:gd name="T18" fmla="*/ 75 w 606"/>
                <a:gd name="T19" fmla="*/ 232 h 704"/>
                <a:gd name="T20" fmla="*/ 50 w 606"/>
                <a:gd name="T21" fmla="*/ 288 h 704"/>
                <a:gd name="T22" fmla="*/ 16 w 606"/>
                <a:gd name="T23" fmla="*/ 344 h 704"/>
                <a:gd name="T24" fmla="*/ 33 w 606"/>
                <a:gd name="T25" fmla="*/ 392 h 704"/>
                <a:gd name="T26" fmla="*/ 59 w 606"/>
                <a:gd name="T27" fmla="*/ 464 h 704"/>
                <a:gd name="T28" fmla="*/ 118 w 606"/>
                <a:gd name="T29" fmla="*/ 480 h 704"/>
                <a:gd name="T30" fmla="*/ 286 w 606"/>
                <a:gd name="T31" fmla="*/ 472 h 704"/>
                <a:gd name="T32" fmla="*/ 337 w 606"/>
                <a:gd name="T33" fmla="*/ 496 h 704"/>
                <a:gd name="T34" fmla="*/ 294 w 606"/>
                <a:gd name="T35" fmla="*/ 512 h 704"/>
                <a:gd name="T36" fmla="*/ 210 w 606"/>
                <a:gd name="T37" fmla="*/ 488 h 704"/>
                <a:gd name="T38" fmla="*/ 160 w 606"/>
                <a:gd name="T39" fmla="*/ 512 h 704"/>
                <a:gd name="T40" fmla="*/ 160 w 606"/>
                <a:gd name="T41" fmla="*/ 568 h 704"/>
                <a:gd name="T42" fmla="*/ 202 w 606"/>
                <a:gd name="T43" fmla="*/ 592 h 704"/>
                <a:gd name="T44" fmla="*/ 236 w 606"/>
                <a:gd name="T45" fmla="*/ 672 h 704"/>
                <a:gd name="T46" fmla="*/ 278 w 606"/>
                <a:gd name="T47" fmla="*/ 656 h 704"/>
                <a:gd name="T48" fmla="*/ 337 w 606"/>
                <a:gd name="T49" fmla="*/ 656 h 704"/>
                <a:gd name="T50" fmla="*/ 328 w 606"/>
                <a:gd name="T51" fmla="*/ 568 h 704"/>
                <a:gd name="T52" fmla="*/ 370 w 606"/>
                <a:gd name="T53" fmla="*/ 584 h 704"/>
                <a:gd name="T54" fmla="*/ 387 w 606"/>
                <a:gd name="T55" fmla="*/ 576 h 704"/>
                <a:gd name="T56" fmla="*/ 353 w 606"/>
                <a:gd name="T57" fmla="*/ 528 h 704"/>
                <a:gd name="T58" fmla="*/ 455 w 606"/>
                <a:gd name="T59" fmla="*/ 528 h 704"/>
                <a:gd name="T60" fmla="*/ 438 w 606"/>
                <a:gd name="T61" fmla="*/ 464 h 704"/>
                <a:gd name="T62" fmla="*/ 438 w 606"/>
                <a:gd name="T63" fmla="*/ 448 h 704"/>
                <a:gd name="T64" fmla="*/ 480 w 606"/>
                <a:gd name="T65" fmla="*/ 480 h 704"/>
                <a:gd name="T66" fmla="*/ 463 w 606"/>
                <a:gd name="T67" fmla="*/ 440 h 704"/>
                <a:gd name="T68" fmla="*/ 353 w 606"/>
                <a:gd name="T69" fmla="*/ 384 h 704"/>
                <a:gd name="T70" fmla="*/ 337 w 606"/>
                <a:gd name="T71" fmla="*/ 400 h 704"/>
                <a:gd name="T72" fmla="*/ 311 w 606"/>
                <a:gd name="T73" fmla="*/ 408 h 704"/>
                <a:gd name="T74" fmla="*/ 294 w 606"/>
                <a:gd name="T75" fmla="*/ 376 h 704"/>
                <a:gd name="T76" fmla="*/ 337 w 606"/>
                <a:gd name="T77" fmla="*/ 360 h 704"/>
                <a:gd name="T78" fmla="*/ 320 w 606"/>
                <a:gd name="T79" fmla="*/ 320 h 704"/>
                <a:gd name="T80" fmla="*/ 236 w 606"/>
                <a:gd name="T81" fmla="*/ 240 h 704"/>
                <a:gd name="T82" fmla="*/ 261 w 606"/>
                <a:gd name="T83" fmla="*/ 200 h 704"/>
                <a:gd name="T84" fmla="*/ 294 w 606"/>
                <a:gd name="T85" fmla="*/ 232 h 704"/>
                <a:gd name="T86" fmla="*/ 337 w 606"/>
                <a:gd name="T87" fmla="*/ 264 h 704"/>
                <a:gd name="T88" fmla="*/ 362 w 606"/>
                <a:gd name="T89" fmla="*/ 208 h 704"/>
                <a:gd name="T90" fmla="*/ 387 w 606"/>
                <a:gd name="T91" fmla="*/ 144 h 704"/>
                <a:gd name="T92" fmla="*/ 497 w 606"/>
                <a:gd name="T93" fmla="*/ 112 h 704"/>
                <a:gd name="T94" fmla="*/ 564 w 606"/>
                <a:gd name="T95" fmla="*/ 112 h 704"/>
                <a:gd name="T96" fmla="*/ 598 w 606"/>
                <a:gd name="T97" fmla="*/ 96 h 7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06" h="704">
                  <a:moveTo>
                    <a:pt x="589" y="72"/>
                  </a:moveTo>
                  <a:lnTo>
                    <a:pt x="606" y="24"/>
                  </a:lnTo>
                  <a:lnTo>
                    <a:pt x="581" y="0"/>
                  </a:lnTo>
                  <a:lnTo>
                    <a:pt x="556" y="0"/>
                  </a:lnTo>
                  <a:lnTo>
                    <a:pt x="564" y="40"/>
                  </a:lnTo>
                  <a:lnTo>
                    <a:pt x="530" y="56"/>
                  </a:lnTo>
                  <a:lnTo>
                    <a:pt x="471" y="72"/>
                  </a:lnTo>
                  <a:lnTo>
                    <a:pt x="446" y="72"/>
                  </a:lnTo>
                  <a:lnTo>
                    <a:pt x="412" y="72"/>
                  </a:lnTo>
                  <a:lnTo>
                    <a:pt x="379" y="56"/>
                  </a:lnTo>
                  <a:lnTo>
                    <a:pt x="328" y="88"/>
                  </a:lnTo>
                  <a:lnTo>
                    <a:pt x="286" y="104"/>
                  </a:lnTo>
                  <a:lnTo>
                    <a:pt x="244" y="104"/>
                  </a:lnTo>
                  <a:lnTo>
                    <a:pt x="236" y="136"/>
                  </a:lnTo>
                  <a:lnTo>
                    <a:pt x="168" y="144"/>
                  </a:lnTo>
                  <a:lnTo>
                    <a:pt x="134" y="184"/>
                  </a:lnTo>
                  <a:lnTo>
                    <a:pt x="109" y="184"/>
                  </a:lnTo>
                  <a:lnTo>
                    <a:pt x="75" y="200"/>
                  </a:lnTo>
                  <a:lnTo>
                    <a:pt x="67" y="200"/>
                  </a:lnTo>
                  <a:lnTo>
                    <a:pt x="75" y="232"/>
                  </a:lnTo>
                  <a:lnTo>
                    <a:pt x="50" y="248"/>
                  </a:lnTo>
                  <a:lnTo>
                    <a:pt x="50" y="288"/>
                  </a:lnTo>
                  <a:lnTo>
                    <a:pt x="16" y="304"/>
                  </a:lnTo>
                  <a:lnTo>
                    <a:pt x="16" y="344"/>
                  </a:lnTo>
                  <a:lnTo>
                    <a:pt x="0" y="352"/>
                  </a:lnTo>
                  <a:lnTo>
                    <a:pt x="33" y="392"/>
                  </a:lnTo>
                  <a:lnTo>
                    <a:pt x="75" y="424"/>
                  </a:lnTo>
                  <a:lnTo>
                    <a:pt x="59" y="464"/>
                  </a:lnTo>
                  <a:lnTo>
                    <a:pt x="92" y="464"/>
                  </a:lnTo>
                  <a:lnTo>
                    <a:pt x="118" y="480"/>
                  </a:lnTo>
                  <a:lnTo>
                    <a:pt x="202" y="480"/>
                  </a:lnTo>
                  <a:lnTo>
                    <a:pt x="286" y="472"/>
                  </a:lnTo>
                  <a:lnTo>
                    <a:pt x="362" y="480"/>
                  </a:lnTo>
                  <a:lnTo>
                    <a:pt x="337" y="496"/>
                  </a:lnTo>
                  <a:lnTo>
                    <a:pt x="328" y="512"/>
                  </a:lnTo>
                  <a:lnTo>
                    <a:pt x="294" y="512"/>
                  </a:lnTo>
                  <a:lnTo>
                    <a:pt x="261" y="504"/>
                  </a:lnTo>
                  <a:lnTo>
                    <a:pt x="210" y="488"/>
                  </a:lnTo>
                  <a:lnTo>
                    <a:pt x="185" y="504"/>
                  </a:lnTo>
                  <a:lnTo>
                    <a:pt x="160" y="512"/>
                  </a:lnTo>
                  <a:lnTo>
                    <a:pt x="134" y="552"/>
                  </a:lnTo>
                  <a:lnTo>
                    <a:pt x="160" y="568"/>
                  </a:lnTo>
                  <a:lnTo>
                    <a:pt x="185" y="584"/>
                  </a:lnTo>
                  <a:lnTo>
                    <a:pt x="202" y="592"/>
                  </a:lnTo>
                  <a:lnTo>
                    <a:pt x="210" y="624"/>
                  </a:lnTo>
                  <a:lnTo>
                    <a:pt x="236" y="672"/>
                  </a:lnTo>
                  <a:lnTo>
                    <a:pt x="252" y="648"/>
                  </a:lnTo>
                  <a:lnTo>
                    <a:pt x="278" y="656"/>
                  </a:lnTo>
                  <a:lnTo>
                    <a:pt x="311" y="704"/>
                  </a:lnTo>
                  <a:lnTo>
                    <a:pt x="337" y="656"/>
                  </a:lnTo>
                  <a:lnTo>
                    <a:pt x="396" y="688"/>
                  </a:lnTo>
                  <a:lnTo>
                    <a:pt x="328" y="568"/>
                  </a:lnTo>
                  <a:lnTo>
                    <a:pt x="353" y="576"/>
                  </a:lnTo>
                  <a:lnTo>
                    <a:pt x="370" y="584"/>
                  </a:lnTo>
                  <a:lnTo>
                    <a:pt x="370" y="600"/>
                  </a:lnTo>
                  <a:lnTo>
                    <a:pt x="387" y="576"/>
                  </a:lnTo>
                  <a:lnTo>
                    <a:pt x="412" y="560"/>
                  </a:lnTo>
                  <a:lnTo>
                    <a:pt x="353" y="528"/>
                  </a:lnTo>
                  <a:lnTo>
                    <a:pt x="404" y="512"/>
                  </a:lnTo>
                  <a:lnTo>
                    <a:pt x="455" y="528"/>
                  </a:lnTo>
                  <a:lnTo>
                    <a:pt x="446" y="488"/>
                  </a:lnTo>
                  <a:lnTo>
                    <a:pt x="438" y="464"/>
                  </a:lnTo>
                  <a:lnTo>
                    <a:pt x="412" y="448"/>
                  </a:lnTo>
                  <a:lnTo>
                    <a:pt x="438" y="448"/>
                  </a:lnTo>
                  <a:lnTo>
                    <a:pt x="455" y="464"/>
                  </a:lnTo>
                  <a:lnTo>
                    <a:pt x="480" y="480"/>
                  </a:lnTo>
                  <a:lnTo>
                    <a:pt x="514" y="472"/>
                  </a:lnTo>
                  <a:lnTo>
                    <a:pt x="463" y="440"/>
                  </a:lnTo>
                  <a:lnTo>
                    <a:pt x="421" y="408"/>
                  </a:lnTo>
                  <a:lnTo>
                    <a:pt x="353" y="384"/>
                  </a:lnTo>
                  <a:lnTo>
                    <a:pt x="337" y="384"/>
                  </a:lnTo>
                  <a:lnTo>
                    <a:pt x="337" y="400"/>
                  </a:lnTo>
                  <a:lnTo>
                    <a:pt x="345" y="416"/>
                  </a:lnTo>
                  <a:lnTo>
                    <a:pt x="311" y="408"/>
                  </a:lnTo>
                  <a:lnTo>
                    <a:pt x="294" y="400"/>
                  </a:lnTo>
                  <a:lnTo>
                    <a:pt x="294" y="376"/>
                  </a:lnTo>
                  <a:lnTo>
                    <a:pt x="294" y="352"/>
                  </a:lnTo>
                  <a:lnTo>
                    <a:pt x="337" y="360"/>
                  </a:lnTo>
                  <a:lnTo>
                    <a:pt x="337" y="336"/>
                  </a:lnTo>
                  <a:lnTo>
                    <a:pt x="320" y="320"/>
                  </a:lnTo>
                  <a:lnTo>
                    <a:pt x="269" y="288"/>
                  </a:lnTo>
                  <a:lnTo>
                    <a:pt x="236" y="240"/>
                  </a:lnTo>
                  <a:lnTo>
                    <a:pt x="244" y="224"/>
                  </a:lnTo>
                  <a:lnTo>
                    <a:pt x="261" y="200"/>
                  </a:lnTo>
                  <a:lnTo>
                    <a:pt x="269" y="224"/>
                  </a:lnTo>
                  <a:lnTo>
                    <a:pt x="294" y="232"/>
                  </a:lnTo>
                  <a:lnTo>
                    <a:pt x="320" y="240"/>
                  </a:lnTo>
                  <a:lnTo>
                    <a:pt x="337" y="264"/>
                  </a:lnTo>
                  <a:lnTo>
                    <a:pt x="337" y="232"/>
                  </a:lnTo>
                  <a:lnTo>
                    <a:pt x="362" y="208"/>
                  </a:lnTo>
                  <a:lnTo>
                    <a:pt x="370" y="160"/>
                  </a:lnTo>
                  <a:lnTo>
                    <a:pt x="387" y="144"/>
                  </a:lnTo>
                  <a:lnTo>
                    <a:pt x="412" y="136"/>
                  </a:lnTo>
                  <a:lnTo>
                    <a:pt x="497" y="112"/>
                  </a:lnTo>
                  <a:lnTo>
                    <a:pt x="539" y="112"/>
                  </a:lnTo>
                  <a:lnTo>
                    <a:pt x="564" y="112"/>
                  </a:lnTo>
                  <a:lnTo>
                    <a:pt x="573" y="128"/>
                  </a:lnTo>
                  <a:lnTo>
                    <a:pt x="598" y="96"/>
                  </a:lnTo>
                  <a:lnTo>
                    <a:pt x="589" y="72"/>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4" name="Freeform 73"/>
            <p:cNvSpPr>
              <a:spLocks/>
            </p:cNvSpPr>
            <p:nvPr>
              <p:custDataLst>
                <p:tags r:id="rId70"/>
              </p:custDataLst>
            </p:nvPr>
          </p:nvSpPr>
          <p:spPr bwMode="auto">
            <a:xfrm>
              <a:off x="4831" y="3488"/>
              <a:ext cx="244" cy="192"/>
            </a:xfrm>
            <a:custGeom>
              <a:avLst/>
              <a:gdLst>
                <a:gd name="T0" fmla="*/ 227 w 244"/>
                <a:gd name="T1" fmla="*/ 32 h 192"/>
                <a:gd name="T2" fmla="*/ 185 w 244"/>
                <a:gd name="T3" fmla="*/ 16 h 192"/>
                <a:gd name="T4" fmla="*/ 177 w 244"/>
                <a:gd name="T5" fmla="*/ 0 h 192"/>
                <a:gd name="T6" fmla="*/ 134 w 244"/>
                <a:gd name="T7" fmla="*/ 0 h 192"/>
                <a:gd name="T8" fmla="*/ 75 w 244"/>
                <a:gd name="T9" fmla="*/ 24 h 192"/>
                <a:gd name="T10" fmla="*/ 50 w 244"/>
                <a:gd name="T11" fmla="*/ 32 h 192"/>
                <a:gd name="T12" fmla="*/ 25 w 244"/>
                <a:gd name="T13" fmla="*/ 40 h 192"/>
                <a:gd name="T14" fmla="*/ 16 w 244"/>
                <a:gd name="T15" fmla="*/ 72 h 192"/>
                <a:gd name="T16" fmla="*/ 0 w 244"/>
                <a:gd name="T17" fmla="*/ 64 h 192"/>
                <a:gd name="T18" fmla="*/ 0 w 244"/>
                <a:gd name="T19" fmla="*/ 88 h 192"/>
                <a:gd name="T20" fmla="*/ 8 w 244"/>
                <a:gd name="T21" fmla="*/ 144 h 192"/>
                <a:gd name="T22" fmla="*/ 33 w 244"/>
                <a:gd name="T23" fmla="*/ 176 h 192"/>
                <a:gd name="T24" fmla="*/ 59 w 244"/>
                <a:gd name="T25" fmla="*/ 184 h 192"/>
                <a:gd name="T26" fmla="*/ 67 w 244"/>
                <a:gd name="T27" fmla="*/ 192 h 192"/>
                <a:gd name="T28" fmla="*/ 75 w 244"/>
                <a:gd name="T29" fmla="*/ 192 h 192"/>
                <a:gd name="T30" fmla="*/ 109 w 244"/>
                <a:gd name="T31" fmla="*/ 176 h 192"/>
                <a:gd name="T32" fmla="*/ 134 w 244"/>
                <a:gd name="T33" fmla="*/ 176 h 192"/>
                <a:gd name="T34" fmla="*/ 168 w 244"/>
                <a:gd name="T35" fmla="*/ 136 h 192"/>
                <a:gd name="T36" fmla="*/ 236 w 244"/>
                <a:gd name="T37" fmla="*/ 128 h 192"/>
                <a:gd name="T38" fmla="*/ 244 w 244"/>
                <a:gd name="T39" fmla="*/ 104 h 192"/>
                <a:gd name="T40" fmla="*/ 244 w 244"/>
                <a:gd name="T41" fmla="*/ 64 h 192"/>
                <a:gd name="T42" fmla="*/ 227 w 244"/>
                <a:gd name="T43" fmla="*/ 32 h 19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44" h="192">
                  <a:moveTo>
                    <a:pt x="227" y="32"/>
                  </a:moveTo>
                  <a:lnTo>
                    <a:pt x="185" y="16"/>
                  </a:lnTo>
                  <a:lnTo>
                    <a:pt x="177" y="0"/>
                  </a:lnTo>
                  <a:lnTo>
                    <a:pt x="134" y="0"/>
                  </a:lnTo>
                  <a:lnTo>
                    <a:pt x="75" y="24"/>
                  </a:lnTo>
                  <a:lnTo>
                    <a:pt x="50" y="32"/>
                  </a:lnTo>
                  <a:lnTo>
                    <a:pt x="25" y="40"/>
                  </a:lnTo>
                  <a:lnTo>
                    <a:pt x="16" y="72"/>
                  </a:lnTo>
                  <a:lnTo>
                    <a:pt x="0" y="64"/>
                  </a:lnTo>
                  <a:lnTo>
                    <a:pt x="0" y="88"/>
                  </a:lnTo>
                  <a:lnTo>
                    <a:pt x="8" y="144"/>
                  </a:lnTo>
                  <a:lnTo>
                    <a:pt x="33" y="176"/>
                  </a:lnTo>
                  <a:lnTo>
                    <a:pt x="59" y="184"/>
                  </a:lnTo>
                  <a:lnTo>
                    <a:pt x="67" y="192"/>
                  </a:lnTo>
                  <a:lnTo>
                    <a:pt x="75" y="192"/>
                  </a:lnTo>
                  <a:lnTo>
                    <a:pt x="109" y="176"/>
                  </a:lnTo>
                  <a:lnTo>
                    <a:pt x="134" y="176"/>
                  </a:lnTo>
                  <a:lnTo>
                    <a:pt x="168" y="136"/>
                  </a:lnTo>
                  <a:lnTo>
                    <a:pt x="236" y="128"/>
                  </a:lnTo>
                  <a:lnTo>
                    <a:pt x="244" y="104"/>
                  </a:lnTo>
                  <a:lnTo>
                    <a:pt x="244" y="64"/>
                  </a:lnTo>
                  <a:lnTo>
                    <a:pt x="227" y="3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5" name="Freeform 74"/>
            <p:cNvSpPr>
              <a:spLocks/>
            </p:cNvSpPr>
            <p:nvPr>
              <p:custDataLst>
                <p:tags r:id="rId71"/>
              </p:custDataLst>
            </p:nvPr>
          </p:nvSpPr>
          <p:spPr bwMode="auto">
            <a:xfrm>
              <a:off x="4965" y="3184"/>
              <a:ext cx="590" cy="408"/>
            </a:xfrm>
            <a:custGeom>
              <a:avLst/>
              <a:gdLst>
                <a:gd name="T0" fmla="*/ 455 w 590"/>
                <a:gd name="T1" fmla="*/ 256 h 408"/>
                <a:gd name="T2" fmla="*/ 489 w 590"/>
                <a:gd name="T3" fmla="*/ 248 h 408"/>
                <a:gd name="T4" fmla="*/ 514 w 590"/>
                <a:gd name="T5" fmla="*/ 232 h 408"/>
                <a:gd name="T6" fmla="*/ 565 w 590"/>
                <a:gd name="T7" fmla="*/ 240 h 408"/>
                <a:gd name="T8" fmla="*/ 590 w 590"/>
                <a:gd name="T9" fmla="*/ 232 h 408"/>
                <a:gd name="T10" fmla="*/ 565 w 590"/>
                <a:gd name="T11" fmla="*/ 200 h 408"/>
                <a:gd name="T12" fmla="*/ 523 w 590"/>
                <a:gd name="T13" fmla="*/ 176 h 408"/>
                <a:gd name="T14" fmla="*/ 548 w 590"/>
                <a:gd name="T15" fmla="*/ 144 h 408"/>
                <a:gd name="T16" fmla="*/ 548 w 590"/>
                <a:gd name="T17" fmla="*/ 104 h 408"/>
                <a:gd name="T18" fmla="*/ 548 w 590"/>
                <a:gd name="T19" fmla="*/ 72 h 408"/>
                <a:gd name="T20" fmla="*/ 573 w 590"/>
                <a:gd name="T21" fmla="*/ 64 h 408"/>
                <a:gd name="T22" fmla="*/ 582 w 590"/>
                <a:gd name="T23" fmla="*/ 48 h 408"/>
                <a:gd name="T24" fmla="*/ 582 w 590"/>
                <a:gd name="T25" fmla="*/ 32 h 408"/>
                <a:gd name="T26" fmla="*/ 582 w 590"/>
                <a:gd name="T27" fmla="*/ 16 h 408"/>
                <a:gd name="T28" fmla="*/ 531 w 590"/>
                <a:gd name="T29" fmla="*/ 16 h 408"/>
                <a:gd name="T30" fmla="*/ 523 w 590"/>
                <a:gd name="T31" fmla="*/ 0 h 408"/>
                <a:gd name="T32" fmla="*/ 481 w 590"/>
                <a:gd name="T33" fmla="*/ 8 h 408"/>
                <a:gd name="T34" fmla="*/ 455 w 590"/>
                <a:gd name="T35" fmla="*/ 0 h 408"/>
                <a:gd name="T36" fmla="*/ 413 w 590"/>
                <a:gd name="T37" fmla="*/ 8 h 408"/>
                <a:gd name="T38" fmla="*/ 363 w 590"/>
                <a:gd name="T39" fmla="*/ 24 h 408"/>
                <a:gd name="T40" fmla="*/ 321 w 590"/>
                <a:gd name="T41" fmla="*/ 80 h 408"/>
                <a:gd name="T42" fmla="*/ 270 w 590"/>
                <a:gd name="T43" fmla="*/ 88 h 408"/>
                <a:gd name="T44" fmla="*/ 219 w 590"/>
                <a:gd name="T45" fmla="*/ 88 h 408"/>
                <a:gd name="T46" fmla="*/ 194 w 590"/>
                <a:gd name="T47" fmla="*/ 88 h 408"/>
                <a:gd name="T48" fmla="*/ 169 w 590"/>
                <a:gd name="T49" fmla="*/ 112 h 408"/>
                <a:gd name="T50" fmla="*/ 76 w 590"/>
                <a:gd name="T51" fmla="*/ 112 h 408"/>
                <a:gd name="T52" fmla="*/ 43 w 590"/>
                <a:gd name="T53" fmla="*/ 104 h 408"/>
                <a:gd name="T54" fmla="*/ 43 w 590"/>
                <a:gd name="T55" fmla="*/ 80 h 408"/>
                <a:gd name="T56" fmla="*/ 9 w 590"/>
                <a:gd name="T57" fmla="*/ 64 h 408"/>
                <a:gd name="T58" fmla="*/ 0 w 590"/>
                <a:gd name="T59" fmla="*/ 88 h 408"/>
                <a:gd name="T60" fmla="*/ 9 w 590"/>
                <a:gd name="T61" fmla="*/ 120 h 408"/>
                <a:gd name="T62" fmla="*/ 26 w 590"/>
                <a:gd name="T63" fmla="*/ 152 h 408"/>
                <a:gd name="T64" fmla="*/ 68 w 590"/>
                <a:gd name="T65" fmla="*/ 184 h 408"/>
                <a:gd name="T66" fmla="*/ 51 w 590"/>
                <a:gd name="T67" fmla="*/ 224 h 408"/>
                <a:gd name="T68" fmla="*/ 34 w 590"/>
                <a:gd name="T69" fmla="*/ 232 h 408"/>
                <a:gd name="T70" fmla="*/ 34 w 590"/>
                <a:gd name="T71" fmla="*/ 264 h 408"/>
                <a:gd name="T72" fmla="*/ 51 w 590"/>
                <a:gd name="T73" fmla="*/ 272 h 408"/>
                <a:gd name="T74" fmla="*/ 43 w 590"/>
                <a:gd name="T75" fmla="*/ 304 h 408"/>
                <a:gd name="T76" fmla="*/ 51 w 590"/>
                <a:gd name="T77" fmla="*/ 320 h 408"/>
                <a:gd name="T78" fmla="*/ 93 w 590"/>
                <a:gd name="T79" fmla="*/ 336 h 408"/>
                <a:gd name="T80" fmla="*/ 110 w 590"/>
                <a:gd name="T81" fmla="*/ 368 h 408"/>
                <a:gd name="T82" fmla="*/ 110 w 590"/>
                <a:gd name="T83" fmla="*/ 408 h 408"/>
                <a:gd name="T84" fmla="*/ 110 w 590"/>
                <a:gd name="T85" fmla="*/ 400 h 408"/>
                <a:gd name="T86" fmla="*/ 152 w 590"/>
                <a:gd name="T87" fmla="*/ 400 h 408"/>
                <a:gd name="T88" fmla="*/ 194 w 590"/>
                <a:gd name="T89" fmla="*/ 384 h 408"/>
                <a:gd name="T90" fmla="*/ 245 w 590"/>
                <a:gd name="T91" fmla="*/ 352 h 408"/>
                <a:gd name="T92" fmla="*/ 278 w 590"/>
                <a:gd name="T93" fmla="*/ 368 h 408"/>
                <a:gd name="T94" fmla="*/ 312 w 590"/>
                <a:gd name="T95" fmla="*/ 368 h 408"/>
                <a:gd name="T96" fmla="*/ 337 w 590"/>
                <a:gd name="T97" fmla="*/ 368 h 408"/>
                <a:gd name="T98" fmla="*/ 396 w 590"/>
                <a:gd name="T99" fmla="*/ 352 h 408"/>
                <a:gd name="T100" fmla="*/ 430 w 590"/>
                <a:gd name="T101" fmla="*/ 336 h 408"/>
                <a:gd name="T102" fmla="*/ 422 w 590"/>
                <a:gd name="T103" fmla="*/ 296 h 408"/>
                <a:gd name="T104" fmla="*/ 447 w 590"/>
                <a:gd name="T105" fmla="*/ 296 h 408"/>
                <a:gd name="T106" fmla="*/ 455 w 590"/>
                <a:gd name="T107" fmla="*/ 280 h 408"/>
                <a:gd name="T108" fmla="*/ 455 w 590"/>
                <a:gd name="T109" fmla="*/ 256 h 40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90" h="408">
                  <a:moveTo>
                    <a:pt x="455" y="256"/>
                  </a:moveTo>
                  <a:lnTo>
                    <a:pt x="489" y="248"/>
                  </a:lnTo>
                  <a:lnTo>
                    <a:pt x="514" y="232"/>
                  </a:lnTo>
                  <a:lnTo>
                    <a:pt x="565" y="240"/>
                  </a:lnTo>
                  <a:lnTo>
                    <a:pt x="590" y="232"/>
                  </a:lnTo>
                  <a:lnTo>
                    <a:pt x="565" y="200"/>
                  </a:lnTo>
                  <a:lnTo>
                    <a:pt x="523" y="176"/>
                  </a:lnTo>
                  <a:lnTo>
                    <a:pt x="548" y="144"/>
                  </a:lnTo>
                  <a:lnTo>
                    <a:pt x="548" y="104"/>
                  </a:lnTo>
                  <a:lnTo>
                    <a:pt x="548" y="72"/>
                  </a:lnTo>
                  <a:lnTo>
                    <a:pt x="573" y="64"/>
                  </a:lnTo>
                  <a:lnTo>
                    <a:pt x="582" y="48"/>
                  </a:lnTo>
                  <a:lnTo>
                    <a:pt x="582" y="32"/>
                  </a:lnTo>
                  <a:lnTo>
                    <a:pt x="582" y="16"/>
                  </a:lnTo>
                  <a:lnTo>
                    <a:pt x="531" y="16"/>
                  </a:lnTo>
                  <a:lnTo>
                    <a:pt x="523" y="0"/>
                  </a:lnTo>
                  <a:lnTo>
                    <a:pt x="481" y="8"/>
                  </a:lnTo>
                  <a:lnTo>
                    <a:pt x="455" y="0"/>
                  </a:lnTo>
                  <a:lnTo>
                    <a:pt x="413" y="8"/>
                  </a:lnTo>
                  <a:lnTo>
                    <a:pt x="363" y="24"/>
                  </a:lnTo>
                  <a:lnTo>
                    <a:pt x="321" y="80"/>
                  </a:lnTo>
                  <a:lnTo>
                    <a:pt x="270" y="88"/>
                  </a:lnTo>
                  <a:lnTo>
                    <a:pt x="219" y="88"/>
                  </a:lnTo>
                  <a:lnTo>
                    <a:pt x="194" y="88"/>
                  </a:lnTo>
                  <a:lnTo>
                    <a:pt x="169" y="112"/>
                  </a:lnTo>
                  <a:lnTo>
                    <a:pt x="76" y="112"/>
                  </a:lnTo>
                  <a:lnTo>
                    <a:pt x="43" y="104"/>
                  </a:lnTo>
                  <a:lnTo>
                    <a:pt x="43" y="80"/>
                  </a:lnTo>
                  <a:lnTo>
                    <a:pt x="9" y="64"/>
                  </a:lnTo>
                  <a:lnTo>
                    <a:pt x="0" y="88"/>
                  </a:lnTo>
                  <a:lnTo>
                    <a:pt x="9" y="120"/>
                  </a:lnTo>
                  <a:lnTo>
                    <a:pt x="26" y="152"/>
                  </a:lnTo>
                  <a:lnTo>
                    <a:pt x="68" y="184"/>
                  </a:lnTo>
                  <a:lnTo>
                    <a:pt x="51" y="224"/>
                  </a:lnTo>
                  <a:lnTo>
                    <a:pt x="34" y="232"/>
                  </a:lnTo>
                  <a:lnTo>
                    <a:pt x="34" y="264"/>
                  </a:lnTo>
                  <a:lnTo>
                    <a:pt x="51" y="272"/>
                  </a:lnTo>
                  <a:lnTo>
                    <a:pt x="43" y="304"/>
                  </a:lnTo>
                  <a:lnTo>
                    <a:pt x="51" y="320"/>
                  </a:lnTo>
                  <a:lnTo>
                    <a:pt x="93" y="336"/>
                  </a:lnTo>
                  <a:lnTo>
                    <a:pt x="110" y="368"/>
                  </a:lnTo>
                  <a:lnTo>
                    <a:pt x="110" y="408"/>
                  </a:lnTo>
                  <a:lnTo>
                    <a:pt x="110" y="400"/>
                  </a:lnTo>
                  <a:lnTo>
                    <a:pt x="152" y="400"/>
                  </a:lnTo>
                  <a:lnTo>
                    <a:pt x="194" y="384"/>
                  </a:lnTo>
                  <a:lnTo>
                    <a:pt x="245" y="352"/>
                  </a:lnTo>
                  <a:lnTo>
                    <a:pt x="278" y="368"/>
                  </a:lnTo>
                  <a:lnTo>
                    <a:pt x="312" y="368"/>
                  </a:lnTo>
                  <a:lnTo>
                    <a:pt x="337" y="368"/>
                  </a:lnTo>
                  <a:lnTo>
                    <a:pt x="396" y="352"/>
                  </a:lnTo>
                  <a:lnTo>
                    <a:pt x="430" y="336"/>
                  </a:lnTo>
                  <a:lnTo>
                    <a:pt x="422" y="296"/>
                  </a:lnTo>
                  <a:lnTo>
                    <a:pt x="447" y="296"/>
                  </a:lnTo>
                  <a:lnTo>
                    <a:pt x="455" y="280"/>
                  </a:lnTo>
                  <a:lnTo>
                    <a:pt x="455" y="256"/>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6" name="Freeform 75"/>
            <p:cNvSpPr>
              <a:spLocks/>
            </p:cNvSpPr>
            <p:nvPr>
              <p:custDataLst>
                <p:tags r:id="rId72"/>
              </p:custDataLst>
            </p:nvPr>
          </p:nvSpPr>
          <p:spPr bwMode="auto">
            <a:xfrm>
              <a:off x="4831" y="3488"/>
              <a:ext cx="244" cy="192"/>
            </a:xfrm>
            <a:custGeom>
              <a:avLst/>
              <a:gdLst>
                <a:gd name="T0" fmla="*/ 227 w 244"/>
                <a:gd name="T1" fmla="*/ 32 h 192"/>
                <a:gd name="T2" fmla="*/ 185 w 244"/>
                <a:gd name="T3" fmla="*/ 16 h 192"/>
                <a:gd name="T4" fmla="*/ 177 w 244"/>
                <a:gd name="T5" fmla="*/ 0 h 192"/>
                <a:gd name="T6" fmla="*/ 177 w 244"/>
                <a:gd name="T7" fmla="*/ 0 h 192"/>
                <a:gd name="T8" fmla="*/ 134 w 244"/>
                <a:gd name="T9" fmla="*/ 0 h 192"/>
                <a:gd name="T10" fmla="*/ 75 w 244"/>
                <a:gd name="T11" fmla="*/ 24 h 192"/>
                <a:gd name="T12" fmla="*/ 50 w 244"/>
                <a:gd name="T13" fmla="*/ 32 h 192"/>
                <a:gd name="T14" fmla="*/ 25 w 244"/>
                <a:gd name="T15" fmla="*/ 40 h 192"/>
                <a:gd name="T16" fmla="*/ 16 w 244"/>
                <a:gd name="T17" fmla="*/ 72 h 192"/>
                <a:gd name="T18" fmla="*/ 0 w 244"/>
                <a:gd name="T19" fmla="*/ 64 h 192"/>
                <a:gd name="T20" fmla="*/ 0 w 244"/>
                <a:gd name="T21" fmla="*/ 88 h 192"/>
                <a:gd name="T22" fmla="*/ 8 w 244"/>
                <a:gd name="T23" fmla="*/ 144 h 192"/>
                <a:gd name="T24" fmla="*/ 33 w 244"/>
                <a:gd name="T25" fmla="*/ 176 h 192"/>
                <a:gd name="T26" fmla="*/ 59 w 244"/>
                <a:gd name="T27" fmla="*/ 184 h 192"/>
                <a:gd name="T28" fmla="*/ 67 w 244"/>
                <a:gd name="T29" fmla="*/ 192 h 192"/>
                <a:gd name="T30" fmla="*/ 75 w 244"/>
                <a:gd name="T31" fmla="*/ 192 h 192"/>
                <a:gd name="T32" fmla="*/ 109 w 244"/>
                <a:gd name="T33" fmla="*/ 176 h 192"/>
                <a:gd name="T34" fmla="*/ 134 w 244"/>
                <a:gd name="T35" fmla="*/ 176 h 192"/>
                <a:gd name="T36" fmla="*/ 168 w 244"/>
                <a:gd name="T37" fmla="*/ 136 h 192"/>
                <a:gd name="T38" fmla="*/ 236 w 244"/>
                <a:gd name="T39" fmla="*/ 128 h 192"/>
                <a:gd name="T40" fmla="*/ 244 w 244"/>
                <a:gd name="T41" fmla="*/ 104 h 192"/>
                <a:gd name="T42" fmla="*/ 244 w 244"/>
                <a:gd name="T43" fmla="*/ 64 h 192"/>
                <a:gd name="T44" fmla="*/ 227 w 244"/>
                <a:gd name="T45" fmla="*/ 32 h 1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44" h="192">
                  <a:moveTo>
                    <a:pt x="227" y="32"/>
                  </a:moveTo>
                  <a:lnTo>
                    <a:pt x="185" y="16"/>
                  </a:lnTo>
                  <a:lnTo>
                    <a:pt x="177" y="0"/>
                  </a:lnTo>
                  <a:lnTo>
                    <a:pt x="134" y="0"/>
                  </a:lnTo>
                  <a:lnTo>
                    <a:pt x="75" y="24"/>
                  </a:lnTo>
                  <a:lnTo>
                    <a:pt x="50" y="32"/>
                  </a:lnTo>
                  <a:lnTo>
                    <a:pt x="25" y="40"/>
                  </a:lnTo>
                  <a:lnTo>
                    <a:pt x="16" y="72"/>
                  </a:lnTo>
                  <a:lnTo>
                    <a:pt x="0" y="64"/>
                  </a:lnTo>
                  <a:lnTo>
                    <a:pt x="0" y="88"/>
                  </a:lnTo>
                  <a:lnTo>
                    <a:pt x="8" y="144"/>
                  </a:lnTo>
                  <a:lnTo>
                    <a:pt x="33" y="176"/>
                  </a:lnTo>
                  <a:lnTo>
                    <a:pt x="59" y="184"/>
                  </a:lnTo>
                  <a:lnTo>
                    <a:pt x="67" y="192"/>
                  </a:lnTo>
                  <a:lnTo>
                    <a:pt x="75" y="192"/>
                  </a:lnTo>
                  <a:lnTo>
                    <a:pt x="109" y="176"/>
                  </a:lnTo>
                  <a:lnTo>
                    <a:pt x="134" y="176"/>
                  </a:lnTo>
                  <a:lnTo>
                    <a:pt x="168" y="136"/>
                  </a:lnTo>
                  <a:lnTo>
                    <a:pt x="236" y="128"/>
                  </a:lnTo>
                  <a:lnTo>
                    <a:pt x="244" y="104"/>
                  </a:lnTo>
                  <a:lnTo>
                    <a:pt x="244" y="64"/>
                  </a:lnTo>
                  <a:lnTo>
                    <a:pt x="227" y="32"/>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7" name="Freeform 76"/>
            <p:cNvSpPr>
              <a:spLocks/>
            </p:cNvSpPr>
            <p:nvPr>
              <p:custDataLst>
                <p:tags r:id="rId73"/>
              </p:custDataLst>
            </p:nvPr>
          </p:nvSpPr>
          <p:spPr bwMode="auto">
            <a:xfrm>
              <a:off x="4965" y="3184"/>
              <a:ext cx="590" cy="408"/>
            </a:xfrm>
            <a:custGeom>
              <a:avLst/>
              <a:gdLst>
                <a:gd name="T0" fmla="*/ 455 w 590"/>
                <a:gd name="T1" fmla="*/ 256 h 408"/>
                <a:gd name="T2" fmla="*/ 489 w 590"/>
                <a:gd name="T3" fmla="*/ 248 h 408"/>
                <a:gd name="T4" fmla="*/ 514 w 590"/>
                <a:gd name="T5" fmla="*/ 232 h 408"/>
                <a:gd name="T6" fmla="*/ 565 w 590"/>
                <a:gd name="T7" fmla="*/ 240 h 408"/>
                <a:gd name="T8" fmla="*/ 590 w 590"/>
                <a:gd name="T9" fmla="*/ 232 h 408"/>
                <a:gd name="T10" fmla="*/ 565 w 590"/>
                <a:gd name="T11" fmla="*/ 200 h 408"/>
                <a:gd name="T12" fmla="*/ 523 w 590"/>
                <a:gd name="T13" fmla="*/ 176 h 408"/>
                <a:gd name="T14" fmla="*/ 548 w 590"/>
                <a:gd name="T15" fmla="*/ 144 h 408"/>
                <a:gd name="T16" fmla="*/ 548 w 590"/>
                <a:gd name="T17" fmla="*/ 104 h 408"/>
                <a:gd name="T18" fmla="*/ 548 w 590"/>
                <a:gd name="T19" fmla="*/ 72 h 408"/>
                <a:gd name="T20" fmla="*/ 573 w 590"/>
                <a:gd name="T21" fmla="*/ 64 h 408"/>
                <a:gd name="T22" fmla="*/ 582 w 590"/>
                <a:gd name="T23" fmla="*/ 48 h 408"/>
                <a:gd name="T24" fmla="*/ 582 w 590"/>
                <a:gd name="T25" fmla="*/ 32 h 408"/>
                <a:gd name="T26" fmla="*/ 582 w 590"/>
                <a:gd name="T27" fmla="*/ 16 h 408"/>
                <a:gd name="T28" fmla="*/ 531 w 590"/>
                <a:gd name="T29" fmla="*/ 16 h 408"/>
                <a:gd name="T30" fmla="*/ 523 w 590"/>
                <a:gd name="T31" fmla="*/ 0 h 408"/>
                <a:gd name="T32" fmla="*/ 481 w 590"/>
                <a:gd name="T33" fmla="*/ 8 h 408"/>
                <a:gd name="T34" fmla="*/ 455 w 590"/>
                <a:gd name="T35" fmla="*/ 0 h 408"/>
                <a:gd name="T36" fmla="*/ 413 w 590"/>
                <a:gd name="T37" fmla="*/ 8 h 408"/>
                <a:gd name="T38" fmla="*/ 363 w 590"/>
                <a:gd name="T39" fmla="*/ 24 h 408"/>
                <a:gd name="T40" fmla="*/ 321 w 590"/>
                <a:gd name="T41" fmla="*/ 80 h 408"/>
                <a:gd name="T42" fmla="*/ 270 w 590"/>
                <a:gd name="T43" fmla="*/ 88 h 408"/>
                <a:gd name="T44" fmla="*/ 219 w 590"/>
                <a:gd name="T45" fmla="*/ 88 h 408"/>
                <a:gd name="T46" fmla="*/ 194 w 590"/>
                <a:gd name="T47" fmla="*/ 88 h 408"/>
                <a:gd name="T48" fmla="*/ 169 w 590"/>
                <a:gd name="T49" fmla="*/ 112 h 408"/>
                <a:gd name="T50" fmla="*/ 76 w 590"/>
                <a:gd name="T51" fmla="*/ 112 h 408"/>
                <a:gd name="T52" fmla="*/ 43 w 590"/>
                <a:gd name="T53" fmla="*/ 104 h 408"/>
                <a:gd name="T54" fmla="*/ 43 w 590"/>
                <a:gd name="T55" fmla="*/ 80 h 408"/>
                <a:gd name="T56" fmla="*/ 9 w 590"/>
                <a:gd name="T57" fmla="*/ 64 h 408"/>
                <a:gd name="T58" fmla="*/ 0 w 590"/>
                <a:gd name="T59" fmla="*/ 88 h 408"/>
                <a:gd name="T60" fmla="*/ 9 w 590"/>
                <a:gd name="T61" fmla="*/ 120 h 408"/>
                <a:gd name="T62" fmla="*/ 26 w 590"/>
                <a:gd name="T63" fmla="*/ 152 h 408"/>
                <a:gd name="T64" fmla="*/ 68 w 590"/>
                <a:gd name="T65" fmla="*/ 184 h 408"/>
                <a:gd name="T66" fmla="*/ 51 w 590"/>
                <a:gd name="T67" fmla="*/ 224 h 408"/>
                <a:gd name="T68" fmla="*/ 34 w 590"/>
                <a:gd name="T69" fmla="*/ 232 h 408"/>
                <a:gd name="T70" fmla="*/ 34 w 590"/>
                <a:gd name="T71" fmla="*/ 264 h 408"/>
                <a:gd name="T72" fmla="*/ 51 w 590"/>
                <a:gd name="T73" fmla="*/ 272 h 408"/>
                <a:gd name="T74" fmla="*/ 43 w 590"/>
                <a:gd name="T75" fmla="*/ 304 h 408"/>
                <a:gd name="T76" fmla="*/ 51 w 590"/>
                <a:gd name="T77" fmla="*/ 320 h 408"/>
                <a:gd name="T78" fmla="*/ 93 w 590"/>
                <a:gd name="T79" fmla="*/ 336 h 408"/>
                <a:gd name="T80" fmla="*/ 110 w 590"/>
                <a:gd name="T81" fmla="*/ 368 h 408"/>
                <a:gd name="T82" fmla="*/ 110 w 590"/>
                <a:gd name="T83" fmla="*/ 408 h 408"/>
                <a:gd name="T84" fmla="*/ 110 w 590"/>
                <a:gd name="T85" fmla="*/ 400 h 408"/>
                <a:gd name="T86" fmla="*/ 152 w 590"/>
                <a:gd name="T87" fmla="*/ 400 h 408"/>
                <a:gd name="T88" fmla="*/ 194 w 590"/>
                <a:gd name="T89" fmla="*/ 384 h 408"/>
                <a:gd name="T90" fmla="*/ 245 w 590"/>
                <a:gd name="T91" fmla="*/ 352 h 408"/>
                <a:gd name="T92" fmla="*/ 278 w 590"/>
                <a:gd name="T93" fmla="*/ 368 h 408"/>
                <a:gd name="T94" fmla="*/ 312 w 590"/>
                <a:gd name="T95" fmla="*/ 368 h 408"/>
                <a:gd name="T96" fmla="*/ 337 w 590"/>
                <a:gd name="T97" fmla="*/ 368 h 408"/>
                <a:gd name="T98" fmla="*/ 396 w 590"/>
                <a:gd name="T99" fmla="*/ 352 h 408"/>
                <a:gd name="T100" fmla="*/ 430 w 590"/>
                <a:gd name="T101" fmla="*/ 336 h 408"/>
                <a:gd name="T102" fmla="*/ 422 w 590"/>
                <a:gd name="T103" fmla="*/ 296 h 408"/>
                <a:gd name="T104" fmla="*/ 447 w 590"/>
                <a:gd name="T105" fmla="*/ 296 h 408"/>
                <a:gd name="T106" fmla="*/ 447 w 590"/>
                <a:gd name="T107" fmla="*/ 296 h 408"/>
                <a:gd name="T108" fmla="*/ 455 w 590"/>
                <a:gd name="T109" fmla="*/ 280 h 408"/>
                <a:gd name="T110" fmla="*/ 455 w 590"/>
                <a:gd name="T111" fmla="*/ 256 h 4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90" h="408">
                  <a:moveTo>
                    <a:pt x="455" y="256"/>
                  </a:moveTo>
                  <a:lnTo>
                    <a:pt x="489" y="248"/>
                  </a:lnTo>
                  <a:lnTo>
                    <a:pt x="514" y="232"/>
                  </a:lnTo>
                  <a:lnTo>
                    <a:pt x="565" y="240"/>
                  </a:lnTo>
                  <a:lnTo>
                    <a:pt x="590" y="232"/>
                  </a:lnTo>
                  <a:lnTo>
                    <a:pt x="565" y="200"/>
                  </a:lnTo>
                  <a:lnTo>
                    <a:pt x="523" y="176"/>
                  </a:lnTo>
                  <a:lnTo>
                    <a:pt x="548" y="144"/>
                  </a:lnTo>
                  <a:lnTo>
                    <a:pt x="548" y="104"/>
                  </a:lnTo>
                  <a:lnTo>
                    <a:pt x="548" y="72"/>
                  </a:lnTo>
                  <a:lnTo>
                    <a:pt x="573" y="64"/>
                  </a:lnTo>
                  <a:lnTo>
                    <a:pt x="582" y="48"/>
                  </a:lnTo>
                  <a:lnTo>
                    <a:pt x="582" y="32"/>
                  </a:lnTo>
                  <a:lnTo>
                    <a:pt x="582" y="16"/>
                  </a:lnTo>
                  <a:lnTo>
                    <a:pt x="531" y="16"/>
                  </a:lnTo>
                  <a:lnTo>
                    <a:pt x="523" y="0"/>
                  </a:lnTo>
                  <a:lnTo>
                    <a:pt x="481" y="8"/>
                  </a:lnTo>
                  <a:lnTo>
                    <a:pt x="455" y="0"/>
                  </a:lnTo>
                  <a:lnTo>
                    <a:pt x="413" y="8"/>
                  </a:lnTo>
                  <a:lnTo>
                    <a:pt x="363" y="24"/>
                  </a:lnTo>
                  <a:lnTo>
                    <a:pt x="321" y="80"/>
                  </a:lnTo>
                  <a:lnTo>
                    <a:pt x="270" y="88"/>
                  </a:lnTo>
                  <a:lnTo>
                    <a:pt x="219" y="88"/>
                  </a:lnTo>
                  <a:lnTo>
                    <a:pt x="194" y="88"/>
                  </a:lnTo>
                  <a:lnTo>
                    <a:pt x="169" y="112"/>
                  </a:lnTo>
                  <a:lnTo>
                    <a:pt x="76" y="112"/>
                  </a:lnTo>
                  <a:lnTo>
                    <a:pt x="43" y="104"/>
                  </a:lnTo>
                  <a:lnTo>
                    <a:pt x="43" y="80"/>
                  </a:lnTo>
                  <a:lnTo>
                    <a:pt x="9" y="64"/>
                  </a:lnTo>
                  <a:lnTo>
                    <a:pt x="0" y="88"/>
                  </a:lnTo>
                  <a:lnTo>
                    <a:pt x="9" y="120"/>
                  </a:lnTo>
                  <a:lnTo>
                    <a:pt x="26" y="152"/>
                  </a:lnTo>
                  <a:lnTo>
                    <a:pt x="68" y="184"/>
                  </a:lnTo>
                  <a:lnTo>
                    <a:pt x="51" y="224"/>
                  </a:lnTo>
                  <a:lnTo>
                    <a:pt x="34" y="232"/>
                  </a:lnTo>
                  <a:lnTo>
                    <a:pt x="34" y="264"/>
                  </a:lnTo>
                  <a:lnTo>
                    <a:pt x="51" y="272"/>
                  </a:lnTo>
                  <a:lnTo>
                    <a:pt x="43" y="304"/>
                  </a:lnTo>
                  <a:lnTo>
                    <a:pt x="51" y="320"/>
                  </a:lnTo>
                  <a:lnTo>
                    <a:pt x="93" y="336"/>
                  </a:lnTo>
                  <a:lnTo>
                    <a:pt x="110" y="368"/>
                  </a:lnTo>
                  <a:lnTo>
                    <a:pt x="110" y="408"/>
                  </a:lnTo>
                  <a:lnTo>
                    <a:pt x="110" y="400"/>
                  </a:lnTo>
                  <a:lnTo>
                    <a:pt x="152" y="400"/>
                  </a:lnTo>
                  <a:lnTo>
                    <a:pt x="194" y="384"/>
                  </a:lnTo>
                  <a:lnTo>
                    <a:pt x="245" y="352"/>
                  </a:lnTo>
                  <a:lnTo>
                    <a:pt x="278" y="368"/>
                  </a:lnTo>
                  <a:lnTo>
                    <a:pt x="312" y="368"/>
                  </a:lnTo>
                  <a:lnTo>
                    <a:pt x="337" y="368"/>
                  </a:lnTo>
                  <a:lnTo>
                    <a:pt x="396" y="352"/>
                  </a:lnTo>
                  <a:lnTo>
                    <a:pt x="430" y="336"/>
                  </a:lnTo>
                  <a:lnTo>
                    <a:pt x="422" y="296"/>
                  </a:lnTo>
                  <a:lnTo>
                    <a:pt x="447" y="296"/>
                  </a:lnTo>
                  <a:lnTo>
                    <a:pt x="455" y="280"/>
                  </a:lnTo>
                  <a:lnTo>
                    <a:pt x="455" y="256"/>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8" name="Freeform 77"/>
            <p:cNvSpPr>
              <a:spLocks/>
            </p:cNvSpPr>
            <p:nvPr>
              <p:custDataLst>
                <p:tags r:id="rId74"/>
              </p:custDataLst>
            </p:nvPr>
          </p:nvSpPr>
          <p:spPr bwMode="auto">
            <a:xfrm>
              <a:off x="5404" y="3416"/>
              <a:ext cx="364" cy="616"/>
            </a:xfrm>
            <a:custGeom>
              <a:avLst/>
              <a:gdLst>
                <a:gd name="T0" fmla="*/ 219 w 364"/>
                <a:gd name="T1" fmla="*/ 40 h 616"/>
                <a:gd name="T2" fmla="*/ 151 w 364"/>
                <a:gd name="T3" fmla="*/ 0 h 616"/>
                <a:gd name="T4" fmla="*/ 75 w 364"/>
                <a:gd name="T5" fmla="*/ 0 h 616"/>
                <a:gd name="T6" fmla="*/ 16 w 364"/>
                <a:gd name="T7" fmla="*/ 24 h 616"/>
                <a:gd name="T8" fmla="*/ 8 w 364"/>
                <a:gd name="T9" fmla="*/ 64 h 616"/>
                <a:gd name="T10" fmla="*/ 16 w 364"/>
                <a:gd name="T11" fmla="*/ 136 h 616"/>
                <a:gd name="T12" fmla="*/ 0 w 364"/>
                <a:gd name="T13" fmla="*/ 192 h 616"/>
                <a:gd name="T14" fmla="*/ 67 w 364"/>
                <a:gd name="T15" fmla="*/ 184 h 616"/>
                <a:gd name="T16" fmla="*/ 33 w 364"/>
                <a:gd name="T17" fmla="*/ 256 h 616"/>
                <a:gd name="T18" fmla="*/ 118 w 364"/>
                <a:gd name="T19" fmla="*/ 312 h 616"/>
                <a:gd name="T20" fmla="*/ 160 w 364"/>
                <a:gd name="T21" fmla="*/ 384 h 616"/>
                <a:gd name="T22" fmla="*/ 168 w 364"/>
                <a:gd name="T23" fmla="*/ 432 h 616"/>
                <a:gd name="T24" fmla="*/ 101 w 364"/>
                <a:gd name="T25" fmla="*/ 440 h 616"/>
                <a:gd name="T26" fmla="*/ 126 w 364"/>
                <a:gd name="T27" fmla="*/ 496 h 616"/>
                <a:gd name="T28" fmla="*/ 168 w 364"/>
                <a:gd name="T29" fmla="*/ 480 h 616"/>
                <a:gd name="T30" fmla="*/ 219 w 364"/>
                <a:gd name="T31" fmla="*/ 504 h 616"/>
                <a:gd name="T32" fmla="*/ 235 w 364"/>
                <a:gd name="T33" fmla="*/ 560 h 616"/>
                <a:gd name="T34" fmla="*/ 244 w 364"/>
                <a:gd name="T35" fmla="*/ 592 h 616"/>
                <a:gd name="T36" fmla="*/ 261 w 364"/>
                <a:gd name="T37" fmla="*/ 600 h 616"/>
                <a:gd name="T38" fmla="*/ 337 w 364"/>
                <a:gd name="T39" fmla="*/ 616 h 616"/>
                <a:gd name="T40" fmla="*/ 360 w 364"/>
                <a:gd name="T41" fmla="*/ 578 h 616"/>
                <a:gd name="T42" fmla="*/ 303 w 364"/>
                <a:gd name="T43" fmla="*/ 56 h 616"/>
                <a:gd name="T44" fmla="*/ 320 w 364"/>
                <a:gd name="T45" fmla="*/ 152 h 616"/>
                <a:gd name="T46" fmla="*/ 244 w 364"/>
                <a:gd name="T47" fmla="*/ 168 h 616"/>
                <a:gd name="T48" fmla="*/ 151 w 364"/>
                <a:gd name="T49" fmla="*/ 200 h 616"/>
                <a:gd name="T50" fmla="*/ 92 w 364"/>
                <a:gd name="T51" fmla="*/ 208 h 616"/>
                <a:gd name="T52" fmla="*/ 42 w 364"/>
                <a:gd name="T53" fmla="*/ 264 h 616"/>
                <a:gd name="T54" fmla="*/ 59 w 364"/>
                <a:gd name="T55" fmla="*/ 232 h 616"/>
                <a:gd name="T56" fmla="*/ 126 w 364"/>
                <a:gd name="T57" fmla="*/ 168 h 616"/>
                <a:gd name="T58" fmla="*/ 185 w 364"/>
                <a:gd name="T59" fmla="*/ 104 h 616"/>
                <a:gd name="T60" fmla="*/ 286 w 364"/>
                <a:gd name="T61" fmla="*/ 80 h 616"/>
                <a:gd name="T62" fmla="*/ 303 w 364"/>
                <a:gd name="T63" fmla="*/ 96 h 616"/>
                <a:gd name="T64" fmla="*/ 328 w 364"/>
                <a:gd name="T65" fmla="*/ 112 h 616"/>
                <a:gd name="T66" fmla="*/ 303 w 364"/>
                <a:gd name="T67" fmla="*/ 56 h 61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64" h="616">
                  <a:moveTo>
                    <a:pt x="303" y="56"/>
                  </a:moveTo>
                  <a:lnTo>
                    <a:pt x="219" y="40"/>
                  </a:lnTo>
                  <a:lnTo>
                    <a:pt x="185" y="24"/>
                  </a:lnTo>
                  <a:lnTo>
                    <a:pt x="151" y="0"/>
                  </a:lnTo>
                  <a:lnTo>
                    <a:pt x="126" y="8"/>
                  </a:lnTo>
                  <a:lnTo>
                    <a:pt x="75" y="0"/>
                  </a:lnTo>
                  <a:lnTo>
                    <a:pt x="50" y="16"/>
                  </a:lnTo>
                  <a:lnTo>
                    <a:pt x="16" y="24"/>
                  </a:lnTo>
                  <a:lnTo>
                    <a:pt x="16" y="48"/>
                  </a:lnTo>
                  <a:lnTo>
                    <a:pt x="8" y="64"/>
                  </a:lnTo>
                  <a:lnTo>
                    <a:pt x="33" y="88"/>
                  </a:lnTo>
                  <a:lnTo>
                    <a:pt x="16" y="136"/>
                  </a:lnTo>
                  <a:lnTo>
                    <a:pt x="25" y="160"/>
                  </a:lnTo>
                  <a:lnTo>
                    <a:pt x="0" y="192"/>
                  </a:lnTo>
                  <a:lnTo>
                    <a:pt x="0" y="200"/>
                  </a:lnTo>
                  <a:lnTo>
                    <a:pt x="67" y="184"/>
                  </a:lnTo>
                  <a:lnTo>
                    <a:pt x="42" y="216"/>
                  </a:lnTo>
                  <a:lnTo>
                    <a:pt x="33" y="256"/>
                  </a:lnTo>
                  <a:lnTo>
                    <a:pt x="50" y="328"/>
                  </a:lnTo>
                  <a:lnTo>
                    <a:pt x="118" y="312"/>
                  </a:lnTo>
                  <a:lnTo>
                    <a:pt x="118" y="352"/>
                  </a:lnTo>
                  <a:lnTo>
                    <a:pt x="160" y="384"/>
                  </a:lnTo>
                  <a:lnTo>
                    <a:pt x="151" y="408"/>
                  </a:lnTo>
                  <a:lnTo>
                    <a:pt x="168" y="432"/>
                  </a:lnTo>
                  <a:lnTo>
                    <a:pt x="134" y="448"/>
                  </a:lnTo>
                  <a:lnTo>
                    <a:pt x="101" y="440"/>
                  </a:lnTo>
                  <a:lnTo>
                    <a:pt x="101" y="472"/>
                  </a:lnTo>
                  <a:lnTo>
                    <a:pt x="126" y="496"/>
                  </a:lnTo>
                  <a:lnTo>
                    <a:pt x="151" y="480"/>
                  </a:lnTo>
                  <a:lnTo>
                    <a:pt x="168" y="480"/>
                  </a:lnTo>
                  <a:lnTo>
                    <a:pt x="185" y="488"/>
                  </a:lnTo>
                  <a:lnTo>
                    <a:pt x="219" y="504"/>
                  </a:lnTo>
                  <a:lnTo>
                    <a:pt x="227" y="528"/>
                  </a:lnTo>
                  <a:lnTo>
                    <a:pt x="235" y="560"/>
                  </a:lnTo>
                  <a:lnTo>
                    <a:pt x="269" y="576"/>
                  </a:lnTo>
                  <a:lnTo>
                    <a:pt x="244" y="592"/>
                  </a:lnTo>
                  <a:lnTo>
                    <a:pt x="244" y="600"/>
                  </a:lnTo>
                  <a:lnTo>
                    <a:pt x="261" y="600"/>
                  </a:lnTo>
                  <a:lnTo>
                    <a:pt x="345" y="584"/>
                  </a:lnTo>
                  <a:lnTo>
                    <a:pt x="337" y="616"/>
                  </a:lnTo>
                  <a:lnTo>
                    <a:pt x="364" y="602"/>
                  </a:lnTo>
                  <a:lnTo>
                    <a:pt x="360" y="578"/>
                  </a:lnTo>
                  <a:lnTo>
                    <a:pt x="354" y="56"/>
                  </a:lnTo>
                  <a:lnTo>
                    <a:pt x="303" y="56"/>
                  </a:lnTo>
                  <a:lnTo>
                    <a:pt x="286" y="136"/>
                  </a:lnTo>
                  <a:lnTo>
                    <a:pt x="320" y="152"/>
                  </a:lnTo>
                  <a:lnTo>
                    <a:pt x="286" y="168"/>
                  </a:lnTo>
                  <a:lnTo>
                    <a:pt x="244" y="168"/>
                  </a:lnTo>
                  <a:lnTo>
                    <a:pt x="176" y="200"/>
                  </a:lnTo>
                  <a:lnTo>
                    <a:pt x="151" y="200"/>
                  </a:lnTo>
                  <a:lnTo>
                    <a:pt x="134" y="200"/>
                  </a:lnTo>
                  <a:lnTo>
                    <a:pt x="92" y="208"/>
                  </a:lnTo>
                  <a:lnTo>
                    <a:pt x="67" y="232"/>
                  </a:lnTo>
                  <a:lnTo>
                    <a:pt x="42" y="264"/>
                  </a:lnTo>
                  <a:lnTo>
                    <a:pt x="42" y="248"/>
                  </a:lnTo>
                  <a:lnTo>
                    <a:pt x="59" y="232"/>
                  </a:lnTo>
                  <a:lnTo>
                    <a:pt x="84" y="200"/>
                  </a:lnTo>
                  <a:lnTo>
                    <a:pt x="126" y="168"/>
                  </a:lnTo>
                  <a:lnTo>
                    <a:pt x="134" y="120"/>
                  </a:lnTo>
                  <a:lnTo>
                    <a:pt x="185" y="104"/>
                  </a:lnTo>
                  <a:lnTo>
                    <a:pt x="235" y="96"/>
                  </a:lnTo>
                  <a:lnTo>
                    <a:pt x="286" y="80"/>
                  </a:lnTo>
                  <a:lnTo>
                    <a:pt x="294" y="80"/>
                  </a:lnTo>
                  <a:lnTo>
                    <a:pt x="303" y="96"/>
                  </a:lnTo>
                  <a:lnTo>
                    <a:pt x="345" y="104"/>
                  </a:lnTo>
                  <a:lnTo>
                    <a:pt x="328" y="112"/>
                  </a:lnTo>
                  <a:lnTo>
                    <a:pt x="286" y="136"/>
                  </a:lnTo>
                  <a:lnTo>
                    <a:pt x="303" y="56"/>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199" name="Freeform 78"/>
            <p:cNvSpPr>
              <a:spLocks/>
            </p:cNvSpPr>
            <p:nvPr>
              <p:custDataLst>
                <p:tags r:id="rId75"/>
              </p:custDataLst>
            </p:nvPr>
          </p:nvSpPr>
          <p:spPr bwMode="auto">
            <a:xfrm>
              <a:off x="5404" y="3416"/>
              <a:ext cx="362" cy="616"/>
            </a:xfrm>
            <a:custGeom>
              <a:avLst/>
              <a:gdLst>
                <a:gd name="T0" fmla="*/ 303 w 362"/>
                <a:gd name="T1" fmla="*/ 56 h 616"/>
                <a:gd name="T2" fmla="*/ 219 w 362"/>
                <a:gd name="T3" fmla="*/ 40 h 616"/>
                <a:gd name="T4" fmla="*/ 185 w 362"/>
                <a:gd name="T5" fmla="*/ 24 h 616"/>
                <a:gd name="T6" fmla="*/ 151 w 362"/>
                <a:gd name="T7" fmla="*/ 0 h 616"/>
                <a:gd name="T8" fmla="*/ 126 w 362"/>
                <a:gd name="T9" fmla="*/ 8 h 616"/>
                <a:gd name="T10" fmla="*/ 75 w 362"/>
                <a:gd name="T11" fmla="*/ 0 h 616"/>
                <a:gd name="T12" fmla="*/ 50 w 362"/>
                <a:gd name="T13" fmla="*/ 16 h 616"/>
                <a:gd name="T14" fmla="*/ 16 w 362"/>
                <a:gd name="T15" fmla="*/ 24 h 616"/>
                <a:gd name="T16" fmla="*/ 16 w 362"/>
                <a:gd name="T17" fmla="*/ 48 h 616"/>
                <a:gd name="T18" fmla="*/ 8 w 362"/>
                <a:gd name="T19" fmla="*/ 64 h 616"/>
                <a:gd name="T20" fmla="*/ 33 w 362"/>
                <a:gd name="T21" fmla="*/ 88 h 616"/>
                <a:gd name="T22" fmla="*/ 16 w 362"/>
                <a:gd name="T23" fmla="*/ 136 h 616"/>
                <a:gd name="T24" fmla="*/ 25 w 362"/>
                <a:gd name="T25" fmla="*/ 160 h 616"/>
                <a:gd name="T26" fmla="*/ 0 w 362"/>
                <a:gd name="T27" fmla="*/ 192 h 616"/>
                <a:gd name="T28" fmla="*/ 0 w 362"/>
                <a:gd name="T29" fmla="*/ 200 h 616"/>
                <a:gd name="T30" fmla="*/ 67 w 362"/>
                <a:gd name="T31" fmla="*/ 184 h 616"/>
                <a:gd name="T32" fmla="*/ 42 w 362"/>
                <a:gd name="T33" fmla="*/ 216 h 616"/>
                <a:gd name="T34" fmla="*/ 33 w 362"/>
                <a:gd name="T35" fmla="*/ 256 h 616"/>
                <a:gd name="T36" fmla="*/ 50 w 362"/>
                <a:gd name="T37" fmla="*/ 328 h 616"/>
                <a:gd name="T38" fmla="*/ 118 w 362"/>
                <a:gd name="T39" fmla="*/ 312 h 616"/>
                <a:gd name="T40" fmla="*/ 118 w 362"/>
                <a:gd name="T41" fmla="*/ 352 h 616"/>
                <a:gd name="T42" fmla="*/ 160 w 362"/>
                <a:gd name="T43" fmla="*/ 384 h 616"/>
                <a:gd name="T44" fmla="*/ 151 w 362"/>
                <a:gd name="T45" fmla="*/ 408 h 616"/>
                <a:gd name="T46" fmla="*/ 168 w 362"/>
                <a:gd name="T47" fmla="*/ 432 h 616"/>
                <a:gd name="T48" fmla="*/ 134 w 362"/>
                <a:gd name="T49" fmla="*/ 448 h 616"/>
                <a:gd name="T50" fmla="*/ 101 w 362"/>
                <a:gd name="T51" fmla="*/ 440 h 616"/>
                <a:gd name="T52" fmla="*/ 101 w 362"/>
                <a:gd name="T53" fmla="*/ 472 h 616"/>
                <a:gd name="T54" fmla="*/ 126 w 362"/>
                <a:gd name="T55" fmla="*/ 496 h 616"/>
                <a:gd name="T56" fmla="*/ 151 w 362"/>
                <a:gd name="T57" fmla="*/ 480 h 616"/>
                <a:gd name="T58" fmla="*/ 168 w 362"/>
                <a:gd name="T59" fmla="*/ 480 h 616"/>
                <a:gd name="T60" fmla="*/ 185 w 362"/>
                <a:gd name="T61" fmla="*/ 488 h 616"/>
                <a:gd name="T62" fmla="*/ 219 w 362"/>
                <a:gd name="T63" fmla="*/ 504 h 616"/>
                <a:gd name="T64" fmla="*/ 227 w 362"/>
                <a:gd name="T65" fmla="*/ 528 h 616"/>
                <a:gd name="T66" fmla="*/ 235 w 362"/>
                <a:gd name="T67" fmla="*/ 560 h 616"/>
                <a:gd name="T68" fmla="*/ 269 w 362"/>
                <a:gd name="T69" fmla="*/ 576 h 616"/>
                <a:gd name="T70" fmla="*/ 244 w 362"/>
                <a:gd name="T71" fmla="*/ 592 h 616"/>
                <a:gd name="T72" fmla="*/ 244 w 362"/>
                <a:gd name="T73" fmla="*/ 600 h 616"/>
                <a:gd name="T74" fmla="*/ 261 w 362"/>
                <a:gd name="T75" fmla="*/ 600 h 616"/>
                <a:gd name="T76" fmla="*/ 345 w 362"/>
                <a:gd name="T77" fmla="*/ 584 h 616"/>
                <a:gd name="T78" fmla="*/ 337 w 362"/>
                <a:gd name="T79" fmla="*/ 616 h 616"/>
                <a:gd name="T80" fmla="*/ 362 w 362"/>
                <a:gd name="T81" fmla="*/ 600 h 616"/>
                <a:gd name="T82" fmla="*/ 354 w 362"/>
                <a:gd name="T83" fmla="*/ 50 h 616"/>
                <a:gd name="T84" fmla="*/ 303 w 362"/>
                <a:gd name="T85" fmla="*/ 56 h 616"/>
                <a:gd name="T86" fmla="*/ 303 w 362"/>
                <a:gd name="T87" fmla="*/ 56 h 6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62" h="616">
                  <a:moveTo>
                    <a:pt x="303" y="56"/>
                  </a:moveTo>
                  <a:lnTo>
                    <a:pt x="219" y="40"/>
                  </a:lnTo>
                  <a:lnTo>
                    <a:pt x="185" y="24"/>
                  </a:lnTo>
                  <a:lnTo>
                    <a:pt x="151" y="0"/>
                  </a:lnTo>
                  <a:lnTo>
                    <a:pt x="126" y="8"/>
                  </a:lnTo>
                  <a:lnTo>
                    <a:pt x="75" y="0"/>
                  </a:lnTo>
                  <a:lnTo>
                    <a:pt x="50" y="16"/>
                  </a:lnTo>
                  <a:lnTo>
                    <a:pt x="16" y="24"/>
                  </a:lnTo>
                  <a:lnTo>
                    <a:pt x="16" y="48"/>
                  </a:lnTo>
                  <a:lnTo>
                    <a:pt x="8" y="64"/>
                  </a:lnTo>
                  <a:lnTo>
                    <a:pt x="33" y="88"/>
                  </a:lnTo>
                  <a:lnTo>
                    <a:pt x="16" y="136"/>
                  </a:lnTo>
                  <a:lnTo>
                    <a:pt x="25" y="160"/>
                  </a:lnTo>
                  <a:lnTo>
                    <a:pt x="0" y="192"/>
                  </a:lnTo>
                  <a:lnTo>
                    <a:pt x="0" y="200"/>
                  </a:lnTo>
                  <a:lnTo>
                    <a:pt x="67" y="184"/>
                  </a:lnTo>
                  <a:lnTo>
                    <a:pt x="42" y="216"/>
                  </a:lnTo>
                  <a:lnTo>
                    <a:pt x="33" y="256"/>
                  </a:lnTo>
                  <a:lnTo>
                    <a:pt x="50" y="328"/>
                  </a:lnTo>
                  <a:lnTo>
                    <a:pt x="118" y="312"/>
                  </a:lnTo>
                  <a:lnTo>
                    <a:pt x="118" y="352"/>
                  </a:lnTo>
                  <a:lnTo>
                    <a:pt x="160" y="384"/>
                  </a:lnTo>
                  <a:lnTo>
                    <a:pt x="151" y="408"/>
                  </a:lnTo>
                  <a:lnTo>
                    <a:pt x="168" y="432"/>
                  </a:lnTo>
                  <a:lnTo>
                    <a:pt x="134" y="448"/>
                  </a:lnTo>
                  <a:lnTo>
                    <a:pt x="101" y="440"/>
                  </a:lnTo>
                  <a:lnTo>
                    <a:pt x="101" y="472"/>
                  </a:lnTo>
                  <a:lnTo>
                    <a:pt x="126" y="496"/>
                  </a:lnTo>
                  <a:lnTo>
                    <a:pt x="151" y="480"/>
                  </a:lnTo>
                  <a:lnTo>
                    <a:pt x="168" y="480"/>
                  </a:lnTo>
                  <a:lnTo>
                    <a:pt x="185" y="488"/>
                  </a:lnTo>
                  <a:lnTo>
                    <a:pt x="219" y="504"/>
                  </a:lnTo>
                  <a:lnTo>
                    <a:pt x="227" y="528"/>
                  </a:lnTo>
                  <a:lnTo>
                    <a:pt x="235" y="560"/>
                  </a:lnTo>
                  <a:lnTo>
                    <a:pt x="269" y="576"/>
                  </a:lnTo>
                  <a:lnTo>
                    <a:pt x="244" y="592"/>
                  </a:lnTo>
                  <a:lnTo>
                    <a:pt x="244" y="600"/>
                  </a:lnTo>
                  <a:lnTo>
                    <a:pt x="261" y="600"/>
                  </a:lnTo>
                  <a:lnTo>
                    <a:pt x="345" y="584"/>
                  </a:lnTo>
                  <a:lnTo>
                    <a:pt x="337" y="616"/>
                  </a:lnTo>
                  <a:lnTo>
                    <a:pt x="362" y="600"/>
                  </a:lnTo>
                  <a:lnTo>
                    <a:pt x="354" y="50"/>
                  </a:lnTo>
                  <a:lnTo>
                    <a:pt x="303" y="56"/>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0" name="Freeform 79"/>
            <p:cNvSpPr>
              <a:spLocks/>
            </p:cNvSpPr>
            <p:nvPr>
              <p:custDataLst>
                <p:tags r:id="rId76"/>
              </p:custDataLst>
            </p:nvPr>
          </p:nvSpPr>
          <p:spPr bwMode="auto">
            <a:xfrm>
              <a:off x="5446" y="3496"/>
              <a:ext cx="308" cy="184"/>
            </a:xfrm>
            <a:custGeom>
              <a:avLst/>
              <a:gdLst>
                <a:gd name="T0" fmla="*/ 244 w 308"/>
                <a:gd name="T1" fmla="*/ 56 h 184"/>
                <a:gd name="T2" fmla="*/ 278 w 308"/>
                <a:gd name="T3" fmla="*/ 72 h 184"/>
                <a:gd name="T4" fmla="*/ 244 w 308"/>
                <a:gd name="T5" fmla="*/ 88 h 184"/>
                <a:gd name="T6" fmla="*/ 202 w 308"/>
                <a:gd name="T7" fmla="*/ 88 h 184"/>
                <a:gd name="T8" fmla="*/ 134 w 308"/>
                <a:gd name="T9" fmla="*/ 120 h 184"/>
                <a:gd name="T10" fmla="*/ 109 w 308"/>
                <a:gd name="T11" fmla="*/ 120 h 184"/>
                <a:gd name="T12" fmla="*/ 92 w 308"/>
                <a:gd name="T13" fmla="*/ 120 h 184"/>
                <a:gd name="T14" fmla="*/ 50 w 308"/>
                <a:gd name="T15" fmla="*/ 128 h 184"/>
                <a:gd name="T16" fmla="*/ 25 w 308"/>
                <a:gd name="T17" fmla="*/ 152 h 184"/>
                <a:gd name="T18" fmla="*/ 0 w 308"/>
                <a:gd name="T19" fmla="*/ 184 h 184"/>
                <a:gd name="T20" fmla="*/ 0 w 308"/>
                <a:gd name="T21" fmla="*/ 168 h 184"/>
                <a:gd name="T22" fmla="*/ 17 w 308"/>
                <a:gd name="T23" fmla="*/ 152 h 184"/>
                <a:gd name="T24" fmla="*/ 42 w 308"/>
                <a:gd name="T25" fmla="*/ 120 h 184"/>
                <a:gd name="T26" fmla="*/ 84 w 308"/>
                <a:gd name="T27" fmla="*/ 88 h 184"/>
                <a:gd name="T28" fmla="*/ 92 w 308"/>
                <a:gd name="T29" fmla="*/ 40 h 184"/>
                <a:gd name="T30" fmla="*/ 143 w 308"/>
                <a:gd name="T31" fmla="*/ 24 h 184"/>
                <a:gd name="T32" fmla="*/ 193 w 308"/>
                <a:gd name="T33" fmla="*/ 16 h 184"/>
                <a:gd name="T34" fmla="*/ 244 w 308"/>
                <a:gd name="T35" fmla="*/ 0 h 184"/>
                <a:gd name="T36" fmla="*/ 252 w 308"/>
                <a:gd name="T37" fmla="*/ 0 h 184"/>
                <a:gd name="T38" fmla="*/ 261 w 308"/>
                <a:gd name="T39" fmla="*/ 16 h 184"/>
                <a:gd name="T40" fmla="*/ 303 w 308"/>
                <a:gd name="T41" fmla="*/ 24 h 184"/>
                <a:gd name="T42" fmla="*/ 308 w 308"/>
                <a:gd name="T43" fmla="*/ 24 h 184"/>
                <a:gd name="T44" fmla="*/ 286 w 308"/>
                <a:gd name="T45" fmla="*/ 32 h 184"/>
                <a:gd name="T46" fmla="*/ 244 w 308"/>
                <a:gd name="T47" fmla="*/ 56 h 184"/>
                <a:gd name="T48" fmla="*/ 244 w 308"/>
                <a:gd name="T49" fmla="*/ 56 h 18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08" h="184">
                  <a:moveTo>
                    <a:pt x="244" y="56"/>
                  </a:moveTo>
                  <a:lnTo>
                    <a:pt x="278" y="72"/>
                  </a:lnTo>
                  <a:lnTo>
                    <a:pt x="244" y="88"/>
                  </a:lnTo>
                  <a:lnTo>
                    <a:pt x="202" y="88"/>
                  </a:lnTo>
                  <a:lnTo>
                    <a:pt x="134" y="120"/>
                  </a:lnTo>
                  <a:lnTo>
                    <a:pt x="109" y="120"/>
                  </a:lnTo>
                  <a:lnTo>
                    <a:pt x="92" y="120"/>
                  </a:lnTo>
                  <a:lnTo>
                    <a:pt x="50" y="128"/>
                  </a:lnTo>
                  <a:lnTo>
                    <a:pt x="25" y="152"/>
                  </a:lnTo>
                  <a:lnTo>
                    <a:pt x="0" y="184"/>
                  </a:lnTo>
                  <a:lnTo>
                    <a:pt x="0" y="168"/>
                  </a:lnTo>
                  <a:lnTo>
                    <a:pt x="17" y="152"/>
                  </a:lnTo>
                  <a:lnTo>
                    <a:pt x="42" y="120"/>
                  </a:lnTo>
                  <a:lnTo>
                    <a:pt x="84" y="88"/>
                  </a:lnTo>
                  <a:lnTo>
                    <a:pt x="92" y="40"/>
                  </a:lnTo>
                  <a:lnTo>
                    <a:pt x="143" y="24"/>
                  </a:lnTo>
                  <a:lnTo>
                    <a:pt x="193" y="16"/>
                  </a:lnTo>
                  <a:lnTo>
                    <a:pt x="244" y="0"/>
                  </a:lnTo>
                  <a:lnTo>
                    <a:pt x="252" y="0"/>
                  </a:lnTo>
                  <a:lnTo>
                    <a:pt x="261" y="16"/>
                  </a:lnTo>
                  <a:lnTo>
                    <a:pt x="303" y="24"/>
                  </a:lnTo>
                  <a:lnTo>
                    <a:pt x="308" y="24"/>
                  </a:lnTo>
                  <a:lnTo>
                    <a:pt x="286" y="32"/>
                  </a:lnTo>
                  <a:lnTo>
                    <a:pt x="244" y="56"/>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1" name="Freeform 80"/>
            <p:cNvSpPr>
              <a:spLocks/>
            </p:cNvSpPr>
            <p:nvPr>
              <p:custDataLst>
                <p:tags r:id="rId77"/>
              </p:custDataLst>
            </p:nvPr>
          </p:nvSpPr>
          <p:spPr bwMode="auto">
            <a:xfrm>
              <a:off x="4721" y="2704"/>
              <a:ext cx="893" cy="592"/>
            </a:xfrm>
            <a:custGeom>
              <a:avLst/>
              <a:gdLst>
                <a:gd name="T0" fmla="*/ 784 w 893"/>
                <a:gd name="T1" fmla="*/ 312 h 592"/>
                <a:gd name="T2" fmla="*/ 725 w 893"/>
                <a:gd name="T3" fmla="*/ 280 h 592"/>
                <a:gd name="T4" fmla="*/ 708 w 893"/>
                <a:gd name="T5" fmla="*/ 208 h 592"/>
                <a:gd name="T6" fmla="*/ 708 w 893"/>
                <a:gd name="T7" fmla="*/ 168 h 592"/>
                <a:gd name="T8" fmla="*/ 666 w 893"/>
                <a:gd name="T9" fmla="*/ 120 h 592"/>
                <a:gd name="T10" fmla="*/ 632 w 893"/>
                <a:gd name="T11" fmla="*/ 96 h 592"/>
                <a:gd name="T12" fmla="*/ 581 w 893"/>
                <a:gd name="T13" fmla="*/ 56 h 592"/>
                <a:gd name="T14" fmla="*/ 548 w 893"/>
                <a:gd name="T15" fmla="*/ 16 h 592"/>
                <a:gd name="T16" fmla="*/ 506 w 893"/>
                <a:gd name="T17" fmla="*/ 0 h 592"/>
                <a:gd name="T18" fmla="*/ 472 w 893"/>
                <a:gd name="T19" fmla="*/ 48 h 592"/>
                <a:gd name="T20" fmla="*/ 396 w 893"/>
                <a:gd name="T21" fmla="*/ 72 h 592"/>
                <a:gd name="T22" fmla="*/ 371 w 893"/>
                <a:gd name="T23" fmla="*/ 96 h 592"/>
                <a:gd name="T24" fmla="*/ 337 w 893"/>
                <a:gd name="T25" fmla="*/ 80 h 592"/>
                <a:gd name="T26" fmla="*/ 287 w 893"/>
                <a:gd name="T27" fmla="*/ 88 h 592"/>
                <a:gd name="T28" fmla="*/ 253 w 893"/>
                <a:gd name="T29" fmla="*/ 88 h 592"/>
                <a:gd name="T30" fmla="*/ 219 w 893"/>
                <a:gd name="T31" fmla="*/ 80 h 592"/>
                <a:gd name="T32" fmla="*/ 185 w 893"/>
                <a:gd name="T33" fmla="*/ 104 h 592"/>
                <a:gd name="T34" fmla="*/ 160 w 893"/>
                <a:gd name="T35" fmla="*/ 128 h 592"/>
                <a:gd name="T36" fmla="*/ 135 w 893"/>
                <a:gd name="T37" fmla="*/ 168 h 592"/>
                <a:gd name="T38" fmla="*/ 110 w 893"/>
                <a:gd name="T39" fmla="*/ 224 h 592"/>
                <a:gd name="T40" fmla="*/ 84 w 893"/>
                <a:gd name="T41" fmla="*/ 256 h 592"/>
                <a:gd name="T42" fmla="*/ 76 w 893"/>
                <a:gd name="T43" fmla="*/ 280 h 592"/>
                <a:gd name="T44" fmla="*/ 67 w 893"/>
                <a:gd name="T45" fmla="*/ 320 h 592"/>
                <a:gd name="T46" fmla="*/ 51 w 893"/>
                <a:gd name="T47" fmla="*/ 328 h 592"/>
                <a:gd name="T48" fmla="*/ 25 w 893"/>
                <a:gd name="T49" fmla="*/ 344 h 592"/>
                <a:gd name="T50" fmla="*/ 0 w 893"/>
                <a:gd name="T51" fmla="*/ 352 h 592"/>
                <a:gd name="T52" fmla="*/ 17 w 893"/>
                <a:gd name="T53" fmla="*/ 368 h 592"/>
                <a:gd name="T54" fmla="*/ 51 w 893"/>
                <a:gd name="T55" fmla="*/ 392 h 592"/>
                <a:gd name="T56" fmla="*/ 59 w 893"/>
                <a:gd name="T57" fmla="*/ 416 h 592"/>
                <a:gd name="T58" fmla="*/ 93 w 893"/>
                <a:gd name="T59" fmla="*/ 440 h 592"/>
                <a:gd name="T60" fmla="*/ 135 w 893"/>
                <a:gd name="T61" fmla="*/ 456 h 592"/>
                <a:gd name="T62" fmla="*/ 118 w 893"/>
                <a:gd name="T63" fmla="*/ 488 h 592"/>
                <a:gd name="T64" fmla="*/ 160 w 893"/>
                <a:gd name="T65" fmla="*/ 496 h 592"/>
                <a:gd name="T66" fmla="*/ 202 w 893"/>
                <a:gd name="T67" fmla="*/ 512 h 592"/>
                <a:gd name="T68" fmla="*/ 244 w 893"/>
                <a:gd name="T69" fmla="*/ 488 h 592"/>
                <a:gd name="T70" fmla="*/ 244 w 893"/>
                <a:gd name="T71" fmla="*/ 528 h 592"/>
                <a:gd name="T72" fmla="*/ 261 w 893"/>
                <a:gd name="T73" fmla="*/ 536 h 592"/>
                <a:gd name="T74" fmla="*/ 253 w 893"/>
                <a:gd name="T75" fmla="*/ 544 h 592"/>
                <a:gd name="T76" fmla="*/ 287 w 893"/>
                <a:gd name="T77" fmla="*/ 560 h 592"/>
                <a:gd name="T78" fmla="*/ 287 w 893"/>
                <a:gd name="T79" fmla="*/ 584 h 592"/>
                <a:gd name="T80" fmla="*/ 320 w 893"/>
                <a:gd name="T81" fmla="*/ 592 h 592"/>
                <a:gd name="T82" fmla="*/ 413 w 893"/>
                <a:gd name="T83" fmla="*/ 592 h 592"/>
                <a:gd name="T84" fmla="*/ 438 w 893"/>
                <a:gd name="T85" fmla="*/ 568 h 592"/>
                <a:gd name="T86" fmla="*/ 463 w 893"/>
                <a:gd name="T87" fmla="*/ 568 h 592"/>
                <a:gd name="T88" fmla="*/ 514 w 893"/>
                <a:gd name="T89" fmla="*/ 568 h 592"/>
                <a:gd name="T90" fmla="*/ 565 w 893"/>
                <a:gd name="T91" fmla="*/ 560 h 592"/>
                <a:gd name="T92" fmla="*/ 607 w 893"/>
                <a:gd name="T93" fmla="*/ 504 h 592"/>
                <a:gd name="T94" fmla="*/ 657 w 893"/>
                <a:gd name="T95" fmla="*/ 488 h 592"/>
                <a:gd name="T96" fmla="*/ 699 w 893"/>
                <a:gd name="T97" fmla="*/ 480 h 592"/>
                <a:gd name="T98" fmla="*/ 725 w 893"/>
                <a:gd name="T99" fmla="*/ 488 h 592"/>
                <a:gd name="T100" fmla="*/ 767 w 893"/>
                <a:gd name="T101" fmla="*/ 480 h 592"/>
                <a:gd name="T102" fmla="*/ 775 w 893"/>
                <a:gd name="T103" fmla="*/ 496 h 592"/>
                <a:gd name="T104" fmla="*/ 826 w 893"/>
                <a:gd name="T105" fmla="*/ 496 h 592"/>
                <a:gd name="T106" fmla="*/ 834 w 893"/>
                <a:gd name="T107" fmla="*/ 416 h 592"/>
                <a:gd name="T108" fmla="*/ 851 w 893"/>
                <a:gd name="T109" fmla="*/ 376 h 592"/>
                <a:gd name="T110" fmla="*/ 885 w 893"/>
                <a:gd name="T111" fmla="*/ 336 h 592"/>
                <a:gd name="T112" fmla="*/ 893 w 893"/>
                <a:gd name="T113" fmla="*/ 312 h 592"/>
                <a:gd name="T114" fmla="*/ 876 w 893"/>
                <a:gd name="T115" fmla="*/ 288 h 592"/>
                <a:gd name="T116" fmla="*/ 834 w 893"/>
                <a:gd name="T117" fmla="*/ 288 h 592"/>
                <a:gd name="T118" fmla="*/ 784 w 893"/>
                <a:gd name="T119" fmla="*/ 312 h 59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93" h="592">
                  <a:moveTo>
                    <a:pt x="784" y="312"/>
                  </a:moveTo>
                  <a:lnTo>
                    <a:pt x="725" y="280"/>
                  </a:lnTo>
                  <a:lnTo>
                    <a:pt x="708" y="208"/>
                  </a:lnTo>
                  <a:lnTo>
                    <a:pt x="708" y="168"/>
                  </a:lnTo>
                  <a:lnTo>
                    <a:pt x="666" y="120"/>
                  </a:lnTo>
                  <a:lnTo>
                    <a:pt x="632" y="96"/>
                  </a:lnTo>
                  <a:lnTo>
                    <a:pt x="581" y="56"/>
                  </a:lnTo>
                  <a:lnTo>
                    <a:pt x="548" y="16"/>
                  </a:lnTo>
                  <a:lnTo>
                    <a:pt x="506" y="0"/>
                  </a:lnTo>
                  <a:lnTo>
                    <a:pt x="472" y="48"/>
                  </a:lnTo>
                  <a:lnTo>
                    <a:pt x="396" y="72"/>
                  </a:lnTo>
                  <a:lnTo>
                    <a:pt x="371" y="96"/>
                  </a:lnTo>
                  <a:lnTo>
                    <a:pt x="337" y="80"/>
                  </a:lnTo>
                  <a:lnTo>
                    <a:pt x="287" y="88"/>
                  </a:lnTo>
                  <a:lnTo>
                    <a:pt x="253" y="88"/>
                  </a:lnTo>
                  <a:lnTo>
                    <a:pt x="219" y="80"/>
                  </a:lnTo>
                  <a:lnTo>
                    <a:pt x="185" y="104"/>
                  </a:lnTo>
                  <a:lnTo>
                    <a:pt x="160" y="128"/>
                  </a:lnTo>
                  <a:lnTo>
                    <a:pt x="135" y="168"/>
                  </a:lnTo>
                  <a:lnTo>
                    <a:pt x="110" y="224"/>
                  </a:lnTo>
                  <a:lnTo>
                    <a:pt x="84" y="256"/>
                  </a:lnTo>
                  <a:lnTo>
                    <a:pt x="76" y="280"/>
                  </a:lnTo>
                  <a:lnTo>
                    <a:pt x="67" y="320"/>
                  </a:lnTo>
                  <a:lnTo>
                    <a:pt x="51" y="328"/>
                  </a:lnTo>
                  <a:lnTo>
                    <a:pt x="25" y="344"/>
                  </a:lnTo>
                  <a:lnTo>
                    <a:pt x="0" y="352"/>
                  </a:lnTo>
                  <a:lnTo>
                    <a:pt x="17" y="368"/>
                  </a:lnTo>
                  <a:lnTo>
                    <a:pt x="51" y="392"/>
                  </a:lnTo>
                  <a:lnTo>
                    <a:pt x="59" y="416"/>
                  </a:lnTo>
                  <a:lnTo>
                    <a:pt x="93" y="440"/>
                  </a:lnTo>
                  <a:lnTo>
                    <a:pt x="135" y="456"/>
                  </a:lnTo>
                  <a:lnTo>
                    <a:pt x="118" y="488"/>
                  </a:lnTo>
                  <a:lnTo>
                    <a:pt x="160" y="496"/>
                  </a:lnTo>
                  <a:lnTo>
                    <a:pt x="202" y="512"/>
                  </a:lnTo>
                  <a:lnTo>
                    <a:pt x="244" y="488"/>
                  </a:lnTo>
                  <a:lnTo>
                    <a:pt x="244" y="528"/>
                  </a:lnTo>
                  <a:lnTo>
                    <a:pt x="261" y="536"/>
                  </a:lnTo>
                  <a:lnTo>
                    <a:pt x="253" y="544"/>
                  </a:lnTo>
                  <a:lnTo>
                    <a:pt x="287" y="560"/>
                  </a:lnTo>
                  <a:lnTo>
                    <a:pt x="287" y="584"/>
                  </a:lnTo>
                  <a:lnTo>
                    <a:pt x="320" y="592"/>
                  </a:lnTo>
                  <a:lnTo>
                    <a:pt x="413" y="592"/>
                  </a:lnTo>
                  <a:lnTo>
                    <a:pt x="438" y="568"/>
                  </a:lnTo>
                  <a:lnTo>
                    <a:pt x="463" y="568"/>
                  </a:lnTo>
                  <a:lnTo>
                    <a:pt x="514" y="568"/>
                  </a:lnTo>
                  <a:lnTo>
                    <a:pt x="565" y="560"/>
                  </a:lnTo>
                  <a:lnTo>
                    <a:pt x="607" y="504"/>
                  </a:lnTo>
                  <a:lnTo>
                    <a:pt x="657" y="488"/>
                  </a:lnTo>
                  <a:lnTo>
                    <a:pt x="699" y="480"/>
                  </a:lnTo>
                  <a:lnTo>
                    <a:pt x="725" y="488"/>
                  </a:lnTo>
                  <a:lnTo>
                    <a:pt x="767" y="480"/>
                  </a:lnTo>
                  <a:lnTo>
                    <a:pt x="775" y="496"/>
                  </a:lnTo>
                  <a:lnTo>
                    <a:pt x="826" y="496"/>
                  </a:lnTo>
                  <a:lnTo>
                    <a:pt x="834" y="416"/>
                  </a:lnTo>
                  <a:lnTo>
                    <a:pt x="851" y="376"/>
                  </a:lnTo>
                  <a:lnTo>
                    <a:pt x="885" y="336"/>
                  </a:lnTo>
                  <a:lnTo>
                    <a:pt x="893" y="312"/>
                  </a:lnTo>
                  <a:lnTo>
                    <a:pt x="876" y="288"/>
                  </a:lnTo>
                  <a:lnTo>
                    <a:pt x="834" y="288"/>
                  </a:lnTo>
                  <a:lnTo>
                    <a:pt x="784" y="312"/>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2" name="Freeform 81"/>
            <p:cNvSpPr>
              <a:spLocks/>
            </p:cNvSpPr>
            <p:nvPr>
              <p:custDataLst>
                <p:tags r:id="rId78"/>
              </p:custDataLst>
            </p:nvPr>
          </p:nvSpPr>
          <p:spPr bwMode="auto">
            <a:xfrm>
              <a:off x="5235" y="2664"/>
              <a:ext cx="354" cy="336"/>
            </a:xfrm>
            <a:custGeom>
              <a:avLst/>
              <a:gdLst>
                <a:gd name="T0" fmla="*/ 270 w 354"/>
                <a:gd name="T1" fmla="*/ 248 h 336"/>
                <a:gd name="T2" fmla="*/ 253 w 354"/>
                <a:gd name="T3" fmla="*/ 224 h 336"/>
                <a:gd name="T4" fmla="*/ 278 w 354"/>
                <a:gd name="T5" fmla="*/ 200 h 336"/>
                <a:gd name="T6" fmla="*/ 354 w 354"/>
                <a:gd name="T7" fmla="*/ 184 h 336"/>
                <a:gd name="T8" fmla="*/ 337 w 354"/>
                <a:gd name="T9" fmla="*/ 152 h 336"/>
                <a:gd name="T10" fmla="*/ 303 w 354"/>
                <a:gd name="T11" fmla="*/ 120 h 336"/>
                <a:gd name="T12" fmla="*/ 287 w 354"/>
                <a:gd name="T13" fmla="*/ 88 h 336"/>
                <a:gd name="T14" fmla="*/ 236 w 354"/>
                <a:gd name="T15" fmla="*/ 72 h 336"/>
                <a:gd name="T16" fmla="*/ 211 w 354"/>
                <a:gd name="T17" fmla="*/ 24 h 336"/>
                <a:gd name="T18" fmla="*/ 152 w 354"/>
                <a:gd name="T19" fmla="*/ 24 h 336"/>
                <a:gd name="T20" fmla="*/ 84 w 354"/>
                <a:gd name="T21" fmla="*/ 0 h 336"/>
                <a:gd name="T22" fmla="*/ 59 w 354"/>
                <a:gd name="T23" fmla="*/ 24 h 336"/>
                <a:gd name="T24" fmla="*/ 8 w 354"/>
                <a:gd name="T25" fmla="*/ 32 h 336"/>
                <a:gd name="T26" fmla="*/ 0 w 354"/>
                <a:gd name="T27" fmla="*/ 40 h 336"/>
                <a:gd name="T28" fmla="*/ 34 w 354"/>
                <a:gd name="T29" fmla="*/ 56 h 336"/>
                <a:gd name="T30" fmla="*/ 67 w 354"/>
                <a:gd name="T31" fmla="*/ 96 h 336"/>
                <a:gd name="T32" fmla="*/ 118 w 354"/>
                <a:gd name="T33" fmla="*/ 136 h 336"/>
                <a:gd name="T34" fmla="*/ 152 w 354"/>
                <a:gd name="T35" fmla="*/ 160 h 336"/>
                <a:gd name="T36" fmla="*/ 194 w 354"/>
                <a:gd name="T37" fmla="*/ 208 h 336"/>
                <a:gd name="T38" fmla="*/ 194 w 354"/>
                <a:gd name="T39" fmla="*/ 248 h 336"/>
                <a:gd name="T40" fmla="*/ 211 w 354"/>
                <a:gd name="T41" fmla="*/ 320 h 336"/>
                <a:gd name="T42" fmla="*/ 236 w 354"/>
                <a:gd name="T43" fmla="*/ 336 h 336"/>
                <a:gd name="T44" fmla="*/ 253 w 354"/>
                <a:gd name="T45" fmla="*/ 312 h 336"/>
                <a:gd name="T46" fmla="*/ 270 w 354"/>
                <a:gd name="T47" fmla="*/ 248 h 3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54" h="336">
                  <a:moveTo>
                    <a:pt x="270" y="248"/>
                  </a:moveTo>
                  <a:lnTo>
                    <a:pt x="253" y="224"/>
                  </a:lnTo>
                  <a:lnTo>
                    <a:pt x="278" y="200"/>
                  </a:lnTo>
                  <a:lnTo>
                    <a:pt x="354" y="184"/>
                  </a:lnTo>
                  <a:lnTo>
                    <a:pt x="337" y="152"/>
                  </a:lnTo>
                  <a:lnTo>
                    <a:pt x="303" y="120"/>
                  </a:lnTo>
                  <a:lnTo>
                    <a:pt x="287" y="88"/>
                  </a:lnTo>
                  <a:lnTo>
                    <a:pt x="236" y="72"/>
                  </a:lnTo>
                  <a:lnTo>
                    <a:pt x="211" y="24"/>
                  </a:lnTo>
                  <a:lnTo>
                    <a:pt x="152" y="24"/>
                  </a:lnTo>
                  <a:lnTo>
                    <a:pt x="84" y="0"/>
                  </a:lnTo>
                  <a:lnTo>
                    <a:pt x="59" y="24"/>
                  </a:lnTo>
                  <a:lnTo>
                    <a:pt x="8" y="32"/>
                  </a:lnTo>
                  <a:lnTo>
                    <a:pt x="0" y="40"/>
                  </a:lnTo>
                  <a:lnTo>
                    <a:pt x="34" y="56"/>
                  </a:lnTo>
                  <a:lnTo>
                    <a:pt x="67" y="96"/>
                  </a:lnTo>
                  <a:lnTo>
                    <a:pt x="118" y="136"/>
                  </a:lnTo>
                  <a:lnTo>
                    <a:pt x="152" y="160"/>
                  </a:lnTo>
                  <a:lnTo>
                    <a:pt x="194" y="208"/>
                  </a:lnTo>
                  <a:lnTo>
                    <a:pt x="194" y="248"/>
                  </a:lnTo>
                  <a:lnTo>
                    <a:pt x="211" y="320"/>
                  </a:lnTo>
                  <a:lnTo>
                    <a:pt x="236" y="336"/>
                  </a:lnTo>
                  <a:lnTo>
                    <a:pt x="253" y="312"/>
                  </a:lnTo>
                  <a:lnTo>
                    <a:pt x="270" y="248"/>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3" name="Freeform 82"/>
            <p:cNvSpPr>
              <a:spLocks/>
            </p:cNvSpPr>
            <p:nvPr>
              <p:custDataLst>
                <p:tags r:id="rId79"/>
              </p:custDataLst>
            </p:nvPr>
          </p:nvSpPr>
          <p:spPr bwMode="auto">
            <a:xfrm>
              <a:off x="4721" y="2704"/>
              <a:ext cx="893" cy="592"/>
            </a:xfrm>
            <a:custGeom>
              <a:avLst/>
              <a:gdLst>
                <a:gd name="T0" fmla="*/ 784 w 893"/>
                <a:gd name="T1" fmla="*/ 312 h 592"/>
                <a:gd name="T2" fmla="*/ 725 w 893"/>
                <a:gd name="T3" fmla="*/ 280 h 592"/>
                <a:gd name="T4" fmla="*/ 708 w 893"/>
                <a:gd name="T5" fmla="*/ 208 h 592"/>
                <a:gd name="T6" fmla="*/ 708 w 893"/>
                <a:gd name="T7" fmla="*/ 168 h 592"/>
                <a:gd name="T8" fmla="*/ 666 w 893"/>
                <a:gd name="T9" fmla="*/ 120 h 592"/>
                <a:gd name="T10" fmla="*/ 632 w 893"/>
                <a:gd name="T11" fmla="*/ 96 h 592"/>
                <a:gd name="T12" fmla="*/ 581 w 893"/>
                <a:gd name="T13" fmla="*/ 56 h 592"/>
                <a:gd name="T14" fmla="*/ 548 w 893"/>
                <a:gd name="T15" fmla="*/ 16 h 592"/>
                <a:gd name="T16" fmla="*/ 506 w 893"/>
                <a:gd name="T17" fmla="*/ 0 h 592"/>
                <a:gd name="T18" fmla="*/ 472 w 893"/>
                <a:gd name="T19" fmla="*/ 48 h 592"/>
                <a:gd name="T20" fmla="*/ 396 w 893"/>
                <a:gd name="T21" fmla="*/ 72 h 592"/>
                <a:gd name="T22" fmla="*/ 371 w 893"/>
                <a:gd name="T23" fmla="*/ 96 h 592"/>
                <a:gd name="T24" fmla="*/ 337 w 893"/>
                <a:gd name="T25" fmla="*/ 80 h 592"/>
                <a:gd name="T26" fmla="*/ 287 w 893"/>
                <a:gd name="T27" fmla="*/ 88 h 592"/>
                <a:gd name="T28" fmla="*/ 253 w 893"/>
                <a:gd name="T29" fmla="*/ 88 h 592"/>
                <a:gd name="T30" fmla="*/ 219 w 893"/>
                <a:gd name="T31" fmla="*/ 80 h 592"/>
                <a:gd name="T32" fmla="*/ 185 w 893"/>
                <a:gd name="T33" fmla="*/ 104 h 592"/>
                <a:gd name="T34" fmla="*/ 185 w 893"/>
                <a:gd name="T35" fmla="*/ 104 h 592"/>
                <a:gd name="T36" fmla="*/ 160 w 893"/>
                <a:gd name="T37" fmla="*/ 128 h 592"/>
                <a:gd name="T38" fmla="*/ 135 w 893"/>
                <a:gd name="T39" fmla="*/ 168 h 592"/>
                <a:gd name="T40" fmla="*/ 110 w 893"/>
                <a:gd name="T41" fmla="*/ 224 h 592"/>
                <a:gd name="T42" fmla="*/ 84 w 893"/>
                <a:gd name="T43" fmla="*/ 256 h 592"/>
                <a:gd name="T44" fmla="*/ 76 w 893"/>
                <a:gd name="T45" fmla="*/ 280 h 592"/>
                <a:gd name="T46" fmla="*/ 67 w 893"/>
                <a:gd name="T47" fmla="*/ 320 h 592"/>
                <a:gd name="T48" fmla="*/ 51 w 893"/>
                <a:gd name="T49" fmla="*/ 328 h 592"/>
                <a:gd name="T50" fmla="*/ 25 w 893"/>
                <a:gd name="T51" fmla="*/ 344 h 592"/>
                <a:gd name="T52" fmla="*/ 0 w 893"/>
                <a:gd name="T53" fmla="*/ 352 h 592"/>
                <a:gd name="T54" fmla="*/ 17 w 893"/>
                <a:gd name="T55" fmla="*/ 368 h 592"/>
                <a:gd name="T56" fmla="*/ 51 w 893"/>
                <a:gd name="T57" fmla="*/ 392 h 592"/>
                <a:gd name="T58" fmla="*/ 59 w 893"/>
                <a:gd name="T59" fmla="*/ 416 h 592"/>
                <a:gd name="T60" fmla="*/ 93 w 893"/>
                <a:gd name="T61" fmla="*/ 440 h 592"/>
                <a:gd name="T62" fmla="*/ 135 w 893"/>
                <a:gd name="T63" fmla="*/ 456 h 592"/>
                <a:gd name="T64" fmla="*/ 118 w 893"/>
                <a:gd name="T65" fmla="*/ 488 h 592"/>
                <a:gd name="T66" fmla="*/ 160 w 893"/>
                <a:gd name="T67" fmla="*/ 496 h 592"/>
                <a:gd name="T68" fmla="*/ 202 w 893"/>
                <a:gd name="T69" fmla="*/ 512 h 592"/>
                <a:gd name="T70" fmla="*/ 244 w 893"/>
                <a:gd name="T71" fmla="*/ 488 h 592"/>
                <a:gd name="T72" fmla="*/ 244 w 893"/>
                <a:gd name="T73" fmla="*/ 528 h 592"/>
                <a:gd name="T74" fmla="*/ 261 w 893"/>
                <a:gd name="T75" fmla="*/ 536 h 592"/>
                <a:gd name="T76" fmla="*/ 253 w 893"/>
                <a:gd name="T77" fmla="*/ 544 h 592"/>
                <a:gd name="T78" fmla="*/ 287 w 893"/>
                <a:gd name="T79" fmla="*/ 560 h 592"/>
                <a:gd name="T80" fmla="*/ 287 w 893"/>
                <a:gd name="T81" fmla="*/ 584 h 592"/>
                <a:gd name="T82" fmla="*/ 320 w 893"/>
                <a:gd name="T83" fmla="*/ 592 h 592"/>
                <a:gd name="T84" fmla="*/ 413 w 893"/>
                <a:gd name="T85" fmla="*/ 592 h 592"/>
                <a:gd name="T86" fmla="*/ 438 w 893"/>
                <a:gd name="T87" fmla="*/ 568 h 592"/>
                <a:gd name="T88" fmla="*/ 463 w 893"/>
                <a:gd name="T89" fmla="*/ 568 h 592"/>
                <a:gd name="T90" fmla="*/ 514 w 893"/>
                <a:gd name="T91" fmla="*/ 568 h 592"/>
                <a:gd name="T92" fmla="*/ 565 w 893"/>
                <a:gd name="T93" fmla="*/ 560 h 592"/>
                <a:gd name="T94" fmla="*/ 607 w 893"/>
                <a:gd name="T95" fmla="*/ 504 h 592"/>
                <a:gd name="T96" fmla="*/ 657 w 893"/>
                <a:gd name="T97" fmla="*/ 488 h 592"/>
                <a:gd name="T98" fmla="*/ 699 w 893"/>
                <a:gd name="T99" fmla="*/ 480 h 592"/>
                <a:gd name="T100" fmla="*/ 725 w 893"/>
                <a:gd name="T101" fmla="*/ 488 h 592"/>
                <a:gd name="T102" fmla="*/ 767 w 893"/>
                <a:gd name="T103" fmla="*/ 480 h 592"/>
                <a:gd name="T104" fmla="*/ 775 w 893"/>
                <a:gd name="T105" fmla="*/ 496 h 592"/>
                <a:gd name="T106" fmla="*/ 826 w 893"/>
                <a:gd name="T107" fmla="*/ 496 h 592"/>
                <a:gd name="T108" fmla="*/ 834 w 893"/>
                <a:gd name="T109" fmla="*/ 416 h 592"/>
                <a:gd name="T110" fmla="*/ 851 w 893"/>
                <a:gd name="T111" fmla="*/ 376 h 592"/>
                <a:gd name="T112" fmla="*/ 885 w 893"/>
                <a:gd name="T113" fmla="*/ 336 h 592"/>
                <a:gd name="T114" fmla="*/ 893 w 893"/>
                <a:gd name="T115" fmla="*/ 312 h 592"/>
                <a:gd name="T116" fmla="*/ 876 w 893"/>
                <a:gd name="T117" fmla="*/ 288 h 592"/>
                <a:gd name="T118" fmla="*/ 834 w 893"/>
                <a:gd name="T119" fmla="*/ 288 h 592"/>
                <a:gd name="T120" fmla="*/ 784 w 893"/>
                <a:gd name="T121" fmla="*/ 312 h 59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93" h="592">
                  <a:moveTo>
                    <a:pt x="784" y="312"/>
                  </a:moveTo>
                  <a:lnTo>
                    <a:pt x="725" y="280"/>
                  </a:lnTo>
                  <a:lnTo>
                    <a:pt x="708" y="208"/>
                  </a:lnTo>
                  <a:lnTo>
                    <a:pt x="708" y="168"/>
                  </a:lnTo>
                  <a:lnTo>
                    <a:pt x="666" y="120"/>
                  </a:lnTo>
                  <a:lnTo>
                    <a:pt x="632" y="96"/>
                  </a:lnTo>
                  <a:lnTo>
                    <a:pt x="581" y="56"/>
                  </a:lnTo>
                  <a:lnTo>
                    <a:pt x="548" y="16"/>
                  </a:lnTo>
                  <a:lnTo>
                    <a:pt x="506" y="0"/>
                  </a:lnTo>
                  <a:lnTo>
                    <a:pt x="472" y="48"/>
                  </a:lnTo>
                  <a:lnTo>
                    <a:pt x="396" y="72"/>
                  </a:lnTo>
                  <a:lnTo>
                    <a:pt x="371" y="96"/>
                  </a:lnTo>
                  <a:lnTo>
                    <a:pt x="337" y="80"/>
                  </a:lnTo>
                  <a:lnTo>
                    <a:pt x="287" y="88"/>
                  </a:lnTo>
                  <a:lnTo>
                    <a:pt x="253" y="88"/>
                  </a:lnTo>
                  <a:lnTo>
                    <a:pt x="219" y="80"/>
                  </a:lnTo>
                  <a:lnTo>
                    <a:pt x="185" y="104"/>
                  </a:lnTo>
                  <a:lnTo>
                    <a:pt x="160" y="128"/>
                  </a:lnTo>
                  <a:lnTo>
                    <a:pt x="135" y="168"/>
                  </a:lnTo>
                  <a:lnTo>
                    <a:pt x="110" y="224"/>
                  </a:lnTo>
                  <a:lnTo>
                    <a:pt x="84" y="256"/>
                  </a:lnTo>
                  <a:lnTo>
                    <a:pt x="76" y="280"/>
                  </a:lnTo>
                  <a:lnTo>
                    <a:pt x="67" y="320"/>
                  </a:lnTo>
                  <a:lnTo>
                    <a:pt x="51" y="328"/>
                  </a:lnTo>
                  <a:lnTo>
                    <a:pt x="25" y="344"/>
                  </a:lnTo>
                  <a:lnTo>
                    <a:pt x="0" y="352"/>
                  </a:lnTo>
                  <a:lnTo>
                    <a:pt x="17" y="368"/>
                  </a:lnTo>
                  <a:lnTo>
                    <a:pt x="51" y="392"/>
                  </a:lnTo>
                  <a:lnTo>
                    <a:pt x="59" y="416"/>
                  </a:lnTo>
                  <a:lnTo>
                    <a:pt x="93" y="440"/>
                  </a:lnTo>
                  <a:lnTo>
                    <a:pt x="135" y="456"/>
                  </a:lnTo>
                  <a:lnTo>
                    <a:pt x="118" y="488"/>
                  </a:lnTo>
                  <a:lnTo>
                    <a:pt x="160" y="496"/>
                  </a:lnTo>
                  <a:lnTo>
                    <a:pt x="202" y="512"/>
                  </a:lnTo>
                  <a:lnTo>
                    <a:pt x="244" y="488"/>
                  </a:lnTo>
                  <a:lnTo>
                    <a:pt x="244" y="528"/>
                  </a:lnTo>
                  <a:lnTo>
                    <a:pt x="261" y="536"/>
                  </a:lnTo>
                  <a:lnTo>
                    <a:pt x="253" y="544"/>
                  </a:lnTo>
                  <a:lnTo>
                    <a:pt x="287" y="560"/>
                  </a:lnTo>
                  <a:lnTo>
                    <a:pt x="287" y="584"/>
                  </a:lnTo>
                  <a:lnTo>
                    <a:pt x="320" y="592"/>
                  </a:lnTo>
                  <a:lnTo>
                    <a:pt x="413" y="592"/>
                  </a:lnTo>
                  <a:lnTo>
                    <a:pt x="438" y="568"/>
                  </a:lnTo>
                  <a:lnTo>
                    <a:pt x="463" y="568"/>
                  </a:lnTo>
                  <a:lnTo>
                    <a:pt x="514" y="568"/>
                  </a:lnTo>
                  <a:lnTo>
                    <a:pt x="565" y="560"/>
                  </a:lnTo>
                  <a:lnTo>
                    <a:pt x="607" y="504"/>
                  </a:lnTo>
                  <a:lnTo>
                    <a:pt x="657" y="488"/>
                  </a:lnTo>
                  <a:lnTo>
                    <a:pt x="699" y="480"/>
                  </a:lnTo>
                  <a:lnTo>
                    <a:pt x="725" y="488"/>
                  </a:lnTo>
                  <a:lnTo>
                    <a:pt x="767" y="480"/>
                  </a:lnTo>
                  <a:lnTo>
                    <a:pt x="775" y="496"/>
                  </a:lnTo>
                  <a:lnTo>
                    <a:pt x="826" y="496"/>
                  </a:lnTo>
                  <a:lnTo>
                    <a:pt x="834" y="416"/>
                  </a:lnTo>
                  <a:lnTo>
                    <a:pt x="851" y="376"/>
                  </a:lnTo>
                  <a:lnTo>
                    <a:pt x="885" y="336"/>
                  </a:lnTo>
                  <a:lnTo>
                    <a:pt x="893" y="312"/>
                  </a:lnTo>
                  <a:lnTo>
                    <a:pt x="876" y="288"/>
                  </a:lnTo>
                  <a:lnTo>
                    <a:pt x="834" y="288"/>
                  </a:lnTo>
                  <a:lnTo>
                    <a:pt x="784" y="312"/>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5" name="Freeform 84"/>
            <p:cNvSpPr>
              <a:spLocks/>
            </p:cNvSpPr>
            <p:nvPr>
              <p:custDataLst>
                <p:tags r:id="rId80"/>
              </p:custDataLst>
            </p:nvPr>
          </p:nvSpPr>
          <p:spPr bwMode="auto">
            <a:xfrm>
              <a:off x="4089" y="2040"/>
              <a:ext cx="860" cy="656"/>
            </a:xfrm>
            <a:custGeom>
              <a:avLst/>
              <a:gdLst>
                <a:gd name="T0" fmla="*/ 775 w 860"/>
                <a:gd name="T1" fmla="*/ 560 h 656"/>
                <a:gd name="T2" fmla="*/ 826 w 860"/>
                <a:gd name="T3" fmla="*/ 464 h 656"/>
                <a:gd name="T4" fmla="*/ 860 w 860"/>
                <a:gd name="T5" fmla="*/ 456 h 656"/>
                <a:gd name="T6" fmla="*/ 851 w 860"/>
                <a:gd name="T7" fmla="*/ 416 h 656"/>
                <a:gd name="T8" fmla="*/ 817 w 860"/>
                <a:gd name="T9" fmla="*/ 352 h 656"/>
                <a:gd name="T10" fmla="*/ 792 w 860"/>
                <a:gd name="T11" fmla="*/ 320 h 656"/>
                <a:gd name="T12" fmla="*/ 784 w 860"/>
                <a:gd name="T13" fmla="*/ 264 h 656"/>
                <a:gd name="T14" fmla="*/ 750 w 860"/>
                <a:gd name="T15" fmla="*/ 256 h 656"/>
                <a:gd name="T16" fmla="*/ 750 w 860"/>
                <a:gd name="T17" fmla="*/ 232 h 656"/>
                <a:gd name="T18" fmla="*/ 792 w 860"/>
                <a:gd name="T19" fmla="*/ 184 h 656"/>
                <a:gd name="T20" fmla="*/ 750 w 860"/>
                <a:gd name="T21" fmla="*/ 104 h 656"/>
                <a:gd name="T22" fmla="*/ 725 w 860"/>
                <a:gd name="T23" fmla="*/ 40 h 656"/>
                <a:gd name="T24" fmla="*/ 666 w 860"/>
                <a:gd name="T25" fmla="*/ 16 h 656"/>
                <a:gd name="T26" fmla="*/ 531 w 860"/>
                <a:gd name="T27" fmla="*/ 40 h 656"/>
                <a:gd name="T28" fmla="*/ 447 w 860"/>
                <a:gd name="T29" fmla="*/ 24 h 656"/>
                <a:gd name="T30" fmla="*/ 405 w 860"/>
                <a:gd name="T31" fmla="*/ 48 h 656"/>
                <a:gd name="T32" fmla="*/ 362 w 860"/>
                <a:gd name="T33" fmla="*/ 40 h 656"/>
                <a:gd name="T34" fmla="*/ 329 w 860"/>
                <a:gd name="T35" fmla="*/ 24 h 656"/>
                <a:gd name="T36" fmla="*/ 295 w 860"/>
                <a:gd name="T37" fmla="*/ 0 h 656"/>
                <a:gd name="T38" fmla="*/ 253 w 860"/>
                <a:gd name="T39" fmla="*/ 8 h 656"/>
                <a:gd name="T40" fmla="*/ 177 w 860"/>
                <a:gd name="T41" fmla="*/ 40 h 656"/>
                <a:gd name="T42" fmla="*/ 169 w 860"/>
                <a:gd name="T43" fmla="*/ 72 h 656"/>
                <a:gd name="T44" fmla="*/ 126 w 860"/>
                <a:gd name="T45" fmla="*/ 88 h 656"/>
                <a:gd name="T46" fmla="*/ 25 w 860"/>
                <a:gd name="T47" fmla="*/ 128 h 656"/>
                <a:gd name="T48" fmla="*/ 9 w 860"/>
                <a:gd name="T49" fmla="*/ 128 h 656"/>
                <a:gd name="T50" fmla="*/ 17 w 860"/>
                <a:gd name="T51" fmla="*/ 176 h 656"/>
                <a:gd name="T52" fmla="*/ 25 w 860"/>
                <a:gd name="T53" fmla="*/ 208 h 656"/>
                <a:gd name="T54" fmla="*/ 0 w 860"/>
                <a:gd name="T55" fmla="*/ 256 h 656"/>
                <a:gd name="T56" fmla="*/ 51 w 860"/>
                <a:gd name="T57" fmla="*/ 288 h 656"/>
                <a:gd name="T58" fmla="*/ 51 w 860"/>
                <a:gd name="T59" fmla="*/ 320 h 656"/>
                <a:gd name="T60" fmla="*/ 76 w 860"/>
                <a:gd name="T61" fmla="*/ 360 h 656"/>
                <a:gd name="T62" fmla="*/ 59 w 860"/>
                <a:gd name="T63" fmla="*/ 400 h 656"/>
                <a:gd name="T64" fmla="*/ 84 w 860"/>
                <a:gd name="T65" fmla="*/ 432 h 656"/>
                <a:gd name="T66" fmla="*/ 84 w 860"/>
                <a:gd name="T67" fmla="*/ 472 h 656"/>
                <a:gd name="T68" fmla="*/ 126 w 860"/>
                <a:gd name="T69" fmla="*/ 496 h 656"/>
                <a:gd name="T70" fmla="*/ 169 w 860"/>
                <a:gd name="T71" fmla="*/ 512 h 656"/>
                <a:gd name="T72" fmla="*/ 211 w 860"/>
                <a:gd name="T73" fmla="*/ 512 h 656"/>
                <a:gd name="T74" fmla="*/ 202 w 860"/>
                <a:gd name="T75" fmla="*/ 544 h 656"/>
                <a:gd name="T76" fmla="*/ 244 w 860"/>
                <a:gd name="T77" fmla="*/ 576 h 656"/>
                <a:gd name="T78" fmla="*/ 270 w 860"/>
                <a:gd name="T79" fmla="*/ 560 h 656"/>
                <a:gd name="T80" fmla="*/ 270 w 860"/>
                <a:gd name="T81" fmla="*/ 536 h 656"/>
                <a:gd name="T82" fmla="*/ 320 w 860"/>
                <a:gd name="T83" fmla="*/ 552 h 656"/>
                <a:gd name="T84" fmla="*/ 337 w 860"/>
                <a:gd name="T85" fmla="*/ 576 h 656"/>
                <a:gd name="T86" fmla="*/ 379 w 860"/>
                <a:gd name="T87" fmla="*/ 584 h 656"/>
                <a:gd name="T88" fmla="*/ 421 w 860"/>
                <a:gd name="T89" fmla="*/ 592 h 656"/>
                <a:gd name="T90" fmla="*/ 438 w 860"/>
                <a:gd name="T91" fmla="*/ 624 h 656"/>
                <a:gd name="T92" fmla="*/ 464 w 860"/>
                <a:gd name="T93" fmla="*/ 640 h 656"/>
                <a:gd name="T94" fmla="*/ 497 w 860"/>
                <a:gd name="T95" fmla="*/ 616 h 656"/>
                <a:gd name="T96" fmla="*/ 523 w 860"/>
                <a:gd name="T97" fmla="*/ 640 h 656"/>
                <a:gd name="T98" fmla="*/ 531 w 860"/>
                <a:gd name="T99" fmla="*/ 656 h 656"/>
                <a:gd name="T100" fmla="*/ 556 w 860"/>
                <a:gd name="T101" fmla="*/ 656 h 656"/>
                <a:gd name="T102" fmla="*/ 581 w 860"/>
                <a:gd name="T103" fmla="*/ 632 h 656"/>
                <a:gd name="T104" fmla="*/ 615 w 860"/>
                <a:gd name="T105" fmla="*/ 632 h 656"/>
                <a:gd name="T106" fmla="*/ 640 w 860"/>
                <a:gd name="T107" fmla="*/ 616 h 656"/>
                <a:gd name="T108" fmla="*/ 683 w 860"/>
                <a:gd name="T109" fmla="*/ 616 h 656"/>
                <a:gd name="T110" fmla="*/ 708 w 860"/>
                <a:gd name="T111" fmla="*/ 624 h 656"/>
                <a:gd name="T112" fmla="*/ 767 w 860"/>
                <a:gd name="T113" fmla="*/ 632 h 656"/>
                <a:gd name="T114" fmla="*/ 758 w 860"/>
                <a:gd name="T115" fmla="*/ 640 h 656"/>
                <a:gd name="T116" fmla="*/ 792 w 860"/>
                <a:gd name="T117" fmla="*/ 632 h 656"/>
                <a:gd name="T118" fmla="*/ 775 w 860"/>
                <a:gd name="T119" fmla="*/ 560 h 6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60" h="656">
                  <a:moveTo>
                    <a:pt x="775" y="560"/>
                  </a:moveTo>
                  <a:lnTo>
                    <a:pt x="826" y="464"/>
                  </a:lnTo>
                  <a:lnTo>
                    <a:pt x="860" y="456"/>
                  </a:lnTo>
                  <a:lnTo>
                    <a:pt x="851" y="416"/>
                  </a:lnTo>
                  <a:lnTo>
                    <a:pt x="817" y="352"/>
                  </a:lnTo>
                  <a:lnTo>
                    <a:pt x="792" y="320"/>
                  </a:lnTo>
                  <a:lnTo>
                    <a:pt x="784" y="264"/>
                  </a:lnTo>
                  <a:lnTo>
                    <a:pt x="750" y="256"/>
                  </a:lnTo>
                  <a:lnTo>
                    <a:pt x="750" y="232"/>
                  </a:lnTo>
                  <a:lnTo>
                    <a:pt x="792" y="184"/>
                  </a:lnTo>
                  <a:lnTo>
                    <a:pt x="750" y="104"/>
                  </a:lnTo>
                  <a:lnTo>
                    <a:pt x="725" y="40"/>
                  </a:lnTo>
                  <a:lnTo>
                    <a:pt x="666" y="16"/>
                  </a:lnTo>
                  <a:lnTo>
                    <a:pt x="531" y="40"/>
                  </a:lnTo>
                  <a:lnTo>
                    <a:pt x="447" y="24"/>
                  </a:lnTo>
                  <a:lnTo>
                    <a:pt x="405" y="48"/>
                  </a:lnTo>
                  <a:lnTo>
                    <a:pt x="362" y="40"/>
                  </a:lnTo>
                  <a:lnTo>
                    <a:pt x="329" y="24"/>
                  </a:lnTo>
                  <a:lnTo>
                    <a:pt x="295" y="0"/>
                  </a:lnTo>
                  <a:lnTo>
                    <a:pt x="253" y="8"/>
                  </a:lnTo>
                  <a:lnTo>
                    <a:pt x="177" y="40"/>
                  </a:lnTo>
                  <a:lnTo>
                    <a:pt x="169" y="72"/>
                  </a:lnTo>
                  <a:lnTo>
                    <a:pt x="126" y="88"/>
                  </a:lnTo>
                  <a:lnTo>
                    <a:pt x="25" y="128"/>
                  </a:lnTo>
                  <a:lnTo>
                    <a:pt x="9" y="128"/>
                  </a:lnTo>
                  <a:lnTo>
                    <a:pt x="17" y="176"/>
                  </a:lnTo>
                  <a:lnTo>
                    <a:pt x="25" y="208"/>
                  </a:lnTo>
                  <a:lnTo>
                    <a:pt x="0" y="256"/>
                  </a:lnTo>
                  <a:lnTo>
                    <a:pt x="51" y="288"/>
                  </a:lnTo>
                  <a:lnTo>
                    <a:pt x="51" y="320"/>
                  </a:lnTo>
                  <a:lnTo>
                    <a:pt x="76" y="360"/>
                  </a:lnTo>
                  <a:lnTo>
                    <a:pt x="59" y="400"/>
                  </a:lnTo>
                  <a:lnTo>
                    <a:pt x="84" y="432"/>
                  </a:lnTo>
                  <a:lnTo>
                    <a:pt x="84" y="472"/>
                  </a:lnTo>
                  <a:lnTo>
                    <a:pt x="126" y="496"/>
                  </a:lnTo>
                  <a:lnTo>
                    <a:pt x="169" y="512"/>
                  </a:lnTo>
                  <a:lnTo>
                    <a:pt x="211" y="512"/>
                  </a:lnTo>
                  <a:lnTo>
                    <a:pt x="202" y="544"/>
                  </a:lnTo>
                  <a:lnTo>
                    <a:pt x="244" y="576"/>
                  </a:lnTo>
                  <a:lnTo>
                    <a:pt x="270" y="560"/>
                  </a:lnTo>
                  <a:lnTo>
                    <a:pt x="270" y="536"/>
                  </a:lnTo>
                  <a:lnTo>
                    <a:pt x="320" y="552"/>
                  </a:lnTo>
                  <a:lnTo>
                    <a:pt x="337" y="576"/>
                  </a:lnTo>
                  <a:lnTo>
                    <a:pt x="379" y="584"/>
                  </a:lnTo>
                  <a:lnTo>
                    <a:pt x="421" y="592"/>
                  </a:lnTo>
                  <a:lnTo>
                    <a:pt x="438" y="624"/>
                  </a:lnTo>
                  <a:lnTo>
                    <a:pt x="464" y="640"/>
                  </a:lnTo>
                  <a:lnTo>
                    <a:pt x="497" y="616"/>
                  </a:lnTo>
                  <a:lnTo>
                    <a:pt x="523" y="640"/>
                  </a:lnTo>
                  <a:lnTo>
                    <a:pt x="531" y="656"/>
                  </a:lnTo>
                  <a:lnTo>
                    <a:pt x="556" y="656"/>
                  </a:lnTo>
                  <a:lnTo>
                    <a:pt x="581" y="632"/>
                  </a:lnTo>
                  <a:lnTo>
                    <a:pt x="615" y="632"/>
                  </a:lnTo>
                  <a:lnTo>
                    <a:pt x="640" y="616"/>
                  </a:lnTo>
                  <a:lnTo>
                    <a:pt x="683" y="616"/>
                  </a:lnTo>
                  <a:lnTo>
                    <a:pt x="708" y="624"/>
                  </a:lnTo>
                  <a:lnTo>
                    <a:pt x="767" y="632"/>
                  </a:lnTo>
                  <a:lnTo>
                    <a:pt x="758" y="640"/>
                  </a:lnTo>
                  <a:lnTo>
                    <a:pt x="792" y="632"/>
                  </a:lnTo>
                  <a:lnTo>
                    <a:pt x="775" y="56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6" name="Freeform 85"/>
            <p:cNvSpPr>
              <a:spLocks/>
            </p:cNvSpPr>
            <p:nvPr>
              <p:custDataLst>
                <p:tags r:id="rId81"/>
              </p:custDataLst>
            </p:nvPr>
          </p:nvSpPr>
          <p:spPr bwMode="auto">
            <a:xfrm>
              <a:off x="4536" y="1976"/>
              <a:ext cx="210" cy="112"/>
            </a:xfrm>
            <a:custGeom>
              <a:avLst/>
              <a:gdLst>
                <a:gd name="T0" fmla="*/ 168 w 210"/>
                <a:gd name="T1" fmla="*/ 8 h 112"/>
                <a:gd name="T2" fmla="*/ 109 w 210"/>
                <a:gd name="T3" fmla="*/ 8 h 112"/>
                <a:gd name="T4" fmla="*/ 76 w 210"/>
                <a:gd name="T5" fmla="*/ 0 h 112"/>
                <a:gd name="T6" fmla="*/ 67 w 210"/>
                <a:gd name="T7" fmla="*/ 24 h 112"/>
                <a:gd name="T8" fmla="*/ 42 w 210"/>
                <a:gd name="T9" fmla="*/ 32 h 112"/>
                <a:gd name="T10" fmla="*/ 8 w 210"/>
                <a:gd name="T11" fmla="*/ 48 h 112"/>
                <a:gd name="T12" fmla="*/ 8 w 210"/>
                <a:gd name="T13" fmla="*/ 72 h 112"/>
                <a:gd name="T14" fmla="*/ 0 w 210"/>
                <a:gd name="T15" fmla="*/ 96 h 112"/>
                <a:gd name="T16" fmla="*/ 84 w 210"/>
                <a:gd name="T17" fmla="*/ 112 h 112"/>
                <a:gd name="T18" fmla="*/ 210 w 210"/>
                <a:gd name="T19" fmla="*/ 88 h 112"/>
                <a:gd name="T20" fmla="*/ 193 w 210"/>
                <a:gd name="T21" fmla="*/ 16 h 112"/>
                <a:gd name="T22" fmla="*/ 168 w 210"/>
                <a:gd name="T23" fmla="*/ 8 h 1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0" h="112">
                  <a:moveTo>
                    <a:pt x="168" y="8"/>
                  </a:moveTo>
                  <a:lnTo>
                    <a:pt x="109" y="8"/>
                  </a:lnTo>
                  <a:lnTo>
                    <a:pt x="76" y="0"/>
                  </a:lnTo>
                  <a:lnTo>
                    <a:pt x="67" y="24"/>
                  </a:lnTo>
                  <a:lnTo>
                    <a:pt x="42" y="32"/>
                  </a:lnTo>
                  <a:lnTo>
                    <a:pt x="8" y="48"/>
                  </a:lnTo>
                  <a:lnTo>
                    <a:pt x="8" y="72"/>
                  </a:lnTo>
                  <a:lnTo>
                    <a:pt x="0" y="96"/>
                  </a:lnTo>
                  <a:lnTo>
                    <a:pt x="84" y="112"/>
                  </a:lnTo>
                  <a:lnTo>
                    <a:pt x="210" y="88"/>
                  </a:lnTo>
                  <a:lnTo>
                    <a:pt x="193" y="16"/>
                  </a:lnTo>
                  <a:lnTo>
                    <a:pt x="168" y="8"/>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7" name="Freeform 86"/>
            <p:cNvSpPr>
              <a:spLocks/>
            </p:cNvSpPr>
            <p:nvPr>
              <p:custDataLst>
                <p:tags r:id="rId82"/>
              </p:custDataLst>
            </p:nvPr>
          </p:nvSpPr>
          <p:spPr bwMode="auto">
            <a:xfrm>
              <a:off x="4089" y="2040"/>
              <a:ext cx="860" cy="656"/>
            </a:xfrm>
            <a:custGeom>
              <a:avLst/>
              <a:gdLst>
                <a:gd name="T0" fmla="*/ 775 w 860"/>
                <a:gd name="T1" fmla="*/ 560 h 656"/>
                <a:gd name="T2" fmla="*/ 826 w 860"/>
                <a:gd name="T3" fmla="*/ 464 h 656"/>
                <a:gd name="T4" fmla="*/ 860 w 860"/>
                <a:gd name="T5" fmla="*/ 456 h 656"/>
                <a:gd name="T6" fmla="*/ 851 w 860"/>
                <a:gd name="T7" fmla="*/ 416 h 656"/>
                <a:gd name="T8" fmla="*/ 817 w 860"/>
                <a:gd name="T9" fmla="*/ 352 h 656"/>
                <a:gd name="T10" fmla="*/ 792 w 860"/>
                <a:gd name="T11" fmla="*/ 320 h 656"/>
                <a:gd name="T12" fmla="*/ 784 w 860"/>
                <a:gd name="T13" fmla="*/ 264 h 656"/>
                <a:gd name="T14" fmla="*/ 750 w 860"/>
                <a:gd name="T15" fmla="*/ 256 h 656"/>
                <a:gd name="T16" fmla="*/ 750 w 860"/>
                <a:gd name="T17" fmla="*/ 232 h 656"/>
                <a:gd name="T18" fmla="*/ 792 w 860"/>
                <a:gd name="T19" fmla="*/ 184 h 656"/>
                <a:gd name="T20" fmla="*/ 750 w 860"/>
                <a:gd name="T21" fmla="*/ 104 h 656"/>
                <a:gd name="T22" fmla="*/ 725 w 860"/>
                <a:gd name="T23" fmla="*/ 40 h 656"/>
                <a:gd name="T24" fmla="*/ 666 w 860"/>
                <a:gd name="T25" fmla="*/ 16 h 656"/>
                <a:gd name="T26" fmla="*/ 531 w 860"/>
                <a:gd name="T27" fmla="*/ 40 h 656"/>
                <a:gd name="T28" fmla="*/ 447 w 860"/>
                <a:gd name="T29" fmla="*/ 24 h 656"/>
                <a:gd name="T30" fmla="*/ 405 w 860"/>
                <a:gd name="T31" fmla="*/ 48 h 656"/>
                <a:gd name="T32" fmla="*/ 362 w 860"/>
                <a:gd name="T33" fmla="*/ 40 h 656"/>
                <a:gd name="T34" fmla="*/ 329 w 860"/>
                <a:gd name="T35" fmla="*/ 24 h 656"/>
                <a:gd name="T36" fmla="*/ 295 w 860"/>
                <a:gd name="T37" fmla="*/ 0 h 656"/>
                <a:gd name="T38" fmla="*/ 253 w 860"/>
                <a:gd name="T39" fmla="*/ 8 h 656"/>
                <a:gd name="T40" fmla="*/ 177 w 860"/>
                <a:gd name="T41" fmla="*/ 40 h 656"/>
                <a:gd name="T42" fmla="*/ 169 w 860"/>
                <a:gd name="T43" fmla="*/ 72 h 656"/>
                <a:gd name="T44" fmla="*/ 126 w 860"/>
                <a:gd name="T45" fmla="*/ 88 h 656"/>
                <a:gd name="T46" fmla="*/ 25 w 860"/>
                <a:gd name="T47" fmla="*/ 128 h 656"/>
                <a:gd name="T48" fmla="*/ 9 w 860"/>
                <a:gd name="T49" fmla="*/ 128 h 656"/>
                <a:gd name="T50" fmla="*/ 17 w 860"/>
                <a:gd name="T51" fmla="*/ 176 h 656"/>
                <a:gd name="T52" fmla="*/ 25 w 860"/>
                <a:gd name="T53" fmla="*/ 208 h 656"/>
                <a:gd name="T54" fmla="*/ 0 w 860"/>
                <a:gd name="T55" fmla="*/ 256 h 656"/>
                <a:gd name="T56" fmla="*/ 51 w 860"/>
                <a:gd name="T57" fmla="*/ 288 h 656"/>
                <a:gd name="T58" fmla="*/ 51 w 860"/>
                <a:gd name="T59" fmla="*/ 320 h 656"/>
                <a:gd name="T60" fmla="*/ 76 w 860"/>
                <a:gd name="T61" fmla="*/ 360 h 656"/>
                <a:gd name="T62" fmla="*/ 59 w 860"/>
                <a:gd name="T63" fmla="*/ 400 h 656"/>
                <a:gd name="T64" fmla="*/ 84 w 860"/>
                <a:gd name="T65" fmla="*/ 432 h 656"/>
                <a:gd name="T66" fmla="*/ 84 w 860"/>
                <a:gd name="T67" fmla="*/ 472 h 656"/>
                <a:gd name="T68" fmla="*/ 126 w 860"/>
                <a:gd name="T69" fmla="*/ 496 h 656"/>
                <a:gd name="T70" fmla="*/ 169 w 860"/>
                <a:gd name="T71" fmla="*/ 512 h 656"/>
                <a:gd name="T72" fmla="*/ 211 w 860"/>
                <a:gd name="T73" fmla="*/ 512 h 656"/>
                <a:gd name="T74" fmla="*/ 202 w 860"/>
                <a:gd name="T75" fmla="*/ 544 h 656"/>
                <a:gd name="T76" fmla="*/ 244 w 860"/>
                <a:gd name="T77" fmla="*/ 576 h 656"/>
                <a:gd name="T78" fmla="*/ 270 w 860"/>
                <a:gd name="T79" fmla="*/ 560 h 656"/>
                <a:gd name="T80" fmla="*/ 270 w 860"/>
                <a:gd name="T81" fmla="*/ 536 h 656"/>
                <a:gd name="T82" fmla="*/ 320 w 860"/>
                <a:gd name="T83" fmla="*/ 552 h 656"/>
                <a:gd name="T84" fmla="*/ 337 w 860"/>
                <a:gd name="T85" fmla="*/ 576 h 656"/>
                <a:gd name="T86" fmla="*/ 379 w 860"/>
                <a:gd name="T87" fmla="*/ 584 h 656"/>
                <a:gd name="T88" fmla="*/ 421 w 860"/>
                <a:gd name="T89" fmla="*/ 592 h 656"/>
                <a:gd name="T90" fmla="*/ 438 w 860"/>
                <a:gd name="T91" fmla="*/ 624 h 656"/>
                <a:gd name="T92" fmla="*/ 438 w 860"/>
                <a:gd name="T93" fmla="*/ 624 h 656"/>
                <a:gd name="T94" fmla="*/ 464 w 860"/>
                <a:gd name="T95" fmla="*/ 640 h 656"/>
                <a:gd name="T96" fmla="*/ 497 w 860"/>
                <a:gd name="T97" fmla="*/ 616 h 656"/>
                <a:gd name="T98" fmla="*/ 523 w 860"/>
                <a:gd name="T99" fmla="*/ 640 h 656"/>
                <a:gd name="T100" fmla="*/ 531 w 860"/>
                <a:gd name="T101" fmla="*/ 656 h 656"/>
                <a:gd name="T102" fmla="*/ 556 w 860"/>
                <a:gd name="T103" fmla="*/ 656 h 656"/>
                <a:gd name="T104" fmla="*/ 581 w 860"/>
                <a:gd name="T105" fmla="*/ 632 h 656"/>
                <a:gd name="T106" fmla="*/ 615 w 860"/>
                <a:gd name="T107" fmla="*/ 632 h 656"/>
                <a:gd name="T108" fmla="*/ 640 w 860"/>
                <a:gd name="T109" fmla="*/ 616 h 656"/>
                <a:gd name="T110" fmla="*/ 683 w 860"/>
                <a:gd name="T111" fmla="*/ 616 h 656"/>
                <a:gd name="T112" fmla="*/ 708 w 860"/>
                <a:gd name="T113" fmla="*/ 624 h 656"/>
                <a:gd name="T114" fmla="*/ 767 w 860"/>
                <a:gd name="T115" fmla="*/ 632 h 656"/>
                <a:gd name="T116" fmla="*/ 758 w 860"/>
                <a:gd name="T117" fmla="*/ 640 h 656"/>
                <a:gd name="T118" fmla="*/ 792 w 860"/>
                <a:gd name="T119" fmla="*/ 632 h 656"/>
                <a:gd name="T120" fmla="*/ 775 w 860"/>
                <a:gd name="T121" fmla="*/ 560 h 65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60" h="656">
                  <a:moveTo>
                    <a:pt x="775" y="560"/>
                  </a:moveTo>
                  <a:lnTo>
                    <a:pt x="826" y="464"/>
                  </a:lnTo>
                  <a:lnTo>
                    <a:pt x="860" y="456"/>
                  </a:lnTo>
                  <a:lnTo>
                    <a:pt x="851" y="416"/>
                  </a:lnTo>
                  <a:lnTo>
                    <a:pt x="817" y="352"/>
                  </a:lnTo>
                  <a:lnTo>
                    <a:pt x="792" y="320"/>
                  </a:lnTo>
                  <a:lnTo>
                    <a:pt x="784" y="264"/>
                  </a:lnTo>
                  <a:lnTo>
                    <a:pt x="750" y="256"/>
                  </a:lnTo>
                  <a:lnTo>
                    <a:pt x="750" y="232"/>
                  </a:lnTo>
                  <a:lnTo>
                    <a:pt x="792" y="184"/>
                  </a:lnTo>
                  <a:lnTo>
                    <a:pt x="750" y="104"/>
                  </a:lnTo>
                  <a:lnTo>
                    <a:pt x="725" y="40"/>
                  </a:lnTo>
                  <a:lnTo>
                    <a:pt x="666" y="16"/>
                  </a:lnTo>
                  <a:lnTo>
                    <a:pt x="531" y="40"/>
                  </a:lnTo>
                  <a:lnTo>
                    <a:pt x="447" y="24"/>
                  </a:lnTo>
                  <a:lnTo>
                    <a:pt x="405" y="48"/>
                  </a:lnTo>
                  <a:lnTo>
                    <a:pt x="362" y="40"/>
                  </a:lnTo>
                  <a:lnTo>
                    <a:pt x="329" y="24"/>
                  </a:lnTo>
                  <a:lnTo>
                    <a:pt x="295" y="0"/>
                  </a:lnTo>
                  <a:lnTo>
                    <a:pt x="253" y="8"/>
                  </a:lnTo>
                  <a:lnTo>
                    <a:pt x="177" y="40"/>
                  </a:lnTo>
                  <a:lnTo>
                    <a:pt x="169" y="72"/>
                  </a:lnTo>
                  <a:lnTo>
                    <a:pt x="126" y="88"/>
                  </a:lnTo>
                  <a:lnTo>
                    <a:pt x="25" y="128"/>
                  </a:lnTo>
                  <a:lnTo>
                    <a:pt x="9" y="128"/>
                  </a:lnTo>
                  <a:lnTo>
                    <a:pt x="17" y="176"/>
                  </a:lnTo>
                  <a:lnTo>
                    <a:pt x="25" y="208"/>
                  </a:lnTo>
                  <a:lnTo>
                    <a:pt x="0" y="256"/>
                  </a:lnTo>
                  <a:lnTo>
                    <a:pt x="51" y="288"/>
                  </a:lnTo>
                  <a:lnTo>
                    <a:pt x="51" y="320"/>
                  </a:lnTo>
                  <a:lnTo>
                    <a:pt x="76" y="360"/>
                  </a:lnTo>
                  <a:lnTo>
                    <a:pt x="59" y="400"/>
                  </a:lnTo>
                  <a:lnTo>
                    <a:pt x="84" y="432"/>
                  </a:lnTo>
                  <a:lnTo>
                    <a:pt x="84" y="472"/>
                  </a:lnTo>
                  <a:lnTo>
                    <a:pt x="126" y="496"/>
                  </a:lnTo>
                  <a:lnTo>
                    <a:pt x="169" y="512"/>
                  </a:lnTo>
                  <a:lnTo>
                    <a:pt x="211" y="512"/>
                  </a:lnTo>
                  <a:lnTo>
                    <a:pt x="202" y="544"/>
                  </a:lnTo>
                  <a:lnTo>
                    <a:pt x="244" y="576"/>
                  </a:lnTo>
                  <a:lnTo>
                    <a:pt x="270" y="560"/>
                  </a:lnTo>
                  <a:lnTo>
                    <a:pt x="270" y="536"/>
                  </a:lnTo>
                  <a:lnTo>
                    <a:pt x="320" y="552"/>
                  </a:lnTo>
                  <a:lnTo>
                    <a:pt x="337" y="576"/>
                  </a:lnTo>
                  <a:lnTo>
                    <a:pt x="379" y="584"/>
                  </a:lnTo>
                  <a:lnTo>
                    <a:pt x="421" y="592"/>
                  </a:lnTo>
                  <a:lnTo>
                    <a:pt x="438" y="624"/>
                  </a:lnTo>
                  <a:lnTo>
                    <a:pt x="464" y="640"/>
                  </a:lnTo>
                  <a:lnTo>
                    <a:pt x="497" y="616"/>
                  </a:lnTo>
                  <a:lnTo>
                    <a:pt x="523" y="640"/>
                  </a:lnTo>
                  <a:lnTo>
                    <a:pt x="531" y="656"/>
                  </a:lnTo>
                  <a:lnTo>
                    <a:pt x="556" y="656"/>
                  </a:lnTo>
                  <a:lnTo>
                    <a:pt x="581" y="632"/>
                  </a:lnTo>
                  <a:lnTo>
                    <a:pt x="615" y="632"/>
                  </a:lnTo>
                  <a:lnTo>
                    <a:pt x="640" y="616"/>
                  </a:lnTo>
                  <a:lnTo>
                    <a:pt x="683" y="616"/>
                  </a:lnTo>
                  <a:lnTo>
                    <a:pt x="708" y="624"/>
                  </a:lnTo>
                  <a:lnTo>
                    <a:pt x="767" y="632"/>
                  </a:lnTo>
                  <a:lnTo>
                    <a:pt x="758" y="640"/>
                  </a:lnTo>
                  <a:lnTo>
                    <a:pt x="792" y="632"/>
                  </a:lnTo>
                  <a:lnTo>
                    <a:pt x="775" y="560"/>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8" name="Freeform 87"/>
            <p:cNvSpPr>
              <a:spLocks/>
            </p:cNvSpPr>
            <p:nvPr>
              <p:custDataLst>
                <p:tags r:id="rId83"/>
              </p:custDataLst>
            </p:nvPr>
          </p:nvSpPr>
          <p:spPr bwMode="auto">
            <a:xfrm>
              <a:off x="4536" y="1968"/>
              <a:ext cx="210" cy="112"/>
            </a:xfrm>
            <a:custGeom>
              <a:avLst/>
              <a:gdLst>
                <a:gd name="T0" fmla="*/ 168 w 210"/>
                <a:gd name="T1" fmla="*/ 8 h 112"/>
                <a:gd name="T2" fmla="*/ 109 w 210"/>
                <a:gd name="T3" fmla="*/ 8 h 112"/>
                <a:gd name="T4" fmla="*/ 76 w 210"/>
                <a:gd name="T5" fmla="*/ 0 h 112"/>
                <a:gd name="T6" fmla="*/ 67 w 210"/>
                <a:gd name="T7" fmla="*/ 24 h 112"/>
                <a:gd name="T8" fmla="*/ 42 w 210"/>
                <a:gd name="T9" fmla="*/ 32 h 112"/>
                <a:gd name="T10" fmla="*/ 8 w 210"/>
                <a:gd name="T11" fmla="*/ 48 h 112"/>
                <a:gd name="T12" fmla="*/ 8 w 210"/>
                <a:gd name="T13" fmla="*/ 72 h 112"/>
                <a:gd name="T14" fmla="*/ 0 w 210"/>
                <a:gd name="T15" fmla="*/ 96 h 112"/>
                <a:gd name="T16" fmla="*/ 84 w 210"/>
                <a:gd name="T17" fmla="*/ 112 h 112"/>
                <a:gd name="T18" fmla="*/ 210 w 210"/>
                <a:gd name="T19" fmla="*/ 88 h 112"/>
                <a:gd name="T20" fmla="*/ 193 w 210"/>
                <a:gd name="T21" fmla="*/ 16 h 112"/>
                <a:gd name="T22" fmla="*/ 168 w 210"/>
                <a:gd name="T23" fmla="*/ 8 h 1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0" h="112">
                  <a:moveTo>
                    <a:pt x="168" y="8"/>
                  </a:moveTo>
                  <a:lnTo>
                    <a:pt x="109" y="8"/>
                  </a:lnTo>
                  <a:lnTo>
                    <a:pt x="76" y="0"/>
                  </a:lnTo>
                  <a:lnTo>
                    <a:pt x="67" y="24"/>
                  </a:lnTo>
                  <a:lnTo>
                    <a:pt x="42" y="32"/>
                  </a:lnTo>
                  <a:lnTo>
                    <a:pt x="8" y="48"/>
                  </a:lnTo>
                  <a:lnTo>
                    <a:pt x="8" y="72"/>
                  </a:lnTo>
                  <a:lnTo>
                    <a:pt x="0" y="96"/>
                  </a:lnTo>
                  <a:lnTo>
                    <a:pt x="84" y="112"/>
                  </a:lnTo>
                  <a:lnTo>
                    <a:pt x="210" y="88"/>
                  </a:lnTo>
                  <a:lnTo>
                    <a:pt x="193" y="16"/>
                  </a:lnTo>
                  <a:lnTo>
                    <a:pt x="168" y="8"/>
                  </a:lnTo>
                  <a:close/>
                </a:path>
              </a:pathLst>
            </a:custGeom>
            <a:grp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09" name="Freeform 88"/>
            <p:cNvSpPr>
              <a:spLocks/>
            </p:cNvSpPr>
            <p:nvPr>
              <p:custDataLst>
                <p:tags r:id="rId84"/>
              </p:custDataLst>
            </p:nvPr>
          </p:nvSpPr>
          <p:spPr bwMode="auto">
            <a:xfrm>
              <a:off x="4578" y="1792"/>
              <a:ext cx="455" cy="320"/>
            </a:xfrm>
            <a:custGeom>
              <a:avLst/>
              <a:gdLst>
                <a:gd name="T0" fmla="*/ 312 w 455"/>
                <a:gd name="T1" fmla="*/ 304 h 320"/>
                <a:gd name="T2" fmla="*/ 328 w 455"/>
                <a:gd name="T3" fmla="*/ 296 h 320"/>
                <a:gd name="T4" fmla="*/ 320 w 455"/>
                <a:gd name="T5" fmla="*/ 272 h 320"/>
                <a:gd name="T6" fmla="*/ 354 w 455"/>
                <a:gd name="T7" fmla="*/ 264 h 320"/>
                <a:gd name="T8" fmla="*/ 379 w 455"/>
                <a:gd name="T9" fmla="*/ 248 h 320"/>
                <a:gd name="T10" fmla="*/ 404 w 455"/>
                <a:gd name="T11" fmla="*/ 256 h 320"/>
                <a:gd name="T12" fmla="*/ 387 w 455"/>
                <a:gd name="T13" fmla="*/ 224 h 320"/>
                <a:gd name="T14" fmla="*/ 387 w 455"/>
                <a:gd name="T15" fmla="*/ 192 h 320"/>
                <a:gd name="T16" fmla="*/ 387 w 455"/>
                <a:gd name="T17" fmla="*/ 160 h 320"/>
                <a:gd name="T18" fmla="*/ 413 w 455"/>
                <a:gd name="T19" fmla="*/ 152 h 320"/>
                <a:gd name="T20" fmla="*/ 421 w 455"/>
                <a:gd name="T21" fmla="*/ 128 h 320"/>
                <a:gd name="T22" fmla="*/ 446 w 455"/>
                <a:gd name="T23" fmla="*/ 120 h 320"/>
                <a:gd name="T24" fmla="*/ 455 w 455"/>
                <a:gd name="T25" fmla="*/ 104 h 320"/>
                <a:gd name="T26" fmla="*/ 430 w 455"/>
                <a:gd name="T27" fmla="*/ 96 h 320"/>
                <a:gd name="T28" fmla="*/ 430 w 455"/>
                <a:gd name="T29" fmla="*/ 64 h 320"/>
                <a:gd name="T30" fmla="*/ 396 w 455"/>
                <a:gd name="T31" fmla="*/ 56 h 320"/>
                <a:gd name="T32" fmla="*/ 371 w 455"/>
                <a:gd name="T33" fmla="*/ 40 h 320"/>
                <a:gd name="T34" fmla="*/ 337 w 455"/>
                <a:gd name="T35" fmla="*/ 24 h 320"/>
                <a:gd name="T36" fmla="*/ 286 w 455"/>
                <a:gd name="T37" fmla="*/ 16 h 320"/>
                <a:gd name="T38" fmla="*/ 278 w 455"/>
                <a:gd name="T39" fmla="*/ 0 h 320"/>
                <a:gd name="T40" fmla="*/ 227 w 455"/>
                <a:gd name="T41" fmla="*/ 32 h 320"/>
                <a:gd name="T42" fmla="*/ 185 w 455"/>
                <a:gd name="T43" fmla="*/ 24 h 320"/>
                <a:gd name="T44" fmla="*/ 143 w 455"/>
                <a:gd name="T45" fmla="*/ 32 h 320"/>
                <a:gd name="T46" fmla="*/ 84 w 455"/>
                <a:gd name="T47" fmla="*/ 32 h 320"/>
                <a:gd name="T48" fmla="*/ 25 w 455"/>
                <a:gd name="T49" fmla="*/ 64 h 320"/>
                <a:gd name="T50" fmla="*/ 0 w 455"/>
                <a:gd name="T51" fmla="*/ 88 h 320"/>
                <a:gd name="T52" fmla="*/ 8 w 455"/>
                <a:gd name="T53" fmla="*/ 104 h 320"/>
                <a:gd name="T54" fmla="*/ 25 w 455"/>
                <a:gd name="T55" fmla="*/ 168 h 320"/>
                <a:gd name="T56" fmla="*/ 34 w 455"/>
                <a:gd name="T57" fmla="*/ 184 h 320"/>
                <a:gd name="T58" fmla="*/ 67 w 455"/>
                <a:gd name="T59" fmla="*/ 192 h 320"/>
                <a:gd name="T60" fmla="*/ 126 w 455"/>
                <a:gd name="T61" fmla="*/ 192 h 320"/>
                <a:gd name="T62" fmla="*/ 151 w 455"/>
                <a:gd name="T63" fmla="*/ 200 h 320"/>
                <a:gd name="T64" fmla="*/ 168 w 455"/>
                <a:gd name="T65" fmla="*/ 272 h 320"/>
                <a:gd name="T66" fmla="*/ 177 w 455"/>
                <a:gd name="T67" fmla="*/ 272 h 320"/>
                <a:gd name="T68" fmla="*/ 236 w 455"/>
                <a:gd name="T69" fmla="*/ 296 h 320"/>
                <a:gd name="T70" fmla="*/ 244 w 455"/>
                <a:gd name="T71" fmla="*/ 320 h 320"/>
                <a:gd name="T72" fmla="*/ 278 w 455"/>
                <a:gd name="T73" fmla="*/ 296 h 320"/>
                <a:gd name="T74" fmla="*/ 312 w 455"/>
                <a:gd name="T75" fmla="*/ 304 h 3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55" h="320">
                  <a:moveTo>
                    <a:pt x="312" y="304"/>
                  </a:moveTo>
                  <a:lnTo>
                    <a:pt x="328" y="296"/>
                  </a:lnTo>
                  <a:lnTo>
                    <a:pt x="320" y="272"/>
                  </a:lnTo>
                  <a:lnTo>
                    <a:pt x="354" y="264"/>
                  </a:lnTo>
                  <a:lnTo>
                    <a:pt x="379" y="248"/>
                  </a:lnTo>
                  <a:lnTo>
                    <a:pt x="404" y="256"/>
                  </a:lnTo>
                  <a:lnTo>
                    <a:pt x="387" y="224"/>
                  </a:lnTo>
                  <a:lnTo>
                    <a:pt x="387" y="192"/>
                  </a:lnTo>
                  <a:lnTo>
                    <a:pt x="387" y="160"/>
                  </a:lnTo>
                  <a:lnTo>
                    <a:pt x="413" y="152"/>
                  </a:lnTo>
                  <a:lnTo>
                    <a:pt x="421" y="128"/>
                  </a:lnTo>
                  <a:lnTo>
                    <a:pt x="446" y="120"/>
                  </a:lnTo>
                  <a:lnTo>
                    <a:pt x="455" y="104"/>
                  </a:lnTo>
                  <a:lnTo>
                    <a:pt x="430" y="96"/>
                  </a:lnTo>
                  <a:lnTo>
                    <a:pt x="430" y="64"/>
                  </a:lnTo>
                  <a:lnTo>
                    <a:pt x="396" y="56"/>
                  </a:lnTo>
                  <a:lnTo>
                    <a:pt x="371" y="40"/>
                  </a:lnTo>
                  <a:lnTo>
                    <a:pt x="337" y="24"/>
                  </a:lnTo>
                  <a:lnTo>
                    <a:pt x="286" y="16"/>
                  </a:lnTo>
                  <a:lnTo>
                    <a:pt x="278" y="0"/>
                  </a:lnTo>
                  <a:lnTo>
                    <a:pt x="227" y="32"/>
                  </a:lnTo>
                  <a:lnTo>
                    <a:pt x="185" y="24"/>
                  </a:lnTo>
                  <a:lnTo>
                    <a:pt x="143" y="32"/>
                  </a:lnTo>
                  <a:lnTo>
                    <a:pt x="84" y="32"/>
                  </a:lnTo>
                  <a:lnTo>
                    <a:pt x="25" y="64"/>
                  </a:lnTo>
                  <a:lnTo>
                    <a:pt x="0" y="88"/>
                  </a:lnTo>
                  <a:lnTo>
                    <a:pt x="8" y="104"/>
                  </a:lnTo>
                  <a:lnTo>
                    <a:pt x="25" y="168"/>
                  </a:lnTo>
                  <a:lnTo>
                    <a:pt x="34" y="184"/>
                  </a:lnTo>
                  <a:lnTo>
                    <a:pt x="67" y="192"/>
                  </a:lnTo>
                  <a:lnTo>
                    <a:pt x="126" y="192"/>
                  </a:lnTo>
                  <a:lnTo>
                    <a:pt x="151" y="200"/>
                  </a:lnTo>
                  <a:lnTo>
                    <a:pt x="168" y="272"/>
                  </a:lnTo>
                  <a:lnTo>
                    <a:pt x="177" y="272"/>
                  </a:lnTo>
                  <a:lnTo>
                    <a:pt x="236" y="296"/>
                  </a:lnTo>
                  <a:lnTo>
                    <a:pt x="244" y="320"/>
                  </a:lnTo>
                  <a:lnTo>
                    <a:pt x="278" y="296"/>
                  </a:lnTo>
                  <a:lnTo>
                    <a:pt x="312" y="30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10" name="Freeform 89"/>
            <p:cNvSpPr>
              <a:spLocks/>
            </p:cNvSpPr>
            <p:nvPr>
              <p:custDataLst>
                <p:tags r:id="rId85"/>
              </p:custDataLst>
            </p:nvPr>
          </p:nvSpPr>
          <p:spPr bwMode="auto">
            <a:xfrm>
              <a:off x="4831" y="2096"/>
              <a:ext cx="969" cy="928"/>
            </a:xfrm>
            <a:custGeom>
              <a:avLst/>
              <a:gdLst>
                <a:gd name="T0" fmla="*/ 910 w 969"/>
                <a:gd name="T1" fmla="*/ 96 h 928"/>
                <a:gd name="T2" fmla="*/ 910 w 969"/>
                <a:gd name="T3" fmla="*/ 40 h 928"/>
                <a:gd name="T4" fmla="*/ 825 w 969"/>
                <a:gd name="T5" fmla="*/ 0 h 928"/>
                <a:gd name="T6" fmla="*/ 733 w 969"/>
                <a:gd name="T7" fmla="*/ 32 h 928"/>
                <a:gd name="T8" fmla="*/ 691 w 969"/>
                <a:gd name="T9" fmla="*/ 72 h 928"/>
                <a:gd name="T10" fmla="*/ 615 w 969"/>
                <a:gd name="T11" fmla="*/ 160 h 928"/>
                <a:gd name="T12" fmla="*/ 573 w 969"/>
                <a:gd name="T13" fmla="*/ 176 h 928"/>
                <a:gd name="T14" fmla="*/ 505 w 969"/>
                <a:gd name="T15" fmla="*/ 184 h 928"/>
                <a:gd name="T16" fmla="*/ 446 w 969"/>
                <a:gd name="T17" fmla="*/ 200 h 928"/>
                <a:gd name="T18" fmla="*/ 387 w 969"/>
                <a:gd name="T19" fmla="*/ 224 h 928"/>
                <a:gd name="T20" fmla="*/ 294 w 969"/>
                <a:gd name="T21" fmla="*/ 208 h 928"/>
                <a:gd name="T22" fmla="*/ 143 w 969"/>
                <a:gd name="T23" fmla="*/ 224 h 928"/>
                <a:gd name="T24" fmla="*/ 84 w 969"/>
                <a:gd name="T25" fmla="*/ 272 h 928"/>
                <a:gd name="T26" fmla="*/ 75 w 969"/>
                <a:gd name="T27" fmla="*/ 304 h 928"/>
                <a:gd name="T28" fmla="*/ 118 w 969"/>
                <a:gd name="T29" fmla="*/ 408 h 928"/>
                <a:gd name="T30" fmla="*/ 33 w 969"/>
                <a:gd name="T31" fmla="*/ 512 h 928"/>
                <a:gd name="T32" fmla="*/ 16 w 969"/>
                <a:gd name="T33" fmla="*/ 592 h 928"/>
                <a:gd name="T34" fmla="*/ 0 w 969"/>
                <a:gd name="T35" fmla="*/ 680 h 928"/>
                <a:gd name="T36" fmla="*/ 50 w 969"/>
                <a:gd name="T37" fmla="*/ 696 h 928"/>
                <a:gd name="T38" fmla="*/ 109 w 969"/>
                <a:gd name="T39" fmla="*/ 696 h 928"/>
                <a:gd name="T40" fmla="*/ 177 w 969"/>
                <a:gd name="T41" fmla="*/ 704 h 928"/>
                <a:gd name="T42" fmla="*/ 261 w 969"/>
                <a:gd name="T43" fmla="*/ 712 h 928"/>
                <a:gd name="T44" fmla="*/ 362 w 969"/>
                <a:gd name="T45" fmla="*/ 664 h 928"/>
                <a:gd name="T46" fmla="*/ 404 w 969"/>
                <a:gd name="T47" fmla="*/ 616 h 928"/>
                <a:gd name="T48" fmla="*/ 463 w 969"/>
                <a:gd name="T49" fmla="*/ 600 h 928"/>
                <a:gd name="T50" fmla="*/ 556 w 969"/>
                <a:gd name="T51" fmla="*/ 600 h 928"/>
                <a:gd name="T52" fmla="*/ 640 w 969"/>
                <a:gd name="T53" fmla="*/ 648 h 928"/>
                <a:gd name="T54" fmla="*/ 707 w 969"/>
                <a:gd name="T55" fmla="*/ 696 h 928"/>
                <a:gd name="T56" fmla="*/ 758 w 969"/>
                <a:gd name="T57" fmla="*/ 760 h 928"/>
                <a:gd name="T58" fmla="*/ 657 w 969"/>
                <a:gd name="T59" fmla="*/ 800 h 928"/>
                <a:gd name="T60" fmla="*/ 657 w 969"/>
                <a:gd name="T61" fmla="*/ 888 h 928"/>
                <a:gd name="T62" fmla="*/ 674 w 969"/>
                <a:gd name="T63" fmla="*/ 928 h 928"/>
                <a:gd name="T64" fmla="*/ 766 w 969"/>
                <a:gd name="T65" fmla="*/ 904 h 928"/>
                <a:gd name="T66" fmla="*/ 808 w 969"/>
                <a:gd name="T67" fmla="*/ 768 h 928"/>
                <a:gd name="T68" fmla="*/ 867 w 969"/>
                <a:gd name="T69" fmla="*/ 704 h 928"/>
                <a:gd name="T70" fmla="*/ 969 w 969"/>
                <a:gd name="T71" fmla="*/ 688 h 928"/>
                <a:gd name="T72" fmla="*/ 935 w 969"/>
                <a:gd name="T73" fmla="*/ 104 h 92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969" h="928">
                  <a:moveTo>
                    <a:pt x="935" y="104"/>
                  </a:moveTo>
                  <a:lnTo>
                    <a:pt x="910" y="96"/>
                  </a:lnTo>
                  <a:lnTo>
                    <a:pt x="893" y="56"/>
                  </a:lnTo>
                  <a:lnTo>
                    <a:pt x="910" y="40"/>
                  </a:lnTo>
                  <a:lnTo>
                    <a:pt x="867" y="16"/>
                  </a:lnTo>
                  <a:lnTo>
                    <a:pt x="825" y="0"/>
                  </a:lnTo>
                  <a:lnTo>
                    <a:pt x="766" y="32"/>
                  </a:lnTo>
                  <a:lnTo>
                    <a:pt x="733" y="32"/>
                  </a:lnTo>
                  <a:lnTo>
                    <a:pt x="724" y="72"/>
                  </a:lnTo>
                  <a:lnTo>
                    <a:pt x="691" y="72"/>
                  </a:lnTo>
                  <a:lnTo>
                    <a:pt x="632" y="96"/>
                  </a:lnTo>
                  <a:lnTo>
                    <a:pt x="615" y="160"/>
                  </a:lnTo>
                  <a:lnTo>
                    <a:pt x="623" y="192"/>
                  </a:lnTo>
                  <a:lnTo>
                    <a:pt x="573" y="176"/>
                  </a:lnTo>
                  <a:lnTo>
                    <a:pt x="530" y="200"/>
                  </a:lnTo>
                  <a:lnTo>
                    <a:pt x="505" y="184"/>
                  </a:lnTo>
                  <a:lnTo>
                    <a:pt x="480" y="216"/>
                  </a:lnTo>
                  <a:lnTo>
                    <a:pt x="446" y="200"/>
                  </a:lnTo>
                  <a:lnTo>
                    <a:pt x="412" y="200"/>
                  </a:lnTo>
                  <a:lnTo>
                    <a:pt x="387" y="224"/>
                  </a:lnTo>
                  <a:lnTo>
                    <a:pt x="353" y="200"/>
                  </a:lnTo>
                  <a:lnTo>
                    <a:pt x="294" y="208"/>
                  </a:lnTo>
                  <a:lnTo>
                    <a:pt x="202" y="216"/>
                  </a:lnTo>
                  <a:lnTo>
                    <a:pt x="143" y="224"/>
                  </a:lnTo>
                  <a:lnTo>
                    <a:pt x="101" y="248"/>
                  </a:lnTo>
                  <a:lnTo>
                    <a:pt x="84" y="272"/>
                  </a:lnTo>
                  <a:lnTo>
                    <a:pt x="50" y="272"/>
                  </a:lnTo>
                  <a:lnTo>
                    <a:pt x="75" y="304"/>
                  </a:lnTo>
                  <a:lnTo>
                    <a:pt x="109" y="368"/>
                  </a:lnTo>
                  <a:lnTo>
                    <a:pt x="118" y="408"/>
                  </a:lnTo>
                  <a:lnTo>
                    <a:pt x="84" y="416"/>
                  </a:lnTo>
                  <a:lnTo>
                    <a:pt x="33" y="512"/>
                  </a:lnTo>
                  <a:lnTo>
                    <a:pt x="50" y="584"/>
                  </a:lnTo>
                  <a:lnTo>
                    <a:pt x="16" y="592"/>
                  </a:lnTo>
                  <a:lnTo>
                    <a:pt x="8" y="632"/>
                  </a:lnTo>
                  <a:lnTo>
                    <a:pt x="0" y="680"/>
                  </a:lnTo>
                  <a:lnTo>
                    <a:pt x="16" y="672"/>
                  </a:lnTo>
                  <a:lnTo>
                    <a:pt x="50" y="696"/>
                  </a:lnTo>
                  <a:lnTo>
                    <a:pt x="75" y="720"/>
                  </a:lnTo>
                  <a:lnTo>
                    <a:pt x="109" y="696"/>
                  </a:lnTo>
                  <a:lnTo>
                    <a:pt x="143" y="704"/>
                  </a:lnTo>
                  <a:lnTo>
                    <a:pt x="177" y="704"/>
                  </a:lnTo>
                  <a:lnTo>
                    <a:pt x="227" y="696"/>
                  </a:lnTo>
                  <a:lnTo>
                    <a:pt x="261" y="712"/>
                  </a:lnTo>
                  <a:lnTo>
                    <a:pt x="286" y="688"/>
                  </a:lnTo>
                  <a:lnTo>
                    <a:pt x="362" y="664"/>
                  </a:lnTo>
                  <a:lnTo>
                    <a:pt x="396" y="616"/>
                  </a:lnTo>
                  <a:lnTo>
                    <a:pt x="404" y="616"/>
                  </a:lnTo>
                  <a:lnTo>
                    <a:pt x="412" y="608"/>
                  </a:lnTo>
                  <a:lnTo>
                    <a:pt x="463" y="600"/>
                  </a:lnTo>
                  <a:lnTo>
                    <a:pt x="488" y="576"/>
                  </a:lnTo>
                  <a:lnTo>
                    <a:pt x="556" y="600"/>
                  </a:lnTo>
                  <a:lnTo>
                    <a:pt x="615" y="600"/>
                  </a:lnTo>
                  <a:lnTo>
                    <a:pt x="640" y="648"/>
                  </a:lnTo>
                  <a:lnTo>
                    <a:pt x="691" y="664"/>
                  </a:lnTo>
                  <a:lnTo>
                    <a:pt x="707" y="696"/>
                  </a:lnTo>
                  <a:lnTo>
                    <a:pt x="741" y="728"/>
                  </a:lnTo>
                  <a:lnTo>
                    <a:pt x="758" y="760"/>
                  </a:lnTo>
                  <a:lnTo>
                    <a:pt x="682" y="776"/>
                  </a:lnTo>
                  <a:lnTo>
                    <a:pt x="657" y="800"/>
                  </a:lnTo>
                  <a:lnTo>
                    <a:pt x="674" y="824"/>
                  </a:lnTo>
                  <a:lnTo>
                    <a:pt x="657" y="888"/>
                  </a:lnTo>
                  <a:lnTo>
                    <a:pt x="640" y="912"/>
                  </a:lnTo>
                  <a:lnTo>
                    <a:pt x="674" y="928"/>
                  </a:lnTo>
                  <a:lnTo>
                    <a:pt x="724" y="904"/>
                  </a:lnTo>
                  <a:lnTo>
                    <a:pt x="766" y="904"/>
                  </a:lnTo>
                  <a:lnTo>
                    <a:pt x="766" y="872"/>
                  </a:lnTo>
                  <a:lnTo>
                    <a:pt x="808" y="768"/>
                  </a:lnTo>
                  <a:lnTo>
                    <a:pt x="834" y="736"/>
                  </a:lnTo>
                  <a:lnTo>
                    <a:pt x="867" y="704"/>
                  </a:lnTo>
                  <a:lnTo>
                    <a:pt x="918" y="680"/>
                  </a:lnTo>
                  <a:lnTo>
                    <a:pt x="969" y="688"/>
                  </a:lnTo>
                  <a:lnTo>
                    <a:pt x="969" y="104"/>
                  </a:lnTo>
                  <a:lnTo>
                    <a:pt x="935" y="10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13" name="Freeform 92"/>
            <p:cNvSpPr>
              <a:spLocks/>
            </p:cNvSpPr>
            <p:nvPr>
              <p:custDataLst>
                <p:tags r:id="rId86"/>
              </p:custDataLst>
            </p:nvPr>
          </p:nvSpPr>
          <p:spPr bwMode="auto">
            <a:xfrm>
              <a:off x="4822" y="1768"/>
              <a:ext cx="725" cy="600"/>
            </a:xfrm>
            <a:custGeom>
              <a:avLst/>
              <a:gdLst>
                <a:gd name="T0" fmla="*/ 657 w 725"/>
                <a:gd name="T1" fmla="*/ 320 h 600"/>
                <a:gd name="T2" fmla="*/ 641 w 725"/>
                <a:gd name="T3" fmla="*/ 280 h 600"/>
                <a:gd name="T4" fmla="*/ 708 w 725"/>
                <a:gd name="T5" fmla="*/ 256 h 600"/>
                <a:gd name="T6" fmla="*/ 700 w 725"/>
                <a:gd name="T7" fmla="*/ 208 h 600"/>
                <a:gd name="T8" fmla="*/ 624 w 725"/>
                <a:gd name="T9" fmla="*/ 168 h 600"/>
                <a:gd name="T10" fmla="*/ 548 w 725"/>
                <a:gd name="T11" fmla="*/ 136 h 600"/>
                <a:gd name="T12" fmla="*/ 514 w 725"/>
                <a:gd name="T13" fmla="*/ 104 h 600"/>
                <a:gd name="T14" fmla="*/ 506 w 725"/>
                <a:gd name="T15" fmla="*/ 40 h 600"/>
                <a:gd name="T16" fmla="*/ 438 w 725"/>
                <a:gd name="T17" fmla="*/ 8 h 600"/>
                <a:gd name="T18" fmla="*/ 379 w 725"/>
                <a:gd name="T19" fmla="*/ 16 h 600"/>
                <a:gd name="T20" fmla="*/ 329 w 725"/>
                <a:gd name="T21" fmla="*/ 16 h 600"/>
                <a:gd name="T22" fmla="*/ 278 w 725"/>
                <a:gd name="T23" fmla="*/ 0 h 600"/>
                <a:gd name="T24" fmla="*/ 202 w 725"/>
                <a:gd name="T25" fmla="*/ 64 h 600"/>
                <a:gd name="T26" fmla="*/ 186 w 725"/>
                <a:gd name="T27" fmla="*/ 88 h 600"/>
                <a:gd name="T28" fmla="*/ 211 w 725"/>
                <a:gd name="T29" fmla="*/ 128 h 600"/>
                <a:gd name="T30" fmla="*/ 177 w 725"/>
                <a:gd name="T31" fmla="*/ 152 h 600"/>
                <a:gd name="T32" fmla="*/ 143 w 725"/>
                <a:gd name="T33" fmla="*/ 184 h 600"/>
                <a:gd name="T34" fmla="*/ 143 w 725"/>
                <a:gd name="T35" fmla="*/ 248 h 600"/>
                <a:gd name="T36" fmla="*/ 135 w 725"/>
                <a:gd name="T37" fmla="*/ 272 h 600"/>
                <a:gd name="T38" fmla="*/ 76 w 725"/>
                <a:gd name="T39" fmla="*/ 296 h 600"/>
                <a:gd name="T40" fmla="*/ 68 w 725"/>
                <a:gd name="T41" fmla="*/ 328 h 600"/>
                <a:gd name="T42" fmla="*/ 0 w 725"/>
                <a:gd name="T43" fmla="*/ 344 h 600"/>
                <a:gd name="T44" fmla="*/ 59 w 725"/>
                <a:gd name="T45" fmla="*/ 464 h 600"/>
                <a:gd name="T46" fmla="*/ 17 w 725"/>
                <a:gd name="T47" fmla="*/ 536 h 600"/>
                <a:gd name="T48" fmla="*/ 59 w 725"/>
                <a:gd name="T49" fmla="*/ 600 h 600"/>
                <a:gd name="T50" fmla="*/ 110 w 725"/>
                <a:gd name="T51" fmla="*/ 576 h 600"/>
                <a:gd name="T52" fmla="*/ 211 w 725"/>
                <a:gd name="T53" fmla="*/ 544 h 600"/>
                <a:gd name="T54" fmla="*/ 362 w 725"/>
                <a:gd name="T55" fmla="*/ 528 h 600"/>
                <a:gd name="T56" fmla="*/ 421 w 725"/>
                <a:gd name="T57" fmla="*/ 528 h 600"/>
                <a:gd name="T58" fmla="*/ 489 w 725"/>
                <a:gd name="T59" fmla="*/ 544 h 600"/>
                <a:gd name="T60" fmla="*/ 539 w 725"/>
                <a:gd name="T61" fmla="*/ 528 h 600"/>
                <a:gd name="T62" fmla="*/ 632 w 725"/>
                <a:gd name="T63" fmla="*/ 520 h 600"/>
                <a:gd name="T64" fmla="*/ 641 w 725"/>
                <a:gd name="T65" fmla="*/ 424 h 600"/>
                <a:gd name="T66" fmla="*/ 674 w 725"/>
                <a:gd name="T67" fmla="*/ 368 h 6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725" h="600">
                  <a:moveTo>
                    <a:pt x="657" y="344"/>
                  </a:moveTo>
                  <a:lnTo>
                    <a:pt x="657" y="320"/>
                  </a:lnTo>
                  <a:lnTo>
                    <a:pt x="632" y="304"/>
                  </a:lnTo>
                  <a:lnTo>
                    <a:pt x="641" y="280"/>
                  </a:lnTo>
                  <a:lnTo>
                    <a:pt x="691" y="272"/>
                  </a:lnTo>
                  <a:lnTo>
                    <a:pt x="708" y="256"/>
                  </a:lnTo>
                  <a:lnTo>
                    <a:pt x="725" y="232"/>
                  </a:lnTo>
                  <a:lnTo>
                    <a:pt x="700" y="208"/>
                  </a:lnTo>
                  <a:lnTo>
                    <a:pt x="632" y="192"/>
                  </a:lnTo>
                  <a:lnTo>
                    <a:pt x="624" y="168"/>
                  </a:lnTo>
                  <a:lnTo>
                    <a:pt x="582" y="160"/>
                  </a:lnTo>
                  <a:lnTo>
                    <a:pt x="548" y="136"/>
                  </a:lnTo>
                  <a:lnTo>
                    <a:pt x="548" y="120"/>
                  </a:lnTo>
                  <a:lnTo>
                    <a:pt x="514" y="104"/>
                  </a:lnTo>
                  <a:lnTo>
                    <a:pt x="514" y="72"/>
                  </a:lnTo>
                  <a:lnTo>
                    <a:pt x="506" y="40"/>
                  </a:lnTo>
                  <a:lnTo>
                    <a:pt x="472" y="16"/>
                  </a:lnTo>
                  <a:lnTo>
                    <a:pt x="438" y="8"/>
                  </a:lnTo>
                  <a:lnTo>
                    <a:pt x="396" y="32"/>
                  </a:lnTo>
                  <a:lnTo>
                    <a:pt x="379" y="16"/>
                  </a:lnTo>
                  <a:lnTo>
                    <a:pt x="346" y="8"/>
                  </a:lnTo>
                  <a:lnTo>
                    <a:pt x="329" y="16"/>
                  </a:lnTo>
                  <a:lnTo>
                    <a:pt x="303" y="0"/>
                  </a:lnTo>
                  <a:lnTo>
                    <a:pt x="278" y="0"/>
                  </a:lnTo>
                  <a:lnTo>
                    <a:pt x="245" y="64"/>
                  </a:lnTo>
                  <a:lnTo>
                    <a:pt x="202" y="64"/>
                  </a:lnTo>
                  <a:lnTo>
                    <a:pt x="177" y="80"/>
                  </a:lnTo>
                  <a:lnTo>
                    <a:pt x="186" y="88"/>
                  </a:lnTo>
                  <a:lnTo>
                    <a:pt x="186" y="120"/>
                  </a:lnTo>
                  <a:lnTo>
                    <a:pt x="211" y="128"/>
                  </a:lnTo>
                  <a:lnTo>
                    <a:pt x="202" y="144"/>
                  </a:lnTo>
                  <a:lnTo>
                    <a:pt x="177" y="152"/>
                  </a:lnTo>
                  <a:lnTo>
                    <a:pt x="169" y="176"/>
                  </a:lnTo>
                  <a:lnTo>
                    <a:pt x="143" y="184"/>
                  </a:lnTo>
                  <a:lnTo>
                    <a:pt x="143" y="216"/>
                  </a:lnTo>
                  <a:lnTo>
                    <a:pt x="143" y="248"/>
                  </a:lnTo>
                  <a:lnTo>
                    <a:pt x="160" y="280"/>
                  </a:lnTo>
                  <a:lnTo>
                    <a:pt x="135" y="272"/>
                  </a:lnTo>
                  <a:lnTo>
                    <a:pt x="110" y="288"/>
                  </a:lnTo>
                  <a:lnTo>
                    <a:pt x="76" y="296"/>
                  </a:lnTo>
                  <a:lnTo>
                    <a:pt x="84" y="320"/>
                  </a:lnTo>
                  <a:lnTo>
                    <a:pt x="68" y="328"/>
                  </a:lnTo>
                  <a:lnTo>
                    <a:pt x="34" y="320"/>
                  </a:lnTo>
                  <a:lnTo>
                    <a:pt x="0" y="344"/>
                  </a:lnTo>
                  <a:lnTo>
                    <a:pt x="17" y="384"/>
                  </a:lnTo>
                  <a:lnTo>
                    <a:pt x="59" y="464"/>
                  </a:lnTo>
                  <a:lnTo>
                    <a:pt x="17" y="512"/>
                  </a:lnTo>
                  <a:lnTo>
                    <a:pt x="17" y="536"/>
                  </a:lnTo>
                  <a:lnTo>
                    <a:pt x="51" y="544"/>
                  </a:lnTo>
                  <a:lnTo>
                    <a:pt x="59" y="600"/>
                  </a:lnTo>
                  <a:lnTo>
                    <a:pt x="93" y="600"/>
                  </a:lnTo>
                  <a:lnTo>
                    <a:pt x="110" y="576"/>
                  </a:lnTo>
                  <a:lnTo>
                    <a:pt x="152" y="552"/>
                  </a:lnTo>
                  <a:lnTo>
                    <a:pt x="211" y="544"/>
                  </a:lnTo>
                  <a:lnTo>
                    <a:pt x="303" y="536"/>
                  </a:lnTo>
                  <a:lnTo>
                    <a:pt x="362" y="528"/>
                  </a:lnTo>
                  <a:lnTo>
                    <a:pt x="396" y="552"/>
                  </a:lnTo>
                  <a:lnTo>
                    <a:pt x="421" y="528"/>
                  </a:lnTo>
                  <a:lnTo>
                    <a:pt x="455" y="528"/>
                  </a:lnTo>
                  <a:lnTo>
                    <a:pt x="489" y="544"/>
                  </a:lnTo>
                  <a:lnTo>
                    <a:pt x="514" y="512"/>
                  </a:lnTo>
                  <a:lnTo>
                    <a:pt x="539" y="528"/>
                  </a:lnTo>
                  <a:lnTo>
                    <a:pt x="582" y="504"/>
                  </a:lnTo>
                  <a:lnTo>
                    <a:pt x="632" y="520"/>
                  </a:lnTo>
                  <a:lnTo>
                    <a:pt x="624" y="488"/>
                  </a:lnTo>
                  <a:lnTo>
                    <a:pt x="641" y="424"/>
                  </a:lnTo>
                  <a:lnTo>
                    <a:pt x="700" y="400"/>
                  </a:lnTo>
                  <a:lnTo>
                    <a:pt x="674" y="368"/>
                  </a:lnTo>
                  <a:lnTo>
                    <a:pt x="657" y="344"/>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14" name="Freeform 93"/>
            <p:cNvSpPr>
              <a:spLocks/>
            </p:cNvSpPr>
            <p:nvPr>
              <p:custDataLst>
                <p:tags r:id="rId87"/>
              </p:custDataLst>
            </p:nvPr>
          </p:nvSpPr>
          <p:spPr bwMode="auto">
            <a:xfrm>
              <a:off x="4569" y="1600"/>
              <a:ext cx="531" cy="280"/>
            </a:xfrm>
            <a:custGeom>
              <a:avLst/>
              <a:gdLst>
                <a:gd name="T0" fmla="*/ 472 w 531"/>
                <a:gd name="T1" fmla="*/ 80 h 280"/>
                <a:gd name="T2" fmla="*/ 464 w 531"/>
                <a:gd name="T3" fmla="*/ 40 h 280"/>
                <a:gd name="T4" fmla="*/ 413 w 531"/>
                <a:gd name="T5" fmla="*/ 32 h 280"/>
                <a:gd name="T6" fmla="*/ 371 w 531"/>
                <a:gd name="T7" fmla="*/ 40 h 280"/>
                <a:gd name="T8" fmla="*/ 304 w 531"/>
                <a:gd name="T9" fmla="*/ 0 h 280"/>
                <a:gd name="T10" fmla="*/ 262 w 531"/>
                <a:gd name="T11" fmla="*/ 0 h 280"/>
                <a:gd name="T12" fmla="*/ 211 w 531"/>
                <a:gd name="T13" fmla="*/ 32 h 280"/>
                <a:gd name="T14" fmla="*/ 211 w 531"/>
                <a:gd name="T15" fmla="*/ 40 h 280"/>
                <a:gd name="T16" fmla="*/ 219 w 531"/>
                <a:gd name="T17" fmla="*/ 72 h 280"/>
                <a:gd name="T18" fmla="*/ 219 w 531"/>
                <a:gd name="T19" fmla="*/ 104 h 280"/>
                <a:gd name="T20" fmla="*/ 211 w 531"/>
                <a:gd name="T21" fmla="*/ 128 h 280"/>
                <a:gd name="T22" fmla="*/ 194 w 531"/>
                <a:gd name="T23" fmla="*/ 128 h 280"/>
                <a:gd name="T24" fmla="*/ 160 w 531"/>
                <a:gd name="T25" fmla="*/ 128 h 280"/>
                <a:gd name="T26" fmla="*/ 110 w 531"/>
                <a:gd name="T27" fmla="*/ 80 h 280"/>
                <a:gd name="T28" fmla="*/ 76 w 531"/>
                <a:gd name="T29" fmla="*/ 64 h 280"/>
                <a:gd name="T30" fmla="*/ 43 w 531"/>
                <a:gd name="T31" fmla="*/ 88 h 280"/>
                <a:gd name="T32" fmla="*/ 17 w 531"/>
                <a:gd name="T33" fmla="*/ 160 h 280"/>
                <a:gd name="T34" fmla="*/ 0 w 531"/>
                <a:gd name="T35" fmla="*/ 192 h 280"/>
                <a:gd name="T36" fmla="*/ 0 w 531"/>
                <a:gd name="T37" fmla="*/ 224 h 280"/>
                <a:gd name="T38" fmla="*/ 9 w 531"/>
                <a:gd name="T39" fmla="*/ 280 h 280"/>
                <a:gd name="T40" fmla="*/ 34 w 531"/>
                <a:gd name="T41" fmla="*/ 256 h 280"/>
                <a:gd name="T42" fmla="*/ 93 w 531"/>
                <a:gd name="T43" fmla="*/ 224 h 280"/>
                <a:gd name="T44" fmla="*/ 152 w 531"/>
                <a:gd name="T45" fmla="*/ 224 h 280"/>
                <a:gd name="T46" fmla="*/ 194 w 531"/>
                <a:gd name="T47" fmla="*/ 216 h 280"/>
                <a:gd name="T48" fmla="*/ 236 w 531"/>
                <a:gd name="T49" fmla="*/ 224 h 280"/>
                <a:gd name="T50" fmla="*/ 287 w 531"/>
                <a:gd name="T51" fmla="*/ 192 h 280"/>
                <a:gd name="T52" fmla="*/ 295 w 531"/>
                <a:gd name="T53" fmla="*/ 208 h 280"/>
                <a:gd name="T54" fmla="*/ 346 w 531"/>
                <a:gd name="T55" fmla="*/ 216 h 280"/>
                <a:gd name="T56" fmla="*/ 380 w 531"/>
                <a:gd name="T57" fmla="*/ 232 h 280"/>
                <a:gd name="T58" fmla="*/ 405 w 531"/>
                <a:gd name="T59" fmla="*/ 248 h 280"/>
                <a:gd name="T60" fmla="*/ 430 w 531"/>
                <a:gd name="T61" fmla="*/ 248 h 280"/>
                <a:gd name="T62" fmla="*/ 455 w 531"/>
                <a:gd name="T63" fmla="*/ 232 h 280"/>
                <a:gd name="T64" fmla="*/ 498 w 531"/>
                <a:gd name="T65" fmla="*/ 232 h 280"/>
                <a:gd name="T66" fmla="*/ 531 w 531"/>
                <a:gd name="T67" fmla="*/ 176 h 280"/>
                <a:gd name="T68" fmla="*/ 506 w 531"/>
                <a:gd name="T69" fmla="*/ 112 h 280"/>
                <a:gd name="T70" fmla="*/ 472 w 531"/>
                <a:gd name="T71" fmla="*/ 80 h 2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31" h="280">
                  <a:moveTo>
                    <a:pt x="472" y="80"/>
                  </a:moveTo>
                  <a:lnTo>
                    <a:pt x="464" y="40"/>
                  </a:lnTo>
                  <a:lnTo>
                    <a:pt x="413" y="32"/>
                  </a:lnTo>
                  <a:lnTo>
                    <a:pt x="371" y="40"/>
                  </a:lnTo>
                  <a:lnTo>
                    <a:pt x="304" y="0"/>
                  </a:lnTo>
                  <a:lnTo>
                    <a:pt x="262" y="0"/>
                  </a:lnTo>
                  <a:lnTo>
                    <a:pt x="211" y="32"/>
                  </a:lnTo>
                  <a:lnTo>
                    <a:pt x="211" y="40"/>
                  </a:lnTo>
                  <a:lnTo>
                    <a:pt x="219" y="72"/>
                  </a:lnTo>
                  <a:lnTo>
                    <a:pt x="219" y="104"/>
                  </a:lnTo>
                  <a:lnTo>
                    <a:pt x="211" y="128"/>
                  </a:lnTo>
                  <a:lnTo>
                    <a:pt x="194" y="128"/>
                  </a:lnTo>
                  <a:lnTo>
                    <a:pt x="160" y="128"/>
                  </a:lnTo>
                  <a:lnTo>
                    <a:pt x="110" y="80"/>
                  </a:lnTo>
                  <a:lnTo>
                    <a:pt x="76" y="64"/>
                  </a:lnTo>
                  <a:lnTo>
                    <a:pt x="43" y="88"/>
                  </a:lnTo>
                  <a:lnTo>
                    <a:pt x="17" y="160"/>
                  </a:lnTo>
                  <a:lnTo>
                    <a:pt x="0" y="192"/>
                  </a:lnTo>
                  <a:lnTo>
                    <a:pt x="0" y="224"/>
                  </a:lnTo>
                  <a:lnTo>
                    <a:pt x="9" y="280"/>
                  </a:lnTo>
                  <a:lnTo>
                    <a:pt x="34" y="256"/>
                  </a:lnTo>
                  <a:lnTo>
                    <a:pt x="93" y="224"/>
                  </a:lnTo>
                  <a:lnTo>
                    <a:pt x="152" y="224"/>
                  </a:lnTo>
                  <a:lnTo>
                    <a:pt x="194" y="216"/>
                  </a:lnTo>
                  <a:lnTo>
                    <a:pt x="236" y="224"/>
                  </a:lnTo>
                  <a:lnTo>
                    <a:pt x="287" y="192"/>
                  </a:lnTo>
                  <a:lnTo>
                    <a:pt x="295" y="208"/>
                  </a:lnTo>
                  <a:lnTo>
                    <a:pt x="346" y="216"/>
                  </a:lnTo>
                  <a:lnTo>
                    <a:pt x="380" y="232"/>
                  </a:lnTo>
                  <a:lnTo>
                    <a:pt x="405" y="248"/>
                  </a:lnTo>
                  <a:lnTo>
                    <a:pt x="430" y="248"/>
                  </a:lnTo>
                  <a:lnTo>
                    <a:pt x="455" y="232"/>
                  </a:lnTo>
                  <a:lnTo>
                    <a:pt x="498" y="232"/>
                  </a:lnTo>
                  <a:lnTo>
                    <a:pt x="531" y="176"/>
                  </a:lnTo>
                  <a:lnTo>
                    <a:pt x="506" y="112"/>
                  </a:lnTo>
                  <a:lnTo>
                    <a:pt x="472" y="80"/>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17" name="Freeform 96"/>
            <p:cNvSpPr>
              <a:spLocks/>
            </p:cNvSpPr>
            <p:nvPr>
              <p:custDataLst>
                <p:tags r:id="rId88"/>
              </p:custDataLst>
            </p:nvPr>
          </p:nvSpPr>
          <p:spPr bwMode="auto">
            <a:xfrm>
              <a:off x="4679" y="1392"/>
              <a:ext cx="337" cy="248"/>
            </a:xfrm>
            <a:custGeom>
              <a:avLst/>
              <a:gdLst>
                <a:gd name="T0" fmla="*/ 295 w 337"/>
                <a:gd name="T1" fmla="*/ 128 h 248"/>
                <a:gd name="T2" fmla="*/ 295 w 337"/>
                <a:gd name="T3" fmla="*/ 64 h 248"/>
                <a:gd name="T4" fmla="*/ 295 w 337"/>
                <a:gd name="T5" fmla="*/ 16 h 248"/>
                <a:gd name="T6" fmla="*/ 286 w 337"/>
                <a:gd name="T7" fmla="*/ 0 h 248"/>
                <a:gd name="T8" fmla="*/ 236 w 337"/>
                <a:gd name="T9" fmla="*/ 8 h 248"/>
                <a:gd name="T10" fmla="*/ 126 w 337"/>
                <a:gd name="T11" fmla="*/ 16 h 248"/>
                <a:gd name="T12" fmla="*/ 67 w 337"/>
                <a:gd name="T13" fmla="*/ 40 h 248"/>
                <a:gd name="T14" fmla="*/ 25 w 337"/>
                <a:gd name="T15" fmla="*/ 64 h 248"/>
                <a:gd name="T16" fmla="*/ 8 w 337"/>
                <a:gd name="T17" fmla="*/ 88 h 248"/>
                <a:gd name="T18" fmla="*/ 0 w 337"/>
                <a:gd name="T19" fmla="*/ 112 h 248"/>
                <a:gd name="T20" fmla="*/ 25 w 337"/>
                <a:gd name="T21" fmla="*/ 128 h 248"/>
                <a:gd name="T22" fmla="*/ 17 w 337"/>
                <a:gd name="T23" fmla="*/ 152 h 248"/>
                <a:gd name="T24" fmla="*/ 25 w 337"/>
                <a:gd name="T25" fmla="*/ 176 h 248"/>
                <a:gd name="T26" fmla="*/ 42 w 337"/>
                <a:gd name="T27" fmla="*/ 184 h 248"/>
                <a:gd name="T28" fmla="*/ 67 w 337"/>
                <a:gd name="T29" fmla="*/ 184 h 248"/>
                <a:gd name="T30" fmla="*/ 93 w 337"/>
                <a:gd name="T31" fmla="*/ 176 h 248"/>
                <a:gd name="T32" fmla="*/ 101 w 337"/>
                <a:gd name="T33" fmla="*/ 240 h 248"/>
                <a:gd name="T34" fmla="*/ 152 w 337"/>
                <a:gd name="T35" fmla="*/ 208 h 248"/>
                <a:gd name="T36" fmla="*/ 194 w 337"/>
                <a:gd name="T37" fmla="*/ 208 h 248"/>
                <a:gd name="T38" fmla="*/ 261 w 337"/>
                <a:gd name="T39" fmla="*/ 248 h 248"/>
                <a:gd name="T40" fmla="*/ 303 w 337"/>
                <a:gd name="T41" fmla="*/ 240 h 248"/>
                <a:gd name="T42" fmla="*/ 320 w 337"/>
                <a:gd name="T43" fmla="*/ 240 h 248"/>
                <a:gd name="T44" fmla="*/ 337 w 337"/>
                <a:gd name="T45" fmla="*/ 176 h 248"/>
                <a:gd name="T46" fmla="*/ 295 w 337"/>
                <a:gd name="T47" fmla="*/ 128 h 24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37" h="248">
                  <a:moveTo>
                    <a:pt x="295" y="128"/>
                  </a:moveTo>
                  <a:lnTo>
                    <a:pt x="295" y="64"/>
                  </a:lnTo>
                  <a:lnTo>
                    <a:pt x="295" y="16"/>
                  </a:lnTo>
                  <a:lnTo>
                    <a:pt x="286" y="0"/>
                  </a:lnTo>
                  <a:lnTo>
                    <a:pt x="236" y="8"/>
                  </a:lnTo>
                  <a:lnTo>
                    <a:pt x="126" y="16"/>
                  </a:lnTo>
                  <a:lnTo>
                    <a:pt x="67" y="40"/>
                  </a:lnTo>
                  <a:lnTo>
                    <a:pt x="25" y="64"/>
                  </a:lnTo>
                  <a:lnTo>
                    <a:pt x="8" y="88"/>
                  </a:lnTo>
                  <a:lnTo>
                    <a:pt x="0" y="112"/>
                  </a:lnTo>
                  <a:lnTo>
                    <a:pt x="25" y="128"/>
                  </a:lnTo>
                  <a:lnTo>
                    <a:pt x="17" y="152"/>
                  </a:lnTo>
                  <a:lnTo>
                    <a:pt x="25" y="176"/>
                  </a:lnTo>
                  <a:lnTo>
                    <a:pt x="42" y="184"/>
                  </a:lnTo>
                  <a:lnTo>
                    <a:pt x="67" y="184"/>
                  </a:lnTo>
                  <a:lnTo>
                    <a:pt x="93" y="176"/>
                  </a:lnTo>
                  <a:lnTo>
                    <a:pt x="101" y="240"/>
                  </a:lnTo>
                  <a:lnTo>
                    <a:pt x="152" y="208"/>
                  </a:lnTo>
                  <a:lnTo>
                    <a:pt x="194" y="208"/>
                  </a:lnTo>
                  <a:lnTo>
                    <a:pt x="261" y="248"/>
                  </a:lnTo>
                  <a:lnTo>
                    <a:pt x="303" y="240"/>
                  </a:lnTo>
                  <a:lnTo>
                    <a:pt x="320" y="240"/>
                  </a:lnTo>
                  <a:lnTo>
                    <a:pt x="337" y="176"/>
                  </a:lnTo>
                  <a:lnTo>
                    <a:pt x="295" y="128"/>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18" name="Freeform 97"/>
            <p:cNvSpPr>
              <a:spLocks/>
            </p:cNvSpPr>
            <p:nvPr>
              <p:custDataLst>
                <p:tags r:id="rId89"/>
              </p:custDataLst>
            </p:nvPr>
          </p:nvSpPr>
          <p:spPr bwMode="auto">
            <a:xfrm>
              <a:off x="4687" y="-8"/>
              <a:ext cx="1121" cy="2200"/>
            </a:xfrm>
            <a:custGeom>
              <a:avLst/>
              <a:gdLst>
                <a:gd name="T0" fmla="*/ 995 w 1121"/>
                <a:gd name="T1" fmla="*/ 64 h 2200"/>
                <a:gd name="T2" fmla="*/ 1003 w 1121"/>
                <a:gd name="T3" fmla="*/ 160 h 2200"/>
                <a:gd name="T4" fmla="*/ 919 w 1121"/>
                <a:gd name="T5" fmla="*/ 168 h 2200"/>
                <a:gd name="T6" fmla="*/ 877 w 1121"/>
                <a:gd name="T7" fmla="*/ 168 h 2200"/>
                <a:gd name="T8" fmla="*/ 893 w 1121"/>
                <a:gd name="T9" fmla="*/ 88 h 2200"/>
                <a:gd name="T10" fmla="*/ 851 w 1121"/>
                <a:gd name="T11" fmla="*/ 16 h 2200"/>
                <a:gd name="T12" fmla="*/ 700 w 1121"/>
                <a:gd name="T13" fmla="*/ 48 h 2200"/>
                <a:gd name="T14" fmla="*/ 809 w 1121"/>
                <a:gd name="T15" fmla="*/ 176 h 2200"/>
                <a:gd name="T16" fmla="*/ 877 w 1121"/>
                <a:gd name="T17" fmla="*/ 224 h 2200"/>
                <a:gd name="T18" fmla="*/ 851 w 1121"/>
                <a:gd name="T19" fmla="*/ 304 h 2200"/>
                <a:gd name="T20" fmla="*/ 784 w 1121"/>
                <a:gd name="T21" fmla="*/ 328 h 2200"/>
                <a:gd name="T22" fmla="*/ 725 w 1121"/>
                <a:gd name="T23" fmla="*/ 448 h 2200"/>
                <a:gd name="T24" fmla="*/ 818 w 1121"/>
                <a:gd name="T25" fmla="*/ 560 h 2200"/>
                <a:gd name="T26" fmla="*/ 599 w 1121"/>
                <a:gd name="T27" fmla="*/ 568 h 2200"/>
                <a:gd name="T28" fmla="*/ 607 w 1121"/>
                <a:gd name="T29" fmla="*/ 640 h 2200"/>
                <a:gd name="T30" fmla="*/ 700 w 1121"/>
                <a:gd name="T31" fmla="*/ 664 h 2200"/>
                <a:gd name="T32" fmla="*/ 674 w 1121"/>
                <a:gd name="T33" fmla="*/ 712 h 2200"/>
                <a:gd name="T34" fmla="*/ 548 w 1121"/>
                <a:gd name="T35" fmla="*/ 688 h 2200"/>
                <a:gd name="T36" fmla="*/ 447 w 1121"/>
                <a:gd name="T37" fmla="*/ 592 h 2200"/>
                <a:gd name="T38" fmla="*/ 430 w 1121"/>
                <a:gd name="T39" fmla="*/ 512 h 2200"/>
                <a:gd name="T40" fmla="*/ 253 w 1121"/>
                <a:gd name="T41" fmla="*/ 424 h 2200"/>
                <a:gd name="T42" fmla="*/ 396 w 1121"/>
                <a:gd name="T43" fmla="*/ 440 h 2200"/>
                <a:gd name="T44" fmla="*/ 658 w 1121"/>
                <a:gd name="T45" fmla="*/ 416 h 2200"/>
                <a:gd name="T46" fmla="*/ 717 w 1121"/>
                <a:gd name="T47" fmla="*/ 288 h 2200"/>
                <a:gd name="T48" fmla="*/ 599 w 1121"/>
                <a:gd name="T49" fmla="*/ 192 h 2200"/>
                <a:gd name="T50" fmla="*/ 304 w 1121"/>
                <a:gd name="T51" fmla="*/ 128 h 2200"/>
                <a:gd name="T52" fmla="*/ 186 w 1121"/>
                <a:gd name="T53" fmla="*/ 96 h 2200"/>
                <a:gd name="T54" fmla="*/ 110 w 1121"/>
                <a:gd name="T55" fmla="*/ 112 h 2200"/>
                <a:gd name="T56" fmla="*/ 42 w 1121"/>
                <a:gd name="T57" fmla="*/ 176 h 2200"/>
                <a:gd name="T58" fmla="*/ 26 w 1121"/>
                <a:gd name="T59" fmla="*/ 336 h 2200"/>
                <a:gd name="T60" fmla="*/ 93 w 1121"/>
                <a:gd name="T61" fmla="*/ 448 h 2200"/>
                <a:gd name="T62" fmla="*/ 169 w 1121"/>
                <a:gd name="T63" fmla="*/ 656 h 2200"/>
                <a:gd name="T64" fmla="*/ 287 w 1121"/>
                <a:gd name="T65" fmla="*/ 808 h 2200"/>
                <a:gd name="T66" fmla="*/ 388 w 1121"/>
                <a:gd name="T67" fmla="*/ 944 h 2200"/>
                <a:gd name="T68" fmla="*/ 287 w 1121"/>
                <a:gd name="T69" fmla="*/ 1152 h 2200"/>
                <a:gd name="T70" fmla="*/ 304 w 1121"/>
                <a:gd name="T71" fmla="*/ 1264 h 2200"/>
                <a:gd name="T72" fmla="*/ 396 w 1121"/>
                <a:gd name="T73" fmla="*/ 1296 h 2200"/>
                <a:gd name="T74" fmla="*/ 346 w 1121"/>
                <a:gd name="T75" fmla="*/ 1312 h 2200"/>
                <a:gd name="T76" fmla="*/ 287 w 1121"/>
                <a:gd name="T77" fmla="*/ 1368 h 2200"/>
                <a:gd name="T78" fmla="*/ 287 w 1121"/>
                <a:gd name="T79" fmla="*/ 1408 h 2200"/>
                <a:gd name="T80" fmla="*/ 329 w 1121"/>
                <a:gd name="T81" fmla="*/ 1568 h 2200"/>
                <a:gd name="T82" fmla="*/ 354 w 1121"/>
                <a:gd name="T83" fmla="*/ 1680 h 2200"/>
                <a:gd name="T84" fmla="*/ 413 w 1121"/>
                <a:gd name="T85" fmla="*/ 1768 h 2200"/>
                <a:gd name="T86" fmla="*/ 481 w 1121"/>
                <a:gd name="T87" fmla="*/ 1776 h 2200"/>
                <a:gd name="T88" fmla="*/ 573 w 1121"/>
                <a:gd name="T89" fmla="*/ 1776 h 2200"/>
                <a:gd name="T90" fmla="*/ 649 w 1121"/>
                <a:gd name="T91" fmla="*/ 1840 h 2200"/>
                <a:gd name="T92" fmla="*/ 683 w 1121"/>
                <a:gd name="T93" fmla="*/ 1904 h 2200"/>
                <a:gd name="T94" fmla="*/ 767 w 1121"/>
                <a:gd name="T95" fmla="*/ 1960 h 2200"/>
                <a:gd name="T96" fmla="*/ 843 w 1121"/>
                <a:gd name="T97" fmla="*/ 2024 h 2200"/>
                <a:gd name="T98" fmla="*/ 767 w 1121"/>
                <a:gd name="T99" fmla="*/ 2072 h 2200"/>
                <a:gd name="T100" fmla="*/ 809 w 1121"/>
                <a:gd name="T101" fmla="*/ 2136 h 2200"/>
                <a:gd name="T102" fmla="*/ 877 w 1121"/>
                <a:gd name="T103" fmla="*/ 2128 h 2200"/>
                <a:gd name="T104" fmla="*/ 1011 w 1121"/>
                <a:gd name="T105" fmla="*/ 2112 h 2200"/>
                <a:gd name="T106" fmla="*/ 1054 w 1121"/>
                <a:gd name="T107" fmla="*/ 2192 h 2200"/>
                <a:gd name="T108" fmla="*/ 1113 w 1121"/>
                <a:gd name="T109" fmla="*/ 1360 h 2200"/>
                <a:gd name="T110" fmla="*/ 1014 w 1121"/>
                <a:gd name="T111" fmla="*/ 13 h 22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21" h="2200">
                  <a:moveTo>
                    <a:pt x="1014" y="13"/>
                  </a:moveTo>
                  <a:lnTo>
                    <a:pt x="1011" y="6"/>
                  </a:lnTo>
                  <a:lnTo>
                    <a:pt x="995" y="64"/>
                  </a:lnTo>
                  <a:lnTo>
                    <a:pt x="1011" y="112"/>
                  </a:lnTo>
                  <a:lnTo>
                    <a:pt x="1011" y="136"/>
                  </a:lnTo>
                  <a:lnTo>
                    <a:pt x="1003" y="160"/>
                  </a:lnTo>
                  <a:lnTo>
                    <a:pt x="961" y="184"/>
                  </a:lnTo>
                  <a:lnTo>
                    <a:pt x="936" y="184"/>
                  </a:lnTo>
                  <a:lnTo>
                    <a:pt x="919" y="168"/>
                  </a:lnTo>
                  <a:lnTo>
                    <a:pt x="902" y="160"/>
                  </a:lnTo>
                  <a:lnTo>
                    <a:pt x="893" y="168"/>
                  </a:lnTo>
                  <a:lnTo>
                    <a:pt x="877" y="168"/>
                  </a:lnTo>
                  <a:lnTo>
                    <a:pt x="877" y="144"/>
                  </a:lnTo>
                  <a:lnTo>
                    <a:pt x="877" y="112"/>
                  </a:lnTo>
                  <a:lnTo>
                    <a:pt x="893" y="88"/>
                  </a:lnTo>
                  <a:lnTo>
                    <a:pt x="902" y="64"/>
                  </a:lnTo>
                  <a:lnTo>
                    <a:pt x="893" y="48"/>
                  </a:lnTo>
                  <a:lnTo>
                    <a:pt x="851" y="16"/>
                  </a:lnTo>
                  <a:lnTo>
                    <a:pt x="801" y="24"/>
                  </a:lnTo>
                  <a:lnTo>
                    <a:pt x="750" y="40"/>
                  </a:lnTo>
                  <a:lnTo>
                    <a:pt x="700" y="48"/>
                  </a:lnTo>
                  <a:lnTo>
                    <a:pt x="742" y="64"/>
                  </a:lnTo>
                  <a:lnTo>
                    <a:pt x="784" y="88"/>
                  </a:lnTo>
                  <a:lnTo>
                    <a:pt x="809" y="176"/>
                  </a:lnTo>
                  <a:lnTo>
                    <a:pt x="818" y="200"/>
                  </a:lnTo>
                  <a:lnTo>
                    <a:pt x="843" y="200"/>
                  </a:lnTo>
                  <a:lnTo>
                    <a:pt x="877" y="224"/>
                  </a:lnTo>
                  <a:lnTo>
                    <a:pt x="902" y="264"/>
                  </a:lnTo>
                  <a:lnTo>
                    <a:pt x="910" y="312"/>
                  </a:lnTo>
                  <a:lnTo>
                    <a:pt x="851" y="304"/>
                  </a:lnTo>
                  <a:lnTo>
                    <a:pt x="801" y="312"/>
                  </a:lnTo>
                  <a:lnTo>
                    <a:pt x="784" y="320"/>
                  </a:lnTo>
                  <a:lnTo>
                    <a:pt x="784" y="328"/>
                  </a:lnTo>
                  <a:lnTo>
                    <a:pt x="776" y="360"/>
                  </a:lnTo>
                  <a:lnTo>
                    <a:pt x="750" y="400"/>
                  </a:lnTo>
                  <a:lnTo>
                    <a:pt x="725" y="448"/>
                  </a:lnTo>
                  <a:lnTo>
                    <a:pt x="717" y="480"/>
                  </a:lnTo>
                  <a:lnTo>
                    <a:pt x="733" y="496"/>
                  </a:lnTo>
                  <a:lnTo>
                    <a:pt x="818" y="560"/>
                  </a:lnTo>
                  <a:lnTo>
                    <a:pt x="750" y="584"/>
                  </a:lnTo>
                  <a:lnTo>
                    <a:pt x="666" y="584"/>
                  </a:lnTo>
                  <a:lnTo>
                    <a:pt x="599" y="568"/>
                  </a:lnTo>
                  <a:lnTo>
                    <a:pt x="582" y="584"/>
                  </a:lnTo>
                  <a:lnTo>
                    <a:pt x="573" y="608"/>
                  </a:lnTo>
                  <a:lnTo>
                    <a:pt x="607" y="640"/>
                  </a:lnTo>
                  <a:lnTo>
                    <a:pt x="658" y="648"/>
                  </a:lnTo>
                  <a:lnTo>
                    <a:pt x="683" y="648"/>
                  </a:lnTo>
                  <a:lnTo>
                    <a:pt x="700" y="664"/>
                  </a:lnTo>
                  <a:lnTo>
                    <a:pt x="700" y="680"/>
                  </a:lnTo>
                  <a:lnTo>
                    <a:pt x="683" y="704"/>
                  </a:lnTo>
                  <a:lnTo>
                    <a:pt x="674" y="712"/>
                  </a:lnTo>
                  <a:lnTo>
                    <a:pt x="649" y="712"/>
                  </a:lnTo>
                  <a:lnTo>
                    <a:pt x="599" y="696"/>
                  </a:lnTo>
                  <a:lnTo>
                    <a:pt x="548" y="688"/>
                  </a:lnTo>
                  <a:lnTo>
                    <a:pt x="523" y="680"/>
                  </a:lnTo>
                  <a:lnTo>
                    <a:pt x="506" y="664"/>
                  </a:lnTo>
                  <a:lnTo>
                    <a:pt x="447" y="592"/>
                  </a:lnTo>
                  <a:lnTo>
                    <a:pt x="438" y="552"/>
                  </a:lnTo>
                  <a:lnTo>
                    <a:pt x="438" y="536"/>
                  </a:lnTo>
                  <a:lnTo>
                    <a:pt x="430" y="512"/>
                  </a:lnTo>
                  <a:lnTo>
                    <a:pt x="380" y="496"/>
                  </a:lnTo>
                  <a:lnTo>
                    <a:pt x="337" y="480"/>
                  </a:lnTo>
                  <a:lnTo>
                    <a:pt x="253" y="424"/>
                  </a:lnTo>
                  <a:lnTo>
                    <a:pt x="287" y="424"/>
                  </a:lnTo>
                  <a:lnTo>
                    <a:pt x="321" y="440"/>
                  </a:lnTo>
                  <a:lnTo>
                    <a:pt x="396" y="440"/>
                  </a:lnTo>
                  <a:lnTo>
                    <a:pt x="565" y="448"/>
                  </a:lnTo>
                  <a:lnTo>
                    <a:pt x="624" y="432"/>
                  </a:lnTo>
                  <a:lnTo>
                    <a:pt x="658" y="416"/>
                  </a:lnTo>
                  <a:lnTo>
                    <a:pt x="683" y="384"/>
                  </a:lnTo>
                  <a:lnTo>
                    <a:pt x="708" y="320"/>
                  </a:lnTo>
                  <a:lnTo>
                    <a:pt x="717" y="288"/>
                  </a:lnTo>
                  <a:lnTo>
                    <a:pt x="708" y="256"/>
                  </a:lnTo>
                  <a:lnTo>
                    <a:pt x="666" y="208"/>
                  </a:lnTo>
                  <a:lnTo>
                    <a:pt x="599" y="192"/>
                  </a:lnTo>
                  <a:lnTo>
                    <a:pt x="447" y="152"/>
                  </a:lnTo>
                  <a:lnTo>
                    <a:pt x="371" y="128"/>
                  </a:lnTo>
                  <a:lnTo>
                    <a:pt x="304" y="128"/>
                  </a:lnTo>
                  <a:lnTo>
                    <a:pt x="152" y="128"/>
                  </a:lnTo>
                  <a:lnTo>
                    <a:pt x="177" y="104"/>
                  </a:lnTo>
                  <a:lnTo>
                    <a:pt x="186" y="96"/>
                  </a:lnTo>
                  <a:lnTo>
                    <a:pt x="169" y="88"/>
                  </a:lnTo>
                  <a:lnTo>
                    <a:pt x="127" y="80"/>
                  </a:lnTo>
                  <a:lnTo>
                    <a:pt x="110" y="112"/>
                  </a:lnTo>
                  <a:lnTo>
                    <a:pt x="76" y="120"/>
                  </a:lnTo>
                  <a:lnTo>
                    <a:pt x="76" y="144"/>
                  </a:lnTo>
                  <a:lnTo>
                    <a:pt x="42" y="176"/>
                  </a:lnTo>
                  <a:lnTo>
                    <a:pt x="9" y="224"/>
                  </a:lnTo>
                  <a:lnTo>
                    <a:pt x="0" y="272"/>
                  </a:lnTo>
                  <a:lnTo>
                    <a:pt x="26" y="336"/>
                  </a:lnTo>
                  <a:lnTo>
                    <a:pt x="68" y="352"/>
                  </a:lnTo>
                  <a:lnTo>
                    <a:pt x="110" y="392"/>
                  </a:lnTo>
                  <a:lnTo>
                    <a:pt x="93" y="448"/>
                  </a:lnTo>
                  <a:lnTo>
                    <a:pt x="144" y="544"/>
                  </a:lnTo>
                  <a:lnTo>
                    <a:pt x="211" y="608"/>
                  </a:lnTo>
                  <a:lnTo>
                    <a:pt x="169" y="656"/>
                  </a:lnTo>
                  <a:lnTo>
                    <a:pt x="177" y="712"/>
                  </a:lnTo>
                  <a:lnTo>
                    <a:pt x="245" y="752"/>
                  </a:lnTo>
                  <a:lnTo>
                    <a:pt x="287" y="808"/>
                  </a:lnTo>
                  <a:lnTo>
                    <a:pt x="270" y="856"/>
                  </a:lnTo>
                  <a:lnTo>
                    <a:pt x="337" y="896"/>
                  </a:lnTo>
                  <a:lnTo>
                    <a:pt x="388" y="944"/>
                  </a:lnTo>
                  <a:lnTo>
                    <a:pt x="380" y="1008"/>
                  </a:lnTo>
                  <a:lnTo>
                    <a:pt x="337" y="1080"/>
                  </a:lnTo>
                  <a:lnTo>
                    <a:pt x="287" y="1152"/>
                  </a:lnTo>
                  <a:lnTo>
                    <a:pt x="262" y="1248"/>
                  </a:lnTo>
                  <a:lnTo>
                    <a:pt x="278" y="1232"/>
                  </a:lnTo>
                  <a:lnTo>
                    <a:pt x="304" y="1264"/>
                  </a:lnTo>
                  <a:lnTo>
                    <a:pt x="346" y="1280"/>
                  </a:lnTo>
                  <a:lnTo>
                    <a:pt x="396" y="1288"/>
                  </a:lnTo>
                  <a:lnTo>
                    <a:pt x="396" y="1296"/>
                  </a:lnTo>
                  <a:lnTo>
                    <a:pt x="388" y="1304"/>
                  </a:lnTo>
                  <a:lnTo>
                    <a:pt x="363" y="1312"/>
                  </a:lnTo>
                  <a:lnTo>
                    <a:pt x="346" y="1312"/>
                  </a:lnTo>
                  <a:lnTo>
                    <a:pt x="337" y="1336"/>
                  </a:lnTo>
                  <a:lnTo>
                    <a:pt x="287" y="1344"/>
                  </a:lnTo>
                  <a:lnTo>
                    <a:pt x="287" y="1368"/>
                  </a:lnTo>
                  <a:lnTo>
                    <a:pt x="287" y="1392"/>
                  </a:lnTo>
                  <a:lnTo>
                    <a:pt x="278" y="1392"/>
                  </a:lnTo>
                  <a:lnTo>
                    <a:pt x="287" y="1408"/>
                  </a:lnTo>
                  <a:lnTo>
                    <a:pt x="287" y="1456"/>
                  </a:lnTo>
                  <a:lnTo>
                    <a:pt x="287" y="1520"/>
                  </a:lnTo>
                  <a:lnTo>
                    <a:pt x="329" y="1568"/>
                  </a:lnTo>
                  <a:lnTo>
                    <a:pt x="312" y="1632"/>
                  </a:lnTo>
                  <a:lnTo>
                    <a:pt x="346" y="1640"/>
                  </a:lnTo>
                  <a:lnTo>
                    <a:pt x="354" y="1680"/>
                  </a:lnTo>
                  <a:lnTo>
                    <a:pt x="388" y="1712"/>
                  </a:lnTo>
                  <a:lnTo>
                    <a:pt x="413" y="1776"/>
                  </a:lnTo>
                  <a:lnTo>
                    <a:pt x="413" y="1768"/>
                  </a:lnTo>
                  <a:lnTo>
                    <a:pt x="438" y="1768"/>
                  </a:lnTo>
                  <a:lnTo>
                    <a:pt x="464" y="1784"/>
                  </a:lnTo>
                  <a:lnTo>
                    <a:pt x="481" y="1776"/>
                  </a:lnTo>
                  <a:lnTo>
                    <a:pt x="514" y="1784"/>
                  </a:lnTo>
                  <a:lnTo>
                    <a:pt x="531" y="1800"/>
                  </a:lnTo>
                  <a:lnTo>
                    <a:pt x="573" y="1776"/>
                  </a:lnTo>
                  <a:lnTo>
                    <a:pt x="607" y="1784"/>
                  </a:lnTo>
                  <a:lnTo>
                    <a:pt x="641" y="1808"/>
                  </a:lnTo>
                  <a:lnTo>
                    <a:pt x="649" y="1840"/>
                  </a:lnTo>
                  <a:lnTo>
                    <a:pt x="649" y="1872"/>
                  </a:lnTo>
                  <a:lnTo>
                    <a:pt x="683" y="1888"/>
                  </a:lnTo>
                  <a:lnTo>
                    <a:pt x="683" y="1904"/>
                  </a:lnTo>
                  <a:lnTo>
                    <a:pt x="717" y="1928"/>
                  </a:lnTo>
                  <a:lnTo>
                    <a:pt x="759" y="1936"/>
                  </a:lnTo>
                  <a:lnTo>
                    <a:pt x="767" y="1960"/>
                  </a:lnTo>
                  <a:lnTo>
                    <a:pt x="835" y="1976"/>
                  </a:lnTo>
                  <a:lnTo>
                    <a:pt x="860" y="2000"/>
                  </a:lnTo>
                  <a:lnTo>
                    <a:pt x="843" y="2024"/>
                  </a:lnTo>
                  <a:lnTo>
                    <a:pt x="826" y="2040"/>
                  </a:lnTo>
                  <a:lnTo>
                    <a:pt x="776" y="2048"/>
                  </a:lnTo>
                  <a:lnTo>
                    <a:pt x="767" y="2072"/>
                  </a:lnTo>
                  <a:lnTo>
                    <a:pt x="792" y="2088"/>
                  </a:lnTo>
                  <a:lnTo>
                    <a:pt x="792" y="2112"/>
                  </a:lnTo>
                  <a:lnTo>
                    <a:pt x="809" y="2136"/>
                  </a:lnTo>
                  <a:lnTo>
                    <a:pt x="835" y="2168"/>
                  </a:lnTo>
                  <a:lnTo>
                    <a:pt x="868" y="2168"/>
                  </a:lnTo>
                  <a:lnTo>
                    <a:pt x="877" y="2128"/>
                  </a:lnTo>
                  <a:lnTo>
                    <a:pt x="910" y="2128"/>
                  </a:lnTo>
                  <a:lnTo>
                    <a:pt x="969" y="2096"/>
                  </a:lnTo>
                  <a:lnTo>
                    <a:pt x="1011" y="2112"/>
                  </a:lnTo>
                  <a:lnTo>
                    <a:pt x="1054" y="2136"/>
                  </a:lnTo>
                  <a:lnTo>
                    <a:pt x="1037" y="2152"/>
                  </a:lnTo>
                  <a:lnTo>
                    <a:pt x="1054" y="2192"/>
                  </a:lnTo>
                  <a:lnTo>
                    <a:pt x="1079" y="2200"/>
                  </a:lnTo>
                  <a:lnTo>
                    <a:pt x="1113" y="2200"/>
                  </a:lnTo>
                  <a:lnTo>
                    <a:pt x="1113" y="1360"/>
                  </a:lnTo>
                  <a:lnTo>
                    <a:pt x="1121" y="0"/>
                  </a:lnTo>
                  <a:lnTo>
                    <a:pt x="1116" y="8"/>
                  </a:lnTo>
                  <a:lnTo>
                    <a:pt x="1014" y="13"/>
                  </a:lnTo>
                  <a:close/>
                </a:path>
              </a:pathLst>
            </a:custGeom>
            <a:grp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20" name="Freeform 99"/>
            <p:cNvSpPr>
              <a:spLocks/>
            </p:cNvSpPr>
            <p:nvPr>
              <p:custDataLst>
                <p:tags r:id="rId90"/>
              </p:custDataLst>
            </p:nvPr>
          </p:nvSpPr>
          <p:spPr bwMode="auto">
            <a:xfrm>
              <a:off x="4687" y="7"/>
              <a:ext cx="1115" cy="2190"/>
            </a:xfrm>
            <a:custGeom>
              <a:avLst/>
              <a:gdLst>
                <a:gd name="T0" fmla="*/ 1011 w 1115"/>
                <a:gd name="T1" fmla="*/ 102 h 2190"/>
                <a:gd name="T2" fmla="*/ 961 w 1115"/>
                <a:gd name="T3" fmla="*/ 174 h 2190"/>
                <a:gd name="T4" fmla="*/ 902 w 1115"/>
                <a:gd name="T5" fmla="*/ 150 h 2190"/>
                <a:gd name="T6" fmla="*/ 877 w 1115"/>
                <a:gd name="T7" fmla="*/ 134 h 2190"/>
                <a:gd name="T8" fmla="*/ 902 w 1115"/>
                <a:gd name="T9" fmla="*/ 54 h 2190"/>
                <a:gd name="T10" fmla="*/ 801 w 1115"/>
                <a:gd name="T11" fmla="*/ 14 h 2190"/>
                <a:gd name="T12" fmla="*/ 742 w 1115"/>
                <a:gd name="T13" fmla="*/ 54 h 2190"/>
                <a:gd name="T14" fmla="*/ 818 w 1115"/>
                <a:gd name="T15" fmla="*/ 190 h 2190"/>
                <a:gd name="T16" fmla="*/ 902 w 1115"/>
                <a:gd name="T17" fmla="*/ 254 h 2190"/>
                <a:gd name="T18" fmla="*/ 801 w 1115"/>
                <a:gd name="T19" fmla="*/ 302 h 2190"/>
                <a:gd name="T20" fmla="*/ 776 w 1115"/>
                <a:gd name="T21" fmla="*/ 350 h 2190"/>
                <a:gd name="T22" fmla="*/ 717 w 1115"/>
                <a:gd name="T23" fmla="*/ 470 h 2190"/>
                <a:gd name="T24" fmla="*/ 750 w 1115"/>
                <a:gd name="T25" fmla="*/ 574 h 2190"/>
                <a:gd name="T26" fmla="*/ 582 w 1115"/>
                <a:gd name="T27" fmla="*/ 574 h 2190"/>
                <a:gd name="T28" fmla="*/ 658 w 1115"/>
                <a:gd name="T29" fmla="*/ 638 h 2190"/>
                <a:gd name="T30" fmla="*/ 700 w 1115"/>
                <a:gd name="T31" fmla="*/ 670 h 2190"/>
                <a:gd name="T32" fmla="*/ 649 w 1115"/>
                <a:gd name="T33" fmla="*/ 702 h 2190"/>
                <a:gd name="T34" fmla="*/ 523 w 1115"/>
                <a:gd name="T35" fmla="*/ 670 h 2190"/>
                <a:gd name="T36" fmla="*/ 438 w 1115"/>
                <a:gd name="T37" fmla="*/ 542 h 2190"/>
                <a:gd name="T38" fmla="*/ 380 w 1115"/>
                <a:gd name="T39" fmla="*/ 486 h 2190"/>
                <a:gd name="T40" fmla="*/ 287 w 1115"/>
                <a:gd name="T41" fmla="*/ 414 h 2190"/>
                <a:gd name="T42" fmla="*/ 565 w 1115"/>
                <a:gd name="T43" fmla="*/ 438 h 2190"/>
                <a:gd name="T44" fmla="*/ 683 w 1115"/>
                <a:gd name="T45" fmla="*/ 374 h 2190"/>
                <a:gd name="T46" fmla="*/ 708 w 1115"/>
                <a:gd name="T47" fmla="*/ 246 h 2190"/>
                <a:gd name="T48" fmla="*/ 447 w 1115"/>
                <a:gd name="T49" fmla="*/ 142 h 2190"/>
                <a:gd name="T50" fmla="*/ 152 w 1115"/>
                <a:gd name="T51" fmla="*/ 118 h 2190"/>
                <a:gd name="T52" fmla="*/ 169 w 1115"/>
                <a:gd name="T53" fmla="*/ 78 h 2190"/>
                <a:gd name="T54" fmla="*/ 76 w 1115"/>
                <a:gd name="T55" fmla="*/ 110 h 2190"/>
                <a:gd name="T56" fmla="*/ 9 w 1115"/>
                <a:gd name="T57" fmla="*/ 214 h 2190"/>
                <a:gd name="T58" fmla="*/ 68 w 1115"/>
                <a:gd name="T59" fmla="*/ 342 h 2190"/>
                <a:gd name="T60" fmla="*/ 144 w 1115"/>
                <a:gd name="T61" fmla="*/ 534 h 2190"/>
                <a:gd name="T62" fmla="*/ 177 w 1115"/>
                <a:gd name="T63" fmla="*/ 702 h 2190"/>
                <a:gd name="T64" fmla="*/ 270 w 1115"/>
                <a:gd name="T65" fmla="*/ 846 h 2190"/>
                <a:gd name="T66" fmla="*/ 380 w 1115"/>
                <a:gd name="T67" fmla="*/ 998 h 2190"/>
                <a:gd name="T68" fmla="*/ 262 w 1115"/>
                <a:gd name="T69" fmla="*/ 1238 h 2190"/>
                <a:gd name="T70" fmla="*/ 346 w 1115"/>
                <a:gd name="T71" fmla="*/ 1270 h 2190"/>
                <a:gd name="T72" fmla="*/ 388 w 1115"/>
                <a:gd name="T73" fmla="*/ 1294 h 2190"/>
                <a:gd name="T74" fmla="*/ 337 w 1115"/>
                <a:gd name="T75" fmla="*/ 1326 h 2190"/>
                <a:gd name="T76" fmla="*/ 287 w 1115"/>
                <a:gd name="T77" fmla="*/ 1382 h 2190"/>
                <a:gd name="T78" fmla="*/ 287 w 1115"/>
                <a:gd name="T79" fmla="*/ 1446 h 2190"/>
                <a:gd name="T80" fmla="*/ 312 w 1115"/>
                <a:gd name="T81" fmla="*/ 1622 h 2190"/>
                <a:gd name="T82" fmla="*/ 388 w 1115"/>
                <a:gd name="T83" fmla="*/ 1702 h 2190"/>
                <a:gd name="T84" fmla="*/ 438 w 1115"/>
                <a:gd name="T85" fmla="*/ 1758 h 2190"/>
                <a:gd name="T86" fmla="*/ 514 w 1115"/>
                <a:gd name="T87" fmla="*/ 1774 h 2190"/>
                <a:gd name="T88" fmla="*/ 607 w 1115"/>
                <a:gd name="T89" fmla="*/ 1774 h 2190"/>
                <a:gd name="T90" fmla="*/ 649 w 1115"/>
                <a:gd name="T91" fmla="*/ 1862 h 2190"/>
                <a:gd name="T92" fmla="*/ 717 w 1115"/>
                <a:gd name="T93" fmla="*/ 1918 h 2190"/>
                <a:gd name="T94" fmla="*/ 835 w 1115"/>
                <a:gd name="T95" fmla="*/ 1966 h 2190"/>
                <a:gd name="T96" fmla="*/ 826 w 1115"/>
                <a:gd name="T97" fmla="*/ 2030 h 2190"/>
                <a:gd name="T98" fmla="*/ 792 w 1115"/>
                <a:gd name="T99" fmla="*/ 2078 h 2190"/>
                <a:gd name="T100" fmla="*/ 835 w 1115"/>
                <a:gd name="T101" fmla="*/ 2158 h 2190"/>
                <a:gd name="T102" fmla="*/ 877 w 1115"/>
                <a:gd name="T103" fmla="*/ 2118 h 2190"/>
                <a:gd name="T104" fmla="*/ 1011 w 1115"/>
                <a:gd name="T105" fmla="*/ 2102 h 2190"/>
                <a:gd name="T106" fmla="*/ 1054 w 1115"/>
                <a:gd name="T107" fmla="*/ 2182 h 2190"/>
                <a:gd name="T108" fmla="*/ 1115 w 1115"/>
                <a:gd name="T109" fmla="*/ 0 h 219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15" h="2190">
                  <a:moveTo>
                    <a:pt x="1011" y="0"/>
                  </a:moveTo>
                  <a:lnTo>
                    <a:pt x="995" y="54"/>
                  </a:lnTo>
                  <a:lnTo>
                    <a:pt x="1011" y="102"/>
                  </a:lnTo>
                  <a:lnTo>
                    <a:pt x="1011" y="126"/>
                  </a:lnTo>
                  <a:lnTo>
                    <a:pt x="1003" y="150"/>
                  </a:lnTo>
                  <a:lnTo>
                    <a:pt x="961" y="174"/>
                  </a:lnTo>
                  <a:lnTo>
                    <a:pt x="936" y="174"/>
                  </a:lnTo>
                  <a:lnTo>
                    <a:pt x="919" y="158"/>
                  </a:lnTo>
                  <a:lnTo>
                    <a:pt x="902" y="150"/>
                  </a:lnTo>
                  <a:lnTo>
                    <a:pt x="893" y="158"/>
                  </a:lnTo>
                  <a:lnTo>
                    <a:pt x="877" y="158"/>
                  </a:lnTo>
                  <a:lnTo>
                    <a:pt x="877" y="134"/>
                  </a:lnTo>
                  <a:lnTo>
                    <a:pt x="877" y="102"/>
                  </a:lnTo>
                  <a:lnTo>
                    <a:pt x="893" y="78"/>
                  </a:lnTo>
                  <a:lnTo>
                    <a:pt x="902" y="54"/>
                  </a:lnTo>
                  <a:lnTo>
                    <a:pt x="893" y="38"/>
                  </a:lnTo>
                  <a:lnTo>
                    <a:pt x="851" y="6"/>
                  </a:lnTo>
                  <a:lnTo>
                    <a:pt x="801" y="14"/>
                  </a:lnTo>
                  <a:lnTo>
                    <a:pt x="750" y="30"/>
                  </a:lnTo>
                  <a:lnTo>
                    <a:pt x="700" y="38"/>
                  </a:lnTo>
                  <a:lnTo>
                    <a:pt x="742" y="54"/>
                  </a:lnTo>
                  <a:lnTo>
                    <a:pt x="784" y="78"/>
                  </a:lnTo>
                  <a:lnTo>
                    <a:pt x="809" y="166"/>
                  </a:lnTo>
                  <a:lnTo>
                    <a:pt x="818" y="190"/>
                  </a:lnTo>
                  <a:lnTo>
                    <a:pt x="843" y="190"/>
                  </a:lnTo>
                  <a:lnTo>
                    <a:pt x="877" y="214"/>
                  </a:lnTo>
                  <a:lnTo>
                    <a:pt x="902" y="254"/>
                  </a:lnTo>
                  <a:lnTo>
                    <a:pt x="910" y="302"/>
                  </a:lnTo>
                  <a:lnTo>
                    <a:pt x="851" y="294"/>
                  </a:lnTo>
                  <a:lnTo>
                    <a:pt x="801" y="302"/>
                  </a:lnTo>
                  <a:lnTo>
                    <a:pt x="784" y="310"/>
                  </a:lnTo>
                  <a:lnTo>
                    <a:pt x="784" y="318"/>
                  </a:lnTo>
                  <a:lnTo>
                    <a:pt x="776" y="350"/>
                  </a:lnTo>
                  <a:lnTo>
                    <a:pt x="750" y="390"/>
                  </a:lnTo>
                  <a:lnTo>
                    <a:pt x="725" y="438"/>
                  </a:lnTo>
                  <a:lnTo>
                    <a:pt x="717" y="470"/>
                  </a:lnTo>
                  <a:lnTo>
                    <a:pt x="733" y="486"/>
                  </a:lnTo>
                  <a:lnTo>
                    <a:pt x="818" y="550"/>
                  </a:lnTo>
                  <a:lnTo>
                    <a:pt x="750" y="574"/>
                  </a:lnTo>
                  <a:lnTo>
                    <a:pt x="666" y="574"/>
                  </a:lnTo>
                  <a:lnTo>
                    <a:pt x="599" y="558"/>
                  </a:lnTo>
                  <a:lnTo>
                    <a:pt x="582" y="574"/>
                  </a:lnTo>
                  <a:lnTo>
                    <a:pt x="573" y="598"/>
                  </a:lnTo>
                  <a:lnTo>
                    <a:pt x="607" y="630"/>
                  </a:lnTo>
                  <a:lnTo>
                    <a:pt x="658" y="638"/>
                  </a:lnTo>
                  <a:lnTo>
                    <a:pt x="683" y="638"/>
                  </a:lnTo>
                  <a:lnTo>
                    <a:pt x="700" y="654"/>
                  </a:lnTo>
                  <a:lnTo>
                    <a:pt x="700" y="670"/>
                  </a:lnTo>
                  <a:lnTo>
                    <a:pt x="683" y="694"/>
                  </a:lnTo>
                  <a:lnTo>
                    <a:pt x="674" y="702"/>
                  </a:lnTo>
                  <a:lnTo>
                    <a:pt x="649" y="702"/>
                  </a:lnTo>
                  <a:lnTo>
                    <a:pt x="599" y="686"/>
                  </a:lnTo>
                  <a:lnTo>
                    <a:pt x="548" y="678"/>
                  </a:lnTo>
                  <a:lnTo>
                    <a:pt x="523" y="670"/>
                  </a:lnTo>
                  <a:lnTo>
                    <a:pt x="506" y="654"/>
                  </a:lnTo>
                  <a:lnTo>
                    <a:pt x="447" y="582"/>
                  </a:lnTo>
                  <a:lnTo>
                    <a:pt x="438" y="542"/>
                  </a:lnTo>
                  <a:lnTo>
                    <a:pt x="438" y="526"/>
                  </a:lnTo>
                  <a:lnTo>
                    <a:pt x="430" y="502"/>
                  </a:lnTo>
                  <a:lnTo>
                    <a:pt x="380" y="486"/>
                  </a:lnTo>
                  <a:lnTo>
                    <a:pt x="337" y="470"/>
                  </a:lnTo>
                  <a:lnTo>
                    <a:pt x="253" y="414"/>
                  </a:lnTo>
                  <a:lnTo>
                    <a:pt x="287" y="414"/>
                  </a:lnTo>
                  <a:lnTo>
                    <a:pt x="321" y="430"/>
                  </a:lnTo>
                  <a:lnTo>
                    <a:pt x="396" y="430"/>
                  </a:lnTo>
                  <a:lnTo>
                    <a:pt x="565" y="438"/>
                  </a:lnTo>
                  <a:lnTo>
                    <a:pt x="624" y="422"/>
                  </a:lnTo>
                  <a:lnTo>
                    <a:pt x="658" y="406"/>
                  </a:lnTo>
                  <a:lnTo>
                    <a:pt x="683" y="374"/>
                  </a:lnTo>
                  <a:lnTo>
                    <a:pt x="708" y="310"/>
                  </a:lnTo>
                  <a:lnTo>
                    <a:pt x="717" y="278"/>
                  </a:lnTo>
                  <a:lnTo>
                    <a:pt x="708" y="246"/>
                  </a:lnTo>
                  <a:lnTo>
                    <a:pt x="666" y="198"/>
                  </a:lnTo>
                  <a:lnTo>
                    <a:pt x="599" y="182"/>
                  </a:lnTo>
                  <a:lnTo>
                    <a:pt x="447" y="142"/>
                  </a:lnTo>
                  <a:lnTo>
                    <a:pt x="371" y="118"/>
                  </a:lnTo>
                  <a:lnTo>
                    <a:pt x="304" y="118"/>
                  </a:lnTo>
                  <a:lnTo>
                    <a:pt x="152" y="118"/>
                  </a:lnTo>
                  <a:lnTo>
                    <a:pt x="177" y="94"/>
                  </a:lnTo>
                  <a:lnTo>
                    <a:pt x="186" y="86"/>
                  </a:lnTo>
                  <a:lnTo>
                    <a:pt x="169" y="78"/>
                  </a:lnTo>
                  <a:lnTo>
                    <a:pt x="127" y="70"/>
                  </a:lnTo>
                  <a:lnTo>
                    <a:pt x="110" y="102"/>
                  </a:lnTo>
                  <a:lnTo>
                    <a:pt x="76" y="110"/>
                  </a:lnTo>
                  <a:lnTo>
                    <a:pt x="76" y="134"/>
                  </a:lnTo>
                  <a:lnTo>
                    <a:pt x="42" y="166"/>
                  </a:lnTo>
                  <a:lnTo>
                    <a:pt x="9" y="214"/>
                  </a:lnTo>
                  <a:lnTo>
                    <a:pt x="0" y="262"/>
                  </a:lnTo>
                  <a:lnTo>
                    <a:pt x="26" y="326"/>
                  </a:lnTo>
                  <a:lnTo>
                    <a:pt x="68" y="342"/>
                  </a:lnTo>
                  <a:lnTo>
                    <a:pt x="110" y="382"/>
                  </a:lnTo>
                  <a:lnTo>
                    <a:pt x="93" y="438"/>
                  </a:lnTo>
                  <a:lnTo>
                    <a:pt x="144" y="534"/>
                  </a:lnTo>
                  <a:lnTo>
                    <a:pt x="211" y="598"/>
                  </a:lnTo>
                  <a:lnTo>
                    <a:pt x="169" y="646"/>
                  </a:lnTo>
                  <a:lnTo>
                    <a:pt x="177" y="702"/>
                  </a:lnTo>
                  <a:lnTo>
                    <a:pt x="245" y="742"/>
                  </a:lnTo>
                  <a:lnTo>
                    <a:pt x="287" y="798"/>
                  </a:lnTo>
                  <a:lnTo>
                    <a:pt x="270" y="846"/>
                  </a:lnTo>
                  <a:lnTo>
                    <a:pt x="337" y="886"/>
                  </a:lnTo>
                  <a:lnTo>
                    <a:pt x="388" y="934"/>
                  </a:lnTo>
                  <a:lnTo>
                    <a:pt x="380" y="998"/>
                  </a:lnTo>
                  <a:lnTo>
                    <a:pt x="337" y="1070"/>
                  </a:lnTo>
                  <a:lnTo>
                    <a:pt x="287" y="1142"/>
                  </a:lnTo>
                  <a:lnTo>
                    <a:pt x="262" y="1238"/>
                  </a:lnTo>
                  <a:lnTo>
                    <a:pt x="278" y="1222"/>
                  </a:lnTo>
                  <a:lnTo>
                    <a:pt x="304" y="1254"/>
                  </a:lnTo>
                  <a:lnTo>
                    <a:pt x="346" y="1270"/>
                  </a:lnTo>
                  <a:lnTo>
                    <a:pt x="396" y="1278"/>
                  </a:lnTo>
                  <a:lnTo>
                    <a:pt x="396" y="1286"/>
                  </a:lnTo>
                  <a:lnTo>
                    <a:pt x="388" y="1294"/>
                  </a:lnTo>
                  <a:lnTo>
                    <a:pt x="363" y="1302"/>
                  </a:lnTo>
                  <a:lnTo>
                    <a:pt x="346" y="1302"/>
                  </a:lnTo>
                  <a:lnTo>
                    <a:pt x="337" y="1326"/>
                  </a:lnTo>
                  <a:lnTo>
                    <a:pt x="287" y="1334"/>
                  </a:lnTo>
                  <a:lnTo>
                    <a:pt x="287" y="1358"/>
                  </a:lnTo>
                  <a:lnTo>
                    <a:pt x="287" y="1382"/>
                  </a:lnTo>
                  <a:lnTo>
                    <a:pt x="278" y="1382"/>
                  </a:lnTo>
                  <a:lnTo>
                    <a:pt x="287" y="1398"/>
                  </a:lnTo>
                  <a:lnTo>
                    <a:pt x="287" y="1446"/>
                  </a:lnTo>
                  <a:lnTo>
                    <a:pt x="287" y="1510"/>
                  </a:lnTo>
                  <a:lnTo>
                    <a:pt x="329" y="1558"/>
                  </a:lnTo>
                  <a:lnTo>
                    <a:pt x="312" y="1622"/>
                  </a:lnTo>
                  <a:lnTo>
                    <a:pt x="346" y="1630"/>
                  </a:lnTo>
                  <a:lnTo>
                    <a:pt x="354" y="1670"/>
                  </a:lnTo>
                  <a:lnTo>
                    <a:pt x="388" y="1702"/>
                  </a:lnTo>
                  <a:lnTo>
                    <a:pt x="413" y="1766"/>
                  </a:lnTo>
                  <a:lnTo>
                    <a:pt x="413" y="1758"/>
                  </a:lnTo>
                  <a:lnTo>
                    <a:pt x="438" y="1758"/>
                  </a:lnTo>
                  <a:lnTo>
                    <a:pt x="464" y="1774"/>
                  </a:lnTo>
                  <a:lnTo>
                    <a:pt x="481" y="1766"/>
                  </a:lnTo>
                  <a:lnTo>
                    <a:pt x="514" y="1774"/>
                  </a:lnTo>
                  <a:lnTo>
                    <a:pt x="531" y="1790"/>
                  </a:lnTo>
                  <a:lnTo>
                    <a:pt x="573" y="1766"/>
                  </a:lnTo>
                  <a:lnTo>
                    <a:pt x="607" y="1774"/>
                  </a:lnTo>
                  <a:lnTo>
                    <a:pt x="641" y="1798"/>
                  </a:lnTo>
                  <a:lnTo>
                    <a:pt x="649" y="1830"/>
                  </a:lnTo>
                  <a:lnTo>
                    <a:pt x="649" y="1862"/>
                  </a:lnTo>
                  <a:lnTo>
                    <a:pt x="683" y="1878"/>
                  </a:lnTo>
                  <a:lnTo>
                    <a:pt x="683" y="1894"/>
                  </a:lnTo>
                  <a:lnTo>
                    <a:pt x="717" y="1918"/>
                  </a:lnTo>
                  <a:lnTo>
                    <a:pt x="759" y="1926"/>
                  </a:lnTo>
                  <a:lnTo>
                    <a:pt x="767" y="1950"/>
                  </a:lnTo>
                  <a:lnTo>
                    <a:pt x="835" y="1966"/>
                  </a:lnTo>
                  <a:lnTo>
                    <a:pt x="860" y="1990"/>
                  </a:lnTo>
                  <a:lnTo>
                    <a:pt x="843" y="2014"/>
                  </a:lnTo>
                  <a:lnTo>
                    <a:pt x="826" y="2030"/>
                  </a:lnTo>
                  <a:lnTo>
                    <a:pt x="776" y="2038"/>
                  </a:lnTo>
                  <a:lnTo>
                    <a:pt x="767" y="2062"/>
                  </a:lnTo>
                  <a:lnTo>
                    <a:pt x="792" y="2078"/>
                  </a:lnTo>
                  <a:lnTo>
                    <a:pt x="792" y="2102"/>
                  </a:lnTo>
                  <a:lnTo>
                    <a:pt x="809" y="2126"/>
                  </a:lnTo>
                  <a:lnTo>
                    <a:pt x="835" y="2158"/>
                  </a:lnTo>
                  <a:lnTo>
                    <a:pt x="868" y="2158"/>
                  </a:lnTo>
                  <a:lnTo>
                    <a:pt x="877" y="2118"/>
                  </a:lnTo>
                  <a:lnTo>
                    <a:pt x="910" y="2118"/>
                  </a:lnTo>
                  <a:lnTo>
                    <a:pt x="969" y="2086"/>
                  </a:lnTo>
                  <a:lnTo>
                    <a:pt x="1011" y="2102"/>
                  </a:lnTo>
                  <a:lnTo>
                    <a:pt x="1054" y="2126"/>
                  </a:lnTo>
                  <a:lnTo>
                    <a:pt x="1037" y="2142"/>
                  </a:lnTo>
                  <a:lnTo>
                    <a:pt x="1054" y="2182"/>
                  </a:lnTo>
                  <a:lnTo>
                    <a:pt x="1079" y="2190"/>
                  </a:lnTo>
                  <a:lnTo>
                    <a:pt x="1113" y="2190"/>
                  </a:lnTo>
                  <a:lnTo>
                    <a:pt x="1115" y="0"/>
                  </a:lnTo>
                  <a:lnTo>
                    <a:pt x="1011" y="0"/>
                  </a:lnTo>
                  <a:close/>
                </a:path>
              </a:pathLst>
            </a:custGeom>
            <a:solidFill>
              <a:srgbClr val="09B89D"/>
            </a:solidFill>
            <a:ln w="6350">
              <a:solidFill>
                <a:schemeClr val="bg1"/>
              </a:solidFill>
              <a:prstDash val="solid"/>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21" name="Freeform 100"/>
            <p:cNvSpPr>
              <a:spLocks/>
            </p:cNvSpPr>
            <p:nvPr>
              <p:custDataLst>
                <p:tags r:id="rId91"/>
              </p:custDataLst>
            </p:nvPr>
          </p:nvSpPr>
          <p:spPr bwMode="auto">
            <a:xfrm>
              <a:off x="4274" y="136"/>
              <a:ext cx="801" cy="1272"/>
            </a:xfrm>
            <a:custGeom>
              <a:avLst/>
              <a:gdLst>
                <a:gd name="T0" fmla="*/ 683 w 801"/>
                <a:gd name="T1" fmla="*/ 720 h 1272"/>
                <a:gd name="T2" fmla="*/ 658 w 801"/>
                <a:gd name="T3" fmla="*/ 616 h 1272"/>
                <a:gd name="T4" fmla="*/ 582 w 801"/>
                <a:gd name="T5" fmla="*/ 520 h 1272"/>
                <a:gd name="T6" fmla="*/ 557 w 801"/>
                <a:gd name="T7" fmla="*/ 408 h 1272"/>
                <a:gd name="T8" fmla="*/ 523 w 801"/>
                <a:gd name="T9" fmla="*/ 256 h 1272"/>
                <a:gd name="T10" fmla="*/ 439 w 801"/>
                <a:gd name="T11" fmla="*/ 200 h 1272"/>
                <a:gd name="T12" fmla="*/ 422 w 801"/>
                <a:gd name="T13" fmla="*/ 88 h 1272"/>
                <a:gd name="T14" fmla="*/ 413 w 801"/>
                <a:gd name="T15" fmla="*/ 32 h 1272"/>
                <a:gd name="T16" fmla="*/ 295 w 801"/>
                <a:gd name="T17" fmla="*/ 0 h 1272"/>
                <a:gd name="T18" fmla="*/ 262 w 801"/>
                <a:gd name="T19" fmla="*/ 112 h 1272"/>
                <a:gd name="T20" fmla="*/ 186 w 801"/>
                <a:gd name="T21" fmla="*/ 168 h 1272"/>
                <a:gd name="T22" fmla="*/ 43 w 801"/>
                <a:gd name="T23" fmla="*/ 136 h 1272"/>
                <a:gd name="T24" fmla="*/ 51 w 801"/>
                <a:gd name="T25" fmla="*/ 216 h 1272"/>
                <a:gd name="T26" fmla="*/ 177 w 801"/>
                <a:gd name="T27" fmla="*/ 296 h 1272"/>
                <a:gd name="T28" fmla="*/ 220 w 801"/>
                <a:gd name="T29" fmla="*/ 368 h 1272"/>
                <a:gd name="T30" fmla="*/ 228 w 801"/>
                <a:gd name="T31" fmla="*/ 464 h 1272"/>
                <a:gd name="T32" fmla="*/ 262 w 801"/>
                <a:gd name="T33" fmla="*/ 552 h 1272"/>
                <a:gd name="T34" fmla="*/ 329 w 801"/>
                <a:gd name="T35" fmla="*/ 576 h 1272"/>
                <a:gd name="T36" fmla="*/ 354 w 801"/>
                <a:gd name="T37" fmla="*/ 600 h 1272"/>
                <a:gd name="T38" fmla="*/ 354 w 801"/>
                <a:gd name="T39" fmla="*/ 632 h 1272"/>
                <a:gd name="T40" fmla="*/ 236 w 801"/>
                <a:gd name="T41" fmla="*/ 832 h 1272"/>
                <a:gd name="T42" fmla="*/ 177 w 801"/>
                <a:gd name="T43" fmla="*/ 896 h 1272"/>
                <a:gd name="T44" fmla="*/ 186 w 801"/>
                <a:gd name="T45" fmla="*/ 976 h 1272"/>
                <a:gd name="T46" fmla="*/ 228 w 801"/>
                <a:gd name="T47" fmla="*/ 1080 h 1272"/>
                <a:gd name="T48" fmla="*/ 236 w 801"/>
                <a:gd name="T49" fmla="*/ 1160 h 1272"/>
                <a:gd name="T50" fmla="*/ 287 w 801"/>
                <a:gd name="T51" fmla="*/ 1208 h 1272"/>
                <a:gd name="T52" fmla="*/ 312 w 801"/>
                <a:gd name="T53" fmla="*/ 1272 h 1272"/>
                <a:gd name="T54" fmla="*/ 380 w 801"/>
                <a:gd name="T55" fmla="*/ 1264 h 1272"/>
                <a:gd name="T56" fmla="*/ 506 w 801"/>
                <a:gd name="T57" fmla="*/ 1192 h 1272"/>
                <a:gd name="T58" fmla="*/ 675 w 801"/>
                <a:gd name="T59" fmla="*/ 1112 h 1272"/>
                <a:gd name="T60" fmla="*/ 750 w 801"/>
                <a:gd name="T61" fmla="*/ 944 h 1272"/>
                <a:gd name="T62" fmla="*/ 801 w 801"/>
                <a:gd name="T63" fmla="*/ 808 h 127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01" h="1272">
                  <a:moveTo>
                    <a:pt x="750" y="760"/>
                  </a:moveTo>
                  <a:lnTo>
                    <a:pt x="683" y="720"/>
                  </a:lnTo>
                  <a:lnTo>
                    <a:pt x="700" y="672"/>
                  </a:lnTo>
                  <a:lnTo>
                    <a:pt x="658" y="616"/>
                  </a:lnTo>
                  <a:lnTo>
                    <a:pt x="590" y="576"/>
                  </a:lnTo>
                  <a:lnTo>
                    <a:pt x="582" y="520"/>
                  </a:lnTo>
                  <a:lnTo>
                    <a:pt x="624" y="472"/>
                  </a:lnTo>
                  <a:lnTo>
                    <a:pt x="557" y="408"/>
                  </a:lnTo>
                  <a:lnTo>
                    <a:pt x="506" y="312"/>
                  </a:lnTo>
                  <a:lnTo>
                    <a:pt x="523" y="256"/>
                  </a:lnTo>
                  <a:lnTo>
                    <a:pt x="481" y="216"/>
                  </a:lnTo>
                  <a:lnTo>
                    <a:pt x="439" y="200"/>
                  </a:lnTo>
                  <a:lnTo>
                    <a:pt x="413" y="136"/>
                  </a:lnTo>
                  <a:lnTo>
                    <a:pt x="422" y="88"/>
                  </a:lnTo>
                  <a:lnTo>
                    <a:pt x="430" y="72"/>
                  </a:lnTo>
                  <a:lnTo>
                    <a:pt x="413" y="32"/>
                  </a:lnTo>
                  <a:lnTo>
                    <a:pt x="346" y="0"/>
                  </a:lnTo>
                  <a:lnTo>
                    <a:pt x="295" y="0"/>
                  </a:lnTo>
                  <a:lnTo>
                    <a:pt x="262" y="40"/>
                  </a:lnTo>
                  <a:lnTo>
                    <a:pt x="262" y="112"/>
                  </a:lnTo>
                  <a:lnTo>
                    <a:pt x="245" y="184"/>
                  </a:lnTo>
                  <a:lnTo>
                    <a:pt x="186" y="168"/>
                  </a:lnTo>
                  <a:lnTo>
                    <a:pt x="144" y="184"/>
                  </a:lnTo>
                  <a:lnTo>
                    <a:pt x="43" y="136"/>
                  </a:lnTo>
                  <a:lnTo>
                    <a:pt x="0" y="160"/>
                  </a:lnTo>
                  <a:lnTo>
                    <a:pt x="51" y="216"/>
                  </a:lnTo>
                  <a:lnTo>
                    <a:pt x="144" y="256"/>
                  </a:lnTo>
                  <a:lnTo>
                    <a:pt x="177" y="296"/>
                  </a:lnTo>
                  <a:lnTo>
                    <a:pt x="177" y="336"/>
                  </a:lnTo>
                  <a:lnTo>
                    <a:pt x="220" y="368"/>
                  </a:lnTo>
                  <a:lnTo>
                    <a:pt x="220" y="416"/>
                  </a:lnTo>
                  <a:lnTo>
                    <a:pt x="228" y="464"/>
                  </a:lnTo>
                  <a:lnTo>
                    <a:pt x="245" y="504"/>
                  </a:lnTo>
                  <a:lnTo>
                    <a:pt x="262" y="552"/>
                  </a:lnTo>
                  <a:lnTo>
                    <a:pt x="295" y="560"/>
                  </a:lnTo>
                  <a:lnTo>
                    <a:pt x="329" y="576"/>
                  </a:lnTo>
                  <a:lnTo>
                    <a:pt x="354" y="584"/>
                  </a:lnTo>
                  <a:lnTo>
                    <a:pt x="354" y="600"/>
                  </a:lnTo>
                  <a:lnTo>
                    <a:pt x="363" y="616"/>
                  </a:lnTo>
                  <a:lnTo>
                    <a:pt x="354" y="632"/>
                  </a:lnTo>
                  <a:lnTo>
                    <a:pt x="321" y="696"/>
                  </a:lnTo>
                  <a:lnTo>
                    <a:pt x="236" y="832"/>
                  </a:lnTo>
                  <a:lnTo>
                    <a:pt x="203" y="864"/>
                  </a:lnTo>
                  <a:lnTo>
                    <a:pt x="177" y="896"/>
                  </a:lnTo>
                  <a:lnTo>
                    <a:pt x="177" y="936"/>
                  </a:lnTo>
                  <a:lnTo>
                    <a:pt x="186" y="976"/>
                  </a:lnTo>
                  <a:lnTo>
                    <a:pt x="211" y="1048"/>
                  </a:lnTo>
                  <a:lnTo>
                    <a:pt x="228" y="1080"/>
                  </a:lnTo>
                  <a:lnTo>
                    <a:pt x="228" y="1120"/>
                  </a:lnTo>
                  <a:lnTo>
                    <a:pt x="236" y="1160"/>
                  </a:lnTo>
                  <a:lnTo>
                    <a:pt x="253" y="1192"/>
                  </a:lnTo>
                  <a:lnTo>
                    <a:pt x="287" y="1208"/>
                  </a:lnTo>
                  <a:lnTo>
                    <a:pt x="321" y="1224"/>
                  </a:lnTo>
                  <a:lnTo>
                    <a:pt x="312" y="1272"/>
                  </a:lnTo>
                  <a:lnTo>
                    <a:pt x="363" y="1272"/>
                  </a:lnTo>
                  <a:lnTo>
                    <a:pt x="380" y="1264"/>
                  </a:lnTo>
                  <a:lnTo>
                    <a:pt x="405" y="1248"/>
                  </a:lnTo>
                  <a:lnTo>
                    <a:pt x="506" y="1192"/>
                  </a:lnTo>
                  <a:lnTo>
                    <a:pt x="599" y="1152"/>
                  </a:lnTo>
                  <a:lnTo>
                    <a:pt x="675" y="1112"/>
                  </a:lnTo>
                  <a:lnTo>
                    <a:pt x="700" y="1016"/>
                  </a:lnTo>
                  <a:lnTo>
                    <a:pt x="750" y="944"/>
                  </a:lnTo>
                  <a:lnTo>
                    <a:pt x="793" y="872"/>
                  </a:lnTo>
                  <a:lnTo>
                    <a:pt x="801" y="808"/>
                  </a:lnTo>
                  <a:lnTo>
                    <a:pt x="750" y="760"/>
                  </a:lnTo>
                  <a:close/>
                </a:path>
              </a:pathLst>
            </a:custGeom>
            <a:solidFill>
              <a:srgbClr val="09B89D"/>
            </a:solid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22" name="Freeform 101"/>
            <p:cNvSpPr>
              <a:spLocks/>
            </p:cNvSpPr>
            <p:nvPr>
              <p:custDataLst>
                <p:tags r:id="rId92"/>
              </p:custDataLst>
            </p:nvPr>
          </p:nvSpPr>
          <p:spPr bwMode="auto">
            <a:xfrm>
              <a:off x="3845" y="312"/>
              <a:ext cx="691" cy="1696"/>
            </a:xfrm>
            <a:custGeom>
              <a:avLst/>
              <a:gdLst>
                <a:gd name="T0" fmla="*/ 354 w 691"/>
                <a:gd name="T1" fmla="*/ 72 h 1696"/>
                <a:gd name="T2" fmla="*/ 295 w 691"/>
                <a:gd name="T3" fmla="*/ 128 h 1696"/>
                <a:gd name="T4" fmla="*/ 261 w 691"/>
                <a:gd name="T5" fmla="*/ 216 h 1696"/>
                <a:gd name="T6" fmla="*/ 210 w 691"/>
                <a:gd name="T7" fmla="*/ 312 h 1696"/>
                <a:gd name="T8" fmla="*/ 168 w 691"/>
                <a:gd name="T9" fmla="*/ 400 h 1696"/>
                <a:gd name="T10" fmla="*/ 118 w 691"/>
                <a:gd name="T11" fmla="*/ 576 h 1696"/>
                <a:gd name="T12" fmla="*/ 143 w 691"/>
                <a:gd name="T13" fmla="*/ 656 h 1696"/>
                <a:gd name="T14" fmla="*/ 33 w 691"/>
                <a:gd name="T15" fmla="*/ 736 h 1696"/>
                <a:gd name="T16" fmla="*/ 50 w 691"/>
                <a:gd name="T17" fmla="*/ 936 h 1696"/>
                <a:gd name="T18" fmla="*/ 92 w 691"/>
                <a:gd name="T19" fmla="*/ 1016 h 1696"/>
                <a:gd name="T20" fmla="*/ 67 w 691"/>
                <a:gd name="T21" fmla="*/ 1144 h 1696"/>
                <a:gd name="T22" fmla="*/ 17 w 691"/>
                <a:gd name="T23" fmla="*/ 1272 h 1696"/>
                <a:gd name="T24" fmla="*/ 8 w 691"/>
                <a:gd name="T25" fmla="*/ 1328 h 1696"/>
                <a:gd name="T26" fmla="*/ 42 w 691"/>
                <a:gd name="T27" fmla="*/ 1376 h 1696"/>
                <a:gd name="T28" fmla="*/ 84 w 691"/>
                <a:gd name="T29" fmla="*/ 1504 h 1696"/>
                <a:gd name="T30" fmla="*/ 118 w 691"/>
                <a:gd name="T31" fmla="*/ 1568 h 1696"/>
                <a:gd name="T32" fmla="*/ 109 w 691"/>
                <a:gd name="T33" fmla="*/ 1616 h 1696"/>
                <a:gd name="T34" fmla="*/ 135 w 691"/>
                <a:gd name="T35" fmla="*/ 1664 h 1696"/>
                <a:gd name="T36" fmla="*/ 202 w 691"/>
                <a:gd name="T37" fmla="*/ 1696 h 1696"/>
                <a:gd name="T38" fmla="*/ 244 w 691"/>
                <a:gd name="T39" fmla="*/ 1648 h 1696"/>
                <a:gd name="T40" fmla="*/ 286 w 691"/>
                <a:gd name="T41" fmla="*/ 1600 h 1696"/>
                <a:gd name="T42" fmla="*/ 387 w 691"/>
                <a:gd name="T43" fmla="*/ 1472 h 1696"/>
                <a:gd name="T44" fmla="*/ 387 w 691"/>
                <a:gd name="T45" fmla="*/ 1408 h 1696"/>
                <a:gd name="T46" fmla="*/ 396 w 691"/>
                <a:gd name="T47" fmla="*/ 1336 h 1696"/>
                <a:gd name="T48" fmla="*/ 421 w 691"/>
                <a:gd name="T49" fmla="*/ 1272 h 1696"/>
                <a:gd name="T50" fmla="*/ 497 w 691"/>
                <a:gd name="T51" fmla="*/ 1224 h 1696"/>
                <a:gd name="T52" fmla="*/ 505 w 691"/>
                <a:gd name="T53" fmla="*/ 1168 h 1696"/>
                <a:gd name="T54" fmla="*/ 480 w 691"/>
                <a:gd name="T55" fmla="*/ 1088 h 1696"/>
                <a:gd name="T56" fmla="*/ 396 w 691"/>
                <a:gd name="T57" fmla="*/ 1040 h 1696"/>
                <a:gd name="T58" fmla="*/ 387 w 691"/>
                <a:gd name="T59" fmla="*/ 984 h 1696"/>
                <a:gd name="T60" fmla="*/ 387 w 691"/>
                <a:gd name="T61" fmla="*/ 832 h 1696"/>
                <a:gd name="T62" fmla="*/ 480 w 691"/>
                <a:gd name="T63" fmla="*/ 704 h 1696"/>
                <a:gd name="T64" fmla="*/ 556 w 691"/>
                <a:gd name="T65" fmla="*/ 624 h 1696"/>
                <a:gd name="T66" fmla="*/ 581 w 691"/>
                <a:gd name="T67" fmla="*/ 560 h 1696"/>
                <a:gd name="T68" fmla="*/ 573 w 691"/>
                <a:gd name="T69" fmla="*/ 496 h 1696"/>
                <a:gd name="T70" fmla="*/ 606 w 691"/>
                <a:gd name="T71" fmla="*/ 424 h 1696"/>
                <a:gd name="T72" fmla="*/ 682 w 691"/>
                <a:gd name="T73" fmla="*/ 376 h 1696"/>
                <a:gd name="T74" fmla="*/ 674 w 691"/>
                <a:gd name="T75" fmla="*/ 328 h 1696"/>
                <a:gd name="T76" fmla="*/ 649 w 691"/>
                <a:gd name="T77" fmla="*/ 240 h 1696"/>
                <a:gd name="T78" fmla="*/ 606 w 691"/>
                <a:gd name="T79" fmla="*/ 160 h 1696"/>
                <a:gd name="T80" fmla="*/ 573 w 691"/>
                <a:gd name="T81" fmla="*/ 80 h 1696"/>
                <a:gd name="T82" fmla="*/ 446 w 691"/>
                <a:gd name="T83" fmla="*/ 0 h 1696"/>
                <a:gd name="T84" fmla="*/ 429 w 691"/>
                <a:gd name="T85" fmla="*/ 88 h 16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91" h="1696">
                  <a:moveTo>
                    <a:pt x="429" y="88"/>
                  </a:moveTo>
                  <a:lnTo>
                    <a:pt x="354" y="72"/>
                  </a:lnTo>
                  <a:lnTo>
                    <a:pt x="337" y="128"/>
                  </a:lnTo>
                  <a:lnTo>
                    <a:pt x="295" y="128"/>
                  </a:lnTo>
                  <a:lnTo>
                    <a:pt x="261" y="168"/>
                  </a:lnTo>
                  <a:lnTo>
                    <a:pt x="261" y="216"/>
                  </a:lnTo>
                  <a:lnTo>
                    <a:pt x="269" y="256"/>
                  </a:lnTo>
                  <a:lnTo>
                    <a:pt x="210" y="312"/>
                  </a:lnTo>
                  <a:lnTo>
                    <a:pt x="210" y="376"/>
                  </a:lnTo>
                  <a:lnTo>
                    <a:pt x="168" y="400"/>
                  </a:lnTo>
                  <a:lnTo>
                    <a:pt x="168" y="496"/>
                  </a:lnTo>
                  <a:lnTo>
                    <a:pt x="118" y="576"/>
                  </a:lnTo>
                  <a:lnTo>
                    <a:pt x="160" y="600"/>
                  </a:lnTo>
                  <a:lnTo>
                    <a:pt x="143" y="656"/>
                  </a:lnTo>
                  <a:lnTo>
                    <a:pt x="67" y="664"/>
                  </a:lnTo>
                  <a:lnTo>
                    <a:pt x="33" y="736"/>
                  </a:lnTo>
                  <a:lnTo>
                    <a:pt x="50" y="856"/>
                  </a:lnTo>
                  <a:lnTo>
                    <a:pt x="50" y="936"/>
                  </a:lnTo>
                  <a:lnTo>
                    <a:pt x="92" y="976"/>
                  </a:lnTo>
                  <a:lnTo>
                    <a:pt x="92" y="1016"/>
                  </a:lnTo>
                  <a:lnTo>
                    <a:pt x="67" y="1056"/>
                  </a:lnTo>
                  <a:lnTo>
                    <a:pt x="67" y="1144"/>
                  </a:lnTo>
                  <a:lnTo>
                    <a:pt x="33" y="1176"/>
                  </a:lnTo>
                  <a:lnTo>
                    <a:pt x="17" y="1272"/>
                  </a:lnTo>
                  <a:lnTo>
                    <a:pt x="0" y="1280"/>
                  </a:lnTo>
                  <a:lnTo>
                    <a:pt x="8" y="1328"/>
                  </a:lnTo>
                  <a:lnTo>
                    <a:pt x="33" y="1352"/>
                  </a:lnTo>
                  <a:lnTo>
                    <a:pt x="42" y="1376"/>
                  </a:lnTo>
                  <a:lnTo>
                    <a:pt x="42" y="1440"/>
                  </a:lnTo>
                  <a:lnTo>
                    <a:pt x="84" y="1504"/>
                  </a:lnTo>
                  <a:lnTo>
                    <a:pt x="109" y="1536"/>
                  </a:lnTo>
                  <a:lnTo>
                    <a:pt x="118" y="1568"/>
                  </a:lnTo>
                  <a:lnTo>
                    <a:pt x="109" y="1592"/>
                  </a:lnTo>
                  <a:lnTo>
                    <a:pt x="109" y="1616"/>
                  </a:lnTo>
                  <a:lnTo>
                    <a:pt x="126" y="1632"/>
                  </a:lnTo>
                  <a:lnTo>
                    <a:pt x="135" y="1664"/>
                  </a:lnTo>
                  <a:lnTo>
                    <a:pt x="135" y="1696"/>
                  </a:lnTo>
                  <a:lnTo>
                    <a:pt x="202" y="1696"/>
                  </a:lnTo>
                  <a:lnTo>
                    <a:pt x="236" y="1680"/>
                  </a:lnTo>
                  <a:lnTo>
                    <a:pt x="244" y="1648"/>
                  </a:lnTo>
                  <a:lnTo>
                    <a:pt x="261" y="1616"/>
                  </a:lnTo>
                  <a:lnTo>
                    <a:pt x="286" y="1600"/>
                  </a:lnTo>
                  <a:lnTo>
                    <a:pt x="354" y="1608"/>
                  </a:lnTo>
                  <a:lnTo>
                    <a:pt x="387" y="1472"/>
                  </a:lnTo>
                  <a:lnTo>
                    <a:pt x="396" y="1440"/>
                  </a:lnTo>
                  <a:lnTo>
                    <a:pt x="387" y="1408"/>
                  </a:lnTo>
                  <a:lnTo>
                    <a:pt x="387" y="1368"/>
                  </a:lnTo>
                  <a:lnTo>
                    <a:pt x="396" y="1336"/>
                  </a:lnTo>
                  <a:lnTo>
                    <a:pt x="404" y="1296"/>
                  </a:lnTo>
                  <a:lnTo>
                    <a:pt x="421" y="1272"/>
                  </a:lnTo>
                  <a:lnTo>
                    <a:pt x="472" y="1240"/>
                  </a:lnTo>
                  <a:lnTo>
                    <a:pt x="497" y="1224"/>
                  </a:lnTo>
                  <a:lnTo>
                    <a:pt x="497" y="1192"/>
                  </a:lnTo>
                  <a:lnTo>
                    <a:pt x="505" y="1168"/>
                  </a:lnTo>
                  <a:lnTo>
                    <a:pt x="522" y="1144"/>
                  </a:lnTo>
                  <a:lnTo>
                    <a:pt x="480" y="1088"/>
                  </a:lnTo>
                  <a:lnTo>
                    <a:pt x="413" y="1048"/>
                  </a:lnTo>
                  <a:lnTo>
                    <a:pt x="396" y="1040"/>
                  </a:lnTo>
                  <a:lnTo>
                    <a:pt x="387" y="1024"/>
                  </a:lnTo>
                  <a:lnTo>
                    <a:pt x="387" y="984"/>
                  </a:lnTo>
                  <a:lnTo>
                    <a:pt x="379" y="904"/>
                  </a:lnTo>
                  <a:lnTo>
                    <a:pt x="387" y="832"/>
                  </a:lnTo>
                  <a:lnTo>
                    <a:pt x="429" y="760"/>
                  </a:lnTo>
                  <a:lnTo>
                    <a:pt x="480" y="704"/>
                  </a:lnTo>
                  <a:lnTo>
                    <a:pt x="539" y="648"/>
                  </a:lnTo>
                  <a:lnTo>
                    <a:pt x="556" y="624"/>
                  </a:lnTo>
                  <a:lnTo>
                    <a:pt x="564" y="584"/>
                  </a:lnTo>
                  <a:lnTo>
                    <a:pt x="581" y="560"/>
                  </a:lnTo>
                  <a:lnTo>
                    <a:pt x="581" y="536"/>
                  </a:lnTo>
                  <a:lnTo>
                    <a:pt x="573" y="496"/>
                  </a:lnTo>
                  <a:lnTo>
                    <a:pt x="581" y="464"/>
                  </a:lnTo>
                  <a:lnTo>
                    <a:pt x="606" y="424"/>
                  </a:lnTo>
                  <a:lnTo>
                    <a:pt x="615" y="384"/>
                  </a:lnTo>
                  <a:lnTo>
                    <a:pt x="682" y="376"/>
                  </a:lnTo>
                  <a:lnTo>
                    <a:pt x="691" y="376"/>
                  </a:lnTo>
                  <a:lnTo>
                    <a:pt x="674" y="328"/>
                  </a:lnTo>
                  <a:lnTo>
                    <a:pt x="657" y="288"/>
                  </a:lnTo>
                  <a:lnTo>
                    <a:pt x="649" y="240"/>
                  </a:lnTo>
                  <a:lnTo>
                    <a:pt x="649" y="192"/>
                  </a:lnTo>
                  <a:lnTo>
                    <a:pt x="606" y="160"/>
                  </a:lnTo>
                  <a:lnTo>
                    <a:pt x="606" y="120"/>
                  </a:lnTo>
                  <a:lnTo>
                    <a:pt x="573" y="80"/>
                  </a:lnTo>
                  <a:lnTo>
                    <a:pt x="480" y="40"/>
                  </a:lnTo>
                  <a:lnTo>
                    <a:pt x="446" y="0"/>
                  </a:lnTo>
                  <a:lnTo>
                    <a:pt x="429" y="8"/>
                  </a:lnTo>
                  <a:lnTo>
                    <a:pt x="429" y="88"/>
                  </a:lnTo>
                  <a:close/>
                </a:path>
              </a:pathLst>
            </a:custGeom>
            <a:solidFill>
              <a:srgbClr val="09B89D"/>
            </a:solid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sp>
          <p:nvSpPr>
            <p:cNvPr id="225" name="Freeform 104"/>
            <p:cNvSpPr>
              <a:spLocks/>
            </p:cNvSpPr>
            <p:nvPr>
              <p:custDataLst>
                <p:tags r:id="rId93"/>
              </p:custDataLst>
            </p:nvPr>
          </p:nvSpPr>
          <p:spPr bwMode="auto">
            <a:xfrm>
              <a:off x="3423" y="0"/>
              <a:ext cx="1340" cy="1688"/>
            </a:xfrm>
            <a:custGeom>
              <a:avLst/>
              <a:gdLst>
                <a:gd name="T0" fmla="*/ 1323 w 1340"/>
                <a:gd name="T1" fmla="*/ 40 h 1688"/>
                <a:gd name="T2" fmla="*/ 1205 w 1340"/>
                <a:gd name="T3" fmla="*/ 24 h 1688"/>
                <a:gd name="T4" fmla="*/ 1172 w 1340"/>
                <a:gd name="T5" fmla="*/ 0 h 1688"/>
                <a:gd name="T6" fmla="*/ 1130 w 1340"/>
                <a:gd name="T7" fmla="*/ 24 h 1688"/>
                <a:gd name="T8" fmla="*/ 1071 w 1340"/>
                <a:gd name="T9" fmla="*/ 120 h 1688"/>
                <a:gd name="T10" fmla="*/ 1012 w 1340"/>
                <a:gd name="T11" fmla="*/ 40 h 1688"/>
                <a:gd name="T12" fmla="*/ 961 w 1340"/>
                <a:gd name="T13" fmla="*/ 136 h 1688"/>
                <a:gd name="T14" fmla="*/ 877 w 1340"/>
                <a:gd name="T15" fmla="*/ 184 h 1688"/>
                <a:gd name="T16" fmla="*/ 809 w 1340"/>
                <a:gd name="T17" fmla="*/ 176 h 1688"/>
                <a:gd name="T18" fmla="*/ 717 w 1340"/>
                <a:gd name="T19" fmla="*/ 248 h 1688"/>
                <a:gd name="T20" fmla="*/ 700 w 1340"/>
                <a:gd name="T21" fmla="*/ 328 h 1688"/>
                <a:gd name="T22" fmla="*/ 645 w 1340"/>
                <a:gd name="T23" fmla="*/ 418 h 1688"/>
                <a:gd name="T24" fmla="*/ 590 w 1340"/>
                <a:gd name="T25" fmla="*/ 504 h 1688"/>
                <a:gd name="T26" fmla="*/ 565 w 1340"/>
                <a:gd name="T27" fmla="*/ 560 h 1688"/>
                <a:gd name="T28" fmla="*/ 472 w 1340"/>
                <a:gd name="T29" fmla="*/ 744 h 1688"/>
                <a:gd name="T30" fmla="*/ 396 w 1340"/>
                <a:gd name="T31" fmla="*/ 848 h 1688"/>
                <a:gd name="T32" fmla="*/ 396 w 1340"/>
                <a:gd name="T33" fmla="*/ 896 h 1688"/>
                <a:gd name="T34" fmla="*/ 304 w 1340"/>
                <a:gd name="T35" fmla="*/ 1024 h 1688"/>
                <a:gd name="T36" fmla="*/ 236 w 1340"/>
                <a:gd name="T37" fmla="*/ 1032 h 1688"/>
                <a:gd name="T38" fmla="*/ 186 w 1340"/>
                <a:gd name="T39" fmla="*/ 1088 h 1688"/>
                <a:gd name="T40" fmla="*/ 93 w 1340"/>
                <a:gd name="T41" fmla="*/ 1144 h 1688"/>
                <a:gd name="T42" fmla="*/ 26 w 1340"/>
                <a:gd name="T43" fmla="*/ 1200 h 1688"/>
                <a:gd name="T44" fmla="*/ 9 w 1340"/>
                <a:gd name="T45" fmla="*/ 1264 h 1688"/>
                <a:gd name="T46" fmla="*/ 9 w 1340"/>
                <a:gd name="T47" fmla="*/ 1304 h 1688"/>
                <a:gd name="T48" fmla="*/ 0 w 1340"/>
                <a:gd name="T49" fmla="*/ 1352 h 1688"/>
                <a:gd name="T50" fmla="*/ 9 w 1340"/>
                <a:gd name="T51" fmla="*/ 1424 h 1688"/>
                <a:gd name="T52" fmla="*/ 51 w 1340"/>
                <a:gd name="T53" fmla="*/ 1464 h 1688"/>
                <a:gd name="T54" fmla="*/ 17 w 1340"/>
                <a:gd name="T55" fmla="*/ 1512 h 1688"/>
                <a:gd name="T56" fmla="*/ 59 w 1340"/>
                <a:gd name="T57" fmla="*/ 1552 h 1688"/>
                <a:gd name="T58" fmla="*/ 17 w 1340"/>
                <a:gd name="T59" fmla="*/ 1584 h 1688"/>
                <a:gd name="T60" fmla="*/ 51 w 1340"/>
                <a:gd name="T61" fmla="*/ 1632 h 1688"/>
                <a:gd name="T62" fmla="*/ 102 w 1340"/>
                <a:gd name="T63" fmla="*/ 1688 h 1688"/>
                <a:gd name="T64" fmla="*/ 278 w 1340"/>
                <a:gd name="T65" fmla="*/ 1624 h 1688"/>
                <a:gd name="T66" fmla="*/ 346 w 1340"/>
                <a:gd name="T67" fmla="*/ 1576 h 1688"/>
                <a:gd name="T68" fmla="*/ 388 w 1340"/>
                <a:gd name="T69" fmla="*/ 1512 h 1688"/>
                <a:gd name="T70" fmla="*/ 422 w 1340"/>
                <a:gd name="T71" fmla="*/ 1592 h 1688"/>
                <a:gd name="T72" fmla="*/ 489 w 1340"/>
                <a:gd name="T73" fmla="*/ 1456 h 1688"/>
                <a:gd name="T74" fmla="*/ 514 w 1340"/>
                <a:gd name="T75" fmla="*/ 1288 h 1688"/>
                <a:gd name="T76" fmla="*/ 455 w 1340"/>
                <a:gd name="T77" fmla="*/ 1048 h 1688"/>
                <a:gd name="T78" fmla="*/ 582 w 1340"/>
                <a:gd name="T79" fmla="*/ 912 h 1688"/>
                <a:gd name="T80" fmla="*/ 590 w 1340"/>
                <a:gd name="T81" fmla="*/ 712 h 1688"/>
                <a:gd name="T82" fmla="*/ 691 w 1340"/>
                <a:gd name="T83" fmla="*/ 568 h 1688"/>
                <a:gd name="T84" fmla="*/ 717 w 1340"/>
                <a:gd name="T85" fmla="*/ 440 h 1688"/>
                <a:gd name="T86" fmla="*/ 851 w 1340"/>
                <a:gd name="T87" fmla="*/ 400 h 1688"/>
                <a:gd name="T88" fmla="*/ 851 w 1340"/>
                <a:gd name="T89" fmla="*/ 296 h 1688"/>
                <a:gd name="T90" fmla="*/ 1037 w 1340"/>
                <a:gd name="T91" fmla="*/ 304 h 1688"/>
                <a:gd name="T92" fmla="*/ 1113 w 1340"/>
                <a:gd name="T93" fmla="*/ 176 h 1688"/>
                <a:gd name="T94" fmla="*/ 1264 w 1340"/>
                <a:gd name="T95" fmla="*/ 168 h 1688"/>
                <a:gd name="T96" fmla="*/ 1340 w 1340"/>
                <a:gd name="T97" fmla="*/ 144 h 168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340" h="1688">
                  <a:moveTo>
                    <a:pt x="1239" y="104"/>
                  </a:moveTo>
                  <a:lnTo>
                    <a:pt x="1281" y="80"/>
                  </a:lnTo>
                  <a:lnTo>
                    <a:pt x="1323" y="40"/>
                  </a:lnTo>
                  <a:lnTo>
                    <a:pt x="1239" y="16"/>
                  </a:lnTo>
                  <a:lnTo>
                    <a:pt x="1214" y="8"/>
                  </a:lnTo>
                  <a:lnTo>
                    <a:pt x="1205" y="24"/>
                  </a:lnTo>
                  <a:lnTo>
                    <a:pt x="1180" y="56"/>
                  </a:lnTo>
                  <a:lnTo>
                    <a:pt x="1172" y="16"/>
                  </a:lnTo>
                  <a:lnTo>
                    <a:pt x="1172" y="0"/>
                  </a:lnTo>
                  <a:lnTo>
                    <a:pt x="1146" y="0"/>
                  </a:lnTo>
                  <a:lnTo>
                    <a:pt x="1130" y="0"/>
                  </a:lnTo>
                  <a:lnTo>
                    <a:pt x="1130" y="24"/>
                  </a:lnTo>
                  <a:lnTo>
                    <a:pt x="1130" y="64"/>
                  </a:lnTo>
                  <a:lnTo>
                    <a:pt x="1104" y="24"/>
                  </a:lnTo>
                  <a:lnTo>
                    <a:pt x="1071" y="120"/>
                  </a:lnTo>
                  <a:lnTo>
                    <a:pt x="1062" y="48"/>
                  </a:lnTo>
                  <a:lnTo>
                    <a:pt x="1037" y="24"/>
                  </a:lnTo>
                  <a:lnTo>
                    <a:pt x="1012" y="40"/>
                  </a:lnTo>
                  <a:lnTo>
                    <a:pt x="961" y="80"/>
                  </a:lnTo>
                  <a:lnTo>
                    <a:pt x="953" y="112"/>
                  </a:lnTo>
                  <a:lnTo>
                    <a:pt x="961" y="136"/>
                  </a:lnTo>
                  <a:lnTo>
                    <a:pt x="902" y="144"/>
                  </a:lnTo>
                  <a:lnTo>
                    <a:pt x="885" y="160"/>
                  </a:lnTo>
                  <a:lnTo>
                    <a:pt x="877" y="184"/>
                  </a:lnTo>
                  <a:lnTo>
                    <a:pt x="851" y="192"/>
                  </a:lnTo>
                  <a:lnTo>
                    <a:pt x="826" y="192"/>
                  </a:lnTo>
                  <a:lnTo>
                    <a:pt x="809" y="176"/>
                  </a:lnTo>
                  <a:lnTo>
                    <a:pt x="784" y="176"/>
                  </a:lnTo>
                  <a:lnTo>
                    <a:pt x="750" y="208"/>
                  </a:lnTo>
                  <a:lnTo>
                    <a:pt x="717" y="248"/>
                  </a:lnTo>
                  <a:lnTo>
                    <a:pt x="683" y="296"/>
                  </a:lnTo>
                  <a:lnTo>
                    <a:pt x="683" y="320"/>
                  </a:lnTo>
                  <a:lnTo>
                    <a:pt x="700" y="328"/>
                  </a:lnTo>
                  <a:lnTo>
                    <a:pt x="659" y="374"/>
                  </a:lnTo>
                  <a:lnTo>
                    <a:pt x="641" y="368"/>
                  </a:lnTo>
                  <a:lnTo>
                    <a:pt x="645" y="418"/>
                  </a:lnTo>
                  <a:lnTo>
                    <a:pt x="616" y="456"/>
                  </a:lnTo>
                  <a:lnTo>
                    <a:pt x="599" y="480"/>
                  </a:lnTo>
                  <a:lnTo>
                    <a:pt x="590" y="504"/>
                  </a:lnTo>
                  <a:lnTo>
                    <a:pt x="607" y="520"/>
                  </a:lnTo>
                  <a:lnTo>
                    <a:pt x="573" y="536"/>
                  </a:lnTo>
                  <a:lnTo>
                    <a:pt x="565" y="560"/>
                  </a:lnTo>
                  <a:lnTo>
                    <a:pt x="540" y="576"/>
                  </a:lnTo>
                  <a:lnTo>
                    <a:pt x="523" y="624"/>
                  </a:lnTo>
                  <a:lnTo>
                    <a:pt x="472" y="744"/>
                  </a:lnTo>
                  <a:lnTo>
                    <a:pt x="455" y="816"/>
                  </a:lnTo>
                  <a:lnTo>
                    <a:pt x="439" y="840"/>
                  </a:lnTo>
                  <a:lnTo>
                    <a:pt x="396" y="848"/>
                  </a:lnTo>
                  <a:lnTo>
                    <a:pt x="405" y="872"/>
                  </a:lnTo>
                  <a:lnTo>
                    <a:pt x="413" y="888"/>
                  </a:lnTo>
                  <a:lnTo>
                    <a:pt x="396" y="896"/>
                  </a:lnTo>
                  <a:lnTo>
                    <a:pt x="346" y="952"/>
                  </a:lnTo>
                  <a:lnTo>
                    <a:pt x="321" y="1008"/>
                  </a:lnTo>
                  <a:lnTo>
                    <a:pt x="304" y="1024"/>
                  </a:lnTo>
                  <a:lnTo>
                    <a:pt x="295" y="1032"/>
                  </a:lnTo>
                  <a:lnTo>
                    <a:pt x="262" y="1024"/>
                  </a:lnTo>
                  <a:lnTo>
                    <a:pt x="236" y="1032"/>
                  </a:lnTo>
                  <a:lnTo>
                    <a:pt x="228" y="1040"/>
                  </a:lnTo>
                  <a:lnTo>
                    <a:pt x="220" y="1064"/>
                  </a:lnTo>
                  <a:lnTo>
                    <a:pt x="186" y="1088"/>
                  </a:lnTo>
                  <a:lnTo>
                    <a:pt x="152" y="1104"/>
                  </a:lnTo>
                  <a:lnTo>
                    <a:pt x="127" y="1128"/>
                  </a:lnTo>
                  <a:lnTo>
                    <a:pt x="93" y="1144"/>
                  </a:lnTo>
                  <a:lnTo>
                    <a:pt x="68" y="1168"/>
                  </a:lnTo>
                  <a:lnTo>
                    <a:pt x="51" y="1192"/>
                  </a:lnTo>
                  <a:lnTo>
                    <a:pt x="26" y="1200"/>
                  </a:lnTo>
                  <a:lnTo>
                    <a:pt x="17" y="1208"/>
                  </a:lnTo>
                  <a:lnTo>
                    <a:pt x="17" y="1248"/>
                  </a:lnTo>
                  <a:lnTo>
                    <a:pt x="9" y="1264"/>
                  </a:lnTo>
                  <a:lnTo>
                    <a:pt x="17" y="1272"/>
                  </a:lnTo>
                  <a:lnTo>
                    <a:pt x="17" y="1288"/>
                  </a:lnTo>
                  <a:lnTo>
                    <a:pt x="9" y="1304"/>
                  </a:lnTo>
                  <a:lnTo>
                    <a:pt x="17" y="1312"/>
                  </a:lnTo>
                  <a:lnTo>
                    <a:pt x="17" y="1328"/>
                  </a:lnTo>
                  <a:lnTo>
                    <a:pt x="0" y="1352"/>
                  </a:lnTo>
                  <a:lnTo>
                    <a:pt x="17" y="1384"/>
                  </a:lnTo>
                  <a:lnTo>
                    <a:pt x="43" y="1408"/>
                  </a:lnTo>
                  <a:lnTo>
                    <a:pt x="9" y="1424"/>
                  </a:lnTo>
                  <a:lnTo>
                    <a:pt x="34" y="1432"/>
                  </a:lnTo>
                  <a:lnTo>
                    <a:pt x="9" y="1480"/>
                  </a:lnTo>
                  <a:lnTo>
                    <a:pt x="51" y="1464"/>
                  </a:lnTo>
                  <a:lnTo>
                    <a:pt x="51" y="1480"/>
                  </a:lnTo>
                  <a:lnTo>
                    <a:pt x="43" y="1488"/>
                  </a:lnTo>
                  <a:lnTo>
                    <a:pt x="17" y="1512"/>
                  </a:lnTo>
                  <a:lnTo>
                    <a:pt x="17" y="1544"/>
                  </a:lnTo>
                  <a:lnTo>
                    <a:pt x="43" y="1544"/>
                  </a:lnTo>
                  <a:lnTo>
                    <a:pt x="59" y="1552"/>
                  </a:lnTo>
                  <a:lnTo>
                    <a:pt x="59" y="1568"/>
                  </a:lnTo>
                  <a:lnTo>
                    <a:pt x="34" y="1584"/>
                  </a:lnTo>
                  <a:lnTo>
                    <a:pt x="17" y="1584"/>
                  </a:lnTo>
                  <a:lnTo>
                    <a:pt x="9" y="1592"/>
                  </a:lnTo>
                  <a:lnTo>
                    <a:pt x="26" y="1616"/>
                  </a:lnTo>
                  <a:lnTo>
                    <a:pt x="51" y="1632"/>
                  </a:lnTo>
                  <a:lnTo>
                    <a:pt x="76" y="1656"/>
                  </a:lnTo>
                  <a:lnTo>
                    <a:pt x="118" y="1664"/>
                  </a:lnTo>
                  <a:lnTo>
                    <a:pt x="102" y="1688"/>
                  </a:lnTo>
                  <a:lnTo>
                    <a:pt x="177" y="1688"/>
                  </a:lnTo>
                  <a:lnTo>
                    <a:pt x="236" y="1664"/>
                  </a:lnTo>
                  <a:lnTo>
                    <a:pt x="278" y="1624"/>
                  </a:lnTo>
                  <a:lnTo>
                    <a:pt x="312" y="1576"/>
                  </a:lnTo>
                  <a:lnTo>
                    <a:pt x="329" y="1584"/>
                  </a:lnTo>
                  <a:lnTo>
                    <a:pt x="346" y="1576"/>
                  </a:lnTo>
                  <a:lnTo>
                    <a:pt x="363" y="1544"/>
                  </a:lnTo>
                  <a:lnTo>
                    <a:pt x="363" y="1512"/>
                  </a:lnTo>
                  <a:lnTo>
                    <a:pt x="388" y="1512"/>
                  </a:lnTo>
                  <a:lnTo>
                    <a:pt x="396" y="1528"/>
                  </a:lnTo>
                  <a:lnTo>
                    <a:pt x="405" y="1560"/>
                  </a:lnTo>
                  <a:lnTo>
                    <a:pt x="422" y="1592"/>
                  </a:lnTo>
                  <a:lnTo>
                    <a:pt x="439" y="1584"/>
                  </a:lnTo>
                  <a:lnTo>
                    <a:pt x="455" y="1488"/>
                  </a:lnTo>
                  <a:lnTo>
                    <a:pt x="489" y="1456"/>
                  </a:lnTo>
                  <a:lnTo>
                    <a:pt x="489" y="1368"/>
                  </a:lnTo>
                  <a:lnTo>
                    <a:pt x="514" y="1328"/>
                  </a:lnTo>
                  <a:lnTo>
                    <a:pt x="514" y="1288"/>
                  </a:lnTo>
                  <a:lnTo>
                    <a:pt x="472" y="1248"/>
                  </a:lnTo>
                  <a:lnTo>
                    <a:pt x="472" y="1168"/>
                  </a:lnTo>
                  <a:lnTo>
                    <a:pt x="455" y="1048"/>
                  </a:lnTo>
                  <a:lnTo>
                    <a:pt x="489" y="976"/>
                  </a:lnTo>
                  <a:lnTo>
                    <a:pt x="565" y="968"/>
                  </a:lnTo>
                  <a:lnTo>
                    <a:pt x="582" y="912"/>
                  </a:lnTo>
                  <a:lnTo>
                    <a:pt x="540" y="888"/>
                  </a:lnTo>
                  <a:lnTo>
                    <a:pt x="590" y="808"/>
                  </a:lnTo>
                  <a:lnTo>
                    <a:pt x="590" y="712"/>
                  </a:lnTo>
                  <a:lnTo>
                    <a:pt x="632" y="688"/>
                  </a:lnTo>
                  <a:lnTo>
                    <a:pt x="632" y="624"/>
                  </a:lnTo>
                  <a:lnTo>
                    <a:pt x="691" y="568"/>
                  </a:lnTo>
                  <a:lnTo>
                    <a:pt x="683" y="528"/>
                  </a:lnTo>
                  <a:lnTo>
                    <a:pt x="683" y="480"/>
                  </a:lnTo>
                  <a:lnTo>
                    <a:pt x="717" y="440"/>
                  </a:lnTo>
                  <a:lnTo>
                    <a:pt x="759" y="440"/>
                  </a:lnTo>
                  <a:lnTo>
                    <a:pt x="776" y="384"/>
                  </a:lnTo>
                  <a:lnTo>
                    <a:pt x="851" y="400"/>
                  </a:lnTo>
                  <a:lnTo>
                    <a:pt x="851" y="320"/>
                  </a:lnTo>
                  <a:lnTo>
                    <a:pt x="868" y="312"/>
                  </a:lnTo>
                  <a:lnTo>
                    <a:pt x="851" y="296"/>
                  </a:lnTo>
                  <a:lnTo>
                    <a:pt x="894" y="272"/>
                  </a:lnTo>
                  <a:lnTo>
                    <a:pt x="995" y="320"/>
                  </a:lnTo>
                  <a:lnTo>
                    <a:pt x="1037" y="304"/>
                  </a:lnTo>
                  <a:lnTo>
                    <a:pt x="1096" y="320"/>
                  </a:lnTo>
                  <a:lnTo>
                    <a:pt x="1113" y="248"/>
                  </a:lnTo>
                  <a:lnTo>
                    <a:pt x="1113" y="176"/>
                  </a:lnTo>
                  <a:lnTo>
                    <a:pt x="1146" y="136"/>
                  </a:lnTo>
                  <a:lnTo>
                    <a:pt x="1197" y="136"/>
                  </a:lnTo>
                  <a:lnTo>
                    <a:pt x="1264" y="168"/>
                  </a:lnTo>
                  <a:lnTo>
                    <a:pt x="1281" y="208"/>
                  </a:lnTo>
                  <a:lnTo>
                    <a:pt x="1306" y="176"/>
                  </a:lnTo>
                  <a:lnTo>
                    <a:pt x="1340" y="144"/>
                  </a:lnTo>
                  <a:lnTo>
                    <a:pt x="1340" y="120"/>
                  </a:lnTo>
                  <a:lnTo>
                    <a:pt x="1239" y="104"/>
                  </a:lnTo>
                  <a:close/>
                </a:path>
              </a:pathLst>
            </a:custGeom>
            <a:solidFill>
              <a:srgbClr val="09B89D"/>
            </a:solidFill>
            <a:ln w="6350">
              <a:solidFill>
                <a:schemeClr val="bg1"/>
              </a:solidFill>
              <a:round/>
              <a:headEnd/>
              <a:tailEnd/>
            </a:ln>
          </p:spPr>
          <p:txBody>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ea typeface="ＭＳ Ｐゴシック" pitchFamily="27" charset="-128"/>
              </a:endParaRPr>
            </a:p>
          </p:txBody>
        </p:sp>
      </p:grpSp>
      <p:sp>
        <p:nvSpPr>
          <p:cNvPr id="322" name="Title 9"/>
          <p:cNvSpPr txBox="1">
            <a:spLocks/>
          </p:cNvSpPr>
          <p:nvPr/>
        </p:nvSpPr>
        <p:spPr>
          <a:xfrm>
            <a:off x="431900" y="728663"/>
            <a:ext cx="11332800"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r>
              <a:rPr lang="en-GB" dirty="0" smtClean="0"/>
              <a:t>Engagement examples: </a:t>
            </a:r>
            <a:r>
              <a:rPr lang="en-US" dirty="0" smtClean="0"/>
              <a:t>Energy Efficiency</a:t>
            </a:r>
            <a:endParaRPr lang="en-GB" dirty="0">
              <a:solidFill>
                <a:srgbClr val="FF0000"/>
              </a:solidFill>
            </a:endParaRPr>
          </a:p>
        </p:txBody>
      </p:sp>
      <p:sp>
        <p:nvSpPr>
          <p:cNvPr id="323" name="TextBox 322"/>
          <p:cNvSpPr txBox="1"/>
          <p:nvPr/>
        </p:nvSpPr>
        <p:spPr>
          <a:xfrm>
            <a:off x="1397099" y="1673455"/>
            <a:ext cx="6713747" cy="1723549"/>
          </a:xfrm>
          <a:prstGeom prst="rect">
            <a:avLst/>
          </a:prstGeom>
          <a:noFill/>
          <a:ln w="6350" cap="rnd">
            <a:noFill/>
          </a:ln>
        </p:spPr>
        <p:txBody>
          <a:bodyPr wrap="square" lIns="0" tIns="0" rIns="0" bIns="0" rtlCol="0">
            <a:spAutoFit/>
          </a:bodyPr>
          <a:lstStyle/>
          <a:p>
            <a:r>
              <a:rPr lang="en-US" sz="2800" dirty="0" smtClean="0">
                <a:solidFill>
                  <a:srgbClr val="003755"/>
                </a:solidFill>
                <a:latin typeface="Danske Human Medium Italic" panose="02000603050000020003" pitchFamily="2" charset="0"/>
              </a:rPr>
              <a:t>39 engagements</a:t>
            </a:r>
          </a:p>
          <a:p>
            <a:r>
              <a:rPr lang="en-US" sz="1400" dirty="0">
                <a:solidFill>
                  <a:srgbClr val="003755"/>
                </a:solidFill>
              </a:rPr>
              <a:t>A</a:t>
            </a:r>
            <a:r>
              <a:rPr lang="en-US" sz="1400" dirty="0" smtClean="0">
                <a:solidFill>
                  <a:srgbClr val="003755"/>
                </a:solidFill>
              </a:rPr>
              <a:t>mong </a:t>
            </a:r>
            <a:r>
              <a:rPr lang="en-US" sz="1400" dirty="0">
                <a:solidFill>
                  <a:srgbClr val="003755"/>
                </a:solidFill>
              </a:rPr>
              <a:t>the </a:t>
            </a:r>
            <a:r>
              <a:rPr lang="en-US" sz="1400" dirty="0" smtClean="0">
                <a:solidFill>
                  <a:srgbClr val="003755"/>
                </a:solidFill>
              </a:rPr>
              <a:t>348 total engagements focused </a:t>
            </a:r>
            <a:r>
              <a:rPr lang="en-US" sz="1400" dirty="0">
                <a:solidFill>
                  <a:srgbClr val="003755"/>
                </a:solidFill>
              </a:rPr>
              <a:t>on </a:t>
            </a:r>
            <a:r>
              <a:rPr lang="en-US" sz="1400" dirty="0" smtClean="0">
                <a:solidFill>
                  <a:srgbClr val="003755"/>
                </a:solidFill>
              </a:rPr>
              <a:t>Energy Efficiency. </a:t>
            </a:r>
            <a:endParaRPr lang="en-US" sz="1400" dirty="0">
              <a:solidFill>
                <a:srgbClr val="003755"/>
              </a:solidFill>
            </a:endParaRPr>
          </a:p>
          <a:p>
            <a:endParaRPr lang="en-US" sz="1400" b="1" dirty="0" smtClean="0">
              <a:solidFill>
                <a:srgbClr val="003755"/>
              </a:solidFill>
            </a:endParaRPr>
          </a:p>
          <a:p>
            <a:r>
              <a:rPr lang="en-US" sz="1400" b="1" dirty="0" smtClean="0">
                <a:solidFill>
                  <a:srgbClr val="003755"/>
                </a:solidFill>
              </a:rPr>
              <a:t>Energy Efficiency </a:t>
            </a:r>
            <a:r>
              <a:rPr lang="en-US" sz="1400" dirty="0" smtClean="0">
                <a:solidFill>
                  <a:srgbClr val="003755"/>
                </a:solidFill>
              </a:rPr>
              <a:t>is </a:t>
            </a:r>
            <a:r>
              <a:rPr lang="en-US" sz="1400" dirty="0">
                <a:solidFill>
                  <a:srgbClr val="003755"/>
                </a:solidFill>
              </a:rPr>
              <a:t>the </a:t>
            </a:r>
            <a:r>
              <a:rPr lang="en-US" sz="1400" dirty="0" smtClean="0">
                <a:solidFill>
                  <a:srgbClr val="003755"/>
                </a:solidFill>
              </a:rPr>
              <a:t>third most </a:t>
            </a:r>
            <a:r>
              <a:rPr lang="en-US" sz="1400" dirty="0">
                <a:solidFill>
                  <a:srgbClr val="003755"/>
                </a:solidFill>
              </a:rPr>
              <a:t>common topic for our portfolio managers to engage with companies on during H1 2020</a:t>
            </a:r>
            <a:r>
              <a:rPr lang="en-US" sz="1400" dirty="0" smtClean="0">
                <a:solidFill>
                  <a:srgbClr val="003755"/>
                </a:solidFill>
              </a:rPr>
              <a:t>.</a:t>
            </a:r>
            <a:r>
              <a:rPr lang="en-GB" sz="1400" dirty="0" smtClean="0">
                <a:solidFill>
                  <a:srgbClr val="003755"/>
                </a:solidFill>
              </a:rPr>
              <a:t> </a:t>
            </a:r>
            <a:r>
              <a:rPr lang="en-US" sz="1400" b="1" dirty="0">
                <a:solidFill>
                  <a:srgbClr val="003755"/>
                </a:solidFill>
              </a:rPr>
              <a:t>Energy Efficiency </a:t>
            </a:r>
            <a:r>
              <a:rPr lang="en-US" sz="1400" dirty="0">
                <a:solidFill>
                  <a:srgbClr val="003755"/>
                </a:solidFill>
              </a:rPr>
              <a:t>means using less energy to perform the same task –thus limiting energy waste. It is the cheapest and often the most immediate way in order to reduce the use of fossil fuels. </a:t>
            </a:r>
          </a:p>
        </p:txBody>
      </p:sp>
      <p:pic>
        <p:nvPicPr>
          <p:cNvPr id="327" name="Check List"/>
          <p:cNvPicPr>
            <a:picLocks noChangeAspect="1"/>
          </p:cNvPicPr>
          <p:nvPr>
            <p:custDataLst>
              <p:tags r:id="rId2"/>
            </p:custDataLst>
          </p:nvPr>
        </p:nvPicPr>
        <p:blipFill>
          <a:blip r:embed="rId95" cstate="print">
            <a:extLst>
              <a:ext uri="{28A0092B-C50C-407E-A947-70E740481C1C}">
                <a14:useLocalDpi xmlns:a14="http://schemas.microsoft.com/office/drawing/2010/main" val="0"/>
              </a:ext>
            </a:extLst>
          </a:blip>
          <a:stretch>
            <a:fillRect/>
          </a:stretch>
        </p:blipFill>
        <p:spPr>
          <a:xfrm>
            <a:off x="431900" y="2016546"/>
            <a:ext cx="874993" cy="858405"/>
          </a:xfrm>
          <a:prstGeom prst="rect">
            <a:avLst/>
          </a:prstGeom>
        </p:spPr>
      </p:pic>
      <p:sp>
        <p:nvSpPr>
          <p:cNvPr id="373" name="Rounded Rectangle 372"/>
          <p:cNvSpPr/>
          <p:nvPr/>
        </p:nvSpPr>
        <p:spPr>
          <a:xfrm>
            <a:off x="8396166" y="6538249"/>
            <a:ext cx="180000" cy="180000"/>
          </a:xfrm>
          <a:prstGeom prst="roundRect">
            <a:avLst/>
          </a:prstGeom>
          <a:solidFill>
            <a:srgbClr val="09B89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smtClean="0">
              <a:solidFill>
                <a:schemeClr val="tx1"/>
              </a:solidFill>
            </a:endParaRPr>
          </a:p>
        </p:txBody>
      </p:sp>
      <p:sp>
        <p:nvSpPr>
          <p:cNvPr id="374" name="TextBox 373"/>
          <p:cNvSpPr txBox="1"/>
          <p:nvPr/>
        </p:nvSpPr>
        <p:spPr>
          <a:xfrm>
            <a:off x="8646185" y="6535916"/>
            <a:ext cx="1941370" cy="184666"/>
          </a:xfrm>
          <a:prstGeom prst="rect">
            <a:avLst/>
          </a:prstGeom>
          <a:noFill/>
        </p:spPr>
        <p:txBody>
          <a:bodyPr wrap="square" lIns="0" tIns="0" rIns="0" bIns="0" rtlCol="0">
            <a:spAutoFit/>
          </a:bodyPr>
          <a:lstStyle/>
          <a:p>
            <a:r>
              <a:rPr lang="en-GB" sz="1200" dirty="0" smtClean="0">
                <a:solidFill>
                  <a:srgbClr val="003755"/>
                </a:solidFill>
              </a:rPr>
              <a:t>Energy Efficiency</a:t>
            </a:r>
          </a:p>
        </p:txBody>
      </p:sp>
      <p:sp>
        <p:nvSpPr>
          <p:cNvPr id="375" name="Rounded Rectangle 374"/>
          <p:cNvSpPr/>
          <p:nvPr/>
        </p:nvSpPr>
        <p:spPr>
          <a:xfrm>
            <a:off x="10473817" y="6535917"/>
            <a:ext cx="180000" cy="180000"/>
          </a:xfrm>
          <a:prstGeom prst="roundRect">
            <a:avLst/>
          </a:prstGeom>
          <a:solidFill>
            <a:srgbClr val="CBE4E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smtClean="0">
              <a:solidFill>
                <a:schemeClr val="tx1"/>
              </a:solidFill>
            </a:endParaRPr>
          </a:p>
        </p:txBody>
      </p:sp>
      <p:sp>
        <p:nvSpPr>
          <p:cNvPr id="376" name="TextBox 375"/>
          <p:cNvSpPr txBox="1"/>
          <p:nvPr/>
        </p:nvSpPr>
        <p:spPr>
          <a:xfrm>
            <a:off x="10723836" y="6533583"/>
            <a:ext cx="1654118" cy="184666"/>
          </a:xfrm>
          <a:prstGeom prst="rect">
            <a:avLst/>
          </a:prstGeom>
          <a:noFill/>
        </p:spPr>
        <p:txBody>
          <a:bodyPr wrap="square" lIns="0" tIns="0" rIns="0" bIns="0" rtlCol="0">
            <a:spAutoFit/>
          </a:bodyPr>
          <a:lstStyle/>
          <a:p>
            <a:r>
              <a:rPr lang="en-US" sz="1200" dirty="0" smtClean="0">
                <a:solidFill>
                  <a:srgbClr val="003755"/>
                </a:solidFill>
              </a:rPr>
              <a:t>Other topics</a:t>
            </a:r>
          </a:p>
        </p:txBody>
      </p:sp>
      <p:sp>
        <p:nvSpPr>
          <p:cNvPr id="338" name="Rectangle 337"/>
          <p:cNvSpPr/>
          <p:nvPr/>
        </p:nvSpPr>
        <p:spPr>
          <a:xfrm>
            <a:off x="9728764" y="1444333"/>
            <a:ext cx="2948527" cy="600164"/>
          </a:xfrm>
          <a:prstGeom prst="rect">
            <a:avLst/>
          </a:prstGeom>
        </p:spPr>
        <p:txBody>
          <a:bodyPr wrap="square">
            <a:spAutoFit/>
          </a:bodyPr>
          <a:lstStyle/>
          <a:p>
            <a:pPr algn="ctr">
              <a:spcBef>
                <a:spcPts val="600"/>
              </a:spcBef>
              <a:buClr>
                <a:srgbClr val="003755"/>
              </a:buClr>
            </a:pPr>
            <a:r>
              <a:rPr lang="en-US" sz="1400" dirty="0">
                <a:solidFill>
                  <a:srgbClr val="003755"/>
                </a:solidFill>
                <a:latin typeface="Danske Human Medium Italic" panose="02000603050000020003" pitchFamily="2" charset="0"/>
              </a:rPr>
              <a:t>Topic addressed </a:t>
            </a:r>
            <a:endParaRPr lang="en-US" sz="1400" dirty="0" smtClean="0">
              <a:solidFill>
                <a:srgbClr val="003755"/>
              </a:solidFill>
              <a:latin typeface="Danske Human Medium Italic" panose="02000603050000020003" pitchFamily="2" charset="0"/>
            </a:endParaRPr>
          </a:p>
          <a:p>
            <a:pPr algn="ctr">
              <a:spcBef>
                <a:spcPts val="600"/>
              </a:spcBef>
              <a:buClr>
                <a:srgbClr val="003755"/>
              </a:buClr>
            </a:pPr>
            <a:r>
              <a:rPr lang="en-US" sz="1400" dirty="0" smtClean="0">
                <a:solidFill>
                  <a:srgbClr val="003755"/>
                </a:solidFill>
                <a:latin typeface="Danske Human Medium Italic" panose="02000603050000020003" pitchFamily="2" charset="0"/>
              </a:rPr>
              <a:t>in </a:t>
            </a:r>
            <a:r>
              <a:rPr lang="en-US" sz="1400" dirty="0">
                <a:solidFill>
                  <a:srgbClr val="003755"/>
                </a:solidFill>
                <a:latin typeface="Danske Human Medium Italic" panose="02000603050000020003" pitchFamily="2" charset="0"/>
              </a:rPr>
              <a:t>the following countries</a:t>
            </a:r>
          </a:p>
        </p:txBody>
      </p:sp>
      <p:sp>
        <p:nvSpPr>
          <p:cNvPr id="108" name="Rectangle 107"/>
          <p:cNvSpPr/>
          <p:nvPr/>
        </p:nvSpPr>
        <p:spPr>
          <a:xfrm>
            <a:off x="1280346" y="3958306"/>
            <a:ext cx="2670924" cy="461665"/>
          </a:xfrm>
          <a:prstGeom prst="rect">
            <a:avLst/>
          </a:prstGeom>
        </p:spPr>
        <p:txBody>
          <a:bodyPr wrap="none">
            <a:spAutoFit/>
          </a:bodyPr>
          <a:lstStyle/>
          <a:p>
            <a:r>
              <a:rPr lang="en-US" sz="2400" dirty="0" smtClean="0">
                <a:solidFill>
                  <a:srgbClr val="003755"/>
                </a:solidFill>
                <a:latin typeface="Danske Human Medium Italic" panose="02000603050000020003" pitchFamily="2" charset="0"/>
              </a:rPr>
              <a:t>Company Example</a:t>
            </a:r>
            <a:endParaRPr lang="en-US" sz="2400" dirty="0"/>
          </a:p>
        </p:txBody>
      </p:sp>
      <p:grpSp>
        <p:nvGrpSpPr>
          <p:cNvPr id="111" name="Group 110"/>
          <p:cNvGrpSpPr/>
          <p:nvPr/>
        </p:nvGrpSpPr>
        <p:grpSpPr>
          <a:xfrm>
            <a:off x="869396" y="5167769"/>
            <a:ext cx="5073389" cy="432938"/>
            <a:chOff x="876238" y="5160477"/>
            <a:chExt cx="5073389" cy="432938"/>
          </a:xfrm>
        </p:grpSpPr>
        <p:sp>
          <p:nvSpPr>
            <p:cNvPr id="112" name="TextBox 111"/>
            <p:cNvSpPr txBox="1"/>
            <p:nvPr/>
          </p:nvSpPr>
          <p:spPr>
            <a:xfrm>
              <a:off x="1397099" y="5160477"/>
              <a:ext cx="4552528" cy="369332"/>
            </a:xfrm>
            <a:prstGeom prst="rect">
              <a:avLst/>
            </a:prstGeom>
            <a:noFill/>
          </p:spPr>
          <p:txBody>
            <a:bodyPr wrap="square" lIns="0" tIns="0" rIns="0" bIns="0" rtlCol="0">
              <a:spAutoFit/>
            </a:bodyPr>
            <a:lstStyle/>
            <a:p>
              <a:r>
                <a:rPr lang="en-US" sz="1200" b="1" dirty="0" smtClean="0">
                  <a:solidFill>
                    <a:schemeClr val="tx2"/>
                  </a:solidFill>
                </a:rPr>
                <a:t>Sector: Basic materials</a:t>
              </a:r>
            </a:p>
            <a:p>
              <a:r>
                <a:rPr lang="en-US" sz="1200" i="1" dirty="0" smtClean="0">
                  <a:solidFill>
                    <a:schemeClr val="tx2"/>
                  </a:solidFill>
                </a:rPr>
                <a:t>“Company’s CO2 reductions.”</a:t>
              </a:r>
              <a:endParaRPr lang="en-US" sz="1200" i="1" dirty="0">
                <a:solidFill>
                  <a:schemeClr val="tx2"/>
                </a:solidFill>
              </a:endParaRPr>
            </a:p>
          </p:txBody>
        </p:sp>
        <p:pic>
          <p:nvPicPr>
            <p:cNvPr id="113" name="Germany_DE"/>
            <p:cNvPicPr>
              <a:picLocks noChangeAspect="1"/>
            </p:cNvPicPr>
            <p:nvPr>
              <p:custDataLst>
                <p:tags r:id="rId5"/>
              </p:custDataLst>
            </p:nvPr>
          </p:nvPicPr>
          <p:blipFill>
            <a:blip r:embed="rId96" cstate="print">
              <a:extLst>
                <a:ext uri="{28A0092B-C50C-407E-A947-70E740481C1C}">
                  <a14:useLocalDpi xmlns:a14="http://schemas.microsoft.com/office/drawing/2010/main" val="0"/>
                </a:ext>
              </a:extLst>
            </a:blip>
            <a:stretch>
              <a:fillRect/>
            </a:stretch>
          </p:blipFill>
          <p:spPr>
            <a:xfrm>
              <a:off x="876238" y="5165398"/>
              <a:ext cx="428017" cy="428017"/>
            </a:xfrm>
            <a:prstGeom prst="rect">
              <a:avLst/>
            </a:prstGeom>
          </p:spPr>
        </p:pic>
      </p:grpSp>
      <p:grpSp>
        <p:nvGrpSpPr>
          <p:cNvPr id="114" name="Group 113"/>
          <p:cNvGrpSpPr/>
          <p:nvPr/>
        </p:nvGrpSpPr>
        <p:grpSpPr>
          <a:xfrm>
            <a:off x="869396" y="4551690"/>
            <a:ext cx="5539635" cy="431173"/>
            <a:chOff x="874957" y="4551690"/>
            <a:chExt cx="5539635" cy="431173"/>
          </a:xfrm>
        </p:grpSpPr>
        <p:sp>
          <p:nvSpPr>
            <p:cNvPr id="115" name="TextBox 114"/>
            <p:cNvSpPr txBox="1"/>
            <p:nvPr/>
          </p:nvSpPr>
          <p:spPr>
            <a:xfrm>
              <a:off x="1397099" y="4551690"/>
              <a:ext cx="5017493" cy="369332"/>
            </a:xfrm>
            <a:prstGeom prst="rect">
              <a:avLst/>
            </a:prstGeom>
            <a:noFill/>
          </p:spPr>
          <p:txBody>
            <a:bodyPr wrap="square" lIns="0" tIns="0" rIns="0" bIns="0" rtlCol="0">
              <a:spAutoFit/>
            </a:bodyPr>
            <a:lstStyle/>
            <a:p>
              <a:r>
                <a:rPr lang="en-US" sz="1200" b="1" dirty="0" smtClean="0">
                  <a:solidFill>
                    <a:schemeClr val="tx2"/>
                  </a:solidFill>
                </a:rPr>
                <a:t>Sector: Energy</a:t>
              </a:r>
            </a:p>
            <a:p>
              <a:r>
                <a:rPr lang="en-US" sz="1200" i="1" dirty="0" smtClean="0">
                  <a:solidFill>
                    <a:schemeClr val="tx2"/>
                  </a:solidFill>
                </a:rPr>
                <a:t>“Discussed </a:t>
              </a:r>
              <a:r>
                <a:rPr lang="en-US" sz="1200" i="1" dirty="0">
                  <a:solidFill>
                    <a:schemeClr val="tx2"/>
                  </a:solidFill>
                </a:rPr>
                <a:t>about company’s </a:t>
              </a:r>
              <a:r>
                <a:rPr lang="en-US" sz="1200" i="1" dirty="0" smtClean="0">
                  <a:solidFill>
                    <a:schemeClr val="tx2"/>
                  </a:solidFill>
                </a:rPr>
                <a:t>energy </a:t>
              </a:r>
              <a:r>
                <a:rPr lang="en-US" sz="1200" i="1" dirty="0">
                  <a:solidFill>
                    <a:schemeClr val="tx2"/>
                  </a:solidFill>
                </a:rPr>
                <a:t>transition </a:t>
              </a:r>
              <a:r>
                <a:rPr lang="en-US" sz="1200" i="1" dirty="0" smtClean="0">
                  <a:solidFill>
                    <a:schemeClr val="tx2"/>
                  </a:solidFill>
                </a:rPr>
                <a:t>strategy.”</a:t>
              </a:r>
              <a:endParaRPr lang="en-US" sz="1200" i="1" dirty="0">
                <a:solidFill>
                  <a:schemeClr val="tx2"/>
                </a:solidFill>
              </a:endParaRPr>
            </a:p>
          </p:txBody>
        </p:sp>
        <p:pic>
          <p:nvPicPr>
            <p:cNvPr id="116" name="Great-Britain_GB"/>
            <p:cNvPicPr>
              <a:picLocks noChangeAspect="1"/>
            </p:cNvPicPr>
            <p:nvPr>
              <p:custDataLst>
                <p:tags r:id="rId4"/>
              </p:custDataLst>
            </p:nvPr>
          </p:nvPicPr>
          <p:blipFill>
            <a:blip r:embed="rId97">
              <a:extLst>
                <a:ext uri="{28A0092B-C50C-407E-A947-70E740481C1C}">
                  <a14:useLocalDpi xmlns:a14="http://schemas.microsoft.com/office/drawing/2010/main" val="0"/>
                </a:ext>
              </a:extLst>
            </a:blip>
            <a:stretch>
              <a:fillRect/>
            </a:stretch>
          </p:blipFill>
          <p:spPr>
            <a:xfrm>
              <a:off x="874957" y="4553095"/>
              <a:ext cx="430578" cy="429768"/>
            </a:xfrm>
            <a:prstGeom prst="rect">
              <a:avLst/>
            </a:prstGeom>
          </p:spPr>
        </p:pic>
      </p:grpSp>
      <p:grpSp>
        <p:nvGrpSpPr>
          <p:cNvPr id="5" name="Group 4"/>
          <p:cNvGrpSpPr/>
          <p:nvPr/>
        </p:nvGrpSpPr>
        <p:grpSpPr>
          <a:xfrm>
            <a:off x="869396" y="5785613"/>
            <a:ext cx="5390806" cy="561985"/>
            <a:chOff x="869396" y="5785613"/>
            <a:chExt cx="5390806" cy="561985"/>
          </a:xfrm>
        </p:grpSpPr>
        <p:sp>
          <p:nvSpPr>
            <p:cNvPr id="118" name="TextBox 117"/>
            <p:cNvSpPr txBox="1"/>
            <p:nvPr/>
          </p:nvSpPr>
          <p:spPr>
            <a:xfrm>
              <a:off x="1400675" y="5793600"/>
              <a:ext cx="4859527" cy="553998"/>
            </a:xfrm>
            <a:prstGeom prst="rect">
              <a:avLst/>
            </a:prstGeom>
            <a:noFill/>
          </p:spPr>
          <p:txBody>
            <a:bodyPr wrap="square" lIns="0" tIns="0" rIns="0" bIns="0" rtlCol="0">
              <a:spAutoFit/>
            </a:bodyPr>
            <a:lstStyle/>
            <a:p>
              <a:r>
                <a:rPr lang="en-US" sz="1200" b="1" dirty="0" smtClean="0">
                  <a:solidFill>
                    <a:schemeClr val="tx2"/>
                  </a:solidFill>
                </a:rPr>
                <a:t>Sector: Industrial</a:t>
              </a:r>
            </a:p>
            <a:p>
              <a:r>
                <a:rPr lang="en-US" sz="1200" i="1" dirty="0" smtClean="0">
                  <a:solidFill>
                    <a:schemeClr val="tx2"/>
                  </a:solidFill>
                </a:rPr>
                <a:t>“Discussed about company’s sustainability targets to reduce CO2 </a:t>
              </a:r>
              <a:r>
                <a:rPr lang="en-US" sz="1200" i="1" dirty="0">
                  <a:solidFill>
                    <a:schemeClr val="tx2"/>
                  </a:solidFill>
                </a:rPr>
                <a:t>emissions.”</a:t>
              </a:r>
            </a:p>
          </p:txBody>
        </p:sp>
        <p:pic>
          <p:nvPicPr>
            <p:cNvPr id="120" name="Sweden_SE"/>
            <p:cNvPicPr>
              <a:picLocks noChangeAspect="1"/>
            </p:cNvPicPr>
            <p:nvPr>
              <p:custDataLst>
                <p:tags r:id="rId3"/>
              </p:custDataLst>
            </p:nvPr>
          </p:nvPicPr>
          <p:blipFill>
            <a:blip r:embed="rId98">
              <a:extLst>
                <a:ext uri="{28A0092B-C50C-407E-A947-70E740481C1C}">
                  <a14:useLocalDpi xmlns:a14="http://schemas.microsoft.com/office/drawing/2010/main" val="0"/>
                </a:ext>
              </a:extLst>
            </a:blip>
            <a:stretch>
              <a:fillRect/>
            </a:stretch>
          </p:blipFill>
          <p:spPr>
            <a:xfrm>
              <a:off x="869396" y="5785613"/>
              <a:ext cx="450000" cy="450000"/>
            </a:xfrm>
            <a:prstGeom prst="rect">
              <a:avLst/>
            </a:prstGeom>
          </p:spPr>
        </p:pic>
      </p:grpSp>
    </p:spTree>
    <p:extLst>
      <p:ext uri="{BB962C8B-B14F-4D97-AF65-F5344CB8AC3E}">
        <p14:creationId xmlns:p14="http://schemas.microsoft.com/office/powerpoint/2010/main" val="11193960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6099048" cy="6858000"/>
          </a:xfrm>
          <a:prstGeom prst="rect">
            <a:avLst/>
          </a:prstGeom>
          <a:solidFill>
            <a:srgbClr val="EFF0F1"/>
          </a:solidFill>
          <a:ln>
            <a:noFill/>
          </a:ln>
        </p:spPr>
        <p:style>
          <a:lnRef idx="3">
            <a:schemeClr val="lt1"/>
          </a:lnRef>
          <a:fillRef idx="1">
            <a:schemeClr val="accent1"/>
          </a:fillRef>
          <a:effectRef idx="1">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2" name="Content Placeholder 1"/>
          <p:cNvSpPr>
            <a:spLocks noGrp="1"/>
          </p:cNvSpPr>
          <p:nvPr>
            <p:ph sz="quarter" idx="4294967295"/>
          </p:nvPr>
        </p:nvSpPr>
        <p:spPr>
          <a:xfrm>
            <a:off x="431901" y="1362203"/>
            <a:ext cx="4652163" cy="5040314"/>
          </a:xfrm>
          <a:prstGeom prst="rect">
            <a:avLst/>
          </a:prstGeom>
        </p:spPr>
        <p:txBody>
          <a:bodyPr/>
          <a:lstStyle/>
          <a:p>
            <a:pPr marL="0" indent="0">
              <a:spcAft>
                <a:spcPts val="900"/>
              </a:spcAft>
              <a:buNone/>
            </a:pPr>
            <a:r>
              <a:rPr lang="en-US" sz="1400" dirty="0" smtClean="0">
                <a:solidFill>
                  <a:srgbClr val="003755"/>
                </a:solidFill>
                <a:latin typeface="+mj-lt"/>
              </a:rPr>
              <a:t>When customers entrust us with their assets and savings, it is our duty to serve their interests by providing investment solutions with the goal to deliver competitive and long-term performance. Our firm commitment to </a:t>
            </a:r>
            <a:r>
              <a:rPr lang="en-US" sz="1400" b="1" dirty="0" smtClean="0">
                <a:solidFill>
                  <a:srgbClr val="003755"/>
                </a:solidFill>
                <a:latin typeface="+mj-lt"/>
              </a:rPr>
              <a:t>Sustainable Investment with ESG Inside </a:t>
            </a:r>
            <a:r>
              <a:rPr lang="en-US" sz="1400" dirty="0" smtClean="0">
                <a:solidFill>
                  <a:srgbClr val="003755"/>
                </a:solidFill>
                <a:latin typeface="+mj-lt"/>
              </a:rPr>
              <a:t>is an integral part of this duty. </a:t>
            </a:r>
          </a:p>
          <a:p>
            <a:pPr marL="0" indent="0">
              <a:spcAft>
                <a:spcPts val="900"/>
              </a:spcAft>
              <a:buNone/>
            </a:pPr>
            <a:r>
              <a:rPr lang="en-US" sz="1400" b="1" dirty="0" smtClean="0">
                <a:solidFill>
                  <a:srgbClr val="003755"/>
                </a:solidFill>
                <a:latin typeface="+mj-lt"/>
              </a:rPr>
              <a:t>ESG Inside </a:t>
            </a:r>
            <a:r>
              <a:rPr lang="en-US" sz="1400" dirty="0" smtClean="0">
                <a:solidFill>
                  <a:srgbClr val="003755"/>
                </a:solidFill>
                <a:latin typeface="+mj-lt"/>
              </a:rPr>
              <a:t>is about making better-informed investment decisions – addressing issues of risk, problems, and dilemmas, and influencing portfolio companies through </a:t>
            </a:r>
            <a:r>
              <a:rPr lang="en-US" sz="1400" b="1" dirty="0" smtClean="0">
                <a:solidFill>
                  <a:srgbClr val="003755"/>
                </a:solidFill>
                <a:latin typeface="+mj-lt"/>
              </a:rPr>
              <a:t>active ownership </a:t>
            </a:r>
            <a:r>
              <a:rPr lang="en-US" sz="1400" dirty="0" smtClean="0">
                <a:solidFill>
                  <a:srgbClr val="003755"/>
                </a:solidFill>
                <a:latin typeface="+mj-lt"/>
              </a:rPr>
              <a:t>to contribute to a positive outcome.</a:t>
            </a:r>
          </a:p>
          <a:p>
            <a:pPr marL="0" indent="0">
              <a:spcAft>
                <a:spcPts val="900"/>
              </a:spcAft>
              <a:buNone/>
            </a:pPr>
            <a:r>
              <a:rPr lang="en-US" sz="1400" b="1" dirty="0" smtClean="0">
                <a:solidFill>
                  <a:srgbClr val="003755"/>
                </a:solidFill>
                <a:latin typeface="+mj-lt"/>
              </a:rPr>
              <a:t>Active ownership </a:t>
            </a:r>
            <a:r>
              <a:rPr lang="en-US" sz="1400" dirty="0" smtClean="0">
                <a:solidFill>
                  <a:srgbClr val="003755"/>
                </a:solidFill>
                <a:latin typeface="+mj-lt"/>
              </a:rPr>
              <a:t>– through direct dialogue and voting at the annual general meetings – is an important part of our ability to create long-term value to the companies we invest in and to our customers. </a:t>
            </a:r>
          </a:p>
          <a:p>
            <a:pPr marL="0" indent="0">
              <a:spcAft>
                <a:spcPts val="900"/>
              </a:spcAft>
              <a:buNone/>
            </a:pPr>
            <a:r>
              <a:rPr lang="en-US" sz="1400" dirty="0" smtClean="0">
                <a:solidFill>
                  <a:srgbClr val="003755"/>
                </a:solidFill>
                <a:latin typeface="+mj-lt"/>
              </a:rPr>
              <a:t>We believe it is more responsible to </a:t>
            </a:r>
            <a:r>
              <a:rPr lang="en-US" sz="1400" b="1" dirty="0" smtClean="0">
                <a:solidFill>
                  <a:srgbClr val="003755"/>
                </a:solidFill>
                <a:latin typeface="+mj-lt"/>
              </a:rPr>
              <a:t>address material ESG matters </a:t>
            </a:r>
            <a:r>
              <a:rPr lang="en-US" sz="1400" dirty="0" smtClean="0">
                <a:solidFill>
                  <a:srgbClr val="003755"/>
                </a:solidFill>
                <a:latin typeface="+mj-lt"/>
              </a:rPr>
              <a:t>as investors rather than refraining from investing when issues of concern arise, leaving the problem to someone else to solve. Our portfolio managers are the change agents who can impact companies to manage risks and opportunities.</a:t>
            </a:r>
          </a:p>
          <a:p>
            <a:pPr marL="0" indent="0">
              <a:spcAft>
                <a:spcPts val="900"/>
              </a:spcAft>
              <a:buNone/>
            </a:pPr>
            <a:r>
              <a:rPr lang="en-US" sz="1400" dirty="0" smtClean="0">
                <a:solidFill>
                  <a:srgbClr val="003755"/>
                </a:solidFill>
                <a:latin typeface="+mj-lt"/>
              </a:rPr>
              <a:t>The aim of our </a:t>
            </a:r>
            <a:r>
              <a:rPr lang="en-US" sz="1400" b="1" dirty="0" smtClean="0">
                <a:solidFill>
                  <a:srgbClr val="003755"/>
                </a:solidFill>
                <a:latin typeface="+mj-lt"/>
              </a:rPr>
              <a:t>Active Ownership Report </a:t>
            </a:r>
            <a:r>
              <a:rPr lang="en-US" sz="1400" dirty="0" smtClean="0">
                <a:solidFill>
                  <a:srgbClr val="003755"/>
                </a:solidFill>
                <a:latin typeface="+mj-lt"/>
              </a:rPr>
              <a:t>covering two parts ‘</a:t>
            </a:r>
            <a:r>
              <a:rPr lang="en-US" sz="1400" b="1" dirty="0" smtClean="0">
                <a:solidFill>
                  <a:srgbClr val="003755"/>
                </a:solidFill>
                <a:latin typeface="+mj-lt"/>
              </a:rPr>
              <a:t>Engagement Report</a:t>
            </a:r>
            <a:r>
              <a:rPr lang="en-US" sz="1400" dirty="0" smtClean="0">
                <a:solidFill>
                  <a:srgbClr val="003755"/>
                </a:solidFill>
                <a:latin typeface="+mj-lt"/>
              </a:rPr>
              <a:t>’ and ‘</a:t>
            </a:r>
            <a:r>
              <a:rPr lang="en-US" sz="1400" b="1" dirty="0" smtClean="0">
                <a:solidFill>
                  <a:srgbClr val="003755"/>
                </a:solidFill>
                <a:latin typeface="+mj-lt"/>
              </a:rPr>
              <a:t>Voting Report</a:t>
            </a:r>
            <a:r>
              <a:rPr lang="en-US" sz="1400" dirty="0" smtClean="0">
                <a:solidFill>
                  <a:srgbClr val="003755"/>
                </a:solidFill>
                <a:latin typeface="+mj-lt"/>
              </a:rPr>
              <a:t>’ is to provide our customers and stakeholders with regular updates on our progress and results.</a:t>
            </a:r>
            <a:endParaRPr lang="en-US" sz="1400" dirty="0">
              <a:solidFill>
                <a:srgbClr val="003755"/>
              </a:solidFill>
              <a:latin typeface="+mj-lt"/>
            </a:endParaRPr>
          </a:p>
        </p:txBody>
      </p:sp>
      <p:sp>
        <p:nvSpPr>
          <p:cNvPr id="4" name="Title 4"/>
          <p:cNvSpPr>
            <a:spLocks noGrp="1"/>
          </p:cNvSpPr>
          <p:nvPr>
            <p:ph type="title"/>
          </p:nvPr>
        </p:nvSpPr>
        <p:spPr>
          <a:xfrm>
            <a:off x="432198" y="727199"/>
            <a:ext cx="9823950" cy="684000"/>
          </a:xfrm>
        </p:spPr>
        <p:txBody>
          <a:bodyPr/>
          <a:lstStyle/>
          <a:p>
            <a:r>
              <a:rPr lang="en-US" dirty="0" smtClean="0"/>
              <a:t>Active Ownership Report</a:t>
            </a:r>
            <a:r>
              <a:rPr lang="en-US" smtClean="0"/>
              <a:t>: H1 2020</a:t>
            </a:r>
            <a:endParaRPr lang="en-US" dirty="0"/>
          </a:p>
        </p:txBody>
      </p:sp>
      <p:grpSp>
        <p:nvGrpSpPr>
          <p:cNvPr id="8" name="Group 7"/>
          <p:cNvGrpSpPr/>
          <p:nvPr/>
        </p:nvGrpSpPr>
        <p:grpSpPr>
          <a:xfrm>
            <a:off x="6953103" y="3023514"/>
            <a:ext cx="4352263" cy="1994691"/>
            <a:chOff x="6953103" y="3023514"/>
            <a:chExt cx="4352263" cy="1994691"/>
          </a:xfrm>
        </p:grpSpPr>
        <p:grpSp>
          <p:nvGrpSpPr>
            <p:cNvPr id="3" name="Group 2"/>
            <p:cNvGrpSpPr>
              <a:grpSpLocks noChangeAspect="1"/>
            </p:cNvGrpSpPr>
            <p:nvPr/>
          </p:nvGrpSpPr>
          <p:grpSpPr>
            <a:xfrm>
              <a:off x="7199242" y="3023514"/>
              <a:ext cx="1612895" cy="1397000"/>
              <a:chOff x="7661304" y="1950205"/>
              <a:chExt cx="1290320" cy="1117600"/>
            </a:xfrm>
          </p:grpSpPr>
          <p:sp>
            <p:nvSpPr>
              <p:cNvPr id="6" name="Hexagon 5"/>
              <p:cNvSpPr/>
              <p:nvPr/>
            </p:nvSpPr>
            <p:spPr>
              <a:xfrm>
                <a:off x="7661304" y="1950205"/>
                <a:ext cx="1290320" cy="1117600"/>
              </a:xfrm>
              <a:prstGeom prst="hexagon">
                <a:avLst/>
              </a:prstGeom>
              <a:solidFill>
                <a:schemeClr val="dk2"/>
              </a:solidFill>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smtClean="0">
                  <a:solidFill>
                    <a:schemeClr val="tx1"/>
                  </a:solidFill>
                </a:endParaRPr>
              </a:p>
            </p:txBody>
          </p:sp>
          <p:sp>
            <p:nvSpPr>
              <p:cNvPr id="14" name="Develop team"/>
              <p:cNvSpPr>
                <a:spLocks noChangeAspect="1"/>
              </p:cNvSpPr>
              <p:nvPr>
                <p:custDataLst>
                  <p:tags r:id="rId2"/>
                </p:custDataLst>
              </p:nvPr>
            </p:nvSpPr>
            <p:spPr bwMode="auto">
              <a:xfrm>
                <a:off x="8014583" y="2257895"/>
                <a:ext cx="583760" cy="502219"/>
              </a:xfrm>
              <a:custGeom>
                <a:avLst/>
                <a:gdLst>
                  <a:gd name="connsiteX0" fmla="*/ 6610350 w 7978774"/>
                  <a:gd name="connsiteY0" fmla="*/ 4841874 h 6864349"/>
                  <a:gd name="connsiteX1" fmla="*/ 5850062 w 7978774"/>
                  <a:gd name="connsiteY1" fmla="*/ 5008885 h 6864349"/>
                  <a:gd name="connsiteX2" fmla="*/ 5430837 w 7978774"/>
                  <a:gd name="connsiteY2" fmla="*/ 5534790 h 6864349"/>
                  <a:gd name="connsiteX3" fmla="*/ 5430837 w 7978774"/>
                  <a:gd name="connsiteY3" fmla="*/ 6675437 h 6864349"/>
                  <a:gd name="connsiteX4" fmla="*/ 5779007 w 7978774"/>
                  <a:gd name="connsiteY4" fmla="*/ 6675437 h 6864349"/>
                  <a:gd name="connsiteX5" fmla="*/ 5779007 w 7978774"/>
                  <a:gd name="connsiteY5" fmla="*/ 5883025 h 6864349"/>
                  <a:gd name="connsiteX6" fmla="*/ 5871378 w 7978774"/>
                  <a:gd name="connsiteY6" fmla="*/ 5790636 h 6864349"/>
                  <a:gd name="connsiteX7" fmla="*/ 5963749 w 7978774"/>
                  <a:gd name="connsiteY7" fmla="*/ 5883025 h 6864349"/>
                  <a:gd name="connsiteX8" fmla="*/ 5963749 w 7978774"/>
                  <a:gd name="connsiteY8" fmla="*/ 6675437 h 6864349"/>
                  <a:gd name="connsiteX9" fmla="*/ 7253397 w 7978774"/>
                  <a:gd name="connsiteY9" fmla="*/ 6675437 h 6864349"/>
                  <a:gd name="connsiteX10" fmla="*/ 7253397 w 7978774"/>
                  <a:gd name="connsiteY10" fmla="*/ 5883025 h 6864349"/>
                  <a:gd name="connsiteX11" fmla="*/ 7349321 w 7978774"/>
                  <a:gd name="connsiteY11" fmla="*/ 5790636 h 6864349"/>
                  <a:gd name="connsiteX12" fmla="*/ 7441693 w 7978774"/>
                  <a:gd name="connsiteY12" fmla="*/ 5883025 h 6864349"/>
                  <a:gd name="connsiteX13" fmla="*/ 7441693 w 7978774"/>
                  <a:gd name="connsiteY13" fmla="*/ 6675437 h 6864349"/>
                  <a:gd name="connsiteX14" fmla="*/ 7789862 w 7978774"/>
                  <a:gd name="connsiteY14" fmla="*/ 6675437 h 6864349"/>
                  <a:gd name="connsiteX15" fmla="*/ 7789862 w 7978774"/>
                  <a:gd name="connsiteY15" fmla="*/ 5541897 h 6864349"/>
                  <a:gd name="connsiteX16" fmla="*/ 7367085 w 7978774"/>
                  <a:gd name="connsiteY16" fmla="*/ 5008885 h 6864349"/>
                  <a:gd name="connsiteX17" fmla="*/ 6610350 w 7978774"/>
                  <a:gd name="connsiteY17" fmla="*/ 4841874 h 6864349"/>
                  <a:gd name="connsiteX18" fmla="*/ 1368425 w 7978774"/>
                  <a:gd name="connsiteY18" fmla="*/ 4841874 h 6864349"/>
                  <a:gd name="connsiteX19" fmla="*/ 608137 w 7978774"/>
                  <a:gd name="connsiteY19" fmla="*/ 5008885 h 6864349"/>
                  <a:gd name="connsiteX20" fmla="*/ 188912 w 7978774"/>
                  <a:gd name="connsiteY20" fmla="*/ 5534790 h 6864349"/>
                  <a:gd name="connsiteX21" fmla="*/ 188912 w 7978774"/>
                  <a:gd name="connsiteY21" fmla="*/ 6675437 h 6864349"/>
                  <a:gd name="connsiteX22" fmla="*/ 537082 w 7978774"/>
                  <a:gd name="connsiteY22" fmla="*/ 6675437 h 6864349"/>
                  <a:gd name="connsiteX23" fmla="*/ 537082 w 7978774"/>
                  <a:gd name="connsiteY23" fmla="*/ 5883025 h 6864349"/>
                  <a:gd name="connsiteX24" fmla="*/ 629453 w 7978774"/>
                  <a:gd name="connsiteY24" fmla="*/ 5790636 h 6864349"/>
                  <a:gd name="connsiteX25" fmla="*/ 721825 w 7978774"/>
                  <a:gd name="connsiteY25" fmla="*/ 5883025 h 6864349"/>
                  <a:gd name="connsiteX26" fmla="*/ 721825 w 7978774"/>
                  <a:gd name="connsiteY26" fmla="*/ 6675437 h 6864349"/>
                  <a:gd name="connsiteX27" fmla="*/ 2011472 w 7978774"/>
                  <a:gd name="connsiteY27" fmla="*/ 6675437 h 6864349"/>
                  <a:gd name="connsiteX28" fmla="*/ 2011472 w 7978774"/>
                  <a:gd name="connsiteY28" fmla="*/ 5883025 h 6864349"/>
                  <a:gd name="connsiteX29" fmla="*/ 2107397 w 7978774"/>
                  <a:gd name="connsiteY29" fmla="*/ 5790636 h 6864349"/>
                  <a:gd name="connsiteX30" fmla="*/ 2199768 w 7978774"/>
                  <a:gd name="connsiteY30" fmla="*/ 5883025 h 6864349"/>
                  <a:gd name="connsiteX31" fmla="*/ 2199768 w 7978774"/>
                  <a:gd name="connsiteY31" fmla="*/ 6675437 h 6864349"/>
                  <a:gd name="connsiteX32" fmla="*/ 2547937 w 7978774"/>
                  <a:gd name="connsiteY32" fmla="*/ 6675437 h 6864349"/>
                  <a:gd name="connsiteX33" fmla="*/ 2547937 w 7978774"/>
                  <a:gd name="connsiteY33" fmla="*/ 5541897 h 6864349"/>
                  <a:gd name="connsiteX34" fmla="*/ 2125160 w 7978774"/>
                  <a:gd name="connsiteY34" fmla="*/ 5008885 h 6864349"/>
                  <a:gd name="connsiteX35" fmla="*/ 1368425 w 7978774"/>
                  <a:gd name="connsiteY35" fmla="*/ 4841874 h 6864349"/>
                  <a:gd name="connsiteX36" fmla="*/ 3983831 w 7978774"/>
                  <a:gd name="connsiteY36" fmla="*/ 4006849 h 6864349"/>
                  <a:gd name="connsiteX37" fmla="*/ 4076255 w 7978774"/>
                  <a:gd name="connsiteY37" fmla="*/ 4099212 h 6864349"/>
                  <a:gd name="connsiteX38" fmla="*/ 4076255 w 7978774"/>
                  <a:gd name="connsiteY38" fmla="*/ 4873640 h 6864349"/>
                  <a:gd name="connsiteX39" fmla="*/ 4748106 w 7978774"/>
                  <a:gd name="connsiteY39" fmla="*/ 5282169 h 6864349"/>
                  <a:gd name="connsiteX40" fmla="*/ 4780099 w 7978774"/>
                  <a:gd name="connsiteY40" fmla="*/ 5410056 h 6864349"/>
                  <a:gd name="connsiteX41" fmla="*/ 4698339 w 7978774"/>
                  <a:gd name="connsiteY41" fmla="*/ 5456237 h 6864349"/>
                  <a:gd name="connsiteX42" fmla="*/ 4652127 w 7978774"/>
                  <a:gd name="connsiteY42" fmla="*/ 5442028 h 6864349"/>
                  <a:gd name="connsiteX43" fmla="*/ 3983831 w 7978774"/>
                  <a:gd name="connsiteY43" fmla="*/ 5033499 h 6864349"/>
                  <a:gd name="connsiteX44" fmla="*/ 3311980 w 7978774"/>
                  <a:gd name="connsiteY44" fmla="*/ 5431370 h 6864349"/>
                  <a:gd name="connsiteX45" fmla="*/ 3265767 w 7978774"/>
                  <a:gd name="connsiteY45" fmla="*/ 5442028 h 6864349"/>
                  <a:gd name="connsiteX46" fmla="*/ 3184008 w 7978774"/>
                  <a:gd name="connsiteY46" fmla="*/ 5395846 h 6864349"/>
                  <a:gd name="connsiteX47" fmla="*/ 3216001 w 7978774"/>
                  <a:gd name="connsiteY47" fmla="*/ 5267959 h 6864349"/>
                  <a:gd name="connsiteX48" fmla="*/ 3887852 w 7978774"/>
                  <a:gd name="connsiteY48" fmla="*/ 4873640 h 6864349"/>
                  <a:gd name="connsiteX49" fmla="*/ 3887852 w 7978774"/>
                  <a:gd name="connsiteY49" fmla="*/ 4099212 h 6864349"/>
                  <a:gd name="connsiteX50" fmla="*/ 3983831 w 7978774"/>
                  <a:gd name="connsiteY50" fmla="*/ 4006849 h 6864349"/>
                  <a:gd name="connsiteX51" fmla="*/ 6326450 w 7978774"/>
                  <a:gd name="connsiteY51" fmla="*/ 3686174 h 6864349"/>
                  <a:gd name="connsiteX52" fmla="*/ 5981993 w 7978774"/>
                  <a:gd name="connsiteY52" fmla="*/ 3871001 h 6864349"/>
                  <a:gd name="connsiteX53" fmla="*/ 5964237 w 7978774"/>
                  <a:gd name="connsiteY53" fmla="*/ 4009622 h 6864349"/>
                  <a:gd name="connsiteX54" fmla="*/ 6610538 w 7978774"/>
                  <a:gd name="connsiteY54" fmla="*/ 4652962 h 6864349"/>
                  <a:gd name="connsiteX55" fmla="*/ 7253287 w 7978774"/>
                  <a:gd name="connsiteY55" fmla="*/ 4009622 h 6864349"/>
                  <a:gd name="connsiteX56" fmla="*/ 7228429 w 7978774"/>
                  <a:gd name="connsiteY56" fmla="*/ 3842566 h 6864349"/>
                  <a:gd name="connsiteX57" fmla="*/ 6326450 w 7978774"/>
                  <a:gd name="connsiteY57" fmla="*/ 3686174 h 6864349"/>
                  <a:gd name="connsiteX58" fmla="*/ 1083383 w 7978774"/>
                  <a:gd name="connsiteY58" fmla="*/ 3686174 h 6864349"/>
                  <a:gd name="connsiteX59" fmla="*/ 738502 w 7978774"/>
                  <a:gd name="connsiteY59" fmla="*/ 3871001 h 6864349"/>
                  <a:gd name="connsiteX60" fmla="*/ 720724 w 7978774"/>
                  <a:gd name="connsiteY60" fmla="*/ 4009622 h 6864349"/>
                  <a:gd name="connsiteX61" fmla="*/ 1367821 w 7978774"/>
                  <a:gd name="connsiteY61" fmla="*/ 4652962 h 6864349"/>
                  <a:gd name="connsiteX62" fmla="*/ 2011362 w 7978774"/>
                  <a:gd name="connsiteY62" fmla="*/ 4009622 h 6864349"/>
                  <a:gd name="connsiteX63" fmla="*/ 1986474 w 7978774"/>
                  <a:gd name="connsiteY63" fmla="*/ 3842566 h 6864349"/>
                  <a:gd name="connsiteX64" fmla="*/ 1083383 w 7978774"/>
                  <a:gd name="connsiteY64" fmla="*/ 3686174 h 6864349"/>
                  <a:gd name="connsiteX65" fmla="*/ 1368425 w 7978774"/>
                  <a:gd name="connsiteY65" fmla="*/ 3178174 h 6864349"/>
                  <a:gd name="connsiteX66" fmla="*/ 1517707 w 7978774"/>
                  <a:gd name="connsiteY66" fmla="*/ 3192393 h 6864349"/>
                  <a:gd name="connsiteX67" fmla="*/ 1563914 w 7978774"/>
                  <a:gd name="connsiteY67" fmla="*/ 3203057 h 6864349"/>
                  <a:gd name="connsiteX68" fmla="*/ 1656327 w 7978774"/>
                  <a:gd name="connsiteY68" fmla="*/ 3231494 h 6864349"/>
                  <a:gd name="connsiteX69" fmla="*/ 1709642 w 7978774"/>
                  <a:gd name="connsiteY69" fmla="*/ 3252822 h 6864349"/>
                  <a:gd name="connsiteX70" fmla="*/ 1777175 w 7978774"/>
                  <a:gd name="connsiteY70" fmla="*/ 3291924 h 6864349"/>
                  <a:gd name="connsiteX71" fmla="*/ 2143273 w 7978774"/>
                  <a:gd name="connsiteY71" fmla="*/ 3714926 h 6864349"/>
                  <a:gd name="connsiteX72" fmla="*/ 2153936 w 7978774"/>
                  <a:gd name="connsiteY72" fmla="*/ 3746918 h 6864349"/>
                  <a:gd name="connsiteX73" fmla="*/ 2200143 w 7978774"/>
                  <a:gd name="connsiteY73" fmla="*/ 4009963 h 6864349"/>
                  <a:gd name="connsiteX74" fmla="*/ 1830490 w 7978774"/>
                  <a:gd name="connsiteY74" fmla="*/ 4699566 h 6864349"/>
                  <a:gd name="connsiteX75" fmla="*/ 2214360 w 7978774"/>
                  <a:gd name="connsiteY75" fmla="*/ 4845306 h 6864349"/>
                  <a:gd name="connsiteX76" fmla="*/ 2736849 w 7978774"/>
                  <a:gd name="connsiteY76" fmla="*/ 5542018 h 6864349"/>
                  <a:gd name="connsiteX77" fmla="*/ 2736849 w 7978774"/>
                  <a:gd name="connsiteY77" fmla="*/ 6768373 h 6864349"/>
                  <a:gd name="connsiteX78" fmla="*/ 2640882 w 7978774"/>
                  <a:gd name="connsiteY78" fmla="*/ 6864349 h 6864349"/>
                  <a:gd name="connsiteX79" fmla="*/ 92413 w 7978774"/>
                  <a:gd name="connsiteY79" fmla="*/ 6864349 h 6864349"/>
                  <a:gd name="connsiteX80" fmla="*/ 0 w 7978774"/>
                  <a:gd name="connsiteY80" fmla="*/ 6768373 h 6864349"/>
                  <a:gd name="connsiteX81" fmla="*/ 0 w 7978774"/>
                  <a:gd name="connsiteY81" fmla="*/ 5534909 h 6864349"/>
                  <a:gd name="connsiteX82" fmla="*/ 518935 w 7978774"/>
                  <a:gd name="connsiteY82" fmla="*/ 4845306 h 6864349"/>
                  <a:gd name="connsiteX83" fmla="*/ 902805 w 7978774"/>
                  <a:gd name="connsiteY83" fmla="*/ 4699566 h 6864349"/>
                  <a:gd name="connsiteX84" fmla="*/ 536706 w 7978774"/>
                  <a:gd name="connsiteY84" fmla="*/ 4009963 h 6864349"/>
                  <a:gd name="connsiteX85" fmla="*/ 863707 w 7978774"/>
                  <a:gd name="connsiteY85" fmla="*/ 3352352 h 6864349"/>
                  <a:gd name="connsiteX86" fmla="*/ 877924 w 7978774"/>
                  <a:gd name="connsiteY86" fmla="*/ 3341688 h 6864349"/>
                  <a:gd name="connsiteX87" fmla="*/ 952565 w 7978774"/>
                  <a:gd name="connsiteY87" fmla="*/ 3291924 h 6864349"/>
                  <a:gd name="connsiteX88" fmla="*/ 1009435 w 7978774"/>
                  <a:gd name="connsiteY88" fmla="*/ 3263486 h 6864349"/>
                  <a:gd name="connsiteX89" fmla="*/ 1076968 w 7978774"/>
                  <a:gd name="connsiteY89" fmla="*/ 3231494 h 6864349"/>
                  <a:gd name="connsiteX90" fmla="*/ 1162272 w 7978774"/>
                  <a:gd name="connsiteY90" fmla="*/ 3206611 h 6864349"/>
                  <a:gd name="connsiteX91" fmla="*/ 1215587 w 7978774"/>
                  <a:gd name="connsiteY91" fmla="*/ 3192393 h 6864349"/>
                  <a:gd name="connsiteX92" fmla="*/ 1368425 w 7978774"/>
                  <a:gd name="connsiteY92" fmla="*/ 3178174 h 6864349"/>
                  <a:gd name="connsiteX93" fmla="*/ 6610349 w 7978774"/>
                  <a:gd name="connsiteY93" fmla="*/ 3178174 h 6864349"/>
                  <a:gd name="connsiteX94" fmla="*/ 6759632 w 7978774"/>
                  <a:gd name="connsiteY94" fmla="*/ 3192393 h 6864349"/>
                  <a:gd name="connsiteX95" fmla="*/ 6805838 w 7978774"/>
                  <a:gd name="connsiteY95" fmla="*/ 3203057 h 6864349"/>
                  <a:gd name="connsiteX96" fmla="*/ 6898252 w 7978774"/>
                  <a:gd name="connsiteY96" fmla="*/ 3231494 h 6864349"/>
                  <a:gd name="connsiteX97" fmla="*/ 6951567 w 7978774"/>
                  <a:gd name="connsiteY97" fmla="*/ 3252822 h 6864349"/>
                  <a:gd name="connsiteX98" fmla="*/ 7019100 w 7978774"/>
                  <a:gd name="connsiteY98" fmla="*/ 3291924 h 6864349"/>
                  <a:gd name="connsiteX99" fmla="*/ 7385198 w 7978774"/>
                  <a:gd name="connsiteY99" fmla="*/ 3714926 h 6864349"/>
                  <a:gd name="connsiteX100" fmla="*/ 7395861 w 7978774"/>
                  <a:gd name="connsiteY100" fmla="*/ 3746918 h 6864349"/>
                  <a:gd name="connsiteX101" fmla="*/ 7442067 w 7978774"/>
                  <a:gd name="connsiteY101" fmla="*/ 4009963 h 6864349"/>
                  <a:gd name="connsiteX102" fmla="*/ 7072415 w 7978774"/>
                  <a:gd name="connsiteY102" fmla="*/ 4699566 h 6864349"/>
                  <a:gd name="connsiteX103" fmla="*/ 7456285 w 7978774"/>
                  <a:gd name="connsiteY103" fmla="*/ 4845306 h 6864349"/>
                  <a:gd name="connsiteX104" fmla="*/ 7978774 w 7978774"/>
                  <a:gd name="connsiteY104" fmla="*/ 5542018 h 6864349"/>
                  <a:gd name="connsiteX105" fmla="*/ 7978774 w 7978774"/>
                  <a:gd name="connsiteY105" fmla="*/ 6768373 h 6864349"/>
                  <a:gd name="connsiteX106" fmla="*/ 7882807 w 7978774"/>
                  <a:gd name="connsiteY106" fmla="*/ 6864349 h 6864349"/>
                  <a:gd name="connsiteX107" fmla="*/ 5334337 w 7978774"/>
                  <a:gd name="connsiteY107" fmla="*/ 6864349 h 6864349"/>
                  <a:gd name="connsiteX108" fmla="*/ 5241924 w 7978774"/>
                  <a:gd name="connsiteY108" fmla="*/ 6768373 h 6864349"/>
                  <a:gd name="connsiteX109" fmla="*/ 5241924 w 7978774"/>
                  <a:gd name="connsiteY109" fmla="*/ 5534909 h 6864349"/>
                  <a:gd name="connsiteX110" fmla="*/ 5760859 w 7978774"/>
                  <a:gd name="connsiteY110" fmla="*/ 4845306 h 6864349"/>
                  <a:gd name="connsiteX111" fmla="*/ 6144729 w 7978774"/>
                  <a:gd name="connsiteY111" fmla="*/ 4699566 h 6864349"/>
                  <a:gd name="connsiteX112" fmla="*/ 5778631 w 7978774"/>
                  <a:gd name="connsiteY112" fmla="*/ 4009963 h 6864349"/>
                  <a:gd name="connsiteX113" fmla="*/ 6105631 w 7978774"/>
                  <a:gd name="connsiteY113" fmla="*/ 3352352 h 6864349"/>
                  <a:gd name="connsiteX114" fmla="*/ 6119849 w 7978774"/>
                  <a:gd name="connsiteY114" fmla="*/ 3341688 h 6864349"/>
                  <a:gd name="connsiteX115" fmla="*/ 6194490 w 7978774"/>
                  <a:gd name="connsiteY115" fmla="*/ 3291924 h 6864349"/>
                  <a:gd name="connsiteX116" fmla="*/ 6251360 w 7978774"/>
                  <a:gd name="connsiteY116" fmla="*/ 3263486 h 6864349"/>
                  <a:gd name="connsiteX117" fmla="*/ 6318892 w 7978774"/>
                  <a:gd name="connsiteY117" fmla="*/ 3231494 h 6864349"/>
                  <a:gd name="connsiteX118" fmla="*/ 6404197 w 7978774"/>
                  <a:gd name="connsiteY118" fmla="*/ 3206611 h 6864349"/>
                  <a:gd name="connsiteX119" fmla="*/ 6457512 w 7978774"/>
                  <a:gd name="connsiteY119" fmla="*/ 3192393 h 6864349"/>
                  <a:gd name="connsiteX120" fmla="*/ 6610349 w 7978774"/>
                  <a:gd name="connsiteY120" fmla="*/ 3178174 h 6864349"/>
                  <a:gd name="connsiteX121" fmla="*/ 4009231 w 7978774"/>
                  <a:gd name="connsiteY121" fmla="*/ 1663700 h 6864349"/>
                  <a:gd name="connsiteX122" fmla="*/ 3248431 w 7978774"/>
                  <a:gd name="connsiteY122" fmla="*/ 1830745 h 6864349"/>
                  <a:gd name="connsiteX123" fmla="*/ 2828924 w 7978774"/>
                  <a:gd name="connsiteY123" fmla="*/ 2356759 h 6864349"/>
                  <a:gd name="connsiteX124" fmla="*/ 2828924 w 7978774"/>
                  <a:gd name="connsiteY124" fmla="*/ 3494087 h 6864349"/>
                  <a:gd name="connsiteX125" fmla="*/ 3177328 w 7978774"/>
                  <a:gd name="connsiteY125" fmla="*/ 3494087 h 6864349"/>
                  <a:gd name="connsiteX126" fmla="*/ 3177328 w 7978774"/>
                  <a:gd name="connsiteY126" fmla="*/ 2705066 h 6864349"/>
                  <a:gd name="connsiteX127" fmla="*/ 3269762 w 7978774"/>
                  <a:gd name="connsiteY127" fmla="*/ 2612658 h 6864349"/>
                  <a:gd name="connsiteX128" fmla="*/ 3362196 w 7978774"/>
                  <a:gd name="connsiteY128" fmla="*/ 2705066 h 6864349"/>
                  <a:gd name="connsiteX129" fmla="*/ 3362196 w 7978774"/>
                  <a:gd name="connsiteY129" fmla="*/ 3494087 h 6864349"/>
                  <a:gd name="connsiteX130" fmla="*/ 4652711 w 7978774"/>
                  <a:gd name="connsiteY130" fmla="*/ 3494087 h 6864349"/>
                  <a:gd name="connsiteX131" fmla="*/ 4652711 w 7978774"/>
                  <a:gd name="connsiteY131" fmla="*/ 2705066 h 6864349"/>
                  <a:gd name="connsiteX132" fmla="*/ 4748700 w 7978774"/>
                  <a:gd name="connsiteY132" fmla="*/ 2612658 h 6864349"/>
                  <a:gd name="connsiteX133" fmla="*/ 4841133 w 7978774"/>
                  <a:gd name="connsiteY133" fmla="*/ 2705066 h 6864349"/>
                  <a:gd name="connsiteX134" fmla="*/ 4841133 w 7978774"/>
                  <a:gd name="connsiteY134" fmla="*/ 3494087 h 6864349"/>
                  <a:gd name="connsiteX135" fmla="*/ 5189537 w 7978774"/>
                  <a:gd name="connsiteY135" fmla="*/ 3494087 h 6864349"/>
                  <a:gd name="connsiteX136" fmla="*/ 5189537 w 7978774"/>
                  <a:gd name="connsiteY136" fmla="*/ 2363867 h 6864349"/>
                  <a:gd name="connsiteX137" fmla="*/ 4766476 w 7978774"/>
                  <a:gd name="connsiteY137" fmla="*/ 1830745 h 6864349"/>
                  <a:gd name="connsiteX138" fmla="*/ 4009231 w 7978774"/>
                  <a:gd name="connsiteY138" fmla="*/ 1663700 h 6864349"/>
                  <a:gd name="connsiteX139" fmla="*/ 3724983 w 7978774"/>
                  <a:gd name="connsiteY139" fmla="*/ 507999 h 6864349"/>
                  <a:gd name="connsiteX140" fmla="*/ 3380102 w 7978774"/>
                  <a:gd name="connsiteY140" fmla="*/ 692827 h 6864349"/>
                  <a:gd name="connsiteX141" fmla="*/ 3362325 w 7978774"/>
                  <a:gd name="connsiteY141" fmla="*/ 831447 h 6864349"/>
                  <a:gd name="connsiteX142" fmla="*/ 4009421 w 7978774"/>
                  <a:gd name="connsiteY142" fmla="*/ 1474788 h 6864349"/>
                  <a:gd name="connsiteX143" fmla="*/ 4652962 w 7978774"/>
                  <a:gd name="connsiteY143" fmla="*/ 831447 h 6864349"/>
                  <a:gd name="connsiteX144" fmla="*/ 4628074 w 7978774"/>
                  <a:gd name="connsiteY144" fmla="*/ 660837 h 6864349"/>
                  <a:gd name="connsiteX145" fmla="*/ 3724983 w 7978774"/>
                  <a:gd name="connsiteY145" fmla="*/ 507999 h 6864349"/>
                  <a:gd name="connsiteX146" fmla="*/ 4008437 w 7978774"/>
                  <a:gd name="connsiteY146" fmla="*/ 0 h 6864349"/>
                  <a:gd name="connsiteX147" fmla="*/ 4157720 w 7978774"/>
                  <a:gd name="connsiteY147" fmla="*/ 14220 h 6864349"/>
                  <a:gd name="connsiteX148" fmla="*/ 4203926 w 7978774"/>
                  <a:gd name="connsiteY148" fmla="*/ 24885 h 6864349"/>
                  <a:gd name="connsiteX149" fmla="*/ 4296340 w 7978774"/>
                  <a:gd name="connsiteY149" fmla="*/ 53325 h 6864349"/>
                  <a:gd name="connsiteX150" fmla="*/ 4349655 w 7978774"/>
                  <a:gd name="connsiteY150" fmla="*/ 74655 h 6864349"/>
                  <a:gd name="connsiteX151" fmla="*/ 4417188 w 7978774"/>
                  <a:gd name="connsiteY151" fmla="*/ 110205 h 6864349"/>
                  <a:gd name="connsiteX152" fmla="*/ 4783286 w 7978774"/>
                  <a:gd name="connsiteY152" fmla="*/ 536808 h 6864349"/>
                  <a:gd name="connsiteX153" fmla="*/ 4793949 w 7978774"/>
                  <a:gd name="connsiteY153" fmla="*/ 565248 h 6864349"/>
                  <a:gd name="connsiteX154" fmla="*/ 4840155 w 7978774"/>
                  <a:gd name="connsiteY154" fmla="*/ 831874 h 6864349"/>
                  <a:gd name="connsiteX155" fmla="*/ 4470503 w 7978774"/>
                  <a:gd name="connsiteY155" fmla="*/ 1521548 h 6864349"/>
                  <a:gd name="connsiteX156" fmla="*/ 4854373 w 7978774"/>
                  <a:gd name="connsiteY156" fmla="*/ 1663749 h 6864349"/>
                  <a:gd name="connsiteX157" fmla="*/ 5376862 w 7978774"/>
                  <a:gd name="connsiteY157" fmla="*/ 2364087 h 6864349"/>
                  <a:gd name="connsiteX158" fmla="*/ 5376862 w 7978774"/>
                  <a:gd name="connsiteY158" fmla="*/ 3590568 h 6864349"/>
                  <a:gd name="connsiteX159" fmla="*/ 5280895 w 7978774"/>
                  <a:gd name="connsiteY159" fmla="*/ 3682999 h 6864349"/>
                  <a:gd name="connsiteX160" fmla="*/ 2732425 w 7978774"/>
                  <a:gd name="connsiteY160" fmla="*/ 3682999 h 6864349"/>
                  <a:gd name="connsiteX161" fmla="*/ 2640012 w 7978774"/>
                  <a:gd name="connsiteY161" fmla="*/ 3590568 h 6864349"/>
                  <a:gd name="connsiteX162" fmla="*/ 2640012 w 7978774"/>
                  <a:gd name="connsiteY162" fmla="*/ 2356977 h 6864349"/>
                  <a:gd name="connsiteX163" fmla="*/ 3158947 w 7978774"/>
                  <a:gd name="connsiteY163" fmla="*/ 1663749 h 6864349"/>
                  <a:gd name="connsiteX164" fmla="*/ 3542818 w 7978774"/>
                  <a:gd name="connsiteY164" fmla="*/ 1521548 h 6864349"/>
                  <a:gd name="connsiteX165" fmla="*/ 3176719 w 7978774"/>
                  <a:gd name="connsiteY165" fmla="*/ 831874 h 6864349"/>
                  <a:gd name="connsiteX166" fmla="*/ 3503719 w 7978774"/>
                  <a:gd name="connsiteY166" fmla="*/ 174196 h 6864349"/>
                  <a:gd name="connsiteX167" fmla="*/ 3517937 w 7978774"/>
                  <a:gd name="connsiteY167" fmla="*/ 163531 h 6864349"/>
                  <a:gd name="connsiteX168" fmla="*/ 3592579 w 7978774"/>
                  <a:gd name="connsiteY168" fmla="*/ 113760 h 6864349"/>
                  <a:gd name="connsiteX169" fmla="*/ 3649448 w 7978774"/>
                  <a:gd name="connsiteY169" fmla="*/ 81765 h 6864349"/>
                  <a:gd name="connsiteX170" fmla="*/ 3716980 w 7978774"/>
                  <a:gd name="connsiteY170" fmla="*/ 53325 h 6864349"/>
                  <a:gd name="connsiteX171" fmla="*/ 3802285 w 7978774"/>
                  <a:gd name="connsiteY171" fmla="*/ 28440 h 6864349"/>
                  <a:gd name="connsiteX172" fmla="*/ 3855600 w 7978774"/>
                  <a:gd name="connsiteY172" fmla="*/ 14220 h 6864349"/>
                  <a:gd name="connsiteX173" fmla="*/ 4008437 w 7978774"/>
                  <a:gd name="connsiteY173" fmla="*/ 0 h 6864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Lst>
                <a:rect l="l" t="t" r="r" b="b"/>
                <a:pathLst>
                  <a:path w="7978774" h="6864349">
                    <a:moveTo>
                      <a:pt x="6610350" y="4841874"/>
                    </a:moveTo>
                    <a:cubicBezTo>
                      <a:pt x="6297708" y="4841874"/>
                      <a:pt x="6070332" y="4891622"/>
                      <a:pt x="5850062" y="5008885"/>
                    </a:cubicBezTo>
                    <a:cubicBezTo>
                      <a:pt x="5693741" y="5094167"/>
                      <a:pt x="5430837" y="5275391"/>
                      <a:pt x="5430837" y="5534790"/>
                    </a:cubicBezTo>
                    <a:cubicBezTo>
                      <a:pt x="5430837" y="5534790"/>
                      <a:pt x="5430837" y="5534790"/>
                      <a:pt x="5430837" y="6675437"/>
                    </a:cubicBezTo>
                    <a:cubicBezTo>
                      <a:pt x="5430837" y="6675437"/>
                      <a:pt x="5430837" y="6675437"/>
                      <a:pt x="5779007" y="6675437"/>
                    </a:cubicBezTo>
                    <a:cubicBezTo>
                      <a:pt x="5779007" y="6675437"/>
                      <a:pt x="5779007" y="6675437"/>
                      <a:pt x="5779007" y="5883025"/>
                    </a:cubicBezTo>
                    <a:cubicBezTo>
                      <a:pt x="5779007" y="5833277"/>
                      <a:pt x="5818087" y="5790636"/>
                      <a:pt x="5871378" y="5790636"/>
                    </a:cubicBezTo>
                    <a:cubicBezTo>
                      <a:pt x="5924669" y="5790636"/>
                      <a:pt x="5963749" y="5833277"/>
                      <a:pt x="5963749" y="5883025"/>
                    </a:cubicBezTo>
                    <a:cubicBezTo>
                      <a:pt x="5963749" y="5883025"/>
                      <a:pt x="5963749" y="5883025"/>
                      <a:pt x="5963749" y="6675437"/>
                    </a:cubicBezTo>
                    <a:cubicBezTo>
                      <a:pt x="5963749" y="6675437"/>
                      <a:pt x="5963749" y="6675437"/>
                      <a:pt x="7253397" y="6675437"/>
                    </a:cubicBezTo>
                    <a:cubicBezTo>
                      <a:pt x="7253397" y="6675437"/>
                      <a:pt x="7253397" y="6675437"/>
                      <a:pt x="7253397" y="5883025"/>
                    </a:cubicBezTo>
                    <a:cubicBezTo>
                      <a:pt x="7253397" y="5833277"/>
                      <a:pt x="7296030" y="5790636"/>
                      <a:pt x="7349321" y="5790636"/>
                    </a:cubicBezTo>
                    <a:cubicBezTo>
                      <a:pt x="7399060" y="5790636"/>
                      <a:pt x="7441693" y="5833277"/>
                      <a:pt x="7441693" y="5883025"/>
                    </a:cubicBezTo>
                    <a:cubicBezTo>
                      <a:pt x="7441693" y="5883025"/>
                      <a:pt x="7441693" y="5883025"/>
                      <a:pt x="7441693" y="6675437"/>
                    </a:cubicBezTo>
                    <a:cubicBezTo>
                      <a:pt x="7441693" y="6675437"/>
                      <a:pt x="7441693" y="6675437"/>
                      <a:pt x="7789862" y="6675437"/>
                    </a:cubicBezTo>
                    <a:lnTo>
                      <a:pt x="7789862" y="5541897"/>
                    </a:lnTo>
                    <a:cubicBezTo>
                      <a:pt x="7789862" y="5257624"/>
                      <a:pt x="7466562" y="5062186"/>
                      <a:pt x="7367085" y="5008885"/>
                    </a:cubicBezTo>
                    <a:cubicBezTo>
                      <a:pt x="7146815" y="4891622"/>
                      <a:pt x="6922992" y="4841874"/>
                      <a:pt x="6610350" y="4841874"/>
                    </a:cubicBezTo>
                    <a:close/>
                    <a:moveTo>
                      <a:pt x="1368425" y="4841874"/>
                    </a:moveTo>
                    <a:cubicBezTo>
                      <a:pt x="1055783" y="4841874"/>
                      <a:pt x="828407" y="4891622"/>
                      <a:pt x="608137" y="5008885"/>
                    </a:cubicBezTo>
                    <a:cubicBezTo>
                      <a:pt x="451816" y="5094167"/>
                      <a:pt x="188912" y="5275391"/>
                      <a:pt x="188912" y="5534790"/>
                    </a:cubicBezTo>
                    <a:cubicBezTo>
                      <a:pt x="188912" y="5534790"/>
                      <a:pt x="188912" y="5534790"/>
                      <a:pt x="188912" y="6675437"/>
                    </a:cubicBezTo>
                    <a:cubicBezTo>
                      <a:pt x="188912" y="6675437"/>
                      <a:pt x="188912" y="6675437"/>
                      <a:pt x="537082" y="6675437"/>
                    </a:cubicBezTo>
                    <a:cubicBezTo>
                      <a:pt x="537082" y="6675437"/>
                      <a:pt x="537082" y="6675437"/>
                      <a:pt x="537082" y="5883025"/>
                    </a:cubicBezTo>
                    <a:cubicBezTo>
                      <a:pt x="537082" y="5833277"/>
                      <a:pt x="576162" y="5790636"/>
                      <a:pt x="629453" y="5790636"/>
                    </a:cubicBezTo>
                    <a:cubicBezTo>
                      <a:pt x="682744" y="5790636"/>
                      <a:pt x="721825" y="5833277"/>
                      <a:pt x="721825" y="5883025"/>
                    </a:cubicBezTo>
                    <a:cubicBezTo>
                      <a:pt x="721825" y="5883025"/>
                      <a:pt x="721825" y="5883025"/>
                      <a:pt x="721825" y="6675437"/>
                    </a:cubicBezTo>
                    <a:cubicBezTo>
                      <a:pt x="721825" y="6675437"/>
                      <a:pt x="721825" y="6675437"/>
                      <a:pt x="2011472" y="6675437"/>
                    </a:cubicBezTo>
                    <a:cubicBezTo>
                      <a:pt x="2011472" y="6675437"/>
                      <a:pt x="2011472" y="6675437"/>
                      <a:pt x="2011472" y="5883025"/>
                    </a:cubicBezTo>
                    <a:cubicBezTo>
                      <a:pt x="2011472" y="5833277"/>
                      <a:pt x="2054106" y="5790636"/>
                      <a:pt x="2107397" y="5790636"/>
                    </a:cubicBezTo>
                    <a:cubicBezTo>
                      <a:pt x="2157135" y="5790636"/>
                      <a:pt x="2199768" y="5833277"/>
                      <a:pt x="2199768" y="5883025"/>
                    </a:cubicBezTo>
                    <a:cubicBezTo>
                      <a:pt x="2199768" y="5883025"/>
                      <a:pt x="2199768" y="5883025"/>
                      <a:pt x="2199768" y="6675437"/>
                    </a:cubicBezTo>
                    <a:cubicBezTo>
                      <a:pt x="2199768" y="6675437"/>
                      <a:pt x="2199768" y="6675437"/>
                      <a:pt x="2547937" y="6675437"/>
                    </a:cubicBezTo>
                    <a:lnTo>
                      <a:pt x="2547937" y="5541897"/>
                    </a:lnTo>
                    <a:cubicBezTo>
                      <a:pt x="2547937" y="5257624"/>
                      <a:pt x="2224637" y="5062186"/>
                      <a:pt x="2125160" y="5008885"/>
                    </a:cubicBezTo>
                    <a:cubicBezTo>
                      <a:pt x="1908443" y="4891622"/>
                      <a:pt x="1681067" y="4841874"/>
                      <a:pt x="1368425" y="4841874"/>
                    </a:cubicBezTo>
                    <a:close/>
                    <a:moveTo>
                      <a:pt x="3983831" y="4006849"/>
                    </a:moveTo>
                    <a:cubicBezTo>
                      <a:pt x="4033597" y="4006849"/>
                      <a:pt x="4076255" y="4049478"/>
                      <a:pt x="4076255" y="4099212"/>
                    </a:cubicBezTo>
                    <a:cubicBezTo>
                      <a:pt x="4076255" y="4099212"/>
                      <a:pt x="4076255" y="4099212"/>
                      <a:pt x="4076255" y="4873640"/>
                    </a:cubicBezTo>
                    <a:cubicBezTo>
                      <a:pt x="4076255" y="4873640"/>
                      <a:pt x="4076255" y="4873640"/>
                      <a:pt x="4748106" y="5282169"/>
                    </a:cubicBezTo>
                    <a:cubicBezTo>
                      <a:pt x="4794318" y="5310588"/>
                      <a:pt x="4808537" y="5367427"/>
                      <a:pt x="4780099" y="5410056"/>
                    </a:cubicBezTo>
                    <a:cubicBezTo>
                      <a:pt x="4762325" y="5442028"/>
                      <a:pt x="4730332" y="5456237"/>
                      <a:pt x="4698339" y="5456237"/>
                    </a:cubicBezTo>
                    <a:cubicBezTo>
                      <a:pt x="4684120" y="5456237"/>
                      <a:pt x="4666346" y="5452685"/>
                      <a:pt x="4652127" y="5442028"/>
                    </a:cubicBezTo>
                    <a:cubicBezTo>
                      <a:pt x="4652127" y="5442028"/>
                      <a:pt x="4652127" y="5442028"/>
                      <a:pt x="3983831" y="5033499"/>
                    </a:cubicBezTo>
                    <a:cubicBezTo>
                      <a:pt x="3983831" y="5033499"/>
                      <a:pt x="3983831" y="5033499"/>
                      <a:pt x="3311980" y="5431370"/>
                    </a:cubicBezTo>
                    <a:cubicBezTo>
                      <a:pt x="3297761" y="5438475"/>
                      <a:pt x="3279987" y="5442028"/>
                      <a:pt x="3265767" y="5442028"/>
                    </a:cubicBezTo>
                    <a:cubicBezTo>
                      <a:pt x="3233775" y="5442028"/>
                      <a:pt x="3201782" y="5427818"/>
                      <a:pt x="3184008" y="5395846"/>
                    </a:cubicBezTo>
                    <a:cubicBezTo>
                      <a:pt x="3159124" y="5353217"/>
                      <a:pt x="3173343" y="5292826"/>
                      <a:pt x="3216001" y="5267959"/>
                    </a:cubicBezTo>
                    <a:cubicBezTo>
                      <a:pt x="3216001" y="5267959"/>
                      <a:pt x="3216001" y="5267959"/>
                      <a:pt x="3887852" y="4873640"/>
                    </a:cubicBezTo>
                    <a:cubicBezTo>
                      <a:pt x="3887852" y="4873640"/>
                      <a:pt x="3887852" y="4873640"/>
                      <a:pt x="3887852" y="4099212"/>
                    </a:cubicBezTo>
                    <a:cubicBezTo>
                      <a:pt x="3887852" y="4049478"/>
                      <a:pt x="3930509" y="4006849"/>
                      <a:pt x="3983831" y="4006849"/>
                    </a:cubicBezTo>
                    <a:close/>
                    <a:moveTo>
                      <a:pt x="6326450" y="3686174"/>
                    </a:moveTo>
                    <a:cubicBezTo>
                      <a:pt x="6326450" y="3686174"/>
                      <a:pt x="6326450" y="3686174"/>
                      <a:pt x="5981993" y="3871001"/>
                    </a:cubicBezTo>
                    <a:cubicBezTo>
                      <a:pt x="5971339" y="3917208"/>
                      <a:pt x="5964237" y="3963415"/>
                      <a:pt x="5964237" y="4009622"/>
                    </a:cubicBezTo>
                    <a:cubicBezTo>
                      <a:pt x="5964237" y="4365058"/>
                      <a:pt x="6255428" y="4652962"/>
                      <a:pt x="6610538" y="4652962"/>
                    </a:cubicBezTo>
                    <a:cubicBezTo>
                      <a:pt x="6965648" y="4652962"/>
                      <a:pt x="7253287" y="4365058"/>
                      <a:pt x="7253287" y="4009622"/>
                    </a:cubicBezTo>
                    <a:cubicBezTo>
                      <a:pt x="7253287" y="3949197"/>
                      <a:pt x="7242634" y="3895882"/>
                      <a:pt x="7228429" y="3842566"/>
                    </a:cubicBezTo>
                    <a:cubicBezTo>
                      <a:pt x="7228429" y="3842566"/>
                      <a:pt x="7228429" y="3842566"/>
                      <a:pt x="6326450" y="3686174"/>
                    </a:cubicBezTo>
                    <a:close/>
                    <a:moveTo>
                      <a:pt x="1083383" y="3686174"/>
                    </a:moveTo>
                    <a:cubicBezTo>
                      <a:pt x="1083383" y="3686174"/>
                      <a:pt x="1083383" y="3686174"/>
                      <a:pt x="738502" y="3871001"/>
                    </a:cubicBezTo>
                    <a:cubicBezTo>
                      <a:pt x="727835" y="3917208"/>
                      <a:pt x="720724" y="3963415"/>
                      <a:pt x="720724" y="4009622"/>
                    </a:cubicBezTo>
                    <a:cubicBezTo>
                      <a:pt x="720724" y="4365058"/>
                      <a:pt x="1012273" y="4652962"/>
                      <a:pt x="1367821" y="4652962"/>
                    </a:cubicBezTo>
                    <a:cubicBezTo>
                      <a:pt x="1723369" y="4652962"/>
                      <a:pt x="2011362" y="4365058"/>
                      <a:pt x="2011362" y="4009622"/>
                    </a:cubicBezTo>
                    <a:cubicBezTo>
                      <a:pt x="2011362" y="3949197"/>
                      <a:pt x="2000696" y="3895882"/>
                      <a:pt x="1986474" y="3842566"/>
                    </a:cubicBezTo>
                    <a:cubicBezTo>
                      <a:pt x="1986474" y="3842566"/>
                      <a:pt x="1986474" y="3842566"/>
                      <a:pt x="1083383" y="3686174"/>
                    </a:cubicBezTo>
                    <a:close/>
                    <a:moveTo>
                      <a:pt x="1368425" y="3178174"/>
                    </a:moveTo>
                    <a:cubicBezTo>
                      <a:pt x="1418185" y="3178174"/>
                      <a:pt x="1467946" y="3185284"/>
                      <a:pt x="1517707" y="3192393"/>
                    </a:cubicBezTo>
                    <a:cubicBezTo>
                      <a:pt x="1531925" y="3195948"/>
                      <a:pt x="1549697" y="3199502"/>
                      <a:pt x="1563914" y="3203057"/>
                    </a:cubicBezTo>
                    <a:cubicBezTo>
                      <a:pt x="1595903" y="3210167"/>
                      <a:pt x="1627892" y="3220830"/>
                      <a:pt x="1656327" y="3231494"/>
                    </a:cubicBezTo>
                    <a:cubicBezTo>
                      <a:pt x="1674099" y="3238604"/>
                      <a:pt x="1691871" y="3245713"/>
                      <a:pt x="1709642" y="3252822"/>
                    </a:cubicBezTo>
                    <a:cubicBezTo>
                      <a:pt x="1734523" y="3263486"/>
                      <a:pt x="1755849" y="3277704"/>
                      <a:pt x="1777175" y="3291924"/>
                    </a:cubicBezTo>
                    <a:cubicBezTo>
                      <a:pt x="1944229" y="3384344"/>
                      <a:pt x="2075740" y="3533639"/>
                      <a:pt x="2143273" y="3714926"/>
                    </a:cubicBezTo>
                    <a:cubicBezTo>
                      <a:pt x="2146827" y="3725590"/>
                      <a:pt x="2150382" y="3736254"/>
                      <a:pt x="2153936" y="3746918"/>
                    </a:cubicBezTo>
                    <a:cubicBezTo>
                      <a:pt x="2182371" y="3828675"/>
                      <a:pt x="2200143" y="3917542"/>
                      <a:pt x="2200143" y="4009963"/>
                    </a:cubicBezTo>
                    <a:cubicBezTo>
                      <a:pt x="2200143" y="4297890"/>
                      <a:pt x="2054414" y="4550270"/>
                      <a:pt x="1830490" y="4699566"/>
                    </a:cubicBezTo>
                    <a:cubicBezTo>
                      <a:pt x="1969110" y="4731557"/>
                      <a:pt x="2093512" y="4777768"/>
                      <a:pt x="2214360" y="4845306"/>
                    </a:cubicBezTo>
                    <a:cubicBezTo>
                      <a:pt x="2370751" y="4927063"/>
                      <a:pt x="2736849" y="5161670"/>
                      <a:pt x="2736849" y="5542018"/>
                    </a:cubicBezTo>
                    <a:cubicBezTo>
                      <a:pt x="2736849" y="5542018"/>
                      <a:pt x="2736849" y="5542018"/>
                      <a:pt x="2736849" y="6768373"/>
                    </a:cubicBezTo>
                    <a:cubicBezTo>
                      <a:pt x="2736849" y="6821693"/>
                      <a:pt x="2694197" y="6864349"/>
                      <a:pt x="2640882" y="6864349"/>
                    </a:cubicBezTo>
                    <a:cubicBezTo>
                      <a:pt x="2640882" y="6864349"/>
                      <a:pt x="2640882" y="6864349"/>
                      <a:pt x="92413" y="6864349"/>
                    </a:cubicBezTo>
                    <a:cubicBezTo>
                      <a:pt x="42652" y="6864349"/>
                      <a:pt x="0" y="6821693"/>
                      <a:pt x="0" y="6768373"/>
                    </a:cubicBezTo>
                    <a:cubicBezTo>
                      <a:pt x="0" y="6768373"/>
                      <a:pt x="0" y="6768373"/>
                      <a:pt x="0" y="5534909"/>
                    </a:cubicBezTo>
                    <a:cubicBezTo>
                      <a:pt x="0" y="5175889"/>
                      <a:pt x="327000" y="4948391"/>
                      <a:pt x="518935" y="4845306"/>
                    </a:cubicBezTo>
                    <a:cubicBezTo>
                      <a:pt x="643337" y="4777768"/>
                      <a:pt x="767739" y="4731557"/>
                      <a:pt x="902805" y="4699566"/>
                    </a:cubicBezTo>
                    <a:cubicBezTo>
                      <a:pt x="682435" y="4550270"/>
                      <a:pt x="536706" y="4297890"/>
                      <a:pt x="536706" y="4009963"/>
                    </a:cubicBezTo>
                    <a:cubicBezTo>
                      <a:pt x="536706" y="3743364"/>
                      <a:pt x="664663" y="3505202"/>
                      <a:pt x="863707" y="3352352"/>
                    </a:cubicBezTo>
                    <a:cubicBezTo>
                      <a:pt x="867261" y="3348798"/>
                      <a:pt x="870815" y="3345244"/>
                      <a:pt x="877924" y="3341688"/>
                    </a:cubicBezTo>
                    <a:cubicBezTo>
                      <a:pt x="902805" y="3323915"/>
                      <a:pt x="927685" y="3306142"/>
                      <a:pt x="952565" y="3291924"/>
                    </a:cubicBezTo>
                    <a:cubicBezTo>
                      <a:pt x="970337" y="3281260"/>
                      <a:pt x="991663" y="3270595"/>
                      <a:pt x="1009435" y="3263486"/>
                    </a:cubicBezTo>
                    <a:cubicBezTo>
                      <a:pt x="1030761" y="3252822"/>
                      <a:pt x="1052087" y="3242158"/>
                      <a:pt x="1076968" y="3231494"/>
                    </a:cubicBezTo>
                    <a:cubicBezTo>
                      <a:pt x="1101848" y="3220830"/>
                      <a:pt x="1133837" y="3213721"/>
                      <a:pt x="1162272" y="3206611"/>
                    </a:cubicBezTo>
                    <a:cubicBezTo>
                      <a:pt x="1180044" y="3203057"/>
                      <a:pt x="1197816" y="3195948"/>
                      <a:pt x="1215587" y="3192393"/>
                    </a:cubicBezTo>
                    <a:cubicBezTo>
                      <a:pt x="1265348" y="3185284"/>
                      <a:pt x="1315109" y="3178174"/>
                      <a:pt x="1368425" y="3178174"/>
                    </a:cubicBezTo>
                    <a:close/>
                    <a:moveTo>
                      <a:pt x="6610349" y="3178174"/>
                    </a:moveTo>
                    <a:cubicBezTo>
                      <a:pt x="6660110" y="3178174"/>
                      <a:pt x="6709871" y="3185283"/>
                      <a:pt x="6759632" y="3192393"/>
                    </a:cubicBezTo>
                    <a:cubicBezTo>
                      <a:pt x="6773849" y="3195947"/>
                      <a:pt x="6791621" y="3199502"/>
                      <a:pt x="6805838" y="3203057"/>
                    </a:cubicBezTo>
                    <a:cubicBezTo>
                      <a:pt x="6837828" y="3210167"/>
                      <a:pt x="6869817" y="3220830"/>
                      <a:pt x="6898252" y="3231494"/>
                    </a:cubicBezTo>
                    <a:cubicBezTo>
                      <a:pt x="6916023" y="3238603"/>
                      <a:pt x="6933795" y="3245713"/>
                      <a:pt x="6951567" y="3252822"/>
                    </a:cubicBezTo>
                    <a:cubicBezTo>
                      <a:pt x="6976447" y="3263486"/>
                      <a:pt x="6997773" y="3277704"/>
                      <a:pt x="7019100" y="3291924"/>
                    </a:cubicBezTo>
                    <a:cubicBezTo>
                      <a:pt x="7186154" y="3384344"/>
                      <a:pt x="7317665" y="3533639"/>
                      <a:pt x="7385198" y="3714926"/>
                    </a:cubicBezTo>
                    <a:cubicBezTo>
                      <a:pt x="7388752" y="3725590"/>
                      <a:pt x="7392306" y="3736254"/>
                      <a:pt x="7395861" y="3746918"/>
                    </a:cubicBezTo>
                    <a:cubicBezTo>
                      <a:pt x="7424295" y="3828675"/>
                      <a:pt x="7442067" y="3917542"/>
                      <a:pt x="7442067" y="4009963"/>
                    </a:cubicBezTo>
                    <a:cubicBezTo>
                      <a:pt x="7442067" y="4297890"/>
                      <a:pt x="7296339" y="4550270"/>
                      <a:pt x="7072415" y="4699566"/>
                    </a:cubicBezTo>
                    <a:cubicBezTo>
                      <a:pt x="7211034" y="4731557"/>
                      <a:pt x="7335437" y="4777768"/>
                      <a:pt x="7456285" y="4845306"/>
                    </a:cubicBezTo>
                    <a:cubicBezTo>
                      <a:pt x="7612676" y="4927063"/>
                      <a:pt x="7978774" y="5161670"/>
                      <a:pt x="7978774" y="5542018"/>
                    </a:cubicBezTo>
                    <a:cubicBezTo>
                      <a:pt x="7978774" y="5542018"/>
                      <a:pt x="7978774" y="5542018"/>
                      <a:pt x="7978774" y="6768373"/>
                    </a:cubicBezTo>
                    <a:cubicBezTo>
                      <a:pt x="7978774" y="6821693"/>
                      <a:pt x="7936122" y="6864349"/>
                      <a:pt x="7882807" y="6864349"/>
                    </a:cubicBezTo>
                    <a:cubicBezTo>
                      <a:pt x="7882807" y="6864349"/>
                      <a:pt x="7882807" y="6864349"/>
                      <a:pt x="5334337" y="6864349"/>
                    </a:cubicBezTo>
                    <a:cubicBezTo>
                      <a:pt x="5284576" y="6864349"/>
                      <a:pt x="5241924" y="6821693"/>
                      <a:pt x="5241924" y="6768373"/>
                    </a:cubicBezTo>
                    <a:cubicBezTo>
                      <a:pt x="5241924" y="6768373"/>
                      <a:pt x="5241924" y="6768373"/>
                      <a:pt x="5241924" y="5534909"/>
                    </a:cubicBezTo>
                    <a:cubicBezTo>
                      <a:pt x="5241924" y="5175889"/>
                      <a:pt x="5568924" y="4948391"/>
                      <a:pt x="5760859" y="4845306"/>
                    </a:cubicBezTo>
                    <a:cubicBezTo>
                      <a:pt x="5885262" y="4777768"/>
                      <a:pt x="6009664" y="4731557"/>
                      <a:pt x="6144729" y="4699566"/>
                    </a:cubicBezTo>
                    <a:cubicBezTo>
                      <a:pt x="5924360" y="4550270"/>
                      <a:pt x="5778631" y="4297890"/>
                      <a:pt x="5778631" y="4009963"/>
                    </a:cubicBezTo>
                    <a:cubicBezTo>
                      <a:pt x="5778631" y="3743364"/>
                      <a:pt x="5906588" y="3505202"/>
                      <a:pt x="6105631" y="3352352"/>
                    </a:cubicBezTo>
                    <a:cubicBezTo>
                      <a:pt x="6109186" y="3348797"/>
                      <a:pt x="6112740" y="3345243"/>
                      <a:pt x="6119849" y="3341688"/>
                    </a:cubicBezTo>
                    <a:cubicBezTo>
                      <a:pt x="6144729" y="3323915"/>
                      <a:pt x="6169610" y="3306141"/>
                      <a:pt x="6194490" y="3291924"/>
                    </a:cubicBezTo>
                    <a:cubicBezTo>
                      <a:pt x="6212262" y="3281260"/>
                      <a:pt x="6233588" y="3270595"/>
                      <a:pt x="6251360" y="3263486"/>
                    </a:cubicBezTo>
                    <a:cubicBezTo>
                      <a:pt x="6272686" y="3252822"/>
                      <a:pt x="6294012" y="3242158"/>
                      <a:pt x="6318892" y="3231494"/>
                    </a:cubicBezTo>
                    <a:cubicBezTo>
                      <a:pt x="6343773" y="3220830"/>
                      <a:pt x="6375762" y="3213721"/>
                      <a:pt x="6404197" y="3206611"/>
                    </a:cubicBezTo>
                    <a:cubicBezTo>
                      <a:pt x="6421969" y="3203057"/>
                      <a:pt x="6439740" y="3195947"/>
                      <a:pt x="6457512" y="3192393"/>
                    </a:cubicBezTo>
                    <a:cubicBezTo>
                      <a:pt x="6507273" y="3185283"/>
                      <a:pt x="6557034" y="3178174"/>
                      <a:pt x="6610349" y="3178174"/>
                    </a:cubicBezTo>
                    <a:close/>
                    <a:moveTo>
                      <a:pt x="4009231" y="1663700"/>
                    </a:moveTo>
                    <a:cubicBezTo>
                      <a:pt x="3696379" y="1663700"/>
                      <a:pt x="3468850" y="1713458"/>
                      <a:pt x="3248431" y="1830745"/>
                    </a:cubicBezTo>
                    <a:cubicBezTo>
                      <a:pt x="3092005" y="1916044"/>
                      <a:pt x="2828924" y="2093752"/>
                      <a:pt x="2828924" y="2356759"/>
                    </a:cubicBezTo>
                    <a:lnTo>
                      <a:pt x="2828924" y="3494087"/>
                    </a:lnTo>
                    <a:cubicBezTo>
                      <a:pt x="2828924" y="3494087"/>
                      <a:pt x="2828924" y="3494087"/>
                      <a:pt x="3177328" y="3494087"/>
                    </a:cubicBezTo>
                    <a:cubicBezTo>
                      <a:pt x="3177328" y="3494087"/>
                      <a:pt x="3177328" y="3494087"/>
                      <a:pt x="3177328" y="2705066"/>
                    </a:cubicBezTo>
                    <a:cubicBezTo>
                      <a:pt x="3177328" y="2651753"/>
                      <a:pt x="3216435" y="2612658"/>
                      <a:pt x="3269762" y="2612658"/>
                    </a:cubicBezTo>
                    <a:cubicBezTo>
                      <a:pt x="3323089" y="2612658"/>
                      <a:pt x="3362196" y="2651753"/>
                      <a:pt x="3362196" y="2705066"/>
                    </a:cubicBezTo>
                    <a:cubicBezTo>
                      <a:pt x="3362196" y="2705066"/>
                      <a:pt x="3362196" y="2705066"/>
                      <a:pt x="3362196" y="3494087"/>
                    </a:cubicBezTo>
                    <a:cubicBezTo>
                      <a:pt x="3362196" y="3494087"/>
                      <a:pt x="3362196" y="3494087"/>
                      <a:pt x="4652711" y="3494087"/>
                    </a:cubicBezTo>
                    <a:cubicBezTo>
                      <a:pt x="4652711" y="3494087"/>
                      <a:pt x="4652711" y="3494087"/>
                      <a:pt x="4652711" y="2705066"/>
                    </a:cubicBezTo>
                    <a:cubicBezTo>
                      <a:pt x="4652711" y="2651753"/>
                      <a:pt x="4695373" y="2612658"/>
                      <a:pt x="4748700" y="2612658"/>
                    </a:cubicBezTo>
                    <a:cubicBezTo>
                      <a:pt x="4798472" y="2612658"/>
                      <a:pt x="4841133" y="2651753"/>
                      <a:pt x="4841133" y="2705066"/>
                    </a:cubicBezTo>
                    <a:cubicBezTo>
                      <a:pt x="4841133" y="2705066"/>
                      <a:pt x="4841133" y="2705066"/>
                      <a:pt x="4841133" y="3494087"/>
                    </a:cubicBezTo>
                    <a:cubicBezTo>
                      <a:pt x="4841133" y="3494087"/>
                      <a:pt x="4841133" y="3494087"/>
                      <a:pt x="5189537" y="3494087"/>
                    </a:cubicBezTo>
                    <a:cubicBezTo>
                      <a:pt x="5189537" y="3494087"/>
                      <a:pt x="5189537" y="3494087"/>
                      <a:pt x="5189537" y="2363867"/>
                    </a:cubicBezTo>
                    <a:cubicBezTo>
                      <a:pt x="5189537" y="2075981"/>
                      <a:pt x="4866019" y="1884057"/>
                      <a:pt x="4766476" y="1830745"/>
                    </a:cubicBezTo>
                    <a:cubicBezTo>
                      <a:pt x="4546057" y="1713458"/>
                      <a:pt x="4322083" y="1663700"/>
                      <a:pt x="4009231" y="1663700"/>
                    </a:cubicBezTo>
                    <a:close/>
                    <a:moveTo>
                      <a:pt x="3724983" y="507999"/>
                    </a:moveTo>
                    <a:cubicBezTo>
                      <a:pt x="3724983" y="507999"/>
                      <a:pt x="3724983" y="507999"/>
                      <a:pt x="3380102" y="692827"/>
                    </a:cubicBezTo>
                    <a:cubicBezTo>
                      <a:pt x="3369436" y="735479"/>
                      <a:pt x="3362325" y="781686"/>
                      <a:pt x="3362325" y="831447"/>
                    </a:cubicBezTo>
                    <a:cubicBezTo>
                      <a:pt x="3362325" y="1186884"/>
                      <a:pt x="3653873" y="1474788"/>
                      <a:pt x="4009421" y="1474788"/>
                    </a:cubicBezTo>
                    <a:cubicBezTo>
                      <a:pt x="4364969" y="1474788"/>
                      <a:pt x="4652962" y="1186884"/>
                      <a:pt x="4652962" y="831447"/>
                    </a:cubicBezTo>
                    <a:cubicBezTo>
                      <a:pt x="4652962" y="771023"/>
                      <a:pt x="4642296" y="717707"/>
                      <a:pt x="4628074" y="660837"/>
                    </a:cubicBezTo>
                    <a:cubicBezTo>
                      <a:pt x="4628074" y="660837"/>
                      <a:pt x="4628074" y="660837"/>
                      <a:pt x="3724983" y="507999"/>
                    </a:cubicBezTo>
                    <a:close/>
                    <a:moveTo>
                      <a:pt x="4008437" y="0"/>
                    </a:moveTo>
                    <a:cubicBezTo>
                      <a:pt x="4058198" y="0"/>
                      <a:pt x="4107959" y="3555"/>
                      <a:pt x="4157720" y="14220"/>
                    </a:cubicBezTo>
                    <a:cubicBezTo>
                      <a:pt x="4171937" y="17775"/>
                      <a:pt x="4189709" y="21330"/>
                      <a:pt x="4203926" y="24885"/>
                    </a:cubicBezTo>
                    <a:cubicBezTo>
                      <a:pt x="4235916" y="31995"/>
                      <a:pt x="4267905" y="42660"/>
                      <a:pt x="4296340" y="53325"/>
                    </a:cubicBezTo>
                    <a:cubicBezTo>
                      <a:pt x="4314111" y="60435"/>
                      <a:pt x="4331883" y="67545"/>
                      <a:pt x="4349655" y="74655"/>
                    </a:cubicBezTo>
                    <a:cubicBezTo>
                      <a:pt x="4374535" y="85320"/>
                      <a:pt x="4395861" y="99540"/>
                      <a:pt x="4417188" y="110205"/>
                    </a:cubicBezTo>
                    <a:cubicBezTo>
                      <a:pt x="4584242" y="206191"/>
                      <a:pt x="4715753" y="355502"/>
                      <a:pt x="4783286" y="536808"/>
                    </a:cubicBezTo>
                    <a:cubicBezTo>
                      <a:pt x="4786840" y="547473"/>
                      <a:pt x="4790394" y="554583"/>
                      <a:pt x="4793949" y="565248"/>
                    </a:cubicBezTo>
                    <a:cubicBezTo>
                      <a:pt x="4822383" y="650568"/>
                      <a:pt x="4840155" y="739444"/>
                      <a:pt x="4840155" y="831874"/>
                    </a:cubicBezTo>
                    <a:cubicBezTo>
                      <a:pt x="4840155" y="1119831"/>
                      <a:pt x="4694427" y="1372237"/>
                      <a:pt x="4470503" y="1521548"/>
                    </a:cubicBezTo>
                    <a:cubicBezTo>
                      <a:pt x="4609122" y="1553543"/>
                      <a:pt x="4733525" y="1599758"/>
                      <a:pt x="4854373" y="1663749"/>
                    </a:cubicBezTo>
                    <a:cubicBezTo>
                      <a:pt x="5010764" y="1749069"/>
                      <a:pt x="5376862" y="1983701"/>
                      <a:pt x="5376862" y="2364087"/>
                    </a:cubicBezTo>
                    <a:cubicBezTo>
                      <a:pt x="5376862" y="2364087"/>
                      <a:pt x="5376862" y="2364087"/>
                      <a:pt x="5376862" y="3590568"/>
                    </a:cubicBezTo>
                    <a:cubicBezTo>
                      <a:pt x="5376862" y="3640339"/>
                      <a:pt x="5334210" y="3682999"/>
                      <a:pt x="5280895" y="3682999"/>
                    </a:cubicBezTo>
                    <a:cubicBezTo>
                      <a:pt x="5280895" y="3682999"/>
                      <a:pt x="5280895" y="3682999"/>
                      <a:pt x="2732425" y="3682999"/>
                    </a:cubicBezTo>
                    <a:cubicBezTo>
                      <a:pt x="2682664" y="3682999"/>
                      <a:pt x="2640012" y="3640339"/>
                      <a:pt x="2640012" y="3590568"/>
                    </a:cubicBezTo>
                    <a:cubicBezTo>
                      <a:pt x="2640012" y="3590568"/>
                      <a:pt x="2640012" y="3590568"/>
                      <a:pt x="2640012" y="2356977"/>
                    </a:cubicBezTo>
                    <a:cubicBezTo>
                      <a:pt x="2640012" y="1997921"/>
                      <a:pt x="2967013" y="1770399"/>
                      <a:pt x="3158947" y="1663749"/>
                    </a:cubicBezTo>
                    <a:cubicBezTo>
                      <a:pt x="3283350" y="1599758"/>
                      <a:pt x="3407752" y="1553543"/>
                      <a:pt x="3542818" y="1521548"/>
                    </a:cubicBezTo>
                    <a:cubicBezTo>
                      <a:pt x="3322447" y="1372237"/>
                      <a:pt x="3176719" y="1119831"/>
                      <a:pt x="3176719" y="831874"/>
                    </a:cubicBezTo>
                    <a:cubicBezTo>
                      <a:pt x="3176719" y="561693"/>
                      <a:pt x="3304676" y="327061"/>
                      <a:pt x="3503719" y="174196"/>
                    </a:cubicBezTo>
                    <a:cubicBezTo>
                      <a:pt x="3507274" y="170641"/>
                      <a:pt x="3510829" y="167086"/>
                      <a:pt x="3517937" y="163531"/>
                    </a:cubicBezTo>
                    <a:cubicBezTo>
                      <a:pt x="3542818" y="145755"/>
                      <a:pt x="3567698" y="127980"/>
                      <a:pt x="3592579" y="113760"/>
                    </a:cubicBezTo>
                    <a:cubicBezTo>
                      <a:pt x="3610350" y="103095"/>
                      <a:pt x="3631676" y="92430"/>
                      <a:pt x="3649448" y="81765"/>
                    </a:cubicBezTo>
                    <a:cubicBezTo>
                      <a:pt x="3670774" y="71100"/>
                      <a:pt x="3692100" y="63990"/>
                      <a:pt x="3716980" y="53325"/>
                    </a:cubicBezTo>
                    <a:cubicBezTo>
                      <a:pt x="3741861" y="42660"/>
                      <a:pt x="3773850" y="35550"/>
                      <a:pt x="3802285" y="28440"/>
                    </a:cubicBezTo>
                    <a:cubicBezTo>
                      <a:pt x="3820057" y="21330"/>
                      <a:pt x="3837829" y="17775"/>
                      <a:pt x="3855600" y="14220"/>
                    </a:cubicBezTo>
                    <a:cubicBezTo>
                      <a:pt x="3905361" y="3555"/>
                      <a:pt x="3955122" y="0"/>
                      <a:pt x="4008437"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noAutofit/>
              </a:bodyPr>
              <a:lstStyle/>
              <a:p>
                <a:pPr algn="ctr"/>
                <a:endParaRPr lang="en-GB" sz="1600" dirty="0">
                  <a:latin typeface="Danske Text v2" panose="020B0503040502040204" pitchFamily="34" charset="0"/>
                </a:endParaRPr>
              </a:p>
            </p:txBody>
          </p:sp>
        </p:grpSp>
        <p:sp>
          <p:nvSpPr>
            <p:cNvPr id="17" name="TextBox 16"/>
            <p:cNvSpPr txBox="1"/>
            <p:nvPr/>
          </p:nvSpPr>
          <p:spPr>
            <a:xfrm>
              <a:off x="6953103" y="4433851"/>
              <a:ext cx="2105172" cy="553998"/>
            </a:xfrm>
            <a:prstGeom prst="rect">
              <a:avLst/>
            </a:prstGeom>
            <a:noFill/>
          </p:spPr>
          <p:txBody>
            <a:bodyPr wrap="square" lIns="0" tIns="0" rIns="0" bIns="0" rtlCol="0">
              <a:spAutoFit/>
            </a:bodyPr>
            <a:lstStyle/>
            <a:p>
              <a:pPr algn="ctr"/>
              <a:r>
                <a:rPr lang="en-US" dirty="0" smtClean="0">
                  <a:solidFill>
                    <a:schemeClr val="dk2"/>
                  </a:solidFill>
                  <a:latin typeface="Danske Text v2" panose="020B0503040502040204" pitchFamily="34" charset="0"/>
                </a:rPr>
                <a:t>Part 1:</a:t>
              </a:r>
            </a:p>
            <a:p>
              <a:pPr algn="ctr"/>
              <a:r>
                <a:rPr lang="en-US" dirty="0" smtClean="0">
                  <a:solidFill>
                    <a:schemeClr val="dk2"/>
                  </a:solidFill>
                  <a:latin typeface="Danske Text v2" panose="020B0503040502040204" pitchFamily="34" charset="0"/>
                </a:rPr>
                <a:t>Engagement </a:t>
              </a:r>
              <a:r>
                <a:rPr lang="en-US" dirty="0">
                  <a:solidFill>
                    <a:schemeClr val="dk2"/>
                  </a:solidFill>
                  <a:latin typeface="Danske Text v2" panose="020B0503040502040204" pitchFamily="34" charset="0"/>
                </a:rPr>
                <a:t>Report</a:t>
              </a:r>
              <a:endParaRPr lang="en-GB" b="1" dirty="0" smtClean="0">
                <a:solidFill>
                  <a:schemeClr val="dk2"/>
                </a:solidFill>
                <a:latin typeface="Danske Text v2" panose="020B0503040502040204" pitchFamily="34" charset="0"/>
              </a:endParaRPr>
            </a:p>
          </p:txBody>
        </p:sp>
        <p:grpSp>
          <p:nvGrpSpPr>
            <p:cNvPr id="7" name="Group 6"/>
            <p:cNvGrpSpPr>
              <a:grpSpLocks noChangeAspect="1"/>
            </p:cNvGrpSpPr>
            <p:nvPr/>
          </p:nvGrpSpPr>
          <p:grpSpPr>
            <a:xfrm>
              <a:off x="9692471" y="3023514"/>
              <a:ext cx="1612895" cy="1397000"/>
              <a:chOff x="7661304" y="3984697"/>
              <a:chExt cx="1290320" cy="1117600"/>
            </a:xfrm>
          </p:grpSpPr>
          <p:sp>
            <p:nvSpPr>
              <p:cNvPr id="11" name="Hexagon 10"/>
              <p:cNvSpPr/>
              <p:nvPr/>
            </p:nvSpPr>
            <p:spPr>
              <a:xfrm>
                <a:off x="7661304" y="3984697"/>
                <a:ext cx="1290320" cy="1117600"/>
              </a:xfrm>
              <a:prstGeom prst="hexagon">
                <a:avLst/>
              </a:prstGeom>
              <a:solidFill>
                <a:schemeClr val="dk2"/>
              </a:solidFill>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smtClean="0">
                  <a:solidFill>
                    <a:schemeClr val="tx1"/>
                  </a:solidFill>
                </a:endParaRPr>
              </a:p>
            </p:txBody>
          </p:sp>
          <p:sp>
            <p:nvSpPr>
              <p:cNvPr id="15" name="Done"/>
              <p:cNvSpPr>
                <a:spLocks noChangeAspect="1"/>
              </p:cNvSpPr>
              <p:nvPr>
                <p:custDataLst>
                  <p:tags r:id="rId1"/>
                </p:custDataLst>
              </p:nvPr>
            </p:nvSpPr>
            <p:spPr bwMode="auto">
              <a:xfrm>
                <a:off x="8014583" y="4262423"/>
                <a:ext cx="583760" cy="562149"/>
              </a:xfrm>
              <a:custGeom>
                <a:avLst/>
                <a:gdLst>
                  <a:gd name="connsiteX0" fmla="*/ 1935995 w 7118350"/>
                  <a:gd name="connsiteY0" fmla="*/ 4787899 h 6854824"/>
                  <a:gd name="connsiteX1" fmla="*/ 3294064 w 7118350"/>
                  <a:gd name="connsiteY1" fmla="*/ 4787899 h 6854824"/>
                  <a:gd name="connsiteX2" fmla="*/ 3294064 w 7118350"/>
                  <a:gd name="connsiteY2" fmla="*/ 4960937 h 6854824"/>
                  <a:gd name="connsiteX3" fmla="*/ 1935995 w 7118350"/>
                  <a:gd name="connsiteY3" fmla="*/ 4960937 h 6854824"/>
                  <a:gd name="connsiteX4" fmla="*/ 1847851 w 7118350"/>
                  <a:gd name="connsiteY4" fmla="*/ 4876051 h 6854824"/>
                  <a:gd name="connsiteX5" fmla="*/ 1935995 w 7118350"/>
                  <a:gd name="connsiteY5" fmla="*/ 4787899 h 6854824"/>
                  <a:gd name="connsiteX6" fmla="*/ 751668 w 7118350"/>
                  <a:gd name="connsiteY6" fmla="*/ 4418012 h 6854824"/>
                  <a:gd name="connsiteX7" fmla="*/ 1493059 w 7118350"/>
                  <a:gd name="connsiteY7" fmla="*/ 4418012 h 6854824"/>
                  <a:gd name="connsiteX8" fmla="*/ 1577976 w 7118350"/>
                  <a:gd name="connsiteY8" fmla="*/ 4502929 h 6854824"/>
                  <a:gd name="connsiteX9" fmla="*/ 1577976 w 7118350"/>
                  <a:gd name="connsiteY9" fmla="*/ 4515993 h 6854824"/>
                  <a:gd name="connsiteX10" fmla="*/ 1088070 w 7118350"/>
                  <a:gd name="connsiteY10" fmla="*/ 5009165 h 6854824"/>
                  <a:gd name="connsiteX11" fmla="*/ 901906 w 7118350"/>
                  <a:gd name="connsiteY11" fmla="*/ 4813203 h 6854824"/>
                  <a:gd name="connsiteX12" fmla="*/ 777796 w 7118350"/>
                  <a:gd name="connsiteY12" fmla="*/ 4809937 h 6854824"/>
                  <a:gd name="connsiteX13" fmla="*/ 774530 w 7118350"/>
                  <a:gd name="connsiteY13" fmla="*/ 4934046 h 6854824"/>
                  <a:gd name="connsiteX14" fmla="*/ 1022749 w 7118350"/>
                  <a:gd name="connsiteY14" fmla="*/ 5192064 h 6854824"/>
                  <a:gd name="connsiteX15" fmla="*/ 1084804 w 7118350"/>
                  <a:gd name="connsiteY15" fmla="*/ 5218192 h 6854824"/>
                  <a:gd name="connsiteX16" fmla="*/ 1146859 w 7118350"/>
                  <a:gd name="connsiteY16" fmla="*/ 5192064 h 6854824"/>
                  <a:gd name="connsiteX17" fmla="*/ 1577976 w 7118350"/>
                  <a:gd name="connsiteY17" fmla="*/ 4760946 h 6854824"/>
                  <a:gd name="connsiteX18" fmla="*/ 1577976 w 7118350"/>
                  <a:gd name="connsiteY18" fmla="*/ 5244320 h 6854824"/>
                  <a:gd name="connsiteX19" fmla="*/ 1493059 w 7118350"/>
                  <a:gd name="connsiteY19" fmla="*/ 5329237 h 6854824"/>
                  <a:gd name="connsiteX20" fmla="*/ 751668 w 7118350"/>
                  <a:gd name="connsiteY20" fmla="*/ 5329237 h 6854824"/>
                  <a:gd name="connsiteX21" fmla="*/ 689613 w 7118350"/>
                  <a:gd name="connsiteY21" fmla="*/ 5303109 h 6854824"/>
                  <a:gd name="connsiteX22" fmla="*/ 666751 w 7118350"/>
                  <a:gd name="connsiteY22" fmla="*/ 5244320 h 6854824"/>
                  <a:gd name="connsiteX23" fmla="*/ 666751 w 7118350"/>
                  <a:gd name="connsiteY23" fmla="*/ 4502929 h 6854824"/>
                  <a:gd name="connsiteX24" fmla="*/ 751668 w 7118350"/>
                  <a:gd name="connsiteY24" fmla="*/ 4418012 h 6854824"/>
                  <a:gd name="connsiteX25" fmla="*/ 6206113 w 7118350"/>
                  <a:gd name="connsiteY25" fmla="*/ 4338862 h 6854824"/>
                  <a:gd name="connsiteX26" fmla="*/ 6145688 w 7118350"/>
                  <a:gd name="connsiteY26" fmla="*/ 4363356 h 6854824"/>
                  <a:gd name="connsiteX27" fmla="*/ 4960044 w 7118350"/>
                  <a:gd name="connsiteY27" fmla="*/ 5548849 h 6854824"/>
                  <a:gd name="connsiteX28" fmla="*/ 4466843 w 7118350"/>
                  <a:gd name="connsiteY28" fmla="*/ 5055710 h 6854824"/>
                  <a:gd name="connsiteX29" fmla="*/ 4342726 w 7118350"/>
                  <a:gd name="connsiteY29" fmla="*/ 5055710 h 6854824"/>
                  <a:gd name="connsiteX30" fmla="*/ 4342726 w 7118350"/>
                  <a:gd name="connsiteY30" fmla="*/ 5176545 h 6854824"/>
                  <a:gd name="connsiteX31" fmla="*/ 4897986 w 7118350"/>
                  <a:gd name="connsiteY31" fmla="*/ 5731735 h 6854824"/>
                  <a:gd name="connsiteX32" fmla="*/ 4960044 w 7118350"/>
                  <a:gd name="connsiteY32" fmla="*/ 5757861 h 6854824"/>
                  <a:gd name="connsiteX33" fmla="*/ 5022103 w 7118350"/>
                  <a:gd name="connsiteY33" fmla="*/ 5731735 h 6854824"/>
                  <a:gd name="connsiteX34" fmla="*/ 6266539 w 7118350"/>
                  <a:gd name="connsiteY34" fmla="*/ 4487458 h 6854824"/>
                  <a:gd name="connsiteX35" fmla="*/ 6266539 w 7118350"/>
                  <a:gd name="connsiteY35" fmla="*/ 4363356 h 6854824"/>
                  <a:gd name="connsiteX36" fmla="*/ 6206113 w 7118350"/>
                  <a:gd name="connsiteY36" fmla="*/ 4338862 h 6854824"/>
                  <a:gd name="connsiteX37" fmla="*/ 4098204 w 7118350"/>
                  <a:gd name="connsiteY37" fmla="*/ 3744911 h 6854824"/>
                  <a:gd name="connsiteX38" fmla="*/ 4192915 w 7118350"/>
                  <a:gd name="connsiteY38" fmla="*/ 3744911 h 6854824"/>
                  <a:gd name="connsiteX39" fmla="*/ 6488834 w 7118350"/>
                  <a:gd name="connsiteY39" fmla="*/ 3744911 h 6854824"/>
                  <a:gd name="connsiteX40" fmla="*/ 6577013 w 7118350"/>
                  <a:gd name="connsiteY40" fmla="*/ 3833090 h 6854824"/>
                  <a:gd name="connsiteX41" fmla="*/ 6577013 w 7118350"/>
                  <a:gd name="connsiteY41" fmla="*/ 6223720 h 6854824"/>
                  <a:gd name="connsiteX42" fmla="*/ 6488834 w 7118350"/>
                  <a:gd name="connsiteY42" fmla="*/ 6311899 h 6854824"/>
                  <a:gd name="connsiteX43" fmla="*/ 4130863 w 7118350"/>
                  <a:gd name="connsiteY43" fmla="*/ 6311899 h 6854824"/>
                  <a:gd name="connsiteX44" fmla="*/ 4098204 w 7118350"/>
                  <a:gd name="connsiteY44" fmla="*/ 6311899 h 6854824"/>
                  <a:gd name="connsiteX45" fmla="*/ 4010025 w 7118350"/>
                  <a:gd name="connsiteY45" fmla="*/ 6223720 h 6854824"/>
                  <a:gd name="connsiteX46" fmla="*/ 4010025 w 7118350"/>
                  <a:gd name="connsiteY46" fmla="*/ 3833090 h 6854824"/>
                  <a:gd name="connsiteX47" fmla="*/ 4098204 w 7118350"/>
                  <a:gd name="connsiteY47" fmla="*/ 3744911 h 6854824"/>
                  <a:gd name="connsiteX48" fmla="*/ 1935995 w 7118350"/>
                  <a:gd name="connsiteY48" fmla="*/ 3555999 h 6854824"/>
                  <a:gd name="connsiteX49" fmla="*/ 3294064 w 7118350"/>
                  <a:gd name="connsiteY49" fmla="*/ 3555999 h 6854824"/>
                  <a:gd name="connsiteX50" fmla="*/ 3294064 w 7118350"/>
                  <a:gd name="connsiteY50" fmla="*/ 3725862 h 6854824"/>
                  <a:gd name="connsiteX51" fmla="*/ 1935995 w 7118350"/>
                  <a:gd name="connsiteY51" fmla="*/ 3725862 h 6854824"/>
                  <a:gd name="connsiteX52" fmla="*/ 1847851 w 7118350"/>
                  <a:gd name="connsiteY52" fmla="*/ 3640931 h 6854824"/>
                  <a:gd name="connsiteX53" fmla="*/ 1935995 w 7118350"/>
                  <a:gd name="connsiteY53" fmla="*/ 3555999 h 6854824"/>
                  <a:gd name="connsiteX54" fmla="*/ 3640138 w 7118350"/>
                  <a:gd name="connsiteY54" fmla="*/ 3376612 h 6854824"/>
                  <a:gd name="connsiteX55" fmla="*/ 3640138 w 7118350"/>
                  <a:gd name="connsiteY55" fmla="*/ 6094412 h 6854824"/>
                  <a:gd name="connsiteX56" fmla="*/ 3640138 w 7118350"/>
                  <a:gd name="connsiteY56" fmla="*/ 6315075 h 6854824"/>
                  <a:gd name="connsiteX57" fmla="*/ 3640138 w 7118350"/>
                  <a:gd name="connsiteY57" fmla="*/ 6681787 h 6854824"/>
                  <a:gd name="connsiteX58" fmla="*/ 6945313 w 7118350"/>
                  <a:gd name="connsiteY58" fmla="*/ 6681787 h 6854824"/>
                  <a:gd name="connsiteX59" fmla="*/ 6945313 w 7118350"/>
                  <a:gd name="connsiteY59" fmla="*/ 3376612 h 6854824"/>
                  <a:gd name="connsiteX60" fmla="*/ 4192588 w 7118350"/>
                  <a:gd name="connsiteY60" fmla="*/ 3376612 h 6854824"/>
                  <a:gd name="connsiteX61" fmla="*/ 4006851 w 7118350"/>
                  <a:gd name="connsiteY61" fmla="*/ 3376612 h 6854824"/>
                  <a:gd name="connsiteX62" fmla="*/ 751668 w 7118350"/>
                  <a:gd name="connsiteY62" fmla="*/ 3184523 h 6854824"/>
                  <a:gd name="connsiteX63" fmla="*/ 1493059 w 7118350"/>
                  <a:gd name="connsiteY63" fmla="*/ 3184523 h 6854824"/>
                  <a:gd name="connsiteX64" fmla="*/ 1577976 w 7118350"/>
                  <a:gd name="connsiteY64" fmla="*/ 3269433 h 6854824"/>
                  <a:gd name="connsiteX65" fmla="*/ 1577976 w 7118350"/>
                  <a:gd name="connsiteY65" fmla="*/ 3285761 h 6854824"/>
                  <a:gd name="connsiteX66" fmla="*/ 1088070 w 7118350"/>
                  <a:gd name="connsiteY66" fmla="*/ 3775617 h 6854824"/>
                  <a:gd name="connsiteX67" fmla="*/ 901906 w 7118350"/>
                  <a:gd name="connsiteY67" fmla="*/ 3582940 h 6854824"/>
                  <a:gd name="connsiteX68" fmla="*/ 777796 w 7118350"/>
                  <a:gd name="connsiteY68" fmla="*/ 3579675 h 6854824"/>
                  <a:gd name="connsiteX69" fmla="*/ 774530 w 7118350"/>
                  <a:gd name="connsiteY69" fmla="*/ 3700506 h 6854824"/>
                  <a:gd name="connsiteX70" fmla="*/ 1022749 w 7118350"/>
                  <a:gd name="connsiteY70" fmla="*/ 3958497 h 6854824"/>
                  <a:gd name="connsiteX71" fmla="*/ 1084804 w 7118350"/>
                  <a:gd name="connsiteY71" fmla="*/ 3987889 h 6854824"/>
                  <a:gd name="connsiteX72" fmla="*/ 1146859 w 7118350"/>
                  <a:gd name="connsiteY72" fmla="*/ 3961763 h 6854824"/>
                  <a:gd name="connsiteX73" fmla="*/ 1577976 w 7118350"/>
                  <a:gd name="connsiteY73" fmla="*/ 3527423 h 6854824"/>
                  <a:gd name="connsiteX74" fmla="*/ 1577976 w 7118350"/>
                  <a:gd name="connsiteY74" fmla="*/ 4010749 h 6854824"/>
                  <a:gd name="connsiteX75" fmla="*/ 1493059 w 7118350"/>
                  <a:gd name="connsiteY75" fmla="*/ 4098923 h 6854824"/>
                  <a:gd name="connsiteX76" fmla="*/ 751668 w 7118350"/>
                  <a:gd name="connsiteY76" fmla="*/ 4098923 h 6854824"/>
                  <a:gd name="connsiteX77" fmla="*/ 689613 w 7118350"/>
                  <a:gd name="connsiteY77" fmla="*/ 4072797 h 6854824"/>
                  <a:gd name="connsiteX78" fmla="*/ 666751 w 7118350"/>
                  <a:gd name="connsiteY78" fmla="*/ 4010749 h 6854824"/>
                  <a:gd name="connsiteX79" fmla="*/ 666751 w 7118350"/>
                  <a:gd name="connsiteY79" fmla="*/ 3269433 h 6854824"/>
                  <a:gd name="connsiteX80" fmla="*/ 751668 w 7118350"/>
                  <a:gd name="connsiteY80" fmla="*/ 3184523 h 6854824"/>
                  <a:gd name="connsiteX81" fmla="*/ 1936078 w 7118350"/>
                  <a:gd name="connsiteY81" fmla="*/ 2295524 h 6854824"/>
                  <a:gd name="connsiteX82" fmla="*/ 3442467 w 7118350"/>
                  <a:gd name="connsiteY82" fmla="*/ 2295524 h 6854824"/>
                  <a:gd name="connsiteX83" fmla="*/ 3527426 w 7118350"/>
                  <a:gd name="connsiteY83" fmla="*/ 2380412 h 6854824"/>
                  <a:gd name="connsiteX84" fmla="*/ 3442467 w 7118350"/>
                  <a:gd name="connsiteY84" fmla="*/ 2468562 h 6854824"/>
                  <a:gd name="connsiteX85" fmla="*/ 1936078 w 7118350"/>
                  <a:gd name="connsiteY85" fmla="*/ 2468562 h 6854824"/>
                  <a:gd name="connsiteX86" fmla="*/ 1847851 w 7118350"/>
                  <a:gd name="connsiteY86" fmla="*/ 2380412 h 6854824"/>
                  <a:gd name="connsiteX87" fmla="*/ 1936078 w 7118350"/>
                  <a:gd name="connsiteY87" fmla="*/ 2295524 h 6854824"/>
                  <a:gd name="connsiteX88" fmla="*/ 751668 w 7118350"/>
                  <a:gd name="connsiteY88" fmla="*/ 1927225 h 6854824"/>
                  <a:gd name="connsiteX89" fmla="*/ 1493059 w 7118350"/>
                  <a:gd name="connsiteY89" fmla="*/ 1927225 h 6854824"/>
                  <a:gd name="connsiteX90" fmla="*/ 1577976 w 7118350"/>
                  <a:gd name="connsiteY90" fmla="*/ 2012142 h 6854824"/>
                  <a:gd name="connsiteX91" fmla="*/ 1577976 w 7118350"/>
                  <a:gd name="connsiteY91" fmla="*/ 2025206 h 6854824"/>
                  <a:gd name="connsiteX92" fmla="*/ 1088070 w 7118350"/>
                  <a:gd name="connsiteY92" fmla="*/ 2518378 h 6854824"/>
                  <a:gd name="connsiteX93" fmla="*/ 901906 w 7118350"/>
                  <a:gd name="connsiteY93" fmla="*/ 2322416 h 6854824"/>
                  <a:gd name="connsiteX94" fmla="*/ 777796 w 7118350"/>
                  <a:gd name="connsiteY94" fmla="*/ 2322416 h 6854824"/>
                  <a:gd name="connsiteX95" fmla="*/ 774530 w 7118350"/>
                  <a:gd name="connsiteY95" fmla="*/ 2443259 h 6854824"/>
                  <a:gd name="connsiteX96" fmla="*/ 1022749 w 7118350"/>
                  <a:gd name="connsiteY96" fmla="*/ 2701277 h 6854824"/>
                  <a:gd name="connsiteX97" fmla="*/ 1084804 w 7118350"/>
                  <a:gd name="connsiteY97" fmla="*/ 2727405 h 6854824"/>
                  <a:gd name="connsiteX98" fmla="*/ 1146859 w 7118350"/>
                  <a:gd name="connsiteY98" fmla="*/ 2704543 h 6854824"/>
                  <a:gd name="connsiteX99" fmla="*/ 1577976 w 7118350"/>
                  <a:gd name="connsiteY99" fmla="*/ 2270159 h 6854824"/>
                  <a:gd name="connsiteX100" fmla="*/ 1577976 w 7118350"/>
                  <a:gd name="connsiteY100" fmla="*/ 2753533 h 6854824"/>
                  <a:gd name="connsiteX101" fmla="*/ 1493059 w 7118350"/>
                  <a:gd name="connsiteY101" fmla="*/ 2838450 h 6854824"/>
                  <a:gd name="connsiteX102" fmla="*/ 751668 w 7118350"/>
                  <a:gd name="connsiteY102" fmla="*/ 2838450 h 6854824"/>
                  <a:gd name="connsiteX103" fmla="*/ 666751 w 7118350"/>
                  <a:gd name="connsiteY103" fmla="*/ 2753533 h 6854824"/>
                  <a:gd name="connsiteX104" fmla="*/ 666751 w 7118350"/>
                  <a:gd name="connsiteY104" fmla="*/ 2012142 h 6854824"/>
                  <a:gd name="connsiteX105" fmla="*/ 751668 w 7118350"/>
                  <a:gd name="connsiteY105" fmla="*/ 1927225 h 6854824"/>
                  <a:gd name="connsiteX106" fmla="*/ 1220788 w 7118350"/>
                  <a:gd name="connsiteY106" fmla="*/ 568325 h 6854824"/>
                  <a:gd name="connsiteX107" fmla="*/ 1220788 w 7118350"/>
                  <a:gd name="connsiteY107" fmla="*/ 766763 h 6854824"/>
                  <a:gd name="connsiteX108" fmla="*/ 1220788 w 7118350"/>
                  <a:gd name="connsiteY108" fmla="*/ 1087438 h 6854824"/>
                  <a:gd name="connsiteX109" fmla="*/ 2971801 w 7118350"/>
                  <a:gd name="connsiteY109" fmla="*/ 1087438 h 6854824"/>
                  <a:gd name="connsiteX110" fmla="*/ 2971801 w 7118350"/>
                  <a:gd name="connsiteY110" fmla="*/ 766763 h 6854824"/>
                  <a:gd name="connsiteX111" fmla="*/ 2971801 w 7118350"/>
                  <a:gd name="connsiteY111" fmla="*/ 568325 h 6854824"/>
                  <a:gd name="connsiteX112" fmla="*/ 2096295 w 7118350"/>
                  <a:gd name="connsiteY112" fmla="*/ 173038 h 6854824"/>
                  <a:gd name="connsiteX113" fmla="*/ 1789113 w 7118350"/>
                  <a:gd name="connsiteY113" fmla="*/ 395288 h 6854824"/>
                  <a:gd name="connsiteX114" fmla="*/ 2403476 w 7118350"/>
                  <a:gd name="connsiteY114" fmla="*/ 395288 h 6854824"/>
                  <a:gd name="connsiteX115" fmla="*/ 2096295 w 7118350"/>
                  <a:gd name="connsiteY115" fmla="*/ 173038 h 6854824"/>
                  <a:gd name="connsiteX116" fmla="*/ 2096322 w 7118350"/>
                  <a:gd name="connsiteY116" fmla="*/ 0 h 6854824"/>
                  <a:gd name="connsiteX117" fmla="*/ 2579586 w 7118350"/>
                  <a:gd name="connsiteY117" fmla="*/ 395157 h 6854824"/>
                  <a:gd name="connsiteX118" fmla="*/ 3056319 w 7118350"/>
                  <a:gd name="connsiteY118" fmla="*/ 395157 h 6854824"/>
                  <a:gd name="connsiteX119" fmla="*/ 3144482 w 7118350"/>
                  <a:gd name="connsiteY119" fmla="*/ 483332 h 6854824"/>
                  <a:gd name="connsiteX120" fmla="*/ 3144482 w 7118350"/>
                  <a:gd name="connsiteY120" fmla="*/ 545382 h 6854824"/>
                  <a:gd name="connsiteX121" fmla="*/ 4107745 w 7118350"/>
                  <a:gd name="connsiteY121" fmla="*/ 545382 h 6854824"/>
                  <a:gd name="connsiteX122" fmla="*/ 4192643 w 7118350"/>
                  <a:gd name="connsiteY122" fmla="*/ 630291 h 6854824"/>
                  <a:gd name="connsiteX123" fmla="*/ 4192643 w 7118350"/>
                  <a:gd name="connsiteY123" fmla="*/ 3030623 h 6854824"/>
                  <a:gd name="connsiteX124" fmla="*/ 4006521 w 7118350"/>
                  <a:gd name="connsiteY124" fmla="*/ 3030623 h 6854824"/>
                  <a:gd name="connsiteX125" fmla="*/ 4006521 w 7118350"/>
                  <a:gd name="connsiteY125" fmla="*/ 852363 h 6854824"/>
                  <a:gd name="connsiteX126" fmla="*/ 3921623 w 7118350"/>
                  <a:gd name="connsiteY126" fmla="*/ 767453 h 6854824"/>
                  <a:gd name="connsiteX127" fmla="*/ 3144482 w 7118350"/>
                  <a:gd name="connsiteY127" fmla="*/ 767453 h 6854824"/>
                  <a:gd name="connsiteX128" fmla="*/ 3144482 w 7118350"/>
                  <a:gd name="connsiteY128" fmla="*/ 1172407 h 6854824"/>
                  <a:gd name="connsiteX129" fmla="*/ 3056319 w 7118350"/>
                  <a:gd name="connsiteY129" fmla="*/ 1260582 h 6854824"/>
                  <a:gd name="connsiteX130" fmla="*/ 1133059 w 7118350"/>
                  <a:gd name="connsiteY130" fmla="*/ 1260582 h 6854824"/>
                  <a:gd name="connsiteX131" fmla="*/ 1048161 w 7118350"/>
                  <a:gd name="connsiteY131" fmla="*/ 1172407 h 6854824"/>
                  <a:gd name="connsiteX132" fmla="*/ 1048161 w 7118350"/>
                  <a:gd name="connsiteY132" fmla="*/ 767453 h 6854824"/>
                  <a:gd name="connsiteX133" fmla="*/ 271020 w 7118350"/>
                  <a:gd name="connsiteY133" fmla="*/ 767453 h 6854824"/>
                  <a:gd name="connsiteX134" fmla="*/ 182857 w 7118350"/>
                  <a:gd name="connsiteY134" fmla="*/ 852363 h 6854824"/>
                  <a:gd name="connsiteX135" fmla="*/ 182857 w 7118350"/>
                  <a:gd name="connsiteY135" fmla="*/ 6008993 h 6854824"/>
                  <a:gd name="connsiteX136" fmla="*/ 271020 w 7118350"/>
                  <a:gd name="connsiteY136" fmla="*/ 6093903 h 6854824"/>
                  <a:gd name="connsiteX137" fmla="*/ 3294686 w 7118350"/>
                  <a:gd name="connsiteY137" fmla="*/ 6093903 h 6854824"/>
                  <a:gd name="connsiteX138" fmla="*/ 3467747 w 7118350"/>
                  <a:gd name="connsiteY138" fmla="*/ 6093903 h 6854824"/>
                  <a:gd name="connsiteX139" fmla="*/ 3467747 w 7118350"/>
                  <a:gd name="connsiteY139" fmla="*/ 4954153 h 6854824"/>
                  <a:gd name="connsiteX140" fmla="*/ 3467747 w 7118350"/>
                  <a:gd name="connsiteY140" fmla="*/ 4794131 h 6854824"/>
                  <a:gd name="connsiteX141" fmla="*/ 3467747 w 7118350"/>
                  <a:gd name="connsiteY141" fmla="*/ 3722963 h 6854824"/>
                  <a:gd name="connsiteX142" fmla="*/ 3467747 w 7118350"/>
                  <a:gd name="connsiteY142" fmla="*/ 3559675 h 6854824"/>
                  <a:gd name="connsiteX143" fmla="*/ 3467747 w 7118350"/>
                  <a:gd name="connsiteY143" fmla="*/ 3288618 h 6854824"/>
                  <a:gd name="connsiteX144" fmla="*/ 3493869 w 7118350"/>
                  <a:gd name="connsiteY144" fmla="*/ 3229834 h 6854824"/>
                  <a:gd name="connsiteX145" fmla="*/ 3552645 w 7118350"/>
                  <a:gd name="connsiteY145" fmla="*/ 3203708 h 6854824"/>
                  <a:gd name="connsiteX146" fmla="*/ 4006521 w 7118350"/>
                  <a:gd name="connsiteY146" fmla="*/ 3203708 h 6854824"/>
                  <a:gd name="connsiteX147" fmla="*/ 4192643 w 7118350"/>
                  <a:gd name="connsiteY147" fmla="*/ 3203708 h 6854824"/>
                  <a:gd name="connsiteX148" fmla="*/ 7030187 w 7118350"/>
                  <a:gd name="connsiteY148" fmla="*/ 3203708 h 6854824"/>
                  <a:gd name="connsiteX149" fmla="*/ 7118350 w 7118350"/>
                  <a:gd name="connsiteY149" fmla="*/ 3288618 h 6854824"/>
                  <a:gd name="connsiteX150" fmla="*/ 7118350 w 7118350"/>
                  <a:gd name="connsiteY150" fmla="*/ 6769915 h 6854824"/>
                  <a:gd name="connsiteX151" fmla="*/ 7030187 w 7118350"/>
                  <a:gd name="connsiteY151" fmla="*/ 6854824 h 6854824"/>
                  <a:gd name="connsiteX152" fmla="*/ 3552645 w 7118350"/>
                  <a:gd name="connsiteY152" fmla="*/ 6854824 h 6854824"/>
                  <a:gd name="connsiteX153" fmla="*/ 3467747 w 7118350"/>
                  <a:gd name="connsiteY153" fmla="*/ 6769915 h 6854824"/>
                  <a:gd name="connsiteX154" fmla="*/ 3467747 w 7118350"/>
                  <a:gd name="connsiteY154" fmla="*/ 6315974 h 6854824"/>
                  <a:gd name="connsiteX155" fmla="*/ 3294686 w 7118350"/>
                  <a:gd name="connsiteY155" fmla="*/ 6315974 h 6854824"/>
                  <a:gd name="connsiteX156" fmla="*/ 84898 w 7118350"/>
                  <a:gd name="connsiteY156" fmla="*/ 6315974 h 6854824"/>
                  <a:gd name="connsiteX157" fmla="*/ 0 w 7118350"/>
                  <a:gd name="connsiteY157" fmla="*/ 6231065 h 6854824"/>
                  <a:gd name="connsiteX158" fmla="*/ 0 w 7118350"/>
                  <a:gd name="connsiteY158" fmla="*/ 630291 h 6854824"/>
                  <a:gd name="connsiteX159" fmla="*/ 84898 w 7118350"/>
                  <a:gd name="connsiteY159" fmla="*/ 545382 h 6854824"/>
                  <a:gd name="connsiteX160" fmla="*/ 1048161 w 7118350"/>
                  <a:gd name="connsiteY160" fmla="*/ 545382 h 6854824"/>
                  <a:gd name="connsiteX161" fmla="*/ 1048161 w 7118350"/>
                  <a:gd name="connsiteY161" fmla="*/ 483332 h 6854824"/>
                  <a:gd name="connsiteX162" fmla="*/ 1133059 w 7118350"/>
                  <a:gd name="connsiteY162" fmla="*/ 395157 h 6854824"/>
                  <a:gd name="connsiteX163" fmla="*/ 1609792 w 7118350"/>
                  <a:gd name="connsiteY163" fmla="*/ 395157 h 6854824"/>
                  <a:gd name="connsiteX164" fmla="*/ 2096322 w 7118350"/>
                  <a:gd name="connsiteY164" fmla="*/ 0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7118350" h="6854824">
                    <a:moveTo>
                      <a:pt x="1935995" y="4787899"/>
                    </a:moveTo>
                    <a:lnTo>
                      <a:pt x="3294064" y="4787899"/>
                    </a:lnTo>
                    <a:cubicBezTo>
                      <a:pt x="3294064" y="4787899"/>
                      <a:pt x="3294064" y="4787899"/>
                      <a:pt x="3294064" y="4960937"/>
                    </a:cubicBezTo>
                    <a:cubicBezTo>
                      <a:pt x="3294064" y="4960937"/>
                      <a:pt x="3294064" y="4960937"/>
                      <a:pt x="1935995" y="4960937"/>
                    </a:cubicBezTo>
                    <a:cubicBezTo>
                      <a:pt x="1887026" y="4960937"/>
                      <a:pt x="1847851" y="4921759"/>
                      <a:pt x="1847851" y="4876051"/>
                    </a:cubicBezTo>
                    <a:cubicBezTo>
                      <a:pt x="1847851" y="4827078"/>
                      <a:pt x="1887026" y="4787899"/>
                      <a:pt x="1935995" y="4787899"/>
                    </a:cubicBezTo>
                    <a:close/>
                    <a:moveTo>
                      <a:pt x="751668" y="4418012"/>
                    </a:moveTo>
                    <a:cubicBezTo>
                      <a:pt x="751668" y="4418012"/>
                      <a:pt x="751668" y="4418012"/>
                      <a:pt x="1493059" y="4418012"/>
                    </a:cubicBezTo>
                    <a:cubicBezTo>
                      <a:pt x="1538784" y="4418012"/>
                      <a:pt x="1577976" y="4453939"/>
                      <a:pt x="1577976" y="4502929"/>
                    </a:cubicBezTo>
                    <a:cubicBezTo>
                      <a:pt x="1577976" y="4502929"/>
                      <a:pt x="1577976" y="4502929"/>
                      <a:pt x="1577976" y="4515993"/>
                    </a:cubicBezTo>
                    <a:cubicBezTo>
                      <a:pt x="1577976" y="4515993"/>
                      <a:pt x="1577976" y="4515993"/>
                      <a:pt x="1088070" y="5009165"/>
                    </a:cubicBezTo>
                    <a:cubicBezTo>
                      <a:pt x="1088070" y="5009165"/>
                      <a:pt x="1088070" y="5009165"/>
                      <a:pt x="901906" y="4813203"/>
                    </a:cubicBezTo>
                    <a:cubicBezTo>
                      <a:pt x="869246" y="4780543"/>
                      <a:pt x="813723" y="4777277"/>
                      <a:pt x="777796" y="4809937"/>
                    </a:cubicBezTo>
                    <a:cubicBezTo>
                      <a:pt x="745136" y="4842597"/>
                      <a:pt x="741870" y="4898120"/>
                      <a:pt x="774530" y="4934046"/>
                    </a:cubicBezTo>
                    <a:cubicBezTo>
                      <a:pt x="774530" y="4934046"/>
                      <a:pt x="774530" y="4934046"/>
                      <a:pt x="1022749" y="5192064"/>
                    </a:cubicBezTo>
                    <a:cubicBezTo>
                      <a:pt x="1039080" y="5208394"/>
                      <a:pt x="1061942" y="5218192"/>
                      <a:pt x="1084804" y="5218192"/>
                    </a:cubicBezTo>
                    <a:cubicBezTo>
                      <a:pt x="1107666" y="5218192"/>
                      <a:pt x="1130529" y="5208394"/>
                      <a:pt x="1146859" y="5192064"/>
                    </a:cubicBezTo>
                    <a:cubicBezTo>
                      <a:pt x="1146859" y="5192064"/>
                      <a:pt x="1146859" y="5192064"/>
                      <a:pt x="1577976" y="4760946"/>
                    </a:cubicBezTo>
                    <a:cubicBezTo>
                      <a:pt x="1577976" y="4760946"/>
                      <a:pt x="1577976" y="4760946"/>
                      <a:pt x="1577976" y="5244320"/>
                    </a:cubicBezTo>
                    <a:cubicBezTo>
                      <a:pt x="1577976" y="5290045"/>
                      <a:pt x="1538784" y="5329237"/>
                      <a:pt x="1493059" y="5329237"/>
                    </a:cubicBezTo>
                    <a:cubicBezTo>
                      <a:pt x="1493059" y="5329237"/>
                      <a:pt x="1493059" y="5329237"/>
                      <a:pt x="751668" y="5329237"/>
                    </a:cubicBezTo>
                    <a:cubicBezTo>
                      <a:pt x="728806" y="5329237"/>
                      <a:pt x="705944" y="5319439"/>
                      <a:pt x="689613" y="5303109"/>
                    </a:cubicBezTo>
                    <a:cubicBezTo>
                      <a:pt x="673283" y="5290045"/>
                      <a:pt x="666751" y="5267182"/>
                      <a:pt x="666751" y="5244320"/>
                    </a:cubicBezTo>
                    <a:cubicBezTo>
                      <a:pt x="666751" y="5244320"/>
                      <a:pt x="666751" y="5244320"/>
                      <a:pt x="666751" y="4502929"/>
                    </a:cubicBezTo>
                    <a:cubicBezTo>
                      <a:pt x="666751" y="4453939"/>
                      <a:pt x="705944" y="4418012"/>
                      <a:pt x="751668" y="4418012"/>
                    </a:cubicBezTo>
                    <a:close/>
                    <a:moveTo>
                      <a:pt x="6206113" y="4338862"/>
                    </a:moveTo>
                    <a:cubicBezTo>
                      <a:pt x="6184066" y="4338862"/>
                      <a:pt x="6162019" y="4347027"/>
                      <a:pt x="6145688" y="4363356"/>
                    </a:cubicBezTo>
                    <a:cubicBezTo>
                      <a:pt x="6145688" y="4363356"/>
                      <a:pt x="6145688" y="4363356"/>
                      <a:pt x="4960044" y="5548849"/>
                    </a:cubicBezTo>
                    <a:cubicBezTo>
                      <a:pt x="4960044" y="5548849"/>
                      <a:pt x="4960044" y="5548849"/>
                      <a:pt x="4466843" y="5055710"/>
                    </a:cubicBezTo>
                    <a:cubicBezTo>
                      <a:pt x="4430914" y="5019786"/>
                      <a:pt x="4378654" y="5019786"/>
                      <a:pt x="4342726" y="5055710"/>
                    </a:cubicBezTo>
                    <a:cubicBezTo>
                      <a:pt x="4310063" y="5088368"/>
                      <a:pt x="4310063" y="5143887"/>
                      <a:pt x="4342726" y="5176545"/>
                    </a:cubicBezTo>
                    <a:cubicBezTo>
                      <a:pt x="4342726" y="5176545"/>
                      <a:pt x="4342726" y="5176545"/>
                      <a:pt x="4897986" y="5731735"/>
                    </a:cubicBezTo>
                    <a:cubicBezTo>
                      <a:pt x="4914317" y="5748064"/>
                      <a:pt x="4937181" y="5757861"/>
                      <a:pt x="4960044" y="5757861"/>
                    </a:cubicBezTo>
                    <a:cubicBezTo>
                      <a:pt x="4982908" y="5757861"/>
                      <a:pt x="5002505" y="5748064"/>
                      <a:pt x="5022103" y="5731735"/>
                    </a:cubicBezTo>
                    <a:cubicBezTo>
                      <a:pt x="5022103" y="5731735"/>
                      <a:pt x="5022103" y="5731735"/>
                      <a:pt x="6266539" y="4487458"/>
                    </a:cubicBezTo>
                    <a:cubicBezTo>
                      <a:pt x="6299201" y="4451534"/>
                      <a:pt x="6299201" y="4399280"/>
                      <a:pt x="6266539" y="4363356"/>
                    </a:cubicBezTo>
                    <a:cubicBezTo>
                      <a:pt x="6250207" y="4347027"/>
                      <a:pt x="6228160" y="4338862"/>
                      <a:pt x="6206113" y="4338862"/>
                    </a:cubicBezTo>
                    <a:close/>
                    <a:moveTo>
                      <a:pt x="4098204" y="3744911"/>
                    </a:moveTo>
                    <a:cubicBezTo>
                      <a:pt x="4098204" y="3744911"/>
                      <a:pt x="4098204" y="3744911"/>
                      <a:pt x="4192915" y="3744911"/>
                    </a:cubicBezTo>
                    <a:cubicBezTo>
                      <a:pt x="4192915" y="3744911"/>
                      <a:pt x="4192915" y="3744911"/>
                      <a:pt x="6488834" y="3744911"/>
                    </a:cubicBezTo>
                    <a:cubicBezTo>
                      <a:pt x="6537822" y="3744911"/>
                      <a:pt x="6577013" y="3784102"/>
                      <a:pt x="6577013" y="3833090"/>
                    </a:cubicBezTo>
                    <a:cubicBezTo>
                      <a:pt x="6577013" y="3833090"/>
                      <a:pt x="6577013" y="3833090"/>
                      <a:pt x="6577013" y="6223720"/>
                    </a:cubicBezTo>
                    <a:cubicBezTo>
                      <a:pt x="6577013" y="6272708"/>
                      <a:pt x="6537822" y="6311899"/>
                      <a:pt x="6488834" y="6311899"/>
                    </a:cubicBezTo>
                    <a:cubicBezTo>
                      <a:pt x="6488834" y="6311899"/>
                      <a:pt x="6488834" y="6311899"/>
                      <a:pt x="4130863" y="6311899"/>
                    </a:cubicBezTo>
                    <a:cubicBezTo>
                      <a:pt x="4130863" y="6311899"/>
                      <a:pt x="4130863" y="6311899"/>
                      <a:pt x="4098204" y="6311899"/>
                    </a:cubicBezTo>
                    <a:cubicBezTo>
                      <a:pt x="4049216" y="6311899"/>
                      <a:pt x="4010025" y="6272708"/>
                      <a:pt x="4010025" y="6223720"/>
                    </a:cubicBezTo>
                    <a:cubicBezTo>
                      <a:pt x="4010025" y="6223720"/>
                      <a:pt x="4010025" y="6223720"/>
                      <a:pt x="4010025" y="3833090"/>
                    </a:cubicBezTo>
                    <a:cubicBezTo>
                      <a:pt x="4010025" y="3784102"/>
                      <a:pt x="4049216" y="3744911"/>
                      <a:pt x="4098204" y="3744911"/>
                    </a:cubicBezTo>
                    <a:close/>
                    <a:moveTo>
                      <a:pt x="1935995" y="3555999"/>
                    </a:moveTo>
                    <a:lnTo>
                      <a:pt x="3294064" y="3555999"/>
                    </a:lnTo>
                    <a:cubicBezTo>
                      <a:pt x="3294064" y="3555999"/>
                      <a:pt x="3294064" y="3555999"/>
                      <a:pt x="3294064" y="3725862"/>
                    </a:cubicBezTo>
                    <a:cubicBezTo>
                      <a:pt x="3294064" y="3725862"/>
                      <a:pt x="3294064" y="3725862"/>
                      <a:pt x="1935995" y="3725862"/>
                    </a:cubicBezTo>
                    <a:cubicBezTo>
                      <a:pt x="1887026" y="3725862"/>
                      <a:pt x="1847851" y="3689930"/>
                      <a:pt x="1847851" y="3640931"/>
                    </a:cubicBezTo>
                    <a:cubicBezTo>
                      <a:pt x="1847851" y="3591932"/>
                      <a:pt x="1887026" y="3555999"/>
                      <a:pt x="1935995" y="3555999"/>
                    </a:cubicBezTo>
                    <a:close/>
                    <a:moveTo>
                      <a:pt x="3640138" y="3376612"/>
                    </a:moveTo>
                    <a:lnTo>
                      <a:pt x="3640138" y="6094412"/>
                    </a:lnTo>
                    <a:lnTo>
                      <a:pt x="3640138" y="6315075"/>
                    </a:lnTo>
                    <a:lnTo>
                      <a:pt x="3640138" y="6681787"/>
                    </a:lnTo>
                    <a:lnTo>
                      <a:pt x="6945313" y="6681787"/>
                    </a:lnTo>
                    <a:lnTo>
                      <a:pt x="6945313" y="3376612"/>
                    </a:lnTo>
                    <a:lnTo>
                      <a:pt x="4192588" y="3376612"/>
                    </a:lnTo>
                    <a:lnTo>
                      <a:pt x="4006851" y="3376612"/>
                    </a:lnTo>
                    <a:close/>
                    <a:moveTo>
                      <a:pt x="751668" y="3184523"/>
                    </a:moveTo>
                    <a:cubicBezTo>
                      <a:pt x="751668" y="3184523"/>
                      <a:pt x="751668" y="3184523"/>
                      <a:pt x="1493059" y="3184523"/>
                    </a:cubicBezTo>
                    <a:cubicBezTo>
                      <a:pt x="1538784" y="3184523"/>
                      <a:pt x="1577976" y="3223712"/>
                      <a:pt x="1577976" y="3269433"/>
                    </a:cubicBezTo>
                    <a:cubicBezTo>
                      <a:pt x="1577976" y="3269433"/>
                      <a:pt x="1577976" y="3269433"/>
                      <a:pt x="1577976" y="3285761"/>
                    </a:cubicBezTo>
                    <a:cubicBezTo>
                      <a:pt x="1577976" y="3285761"/>
                      <a:pt x="1577976" y="3285761"/>
                      <a:pt x="1088070" y="3775617"/>
                    </a:cubicBezTo>
                    <a:cubicBezTo>
                      <a:pt x="1088070" y="3775617"/>
                      <a:pt x="1088070" y="3775617"/>
                      <a:pt x="901906" y="3582940"/>
                    </a:cubicBezTo>
                    <a:cubicBezTo>
                      <a:pt x="869246" y="3547017"/>
                      <a:pt x="813723" y="3547017"/>
                      <a:pt x="777796" y="3579675"/>
                    </a:cubicBezTo>
                    <a:cubicBezTo>
                      <a:pt x="745136" y="3612332"/>
                      <a:pt x="741870" y="3664583"/>
                      <a:pt x="774530" y="3700506"/>
                    </a:cubicBezTo>
                    <a:cubicBezTo>
                      <a:pt x="774530" y="3700506"/>
                      <a:pt x="774530" y="3700506"/>
                      <a:pt x="1022749" y="3958497"/>
                    </a:cubicBezTo>
                    <a:cubicBezTo>
                      <a:pt x="1039080" y="3978092"/>
                      <a:pt x="1061942" y="3984623"/>
                      <a:pt x="1084804" y="3987889"/>
                    </a:cubicBezTo>
                    <a:cubicBezTo>
                      <a:pt x="1107666" y="3987889"/>
                      <a:pt x="1130529" y="3978092"/>
                      <a:pt x="1146859" y="3961763"/>
                    </a:cubicBezTo>
                    <a:cubicBezTo>
                      <a:pt x="1146859" y="3961763"/>
                      <a:pt x="1146859" y="3961763"/>
                      <a:pt x="1577976" y="3527423"/>
                    </a:cubicBezTo>
                    <a:cubicBezTo>
                      <a:pt x="1577976" y="3527423"/>
                      <a:pt x="1577976" y="3527423"/>
                      <a:pt x="1577976" y="4010749"/>
                    </a:cubicBezTo>
                    <a:cubicBezTo>
                      <a:pt x="1577976" y="4059735"/>
                      <a:pt x="1538784" y="4098923"/>
                      <a:pt x="1493059" y="4098923"/>
                    </a:cubicBezTo>
                    <a:cubicBezTo>
                      <a:pt x="1493059" y="4098923"/>
                      <a:pt x="1493059" y="4098923"/>
                      <a:pt x="751668" y="4098923"/>
                    </a:cubicBezTo>
                    <a:cubicBezTo>
                      <a:pt x="728806" y="4098923"/>
                      <a:pt x="705944" y="4089126"/>
                      <a:pt x="689613" y="4072797"/>
                    </a:cubicBezTo>
                    <a:cubicBezTo>
                      <a:pt x="673283" y="4056469"/>
                      <a:pt x="666751" y="4033609"/>
                      <a:pt x="666751" y="4010749"/>
                    </a:cubicBezTo>
                    <a:cubicBezTo>
                      <a:pt x="666751" y="4010749"/>
                      <a:pt x="666751" y="4010749"/>
                      <a:pt x="666751" y="3269433"/>
                    </a:cubicBezTo>
                    <a:cubicBezTo>
                      <a:pt x="666751" y="3223712"/>
                      <a:pt x="705944" y="3184523"/>
                      <a:pt x="751668" y="3184523"/>
                    </a:cubicBezTo>
                    <a:close/>
                    <a:moveTo>
                      <a:pt x="1936078" y="2295524"/>
                    </a:moveTo>
                    <a:cubicBezTo>
                      <a:pt x="1936078" y="2295524"/>
                      <a:pt x="1936078" y="2295524"/>
                      <a:pt x="3442467" y="2295524"/>
                    </a:cubicBezTo>
                    <a:cubicBezTo>
                      <a:pt x="3488214" y="2295524"/>
                      <a:pt x="3527426" y="2334704"/>
                      <a:pt x="3527426" y="2380412"/>
                    </a:cubicBezTo>
                    <a:cubicBezTo>
                      <a:pt x="3527426" y="2429385"/>
                      <a:pt x="3488214" y="2468562"/>
                      <a:pt x="3442467" y="2468562"/>
                    </a:cubicBezTo>
                    <a:cubicBezTo>
                      <a:pt x="3442467" y="2468562"/>
                      <a:pt x="3442467" y="2468562"/>
                      <a:pt x="1936078" y="2468562"/>
                    </a:cubicBezTo>
                    <a:cubicBezTo>
                      <a:pt x="1887063" y="2468562"/>
                      <a:pt x="1847851" y="2429385"/>
                      <a:pt x="1847851" y="2380412"/>
                    </a:cubicBezTo>
                    <a:cubicBezTo>
                      <a:pt x="1847851" y="2334704"/>
                      <a:pt x="1887063" y="2295524"/>
                      <a:pt x="1936078" y="2295524"/>
                    </a:cubicBezTo>
                    <a:close/>
                    <a:moveTo>
                      <a:pt x="751668" y="1927225"/>
                    </a:moveTo>
                    <a:cubicBezTo>
                      <a:pt x="751668" y="1927225"/>
                      <a:pt x="751668" y="1927225"/>
                      <a:pt x="1493059" y="1927225"/>
                    </a:cubicBezTo>
                    <a:cubicBezTo>
                      <a:pt x="1538784" y="1927225"/>
                      <a:pt x="1577976" y="1966418"/>
                      <a:pt x="1577976" y="2012142"/>
                    </a:cubicBezTo>
                    <a:cubicBezTo>
                      <a:pt x="1577976" y="2012142"/>
                      <a:pt x="1577976" y="2012142"/>
                      <a:pt x="1577976" y="2025206"/>
                    </a:cubicBezTo>
                    <a:cubicBezTo>
                      <a:pt x="1577976" y="2025206"/>
                      <a:pt x="1577976" y="2025206"/>
                      <a:pt x="1088070" y="2518378"/>
                    </a:cubicBezTo>
                    <a:cubicBezTo>
                      <a:pt x="1088070" y="2518378"/>
                      <a:pt x="1088070" y="2518378"/>
                      <a:pt x="901906" y="2322416"/>
                    </a:cubicBezTo>
                    <a:cubicBezTo>
                      <a:pt x="869246" y="2289756"/>
                      <a:pt x="813723" y="2286489"/>
                      <a:pt x="777796" y="2322416"/>
                    </a:cubicBezTo>
                    <a:cubicBezTo>
                      <a:pt x="745136" y="2355076"/>
                      <a:pt x="741870" y="2407333"/>
                      <a:pt x="774530" y="2443259"/>
                    </a:cubicBezTo>
                    <a:cubicBezTo>
                      <a:pt x="774530" y="2443259"/>
                      <a:pt x="774530" y="2443259"/>
                      <a:pt x="1022749" y="2701277"/>
                    </a:cubicBezTo>
                    <a:cubicBezTo>
                      <a:pt x="1039080" y="2717607"/>
                      <a:pt x="1061942" y="2727405"/>
                      <a:pt x="1084804" y="2727405"/>
                    </a:cubicBezTo>
                    <a:cubicBezTo>
                      <a:pt x="1107666" y="2727405"/>
                      <a:pt x="1130529" y="2717607"/>
                      <a:pt x="1146859" y="2704543"/>
                    </a:cubicBezTo>
                    <a:cubicBezTo>
                      <a:pt x="1146859" y="2704543"/>
                      <a:pt x="1146859" y="2704543"/>
                      <a:pt x="1577976" y="2270159"/>
                    </a:cubicBezTo>
                    <a:cubicBezTo>
                      <a:pt x="1577976" y="2270159"/>
                      <a:pt x="1577976" y="2270159"/>
                      <a:pt x="1577976" y="2753533"/>
                    </a:cubicBezTo>
                    <a:cubicBezTo>
                      <a:pt x="1577976" y="2799258"/>
                      <a:pt x="1538784" y="2838450"/>
                      <a:pt x="1493059" y="2838450"/>
                    </a:cubicBezTo>
                    <a:cubicBezTo>
                      <a:pt x="1493059" y="2838450"/>
                      <a:pt x="1493059" y="2838450"/>
                      <a:pt x="751668" y="2838450"/>
                    </a:cubicBezTo>
                    <a:cubicBezTo>
                      <a:pt x="705944" y="2838450"/>
                      <a:pt x="666751" y="2799258"/>
                      <a:pt x="666751" y="2753533"/>
                    </a:cubicBezTo>
                    <a:cubicBezTo>
                      <a:pt x="666751" y="2753533"/>
                      <a:pt x="666751" y="2753533"/>
                      <a:pt x="666751" y="2012142"/>
                    </a:cubicBezTo>
                    <a:cubicBezTo>
                      <a:pt x="666751" y="1966418"/>
                      <a:pt x="705944" y="1927225"/>
                      <a:pt x="751668" y="1927225"/>
                    </a:cubicBezTo>
                    <a:close/>
                    <a:moveTo>
                      <a:pt x="1220788" y="568325"/>
                    </a:moveTo>
                    <a:lnTo>
                      <a:pt x="1220788" y="766763"/>
                    </a:lnTo>
                    <a:lnTo>
                      <a:pt x="1220788" y="1087438"/>
                    </a:lnTo>
                    <a:lnTo>
                      <a:pt x="2971801" y="1087438"/>
                    </a:lnTo>
                    <a:lnTo>
                      <a:pt x="2971801" y="766763"/>
                    </a:lnTo>
                    <a:lnTo>
                      <a:pt x="2971801" y="568325"/>
                    </a:lnTo>
                    <a:close/>
                    <a:moveTo>
                      <a:pt x="2096295" y="173038"/>
                    </a:moveTo>
                    <a:cubicBezTo>
                      <a:pt x="1945972" y="173038"/>
                      <a:pt x="1825060" y="267821"/>
                      <a:pt x="1789113" y="395288"/>
                    </a:cubicBezTo>
                    <a:cubicBezTo>
                      <a:pt x="1789113" y="395288"/>
                      <a:pt x="1789113" y="395288"/>
                      <a:pt x="2403476" y="395288"/>
                    </a:cubicBezTo>
                    <a:cubicBezTo>
                      <a:pt x="2364262" y="267821"/>
                      <a:pt x="2243350" y="173038"/>
                      <a:pt x="2096295" y="173038"/>
                    </a:cubicBezTo>
                    <a:close/>
                    <a:moveTo>
                      <a:pt x="2096322" y="0"/>
                    </a:moveTo>
                    <a:cubicBezTo>
                      <a:pt x="2341219" y="0"/>
                      <a:pt x="2540402" y="169819"/>
                      <a:pt x="2579586" y="395157"/>
                    </a:cubicBezTo>
                    <a:cubicBezTo>
                      <a:pt x="2579586" y="395157"/>
                      <a:pt x="2579586" y="395157"/>
                      <a:pt x="3056319" y="395157"/>
                    </a:cubicBezTo>
                    <a:cubicBezTo>
                      <a:pt x="3105299" y="395157"/>
                      <a:pt x="3144482" y="434346"/>
                      <a:pt x="3144482" y="483332"/>
                    </a:cubicBezTo>
                    <a:cubicBezTo>
                      <a:pt x="3144482" y="483332"/>
                      <a:pt x="3144482" y="483332"/>
                      <a:pt x="3144482" y="545382"/>
                    </a:cubicBezTo>
                    <a:cubicBezTo>
                      <a:pt x="3144482" y="545382"/>
                      <a:pt x="3144482" y="545382"/>
                      <a:pt x="4107745" y="545382"/>
                    </a:cubicBezTo>
                    <a:cubicBezTo>
                      <a:pt x="4153459" y="545382"/>
                      <a:pt x="4192643" y="584571"/>
                      <a:pt x="4192643" y="630291"/>
                    </a:cubicBezTo>
                    <a:cubicBezTo>
                      <a:pt x="4192643" y="630291"/>
                      <a:pt x="4192643" y="630291"/>
                      <a:pt x="4192643" y="3030623"/>
                    </a:cubicBezTo>
                    <a:cubicBezTo>
                      <a:pt x="4192643" y="3030623"/>
                      <a:pt x="4192643" y="3030623"/>
                      <a:pt x="4006521" y="3030623"/>
                    </a:cubicBezTo>
                    <a:cubicBezTo>
                      <a:pt x="4006521" y="3030623"/>
                      <a:pt x="4006521" y="3030623"/>
                      <a:pt x="4006521" y="852363"/>
                    </a:cubicBezTo>
                    <a:cubicBezTo>
                      <a:pt x="4006521" y="806642"/>
                      <a:pt x="3967337" y="767453"/>
                      <a:pt x="3921623" y="767453"/>
                    </a:cubicBezTo>
                    <a:cubicBezTo>
                      <a:pt x="3921623" y="767453"/>
                      <a:pt x="3921623" y="767453"/>
                      <a:pt x="3144482" y="767453"/>
                    </a:cubicBezTo>
                    <a:cubicBezTo>
                      <a:pt x="3144482" y="767453"/>
                      <a:pt x="3144482" y="767453"/>
                      <a:pt x="3144482" y="1172407"/>
                    </a:cubicBezTo>
                    <a:cubicBezTo>
                      <a:pt x="3144482" y="1221393"/>
                      <a:pt x="3105299" y="1260582"/>
                      <a:pt x="3056319" y="1260582"/>
                    </a:cubicBezTo>
                    <a:cubicBezTo>
                      <a:pt x="3056319" y="1260582"/>
                      <a:pt x="3056319" y="1260582"/>
                      <a:pt x="1133059" y="1260582"/>
                    </a:cubicBezTo>
                    <a:cubicBezTo>
                      <a:pt x="1087344" y="1260582"/>
                      <a:pt x="1048161" y="1221393"/>
                      <a:pt x="1048161" y="1172407"/>
                    </a:cubicBezTo>
                    <a:cubicBezTo>
                      <a:pt x="1048161" y="1172407"/>
                      <a:pt x="1048161" y="1172407"/>
                      <a:pt x="1048161" y="767453"/>
                    </a:cubicBezTo>
                    <a:cubicBezTo>
                      <a:pt x="1048161" y="767453"/>
                      <a:pt x="1048161" y="767453"/>
                      <a:pt x="271020" y="767453"/>
                    </a:cubicBezTo>
                    <a:cubicBezTo>
                      <a:pt x="222040" y="767453"/>
                      <a:pt x="182857" y="806642"/>
                      <a:pt x="182857" y="852363"/>
                    </a:cubicBezTo>
                    <a:cubicBezTo>
                      <a:pt x="182857" y="852363"/>
                      <a:pt x="182857" y="852363"/>
                      <a:pt x="182857" y="6008993"/>
                    </a:cubicBezTo>
                    <a:cubicBezTo>
                      <a:pt x="182857" y="6054714"/>
                      <a:pt x="222040" y="6093903"/>
                      <a:pt x="271020" y="6093903"/>
                    </a:cubicBezTo>
                    <a:cubicBezTo>
                      <a:pt x="271020" y="6093903"/>
                      <a:pt x="271020" y="6093903"/>
                      <a:pt x="3294686" y="6093903"/>
                    </a:cubicBezTo>
                    <a:cubicBezTo>
                      <a:pt x="3294686" y="6093903"/>
                      <a:pt x="3294686" y="6093903"/>
                      <a:pt x="3467747" y="6093903"/>
                    </a:cubicBezTo>
                    <a:cubicBezTo>
                      <a:pt x="3467747" y="6093903"/>
                      <a:pt x="3467747" y="6093903"/>
                      <a:pt x="3467747" y="4954153"/>
                    </a:cubicBezTo>
                    <a:cubicBezTo>
                      <a:pt x="3467747" y="4954153"/>
                      <a:pt x="3467747" y="4954153"/>
                      <a:pt x="3467747" y="4794131"/>
                    </a:cubicBezTo>
                    <a:cubicBezTo>
                      <a:pt x="3467747" y="4794131"/>
                      <a:pt x="3467747" y="4794131"/>
                      <a:pt x="3467747" y="3722963"/>
                    </a:cubicBezTo>
                    <a:cubicBezTo>
                      <a:pt x="3467747" y="3722963"/>
                      <a:pt x="3467747" y="3722963"/>
                      <a:pt x="3467747" y="3559675"/>
                    </a:cubicBezTo>
                    <a:cubicBezTo>
                      <a:pt x="3467747" y="3559675"/>
                      <a:pt x="3467747" y="3559675"/>
                      <a:pt x="3467747" y="3288618"/>
                    </a:cubicBezTo>
                    <a:cubicBezTo>
                      <a:pt x="3467747" y="3265757"/>
                      <a:pt x="3477543" y="3246162"/>
                      <a:pt x="3493869" y="3229834"/>
                    </a:cubicBezTo>
                    <a:cubicBezTo>
                      <a:pt x="3510196" y="3213506"/>
                      <a:pt x="3529787" y="3203708"/>
                      <a:pt x="3552645" y="3203708"/>
                    </a:cubicBezTo>
                    <a:cubicBezTo>
                      <a:pt x="3552645" y="3203708"/>
                      <a:pt x="3552645" y="3203708"/>
                      <a:pt x="4006521" y="3203708"/>
                    </a:cubicBezTo>
                    <a:cubicBezTo>
                      <a:pt x="4006521" y="3203708"/>
                      <a:pt x="4006521" y="3203708"/>
                      <a:pt x="4192643" y="3203708"/>
                    </a:cubicBezTo>
                    <a:cubicBezTo>
                      <a:pt x="4192643" y="3203708"/>
                      <a:pt x="4192643" y="3203708"/>
                      <a:pt x="7030187" y="3203708"/>
                    </a:cubicBezTo>
                    <a:cubicBezTo>
                      <a:pt x="7079167" y="3203708"/>
                      <a:pt x="7118350" y="3242897"/>
                      <a:pt x="7118350" y="3288618"/>
                    </a:cubicBezTo>
                    <a:cubicBezTo>
                      <a:pt x="7118350" y="3288618"/>
                      <a:pt x="7118350" y="3288618"/>
                      <a:pt x="7118350" y="6769915"/>
                    </a:cubicBezTo>
                    <a:cubicBezTo>
                      <a:pt x="7118350" y="6815635"/>
                      <a:pt x="7079167" y="6854824"/>
                      <a:pt x="7030187" y="6854824"/>
                    </a:cubicBezTo>
                    <a:cubicBezTo>
                      <a:pt x="7030187" y="6854824"/>
                      <a:pt x="7030187" y="6854824"/>
                      <a:pt x="3552645" y="6854824"/>
                    </a:cubicBezTo>
                    <a:cubicBezTo>
                      <a:pt x="3506930" y="6854824"/>
                      <a:pt x="3467747" y="6815635"/>
                      <a:pt x="3467747" y="6769915"/>
                    </a:cubicBezTo>
                    <a:cubicBezTo>
                      <a:pt x="3467747" y="6769915"/>
                      <a:pt x="3467747" y="6769915"/>
                      <a:pt x="3467747" y="6315974"/>
                    </a:cubicBezTo>
                    <a:cubicBezTo>
                      <a:pt x="3467747" y="6315974"/>
                      <a:pt x="3467747" y="6315974"/>
                      <a:pt x="3294686" y="6315974"/>
                    </a:cubicBezTo>
                    <a:cubicBezTo>
                      <a:pt x="3294686" y="6315974"/>
                      <a:pt x="3294686" y="6315974"/>
                      <a:pt x="84898" y="6315974"/>
                    </a:cubicBezTo>
                    <a:cubicBezTo>
                      <a:pt x="39184" y="6315974"/>
                      <a:pt x="0" y="6276785"/>
                      <a:pt x="0" y="6231065"/>
                    </a:cubicBezTo>
                    <a:cubicBezTo>
                      <a:pt x="0" y="6231065"/>
                      <a:pt x="0" y="6231065"/>
                      <a:pt x="0" y="630291"/>
                    </a:cubicBezTo>
                    <a:cubicBezTo>
                      <a:pt x="0" y="584571"/>
                      <a:pt x="39184" y="545382"/>
                      <a:pt x="84898" y="545382"/>
                    </a:cubicBezTo>
                    <a:cubicBezTo>
                      <a:pt x="84898" y="545382"/>
                      <a:pt x="84898" y="545382"/>
                      <a:pt x="1048161" y="545382"/>
                    </a:cubicBezTo>
                    <a:cubicBezTo>
                      <a:pt x="1048161" y="545382"/>
                      <a:pt x="1048161" y="545382"/>
                      <a:pt x="1048161" y="483332"/>
                    </a:cubicBezTo>
                    <a:cubicBezTo>
                      <a:pt x="1048161" y="434346"/>
                      <a:pt x="1087344" y="395157"/>
                      <a:pt x="1133059" y="395157"/>
                    </a:cubicBezTo>
                    <a:cubicBezTo>
                      <a:pt x="1133059" y="395157"/>
                      <a:pt x="1133059" y="395157"/>
                      <a:pt x="1609792" y="395157"/>
                    </a:cubicBezTo>
                    <a:cubicBezTo>
                      <a:pt x="1652241" y="169819"/>
                      <a:pt x="1848159" y="0"/>
                      <a:pt x="2096322"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noAutofit/>
              </a:bodyPr>
              <a:lstStyle/>
              <a:p>
                <a:pPr algn="ctr"/>
                <a:endParaRPr lang="en-GB" dirty="0"/>
              </a:p>
            </p:txBody>
          </p:sp>
        </p:grpSp>
        <p:sp>
          <p:nvSpPr>
            <p:cNvPr id="12" name="Rectangle 11"/>
            <p:cNvSpPr/>
            <p:nvPr/>
          </p:nvSpPr>
          <p:spPr>
            <a:xfrm>
              <a:off x="9715691" y="4371874"/>
              <a:ext cx="1566454" cy="646331"/>
            </a:xfrm>
            <a:prstGeom prst="rect">
              <a:avLst/>
            </a:prstGeom>
          </p:spPr>
          <p:txBody>
            <a:bodyPr wrap="none">
              <a:spAutoFit/>
            </a:bodyPr>
            <a:lstStyle/>
            <a:p>
              <a:pPr algn="ctr"/>
              <a:r>
                <a:rPr lang="en-US" dirty="0" smtClean="0">
                  <a:solidFill>
                    <a:schemeClr val="dk2"/>
                  </a:solidFill>
                  <a:latin typeface="Danske Text v2" panose="020B0503040502040204" pitchFamily="34" charset="0"/>
                </a:rPr>
                <a:t>Part 2:</a:t>
              </a:r>
            </a:p>
            <a:p>
              <a:pPr algn="ctr"/>
              <a:r>
                <a:rPr lang="en-US" dirty="0" smtClean="0">
                  <a:solidFill>
                    <a:schemeClr val="dk2"/>
                  </a:solidFill>
                  <a:latin typeface="Danske Text v2" panose="020B0503040502040204" pitchFamily="34" charset="0"/>
                </a:rPr>
                <a:t>Voting </a:t>
              </a:r>
              <a:r>
                <a:rPr lang="en-US" dirty="0">
                  <a:solidFill>
                    <a:schemeClr val="dk2"/>
                  </a:solidFill>
                  <a:latin typeface="Danske Text v2" panose="020B0503040502040204" pitchFamily="34" charset="0"/>
                </a:rPr>
                <a:t>Report</a:t>
              </a:r>
            </a:p>
          </p:txBody>
        </p:sp>
      </p:grpSp>
      <p:sp>
        <p:nvSpPr>
          <p:cNvPr id="18" name="Title 4"/>
          <p:cNvSpPr txBox="1">
            <a:spLocks/>
          </p:cNvSpPr>
          <p:nvPr/>
        </p:nvSpPr>
        <p:spPr>
          <a:xfrm>
            <a:off x="6977697" y="727199"/>
            <a:ext cx="4571062" cy="6840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lang="en-GB" sz="2400" b="0" kern="1200" baseline="0" noProof="0">
                <a:solidFill>
                  <a:srgbClr val="003755"/>
                </a:solidFill>
                <a:latin typeface="+mj-lt"/>
                <a:ea typeface="+mj-ea"/>
                <a:cs typeface="Arial" pitchFamily="34" charset="0"/>
              </a:defRPr>
            </a:lvl1pPr>
          </a:lstStyle>
          <a:p>
            <a:pPr algn="ctr"/>
            <a:r>
              <a:rPr lang="en-GB" dirty="0">
                <a:solidFill>
                  <a:schemeClr val="dk2"/>
                </a:solidFill>
                <a:latin typeface="Danske Human Medium Italic" panose="02000603050000020003" pitchFamily="2" charset="0"/>
              </a:rPr>
              <a:t>The two parts of the report</a:t>
            </a:r>
          </a:p>
        </p:txBody>
      </p:sp>
    </p:spTree>
    <p:extLst>
      <p:ext uri="{BB962C8B-B14F-4D97-AF65-F5344CB8AC3E}">
        <p14:creationId xmlns:p14="http://schemas.microsoft.com/office/powerpoint/2010/main" val="253720936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97" name="think-cell Slide" r:id="rId409" imgW="216" imgH="216" progId="TCLayout.ActiveDocument.1">
                  <p:embed/>
                </p:oleObj>
              </mc:Choice>
              <mc:Fallback>
                <p:oleObj name="think-cell Slide" r:id="rId409" imgW="216" imgH="216" progId="TCLayout.ActiveDocument.1">
                  <p:embed/>
                  <p:pic>
                    <p:nvPicPr>
                      <p:cNvPr id="0" name=""/>
                      <p:cNvPicPr/>
                      <p:nvPr/>
                    </p:nvPicPr>
                    <p:blipFill>
                      <a:blip r:embed="rId410"/>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Sovereigns: We have had </a:t>
            </a:r>
            <a:r>
              <a:rPr lang="en-US" dirty="0" smtClean="0">
                <a:solidFill>
                  <a:schemeClr val="dk2"/>
                </a:solidFill>
              </a:rPr>
              <a:t>5 </a:t>
            </a:r>
            <a:r>
              <a:rPr lang="en-US" dirty="0" smtClean="0"/>
              <a:t>engagements </a:t>
            </a:r>
            <a:r>
              <a:rPr lang="en-US" dirty="0"/>
              <a:t>with </a:t>
            </a:r>
            <a:r>
              <a:rPr lang="en-US" dirty="0" smtClean="0"/>
              <a:t>4 governmental entities</a:t>
            </a:r>
            <a:endParaRPr lang="en-GB" dirty="0"/>
          </a:p>
        </p:txBody>
      </p:sp>
      <p:grpSp>
        <p:nvGrpSpPr>
          <p:cNvPr id="1358" name="World - regions"/>
          <p:cNvGrpSpPr>
            <a:grpSpLocks noChangeAspect="1"/>
          </p:cNvGrpSpPr>
          <p:nvPr>
            <p:custDataLst>
              <p:tags r:id="rId3"/>
            </p:custDataLst>
          </p:nvPr>
        </p:nvGrpSpPr>
        <p:grpSpPr>
          <a:xfrm>
            <a:off x="560925" y="1280499"/>
            <a:ext cx="11074750" cy="5527480"/>
            <a:chOff x="3743501" y="2500313"/>
            <a:chExt cx="6344893" cy="3166778"/>
          </a:xfrm>
          <a:solidFill>
            <a:srgbClr val="A8D2E0"/>
          </a:solidFill>
        </p:grpSpPr>
        <p:sp>
          <p:nvSpPr>
            <p:cNvPr id="1359" name="Freeform 5645"/>
            <p:cNvSpPr>
              <a:spLocks/>
            </p:cNvSpPr>
            <p:nvPr>
              <p:custDataLst>
                <p:tags r:id="rId5"/>
              </p:custDataLst>
            </p:nvPr>
          </p:nvSpPr>
          <p:spPr bwMode="gray">
            <a:xfrm>
              <a:off x="9536736" y="4412715"/>
              <a:ext cx="193905" cy="190468"/>
            </a:xfrm>
            <a:custGeom>
              <a:avLst/>
              <a:gdLst/>
              <a:ahLst/>
              <a:cxnLst>
                <a:cxn ang="0">
                  <a:pos x="2" y="0"/>
                </a:cxn>
                <a:cxn ang="0">
                  <a:pos x="41" y="15"/>
                </a:cxn>
                <a:cxn ang="0">
                  <a:pos x="71" y="33"/>
                </a:cxn>
                <a:cxn ang="0">
                  <a:pos x="75" y="52"/>
                </a:cxn>
                <a:cxn ang="0">
                  <a:pos x="94" y="60"/>
                </a:cxn>
                <a:cxn ang="0">
                  <a:pos x="103" y="58"/>
                </a:cxn>
                <a:cxn ang="0">
                  <a:pos x="109" y="65"/>
                </a:cxn>
                <a:cxn ang="0">
                  <a:pos x="109" y="73"/>
                </a:cxn>
                <a:cxn ang="0">
                  <a:pos x="96" y="76"/>
                </a:cxn>
                <a:cxn ang="0">
                  <a:pos x="98" y="84"/>
                </a:cxn>
                <a:cxn ang="0">
                  <a:pos x="113" y="97"/>
                </a:cxn>
                <a:cxn ang="0">
                  <a:pos x="116" y="118"/>
                </a:cxn>
                <a:cxn ang="0">
                  <a:pos x="128" y="116"/>
                </a:cxn>
                <a:cxn ang="0">
                  <a:pos x="124" y="123"/>
                </a:cxn>
                <a:cxn ang="0">
                  <a:pos x="139" y="127"/>
                </a:cxn>
                <a:cxn ang="0">
                  <a:pos x="135" y="135"/>
                </a:cxn>
                <a:cxn ang="0">
                  <a:pos x="150" y="138"/>
                </a:cxn>
                <a:cxn ang="0">
                  <a:pos x="146" y="146"/>
                </a:cxn>
                <a:cxn ang="0">
                  <a:pos x="137" y="148"/>
                </a:cxn>
                <a:cxn ang="0">
                  <a:pos x="135" y="142"/>
                </a:cxn>
                <a:cxn ang="0">
                  <a:pos x="100" y="135"/>
                </a:cxn>
                <a:cxn ang="0">
                  <a:pos x="77" y="97"/>
                </a:cxn>
                <a:cxn ang="0">
                  <a:pos x="56" y="90"/>
                </a:cxn>
                <a:cxn ang="0">
                  <a:pos x="47" y="90"/>
                </a:cxn>
                <a:cxn ang="0">
                  <a:pos x="30" y="105"/>
                </a:cxn>
                <a:cxn ang="0">
                  <a:pos x="32" y="112"/>
                </a:cxn>
                <a:cxn ang="0">
                  <a:pos x="19" y="121"/>
                </a:cxn>
                <a:cxn ang="0">
                  <a:pos x="0" y="120"/>
                </a:cxn>
                <a:cxn ang="0">
                  <a:pos x="2" y="0"/>
                </a:cxn>
                <a:cxn ang="0">
                  <a:pos x="2" y="0"/>
                </a:cxn>
              </a:cxnLst>
              <a:rect l="0" t="0" r="r" b="b"/>
              <a:pathLst>
                <a:path w="150" h="148">
                  <a:moveTo>
                    <a:pt x="2" y="0"/>
                  </a:moveTo>
                  <a:lnTo>
                    <a:pt x="41" y="15"/>
                  </a:lnTo>
                  <a:lnTo>
                    <a:pt x="71" y="33"/>
                  </a:lnTo>
                  <a:lnTo>
                    <a:pt x="75" y="52"/>
                  </a:lnTo>
                  <a:lnTo>
                    <a:pt x="94" y="60"/>
                  </a:lnTo>
                  <a:lnTo>
                    <a:pt x="103" y="58"/>
                  </a:lnTo>
                  <a:lnTo>
                    <a:pt x="109" y="65"/>
                  </a:lnTo>
                  <a:lnTo>
                    <a:pt x="109" y="73"/>
                  </a:lnTo>
                  <a:lnTo>
                    <a:pt x="96" y="76"/>
                  </a:lnTo>
                  <a:lnTo>
                    <a:pt x="98" y="84"/>
                  </a:lnTo>
                  <a:lnTo>
                    <a:pt x="113" y="97"/>
                  </a:lnTo>
                  <a:lnTo>
                    <a:pt x="116" y="118"/>
                  </a:lnTo>
                  <a:lnTo>
                    <a:pt x="128" y="116"/>
                  </a:lnTo>
                  <a:lnTo>
                    <a:pt x="124" y="123"/>
                  </a:lnTo>
                  <a:lnTo>
                    <a:pt x="139" y="127"/>
                  </a:lnTo>
                  <a:lnTo>
                    <a:pt x="135" y="135"/>
                  </a:lnTo>
                  <a:lnTo>
                    <a:pt x="150" y="138"/>
                  </a:lnTo>
                  <a:lnTo>
                    <a:pt x="146" y="146"/>
                  </a:lnTo>
                  <a:lnTo>
                    <a:pt x="137" y="148"/>
                  </a:lnTo>
                  <a:lnTo>
                    <a:pt x="135" y="142"/>
                  </a:lnTo>
                  <a:lnTo>
                    <a:pt x="100" y="135"/>
                  </a:lnTo>
                  <a:lnTo>
                    <a:pt x="77" y="97"/>
                  </a:lnTo>
                  <a:lnTo>
                    <a:pt x="56" y="90"/>
                  </a:lnTo>
                  <a:lnTo>
                    <a:pt x="47" y="90"/>
                  </a:lnTo>
                  <a:lnTo>
                    <a:pt x="30" y="105"/>
                  </a:lnTo>
                  <a:lnTo>
                    <a:pt x="32" y="112"/>
                  </a:lnTo>
                  <a:lnTo>
                    <a:pt x="19" y="121"/>
                  </a:lnTo>
                  <a:lnTo>
                    <a:pt x="0" y="120"/>
                  </a:lnTo>
                  <a:lnTo>
                    <a:pt x="2" y="0"/>
                  </a:lnTo>
                  <a:lnTo>
                    <a:pt x="2"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60" name="Freeform 5646"/>
            <p:cNvSpPr>
              <a:spLocks/>
            </p:cNvSpPr>
            <p:nvPr>
              <p:custDataLst>
                <p:tags r:id="rId6"/>
              </p:custDataLst>
            </p:nvPr>
          </p:nvSpPr>
          <p:spPr bwMode="gray">
            <a:xfrm>
              <a:off x="8499688" y="3655539"/>
              <a:ext cx="180978" cy="438849"/>
            </a:xfrm>
            <a:custGeom>
              <a:avLst/>
              <a:gdLst/>
              <a:ahLst/>
              <a:cxnLst>
                <a:cxn ang="0">
                  <a:pos x="136" y="300"/>
                </a:cxn>
                <a:cxn ang="0">
                  <a:pos x="121" y="259"/>
                </a:cxn>
                <a:cxn ang="0">
                  <a:pos x="108" y="245"/>
                </a:cxn>
                <a:cxn ang="0">
                  <a:pos x="116" y="221"/>
                </a:cxn>
                <a:cxn ang="0">
                  <a:pos x="91" y="184"/>
                </a:cxn>
                <a:cxn ang="0">
                  <a:pos x="93" y="163"/>
                </a:cxn>
                <a:cxn ang="0">
                  <a:pos x="127" y="137"/>
                </a:cxn>
                <a:cxn ang="0">
                  <a:pos x="140" y="118"/>
                </a:cxn>
                <a:cxn ang="0">
                  <a:pos x="125" y="122"/>
                </a:cxn>
                <a:cxn ang="0">
                  <a:pos x="108" y="109"/>
                </a:cxn>
                <a:cxn ang="0">
                  <a:pos x="110" y="96"/>
                </a:cxn>
                <a:cxn ang="0">
                  <a:pos x="101" y="88"/>
                </a:cxn>
                <a:cxn ang="0">
                  <a:pos x="95" y="75"/>
                </a:cxn>
                <a:cxn ang="0">
                  <a:pos x="78" y="81"/>
                </a:cxn>
                <a:cxn ang="0">
                  <a:pos x="86" y="26"/>
                </a:cxn>
                <a:cxn ang="0">
                  <a:pos x="73" y="4"/>
                </a:cxn>
                <a:cxn ang="0">
                  <a:pos x="60" y="0"/>
                </a:cxn>
                <a:cxn ang="0">
                  <a:pos x="56" y="17"/>
                </a:cxn>
                <a:cxn ang="0">
                  <a:pos x="43" y="17"/>
                </a:cxn>
                <a:cxn ang="0">
                  <a:pos x="31" y="30"/>
                </a:cxn>
                <a:cxn ang="0">
                  <a:pos x="22" y="77"/>
                </a:cxn>
                <a:cxn ang="0">
                  <a:pos x="9" y="81"/>
                </a:cxn>
                <a:cxn ang="0">
                  <a:pos x="7" y="109"/>
                </a:cxn>
                <a:cxn ang="0">
                  <a:pos x="3" y="114"/>
                </a:cxn>
                <a:cxn ang="0">
                  <a:pos x="0" y="135"/>
                </a:cxn>
                <a:cxn ang="0">
                  <a:pos x="16" y="152"/>
                </a:cxn>
                <a:cxn ang="0">
                  <a:pos x="20" y="152"/>
                </a:cxn>
                <a:cxn ang="0">
                  <a:pos x="30" y="172"/>
                </a:cxn>
                <a:cxn ang="0">
                  <a:pos x="35" y="172"/>
                </a:cxn>
                <a:cxn ang="0">
                  <a:pos x="45" y="202"/>
                </a:cxn>
                <a:cxn ang="0">
                  <a:pos x="41" y="223"/>
                </a:cxn>
                <a:cxn ang="0">
                  <a:pos x="61" y="229"/>
                </a:cxn>
                <a:cxn ang="0">
                  <a:pos x="82" y="206"/>
                </a:cxn>
                <a:cxn ang="0">
                  <a:pos x="93" y="217"/>
                </a:cxn>
                <a:cxn ang="0">
                  <a:pos x="119" y="287"/>
                </a:cxn>
                <a:cxn ang="0">
                  <a:pos x="118" y="298"/>
                </a:cxn>
                <a:cxn ang="0">
                  <a:pos x="123" y="317"/>
                </a:cxn>
                <a:cxn ang="0">
                  <a:pos x="118" y="341"/>
                </a:cxn>
                <a:cxn ang="0">
                  <a:pos x="136" y="300"/>
                </a:cxn>
                <a:cxn ang="0">
                  <a:pos x="136" y="300"/>
                </a:cxn>
              </a:cxnLst>
              <a:rect l="0" t="0" r="r" b="b"/>
              <a:pathLst>
                <a:path w="140" h="341">
                  <a:moveTo>
                    <a:pt x="136" y="300"/>
                  </a:moveTo>
                  <a:lnTo>
                    <a:pt x="121" y="259"/>
                  </a:lnTo>
                  <a:lnTo>
                    <a:pt x="108" y="245"/>
                  </a:lnTo>
                  <a:lnTo>
                    <a:pt x="116" y="221"/>
                  </a:lnTo>
                  <a:lnTo>
                    <a:pt x="91" y="184"/>
                  </a:lnTo>
                  <a:lnTo>
                    <a:pt x="93" y="163"/>
                  </a:lnTo>
                  <a:lnTo>
                    <a:pt x="127" y="137"/>
                  </a:lnTo>
                  <a:lnTo>
                    <a:pt x="140" y="118"/>
                  </a:lnTo>
                  <a:lnTo>
                    <a:pt x="125" y="122"/>
                  </a:lnTo>
                  <a:lnTo>
                    <a:pt x="108" y="109"/>
                  </a:lnTo>
                  <a:lnTo>
                    <a:pt x="110" y="96"/>
                  </a:lnTo>
                  <a:lnTo>
                    <a:pt x="101" y="88"/>
                  </a:lnTo>
                  <a:lnTo>
                    <a:pt x="95" y="75"/>
                  </a:lnTo>
                  <a:lnTo>
                    <a:pt x="78" y="81"/>
                  </a:lnTo>
                  <a:lnTo>
                    <a:pt x="86" y="26"/>
                  </a:lnTo>
                  <a:lnTo>
                    <a:pt x="73" y="4"/>
                  </a:lnTo>
                  <a:lnTo>
                    <a:pt x="60" y="0"/>
                  </a:lnTo>
                  <a:lnTo>
                    <a:pt x="56" y="17"/>
                  </a:lnTo>
                  <a:lnTo>
                    <a:pt x="43" y="17"/>
                  </a:lnTo>
                  <a:lnTo>
                    <a:pt x="31" y="30"/>
                  </a:lnTo>
                  <a:lnTo>
                    <a:pt x="22" y="77"/>
                  </a:lnTo>
                  <a:lnTo>
                    <a:pt x="9" y="81"/>
                  </a:lnTo>
                  <a:lnTo>
                    <a:pt x="7" y="109"/>
                  </a:lnTo>
                  <a:lnTo>
                    <a:pt x="3" y="114"/>
                  </a:lnTo>
                  <a:lnTo>
                    <a:pt x="0" y="135"/>
                  </a:lnTo>
                  <a:lnTo>
                    <a:pt x="16" y="152"/>
                  </a:lnTo>
                  <a:lnTo>
                    <a:pt x="20" y="152"/>
                  </a:lnTo>
                  <a:lnTo>
                    <a:pt x="30" y="172"/>
                  </a:lnTo>
                  <a:lnTo>
                    <a:pt x="35" y="172"/>
                  </a:lnTo>
                  <a:lnTo>
                    <a:pt x="45" y="202"/>
                  </a:lnTo>
                  <a:lnTo>
                    <a:pt x="41" y="223"/>
                  </a:lnTo>
                  <a:lnTo>
                    <a:pt x="61" y="229"/>
                  </a:lnTo>
                  <a:lnTo>
                    <a:pt x="82" y="206"/>
                  </a:lnTo>
                  <a:lnTo>
                    <a:pt x="93" y="217"/>
                  </a:lnTo>
                  <a:lnTo>
                    <a:pt x="119" y="287"/>
                  </a:lnTo>
                  <a:lnTo>
                    <a:pt x="118" y="298"/>
                  </a:lnTo>
                  <a:lnTo>
                    <a:pt x="123" y="317"/>
                  </a:lnTo>
                  <a:lnTo>
                    <a:pt x="118" y="341"/>
                  </a:lnTo>
                  <a:lnTo>
                    <a:pt x="136" y="300"/>
                  </a:lnTo>
                  <a:lnTo>
                    <a:pt x="136" y="30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61" name="Freeform 5647"/>
            <p:cNvSpPr>
              <a:spLocks/>
            </p:cNvSpPr>
            <p:nvPr>
              <p:custDataLst>
                <p:tags r:id="rId7"/>
              </p:custDataLst>
            </p:nvPr>
          </p:nvSpPr>
          <p:spPr bwMode="gray">
            <a:xfrm>
              <a:off x="8746456" y="3999606"/>
              <a:ext cx="108587" cy="101669"/>
            </a:xfrm>
            <a:custGeom>
              <a:avLst/>
              <a:gdLst/>
              <a:ahLst/>
              <a:cxnLst>
                <a:cxn ang="0">
                  <a:pos x="0" y="28"/>
                </a:cxn>
                <a:cxn ang="0">
                  <a:pos x="7" y="10"/>
                </a:cxn>
                <a:cxn ang="0">
                  <a:pos x="44" y="8"/>
                </a:cxn>
                <a:cxn ang="0">
                  <a:pos x="58" y="12"/>
                </a:cxn>
                <a:cxn ang="0">
                  <a:pos x="59" y="6"/>
                </a:cxn>
                <a:cxn ang="0">
                  <a:pos x="78" y="0"/>
                </a:cxn>
                <a:cxn ang="0">
                  <a:pos x="84" y="43"/>
                </a:cxn>
                <a:cxn ang="0">
                  <a:pos x="59" y="56"/>
                </a:cxn>
                <a:cxn ang="0">
                  <a:pos x="58" y="70"/>
                </a:cxn>
                <a:cxn ang="0">
                  <a:pos x="39" y="79"/>
                </a:cxn>
                <a:cxn ang="0">
                  <a:pos x="18" y="70"/>
                </a:cxn>
                <a:cxn ang="0">
                  <a:pos x="5" y="49"/>
                </a:cxn>
                <a:cxn ang="0">
                  <a:pos x="0" y="28"/>
                </a:cxn>
                <a:cxn ang="0">
                  <a:pos x="0" y="28"/>
                </a:cxn>
              </a:cxnLst>
              <a:rect l="0" t="0" r="r" b="b"/>
              <a:pathLst>
                <a:path w="84" h="79">
                  <a:moveTo>
                    <a:pt x="0" y="28"/>
                  </a:moveTo>
                  <a:lnTo>
                    <a:pt x="7" y="10"/>
                  </a:lnTo>
                  <a:lnTo>
                    <a:pt x="44" y="8"/>
                  </a:lnTo>
                  <a:lnTo>
                    <a:pt x="58" y="12"/>
                  </a:lnTo>
                  <a:lnTo>
                    <a:pt x="59" y="6"/>
                  </a:lnTo>
                  <a:lnTo>
                    <a:pt x="78" y="0"/>
                  </a:lnTo>
                  <a:lnTo>
                    <a:pt x="84" y="43"/>
                  </a:lnTo>
                  <a:lnTo>
                    <a:pt x="59" y="56"/>
                  </a:lnTo>
                  <a:lnTo>
                    <a:pt x="58" y="70"/>
                  </a:lnTo>
                  <a:lnTo>
                    <a:pt x="39" y="79"/>
                  </a:lnTo>
                  <a:lnTo>
                    <a:pt x="18" y="70"/>
                  </a:lnTo>
                  <a:lnTo>
                    <a:pt x="5" y="49"/>
                  </a:lnTo>
                  <a:lnTo>
                    <a:pt x="0" y="28"/>
                  </a:lnTo>
                  <a:lnTo>
                    <a:pt x="0" y="2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62" name="Freeform 5648"/>
            <p:cNvSpPr>
              <a:spLocks/>
            </p:cNvSpPr>
            <p:nvPr>
              <p:custDataLst>
                <p:tags r:id="rId8"/>
              </p:custDataLst>
            </p:nvPr>
          </p:nvSpPr>
          <p:spPr bwMode="gray">
            <a:xfrm>
              <a:off x="8390217" y="3722912"/>
              <a:ext cx="108587" cy="132555"/>
            </a:xfrm>
            <a:custGeom>
              <a:avLst/>
              <a:gdLst/>
              <a:ahLst/>
              <a:cxnLst>
                <a:cxn ang="0">
                  <a:pos x="11" y="39"/>
                </a:cxn>
                <a:cxn ang="0">
                  <a:pos x="0" y="30"/>
                </a:cxn>
                <a:cxn ang="0">
                  <a:pos x="9" y="17"/>
                </a:cxn>
                <a:cxn ang="0">
                  <a:pos x="2" y="15"/>
                </a:cxn>
                <a:cxn ang="0">
                  <a:pos x="2" y="5"/>
                </a:cxn>
                <a:cxn ang="0">
                  <a:pos x="6" y="0"/>
                </a:cxn>
                <a:cxn ang="0">
                  <a:pos x="11" y="5"/>
                </a:cxn>
                <a:cxn ang="0">
                  <a:pos x="13" y="0"/>
                </a:cxn>
                <a:cxn ang="0">
                  <a:pos x="23" y="4"/>
                </a:cxn>
                <a:cxn ang="0">
                  <a:pos x="34" y="20"/>
                </a:cxn>
                <a:cxn ang="0">
                  <a:pos x="69" y="24"/>
                </a:cxn>
                <a:cxn ang="0">
                  <a:pos x="52" y="43"/>
                </a:cxn>
                <a:cxn ang="0">
                  <a:pos x="54" y="50"/>
                </a:cxn>
                <a:cxn ang="0">
                  <a:pos x="66" y="58"/>
                </a:cxn>
                <a:cxn ang="0">
                  <a:pos x="69" y="49"/>
                </a:cxn>
                <a:cxn ang="0">
                  <a:pos x="73" y="52"/>
                </a:cxn>
                <a:cxn ang="0">
                  <a:pos x="84" y="82"/>
                </a:cxn>
                <a:cxn ang="0">
                  <a:pos x="81" y="103"/>
                </a:cxn>
                <a:cxn ang="0">
                  <a:pos x="62" y="67"/>
                </a:cxn>
                <a:cxn ang="0">
                  <a:pos x="45" y="84"/>
                </a:cxn>
                <a:cxn ang="0">
                  <a:pos x="24" y="88"/>
                </a:cxn>
                <a:cxn ang="0">
                  <a:pos x="11" y="39"/>
                </a:cxn>
                <a:cxn ang="0">
                  <a:pos x="11" y="39"/>
                </a:cxn>
              </a:cxnLst>
              <a:rect l="0" t="0" r="r" b="b"/>
              <a:pathLst>
                <a:path w="84" h="103">
                  <a:moveTo>
                    <a:pt x="11" y="39"/>
                  </a:moveTo>
                  <a:lnTo>
                    <a:pt x="0" y="30"/>
                  </a:lnTo>
                  <a:lnTo>
                    <a:pt x="9" y="17"/>
                  </a:lnTo>
                  <a:lnTo>
                    <a:pt x="2" y="15"/>
                  </a:lnTo>
                  <a:lnTo>
                    <a:pt x="2" y="5"/>
                  </a:lnTo>
                  <a:lnTo>
                    <a:pt x="6" y="0"/>
                  </a:lnTo>
                  <a:lnTo>
                    <a:pt x="11" y="5"/>
                  </a:lnTo>
                  <a:lnTo>
                    <a:pt x="13" y="0"/>
                  </a:lnTo>
                  <a:lnTo>
                    <a:pt x="23" y="4"/>
                  </a:lnTo>
                  <a:lnTo>
                    <a:pt x="34" y="20"/>
                  </a:lnTo>
                  <a:lnTo>
                    <a:pt x="69" y="24"/>
                  </a:lnTo>
                  <a:lnTo>
                    <a:pt x="52" y="43"/>
                  </a:lnTo>
                  <a:lnTo>
                    <a:pt x="54" y="50"/>
                  </a:lnTo>
                  <a:lnTo>
                    <a:pt x="66" y="58"/>
                  </a:lnTo>
                  <a:lnTo>
                    <a:pt x="69" y="49"/>
                  </a:lnTo>
                  <a:lnTo>
                    <a:pt x="73" y="52"/>
                  </a:lnTo>
                  <a:lnTo>
                    <a:pt x="84" y="82"/>
                  </a:lnTo>
                  <a:lnTo>
                    <a:pt x="81" y="103"/>
                  </a:lnTo>
                  <a:lnTo>
                    <a:pt x="62" y="67"/>
                  </a:lnTo>
                  <a:lnTo>
                    <a:pt x="45" y="84"/>
                  </a:lnTo>
                  <a:lnTo>
                    <a:pt x="24" y="88"/>
                  </a:lnTo>
                  <a:lnTo>
                    <a:pt x="11" y="39"/>
                  </a:lnTo>
                  <a:lnTo>
                    <a:pt x="11" y="3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63" name="Freeform 5649"/>
            <p:cNvSpPr>
              <a:spLocks/>
            </p:cNvSpPr>
            <p:nvPr>
              <p:custDataLst>
                <p:tags r:id="rId9"/>
              </p:custDataLst>
            </p:nvPr>
          </p:nvSpPr>
          <p:spPr bwMode="gray">
            <a:xfrm>
              <a:off x="7482194" y="3402462"/>
              <a:ext cx="421421" cy="346189"/>
            </a:xfrm>
            <a:custGeom>
              <a:avLst/>
              <a:gdLst/>
              <a:ahLst/>
              <a:cxnLst>
                <a:cxn ang="0">
                  <a:pos x="234" y="260"/>
                </a:cxn>
                <a:cxn ang="0">
                  <a:pos x="223" y="238"/>
                </a:cxn>
                <a:cxn ang="0">
                  <a:pos x="193" y="249"/>
                </a:cxn>
                <a:cxn ang="0">
                  <a:pos x="178" y="245"/>
                </a:cxn>
                <a:cxn ang="0">
                  <a:pos x="138" y="223"/>
                </a:cxn>
                <a:cxn ang="0">
                  <a:pos x="116" y="185"/>
                </a:cxn>
                <a:cxn ang="0">
                  <a:pos x="93" y="174"/>
                </a:cxn>
                <a:cxn ang="0">
                  <a:pos x="90" y="181"/>
                </a:cxn>
                <a:cxn ang="0">
                  <a:pos x="73" y="163"/>
                </a:cxn>
                <a:cxn ang="0">
                  <a:pos x="63" y="136"/>
                </a:cxn>
                <a:cxn ang="0">
                  <a:pos x="43" y="125"/>
                </a:cxn>
                <a:cxn ang="0">
                  <a:pos x="32" y="108"/>
                </a:cxn>
                <a:cxn ang="0">
                  <a:pos x="41" y="84"/>
                </a:cxn>
                <a:cxn ang="0">
                  <a:pos x="15" y="48"/>
                </a:cxn>
                <a:cxn ang="0">
                  <a:pos x="0" y="9"/>
                </a:cxn>
                <a:cxn ang="0">
                  <a:pos x="5" y="0"/>
                </a:cxn>
                <a:cxn ang="0">
                  <a:pos x="5" y="0"/>
                </a:cxn>
                <a:cxn ang="0">
                  <a:pos x="20" y="17"/>
                </a:cxn>
                <a:cxn ang="0">
                  <a:pos x="30" y="17"/>
                </a:cxn>
                <a:cxn ang="0">
                  <a:pos x="35" y="17"/>
                </a:cxn>
                <a:cxn ang="0">
                  <a:pos x="39" y="17"/>
                </a:cxn>
                <a:cxn ang="0">
                  <a:pos x="56" y="3"/>
                </a:cxn>
                <a:cxn ang="0">
                  <a:pos x="60" y="5"/>
                </a:cxn>
                <a:cxn ang="0">
                  <a:pos x="60" y="17"/>
                </a:cxn>
                <a:cxn ang="0">
                  <a:pos x="73" y="26"/>
                </a:cxn>
                <a:cxn ang="0">
                  <a:pos x="73" y="26"/>
                </a:cxn>
                <a:cxn ang="0">
                  <a:pos x="78" y="43"/>
                </a:cxn>
                <a:cxn ang="0">
                  <a:pos x="120" y="62"/>
                </a:cxn>
                <a:cxn ang="0">
                  <a:pos x="155" y="56"/>
                </a:cxn>
                <a:cxn ang="0">
                  <a:pos x="153" y="45"/>
                </a:cxn>
                <a:cxn ang="0">
                  <a:pos x="153" y="45"/>
                </a:cxn>
                <a:cxn ang="0">
                  <a:pos x="174" y="32"/>
                </a:cxn>
                <a:cxn ang="0">
                  <a:pos x="198" y="30"/>
                </a:cxn>
                <a:cxn ang="0">
                  <a:pos x="269" y="63"/>
                </a:cxn>
                <a:cxn ang="0">
                  <a:pos x="271" y="75"/>
                </a:cxn>
                <a:cxn ang="0">
                  <a:pos x="271" y="75"/>
                </a:cxn>
                <a:cxn ang="0">
                  <a:pos x="271" y="91"/>
                </a:cxn>
                <a:cxn ang="0">
                  <a:pos x="264" y="106"/>
                </a:cxn>
                <a:cxn ang="0">
                  <a:pos x="264" y="108"/>
                </a:cxn>
                <a:cxn ang="0">
                  <a:pos x="275" y="150"/>
                </a:cxn>
                <a:cxn ang="0">
                  <a:pos x="288" y="155"/>
                </a:cxn>
                <a:cxn ang="0">
                  <a:pos x="292" y="165"/>
                </a:cxn>
                <a:cxn ang="0">
                  <a:pos x="283" y="185"/>
                </a:cxn>
                <a:cxn ang="0">
                  <a:pos x="299" y="210"/>
                </a:cxn>
                <a:cxn ang="0">
                  <a:pos x="313" y="215"/>
                </a:cxn>
                <a:cxn ang="0">
                  <a:pos x="326" y="234"/>
                </a:cxn>
                <a:cxn ang="0">
                  <a:pos x="324" y="241"/>
                </a:cxn>
                <a:cxn ang="0">
                  <a:pos x="305" y="254"/>
                </a:cxn>
                <a:cxn ang="0">
                  <a:pos x="303" y="269"/>
                </a:cxn>
                <a:cxn ang="0">
                  <a:pos x="234" y="260"/>
                </a:cxn>
                <a:cxn ang="0">
                  <a:pos x="234" y="260"/>
                </a:cxn>
              </a:cxnLst>
              <a:rect l="0" t="0" r="r" b="b"/>
              <a:pathLst>
                <a:path w="326" h="269">
                  <a:moveTo>
                    <a:pt x="234" y="260"/>
                  </a:moveTo>
                  <a:lnTo>
                    <a:pt x="223" y="238"/>
                  </a:lnTo>
                  <a:lnTo>
                    <a:pt x="193" y="249"/>
                  </a:lnTo>
                  <a:lnTo>
                    <a:pt x="178" y="245"/>
                  </a:lnTo>
                  <a:lnTo>
                    <a:pt x="138" y="223"/>
                  </a:lnTo>
                  <a:lnTo>
                    <a:pt x="116" y="185"/>
                  </a:lnTo>
                  <a:lnTo>
                    <a:pt x="93" y="174"/>
                  </a:lnTo>
                  <a:lnTo>
                    <a:pt x="90" y="181"/>
                  </a:lnTo>
                  <a:lnTo>
                    <a:pt x="73" y="163"/>
                  </a:lnTo>
                  <a:lnTo>
                    <a:pt x="63" y="136"/>
                  </a:lnTo>
                  <a:lnTo>
                    <a:pt x="43" y="125"/>
                  </a:lnTo>
                  <a:lnTo>
                    <a:pt x="32" y="108"/>
                  </a:lnTo>
                  <a:lnTo>
                    <a:pt x="41" y="84"/>
                  </a:lnTo>
                  <a:lnTo>
                    <a:pt x="15" y="48"/>
                  </a:lnTo>
                  <a:lnTo>
                    <a:pt x="0" y="9"/>
                  </a:lnTo>
                  <a:lnTo>
                    <a:pt x="5" y="0"/>
                  </a:lnTo>
                  <a:lnTo>
                    <a:pt x="5" y="0"/>
                  </a:lnTo>
                  <a:lnTo>
                    <a:pt x="20" y="17"/>
                  </a:lnTo>
                  <a:lnTo>
                    <a:pt x="30" y="17"/>
                  </a:lnTo>
                  <a:lnTo>
                    <a:pt x="35" y="17"/>
                  </a:lnTo>
                  <a:lnTo>
                    <a:pt x="39" y="17"/>
                  </a:lnTo>
                  <a:lnTo>
                    <a:pt x="56" y="3"/>
                  </a:lnTo>
                  <a:lnTo>
                    <a:pt x="60" y="5"/>
                  </a:lnTo>
                  <a:lnTo>
                    <a:pt x="60" y="17"/>
                  </a:lnTo>
                  <a:lnTo>
                    <a:pt x="73" y="26"/>
                  </a:lnTo>
                  <a:lnTo>
                    <a:pt x="73" y="26"/>
                  </a:lnTo>
                  <a:lnTo>
                    <a:pt x="78" y="43"/>
                  </a:lnTo>
                  <a:lnTo>
                    <a:pt x="120" y="62"/>
                  </a:lnTo>
                  <a:lnTo>
                    <a:pt x="155" y="56"/>
                  </a:lnTo>
                  <a:lnTo>
                    <a:pt x="153" y="45"/>
                  </a:lnTo>
                  <a:lnTo>
                    <a:pt x="153" y="45"/>
                  </a:lnTo>
                  <a:lnTo>
                    <a:pt x="174" y="32"/>
                  </a:lnTo>
                  <a:lnTo>
                    <a:pt x="198" y="30"/>
                  </a:lnTo>
                  <a:lnTo>
                    <a:pt x="269" y="63"/>
                  </a:lnTo>
                  <a:lnTo>
                    <a:pt x="271" y="75"/>
                  </a:lnTo>
                  <a:lnTo>
                    <a:pt x="271" y="75"/>
                  </a:lnTo>
                  <a:lnTo>
                    <a:pt x="271" y="91"/>
                  </a:lnTo>
                  <a:lnTo>
                    <a:pt x="264" y="106"/>
                  </a:lnTo>
                  <a:lnTo>
                    <a:pt x="264" y="108"/>
                  </a:lnTo>
                  <a:lnTo>
                    <a:pt x="275" y="150"/>
                  </a:lnTo>
                  <a:lnTo>
                    <a:pt x="288" y="155"/>
                  </a:lnTo>
                  <a:lnTo>
                    <a:pt x="292" y="165"/>
                  </a:lnTo>
                  <a:lnTo>
                    <a:pt x="283" y="185"/>
                  </a:lnTo>
                  <a:lnTo>
                    <a:pt x="299" y="210"/>
                  </a:lnTo>
                  <a:lnTo>
                    <a:pt x="313" y="215"/>
                  </a:lnTo>
                  <a:lnTo>
                    <a:pt x="326" y="234"/>
                  </a:lnTo>
                  <a:lnTo>
                    <a:pt x="324" y="241"/>
                  </a:lnTo>
                  <a:lnTo>
                    <a:pt x="305" y="254"/>
                  </a:lnTo>
                  <a:lnTo>
                    <a:pt x="303" y="269"/>
                  </a:lnTo>
                  <a:lnTo>
                    <a:pt x="234" y="260"/>
                  </a:lnTo>
                  <a:lnTo>
                    <a:pt x="234" y="26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64" name="Freeform 5650"/>
            <p:cNvSpPr>
              <a:spLocks/>
            </p:cNvSpPr>
            <p:nvPr>
              <p:custDataLst>
                <p:tags r:id="rId10"/>
              </p:custDataLst>
            </p:nvPr>
          </p:nvSpPr>
          <p:spPr bwMode="gray">
            <a:xfrm>
              <a:off x="7823467" y="3435923"/>
              <a:ext cx="268882" cy="214920"/>
            </a:xfrm>
            <a:custGeom>
              <a:avLst/>
              <a:gdLst/>
              <a:ahLst/>
              <a:cxnLst>
                <a:cxn ang="0">
                  <a:pos x="80" y="21"/>
                </a:cxn>
                <a:cxn ang="0">
                  <a:pos x="99" y="26"/>
                </a:cxn>
                <a:cxn ang="0">
                  <a:pos x="105" y="26"/>
                </a:cxn>
                <a:cxn ang="0">
                  <a:pos x="122" y="24"/>
                </a:cxn>
                <a:cxn ang="0">
                  <a:pos x="125" y="15"/>
                </a:cxn>
                <a:cxn ang="0">
                  <a:pos x="135" y="17"/>
                </a:cxn>
                <a:cxn ang="0">
                  <a:pos x="142" y="0"/>
                </a:cxn>
                <a:cxn ang="0">
                  <a:pos x="155" y="9"/>
                </a:cxn>
                <a:cxn ang="0">
                  <a:pos x="161" y="32"/>
                </a:cxn>
                <a:cxn ang="0">
                  <a:pos x="185" y="19"/>
                </a:cxn>
                <a:cxn ang="0">
                  <a:pos x="208" y="22"/>
                </a:cxn>
                <a:cxn ang="0">
                  <a:pos x="204" y="26"/>
                </a:cxn>
                <a:cxn ang="0">
                  <a:pos x="206" y="28"/>
                </a:cxn>
                <a:cxn ang="0">
                  <a:pos x="193" y="30"/>
                </a:cxn>
                <a:cxn ang="0">
                  <a:pos x="180" y="30"/>
                </a:cxn>
                <a:cxn ang="0">
                  <a:pos x="161" y="41"/>
                </a:cxn>
                <a:cxn ang="0">
                  <a:pos x="167" y="64"/>
                </a:cxn>
                <a:cxn ang="0">
                  <a:pos x="161" y="82"/>
                </a:cxn>
                <a:cxn ang="0">
                  <a:pos x="146" y="82"/>
                </a:cxn>
                <a:cxn ang="0">
                  <a:pos x="152" y="92"/>
                </a:cxn>
                <a:cxn ang="0">
                  <a:pos x="144" y="101"/>
                </a:cxn>
                <a:cxn ang="0">
                  <a:pos x="140" y="124"/>
                </a:cxn>
                <a:cxn ang="0">
                  <a:pos x="108" y="131"/>
                </a:cxn>
                <a:cxn ang="0">
                  <a:pos x="103" y="139"/>
                </a:cxn>
                <a:cxn ang="0">
                  <a:pos x="101" y="159"/>
                </a:cxn>
                <a:cxn ang="0">
                  <a:pos x="41" y="167"/>
                </a:cxn>
                <a:cxn ang="0">
                  <a:pos x="19" y="159"/>
                </a:cxn>
                <a:cxn ang="0">
                  <a:pos x="19" y="159"/>
                </a:cxn>
                <a:cxn ang="0">
                  <a:pos x="28" y="139"/>
                </a:cxn>
                <a:cxn ang="0">
                  <a:pos x="24" y="129"/>
                </a:cxn>
                <a:cxn ang="0">
                  <a:pos x="11" y="124"/>
                </a:cxn>
                <a:cxn ang="0">
                  <a:pos x="0" y="82"/>
                </a:cxn>
                <a:cxn ang="0">
                  <a:pos x="0" y="80"/>
                </a:cxn>
                <a:cxn ang="0">
                  <a:pos x="7" y="65"/>
                </a:cxn>
                <a:cxn ang="0">
                  <a:pos x="7" y="49"/>
                </a:cxn>
                <a:cxn ang="0">
                  <a:pos x="7" y="49"/>
                </a:cxn>
                <a:cxn ang="0">
                  <a:pos x="30" y="54"/>
                </a:cxn>
                <a:cxn ang="0">
                  <a:pos x="37" y="49"/>
                </a:cxn>
                <a:cxn ang="0">
                  <a:pos x="54" y="39"/>
                </a:cxn>
                <a:cxn ang="0">
                  <a:pos x="58" y="22"/>
                </a:cxn>
                <a:cxn ang="0">
                  <a:pos x="65" y="22"/>
                </a:cxn>
                <a:cxn ang="0">
                  <a:pos x="67" y="17"/>
                </a:cxn>
                <a:cxn ang="0">
                  <a:pos x="80" y="21"/>
                </a:cxn>
                <a:cxn ang="0">
                  <a:pos x="80" y="21"/>
                </a:cxn>
              </a:cxnLst>
              <a:rect l="0" t="0" r="r" b="b"/>
              <a:pathLst>
                <a:path w="208" h="167">
                  <a:moveTo>
                    <a:pt x="80" y="21"/>
                  </a:moveTo>
                  <a:lnTo>
                    <a:pt x="99" y="26"/>
                  </a:lnTo>
                  <a:lnTo>
                    <a:pt x="105" y="26"/>
                  </a:lnTo>
                  <a:lnTo>
                    <a:pt x="122" y="24"/>
                  </a:lnTo>
                  <a:lnTo>
                    <a:pt x="125" y="15"/>
                  </a:lnTo>
                  <a:lnTo>
                    <a:pt x="135" y="17"/>
                  </a:lnTo>
                  <a:lnTo>
                    <a:pt x="142" y="0"/>
                  </a:lnTo>
                  <a:lnTo>
                    <a:pt x="155" y="9"/>
                  </a:lnTo>
                  <a:lnTo>
                    <a:pt x="161" y="32"/>
                  </a:lnTo>
                  <a:lnTo>
                    <a:pt x="185" y="19"/>
                  </a:lnTo>
                  <a:lnTo>
                    <a:pt x="208" y="22"/>
                  </a:lnTo>
                  <a:lnTo>
                    <a:pt x="204" y="26"/>
                  </a:lnTo>
                  <a:lnTo>
                    <a:pt x="206" y="28"/>
                  </a:lnTo>
                  <a:lnTo>
                    <a:pt x="193" y="30"/>
                  </a:lnTo>
                  <a:lnTo>
                    <a:pt x="180" y="30"/>
                  </a:lnTo>
                  <a:lnTo>
                    <a:pt x="161" y="41"/>
                  </a:lnTo>
                  <a:lnTo>
                    <a:pt x="167" y="64"/>
                  </a:lnTo>
                  <a:lnTo>
                    <a:pt x="161" y="82"/>
                  </a:lnTo>
                  <a:lnTo>
                    <a:pt x="146" y="82"/>
                  </a:lnTo>
                  <a:lnTo>
                    <a:pt x="152" y="92"/>
                  </a:lnTo>
                  <a:lnTo>
                    <a:pt x="144" y="101"/>
                  </a:lnTo>
                  <a:lnTo>
                    <a:pt x="140" y="124"/>
                  </a:lnTo>
                  <a:lnTo>
                    <a:pt x="108" y="131"/>
                  </a:lnTo>
                  <a:lnTo>
                    <a:pt x="103" y="139"/>
                  </a:lnTo>
                  <a:lnTo>
                    <a:pt x="101" y="159"/>
                  </a:lnTo>
                  <a:lnTo>
                    <a:pt x="41" y="167"/>
                  </a:lnTo>
                  <a:lnTo>
                    <a:pt x="19" y="159"/>
                  </a:lnTo>
                  <a:lnTo>
                    <a:pt x="19" y="159"/>
                  </a:lnTo>
                  <a:lnTo>
                    <a:pt x="28" y="139"/>
                  </a:lnTo>
                  <a:lnTo>
                    <a:pt x="24" y="129"/>
                  </a:lnTo>
                  <a:lnTo>
                    <a:pt x="11" y="124"/>
                  </a:lnTo>
                  <a:lnTo>
                    <a:pt x="0" y="82"/>
                  </a:lnTo>
                  <a:lnTo>
                    <a:pt x="0" y="80"/>
                  </a:lnTo>
                  <a:lnTo>
                    <a:pt x="7" y="65"/>
                  </a:lnTo>
                  <a:lnTo>
                    <a:pt x="7" y="49"/>
                  </a:lnTo>
                  <a:lnTo>
                    <a:pt x="7" y="49"/>
                  </a:lnTo>
                  <a:lnTo>
                    <a:pt x="30" y="54"/>
                  </a:lnTo>
                  <a:lnTo>
                    <a:pt x="37" y="49"/>
                  </a:lnTo>
                  <a:lnTo>
                    <a:pt x="54" y="39"/>
                  </a:lnTo>
                  <a:lnTo>
                    <a:pt x="58" y="22"/>
                  </a:lnTo>
                  <a:lnTo>
                    <a:pt x="65" y="22"/>
                  </a:lnTo>
                  <a:lnTo>
                    <a:pt x="67" y="17"/>
                  </a:lnTo>
                  <a:lnTo>
                    <a:pt x="80" y="21"/>
                  </a:lnTo>
                  <a:lnTo>
                    <a:pt x="80" y="2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65" name="Freeform 5651"/>
            <p:cNvSpPr>
              <a:spLocks/>
            </p:cNvSpPr>
            <p:nvPr>
              <p:custDataLst>
                <p:tags r:id="rId11"/>
              </p:custDataLst>
            </p:nvPr>
          </p:nvSpPr>
          <p:spPr bwMode="gray">
            <a:xfrm>
              <a:off x="9033436" y="3334254"/>
              <a:ext cx="99538" cy="118399"/>
            </a:xfrm>
            <a:custGeom>
              <a:avLst/>
              <a:gdLst/>
              <a:ahLst/>
              <a:cxnLst>
                <a:cxn ang="0">
                  <a:pos x="58" y="0"/>
                </a:cxn>
                <a:cxn ang="0">
                  <a:pos x="55" y="15"/>
                </a:cxn>
                <a:cxn ang="0">
                  <a:pos x="44" y="15"/>
                </a:cxn>
                <a:cxn ang="0">
                  <a:pos x="44" y="26"/>
                </a:cxn>
                <a:cxn ang="0">
                  <a:pos x="27" y="23"/>
                </a:cxn>
                <a:cxn ang="0">
                  <a:pos x="0" y="58"/>
                </a:cxn>
                <a:cxn ang="0">
                  <a:pos x="23" y="62"/>
                </a:cxn>
                <a:cxn ang="0">
                  <a:pos x="25" y="86"/>
                </a:cxn>
                <a:cxn ang="0">
                  <a:pos x="55" y="92"/>
                </a:cxn>
                <a:cxn ang="0">
                  <a:pos x="60" y="85"/>
                </a:cxn>
                <a:cxn ang="0">
                  <a:pos x="77" y="79"/>
                </a:cxn>
                <a:cxn ang="0">
                  <a:pos x="53" y="64"/>
                </a:cxn>
                <a:cxn ang="0">
                  <a:pos x="49" y="55"/>
                </a:cxn>
                <a:cxn ang="0">
                  <a:pos x="75" y="36"/>
                </a:cxn>
                <a:cxn ang="0">
                  <a:pos x="66" y="23"/>
                </a:cxn>
                <a:cxn ang="0">
                  <a:pos x="75" y="4"/>
                </a:cxn>
                <a:cxn ang="0">
                  <a:pos x="58" y="0"/>
                </a:cxn>
                <a:cxn ang="0">
                  <a:pos x="58" y="0"/>
                </a:cxn>
              </a:cxnLst>
              <a:rect l="0" t="0" r="r" b="b"/>
              <a:pathLst>
                <a:path w="77" h="92">
                  <a:moveTo>
                    <a:pt x="58" y="0"/>
                  </a:moveTo>
                  <a:lnTo>
                    <a:pt x="55" y="15"/>
                  </a:lnTo>
                  <a:lnTo>
                    <a:pt x="44" y="15"/>
                  </a:lnTo>
                  <a:lnTo>
                    <a:pt x="44" y="26"/>
                  </a:lnTo>
                  <a:lnTo>
                    <a:pt x="27" y="23"/>
                  </a:lnTo>
                  <a:lnTo>
                    <a:pt x="0" y="58"/>
                  </a:lnTo>
                  <a:lnTo>
                    <a:pt x="23" y="62"/>
                  </a:lnTo>
                  <a:lnTo>
                    <a:pt x="25" y="86"/>
                  </a:lnTo>
                  <a:lnTo>
                    <a:pt x="55" y="92"/>
                  </a:lnTo>
                  <a:lnTo>
                    <a:pt x="60" y="85"/>
                  </a:lnTo>
                  <a:lnTo>
                    <a:pt x="77" y="79"/>
                  </a:lnTo>
                  <a:lnTo>
                    <a:pt x="53" y="64"/>
                  </a:lnTo>
                  <a:lnTo>
                    <a:pt x="49" y="55"/>
                  </a:lnTo>
                  <a:lnTo>
                    <a:pt x="75" y="36"/>
                  </a:lnTo>
                  <a:lnTo>
                    <a:pt x="66" y="23"/>
                  </a:lnTo>
                  <a:lnTo>
                    <a:pt x="75" y="4"/>
                  </a:lnTo>
                  <a:lnTo>
                    <a:pt x="58" y="0"/>
                  </a:lnTo>
                  <a:lnTo>
                    <a:pt x="58"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66" name="Freeform 5657"/>
            <p:cNvSpPr>
              <a:spLocks/>
            </p:cNvSpPr>
            <p:nvPr>
              <p:custDataLst>
                <p:tags r:id="rId12"/>
              </p:custDataLst>
            </p:nvPr>
          </p:nvSpPr>
          <p:spPr bwMode="gray">
            <a:xfrm>
              <a:off x="5119135" y="3879920"/>
              <a:ext cx="74977" cy="52765"/>
            </a:xfrm>
            <a:custGeom>
              <a:avLst/>
              <a:gdLst/>
              <a:ahLst/>
              <a:cxnLst>
                <a:cxn ang="0">
                  <a:pos x="5" y="0"/>
                </a:cxn>
                <a:cxn ang="0">
                  <a:pos x="33" y="1"/>
                </a:cxn>
                <a:cxn ang="0">
                  <a:pos x="35" y="7"/>
                </a:cxn>
                <a:cxn ang="0">
                  <a:pos x="45" y="7"/>
                </a:cxn>
                <a:cxn ang="0">
                  <a:pos x="37" y="13"/>
                </a:cxn>
                <a:cxn ang="0">
                  <a:pos x="52" y="16"/>
                </a:cxn>
                <a:cxn ang="0">
                  <a:pos x="58" y="24"/>
                </a:cxn>
                <a:cxn ang="0">
                  <a:pos x="50" y="31"/>
                </a:cxn>
                <a:cxn ang="0">
                  <a:pos x="46" y="24"/>
                </a:cxn>
                <a:cxn ang="0">
                  <a:pos x="20" y="30"/>
                </a:cxn>
                <a:cxn ang="0">
                  <a:pos x="20" y="24"/>
                </a:cxn>
                <a:cxn ang="0">
                  <a:pos x="13" y="28"/>
                </a:cxn>
                <a:cxn ang="0">
                  <a:pos x="5" y="41"/>
                </a:cxn>
                <a:cxn ang="0">
                  <a:pos x="0" y="31"/>
                </a:cxn>
                <a:cxn ang="0">
                  <a:pos x="5" y="0"/>
                </a:cxn>
                <a:cxn ang="0">
                  <a:pos x="5" y="0"/>
                </a:cxn>
              </a:cxnLst>
              <a:rect l="0" t="0" r="r" b="b"/>
              <a:pathLst>
                <a:path w="58" h="41">
                  <a:moveTo>
                    <a:pt x="5" y="0"/>
                  </a:moveTo>
                  <a:lnTo>
                    <a:pt x="33" y="1"/>
                  </a:lnTo>
                  <a:lnTo>
                    <a:pt x="35" y="7"/>
                  </a:lnTo>
                  <a:lnTo>
                    <a:pt x="45" y="7"/>
                  </a:lnTo>
                  <a:lnTo>
                    <a:pt x="37" y="13"/>
                  </a:lnTo>
                  <a:lnTo>
                    <a:pt x="52" y="16"/>
                  </a:lnTo>
                  <a:lnTo>
                    <a:pt x="58" y="24"/>
                  </a:lnTo>
                  <a:lnTo>
                    <a:pt x="50" y="31"/>
                  </a:lnTo>
                  <a:lnTo>
                    <a:pt x="46" y="24"/>
                  </a:lnTo>
                  <a:lnTo>
                    <a:pt x="20" y="30"/>
                  </a:lnTo>
                  <a:lnTo>
                    <a:pt x="20" y="24"/>
                  </a:lnTo>
                  <a:lnTo>
                    <a:pt x="13" y="28"/>
                  </a:lnTo>
                  <a:lnTo>
                    <a:pt x="5" y="41"/>
                  </a:lnTo>
                  <a:lnTo>
                    <a:pt x="0" y="31"/>
                  </a:lnTo>
                  <a:lnTo>
                    <a:pt x="5" y="0"/>
                  </a:lnTo>
                  <a:lnTo>
                    <a:pt x="5"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67" name="Freeform 5658"/>
            <p:cNvSpPr>
              <a:spLocks/>
            </p:cNvSpPr>
            <p:nvPr>
              <p:custDataLst>
                <p:tags r:id="rId13"/>
              </p:custDataLst>
            </p:nvPr>
          </p:nvSpPr>
          <p:spPr bwMode="gray">
            <a:xfrm>
              <a:off x="5460408" y="4217099"/>
              <a:ext cx="60757" cy="83652"/>
            </a:xfrm>
            <a:custGeom>
              <a:avLst/>
              <a:gdLst/>
              <a:ahLst/>
              <a:cxnLst>
                <a:cxn ang="0">
                  <a:pos x="47" y="28"/>
                </a:cxn>
                <a:cxn ang="0">
                  <a:pos x="24" y="60"/>
                </a:cxn>
                <a:cxn ang="0">
                  <a:pos x="9" y="65"/>
                </a:cxn>
                <a:cxn ang="0">
                  <a:pos x="0" y="60"/>
                </a:cxn>
                <a:cxn ang="0">
                  <a:pos x="9" y="35"/>
                </a:cxn>
                <a:cxn ang="0">
                  <a:pos x="3" y="11"/>
                </a:cxn>
                <a:cxn ang="0">
                  <a:pos x="9" y="0"/>
                </a:cxn>
                <a:cxn ang="0">
                  <a:pos x="47" y="28"/>
                </a:cxn>
                <a:cxn ang="0">
                  <a:pos x="47" y="28"/>
                </a:cxn>
              </a:cxnLst>
              <a:rect l="0" t="0" r="r" b="b"/>
              <a:pathLst>
                <a:path w="47" h="65">
                  <a:moveTo>
                    <a:pt x="47" y="28"/>
                  </a:moveTo>
                  <a:lnTo>
                    <a:pt x="24" y="60"/>
                  </a:lnTo>
                  <a:lnTo>
                    <a:pt x="9" y="65"/>
                  </a:lnTo>
                  <a:lnTo>
                    <a:pt x="0" y="60"/>
                  </a:lnTo>
                  <a:lnTo>
                    <a:pt x="9" y="35"/>
                  </a:lnTo>
                  <a:lnTo>
                    <a:pt x="3" y="11"/>
                  </a:lnTo>
                  <a:lnTo>
                    <a:pt x="9" y="0"/>
                  </a:lnTo>
                  <a:lnTo>
                    <a:pt x="47" y="28"/>
                  </a:lnTo>
                  <a:lnTo>
                    <a:pt x="47" y="2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68" name="Freeform 5659"/>
            <p:cNvSpPr>
              <a:spLocks/>
            </p:cNvSpPr>
            <p:nvPr>
              <p:custDataLst>
                <p:tags r:id="rId14"/>
              </p:custDataLst>
            </p:nvPr>
          </p:nvSpPr>
          <p:spPr bwMode="gray">
            <a:xfrm>
              <a:off x="5385432" y="4206804"/>
              <a:ext cx="86611" cy="99095"/>
            </a:xfrm>
            <a:custGeom>
              <a:avLst/>
              <a:gdLst/>
              <a:ahLst/>
              <a:cxnLst>
                <a:cxn ang="0">
                  <a:pos x="67" y="8"/>
                </a:cxn>
                <a:cxn ang="0">
                  <a:pos x="50" y="0"/>
                </a:cxn>
                <a:cxn ang="0">
                  <a:pos x="16" y="0"/>
                </a:cxn>
                <a:cxn ang="0">
                  <a:pos x="16" y="0"/>
                </a:cxn>
                <a:cxn ang="0">
                  <a:pos x="0" y="32"/>
                </a:cxn>
                <a:cxn ang="0">
                  <a:pos x="26" y="73"/>
                </a:cxn>
                <a:cxn ang="0">
                  <a:pos x="31" y="77"/>
                </a:cxn>
                <a:cxn ang="0">
                  <a:pos x="37" y="66"/>
                </a:cxn>
                <a:cxn ang="0">
                  <a:pos x="58" y="68"/>
                </a:cxn>
                <a:cxn ang="0">
                  <a:pos x="67" y="43"/>
                </a:cxn>
                <a:cxn ang="0">
                  <a:pos x="61" y="19"/>
                </a:cxn>
                <a:cxn ang="0">
                  <a:pos x="67" y="8"/>
                </a:cxn>
                <a:cxn ang="0">
                  <a:pos x="67" y="8"/>
                </a:cxn>
              </a:cxnLst>
              <a:rect l="0" t="0" r="r" b="b"/>
              <a:pathLst>
                <a:path w="67" h="77">
                  <a:moveTo>
                    <a:pt x="67" y="8"/>
                  </a:moveTo>
                  <a:lnTo>
                    <a:pt x="50" y="0"/>
                  </a:lnTo>
                  <a:lnTo>
                    <a:pt x="16" y="0"/>
                  </a:lnTo>
                  <a:lnTo>
                    <a:pt x="16" y="0"/>
                  </a:lnTo>
                  <a:lnTo>
                    <a:pt x="0" y="32"/>
                  </a:lnTo>
                  <a:lnTo>
                    <a:pt x="26" y="73"/>
                  </a:lnTo>
                  <a:lnTo>
                    <a:pt x="31" y="77"/>
                  </a:lnTo>
                  <a:lnTo>
                    <a:pt x="37" y="66"/>
                  </a:lnTo>
                  <a:lnTo>
                    <a:pt x="58" y="68"/>
                  </a:lnTo>
                  <a:lnTo>
                    <a:pt x="67" y="43"/>
                  </a:lnTo>
                  <a:lnTo>
                    <a:pt x="61" y="19"/>
                  </a:lnTo>
                  <a:lnTo>
                    <a:pt x="67" y="8"/>
                  </a:lnTo>
                  <a:lnTo>
                    <a:pt x="67" y="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69" name="Freeform 5660"/>
            <p:cNvSpPr>
              <a:spLocks/>
            </p:cNvSpPr>
            <p:nvPr>
              <p:custDataLst>
                <p:tags r:id="rId15"/>
              </p:custDataLst>
            </p:nvPr>
          </p:nvSpPr>
          <p:spPr bwMode="gray">
            <a:xfrm>
              <a:off x="5319504" y="4151465"/>
              <a:ext cx="99538" cy="167303"/>
            </a:xfrm>
            <a:custGeom>
              <a:avLst/>
              <a:gdLst/>
              <a:ahLst/>
              <a:cxnLst>
                <a:cxn ang="0">
                  <a:pos x="24" y="0"/>
                </a:cxn>
                <a:cxn ang="0">
                  <a:pos x="9" y="12"/>
                </a:cxn>
                <a:cxn ang="0">
                  <a:pos x="8" y="23"/>
                </a:cxn>
                <a:cxn ang="0">
                  <a:pos x="11" y="25"/>
                </a:cxn>
                <a:cxn ang="0">
                  <a:pos x="4" y="30"/>
                </a:cxn>
                <a:cxn ang="0">
                  <a:pos x="0" y="43"/>
                </a:cxn>
                <a:cxn ang="0">
                  <a:pos x="9" y="58"/>
                </a:cxn>
                <a:cxn ang="0">
                  <a:pos x="21" y="60"/>
                </a:cxn>
                <a:cxn ang="0">
                  <a:pos x="26" y="77"/>
                </a:cxn>
                <a:cxn ang="0">
                  <a:pos x="21" y="105"/>
                </a:cxn>
                <a:cxn ang="0">
                  <a:pos x="30" y="126"/>
                </a:cxn>
                <a:cxn ang="0">
                  <a:pos x="39" y="130"/>
                </a:cxn>
                <a:cxn ang="0">
                  <a:pos x="66" y="116"/>
                </a:cxn>
                <a:cxn ang="0">
                  <a:pos x="77" y="116"/>
                </a:cxn>
                <a:cxn ang="0">
                  <a:pos x="51" y="75"/>
                </a:cxn>
                <a:cxn ang="0">
                  <a:pos x="67" y="43"/>
                </a:cxn>
                <a:cxn ang="0">
                  <a:pos x="67" y="43"/>
                </a:cxn>
                <a:cxn ang="0">
                  <a:pos x="51" y="28"/>
                </a:cxn>
                <a:cxn ang="0">
                  <a:pos x="43" y="28"/>
                </a:cxn>
                <a:cxn ang="0">
                  <a:pos x="43" y="13"/>
                </a:cxn>
                <a:cxn ang="0">
                  <a:pos x="24" y="0"/>
                </a:cxn>
                <a:cxn ang="0">
                  <a:pos x="24" y="0"/>
                </a:cxn>
              </a:cxnLst>
              <a:rect l="0" t="0" r="r" b="b"/>
              <a:pathLst>
                <a:path w="77" h="130">
                  <a:moveTo>
                    <a:pt x="24" y="0"/>
                  </a:moveTo>
                  <a:lnTo>
                    <a:pt x="9" y="12"/>
                  </a:lnTo>
                  <a:lnTo>
                    <a:pt x="8" y="23"/>
                  </a:lnTo>
                  <a:lnTo>
                    <a:pt x="11" y="25"/>
                  </a:lnTo>
                  <a:lnTo>
                    <a:pt x="4" y="30"/>
                  </a:lnTo>
                  <a:lnTo>
                    <a:pt x="0" y="43"/>
                  </a:lnTo>
                  <a:lnTo>
                    <a:pt x="9" y="58"/>
                  </a:lnTo>
                  <a:lnTo>
                    <a:pt x="21" y="60"/>
                  </a:lnTo>
                  <a:lnTo>
                    <a:pt x="26" y="77"/>
                  </a:lnTo>
                  <a:lnTo>
                    <a:pt x="21" y="105"/>
                  </a:lnTo>
                  <a:lnTo>
                    <a:pt x="30" y="126"/>
                  </a:lnTo>
                  <a:lnTo>
                    <a:pt x="39" y="130"/>
                  </a:lnTo>
                  <a:lnTo>
                    <a:pt x="66" y="116"/>
                  </a:lnTo>
                  <a:lnTo>
                    <a:pt x="77" y="116"/>
                  </a:lnTo>
                  <a:lnTo>
                    <a:pt x="51" y="75"/>
                  </a:lnTo>
                  <a:lnTo>
                    <a:pt x="67" y="43"/>
                  </a:lnTo>
                  <a:lnTo>
                    <a:pt x="67" y="43"/>
                  </a:lnTo>
                  <a:lnTo>
                    <a:pt x="51" y="28"/>
                  </a:lnTo>
                  <a:lnTo>
                    <a:pt x="43" y="28"/>
                  </a:lnTo>
                  <a:lnTo>
                    <a:pt x="43" y="13"/>
                  </a:lnTo>
                  <a:lnTo>
                    <a:pt x="24" y="0"/>
                  </a:lnTo>
                  <a:lnTo>
                    <a:pt x="24"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70" name="Freeform 5664"/>
            <p:cNvSpPr>
              <a:spLocks/>
            </p:cNvSpPr>
            <p:nvPr>
              <p:custDataLst>
                <p:tags r:id="rId16"/>
              </p:custDataLst>
            </p:nvPr>
          </p:nvSpPr>
          <p:spPr bwMode="gray">
            <a:xfrm>
              <a:off x="4861888" y="3800129"/>
              <a:ext cx="215881" cy="79791"/>
            </a:xfrm>
            <a:custGeom>
              <a:avLst/>
              <a:gdLst/>
              <a:ahLst/>
              <a:cxnLst>
                <a:cxn ang="0">
                  <a:pos x="0" y="24"/>
                </a:cxn>
                <a:cxn ang="0">
                  <a:pos x="11" y="24"/>
                </a:cxn>
                <a:cxn ang="0">
                  <a:pos x="36" y="9"/>
                </a:cxn>
                <a:cxn ang="0">
                  <a:pos x="54" y="11"/>
                </a:cxn>
                <a:cxn ang="0">
                  <a:pos x="45" y="15"/>
                </a:cxn>
                <a:cxn ang="0">
                  <a:pos x="49" y="19"/>
                </a:cxn>
                <a:cxn ang="0">
                  <a:pos x="96" y="30"/>
                </a:cxn>
                <a:cxn ang="0">
                  <a:pos x="107" y="45"/>
                </a:cxn>
                <a:cxn ang="0">
                  <a:pos x="118" y="45"/>
                </a:cxn>
                <a:cxn ang="0">
                  <a:pos x="120" y="52"/>
                </a:cxn>
                <a:cxn ang="0">
                  <a:pos x="109" y="62"/>
                </a:cxn>
                <a:cxn ang="0">
                  <a:pos x="167" y="56"/>
                </a:cxn>
                <a:cxn ang="0">
                  <a:pos x="157" y="47"/>
                </a:cxn>
                <a:cxn ang="0">
                  <a:pos x="142" y="47"/>
                </a:cxn>
                <a:cxn ang="0">
                  <a:pos x="146" y="39"/>
                </a:cxn>
                <a:cxn ang="0">
                  <a:pos x="131" y="35"/>
                </a:cxn>
                <a:cxn ang="0">
                  <a:pos x="105" y="17"/>
                </a:cxn>
                <a:cxn ang="0">
                  <a:pos x="58" y="0"/>
                </a:cxn>
                <a:cxn ang="0">
                  <a:pos x="24" y="5"/>
                </a:cxn>
                <a:cxn ang="0">
                  <a:pos x="0" y="24"/>
                </a:cxn>
                <a:cxn ang="0">
                  <a:pos x="0" y="24"/>
                </a:cxn>
              </a:cxnLst>
              <a:rect l="0" t="0" r="r" b="b"/>
              <a:pathLst>
                <a:path w="167" h="62">
                  <a:moveTo>
                    <a:pt x="0" y="24"/>
                  </a:moveTo>
                  <a:lnTo>
                    <a:pt x="11" y="24"/>
                  </a:lnTo>
                  <a:lnTo>
                    <a:pt x="36" y="9"/>
                  </a:lnTo>
                  <a:lnTo>
                    <a:pt x="54" y="11"/>
                  </a:lnTo>
                  <a:lnTo>
                    <a:pt x="45" y="15"/>
                  </a:lnTo>
                  <a:lnTo>
                    <a:pt x="49" y="19"/>
                  </a:lnTo>
                  <a:lnTo>
                    <a:pt x="96" y="30"/>
                  </a:lnTo>
                  <a:lnTo>
                    <a:pt x="107" y="45"/>
                  </a:lnTo>
                  <a:lnTo>
                    <a:pt x="118" y="45"/>
                  </a:lnTo>
                  <a:lnTo>
                    <a:pt x="120" y="52"/>
                  </a:lnTo>
                  <a:lnTo>
                    <a:pt x="109" y="62"/>
                  </a:lnTo>
                  <a:lnTo>
                    <a:pt x="167" y="56"/>
                  </a:lnTo>
                  <a:lnTo>
                    <a:pt x="157" y="47"/>
                  </a:lnTo>
                  <a:lnTo>
                    <a:pt x="142" y="47"/>
                  </a:lnTo>
                  <a:lnTo>
                    <a:pt x="146" y="39"/>
                  </a:lnTo>
                  <a:lnTo>
                    <a:pt x="131" y="35"/>
                  </a:lnTo>
                  <a:lnTo>
                    <a:pt x="105" y="17"/>
                  </a:lnTo>
                  <a:lnTo>
                    <a:pt x="58" y="0"/>
                  </a:lnTo>
                  <a:lnTo>
                    <a:pt x="24" y="5"/>
                  </a:lnTo>
                  <a:lnTo>
                    <a:pt x="0" y="24"/>
                  </a:lnTo>
                  <a:lnTo>
                    <a:pt x="0" y="2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71" name="Freeform 5665"/>
            <p:cNvSpPr>
              <a:spLocks/>
            </p:cNvSpPr>
            <p:nvPr>
              <p:custDataLst>
                <p:tags r:id="rId17"/>
              </p:custDataLst>
            </p:nvPr>
          </p:nvSpPr>
          <p:spPr bwMode="gray">
            <a:xfrm>
              <a:off x="5355700" y="2601982"/>
              <a:ext cx="202954" cy="47617"/>
            </a:xfrm>
            <a:custGeom>
              <a:avLst/>
              <a:gdLst/>
              <a:ahLst/>
              <a:cxnLst>
                <a:cxn ang="0">
                  <a:pos x="6" y="0"/>
                </a:cxn>
                <a:cxn ang="0">
                  <a:pos x="0" y="5"/>
                </a:cxn>
                <a:cxn ang="0">
                  <a:pos x="4" y="11"/>
                </a:cxn>
                <a:cxn ang="0">
                  <a:pos x="32" y="13"/>
                </a:cxn>
                <a:cxn ang="0">
                  <a:pos x="13" y="33"/>
                </a:cxn>
                <a:cxn ang="0">
                  <a:pos x="32" y="35"/>
                </a:cxn>
                <a:cxn ang="0">
                  <a:pos x="88" y="37"/>
                </a:cxn>
                <a:cxn ang="0">
                  <a:pos x="105" y="33"/>
                </a:cxn>
                <a:cxn ang="0">
                  <a:pos x="118" y="35"/>
                </a:cxn>
                <a:cxn ang="0">
                  <a:pos x="139" y="33"/>
                </a:cxn>
                <a:cxn ang="0">
                  <a:pos x="157" y="22"/>
                </a:cxn>
                <a:cxn ang="0">
                  <a:pos x="64" y="18"/>
                </a:cxn>
                <a:cxn ang="0">
                  <a:pos x="53" y="15"/>
                </a:cxn>
                <a:cxn ang="0">
                  <a:pos x="62" y="13"/>
                </a:cxn>
                <a:cxn ang="0">
                  <a:pos x="53" y="5"/>
                </a:cxn>
                <a:cxn ang="0">
                  <a:pos x="6" y="0"/>
                </a:cxn>
                <a:cxn ang="0">
                  <a:pos x="6" y="0"/>
                </a:cxn>
              </a:cxnLst>
              <a:rect l="0" t="0" r="r" b="b"/>
              <a:pathLst>
                <a:path w="157" h="37">
                  <a:moveTo>
                    <a:pt x="6" y="0"/>
                  </a:moveTo>
                  <a:lnTo>
                    <a:pt x="0" y="5"/>
                  </a:lnTo>
                  <a:lnTo>
                    <a:pt x="4" y="11"/>
                  </a:lnTo>
                  <a:lnTo>
                    <a:pt x="32" y="13"/>
                  </a:lnTo>
                  <a:lnTo>
                    <a:pt x="13" y="33"/>
                  </a:lnTo>
                  <a:lnTo>
                    <a:pt x="32" y="35"/>
                  </a:lnTo>
                  <a:lnTo>
                    <a:pt x="88" y="37"/>
                  </a:lnTo>
                  <a:lnTo>
                    <a:pt x="105" y="33"/>
                  </a:lnTo>
                  <a:lnTo>
                    <a:pt x="118" y="35"/>
                  </a:lnTo>
                  <a:lnTo>
                    <a:pt x="139" y="33"/>
                  </a:lnTo>
                  <a:lnTo>
                    <a:pt x="157" y="22"/>
                  </a:lnTo>
                  <a:lnTo>
                    <a:pt x="64" y="18"/>
                  </a:lnTo>
                  <a:lnTo>
                    <a:pt x="53" y="15"/>
                  </a:lnTo>
                  <a:lnTo>
                    <a:pt x="62" y="13"/>
                  </a:lnTo>
                  <a:lnTo>
                    <a:pt x="53" y="5"/>
                  </a:lnTo>
                  <a:lnTo>
                    <a:pt x="6" y="0"/>
                  </a:lnTo>
                  <a:lnTo>
                    <a:pt x="6"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72" name="Freeform 5666"/>
            <p:cNvSpPr>
              <a:spLocks/>
            </p:cNvSpPr>
            <p:nvPr>
              <p:custDataLst>
                <p:tags r:id="rId18"/>
              </p:custDataLst>
            </p:nvPr>
          </p:nvSpPr>
          <p:spPr bwMode="gray">
            <a:xfrm>
              <a:off x="5438432" y="2531200"/>
              <a:ext cx="122807" cy="51478"/>
            </a:xfrm>
            <a:custGeom>
              <a:avLst/>
              <a:gdLst/>
              <a:ahLst/>
              <a:cxnLst>
                <a:cxn ang="0">
                  <a:pos x="9" y="15"/>
                </a:cxn>
                <a:cxn ang="0">
                  <a:pos x="15" y="25"/>
                </a:cxn>
                <a:cxn ang="0">
                  <a:pos x="0" y="34"/>
                </a:cxn>
                <a:cxn ang="0">
                  <a:pos x="7" y="40"/>
                </a:cxn>
                <a:cxn ang="0">
                  <a:pos x="35" y="40"/>
                </a:cxn>
                <a:cxn ang="0">
                  <a:pos x="95" y="21"/>
                </a:cxn>
                <a:cxn ang="0">
                  <a:pos x="79" y="19"/>
                </a:cxn>
                <a:cxn ang="0">
                  <a:pos x="92" y="13"/>
                </a:cxn>
                <a:cxn ang="0">
                  <a:pos x="65" y="10"/>
                </a:cxn>
                <a:cxn ang="0">
                  <a:pos x="62" y="0"/>
                </a:cxn>
                <a:cxn ang="0">
                  <a:pos x="47" y="0"/>
                </a:cxn>
                <a:cxn ang="0">
                  <a:pos x="9" y="15"/>
                </a:cxn>
                <a:cxn ang="0">
                  <a:pos x="9" y="15"/>
                </a:cxn>
              </a:cxnLst>
              <a:rect l="0" t="0" r="r" b="b"/>
              <a:pathLst>
                <a:path w="95" h="40">
                  <a:moveTo>
                    <a:pt x="9" y="15"/>
                  </a:moveTo>
                  <a:lnTo>
                    <a:pt x="15" y="25"/>
                  </a:lnTo>
                  <a:lnTo>
                    <a:pt x="0" y="34"/>
                  </a:lnTo>
                  <a:lnTo>
                    <a:pt x="7" y="40"/>
                  </a:lnTo>
                  <a:lnTo>
                    <a:pt x="35" y="40"/>
                  </a:lnTo>
                  <a:lnTo>
                    <a:pt x="95" y="21"/>
                  </a:lnTo>
                  <a:lnTo>
                    <a:pt x="79" y="19"/>
                  </a:lnTo>
                  <a:lnTo>
                    <a:pt x="92" y="13"/>
                  </a:lnTo>
                  <a:lnTo>
                    <a:pt x="65" y="10"/>
                  </a:lnTo>
                  <a:lnTo>
                    <a:pt x="62" y="0"/>
                  </a:lnTo>
                  <a:lnTo>
                    <a:pt x="47" y="0"/>
                  </a:lnTo>
                  <a:lnTo>
                    <a:pt x="9" y="15"/>
                  </a:lnTo>
                  <a:lnTo>
                    <a:pt x="9"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73" name="Freeform 5667"/>
            <p:cNvSpPr>
              <a:spLocks/>
            </p:cNvSpPr>
            <p:nvPr>
              <p:custDataLst>
                <p:tags r:id="rId19"/>
              </p:custDataLst>
            </p:nvPr>
          </p:nvSpPr>
          <p:spPr bwMode="gray">
            <a:xfrm>
              <a:off x="5443603" y="2505461"/>
              <a:ext cx="486056" cy="113251"/>
            </a:xfrm>
            <a:custGeom>
              <a:avLst/>
              <a:gdLst/>
              <a:ahLst/>
              <a:cxnLst>
                <a:cxn ang="0">
                  <a:pos x="76" y="19"/>
                </a:cxn>
                <a:cxn ang="0">
                  <a:pos x="73" y="24"/>
                </a:cxn>
                <a:cxn ang="0">
                  <a:pos x="84" y="28"/>
                </a:cxn>
                <a:cxn ang="0">
                  <a:pos x="104" y="30"/>
                </a:cxn>
                <a:cxn ang="0">
                  <a:pos x="88" y="37"/>
                </a:cxn>
                <a:cxn ang="0">
                  <a:pos x="101" y="39"/>
                </a:cxn>
                <a:cxn ang="0">
                  <a:pos x="91" y="50"/>
                </a:cxn>
                <a:cxn ang="0">
                  <a:pos x="48" y="60"/>
                </a:cxn>
                <a:cxn ang="0">
                  <a:pos x="65" y="63"/>
                </a:cxn>
                <a:cxn ang="0">
                  <a:pos x="39" y="65"/>
                </a:cxn>
                <a:cxn ang="0">
                  <a:pos x="31" y="69"/>
                </a:cxn>
                <a:cxn ang="0">
                  <a:pos x="41" y="73"/>
                </a:cxn>
                <a:cxn ang="0">
                  <a:pos x="7" y="78"/>
                </a:cxn>
                <a:cxn ang="0">
                  <a:pos x="0" y="84"/>
                </a:cxn>
                <a:cxn ang="0">
                  <a:pos x="86" y="82"/>
                </a:cxn>
                <a:cxn ang="0">
                  <a:pos x="86" y="88"/>
                </a:cxn>
                <a:cxn ang="0">
                  <a:pos x="131" y="78"/>
                </a:cxn>
                <a:cxn ang="0">
                  <a:pos x="121" y="73"/>
                </a:cxn>
                <a:cxn ang="0">
                  <a:pos x="144" y="67"/>
                </a:cxn>
                <a:cxn ang="0">
                  <a:pos x="146" y="63"/>
                </a:cxn>
                <a:cxn ang="0">
                  <a:pos x="170" y="62"/>
                </a:cxn>
                <a:cxn ang="0">
                  <a:pos x="211" y="43"/>
                </a:cxn>
                <a:cxn ang="0">
                  <a:pos x="376" y="7"/>
                </a:cxn>
                <a:cxn ang="0">
                  <a:pos x="301" y="0"/>
                </a:cxn>
                <a:cxn ang="0">
                  <a:pos x="232" y="0"/>
                </a:cxn>
                <a:cxn ang="0">
                  <a:pos x="76" y="19"/>
                </a:cxn>
                <a:cxn ang="0">
                  <a:pos x="76" y="19"/>
                </a:cxn>
              </a:cxnLst>
              <a:rect l="0" t="0" r="r" b="b"/>
              <a:pathLst>
                <a:path w="376" h="88">
                  <a:moveTo>
                    <a:pt x="76" y="19"/>
                  </a:moveTo>
                  <a:lnTo>
                    <a:pt x="73" y="24"/>
                  </a:lnTo>
                  <a:lnTo>
                    <a:pt x="84" y="28"/>
                  </a:lnTo>
                  <a:lnTo>
                    <a:pt x="104" y="30"/>
                  </a:lnTo>
                  <a:lnTo>
                    <a:pt x="88" y="37"/>
                  </a:lnTo>
                  <a:lnTo>
                    <a:pt x="101" y="39"/>
                  </a:lnTo>
                  <a:lnTo>
                    <a:pt x="91" y="50"/>
                  </a:lnTo>
                  <a:lnTo>
                    <a:pt x="48" y="60"/>
                  </a:lnTo>
                  <a:lnTo>
                    <a:pt x="65" y="63"/>
                  </a:lnTo>
                  <a:lnTo>
                    <a:pt x="39" y="65"/>
                  </a:lnTo>
                  <a:lnTo>
                    <a:pt x="31" y="69"/>
                  </a:lnTo>
                  <a:lnTo>
                    <a:pt x="41" y="73"/>
                  </a:lnTo>
                  <a:lnTo>
                    <a:pt x="7" y="78"/>
                  </a:lnTo>
                  <a:lnTo>
                    <a:pt x="0" y="84"/>
                  </a:lnTo>
                  <a:lnTo>
                    <a:pt x="86" y="82"/>
                  </a:lnTo>
                  <a:lnTo>
                    <a:pt x="86" y="88"/>
                  </a:lnTo>
                  <a:lnTo>
                    <a:pt x="131" y="78"/>
                  </a:lnTo>
                  <a:lnTo>
                    <a:pt x="121" y="73"/>
                  </a:lnTo>
                  <a:lnTo>
                    <a:pt x="144" y="67"/>
                  </a:lnTo>
                  <a:lnTo>
                    <a:pt x="146" y="63"/>
                  </a:lnTo>
                  <a:lnTo>
                    <a:pt x="170" y="62"/>
                  </a:lnTo>
                  <a:lnTo>
                    <a:pt x="211" y="43"/>
                  </a:lnTo>
                  <a:lnTo>
                    <a:pt x="376" y="7"/>
                  </a:lnTo>
                  <a:lnTo>
                    <a:pt x="301" y="0"/>
                  </a:lnTo>
                  <a:lnTo>
                    <a:pt x="232" y="0"/>
                  </a:lnTo>
                  <a:lnTo>
                    <a:pt x="76" y="19"/>
                  </a:lnTo>
                  <a:lnTo>
                    <a:pt x="76" y="1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74" name="Freeform 5668"/>
            <p:cNvSpPr>
              <a:spLocks/>
            </p:cNvSpPr>
            <p:nvPr>
              <p:custDataLst>
                <p:tags r:id="rId20"/>
              </p:custDataLst>
            </p:nvPr>
          </p:nvSpPr>
          <p:spPr bwMode="gray">
            <a:xfrm>
              <a:off x="5389310" y="2547930"/>
              <a:ext cx="19391" cy="7722"/>
            </a:xfrm>
            <a:custGeom>
              <a:avLst/>
              <a:gdLst/>
              <a:ahLst/>
              <a:cxnLst>
                <a:cxn ang="0">
                  <a:pos x="0" y="4"/>
                </a:cxn>
                <a:cxn ang="0">
                  <a:pos x="15" y="6"/>
                </a:cxn>
                <a:cxn ang="0">
                  <a:pos x="12" y="0"/>
                </a:cxn>
                <a:cxn ang="0">
                  <a:pos x="0" y="4"/>
                </a:cxn>
                <a:cxn ang="0">
                  <a:pos x="0" y="4"/>
                </a:cxn>
              </a:cxnLst>
              <a:rect l="0" t="0" r="r" b="b"/>
              <a:pathLst>
                <a:path w="15" h="6">
                  <a:moveTo>
                    <a:pt x="0" y="4"/>
                  </a:moveTo>
                  <a:lnTo>
                    <a:pt x="15" y="6"/>
                  </a:lnTo>
                  <a:lnTo>
                    <a:pt x="12" y="0"/>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75" name="Freeform 5669"/>
            <p:cNvSpPr>
              <a:spLocks/>
            </p:cNvSpPr>
            <p:nvPr>
              <p:custDataLst>
                <p:tags r:id="rId21"/>
              </p:custDataLst>
            </p:nvPr>
          </p:nvSpPr>
          <p:spPr bwMode="gray">
            <a:xfrm>
              <a:off x="5280723" y="2565947"/>
              <a:ext cx="124099" cy="23165"/>
            </a:xfrm>
            <a:custGeom>
              <a:avLst/>
              <a:gdLst/>
              <a:ahLst/>
              <a:cxnLst>
                <a:cxn ang="0">
                  <a:pos x="0" y="0"/>
                </a:cxn>
                <a:cxn ang="0">
                  <a:pos x="15" y="3"/>
                </a:cxn>
                <a:cxn ang="0">
                  <a:pos x="0" y="7"/>
                </a:cxn>
                <a:cxn ang="0">
                  <a:pos x="4" y="11"/>
                </a:cxn>
                <a:cxn ang="0">
                  <a:pos x="36" y="13"/>
                </a:cxn>
                <a:cxn ang="0">
                  <a:pos x="38" y="18"/>
                </a:cxn>
                <a:cxn ang="0">
                  <a:pos x="96" y="11"/>
                </a:cxn>
                <a:cxn ang="0">
                  <a:pos x="81" y="3"/>
                </a:cxn>
                <a:cxn ang="0">
                  <a:pos x="58" y="15"/>
                </a:cxn>
                <a:cxn ang="0">
                  <a:pos x="49" y="13"/>
                </a:cxn>
                <a:cxn ang="0">
                  <a:pos x="58" y="3"/>
                </a:cxn>
                <a:cxn ang="0">
                  <a:pos x="51" y="0"/>
                </a:cxn>
                <a:cxn ang="0">
                  <a:pos x="0" y="0"/>
                </a:cxn>
                <a:cxn ang="0">
                  <a:pos x="0" y="0"/>
                </a:cxn>
              </a:cxnLst>
              <a:rect l="0" t="0" r="r" b="b"/>
              <a:pathLst>
                <a:path w="96" h="18">
                  <a:moveTo>
                    <a:pt x="0" y="0"/>
                  </a:moveTo>
                  <a:lnTo>
                    <a:pt x="15" y="3"/>
                  </a:lnTo>
                  <a:lnTo>
                    <a:pt x="0" y="7"/>
                  </a:lnTo>
                  <a:lnTo>
                    <a:pt x="4" y="11"/>
                  </a:lnTo>
                  <a:lnTo>
                    <a:pt x="36" y="13"/>
                  </a:lnTo>
                  <a:lnTo>
                    <a:pt x="38" y="18"/>
                  </a:lnTo>
                  <a:lnTo>
                    <a:pt x="96" y="11"/>
                  </a:lnTo>
                  <a:lnTo>
                    <a:pt x="81" y="3"/>
                  </a:lnTo>
                  <a:lnTo>
                    <a:pt x="58" y="15"/>
                  </a:lnTo>
                  <a:lnTo>
                    <a:pt x="49" y="13"/>
                  </a:lnTo>
                  <a:lnTo>
                    <a:pt x="58" y="3"/>
                  </a:lnTo>
                  <a:lnTo>
                    <a:pt x="51" y="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76" name="Freeform 5670"/>
            <p:cNvSpPr>
              <a:spLocks/>
            </p:cNvSpPr>
            <p:nvPr>
              <p:custDataLst>
                <p:tags r:id="rId22"/>
              </p:custDataLst>
            </p:nvPr>
          </p:nvSpPr>
          <p:spPr bwMode="gray">
            <a:xfrm>
              <a:off x="5368627" y="2589112"/>
              <a:ext cx="64635" cy="7722"/>
            </a:xfrm>
            <a:custGeom>
              <a:avLst/>
              <a:gdLst/>
              <a:ahLst/>
              <a:cxnLst>
                <a:cxn ang="0">
                  <a:pos x="0" y="2"/>
                </a:cxn>
                <a:cxn ang="0">
                  <a:pos x="35" y="6"/>
                </a:cxn>
                <a:cxn ang="0">
                  <a:pos x="50" y="0"/>
                </a:cxn>
                <a:cxn ang="0">
                  <a:pos x="0" y="2"/>
                </a:cxn>
                <a:cxn ang="0">
                  <a:pos x="0" y="2"/>
                </a:cxn>
              </a:cxnLst>
              <a:rect l="0" t="0" r="r" b="b"/>
              <a:pathLst>
                <a:path w="50" h="6">
                  <a:moveTo>
                    <a:pt x="0" y="2"/>
                  </a:moveTo>
                  <a:lnTo>
                    <a:pt x="35" y="6"/>
                  </a:lnTo>
                  <a:lnTo>
                    <a:pt x="50"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77" name="Freeform 5671"/>
            <p:cNvSpPr>
              <a:spLocks/>
            </p:cNvSpPr>
            <p:nvPr>
              <p:custDataLst>
                <p:tags r:id="rId23"/>
              </p:custDataLst>
            </p:nvPr>
          </p:nvSpPr>
          <p:spPr bwMode="gray">
            <a:xfrm>
              <a:off x="5704729" y="2500313"/>
              <a:ext cx="842841" cy="446570"/>
            </a:xfrm>
            <a:custGeom>
              <a:avLst/>
              <a:gdLst/>
              <a:ahLst/>
              <a:cxnLst>
                <a:cxn ang="0">
                  <a:pos x="24" y="67"/>
                </a:cxn>
                <a:cxn ang="0">
                  <a:pos x="35" y="75"/>
                </a:cxn>
                <a:cxn ang="0">
                  <a:pos x="22" y="84"/>
                </a:cxn>
                <a:cxn ang="0">
                  <a:pos x="19" y="92"/>
                </a:cxn>
                <a:cxn ang="0">
                  <a:pos x="124" y="97"/>
                </a:cxn>
                <a:cxn ang="0">
                  <a:pos x="131" y="114"/>
                </a:cxn>
                <a:cxn ang="0">
                  <a:pos x="131" y="127"/>
                </a:cxn>
                <a:cxn ang="0">
                  <a:pos x="120" y="150"/>
                </a:cxn>
                <a:cxn ang="0">
                  <a:pos x="129" y="161"/>
                </a:cxn>
                <a:cxn ang="0">
                  <a:pos x="140" y="165"/>
                </a:cxn>
                <a:cxn ang="0">
                  <a:pos x="152" y="174"/>
                </a:cxn>
                <a:cxn ang="0">
                  <a:pos x="103" y="187"/>
                </a:cxn>
                <a:cxn ang="0">
                  <a:pos x="146" y="184"/>
                </a:cxn>
                <a:cxn ang="0">
                  <a:pos x="138" y="204"/>
                </a:cxn>
                <a:cxn ang="0">
                  <a:pos x="109" y="212"/>
                </a:cxn>
                <a:cxn ang="0">
                  <a:pos x="95" y="253"/>
                </a:cxn>
                <a:cxn ang="0">
                  <a:pos x="97" y="277"/>
                </a:cxn>
                <a:cxn ang="0">
                  <a:pos x="107" y="320"/>
                </a:cxn>
                <a:cxn ang="0">
                  <a:pos x="142" y="335"/>
                </a:cxn>
                <a:cxn ang="0">
                  <a:pos x="170" y="345"/>
                </a:cxn>
                <a:cxn ang="0">
                  <a:pos x="198" y="300"/>
                </a:cxn>
                <a:cxn ang="0">
                  <a:pos x="238" y="270"/>
                </a:cxn>
                <a:cxn ang="0">
                  <a:pos x="245" y="260"/>
                </a:cxn>
                <a:cxn ang="0">
                  <a:pos x="305" y="245"/>
                </a:cxn>
                <a:cxn ang="0">
                  <a:pos x="434" y="200"/>
                </a:cxn>
                <a:cxn ang="0">
                  <a:pos x="485" y="180"/>
                </a:cxn>
                <a:cxn ang="0">
                  <a:pos x="440" y="180"/>
                </a:cxn>
                <a:cxn ang="0">
                  <a:pos x="455" y="165"/>
                </a:cxn>
                <a:cxn ang="0">
                  <a:pos x="468" y="172"/>
                </a:cxn>
                <a:cxn ang="0">
                  <a:pos x="500" y="161"/>
                </a:cxn>
                <a:cxn ang="0">
                  <a:pos x="500" y="150"/>
                </a:cxn>
                <a:cxn ang="0">
                  <a:pos x="493" y="137"/>
                </a:cxn>
                <a:cxn ang="0">
                  <a:pos x="528" y="124"/>
                </a:cxn>
                <a:cxn ang="0">
                  <a:pos x="541" y="118"/>
                </a:cxn>
                <a:cxn ang="0">
                  <a:pos x="534" y="112"/>
                </a:cxn>
                <a:cxn ang="0">
                  <a:pos x="541" y="92"/>
                </a:cxn>
                <a:cxn ang="0">
                  <a:pos x="530" y="84"/>
                </a:cxn>
                <a:cxn ang="0">
                  <a:pos x="566" y="79"/>
                </a:cxn>
                <a:cxn ang="0">
                  <a:pos x="562" y="60"/>
                </a:cxn>
                <a:cxn ang="0">
                  <a:pos x="607" y="34"/>
                </a:cxn>
                <a:cxn ang="0">
                  <a:pos x="607" y="19"/>
                </a:cxn>
                <a:cxn ang="0">
                  <a:pos x="558" y="19"/>
                </a:cxn>
                <a:cxn ang="0">
                  <a:pos x="519" y="21"/>
                </a:cxn>
                <a:cxn ang="0">
                  <a:pos x="575" y="9"/>
                </a:cxn>
                <a:cxn ang="0">
                  <a:pos x="348" y="4"/>
                </a:cxn>
                <a:cxn ang="0">
                  <a:pos x="238" y="11"/>
                </a:cxn>
                <a:cxn ang="0">
                  <a:pos x="163" y="23"/>
                </a:cxn>
                <a:cxn ang="0">
                  <a:pos x="135" y="26"/>
                </a:cxn>
                <a:cxn ang="0">
                  <a:pos x="109" y="39"/>
                </a:cxn>
                <a:cxn ang="0">
                  <a:pos x="90" y="51"/>
                </a:cxn>
                <a:cxn ang="0">
                  <a:pos x="0" y="64"/>
                </a:cxn>
              </a:cxnLst>
              <a:rect l="0" t="0" r="r" b="b"/>
              <a:pathLst>
                <a:path w="652" h="347">
                  <a:moveTo>
                    <a:pt x="0" y="64"/>
                  </a:moveTo>
                  <a:lnTo>
                    <a:pt x="24" y="67"/>
                  </a:lnTo>
                  <a:lnTo>
                    <a:pt x="22" y="71"/>
                  </a:lnTo>
                  <a:lnTo>
                    <a:pt x="35" y="75"/>
                  </a:lnTo>
                  <a:lnTo>
                    <a:pt x="2" y="79"/>
                  </a:lnTo>
                  <a:lnTo>
                    <a:pt x="22" y="84"/>
                  </a:lnTo>
                  <a:lnTo>
                    <a:pt x="11" y="88"/>
                  </a:lnTo>
                  <a:lnTo>
                    <a:pt x="19" y="92"/>
                  </a:lnTo>
                  <a:lnTo>
                    <a:pt x="94" y="92"/>
                  </a:lnTo>
                  <a:lnTo>
                    <a:pt x="124" y="97"/>
                  </a:lnTo>
                  <a:lnTo>
                    <a:pt x="120" y="103"/>
                  </a:lnTo>
                  <a:lnTo>
                    <a:pt x="131" y="114"/>
                  </a:lnTo>
                  <a:lnTo>
                    <a:pt x="125" y="122"/>
                  </a:lnTo>
                  <a:lnTo>
                    <a:pt x="131" y="127"/>
                  </a:lnTo>
                  <a:lnTo>
                    <a:pt x="120" y="142"/>
                  </a:lnTo>
                  <a:lnTo>
                    <a:pt x="120" y="150"/>
                  </a:lnTo>
                  <a:lnTo>
                    <a:pt x="110" y="156"/>
                  </a:lnTo>
                  <a:lnTo>
                    <a:pt x="129" y="161"/>
                  </a:lnTo>
                  <a:lnTo>
                    <a:pt x="140" y="156"/>
                  </a:lnTo>
                  <a:lnTo>
                    <a:pt x="140" y="165"/>
                  </a:lnTo>
                  <a:lnTo>
                    <a:pt x="152" y="167"/>
                  </a:lnTo>
                  <a:lnTo>
                    <a:pt x="152" y="174"/>
                  </a:lnTo>
                  <a:lnTo>
                    <a:pt x="120" y="169"/>
                  </a:lnTo>
                  <a:lnTo>
                    <a:pt x="103" y="187"/>
                  </a:lnTo>
                  <a:lnTo>
                    <a:pt x="114" y="193"/>
                  </a:lnTo>
                  <a:lnTo>
                    <a:pt x="146" y="184"/>
                  </a:lnTo>
                  <a:lnTo>
                    <a:pt x="148" y="193"/>
                  </a:lnTo>
                  <a:lnTo>
                    <a:pt x="138" y="204"/>
                  </a:lnTo>
                  <a:lnTo>
                    <a:pt x="120" y="204"/>
                  </a:lnTo>
                  <a:lnTo>
                    <a:pt x="109" y="212"/>
                  </a:lnTo>
                  <a:lnTo>
                    <a:pt x="86" y="245"/>
                  </a:lnTo>
                  <a:lnTo>
                    <a:pt x="95" y="253"/>
                  </a:lnTo>
                  <a:lnTo>
                    <a:pt x="92" y="272"/>
                  </a:lnTo>
                  <a:lnTo>
                    <a:pt x="97" y="277"/>
                  </a:lnTo>
                  <a:lnTo>
                    <a:pt x="95" y="285"/>
                  </a:lnTo>
                  <a:lnTo>
                    <a:pt x="107" y="320"/>
                  </a:lnTo>
                  <a:lnTo>
                    <a:pt x="114" y="330"/>
                  </a:lnTo>
                  <a:lnTo>
                    <a:pt x="142" y="335"/>
                  </a:lnTo>
                  <a:lnTo>
                    <a:pt x="161" y="347"/>
                  </a:lnTo>
                  <a:lnTo>
                    <a:pt x="170" y="345"/>
                  </a:lnTo>
                  <a:lnTo>
                    <a:pt x="200" y="311"/>
                  </a:lnTo>
                  <a:lnTo>
                    <a:pt x="198" y="300"/>
                  </a:lnTo>
                  <a:lnTo>
                    <a:pt x="225" y="287"/>
                  </a:lnTo>
                  <a:lnTo>
                    <a:pt x="238" y="270"/>
                  </a:lnTo>
                  <a:lnTo>
                    <a:pt x="234" y="259"/>
                  </a:lnTo>
                  <a:lnTo>
                    <a:pt x="245" y="260"/>
                  </a:lnTo>
                  <a:lnTo>
                    <a:pt x="253" y="253"/>
                  </a:lnTo>
                  <a:lnTo>
                    <a:pt x="305" y="245"/>
                  </a:lnTo>
                  <a:lnTo>
                    <a:pt x="360" y="215"/>
                  </a:lnTo>
                  <a:lnTo>
                    <a:pt x="434" y="200"/>
                  </a:lnTo>
                  <a:lnTo>
                    <a:pt x="476" y="185"/>
                  </a:lnTo>
                  <a:lnTo>
                    <a:pt x="485" y="180"/>
                  </a:lnTo>
                  <a:lnTo>
                    <a:pt x="457" y="176"/>
                  </a:lnTo>
                  <a:lnTo>
                    <a:pt x="440" y="180"/>
                  </a:lnTo>
                  <a:lnTo>
                    <a:pt x="455" y="172"/>
                  </a:lnTo>
                  <a:lnTo>
                    <a:pt x="455" y="165"/>
                  </a:lnTo>
                  <a:lnTo>
                    <a:pt x="466" y="163"/>
                  </a:lnTo>
                  <a:lnTo>
                    <a:pt x="468" y="172"/>
                  </a:lnTo>
                  <a:lnTo>
                    <a:pt x="494" y="174"/>
                  </a:lnTo>
                  <a:lnTo>
                    <a:pt x="500" y="161"/>
                  </a:lnTo>
                  <a:lnTo>
                    <a:pt x="474" y="144"/>
                  </a:lnTo>
                  <a:lnTo>
                    <a:pt x="500" y="150"/>
                  </a:lnTo>
                  <a:lnTo>
                    <a:pt x="504" y="139"/>
                  </a:lnTo>
                  <a:lnTo>
                    <a:pt x="493" y="137"/>
                  </a:lnTo>
                  <a:lnTo>
                    <a:pt x="526" y="129"/>
                  </a:lnTo>
                  <a:lnTo>
                    <a:pt x="528" y="124"/>
                  </a:lnTo>
                  <a:lnTo>
                    <a:pt x="515" y="122"/>
                  </a:lnTo>
                  <a:lnTo>
                    <a:pt x="541" y="118"/>
                  </a:lnTo>
                  <a:lnTo>
                    <a:pt x="549" y="112"/>
                  </a:lnTo>
                  <a:lnTo>
                    <a:pt x="534" y="112"/>
                  </a:lnTo>
                  <a:lnTo>
                    <a:pt x="547" y="97"/>
                  </a:lnTo>
                  <a:lnTo>
                    <a:pt x="541" y="92"/>
                  </a:lnTo>
                  <a:lnTo>
                    <a:pt x="526" y="90"/>
                  </a:lnTo>
                  <a:lnTo>
                    <a:pt x="530" y="84"/>
                  </a:lnTo>
                  <a:lnTo>
                    <a:pt x="562" y="82"/>
                  </a:lnTo>
                  <a:lnTo>
                    <a:pt x="566" y="79"/>
                  </a:lnTo>
                  <a:lnTo>
                    <a:pt x="554" y="67"/>
                  </a:lnTo>
                  <a:lnTo>
                    <a:pt x="562" y="60"/>
                  </a:lnTo>
                  <a:lnTo>
                    <a:pt x="562" y="54"/>
                  </a:lnTo>
                  <a:lnTo>
                    <a:pt x="607" y="34"/>
                  </a:lnTo>
                  <a:lnTo>
                    <a:pt x="652" y="24"/>
                  </a:lnTo>
                  <a:lnTo>
                    <a:pt x="607" y="19"/>
                  </a:lnTo>
                  <a:lnTo>
                    <a:pt x="519" y="28"/>
                  </a:lnTo>
                  <a:lnTo>
                    <a:pt x="558" y="19"/>
                  </a:lnTo>
                  <a:lnTo>
                    <a:pt x="556" y="15"/>
                  </a:lnTo>
                  <a:lnTo>
                    <a:pt x="519" y="21"/>
                  </a:lnTo>
                  <a:lnTo>
                    <a:pt x="521" y="15"/>
                  </a:lnTo>
                  <a:lnTo>
                    <a:pt x="575" y="9"/>
                  </a:lnTo>
                  <a:lnTo>
                    <a:pt x="509" y="0"/>
                  </a:lnTo>
                  <a:lnTo>
                    <a:pt x="348" y="4"/>
                  </a:lnTo>
                  <a:lnTo>
                    <a:pt x="266" y="17"/>
                  </a:lnTo>
                  <a:lnTo>
                    <a:pt x="238" y="11"/>
                  </a:lnTo>
                  <a:lnTo>
                    <a:pt x="159" y="19"/>
                  </a:lnTo>
                  <a:lnTo>
                    <a:pt x="163" y="23"/>
                  </a:lnTo>
                  <a:lnTo>
                    <a:pt x="152" y="26"/>
                  </a:lnTo>
                  <a:lnTo>
                    <a:pt x="135" y="26"/>
                  </a:lnTo>
                  <a:lnTo>
                    <a:pt x="82" y="39"/>
                  </a:lnTo>
                  <a:lnTo>
                    <a:pt x="109" y="39"/>
                  </a:lnTo>
                  <a:lnTo>
                    <a:pt x="109" y="43"/>
                  </a:lnTo>
                  <a:lnTo>
                    <a:pt x="90" y="51"/>
                  </a:lnTo>
                  <a:lnTo>
                    <a:pt x="13" y="58"/>
                  </a:lnTo>
                  <a:lnTo>
                    <a:pt x="0" y="64"/>
                  </a:lnTo>
                  <a:lnTo>
                    <a:pt x="0" y="6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78" name="Freeform 5638"/>
            <p:cNvSpPr>
              <a:spLocks/>
            </p:cNvSpPr>
            <p:nvPr>
              <p:custDataLst>
                <p:tags r:id="rId24"/>
              </p:custDataLst>
            </p:nvPr>
          </p:nvSpPr>
          <p:spPr bwMode="gray">
            <a:xfrm>
              <a:off x="6910820" y="4085539"/>
              <a:ext cx="275345" cy="191755"/>
            </a:xfrm>
            <a:custGeom>
              <a:avLst/>
              <a:gdLst/>
              <a:ahLst/>
              <a:cxnLst>
                <a:cxn ang="0">
                  <a:pos x="3" y="112"/>
                </a:cxn>
                <a:cxn ang="0">
                  <a:pos x="0" y="95"/>
                </a:cxn>
                <a:cxn ang="0">
                  <a:pos x="13" y="63"/>
                </a:cxn>
                <a:cxn ang="0">
                  <a:pos x="13" y="63"/>
                </a:cxn>
                <a:cxn ang="0">
                  <a:pos x="63" y="54"/>
                </a:cxn>
                <a:cxn ang="0">
                  <a:pos x="75" y="43"/>
                </a:cxn>
                <a:cxn ang="0">
                  <a:pos x="71" y="37"/>
                </a:cxn>
                <a:cxn ang="0">
                  <a:pos x="97" y="31"/>
                </a:cxn>
                <a:cxn ang="0">
                  <a:pos x="118" y="3"/>
                </a:cxn>
                <a:cxn ang="0">
                  <a:pos x="135" y="0"/>
                </a:cxn>
                <a:cxn ang="0">
                  <a:pos x="148" y="18"/>
                </a:cxn>
                <a:cxn ang="0">
                  <a:pos x="146" y="37"/>
                </a:cxn>
                <a:cxn ang="0">
                  <a:pos x="170" y="50"/>
                </a:cxn>
                <a:cxn ang="0">
                  <a:pos x="213" y="106"/>
                </a:cxn>
                <a:cxn ang="0">
                  <a:pos x="136" y="112"/>
                </a:cxn>
                <a:cxn ang="0">
                  <a:pos x="129" y="121"/>
                </a:cxn>
                <a:cxn ang="0">
                  <a:pos x="99" y="120"/>
                </a:cxn>
                <a:cxn ang="0">
                  <a:pos x="90" y="106"/>
                </a:cxn>
                <a:cxn ang="0">
                  <a:pos x="82" y="106"/>
                </a:cxn>
                <a:cxn ang="0">
                  <a:pos x="67" y="133"/>
                </a:cxn>
                <a:cxn ang="0">
                  <a:pos x="56" y="138"/>
                </a:cxn>
                <a:cxn ang="0">
                  <a:pos x="47" y="133"/>
                </a:cxn>
                <a:cxn ang="0">
                  <a:pos x="33" y="138"/>
                </a:cxn>
                <a:cxn ang="0">
                  <a:pos x="26" y="149"/>
                </a:cxn>
                <a:cxn ang="0">
                  <a:pos x="3" y="112"/>
                </a:cxn>
                <a:cxn ang="0">
                  <a:pos x="3" y="112"/>
                </a:cxn>
              </a:cxnLst>
              <a:rect l="0" t="0" r="r" b="b"/>
              <a:pathLst>
                <a:path w="213" h="149">
                  <a:moveTo>
                    <a:pt x="3" y="112"/>
                  </a:moveTo>
                  <a:lnTo>
                    <a:pt x="0" y="95"/>
                  </a:lnTo>
                  <a:lnTo>
                    <a:pt x="13" y="63"/>
                  </a:lnTo>
                  <a:lnTo>
                    <a:pt x="13" y="63"/>
                  </a:lnTo>
                  <a:lnTo>
                    <a:pt x="63" y="54"/>
                  </a:lnTo>
                  <a:lnTo>
                    <a:pt x="75" y="43"/>
                  </a:lnTo>
                  <a:lnTo>
                    <a:pt x="71" y="37"/>
                  </a:lnTo>
                  <a:lnTo>
                    <a:pt x="97" y="31"/>
                  </a:lnTo>
                  <a:lnTo>
                    <a:pt x="118" y="3"/>
                  </a:lnTo>
                  <a:lnTo>
                    <a:pt x="135" y="0"/>
                  </a:lnTo>
                  <a:lnTo>
                    <a:pt x="148" y="18"/>
                  </a:lnTo>
                  <a:lnTo>
                    <a:pt x="146" y="37"/>
                  </a:lnTo>
                  <a:lnTo>
                    <a:pt x="170" y="50"/>
                  </a:lnTo>
                  <a:lnTo>
                    <a:pt x="213" y="106"/>
                  </a:lnTo>
                  <a:lnTo>
                    <a:pt x="136" y="112"/>
                  </a:lnTo>
                  <a:lnTo>
                    <a:pt x="129" y="121"/>
                  </a:lnTo>
                  <a:lnTo>
                    <a:pt x="99" y="120"/>
                  </a:lnTo>
                  <a:lnTo>
                    <a:pt x="90" y="106"/>
                  </a:lnTo>
                  <a:lnTo>
                    <a:pt x="82" y="106"/>
                  </a:lnTo>
                  <a:lnTo>
                    <a:pt x="67" y="133"/>
                  </a:lnTo>
                  <a:lnTo>
                    <a:pt x="56" y="138"/>
                  </a:lnTo>
                  <a:lnTo>
                    <a:pt x="47" y="133"/>
                  </a:lnTo>
                  <a:lnTo>
                    <a:pt x="33" y="138"/>
                  </a:lnTo>
                  <a:lnTo>
                    <a:pt x="26" y="149"/>
                  </a:lnTo>
                  <a:lnTo>
                    <a:pt x="3" y="112"/>
                  </a:lnTo>
                  <a:lnTo>
                    <a:pt x="3" y="11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79" name="Freeform 5639"/>
            <p:cNvSpPr>
              <a:spLocks/>
            </p:cNvSpPr>
            <p:nvPr>
              <p:custDataLst>
                <p:tags r:id="rId25"/>
              </p:custDataLst>
            </p:nvPr>
          </p:nvSpPr>
          <p:spPr bwMode="gray">
            <a:xfrm>
              <a:off x="6498448" y="3989018"/>
              <a:ext cx="157710" cy="129982"/>
            </a:xfrm>
            <a:custGeom>
              <a:avLst/>
              <a:gdLst/>
              <a:ahLst/>
              <a:cxnLst>
                <a:cxn ang="0">
                  <a:pos x="116" y="41"/>
                </a:cxn>
                <a:cxn ang="0">
                  <a:pos x="107" y="43"/>
                </a:cxn>
                <a:cxn ang="0">
                  <a:pos x="90" y="17"/>
                </a:cxn>
                <a:cxn ang="0">
                  <a:pos x="88" y="0"/>
                </a:cxn>
                <a:cxn ang="0">
                  <a:pos x="73" y="2"/>
                </a:cxn>
                <a:cxn ang="0">
                  <a:pos x="43" y="26"/>
                </a:cxn>
                <a:cxn ang="0">
                  <a:pos x="25" y="32"/>
                </a:cxn>
                <a:cxn ang="0">
                  <a:pos x="4" y="63"/>
                </a:cxn>
                <a:cxn ang="0">
                  <a:pos x="0" y="86"/>
                </a:cxn>
                <a:cxn ang="0">
                  <a:pos x="6" y="93"/>
                </a:cxn>
                <a:cxn ang="0">
                  <a:pos x="26" y="91"/>
                </a:cxn>
                <a:cxn ang="0">
                  <a:pos x="41" y="101"/>
                </a:cxn>
                <a:cxn ang="0">
                  <a:pos x="38" y="76"/>
                </a:cxn>
                <a:cxn ang="0">
                  <a:pos x="41" y="73"/>
                </a:cxn>
                <a:cxn ang="0">
                  <a:pos x="81" y="71"/>
                </a:cxn>
                <a:cxn ang="0">
                  <a:pos x="98" y="73"/>
                </a:cxn>
                <a:cxn ang="0">
                  <a:pos x="98" y="73"/>
                </a:cxn>
                <a:cxn ang="0">
                  <a:pos x="107" y="63"/>
                </a:cxn>
                <a:cxn ang="0">
                  <a:pos x="116" y="65"/>
                </a:cxn>
                <a:cxn ang="0">
                  <a:pos x="122" y="56"/>
                </a:cxn>
                <a:cxn ang="0">
                  <a:pos x="116" y="41"/>
                </a:cxn>
                <a:cxn ang="0">
                  <a:pos x="116" y="41"/>
                </a:cxn>
              </a:cxnLst>
              <a:rect l="0" t="0" r="r" b="b"/>
              <a:pathLst>
                <a:path w="122" h="101">
                  <a:moveTo>
                    <a:pt x="116" y="41"/>
                  </a:moveTo>
                  <a:lnTo>
                    <a:pt x="107" y="43"/>
                  </a:lnTo>
                  <a:lnTo>
                    <a:pt x="90" y="17"/>
                  </a:lnTo>
                  <a:lnTo>
                    <a:pt x="88" y="0"/>
                  </a:lnTo>
                  <a:lnTo>
                    <a:pt x="73" y="2"/>
                  </a:lnTo>
                  <a:lnTo>
                    <a:pt x="43" y="26"/>
                  </a:lnTo>
                  <a:lnTo>
                    <a:pt x="25" y="32"/>
                  </a:lnTo>
                  <a:lnTo>
                    <a:pt x="4" y="63"/>
                  </a:lnTo>
                  <a:lnTo>
                    <a:pt x="0" y="86"/>
                  </a:lnTo>
                  <a:lnTo>
                    <a:pt x="6" y="93"/>
                  </a:lnTo>
                  <a:lnTo>
                    <a:pt x="26" y="91"/>
                  </a:lnTo>
                  <a:lnTo>
                    <a:pt x="41" y="101"/>
                  </a:lnTo>
                  <a:lnTo>
                    <a:pt x="38" y="76"/>
                  </a:lnTo>
                  <a:lnTo>
                    <a:pt x="41" y="73"/>
                  </a:lnTo>
                  <a:lnTo>
                    <a:pt x="81" y="71"/>
                  </a:lnTo>
                  <a:lnTo>
                    <a:pt x="98" y="73"/>
                  </a:lnTo>
                  <a:lnTo>
                    <a:pt x="98" y="73"/>
                  </a:lnTo>
                  <a:lnTo>
                    <a:pt x="107" y="63"/>
                  </a:lnTo>
                  <a:lnTo>
                    <a:pt x="116" y="65"/>
                  </a:lnTo>
                  <a:lnTo>
                    <a:pt x="122" y="56"/>
                  </a:lnTo>
                  <a:lnTo>
                    <a:pt x="116" y="41"/>
                  </a:lnTo>
                  <a:lnTo>
                    <a:pt x="116" y="4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80" name="Freeform 5640"/>
            <p:cNvSpPr>
              <a:spLocks/>
            </p:cNvSpPr>
            <p:nvPr>
              <p:custDataLst>
                <p:tags r:id="rId26"/>
              </p:custDataLst>
            </p:nvPr>
          </p:nvSpPr>
          <p:spPr bwMode="gray">
            <a:xfrm>
              <a:off x="6612206" y="3785680"/>
              <a:ext cx="327054" cy="280554"/>
            </a:xfrm>
            <a:custGeom>
              <a:avLst/>
              <a:gdLst/>
              <a:ahLst/>
              <a:cxnLst>
                <a:cxn ang="0">
                  <a:pos x="214" y="178"/>
                </a:cxn>
                <a:cxn ang="0">
                  <a:pos x="212" y="169"/>
                </a:cxn>
                <a:cxn ang="0">
                  <a:pos x="244" y="118"/>
                </a:cxn>
                <a:cxn ang="0">
                  <a:pos x="253" y="57"/>
                </a:cxn>
                <a:cxn ang="0">
                  <a:pos x="246" y="51"/>
                </a:cxn>
                <a:cxn ang="0">
                  <a:pos x="238" y="38"/>
                </a:cxn>
                <a:cxn ang="0">
                  <a:pos x="238" y="10"/>
                </a:cxn>
                <a:cxn ang="0">
                  <a:pos x="221" y="2"/>
                </a:cxn>
                <a:cxn ang="0">
                  <a:pos x="188" y="0"/>
                </a:cxn>
                <a:cxn ang="0">
                  <a:pos x="88" y="75"/>
                </a:cxn>
                <a:cxn ang="0">
                  <a:pos x="64" y="81"/>
                </a:cxn>
                <a:cxn ang="0">
                  <a:pos x="64" y="137"/>
                </a:cxn>
                <a:cxn ang="0">
                  <a:pos x="58" y="145"/>
                </a:cxn>
                <a:cxn ang="0">
                  <a:pos x="0" y="158"/>
                </a:cxn>
                <a:cxn ang="0">
                  <a:pos x="2" y="175"/>
                </a:cxn>
                <a:cxn ang="0">
                  <a:pos x="19" y="201"/>
                </a:cxn>
                <a:cxn ang="0">
                  <a:pos x="28" y="199"/>
                </a:cxn>
                <a:cxn ang="0">
                  <a:pos x="34" y="214"/>
                </a:cxn>
                <a:cxn ang="0">
                  <a:pos x="34" y="214"/>
                </a:cxn>
                <a:cxn ang="0">
                  <a:pos x="40" y="208"/>
                </a:cxn>
                <a:cxn ang="0">
                  <a:pos x="49" y="206"/>
                </a:cxn>
                <a:cxn ang="0">
                  <a:pos x="55" y="218"/>
                </a:cxn>
                <a:cxn ang="0">
                  <a:pos x="56" y="201"/>
                </a:cxn>
                <a:cxn ang="0">
                  <a:pos x="71" y="182"/>
                </a:cxn>
                <a:cxn ang="0">
                  <a:pos x="88" y="178"/>
                </a:cxn>
                <a:cxn ang="0">
                  <a:pos x="111" y="195"/>
                </a:cxn>
                <a:cxn ang="0">
                  <a:pos x="122" y="188"/>
                </a:cxn>
                <a:cxn ang="0">
                  <a:pos x="146" y="199"/>
                </a:cxn>
                <a:cxn ang="0">
                  <a:pos x="165" y="188"/>
                </a:cxn>
                <a:cxn ang="0">
                  <a:pos x="195" y="191"/>
                </a:cxn>
                <a:cxn ang="0">
                  <a:pos x="210" y="178"/>
                </a:cxn>
                <a:cxn ang="0">
                  <a:pos x="214" y="178"/>
                </a:cxn>
                <a:cxn ang="0">
                  <a:pos x="214" y="178"/>
                </a:cxn>
              </a:cxnLst>
              <a:rect l="0" t="0" r="r" b="b"/>
              <a:pathLst>
                <a:path w="253" h="218">
                  <a:moveTo>
                    <a:pt x="214" y="178"/>
                  </a:moveTo>
                  <a:lnTo>
                    <a:pt x="212" y="169"/>
                  </a:lnTo>
                  <a:lnTo>
                    <a:pt x="244" y="118"/>
                  </a:lnTo>
                  <a:lnTo>
                    <a:pt x="253" y="57"/>
                  </a:lnTo>
                  <a:lnTo>
                    <a:pt x="246" y="51"/>
                  </a:lnTo>
                  <a:lnTo>
                    <a:pt x="238" y="38"/>
                  </a:lnTo>
                  <a:lnTo>
                    <a:pt x="238" y="10"/>
                  </a:lnTo>
                  <a:lnTo>
                    <a:pt x="221" y="2"/>
                  </a:lnTo>
                  <a:lnTo>
                    <a:pt x="188" y="0"/>
                  </a:lnTo>
                  <a:lnTo>
                    <a:pt x="88" y="75"/>
                  </a:lnTo>
                  <a:lnTo>
                    <a:pt x="64" y="81"/>
                  </a:lnTo>
                  <a:lnTo>
                    <a:pt x="64" y="137"/>
                  </a:lnTo>
                  <a:lnTo>
                    <a:pt x="58" y="145"/>
                  </a:lnTo>
                  <a:lnTo>
                    <a:pt x="0" y="158"/>
                  </a:lnTo>
                  <a:lnTo>
                    <a:pt x="2" y="175"/>
                  </a:lnTo>
                  <a:lnTo>
                    <a:pt x="19" y="201"/>
                  </a:lnTo>
                  <a:lnTo>
                    <a:pt x="28" y="199"/>
                  </a:lnTo>
                  <a:lnTo>
                    <a:pt x="34" y="214"/>
                  </a:lnTo>
                  <a:lnTo>
                    <a:pt x="34" y="214"/>
                  </a:lnTo>
                  <a:lnTo>
                    <a:pt x="40" y="208"/>
                  </a:lnTo>
                  <a:lnTo>
                    <a:pt x="49" y="206"/>
                  </a:lnTo>
                  <a:lnTo>
                    <a:pt x="55" y="218"/>
                  </a:lnTo>
                  <a:lnTo>
                    <a:pt x="56" y="201"/>
                  </a:lnTo>
                  <a:lnTo>
                    <a:pt x="71" y="182"/>
                  </a:lnTo>
                  <a:lnTo>
                    <a:pt x="88" y="178"/>
                  </a:lnTo>
                  <a:lnTo>
                    <a:pt x="111" y="195"/>
                  </a:lnTo>
                  <a:lnTo>
                    <a:pt x="122" y="188"/>
                  </a:lnTo>
                  <a:lnTo>
                    <a:pt x="146" y="199"/>
                  </a:lnTo>
                  <a:lnTo>
                    <a:pt x="165" y="188"/>
                  </a:lnTo>
                  <a:lnTo>
                    <a:pt x="195" y="191"/>
                  </a:lnTo>
                  <a:lnTo>
                    <a:pt x="210" y="178"/>
                  </a:lnTo>
                  <a:lnTo>
                    <a:pt x="214" y="178"/>
                  </a:lnTo>
                  <a:lnTo>
                    <a:pt x="214" y="17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81" name="Freeform 5641"/>
            <p:cNvSpPr>
              <a:spLocks/>
            </p:cNvSpPr>
            <p:nvPr>
              <p:custDataLst>
                <p:tags r:id="rId27"/>
              </p:custDataLst>
            </p:nvPr>
          </p:nvSpPr>
          <p:spPr bwMode="gray">
            <a:xfrm>
              <a:off x="6356251" y="3749646"/>
              <a:ext cx="338688" cy="352623"/>
            </a:xfrm>
            <a:custGeom>
              <a:avLst/>
              <a:gdLst/>
              <a:ahLst/>
              <a:cxnLst>
                <a:cxn ang="0">
                  <a:pos x="198" y="186"/>
                </a:cxn>
                <a:cxn ang="0">
                  <a:pos x="256" y="173"/>
                </a:cxn>
                <a:cxn ang="0">
                  <a:pos x="262" y="165"/>
                </a:cxn>
                <a:cxn ang="0">
                  <a:pos x="262" y="109"/>
                </a:cxn>
                <a:cxn ang="0">
                  <a:pos x="247" y="111"/>
                </a:cxn>
                <a:cxn ang="0">
                  <a:pos x="245" y="94"/>
                </a:cxn>
                <a:cxn ang="0">
                  <a:pos x="225" y="85"/>
                </a:cxn>
                <a:cxn ang="0">
                  <a:pos x="213" y="70"/>
                </a:cxn>
                <a:cxn ang="0">
                  <a:pos x="121" y="0"/>
                </a:cxn>
                <a:cxn ang="0">
                  <a:pos x="93" y="0"/>
                </a:cxn>
                <a:cxn ang="0">
                  <a:pos x="107" y="174"/>
                </a:cxn>
                <a:cxn ang="0">
                  <a:pos x="35" y="174"/>
                </a:cxn>
                <a:cxn ang="0">
                  <a:pos x="22" y="182"/>
                </a:cxn>
                <a:cxn ang="0">
                  <a:pos x="13" y="169"/>
                </a:cxn>
                <a:cxn ang="0">
                  <a:pos x="0" y="189"/>
                </a:cxn>
                <a:cxn ang="0">
                  <a:pos x="11" y="233"/>
                </a:cxn>
                <a:cxn ang="0">
                  <a:pos x="20" y="240"/>
                </a:cxn>
                <a:cxn ang="0">
                  <a:pos x="47" y="231"/>
                </a:cxn>
                <a:cxn ang="0">
                  <a:pos x="65" y="274"/>
                </a:cxn>
                <a:cxn ang="0">
                  <a:pos x="69" y="270"/>
                </a:cxn>
                <a:cxn ang="0">
                  <a:pos x="78" y="274"/>
                </a:cxn>
                <a:cxn ang="0">
                  <a:pos x="92" y="264"/>
                </a:cxn>
                <a:cxn ang="0">
                  <a:pos x="97" y="272"/>
                </a:cxn>
                <a:cxn ang="0">
                  <a:pos x="110" y="272"/>
                </a:cxn>
                <a:cxn ang="0">
                  <a:pos x="114" y="249"/>
                </a:cxn>
                <a:cxn ang="0">
                  <a:pos x="135" y="218"/>
                </a:cxn>
                <a:cxn ang="0">
                  <a:pos x="153" y="212"/>
                </a:cxn>
                <a:cxn ang="0">
                  <a:pos x="183" y="188"/>
                </a:cxn>
                <a:cxn ang="0">
                  <a:pos x="198" y="186"/>
                </a:cxn>
                <a:cxn ang="0">
                  <a:pos x="198" y="186"/>
                </a:cxn>
              </a:cxnLst>
              <a:rect l="0" t="0" r="r" b="b"/>
              <a:pathLst>
                <a:path w="262" h="274">
                  <a:moveTo>
                    <a:pt x="198" y="186"/>
                  </a:moveTo>
                  <a:lnTo>
                    <a:pt x="256" y="173"/>
                  </a:lnTo>
                  <a:lnTo>
                    <a:pt x="262" y="165"/>
                  </a:lnTo>
                  <a:lnTo>
                    <a:pt x="262" y="109"/>
                  </a:lnTo>
                  <a:lnTo>
                    <a:pt x="247" y="111"/>
                  </a:lnTo>
                  <a:lnTo>
                    <a:pt x="245" y="94"/>
                  </a:lnTo>
                  <a:lnTo>
                    <a:pt x="225" y="85"/>
                  </a:lnTo>
                  <a:lnTo>
                    <a:pt x="213" y="70"/>
                  </a:lnTo>
                  <a:lnTo>
                    <a:pt x="121" y="0"/>
                  </a:lnTo>
                  <a:lnTo>
                    <a:pt x="93" y="0"/>
                  </a:lnTo>
                  <a:lnTo>
                    <a:pt x="107" y="174"/>
                  </a:lnTo>
                  <a:lnTo>
                    <a:pt x="35" y="174"/>
                  </a:lnTo>
                  <a:lnTo>
                    <a:pt x="22" y="182"/>
                  </a:lnTo>
                  <a:lnTo>
                    <a:pt x="13" y="169"/>
                  </a:lnTo>
                  <a:lnTo>
                    <a:pt x="0" y="189"/>
                  </a:lnTo>
                  <a:lnTo>
                    <a:pt x="11" y="233"/>
                  </a:lnTo>
                  <a:lnTo>
                    <a:pt x="20" y="240"/>
                  </a:lnTo>
                  <a:lnTo>
                    <a:pt x="47" y="231"/>
                  </a:lnTo>
                  <a:lnTo>
                    <a:pt x="65" y="274"/>
                  </a:lnTo>
                  <a:lnTo>
                    <a:pt x="69" y="270"/>
                  </a:lnTo>
                  <a:lnTo>
                    <a:pt x="78" y="274"/>
                  </a:lnTo>
                  <a:lnTo>
                    <a:pt x="92" y="264"/>
                  </a:lnTo>
                  <a:lnTo>
                    <a:pt x="97" y="272"/>
                  </a:lnTo>
                  <a:lnTo>
                    <a:pt x="110" y="272"/>
                  </a:lnTo>
                  <a:lnTo>
                    <a:pt x="114" y="249"/>
                  </a:lnTo>
                  <a:lnTo>
                    <a:pt x="135" y="218"/>
                  </a:lnTo>
                  <a:lnTo>
                    <a:pt x="153" y="212"/>
                  </a:lnTo>
                  <a:lnTo>
                    <a:pt x="183" y="188"/>
                  </a:lnTo>
                  <a:lnTo>
                    <a:pt x="198" y="186"/>
                  </a:lnTo>
                  <a:lnTo>
                    <a:pt x="198" y="18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82" name="Freeform 5642"/>
            <p:cNvSpPr>
              <a:spLocks/>
            </p:cNvSpPr>
            <p:nvPr>
              <p:custDataLst>
                <p:tags r:id="rId28"/>
              </p:custDataLst>
            </p:nvPr>
          </p:nvSpPr>
          <p:spPr bwMode="gray">
            <a:xfrm>
              <a:off x="7065944" y="3795976"/>
              <a:ext cx="343859" cy="462014"/>
            </a:xfrm>
            <a:custGeom>
              <a:avLst/>
              <a:gdLst/>
              <a:ahLst/>
              <a:cxnLst>
                <a:cxn ang="0">
                  <a:pos x="228" y="328"/>
                </a:cxn>
                <a:cxn ang="0">
                  <a:pos x="215" y="324"/>
                </a:cxn>
                <a:cxn ang="0">
                  <a:pos x="198" y="290"/>
                </a:cxn>
                <a:cxn ang="0">
                  <a:pos x="181" y="281"/>
                </a:cxn>
                <a:cxn ang="0">
                  <a:pos x="187" y="271"/>
                </a:cxn>
                <a:cxn ang="0">
                  <a:pos x="200" y="268"/>
                </a:cxn>
                <a:cxn ang="0">
                  <a:pos x="202" y="234"/>
                </a:cxn>
                <a:cxn ang="0">
                  <a:pos x="230" y="187"/>
                </a:cxn>
                <a:cxn ang="0">
                  <a:pos x="241" y="114"/>
                </a:cxn>
                <a:cxn ang="0">
                  <a:pos x="260" y="103"/>
                </a:cxn>
                <a:cxn ang="0">
                  <a:pos x="266" y="93"/>
                </a:cxn>
                <a:cxn ang="0">
                  <a:pos x="251" y="82"/>
                </a:cxn>
                <a:cxn ang="0">
                  <a:pos x="236" y="19"/>
                </a:cxn>
                <a:cxn ang="0">
                  <a:pos x="219" y="7"/>
                </a:cxn>
                <a:cxn ang="0">
                  <a:pos x="215" y="0"/>
                </a:cxn>
                <a:cxn ang="0">
                  <a:pos x="191" y="22"/>
                </a:cxn>
                <a:cxn ang="0">
                  <a:pos x="178" y="19"/>
                </a:cxn>
                <a:cxn ang="0">
                  <a:pos x="46" y="19"/>
                </a:cxn>
                <a:cxn ang="0">
                  <a:pos x="46" y="19"/>
                </a:cxn>
                <a:cxn ang="0">
                  <a:pos x="46" y="54"/>
                </a:cxn>
                <a:cxn ang="0">
                  <a:pos x="33" y="56"/>
                </a:cxn>
                <a:cxn ang="0">
                  <a:pos x="31" y="67"/>
                </a:cxn>
                <a:cxn ang="0">
                  <a:pos x="33" y="131"/>
                </a:cxn>
                <a:cxn ang="0">
                  <a:pos x="31" y="137"/>
                </a:cxn>
                <a:cxn ang="0">
                  <a:pos x="16" y="137"/>
                </a:cxn>
                <a:cxn ang="0">
                  <a:pos x="0" y="187"/>
                </a:cxn>
                <a:cxn ang="0">
                  <a:pos x="15" y="215"/>
                </a:cxn>
                <a:cxn ang="0">
                  <a:pos x="15" y="225"/>
                </a:cxn>
                <a:cxn ang="0">
                  <a:pos x="28" y="243"/>
                </a:cxn>
                <a:cxn ang="0">
                  <a:pos x="26" y="262"/>
                </a:cxn>
                <a:cxn ang="0">
                  <a:pos x="50" y="275"/>
                </a:cxn>
                <a:cxn ang="0">
                  <a:pos x="93" y="331"/>
                </a:cxn>
                <a:cxn ang="0">
                  <a:pos x="104" y="345"/>
                </a:cxn>
                <a:cxn ang="0">
                  <a:pos x="131" y="343"/>
                </a:cxn>
                <a:cxn ang="0">
                  <a:pos x="148" y="359"/>
                </a:cxn>
                <a:cxn ang="0">
                  <a:pos x="164" y="359"/>
                </a:cxn>
                <a:cxn ang="0">
                  <a:pos x="198" y="352"/>
                </a:cxn>
                <a:cxn ang="0">
                  <a:pos x="206" y="341"/>
                </a:cxn>
                <a:cxn ang="0">
                  <a:pos x="228" y="341"/>
                </a:cxn>
                <a:cxn ang="0">
                  <a:pos x="228" y="328"/>
                </a:cxn>
                <a:cxn ang="0">
                  <a:pos x="228" y="328"/>
                </a:cxn>
              </a:cxnLst>
              <a:rect l="0" t="0" r="r" b="b"/>
              <a:pathLst>
                <a:path w="266" h="359">
                  <a:moveTo>
                    <a:pt x="228" y="328"/>
                  </a:moveTo>
                  <a:lnTo>
                    <a:pt x="215" y="324"/>
                  </a:lnTo>
                  <a:lnTo>
                    <a:pt x="198" y="290"/>
                  </a:lnTo>
                  <a:lnTo>
                    <a:pt x="181" y="281"/>
                  </a:lnTo>
                  <a:lnTo>
                    <a:pt x="187" y="271"/>
                  </a:lnTo>
                  <a:lnTo>
                    <a:pt x="200" y="268"/>
                  </a:lnTo>
                  <a:lnTo>
                    <a:pt x="202" y="234"/>
                  </a:lnTo>
                  <a:lnTo>
                    <a:pt x="230" y="187"/>
                  </a:lnTo>
                  <a:lnTo>
                    <a:pt x="241" y="114"/>
                  </a:lnTo>
                  <a:lnTo>
                    <a:pt x="260" y="103"/>
                  </a:lnTo>
                  <a:lnTo>
                    <a:pt x="266" y="93"/>
                  </a:lnTo>
                  <a:lnTo>
                    <a:pt x="251" y="82"/>
                  </a:lnTo>
                  <a:lnTo>
                    <a:pt x="236" y="19"/>
                  </a:lnTo>
                  <a:lnTo>
                    <a:pt x="219" y="7"/>
                  </a:lnTo>
                  <a:lnTo>
                    <a:pt x="215" y="0"/>
                  </a:lnTo>
                  <a:lnTo>
                    <a:pt x="191" y="22"/>
                  </a:lnTo>
                  <a:lnTo>
                    <a:pt x="178" y="19"/>
                  </a:lnTo>
                  <a:lnTo>
                    <a:pt x="46" y="19"/>
                  </a:lnTo>
                  <a:lnTo>
                    <a:pt x="46" y="19"/>
                  </a:lnTo>
                  <a:lnTo>
                    <a:pt x="46" y="54"/>
                  </a:lnTo>
                  <a:lnTo>
                    <a:pt x="33" y="56"/>
                  </a:lnTo>
                  <a:lnTo>
                    <a:pt x="31" y="67"/>
                  </a:lnTo>
                  <a:lnTo>
                    <a:pt x="33" y="131"/>
                  </a:lnTo>
                  <a:lnTo>
                    <a:pt x="31" y="137"/>
                  </a:lnTo>
                  <a:lnTo>
                    <a:pt x="16" y="137"/>
                  </a:lnTo>
                  <a:lnTo>
                    <a:pt x="0" y="187"/>
                  </a:lnTo>
                  <a:lnTo>
                    <a:pt x="15" y="215"/>
                  </a:lnTo>
                  <a:lnTo>
                    <a:pt x="15" y="225"/>
                  </a:lnTo>
                  <a:lnTo>
                    <a:pt x="28" y="243"/>
                  </a:lnTo>
                  <a:lnTo>
                    <a:pt x="26" y="262"/>
                  </a:lnTo>
                  <a:lnTo>
                    <a:pt x="50" y="275"/>
                  </a:lnTo>
                  <a:lnTo>
                    <a:pt x="93" y="331"/>
                  </a:lnTo>
                  <a:lnTo>
                    <a:pt x="104" y="345"/>
                  </a:lnTo>
                  <a:lnTo>
                    <a:pt x="131" y="343"/>
                  </a:lnTo>
                  <a:lnTo>
                    <a:pt x="148" y="359"/>
                  </a:lnTo>
                  <a:lnTo>
                    <a:pt x="164" y="359"/>
                  </a:lnTo>
                  <a:lnTo>
                    <a:pt x="198" y="352"/>
                  </a:lnTo>
                  <a:lnTo>
                    <a:pt x="206" y="341"/>
                  </a:lnTo>
                  <a:lnTo>
                    <a:pt x="228" y="341"/>
                  </a:lnTo>
                  <a:lnTo>
                    <a:pt x="228" y="328"/>
                  </a:lnTo>
                  <a:lnTo>
                    <a:pt x="228" y="32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83" name="Freeform 5643"/>
            <p:cNvSpPr>
              <a:spLocks/>
            </p:cNvSpPr>
            <p:nvPr>
              <p:custDataLst>
                <p:tags r:id="rId29"/>
              </p:custDataLst>
            </p:nvPr>
          </p:nvSpPr>
          <p:spPr bwMode="gray">
            <a:xfrm>
              <a:off x="6886258" y="3793402"/>
              <a:ext cx="222345" cy="373214"/>
            </a:xfrm>
            <a:custGeom>
              <a:avLst/>
              <a:gdLst/>
              <a:ahLst/>
              <a:cxnLst>
                <a:cxn ang="0">
                  <a:pos x="26" y="32"/>
                </a:cxn>
                <a:cxn ang="0">
                  <a:pos x="34" y="45"/>
                </a:cxn>
                <a:cxn ang="0">
                  <a:pos x="41" y="51"/>
                </a:cxn>
                <a:cxn ang="0">
                  <a:pos x="32" y="112"/>
                </a:cxn>
                <a:cxn ang="0">
                  <a:pos x="0" y="163"/>
                </a:cxn>
                <a:cxn ang="0">
                  <a:pos x="2" y="172"/>
                </a:cxn>
                <a:cxn ang="0">
                  <a:pos x="11" y="185"/>
                </a:cxn>
                <a:cxn ang="0">
                  <a:pos x="19" y="191"/>
                </a:cxn>
                <a:cxn ang="0">
                  <a:pos x="19" y="191"/>
                </a:cxn>
                <a:cxn ang="0">
                  <a:pos x="24" y="225"/>
                </a:cxn>
                <a:cxn ang="0">
                  <a:pos x="32" y="240"/>
                </a:cxn>
                <a:cxn ang="0">
                  <a:pos x="17" y="243"/>
                </a:cxn>
                <a:cxn ang="0">
                  <a:pos x="11" y="255"/>
                </a:cxn>
                <a:cxn ang="0">
                  <a:pos x="26" y="268"/>
                </a:cxn>
                <a:cxn ang="0">
                  <a:pos x="32" y="290"/>
                </a:cxn>
                <a:cxn ang="0">
                  <a:pos x="82" y="281"/>
                </a:cxn>
                <a:cxn ang="0">
                  <a:pos x="94" y="270"/>
                </a:cxn>
                <a:cxn ang="0">
                  <a:pos x="90" y="264"/>
                </a:cxn>
                <a:cxn ang="0">
                  <a:pos x="116" y="258"/>
                </a:cxn>
                <a:cxn ang="0">
                  <a:pos x="137" y="230"/>
                </a:cxn>
                <a:cxn ang="0">
                  <a:pos x="154" y="227"/>
                </a:cxn>
                <a:cxn ang="0">
                  <a:pos x="154" y="217"/>
                </a:cxn>
                <a:cxn ang="0">
                  <a:pos x="139" y="189"/>
                </a:cxn>
                <a:cxn ang="0">
                  <a:pos x="155" y="139"/>
                </a:cxn>
                <a:cxn ang="0">
                  <a:pos x="170" y="139"/>
                </a:cxn>
                <a:cxn ang="0">
                  <a:pos x="172" y="133"/>
                </a:cxn>
                <a:cxn ang="0">
                  <a:pos x="170" y="69"/>
                </a:cxn>
                <a:cxn ang="0">
                  <a:pos x="49" y="0"/>
                </a:cxn>
                <a:cxn ang="0">
                  <a:pos x="26" y="4"/>
                </a:cxn>
                <a:cxn ang="0">
                  <a:pos x="26" y="32"/>
                </a:cxn>
                <a:cxn ang="0">
                  <a:pos x="26" y="32"/>
                </a:cxn>
              </a:cxnLst>
              <a:rect l="0" t="0" r="r" b="b"/>
              <a:pathLst>
                <a:path w="172" h="290">
                  <a:moveTo>
                    <a:pt x="26" y="32"/>
                  </a:moveTo>
                  <a:lnTo>
                    <a:pt x="34" y="45"/>
                  </a:lnTo>
                  <a:lnTo>
                    <a:pt x="41" y="51"/>
                  </a:lnTo>
                  <a:lnTo>
                    <a:pt x="32" y="112"/>
                  </a:lnTo>
                  <a:lnTo>
                    <a:pt x="0" y="163"/>
                  </a:lnTo>
                  <a:lnTo>
                    <a:pt x="2" y="172"/>
                  </a:lnTo>
                  <a:lnTo>
                    <a:pt x="11" y="185"/>
                  </a:lnTo>
                  <a:lnTo>
                    <a:pt x="19" y="191"/>
                  </a:lnTo>
                  <a:lnTo>
                    <a:pt x="19" y="191"/>
                  </a:lnTo>
                  <a:lnTo>
                    <a:pt x="24" y="225"/>
                  </a:lnTo>
                  <a:lnTo>
                    <a:pt x="32" y="240"/>
                  </a:lnTo>
                  <a:lnTo>
                    <a:pt x="17" y="243"/>
                  </a:lnTo>
                  <a:lnTo>
                    <a:pt x="11" y="255"/>
                  </a:lnTo>
                  <a:lnTo>
                    <a:pt x="26" y="268"/>
                  </a:lnTo>
                  <a:lnTo>
                    <a:pt x="32" y="290"/>
                  </a:lnTo>
                  <a:lnTo>
                    <a:pt x="82" y="281"/>
                  </a:lnTo>
                  <a:lnTo>
                    <a:pt x="94" y="270"/>
                  </a:lnTo>
                  <a:lnTo>
                    <a:pt x="90" y="264"/>
                  </a:lnTo>
                  <a:lnTo>
                    <a:pt x="116" y="258"/>
                  </a:lnTo>
                  <a:lnTo>
                    <a:pt x="137" y="230"/>
                  </a:lnTo>
                  <a:lnTo>
                    <a:pt x="154" y="227"/>
                  </a:lnTo>
                  <a:lnTo>
                    <a:pt x="154" y="217"/>
                  </a:lnTo>
                  <a:lnTo>
                    <a:pt x="139" y="189"/>
                  </a:lnTo>
                  <a:lnTo>
                    <a:pt x="155" y="139"/>
                  </a:lnTo>
                  <a:lnTo>
                    <a:pt x="170" y="139"/>
                  </a:lnTo>
                  <a:lnTo>
                    <a:pt x="172" y="133"/>
                  </a:lnTo>
                  <a:lnTo>
                    <a:pt x="170" y="69"/>
                  </a:lnTo>
                  <a:lnTo>
                    <a:pt x="49" y="0"/>
                  </a:lnTo>
                  <a:lnTo>
                    <a:pt x="26" y="4"/>
                  </a:lnTo>
                  <a:lnTo>
                    <a:pt x="26" y="32"/>
                  </a:lnTo>
                  <a:lnTo>
                    <a:pt x="26" y="3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84" name="Freeform 5644"/>
            <p:cNvSpPr>
              <a:spLocks/>
            </p:cNvSpPr>
            <p:nvPr>
              <p:custDataLst>
                <p:tags r:id="rId30"/>
              </p:custDataLst>
            </p:nvPr>
          </p:nvSpPr>
          <p:spPr bwMode="gray">
            <a:xfrm>
              <a:off x="7493828" y="3925957"/>
              <a:ext cx="218467" cy="115825"/>
            </a:xfrm>
            <a:custGeom>
              <a:avLst/>
              <a:gdLst/>
              <a:ahLst/>
              <a:cxnLst>
                <a:cxn ang="0">
                  <a:pos x="2" y="22"/>
                </a:cxn>
                <a:cxn ang="0">
                  <a:pos x="17" y="11"/>
                </a:cxn>
                <a:cxn ang="0">
                  <a:pos x="51" y="51"/>
                </a:cxn>
                <a:cxn ang="0">
                  <a:pos x="107" y="9"/>
                </a:cxn>
                <a:cxn ang="0">
                  <a:pos x="159" y="0"/>
                </a:cxn>
                <a:cxn ang="0">
                  <a:pos x="169" y="19"/>
                </a:cxn>
                <a:cxn ang="0">
                  <a:pos x="167" y="21"/>
                </a:cxn>
                <a:cxn ang="0">
                  <a:pos x="159" y="26"/>
                </a:cxn>
                <a:cxn ang="0">
                  <a:pos x="156" y="37"/>
                </a:cxn>
                <a:cxn ang="0">
                  <a:pos x="116" y="54"/>
                </a:cxn>
                <a:cxn ang="0">
                  <a:pos x="75" y="81"/>
                </a:cxn>
                <a:cxn ang="0">
                  <a:pos x="53" y="81"/>
                </a:cxn>
                <a:cxn ang="0">
                  <a:pos x="41" y="88"/>
                </a:cxn>
                <a:cxn ang="0">
                  <a:pos x="17" y="90"/>
                </a:cxn>
                <a:cxn ang="0">
                  <a:pos x="0" y="24"/>
                </a:cxn>
                <a:cxn ang="0">
                  <a:pos x="2" y="22"/>
                </a:cxn>
                <a:cxn ang="0">
                  <a:pos x="2" y="22"/>
                </a:cxn>
              </a:cxnLst>
              <a:rect l="0" t="0" r="r" b="b"/>
              <a:pathLst>
                <a:path w="169" h="90">
                  <a:moveTo>
                    <a:pt x="2" y="22"/>
                  </a:moveTo>
                  <a:lnTo>
                    <a:pt x="17" y="11"/>
                  </a:lnTo>
                  <a:lnTo>
                    <a:pt x="51" y="51"/>
                  </a:lnTo>
                  <a:lnTo>
                    <a:pt x="107" y="9"/>
                  </a:lnTo>
                  <a:lnTo>
                    <a:pt x="159" y="0"/>
                  </a:lnTo>
                  <a:lnTo>
                    <a:pt x="169" y="19"/>
                  </a:lnTo>
                  <a:lnTo>
                    <a:pt x="167" y="21"/>
                  </a:lnTo>
                  <a:lnTo>
                    <a:pt x="159" y="26"/>
                  </a:lnTo>
                  <a:lnTo>
                    <a:pt x="156" y="37"/>
                  </a:lnTo>
                  <a:lnTo>
                    <a:pt x="116" y="54"/>
                  </a:lnTo>
                  <a:lnTo>
                    <a:pt x="75" y="81"/>
                  </a:lnTo>
                  <a:lnTo>
                    <a:pt x="53" y="81"/>
                  </a:lnTo>
                  <a:lnTo>
                    <a:pt x="41" y="88"/>
                  </a:lnTo>
                  <a:lnTo>
                    <a:pt x="17" y="90"/>
                  </a:lnTo>
                  <a:lnTo>
                    <a:pt x="0" y="24"/>
                  </a:lnTo>
                  <a:lnTo>
                    <a:pt x="2" y="22"/>
                  </a:lnTo>
                  <a:lnTo>
                    <a:pt x="2" y="2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85" name="Freeform 5652"/>
            <p:cNvSpPr>
              <a:spLocks/>
            </p:cNvSpPr>
            <p:nvPr>
              <p:custDataLst>
                <p:tags r:id="rId31"/>
              </p:custDataLst>
            </p:nvPr>
          </p:nvSpPr>
          <p:spPr bwMode="gray">
            <a:xfrm>
              <a:off x="6596807" y="4080391"/>
              <a:ext cx="43952" cy="118399"/>
            </a:xfrm>
            <a:custGeom>
              <a:avLst/>
              <a:gdLst/>
              <a:ahLst/>
              <a:cxnLst>
                <a:cxn ang="0">
                  <a:pos x="15" y="79"/>
                </a:cxn>
                <a:cxn ang="0">
                  <a:pos x="11" y="37"/>
                </a:cxn>
                <a:cxn ang="0">
                  <a:pos x="0" y="0"/>
                </a:cxn>
                <a:cxn ang="0">
                  <a:pos x="17" y="2"/>
                </a:cxn>
                <a:cxn ang="0">
                  <a:pos x="15" y="13"/>
                </a:cxn>
                <a:cxn ang="0">
                  <a:pos x="26" y="24"/>
                </a:cxn>
                <a:cxn ang="0">
                  <a:pos x="32" y="47"/>
                </a:cxn>
                <a:cxn ang="0">
                  <a:pos x="34" y="90"/>
                </a:cxn>
                <a:cxn ang="0">
                  <a:pos x="22" y="92"/>
                </a:cxn>
                <a:cxn ang="0">
                  <a:pos x="15" y="79"/>
                </a:cxn>
                <a:cxn ang="0">
                  <a:pos x="15" y="79"/>
                </a:cxn>
              </a:cxnLst>
              <a:rect l="0" t="0" r="r" b="b"/>
              <a:pathLst>
                <a:path w="34" h="92">
                  <a:moveTo>
                    <a:pt x="15" y="79"/>
                  </a:moveTo>
                  <a:lnTo>
                    <a:pt x="11" y="37"/>
                  </a:lnTo>
                  <a:lnTo>
                    <a:pt x="0" y="0"/>
                  </a:lnTo>
                  <a:lnTo>
                    <a:pt x="17" y="2"/>
                  </a:lnTo>
                  <a:lnTo>
                    <a:pt x="15" y="13"/>
                  </a:lnTo>
                  <a:lnTo>
                    <a:pt x="26" y="24"/>
                  </a:lnTo>
                  <a:lnTo>
                    <a:pt x="32" y="47"/>
                  </a:lnTo>
                  <a:lnTo>
                    <a:pt x="34" y="90"/>
                  </a:lnTo>
                  <a:lnTo>
                    <a:pt x="22" y="92"/>
                  </a:lnTo>
                  <a:lnTo>
                    <a:pt x="15" y="79"/>
                  </a:lnTo>
                  <a:lnTo>
                    <a:pt x="15" y="7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86" name="Freeform 5653"/>
            <p:cNvSpPr>
              <a:spLocks/>
            </p:cNvSpPr>
            <p:nvPr>
              <p:custDataLst>
                <p:tags r:id="rId32"/>
              </p:custDataLst>
            </p:nvPr>
          </p:nvSpPr>
          <p:spPr bwMode="gray">
            <a:xfrm>
              <a:off x="6622547" y="4050791"/>
              <a:ext cx="62050" cy="145425"/>
            </a:xfrm>
            <a:custGeom>
              <a:avLst/>
              <a:gdLst/>
              <a:ahLst/>
              <a:cxnLst>
                <a:cxn ang="0">
                  <a:pos x="17" y="70"/>
                </a:cxn>
                <a:cxn ang="0">
                  <a:pos x="11" y="47"/>
                </a:cxn>
                <a:cxn ang="0">
                  <a:pos x="0" y="36"/>
                </a:cxn>
                <a:cxn ang="0">
                  <a:pos x="2" y="25"/>
                </a:cxn>
                <a:cxn ang="0">
                  <a:pos x="11" y="15"/>
                </a:cxn>
                <a:cxn ang="0">
                  <a:pos x="20" y="17"/>
                </a:cxn>
                <a:cxn ang="0">
                  <a:pos x="26" y="8"/>
                </a:cxn>
                <a:cxn ang="0">
                  <a:pos x="32" y="2"/>
                </a:cxn>
                <a:cxn ang="0">
                  <a:pos x="41" y="0"/>
                </a:cxn>
                <a:cxn ang="0">
                  <a:pos x="47" y="12"/>
                </a:cxn>
                <a:cxn ang="0">
                  <a:pos x="48" y="32"/>
                </a:cxn>
                <a:cxn ang="0">
                  <a:pos x="34" y="72"/>
                </a:cxn>
                <a:cxn ang="0">
                  <a:pos x="32" y="111"/>
                </a:cxn>
                <a:cxn ang="0">
                  <a:pos x="19" y="113"/>
                </a:cxn>
                <a:cxn ang="0">
                  <a:pos x="17" y="70"/>
                </a:cxn>
                <a:cxn ang="0">
                  <a:pos x="17" y="70"/>
                </a:cxn>
              </a:cxnLst>
              <a:rect l="0" t="0" r="r" b="b"/>
              <a:pathLst>
                <a:path w="48" h="113">
                  <a:moveTo>
                    <a:pt x="17" y="70"/>
                  </a:moveTo>
                  <a:lnTo>
                    <a:pt x="11" y="47"/>
                  </a:lnTo>
                  <a:lnTo>
                    <a:pt x="0" y="36"/>
                  </a:lnTo>
                  <a:lnTo>
                    <a:pt x="2" y="25"/>
                  </a:lnTo>
                  <a:lnTo>
                    <a:pt x="11" y="15"/>
                  </a:lnTo>
                  <a:lnTo>
                    <a:pt x="20" y="17"/>
                  </a:lnTo>
                  <a:lnTo>
                    <a:pt x="26" y="8"/>
                  </a:lnTo>
                  <a:lnTo>
                    <a:pt x="32" y="2"/>
                  </a:lnTo>
                  <a:lnTo>
                    <a:pt x="41" y="0"/>
                  </a:lnTo>
                  <a:lnTo>
                    <a:pt x="47" y="12"/>
                  </a:lnTo>
                  <a:lnTo>
                    <a:pt x="48" y="32"/>
                  </a:lnTo>
                  <a:lnTo>
                    <a:pt x="34" y="72"/>
                  </a:lnTo>
                  <a:lnTo>
                    <a:pt x="32" y="111"/>
                  </a:lnTo>
                  <a:lnTo>
                    <a:pt x="19" y="113"/>
                  </a:lnTo>
                  <a:lnTo>
                    <a:pt x="17" y="70"/>
                  </a:lnTo>
                  <a:lnTo>
                    <a:pt x="17" y="7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87" name="Freeform 5654"/>
            <p:cNvSpPr>
              <a:spLocks/>
            </p:cNvSpPr>
            <p:nvPr>
              <p:custDataLst>
                <p:tags r:id="rId33"/>
              </p:custDataLst>
            </p:nvPr>
          </p:nvSpPr>
          <p:spPr bwMode="gray">
            <a:xfrm>
              <a:off x="6365300" y="4143451"/>
              <a:ext cx="85318" cy="97808"/>
            </a:xfrm>
            <a:custGeom>
              <a:avLst/>
              <a:gdLst/>
              <a:ahLst/>
              <a:cxnLst>
                <a:cxn ang="0">
                  <a:pos x="49" y="16"/>
                </a:cxn>
                <a:cxn ang="0">
                  <a:pos x="51" y="37"/>
                </a:cxn>
                <a:cxn ang="0">
                  <a:pos x="66" y="52"/>
                </a:cxn>
                <a:cxn ang="0">
                  <a:pos x="64" y="76"/>
                </a:cxn>
                <a:cxn ang="0">
                  <a:pos x="51" y="75"/>
                </a:cxn>
                <a:cxn ang="0">
                  <a:pos x="0" y="30"/>
                </a:cxn>
                <a:cxn ang="0">
                  <a:pos x="0" y="28"/>
                </a:cxn>
                <a:cxn ang="0">
                  <a:pos x="19" y="1"/>
                </a:cxn>
                <a:cxn ang="0">
                  <a:pos x="30" y="0"/>
                </a:cxn>
                <a:cxn ang="0">
                  <a:pos x="40" y="22"/>
                </a:cxn>
                <a:cxn ang="0">
                  <a:pos x="49" y="16"/>
                </a:cxn>
                <a:cxn ang="0">
                  <a:pos x="49" y="16"/>
                </a:cxn>
              </a:cxnLst>
              <a:rect l="0" t="0" r="r" b="b"/>
              <a:pathLst>
                <a:path w="66" h="76">
                  <a:moveTo>
                    <a:pt x="49" y="16"/>
                  </a:moveTo>
                  <a:lnTo>
                    <a:pt x="51" y="37"/>
                  </a:lnTo>
                  <a:lnTo>
                    <a:pt x="66" y="52"/>
                  </a:lnTo>
                  <a:lnTo>
                    <a:pt x="64" y="76"/>
                  </a:lnTo>
                  <a:lnTo>
                    <a:pt x="51" y="75"/>
                  </a:lnTo>
                  <a:lnTo>
                    <a:pt x="0" y="30"/>
                  </a:lnTo>
                  <a:lnTo>
                    <a:pt x="0" y="28"/>
                  </a:lnTo>
                  <a:lnTo>
                    <a:pt x="19" y="1"/>
                  </a:lnTo>
                  <a:lnTo>
                    <a:pt x="30" y="0"/>
                  </a:lnTo>
                  <a:lnTo>
                    <a:pt x="40" y="22"/>
                  </a:lnTo>
                  <a:lnTo>
                    <a:pt x="49" y="16"/>
                  </a:lnTo>
                  <a:lnTo>
                    <a:pt x="49" y="1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88" name="Freeform 5655"/>
            <p:cNvSpPr>
              <a:spLocks/>
            </p:cNvSpPr>
            <p:nvPr>
              <p:custDataLst>
                <p:tags r:id="rId34"/>
              </p:custDataLst>
            </p:nvPr>
          </p:nvSpPr>
          <p:spPr bwMode="gray">
            <a:xfrm>
              <a:off x="6259298" y="3696881"/>
              <a:ext cx="253370" cy="295998"/>
            </a:xfrm>
            <a:custGeom>
              <a:avLst/>
              <a:gdLst/>
              <a:ahLst/>
              <a:cxnLst>
                <a:cxn ang="0">
                  <a:pos x="75" y="230"/>
                </a:cxn>
                <a:cxn ang="0">
                  <a:pos x="56" y="208"/>
                </a:cxn>
                <a:cxn ang="0">
                  <a:pos x="35" y="195"/>
                </a:cxn>
                <a:cxn ang="0">
                  <a:pos x="19" y="199"/>
                </a:cxn>
                <a:cxn ang="0">
                  <a:pos x="7" y="210"/>
                </a:cxn>
                <a:cxn ang="0">
                  <a:pos x="13" y="170"/>
                </a:cxn>
                <a:cxn ang="0">
                  <a:pos x="7" y="144"/>
                </a:cxn>
                <a:cxn ang="0">
                  <a:pos x="13" y="129"/>
                </a:cxn>
                <a:cxn ang="0">
                  <a:pos x="0" y="114"/>
                </a:cxn>
                <a:cxn ang="0">
                  <a:pos x="11" y="109"/>
                </a:cxn>
                <a:cxn ang="0">
                  <a:pos x="67" y="107"/>
                </a:cxn>
                <a:cxn ang="0">
                  <a:pos x="65" y="79"/>
                </a:cxn>
                <a:cxn ang="0">
                  <a:pos x="84" y="66"/>
                </a:cxn>
                <a:cxn ang="0">
                  <a:pos x="88" y="22"/>
                </a:cxn>
                <a:cxn ang="0">
                  <a:pos x="138" y="22"/>
                </a:cxn>
                <a:cxn ang="0">
                  <a:pos x="140" y="0"/>
                </a:cxn>
                <a:cxn ang="0">
                  <a:pos x="196" y="41"/>
                </a:cxn>
                <a:cxn ang="0">
                  <a:pos x="196" y="41"/>
                </a:cxn>
                <a:cxn ang="0">
                  <a:pos x="168" y="41"/>
                </a:cxn>
                <a:cxn ang="0">
                  <a:pos x="182" y="215"/>
                </a:cxn>
                <a:cxn ang="0">
                  <a:pos x="110" y="215"/>
                </a:cxn>
                <a:cxn ang="0">
                  <a:pos x="97" y="223"/>
                </a:cxn>
                <a:cxn ang="0">
                  <a:pos x="88" y="210"/>
                </a:cxn>
                <a:cxn ang="0">
                  <a:pos x="75" y="230"/>
                </a:cxn>
                <a:cxn ang="0">
                  <a:pos x="75" y="230"/>
                </a:cxn>
              </a:cxnLst>
              <a:rect l="0" t="0" r="r" b="b"/>
              <a:pathLst>
                <a:path w="196" h="230">
                  <a:moveTo>
                    <a:pt x="75" y="230"/>
                  </a:moveTo>
                  <a:lnTo>
                    <a:pt x="56" y="208"/>
                  </a:lnTo>
                  <a:lnTo>
                    <a:pt x="35" y="195"/>
                  </a:lnTo>
                  <a:lnTo>
                    <a:pt x="19" y="199"/>
                  </a:lnTo>
                  <a:lnTo>
                    <a:pt x="7" y="210"/>
                  </a:lnTo>
                  <a:lnTo>
                    <a:pt x="13" y="170"/>
                  </a:lnTo>
                  <a:lnTo>
                    <a:pt x="7" y="144"/>
                  </a:lnTo>
                  <a:lnTo>
                    <a:pt x="13" y="129"/>
                  </a:lnTo>
                  <a:lnTo>
                    <a:pt x="0" y="114"/>
                  </a:lnTo>
                  <a:lnTo>
                    <a:pt x="11" y="109"/>
                  </a:lnTo>
                  <a:lnTo>
                    <a:pt x="67" y="107"/>
                  </a:lnTo>
                  <a:lnTo>
                    <a:pt x="65" y="79"/>
                  </a:lnTo>
                  <a:lnTo>
                    <a:pt x="84" y="66"/>
                  </a:lnTo>
                  <a:lnTo>
                    <a:pt x="88" y="22"/>
                  </a:lnTo>
                  <a:lnTo>
                    <a:pt x="138" y="22"/>
                  </a:lnTo>
                  <a:lnTo>
                    <a:pt x="140" y="0"/>
                  </a:lnTo>
                  <a:lnTo>
                    <a:pt x="196" y="41"/>
                  </a:lnTo>
                  <a:lnTo>
                    <a:pt x="196" y="41"/>
                  </a:lnTo>
                  <a:lnTo>
                    <a:pt x="168" y="41"/>
                  </a:lnTo>
                  <a:lnTo>
                    <a:pt x="182" y="215"/>
                  </a:lnTo>
                  <a:lnTo>
                    <a:pt x="110" y="215"/>
                  </a:lnTo>
                  <a:lnTo>
                    <a:pt x="97" y="223"/>
                  </a:lnTo>
                  <a:lnTo>
                    <a:pt x="88" y="210"/>
                  </a:lnTo>
                  <a:lnTo>
                    <a:pt x="75" y="230"/>
                  </a:lnTo>
                  <a:lnTo>
                    <a:pt x="75" y="23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89" name="Freeform 5656"/>
            <p:cNvSpPr>
              <a:spLocks/>
            </p:cNvSpPr>
            <p:nvPr>
              <p:custDataLst>
                <p:tags r:id="rId35"/>
              </p:custDataLst>
            </p:nvPr>
          </p:nvSpPr>
          <p:spPr bwMode="gray">
            <a:xfrm>
              <a:off x="6259298" y="3686585"/>
              <a:ext cx="180978" cy="157007"/>
            </a:xfrm>
            <a:custGeom>
              <a:avLst/>
              <a:gdLst/>
              <a:ahLst/>
              <a:cxnLst>
                <a:cxn ang="0">
                  <a:pos x="140" y="0"/>
                </a:cxn>
                <a:cxn ang="0">
                  <a:pos x="140" y="8"/>
                </a:cxn>
                <a:cxn ang="0">
                  <a:pos x="140" y="8"/>
                </a:cxn>
                <a:cxn ang="0">
                  <a:pos x="138" y="30"/>
                </a:cxn>
                <a:cxn ang="0">
                  <a:pos x="88" y="30"/>
                </a:cxn>
                <a:cxn ang="0">
                  <a:pos x="84" y="74"/>
                </a:cxn>
                <a:cxn ang="0">
                  <a:pos x="65" y="87"/>
                </a:cxn>
                <a:cxn ang="0">
                  <a:pos x="67" y="115"/>
                </a:cxn>
                <a:cxn ang="0">
                  <a:pos x="11" y="117"/>
                </a:cxn>
                <a:cxn ang="0">
                  <a:pos x="0" y="122"/>
                </a:cxn>
                <a:cxn ang="0">
                  <a:pos x="4" y="104"/>
                </a:cxn>
                <a:cxn ang="0">
                  <a:pos x="35" y="57"/>
                </a:cxn>
                <a:cxn ang="0">
                  <a:pos x="47" y="29"/>
                </a:cxn>
                <a:cxn ang="0">
                  <a:pos x="58" y="19"/>
                </a:cxn>
                <a:cxn ang="0">
                  <a:pos x="71" y="0"/>
                </a:cxn>
                <a:cxn ang="0">
                  <a:pos x="140" y="0"/>
                </a:cxn>
                <a:cxn ang="0">
                  <a:pos x="140" y="0"/>
                </a:cxn>
              </a:cxnLst>
              <a:rect l="0" t="0" r="r" b="b"/>
              <a:pathLst>
                <a:path w="140" h="122">
                  <a:moveTo>
                    <a:pt x="140" y="0"/>
                  </a:moveTo>
                  <a:lnTo>
                    <a:pt x="140" y="8"/>
                  </a:lnTo>
                  <a:lnTo>
                    <a:pt x="140" y="8"/>
                  </a:lnTo>
                  <a:lnTo>
                    <a:pt x="138" y="30"/>
                  </a:lnTo>
                  <a:lnTo>
                    <a:pt x="88" y="30"/>
                  </a:lnTo>
                  <a:lnTo>
                    <a:pt x="84" y="74"/>
                  </a:lnTo>
                  <a:lnTo>
                    <a:pt x="65" y="87"/>
                  </a:lnTo>
                  <a:lnTo>
                    <a:pt x="67" y="115"/>
                  </a:lnTo>
                  <a:lnTo>
                    <a:pt x="11" y="117"/>
                  </a:lnTo>
                  <a:lnTo>
                    <a:pt x="0" y="122"/>
                  </a:lnTo>
                  <a:lnTo>
                    <a:pt x="4" y="104"/>
                  </a:lnTo>
                  <a:lnTo>
                    <a:pt x="35" y="57"/>
                  </a:lnTo>
                  <a:lnTo>
                    <a:pt x="47" y="29"/>
                  </a:lnTo>
                  <a:lnTo>
                    <a:pt x="58" y="19"/>
                  </a:lnTo>
                  <a:lnTo>
                    <a:pt x="71" y="0"/>
                  </a:lnTo>
                  <a:lnTo>
                    <a:pt x="140" y="0"/>
                  </a:lnTo>
                  <a:lnTo>
                    <a:pt x="14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90" name="Freeform 5661"/>
            <p:cNvSpPr>
              <a:spLocks/>
            </p:cNvSpPr>
            <p:nvPr>
              <p:custDataLst>
                <p:tags r:id="rId36"/>
              </p:custDataLst>
            </p:nvPr>
          </p:nvSpPr>
          <p:spPr bwMode="gray">
            <a:xfrm>
              <a:off x="7440695" y="4058706"/>
              <a:ext cx="208125" cy="323024"/>
            </a:xfrm>
            <a:custGeom>
              <a:avLst/>
              <a:gdLst/>
              <a:ahLst/>
              <a:cxnLst>
                <a:cxn ang="0">
                  <a:pos x="13" y="148"/>
                </a:cxn>
                <a:cxn ang="0">
                  <a:pos x="0" y="170"/>
                </a:cxn>
                <a:cxn ang="0">
                  <a:pos x="0" y="234"/>
                </a:cxn>
                <a:cxn ang="0">
                  <a:pos x="10" y="251"/>
                </a:cxn>
                <a:cxn ang="0">
                  <a:pos x="10" y="251"/>
                </a:cxn>
                <a:cxn ang="0">
                  <a:pos x="36" y="213"/>
                </a:cxn>
                <a:cxn ang="0">
                  <a:pos x="85" y="172"/>
                </a:cxn>
                <a:cxn ang="0">
                  <a:pos x="107" y="144"/>
                </a:cxn>
                <a:cxn ang="0">
                  <a:pos x="128" y="114"/>
                </a:cxn>
                <a:cxn ang="0">
                  <a:pos x="160" y="28"/>
                </a:cxn>
                <a:cxn ang="0">
                  <a:pos x="161" y="4"/>
                </a:cxn>
                <a:cxn ang="0">
                  <a:pos x="152" y="0"/>
                </a:cxn>
                <a:cxn ang="0">
                  <a:pos x="145" y="7"/>
                </a:cxn>
                <a:cxn ang="0">
                  <a:pos x="126" y="15"/>
                </a:cxn>
                <a:cxn ang="0">
                  <a:pos x="102" y="17"/>
                </a:cxn>
                <a:cxn ang="0">
                  <a:pos x="58" y="30"/>
                </a:cxn>
                <a:cxn ang="0">
                  <a:pos x="49" y="28"/>
                </a:cxn>
                <a:cxn ang="0">
                  <a:pos x="34" y="9"/>
                </a:cxn>
                <a:cxn ang="0">
                  <a:pos x="34" y="9"/>
                </a:cxn>
                <a:cxn ang="0">
                  <a:pos x="28" y="20"/>
                </a:cxn>
                <a:cxn ang="0">
                  <a:pos x="28" y="30"/>
                </a:cxn>
                <a:cxn ang="0">
                  <a:pos x="47" y="52"/>
                </a:cxn>
                <a:cxn ang="0">
                  <a:pos x="98" y="73"/>
                </a:cxn>
                <a:cxn ang="0">
                  <a:pos x="111" y="73"/>
                </a:cxn>
                <a:cxn ang="0">
                  <a:pos x="66" y="127"/>
                </a:cxn>
                <a:cxn ang="0">
                  <a:pos x="43" y="129"/>
                </a:cxn>
                <a:cxn ang="0">
                  <a:pos x="13" y="148"/>
                </a:cxn>
                <a:cxn ang="0">
                  <a:pos x="13" y="148"/>
                </a:cxn>
                <a:cxn ang="0">
                  <a:pos x="13" y="148"/>
                </a:cxn>
              </a:cxnLst>
              <a:rect l="0" t="0" r="r" b="b"/>
              <a:pathLst>
                <a:path w="161" h="251">
                  <a:moveTo>
                    <a:pt x="13" y="148"/>
                  </a:moveTo>
                  <a:lnTo>
                    <a:pt x="0" y="170"/>
                  </a:lnTo>
                  <a:lnTo>
                    <a:pt x="0" y="234"/>
                  </a:lnTo>
                  <a:lnTo>
                    <a:pt x="10" y="251"/>
                  </a:lnTo>
                  <a:lnTo>
                    <a:pt x="10" y="251"/>
                  </a:lnTo>
                  <a:lnTo>
                    <a:pt x="36" y="213"/>
                  </a:lnTo>
                  <a:lnTo>
                    <a:pt x="85" y="172"/>
                  </a:lnTo>
                  <a:lnTo>
                    <a:pt x="107" y="144"/>
                  </a:lnTo>
                  <a:lnTo>
                    <a:pt x="128" y="114"/>
                  </a:lnTo>
                  <a:lnTo>
                    <a:pt x="160" y="28"/>
                  </a:lnTo>
                  <a:lnTo>
                    <a:pt x="161" y="4"/>
                  </a:lnTo>
                  <a:lnTo>
                    <a:pt x="152" y="0"/>
                  </a:lnTo>
                  <a:lnTo>
                    <a:pt x="145" y="7"/>
                  </a:lnTo>
                  <a:lnTo>
                    <a:pt x="126" y="15"/>
                  </a:lnTo>
                  <a:lnTo>
                    <a:pt x="102" y="17"/>
                  </a:lnTo>
                  <a:lnTo>
                    <a:pt x="58" y="30"/>
                  </a:lnTo>
                  <a:lnTo>
                    <a:pt x="49" y="28"/>
                  </a:lnTo>
                  <a:lnTo>
                    <a:pt x="34" y="9"/>
                  </a:lnTo>
                  <a:lnTo>
                    <a:pt x="34" y="9"/>
                  </a:lnTo>
                  <a:lnTo>
                    <a:pt x="28" y="20"/>
                  </a:lnTo>
                  <a:lnTo>
                    <a:pt x="28" y="30"/>
                  </a:lnTo>
                  <a:lnTo>
                    <a:pt x="47" y="52"/>
                  </a:lnTo>
                  <a:lnTo>
                    <a:pt x="98" y="73"/>
                  </a:lnTo>
                  <a:lnTo>
                    <a:pt x="111" y="73"/>
                  </a:lnTo>
                  <a:lnTo>
                    <a:pt x="66" y="127"/>
                  </a:lnTo>
                  <a:lnTo>
                    <a:pt x="43" y="129"/>
                  </a:lnTo>
                  <a:lnTo>
                    <a:pt x="13" y="148"/>
                  </a:lnTo>
                  <a:lnTo>
                    <a:pt x="13" y="148"/>
                  </a:lnTo>
                  <a:lnTo>
                    <a:pt x="13" y="14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91" name="Freeform 5662"/>
            <p:cNvSpPr>
              <a:spLocks/>
            </p:cNvSpPr>
            <p:nvPr>
              <p:custDataLst>
                <p:tags r:id="rId37"/>
              </p:custDataLst>
            </p:nvPr>
          </p:nvSpPr>
          <p:spPr bwMode="gray">
            <a:xfrm>
              <a:off x="6256713" y="4046545"/>
              <a:ext cx="65928" cy="43756"/>
            </a:xfrm>
            <a:custGeom>
              <a:avLst/>
              <a:gdLst/>
              <a:ahLst/>
              <a:cxnLst>
                <a:cxn ang="0">
                  <a:pos x="51" y="0"/>
                </a:cxn>
                <a:cxn ang="0">
                  <a:pos x="49" y="19"/>
                </a:cxn>
                <a:cxn ang="0">
                  <a:pos x="34" y="24"/>
                </a:cxn>
                <a:cxn ang="0">
                  <a:pos x="28" y="34"/>
                </a:cxn>
                <a:cxn ang="0">
                  <a:pos x="28" y="34"/>
                </a:cxn>
                <a:cxn ang="0">
                  <a:pos x="22" y="28"/>
                </a:cxn>
                <a:cxn ang="0">
                  <a:pos x="21" y="15"/>
                </a:cxn>
                <a:cxn ang="0">
                  <a:pos x="13" y="17"/>
                </a:cxn>
                <a:cxn ang="0">
                  <a:pos x="0" y="7"/>
                </a:cxn>
                <a:cxn ang="0">
                  <a:pos x="2" y="6"/>
                </a:cxn>
                <a:cxn ang="0">
                  <a:pos x="51" y="0"/>
                </a:cxn>
                <a:cxn ang="0">
                  <a:pos x="51" y="0"/>
                </a:cxn>
              </a:cxnLst>
              <a:rect l="0" t="0" r="r" b="b"/>
              <a:pathLst>
                <a:path w="51" h="34">
                  <a:moveTo>
                    <a:pt x="51" y="0"/>
                  </a:moveTo>
                  <a:lnTo>
                    <a:pt x="49" y="19"/>
                  </a:lnTo>
                  <a:lnTo>
                    <a:pt x="34" y="24"/>
                  </a:lnTo>
                  <a:lnTo>
                    <a:pt x="28" y="34"/>
                  </a:lnTo>
                  <a:lnTo>
                    <a:pt x="28" y="34"/>
                  </a:lnTo>
                  <a:lnTo>
                    <a:pt x="22" y="28"/>
                  </a:lnTo>
                  <a:lnTo>
                    <a:pt x="21" y="15"/>
                  </a:lnTo>
                  <a:lnTo>
                    <a:pt x="13" y="17"/>
                  </a:lnTo>
                  <a:lnTo>
                    <a:pt x="0" y="7"/>
                  </a:lnTo>
                  <a:lnTo>
                    <a:pt x="2" y="6"/>
                  </a:lnTo>
                  <a:lnTo>
                    <a:pt x="51" y="0"/>
                  </a:lnTo>
                  <a:lnTo>
                    <a:pt x="51"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92" name="Freeform 5663"/>
            <p:cNvSpPr>
              <a:spLocks/>
            </p:cNvSpPr>
            <p:nvPr>
              <p:custDataLst>
                <p:tags r:id="rId38"/>
              </p:custDataLst>
            </p:nvPr>
          </p:nvSpPr>
          <p:spPr bwMode="gray">
            <a:xfrm>
              <a:off x="6348152" y="4113273"/>
              <a:ext cx="60757" cy="75930"/>
            </a:xfrm>
            <a:custGeom>
              <a:avLst/>
              <a:gdLst/>
              <a:ahLst/>
              <a:cxnLst>
                <a:cxn ang="0">
                  <a:pos x="0" y="15"/>
                </a:cxn>
                <a:cxn ang="0">
                  <a:pos x="4" y="42"/>
                </a:cxn>
                <a:cxn ang="0">
                  <a:pos x="28" y="59"/>
                </a:cxn>
                <a:cxn ang="0">
                  <a:pos x="28" y="57"/>
                </a:cxn>
                <a:cxn ang="0">
                  <a:pos x="47" y="30"/>
                </a:cxn>
                <a:cxn ang="0">
                  <a:pos x="43" y="30"/>
                </a:cxn>
                <a:cxn ang="0">
                  <a:pos x="45" y="21"/>
                </a:cxn>
                <a:cxn ang="0">
                  <a:pos x="30" y="0"/>
                </a:cxn>
                <a:cxn ang="0">
                  <a:pos x="15" y="0"/>
                </a:cxn>
                <a:cxn ang="0">
                  <a:pos x="0" y="15"/>
                </a:cxn>
                <a:cxn ang="0">
                  <a:pos x="0" y="15"/>
                </a:cxn>
                <a:cxn ang="0">
                  <a:pos x="0" y="15"/>
                </a:cxn>
              </a:cxnLst>
              <a:rect l="0" t="0" r="r" b="b"/>
              <a:pathLst>
                <a:path w="47" h="59">
                  <a:moveTo>
                    <a:pt x="0" y="15"/>
                  </a:moveTo>
                  <a:lnTo>
                    <a:pt x="4" y="42"/>
                  </a:lnTo>
                  <a:lnTo>
                    <a:pt x="28" y="59"/>
                  </a:lnTo>
                  <a:lnTo>
                    <a:pt x="28" y="57"/>
                  </a:lnTo>
                  <a:lnTo>
                    <a:pt x="47" y="30"/>
                  </a:lnTo>
                  <a:lnTo>
                    <a:pt x="43" y="30"/>
                  </a:lnTo>
                  <a:lnTo>
                    <a:pt x="45" y="21"/>
                  </a:lnTo>
                  <a:lnTo>
                    <a:pt x="30" y="0"/>
                  </a:lnTo>
                  <a:lnTo>
                    <a:pt x="15" y="0"/>
                  </a:lnTo>
                  <a:lnTo>
                    <a:pt x="0" y="15"/>
                  </a:lnTo>
                  <a:lnTo>
                    <a:pt x="0" y="15"/>
                  </a:lnTo>
                  <a:lnTo>
                    <a:pt x="0"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93" name="Freeform 5672"/>
            <p:cNvSpPr>
              <a:spLocks/>
            </p:cNvSpPr>
            <p:nvPr>
              <p:custDataLst>
                <p:tags r:id="rId39"/>
              </p:custDataLst>
            </p:nvPr>
          </p:nvSpPr>
          <p:spPr bwMode="gray">
            <a:xfrm>
              <a:off x="6866868" y="4221955"/>
              <a:ext cx="399445" cy="434988"/>
            </a:xfrm>
            <a:custGeom>
              <a:avLst/>
              <a:gdLst/>
              <a:ahLst/>
              <a:cxnLst>
                <a:cxn ang="0">
                  <a:pos x="262" y="313"/>
                </a:cxn>
                <a:cxn ang="0">
                  <a:pos x="266" y="263"/>
                </a:cxn>
                <a:cxn ang="0">
                  <a:pos x="270" y="253"/>
                </a:cxn>
                <a:cxn ang="0">
                  <a:pos x="292" y="248"/>
                </a:cxn>
                <a:cxn ang="0">
                  <a:pos x="290" y="233"/>
                </a:cxn>
                <a:cxn ang="0">
                  <a:pos x="273" y="206"/>
                </a:cxn>
                <a:cxn ang="0">
                  <a:pos x="272" y="169"/>
                </a:cxn>
                <a:cxn ang="0">
                  <a:pos x="275" y="158"/>
                </a:cxn>
                <a:cxn ang="0">
                  <a:pos x="277" y="167"/>
                </a:cxn>
                <a:cxn ang="0">
                  <a:pos x="275" y="158"/>
                </a:cxn>
                <a:cxn ang="0">
                  <a:pos x="273" y="145"/>
                </a:cxn>
                <a:cxn ang="0">
                  <a:pos x="272" y="139"/>
                </a:cxn>
                <a:cxn ang="0">
                  <a:pos x="283" y="118"/>
                </a:cxn>
                <a:cxn ang="0">
                  <a:pos x="287" y="87"/>
                </a:cxn>
                <a:cxn ang="0">
                  <a:pos x="296" y="72"/>
                </a:cxn>
                <a:cxn ang="0">
                  <a:pos x="309" y="55"/>
                </a:cxn>
                <a:cxn ang="0">
                  <a:pos x="300" y="45"/>
                </a:cxn>
                <a:cxn ang="0">
                  <a:pos x="302" y="28"/>
                </a:cxn>
                <a:cxn ang="0">
                  <a:pos x="285" y="12"/>
                </a:cxn>
                <a:cxn ang="0">
                  <a:pos x="258" y="14"/>
                </a:cxn>
                <a:cxn ang="0">
                  <a:pos x="247" y="0"/>
                </a:cxn>
                <a:cxn ang="0">
                  <a:pos x="170" y="6"/>
                </a:cxn>
                <a:cxn ang="0">
                  <a:pos x="163" y="15"/>
                </a:cxn>
                <a:cxn ang="0">
                  <a:pos x="133" y="14"/>
                </a:cxn>
                <a:cxn ang="0">
                  <a:pos x="124" y="0"/>
                </a:cxn>
                <a:cxn ang="0">
                  <a:pos x="116" y="0"/>
                </a:cxn>
                <a:cxn ang="0">
                  <a:pos x="101" y="27"/>
                </a:cxn>
                <a:cxn ang="0">
                  <a:pos x="92" y="58"/>
                </a:cxn>
                <a:cxn ang="0">
                  <a:pos x="86" y="109"/>
                </a:cxn>
                <a:cxn ang="0">
                  <a:pos x="64" y="133"/>
                </a:cxn>
                <a:cxn ang="0">
                  <a:pos x="56" y="167"/>
                </a:cxn>
                <a:cxn ang="0">
                  <a:pos x="36" y="184"/>
                </a:cxn>
                <a:cxn ang="0">
                  <a:pos x="30" y="176"/>
                </a:cxn>
                <a:cxn ang="0">
                  <a:pos x="19" y="184"/>
                </a:cxn>
                <a:cxn ang="0">
                  <a:pos x="9" y="182"/>
                </a:cxn>
                <a:cxn ang="0">
                  <a:pos x="2" y="188"/>
                </a:cxn>
                <a:cxn ang="0">
                  <a:pos x="0" y="203"/>
                </a:cxn>
                <a:cxn ang="0">
                  <a:pos x="2" y="212"/>
                </a:cxn>
                <a:cxn ang="0">
                  <a:pos x="19" y="203"/>
                </a:cxn>
                <a:cxn ang="0">
                  <a:pos x="58" y="201"/>
                </a:cxn>
                <a:cxn ang="0">
                  <a:pos x="67" y="208"/>
                </a:cxn>
                <a:cxn ang="0">
                  <a:pos x="73" y="231"/>
                </a:cxn>
                <a:cxn ang="0">
                  <a:pos x="90" y="246"/>
                </a:cxn>
                <a:cxn ang="0">
                  <a:pos x="110" y="242"/>
                </a:cxn>
                <a:cxn ang="0">
                  <a:pos x="116" y="225"/>
                </a:cxn>
                <a:cxn ang="0">
                  <a:pos x="137" y="221"/>
                </a:cxn>
                <a:cxn ang="0">
                  <a:pos x="137" y="227"/>
                </a:cxn>
                <a:cxn ang="0">
                  <a:pos x="150" y="231"/>
                </a:cxn>
                <a:cxn ang="0">
                  <a:pos x="152" y="235"/>
                </a:cxn>
                <a:cxn ang="0">
                  <a:pos x="152" y="272"/>
                </a:cxn>
                <a:cxn ang="0">
                  <a:pos x="159" y="289"/>
                </a:cxn>
                <a:cxn ang="0">
                  <a:pos x="154" y="298"/>
                </a:cxn>
                <a:cxn ang="0">
                  <a:pos x="157" y="304"/>
                </a:cxn>
                <a:cxn ang="0">
                  <a:pos x="189" y="295"/>
                </a:cxn>
                <a:cxn ang="0">
                  <a:pos x="221" y="313"/>
                </a:cxn>
                <a:cxn ang="0">
                  <a:pos x="236" y="311"/>
                </a:cxn>
                <a:cxn ang="0">
                  <a:pos x="262" y="334"/>
                </a:cxn>
                <a:cxn ang="0">
                  <a:pos x="275" y="338"/>
                </a:cxn>
                <a:cxn ang="0">
                  <a:pos x="279" y="319"/>
                </a:cxn>
                <a:cxn ang="0">
                  <a:pos x="268" y="321"/>
                </a:cxn>
                <a:cxn ang="0">
                  <a:pos x="262" y="313"/>
                </a:cxn>
              </a:cxnLst>
              <a:rect l="0" t="0" r="r" b="b"/>
              <a:pathLst>
                <a:path w="309" h="338">
                  <a:moveTo>
                    <a:pt x="262" y="313"/>
                  </a:moveTo>
                  <a:lnTo>
                    <a:pt x="266" y="263"/>
                  </a:lnTo>
                  <a:lnTo>
                    <a:pt x="270" y="253"/>
                  </a:lnTo>
                  <a:lnTo>
                    <a:pt x="292" y="248"/>
                  </a:lnTo>
                  <a:lnTo>
                    <a:pt x="290" y="233"/>
                  </a:lnTo>
                  <a:lnTo>
                    <a:pt x="273" y="206"/>
                  </a:lnTo>
                  <a:lnTo>
                    <a:pt x="272" y="169"/>
                  </a:lnTo>
                  <a:lnTo>
                    <a:pt x="275" y="158"/>
                  </a:lnTo>
                  <a:lnTo>
                    <a:pt x="277" y="167"/>
                  </a:lnTo>
                  <a:lnTo>
                    <a:pt x="275" y="158"/>
                  </a:lnTo>
                  <a:lnTo>
                    <a:pt x="273" y="145"/>
                  </a:lnTo>
                  <a:lnTo>
                    <a:pt x="272" y="139"/>
                  </a:lnTo>
                  <a:lnTo>
                    <a:pt x="283" y="118"/>
                  </a:lnTo>
                  <a:lnTo>
                    <a:pt x="287" y="87"/>
                  </a:lnTo>
                  <a:lnTo>
                    <a:pt x="296" y="72"/>
                  </a:lnTo>
                  <a:lnTo>
                    <a:pt x="309" y="55"/>
                  </a:lnTo>
                  <a:lnTo>
                    <a:pt x="300" y="45"/>
                  </a:lnTo>
                  <a:lnTo>
                    <a:pt x="302" y="28"/>
                  </a:lnTo>
                  <a:lnTo>
                    <a:pt x="285" y="12"/>
                  </a:lnTo>
                  <a:lnTo>
                    <a:pt x="258" y="14"/>
                  </a:lnTo>
                  <a:lnTo>
                    <a:pt x="247" y="0"/>
                  </a:lnTo>
                  <a:lnTo>
                    <a:pt x="170" y="6"/>
                  </a:lnTo>
                  <a:lnTo>
                    <a:pt x="163" y="15"/>
                  </a:lnTo>
                  <a:lnTo>
                    <a:pt x="133" y="14"/>
                  </a:lnTo>
                  <a:lnTo>
                    <a:pt x="124" y="0"/>
                  </a:lnTo>
                  <a:lnTo>
                    <a:pt x="116" y="0"/>
                  </a:lnTo>
                  <a:lnTo>
                    <a:pt x="101" y="27"/>
                  </a:lnTo>
                  <a:lnTo>
                    <a:pt x="92" y="58"/>
                  </a:lnTo>
                  <a:lnTo>
                    <a:pt x="86" y="109"/>
                  </a:lnTo>
                  <a:lnTo>
                    <a:pt x="64" y="133"/>
                  </a:lnTo>
                  <a:lnTo>
                    <a:pt x="56" y="167"/>
                  </a:lnTo>
                  <a:lnTo>
                    <a:pt x="36" y="184"/>
                  </a:lnTo>
                  <a:lnTo>
                    <a:pt x="30" y="176"/>
                  </a:lnTo>
                  <a:lnTo>
                    <a:pt x="19" y="184"/>
                  </a:lnTo>
                  <a:lnTo>
                    <a:pt x="9" y="182"/>
                  </a:lnTo>
                  <a:lnTo>
                    <a:pt x="2" y="188"/>
                  </a:lnTo>
                  <a:lnTo>
                    <a:pt x="0" y="203"/>
                  </a:lnTo>
                  <a:lnTo>
                    <a:pt x="2" y="212"/>
                  </a:lnTo>
                  <a:lnTo>
                    <a:pt x="19" y="203"/>
                  </a:lnTo>
                  <a:lnTo>
                    <a:pt x="58" y="201"/>
                  </a:lnTo>
                  <a:lnTo>
                    <a:pt x="67" y="208"/>
                  </a:lnTo>
                  <a:lnTo>
                    <a:pt x="73" y="231"/>
                  </a:lnTo>
                  <a:lnTo>
                    <a:pt x="90" y="246"/>
                  </a:lnTo>
                  <a:lnTo>
                    <a:pt x="110" y="242"/>
                  </a:lnTo>
                  <a:lnTo>
                    <a:pt x="116" y="225"/>
                  </a:lnTo>
                  <a:lnTo>
                    <a:pt x="137" y="221"/>
                  </a:lnTo>
                  <a:lnTo>
                    <a:pt x="137" y="227"/>
                  </a:lnTo>
                  <a:lnTo>
                    <a:pt x="150" y="231"/>
                  </a:lnTo>
                  <a:lnTo>
                    <a:pt x="152" y="235"/>
                  </a:lnTo>
                  <a:lnTo>
                    <a:pt x="152" y="272"/>
                  </a:lnTo>
                  <a:lnTo>
                    <a:pt x="159" y="289"/>
                  </a:lnTo>
                  <a:lnTo>
                    <a:pt x="154" y="298"/>
                  </a:lnTo>
                  <a:lnTo>
                    <a:pt x="157" y="304"/>
                  </a:lnTo>
                  <a:lnTo>
                    <a:pt x="189" y="295"/>
                  </a:lnTo>
                  <a:lnTo>
                    <a:pt x="221" y="313"/>
                  </a:lnTo>
                  <a:lnTo>
                    <a:pt x="236" y="311"/>
                  </a:lnTo>
                  <a:lnTo>
                    <a:pt x="262" y="334"/>
                  </a:lnTo>
                  <a:lnTo>
                    <a:pt x="275" y="338"/>
                  </a:lnTo>
                  <a:lnTo>
                    <a:pt x="279" y="319"/>
                  </a:lnTo>
                  <a:lnTo>
                    <a:pt x="268" y="321"/>
                  </a:lnTo>
                  <a:lnTo>
                    <a:pt x="262" y="3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94" name="Freeform 5673"/>
            <p:cNvSpPr>
              <a:spLocks/>
            </p:cNvSpPr>
            <p:nvPr>
              <p:custDataLst>
                <p:tags r:id="rId40"/>
              </p:custDataLst>
            </p:nvPr>
          </p:nvSpPr>
          <p:spPr bwMode="gray">
            <a:xfrm>
              <a:off x="4781740" y="3990597"/>
              <a:ext cx="90489" cy="99095"/>
            </a:xfrm>
            <a:custGeom>
              <a:avLst/>
              <a:gdLst/>
              <a:ahLst/>
              <a:cxnLst>
                <a:cxn ang="0">
                  <a:pos x="56" y="77"/>
                </a:cxn>
                <a:cxn ang="0">
                  <a:pos x="55" y="71"/>
                </a:cxn>
                <a:cxn ang="0">
                  <a:pos x="70" y="15"/>
                </a:cxn>
                <a:cxn ang="0">
                  <a:pos x="68" y="0"/>
                </a:cxn>
                <a:cxn ang="0">
                  <a:pos x="43" y="7"/>
                </a:cxn>
                <a:cxn ang="0">
                  <a:pos x="0" y="37"/>
                </a:cxn>
                <a:cxn ang="0">
                  <a:pos x="2" y="47"/>
                </a:cxn>
                <a:cxn ang="0">
                  <a:pos x="25" y="75"/>
                </a:cxn>
                <a:cxn ang="0">
                  <a:pos x="56" y="77"/>
                </a:cxn>
                <a:cxn ang="0">
                  <a:pos x="56" y="77"/>
                </a:cxn>
              </a:cxnLst>
              <a:rect l="0" t="0" r="r" b="b"/>
              <a:pathLst>
                <a:path w="70" h="77">
                  <a:moveTo>
                    <a:pt x="56" y="77"/>
                  </a:moveTo>
                  <a:lnTo>
                    <a:pt x="55" y="71"/>
                  </a:lnTo>
                  <a:lnTo>
                    <a:pt x="70" y="15"/>
                  </a:lnTo>
                  <a:lnTo>
                    <a:pt x="68" y="0"/>
                  </a:lnTo>
                  <a:lnTo>
                    <a:pt x="43" y="7"/>
                  </a:lnTo>
                  <a:lnTo>
                    <a:pt x="0" y="37"/>
                  </a:lnTo>
                  <a:lnTo>
                    <a:pt x="2" y="47"/>
                  </a:lnTo>
                  <a:lnTo>
                    <a:pt x="25" y="75"/>
                  </a:lnTo>
                  <a:lnTo>
                    <a:pt x="56" y="77"/>
                  </a:lnTo>
                  <a:lnTo>
                    <a:pt x="56" y="7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95" name="Freeform 5674"/>
            <p:cNvSpPr>
              <a:spLocks/>
            </p:cNvSpPr>
            <p:nvPr>
              <p:custDataLst>
                <p:tags r:id="rId41"/>
              </p:custDataLst>
            </p:nvPr>
          </p:nvSpPr>
          <p:spPr bwMode="gray">
            <a:xfrm>
              <a:off x="5064842" y="3877346"/>
              <a:ext cx="60757" cy="42469"/>
            </a:xfrm>
            <a:custGeom>
              <a:avLst/>
              <a:gdLst/>
              <a:ahLst/>
              <a:cxnLst>
                <a:cxn ang="0">
                  <a:pos x="47" y="2"/>
                </a:cxn>
                <a:cxn ang="0">
                  <a:pos x="25" y="0"/>
                </a:cxn>
                <a:cxn ang="0">
                  <a:pos x="19" y="3"/>
                </a:cxn>
                <a:cxn ang="0">
                  <a:pos x="27" y="3"/>
                </a:cxn>
                <a:cxn ang="0">
                  <a:pos x="34" y="24"/>
                </a:cxn>
                <a:cxn ang="0">
                  <a:pos x="19" y="28"/>
                </a:cxn>
                <a:cxn ang="0">
                  <a:pos x="6" y="24"/>
                </a:cxn>
                <a:cxn ang="0">
                  <a:pos x="0" y="28"/>
                </a:cxn>
                <a:cxn ang="0">
                  <a:pos x="10" y="33"/>
                </a:cxn>
                <a:cxn ang="0">
                  <a:pos x="42" y="33"/>
                </a:cxn>
                <a:cxn ang="0">
                  <a:pos x="47" y="2"/>
                </a:cxn>
                <a:cxn ang="0">
                  <a:pos x="47" y="2"/>
                </a:cxn>
              </a:cxnLst>
              <a:rect l="0" t="0" r="r" b="b"/>
              <a:pathLst>
                <a:path w="47" h="33">
                  <a:moveTo>
                    <a:pt x="47" y="2"/>
                  </a:moveTo>
                  <a:lnTo>
                    <a:pt x="25" y="0"/>
                  </a:lnTo>
                  <a:lnTo>
                    <a:pt x="19" y="3"/>
                  </a:lnTo>
                  <a:lnTo>
                    <a:pt x="27" y="3"/>
                  </a:lnTo>
                  <a:lnTo>
                    <a:pt x="34" y="24"/>
                  </a:lnTo>
                  <a:lnTo>
                    <a:pt x="19" y="28"/>
                  </a:lnTo>
                  <a:lnTo>
                    <a:pt x="6" y="24"/>
                  </a:lnTo>
                  <a:lnTo>
                    <a:pt x="0" y="28"/>
                  </a:lnTo>
                  <a:lnTo>
                    <a:pt x="10" y="33"/>
                  </a:lnTo>
                  <a:lnTo>
                    <a:pt x="42" y="33"/>
                  </a:lnTo>
                  <a:lnTo>
                    <a:pt x="47" y="2"/>
                  </a:lnTo>
                  <a:lnTo>
                    <a:pt x="47"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96" name="Freeform 5675"/>
            <p:cNvSpPr>
              <a:spLocks/>
            </p:cNvSpPr>
            <p:nvPr>
              <p:custDataLst>
                <p:tags r:id="rId42"/>
              </p:custDataLst>
            </p:nvPr>
          </p:nvSpPr>
          <p:spPr bwMode="gray">
            <a:xfrm>
              <a:off x="5311748" y="2627721"/>
              <a:ext cx="43952" cy="16730"/>
            </a:xfrm>
            <a:custGeom>
              <a:avLst/>
              <a:gdLst/>
              <a:ahLst/>
              <a:cxnLst>
                <a:cxn ang="0">
                  <a:pos x="0" y="8"/>
                </a:cxn>
                <a:cxn ang="0">
                  <a:pos x="27" y="13"/>
                </a:cxn>
                <a:cxn ang="0">
                  <a:pos x="34" y="6"/>
                </a:cxn>
                <a:cxn ang="0">
                  <a:pos x="32" y="0"/>
                </a:cxn>
                <a:cxn ang="0">
                  <a:pos x="21" y="0"/>
                </a:cxn>
                <a:cxn ang="0">
                  <a:pos x="0" y="8"/>
                </a:cxn>
                <a:cxn ang="0">
                  <a:pos x="0" y="8"/>
                </a:cxn>
              </a:cxnLst>
              <a:rect l="0" t="0" r="r" b="b"/>
              <a:pathLst>
                <a:path w="34" h="13">
                  <a:moveTo>
                    <a:pt x="0" y="8"/>
                  </a:moveTo>
                  <a:lnTo>
                    <a:pt x="27" y="13"/>
                  </a:lnTo>
                  <a:lnTo>
                    <a:pt x="34" y="6"/>
                  </a:lnTo>
                  <a:lnTo>
                    <a:pt x="32" y="0"/>
                  </a:lnTo>
                  <a:lnTo>
                    <a:pt x="21" y="0"/>
                  </a:lnTo>
                  <a:lnTo>
                    <a:pt x="0" y="8"/>
                  </a:lnTo>
                  <a:lnTo>
                    <a:pt x="0" y="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97" name="Freeform 5677"/>
            <p:cNvSpPr>
              <a:spLocks/>
            </p:cNvSpPr>
            <p:nvPr>
              <p:custDataLst>
                <p:tags r:id="rId43"/>
              </p:custDataLst>
            </p:nvPr>
          </p:nvSpPr>
          <p:spPr bwMode="gray">
            <a:xfrm>
              <a:off x="6289962" y="4044790"/>
              <a:ext cx="151405" cy="129740"/>
            </a:xfrm>
            <a:custGeom>
              <a:avLst/>
              <a:gdLst/>
              <a:ahLst/>
              <a:cxnLst>
                <a:cxn ang="0">
                  <a:pos x="105" y="95"/>
                </a:cxn>
                <a:cxn ang="0">
                  <a:pos x="111" y="92"/>
                </a:cxn>
                <a:cxn ang="0">
                  <a:pos x="109" y="82"/>
                </a:cxn>
                <a:cxn ang="0">
                  <a:pos x="118" y="77"/>
                </a:cxn>
                <a:cxn ang="0">
                  <a:pos x="111" y="58"/>
                </a:cxn>
                <a:cxn ang="0">
                  <a:pos x="114" y="47"/>
                </a:cxn>
                <a:cxn ang="0">
                  <a:pos x="96" y="4"/>
                </a:cxn>
                <a:cxn ang="0">
                  <a:pos x="69" y="13"/>
                </a:cxn>
                <a:cxn ang="0">
                  <a:pos x="60" y="6"/>
                </a:cxn>
                <a:cxn ang="0">
                  <a:pos x="23" y="0"/>
                </a:cxn>
                <a:cxn ang="0">
                  <a:pos x="21" y="19"/>
                </a:cxn>
                <a:cxn ang="0">
                  <a:pos x="6" y="24"/>
                </a:cxn>
                <a:cxn ang="0">
                  <a:pos x="0" y="34"/>
                </a:cxn>
                <a:cxn ang="0">
                  <a:pos x="0" y="34"/>
                </a:cxn>
                <a:cxn ang="0">
                  <a:pos x="28" y="65"/>
                </a:cxn>
                <a:cxn ang="0">
                  <a:pos x="28" y="65"/>
                </a:cxn>
                <a:cxn ang="0">
                  <a:pos x="43" y="50"/>
                </a:cxn>
                <a:cxn ang="0">
                  <a:pos x="58" y="50"/>
                </a:cxn>
                <a:cxn ang="0">
                  <a:pos x="73" y="71"/>
                </a:cxn>
                <a:cxn ang="0">
                  <a:pos x="71" y="80"/>
                </a:cxn>
                <a:cxn ang="0">
                  <a:pos x="75" y="80"/>
                </a:cxn>
                <a:cxn ang="0">
                  <a:pos x="86" y="79"/>
                </a:cxn>
                <a:cxn ang="0">
                  <a:pos x="96" y="101"/>
                </a:cxn>
                <a:cxn ang="0">
                  <a:pos x="105" y="95"/>
                </a:cxn>
                <a:cxn ang="0">
                  <a:pos x="105" y="95"/>
                </a:cxn>
              </a:cxnLst>
              <a:rect l="0" t="0" r="r" b="b"/>
              <a:pathLst>
                <a:path w="118" h="101">
                  <a:moveTo>
                    <a:pt x="105" y="95"/>
                  </a:moveTo>
                  <a:lnTo>
                    <a:pt x="111" y="92"/>
                  </a:lnTo>
                  <a:lnTo>
                    <a:pt x="109" y="82"/>
                  </a:lnTo>
                  <a:lnTo>
                    <a:pt x="118" y="77"/>
                  </a:lnTo>
                  <a:lnTo>
                    <a:pt x="111" y="58"/>
                  </a:lnTo>
                  <a:lnTo>
                    <a:pt x="114" y="47"/>
                  </a:lnTo>
                  <a:lnTo>
                    <a:pt x="96" y="4"/>
                  </a:lnTo>
                  <a:lnTo>
                    <a:pt x="69" y="13"/>
                  </a:lnTo>
                  <a:lnTo>
                    <a:pt x="60" y="6"/>
                  </a:lnTo>
                  <a:lnTo>
                    <a:pt x="23" y="0"/>
                  </a:lnTo>
                  <a:lnTo>
                    <a:pt x="21" y="19"/>
                  </a:lnTo>
                  <a:lnTo>
                    <a:pt x="6" y="24"/>
                  </a:lnTo>
                  <a:lnTo>
                    <a:pt x="0" y="34"/>
                  </a:lnTo>
                  <a:lnTo>
                    <a:pt x="0" y="34"/>
                  </a:lnTo>
                  <a:lnTo>
                    <a:pt x="28" y="65"/>
                  </a:lnTo>
                  <a:lnTo>
                    <a:pt x="28" y="65"/>
                  </a:lnTo>
                  <a:lnTo>
                    <a:pt x="43" y="50"/>
                  </a:lnTo>
                  <a:lnTo>
                    <a:pt x="58" y="50"/>
                  </a:lnTo>
                  <a:lnTo>
                    <a:pt x="73" y="71"/>
                  </a:lnTo>
                  <a:lnTo>
                    <a:pt x="71" y="80"/>
                  </a:lnTo>
                  <a:lnTo>
                    <a:pt x="75" y="80"/>
                  </a:lnTo>
                  <a:lnTo>
                    <a:pt x="86" y="79"/>
                  </a:lnTo>
                  <a:lnTo>
                    <a:pt x="96" y="101"/>
                  </a:lnTo>
                  <a:lnTo>
                    <a:pt x="105" y="95"/>
                  </a:lnTo>
                  <a:lnTo>
                    <a:pt x="105" y="9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98" name="Freeform 5678"/>
            <p:cNvSpPr>
              <a:spLocks/>
            </p:cNvSpPr>
            <p:nvPr>
              <p:custDataLst>
                <p:tags r:id="rId44"/>
              </p:custDataLst>
            </p:nvPr>
          </p:nvSpPr>
          <p:spPr bwMode="gray">
            <a:xfrm>
              <a:off x="6789563" y="3573259"/>
              <a:ext cx="323339" cy="324994"/>
            </a:xfrm>
            <a:custGeom>
              <a:avLst/>
              <a:gdLst/>
              <a:ahLst/>
              <a:cxnLst>
                <a:cxn ang="0">
                  <a:pos x="252" y="205"/>
                </a:cxn>
                <a:cxn ang="0">
                  <a:pos x="249" y="83"/>
                </a:cxn>
                <a:cxn ang="0">
                  <a:pos x="243" y="62"/>
                </a:cxn>
                <a:cxn ang="0">
                  <a:pos x="247" y="27"/>
                </a:cxn>
                <a:cxn ang="0">
                  <a:pos x="219" y="19"/>
                </a:cxn>
                <a:cxn ang="0">
                  <a:pos x="217" y="12"/>
                </a:cxn>
                <a:cxn ang="0">
                  <a:pos x="196" y="6"/>
                </a:cxn>
                <a:cxn ang="0">
                  <a:pos x="170" y="19"/>
                </a:cxn>
                <a:cxn ang="0">
                  <a:pos x="168" y="47"/>
                </a:cxn>
                <a:cxn ang="0">
                  <a:pos x="157" y="55"/>
                </a:cxn>
                <a:cxn ang="0">
                  <a:pos x="149" y="53"/>
                </a:cxn>
                <a:cxn ang="0">
                  <a:pos x="131" y="40"/>
                </a:cxn>
                <a:cxn ang="0">
                  <a:pos x="101" y="32"/>
                </a:cxn>
                <a:cxn ang="0">
                  <a:pos x="97" y="19"/>
                </a:cxn>
                <a:cxn ang="0">
                  <a:pos x="78" y="10"/>
                </a:cxn>
                <a:cxn ang="0">
                  <a:pos x="46" y="6"/>
                </a:cxn>
                <a:cxn ang="0">
                  <a:pos x="29" y="0"/>
                </a:cxn>
                <a:cxn ang="0">
                  <a:pos x="29" y="0"/>
                </a:cxn>
                <a:cxn ang="0">
                  <a:pos x="31" y="15"/>
                </a:cxn>
                <a:cxn ang="0">
                  <a:pos x="15" y="32"/>
                </a:cxn>
                <a:cxn ang="0">
                  <a:pos x="15" y="49"/>
                </a:cxn>
                <a:cxn ang="0">
                  <a:pos x="3" y="53"/>
                </a:cxn>
                <a:cxn ang="0">
                  <a:pos x="0" y="60"/>
                </a:cxn>
                <a:cxn ang="0">
                  <a:pos x="7" y="72"/>
                </a:cxn>
                <a:cxn ang="0">
                  <a:pos x="9" y="100"/>
                </a:cxn>
                <a:cxn ang="0">
                  <a:pos x="7" y="120"/>
                </a:cxn>
                <a:cxn ang="0">
                  <a:pos x="1" y="130"/>
                </a:cxn>
                <a:cxn ang="0">
                  <a:pos x="16" y="160"/>
                </a:cxn>
                <a:cxn ang="0">
                  <a:pos x="29" y="160"/>
                </a:cxn>
                <a:cxn ang="0">
                  <a:pos x="43" y="178"/>
                </a:cxn>
                <a:cxn ang="0">
                  <a:pos x="76" y="180"/>
                </a:cxn>
                <a:cxn ang="0">
                  <a:pos x="93" y="188"/>
                </a:cxn>
                <a:cxn ang="0">
                  <a:pos x="116" y="184"/>
                </a:cxn>
                <a:cxn ang="0">
                  <a:pos x="237" y="253"/>
                </a:cxn>
                <a:cxn ang="0">
                  <a:pos x="239" y="242"/>
                </a:cxn>
                <a:cxn ang="0">
                  <a:pos x="252" y="240"/>
                </a:cxn>
                <a:cxn ang="0">
                  <a:pos x="252" y="205"/>
                </a:cxn>
                <a:cxn ang="0">
                  <a:pos x="252" y="205"/>
                </a:cxn>
              </a:cxnLst>
              <a:rect l="0" t="0" r="r" b="b"/>
              <a:pathLst>
                <a:path w="252" h="253">
                  <a:moveTo>
                    <a:pt x="252" y="205"/>
                  </a:moveTo>
                  <a:lnTo>
                    <a:pt x="249" y="83"/>
                  </a:lnTo>
                  <a:lnTo>
                    <a:pt x="243" y="62"/>
                  </a:lnTo>
                  <a:lnTo>
                    <a:pt x="247" y="27"/>
                  </a:lnTo>
                  <a:lnTo>
                    <a:pt x="219" y="19"/>
                  </a:lnTo>
                  <a:lnTo>
                    <a:pt x="217" y="12"/>
                  </a:lnTo>
                  <a:lnTo>
                    <a:pt x="196" y="6"/>
                  </a:lnTo>
                  <a:lnTo>
                    <a:pt x="170" y="19"/>
                  </a:lnTo>
                  <a:lnTo>
                    <a:pt x="168" y="47"/>
                  </a:lnTo>
                  <a:lnTo>
                    <a:pt x="157" y="55"/>
                  </a:lnTo>
                  <a:lnTo>
                    <a:pt x="149" y="53"/>
                  </a:lnTo>
                  <a:lnTo>
                    <a:pt x="131" y="40"/>
                  </a:lnTo>
                  <a:lnTo>
                    <a:pt x="101" y="32"/>
                  </a:lnTo>
                  <a:lnTo>
                    <a:pt x="97" y="19"/>
                  </a:lnTo>
                  <a:lnTo>
                    <a:pt x="78" y="10"/>
                  </a:lnTo>
                  <a:lnTo>
                    <a:pt x="46" y="6"/>
                  </a:lnTo>
                  <a:lnTo>
                    <a:pt x="29" y="0"/>
                  </a:lnTo>
                  <a:lnTo>
                    <a:pt x="29" y="0"/>
                  </a:lnTo>
                  <a:lnTo>
                    <a:pt x="31" y="15"/>
                  </a:lnTo>
                  <a:lnTo>
                    <a:pt x="15" y="32"/>
                  </a:lnTo>
                  <a:lnTo>
                    <a:pt x="15" y="49"/>
                  </a:lnTo>
                  <a:lnTo>
                    <a:pt x="3" y="53"/>
                  </a:lnTo>
                  <a:lnTo>
                    <a:pt x="0" y="60"/>
                  </a:lnTo>
                  <a:lnTo>
                    <a:pt x="7" y="72"/>
                  </a:lnTo>
                  <a:lnTo>
                    <a:pt x="9" y="100"/>
                  </a:lnTo>
                  <a:lnTo>
                    <a:pt x="7" y="120"/>
                  </a:lnTo>
                  <a:lnTo>
                    <a:pt x="1" y="130"/>
                  </a:lnTo>
                  <a:lnTo>
                    <a:pt x="16" y="160"/>
                  </a:lnTo>
                  <a:lnTo>
                    <a:pt x="29" y="160"/>
                  </a:lnTo>
                  <a:lnTo>
                    <a:pt x="43" y="178"/>
                  </a:lnTo>
                  <a:lnTo>
                    <a:pt x="76" y="180"/>
                  </a:lnTo>
                  <a:lnTo>
                    <a:pt x="93" y="188"/>
                  </a:lnTo>
                  <a:lnTo>
                    <a:pt x="116" y="184"/>
                  </a:lnTo>
                  <a:lnTo>
                    <a:pt x="237" y="253"/>
                  </a:lnTo>
                  <a:lnTo>
                    <a:pt x="239" y="242"/>
                  </a:lnTo>
                  <a:lnTo>
                    <a:pt x="252" y="240"/>
                  </a:lnTo>
                  <a:lnTo>
                    <a:pt x="252" y="205"/>
                  </a:lnTo>
                  <a:lnTo>
                    <a:pt x="252" y="20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99" name="Freeform 5679"/>
            <p:cNvSpPr>
              <a:spLocks/>
            </p:cNvSpPr>
            <p:nvPr>
              <p:custDataLst>
                <p:tags r:id="rId45"/>
              </p:custDataLst>
            </p:nvPr>
          </p:nvSpPr>
          <p:spPr bwMode="gray">
            <a:xfrm>
              <a:off x="6432863" y="3484625"/>
              <a:ext cx="411873" cy="423905"/>
            </a:xfrm>
            <a:custGeom>
              <a:avLst/>
              <a:gdLst/>
              <a:ahLst/>
              <a:cxnLst>
                <a:cxn ang="0">
                  <a:pos x="264" y="2"/>
                </a:cxn>
                <a:cxn ang="0">
                  <a:pos x="234" y="0"/>
                </a:cxn>
                <a:cxn ang="0">
                  <a:pos x="221" y="6"/>
                </a:cxn>
                <a:cxn ang="0">
                  <a:pos x="199" y="0"/>
                </a:cxn>
                <a:cxn ang="0">
                  <a:pos x="154" y="8"/>
                </a:cxn>
                <a:cxn ang="0">
                  <a:pos x="107" y="32"/>
                </a:cxn>
                <a:cxn ang="0">
                  <a:pos x="113" y="39"/>
                </a:cxn>
                <a:cxn ang="0">
                  <a:pos x="118" y="84"/>
                </a:cxn>
                <a:cxn ang="0">
                  <a:pos x="79" y="96"/>
                </a:cxn>
                <a:cxn ang="0">
                  <a:pos x="79" y="107"/>
                </a:cxn>
                <a:cxn ang="0">
                  <a:pos x="51" y="127"/>
                </a:cxn>
                <a:cxn ang="0">
                  <a:pos x="10" y="142"/>
                </a:cxn>
                <a:cxn ang="0">
                  <a:pos x="2" y="148"/>
                </a:cxn>
                <a:cxn ang="0">
                  <a:pos x="0" y="170"/>
                </a:cxn>
                <a:cxn ang="0">
                  <a:pos x="0" y="178"/>
                </a:cxn>
                <a:cxn ang="0">
                  <a:pos x="0" y="178"/>
                </a:cxn>
                <a:cxn ang="0">
                  <a:pos x="56" y="219"/>
                </a:cxn>
                <a:cxn ang="0">
                  <a:pos x="148" y="289"/>
                </a:cxn>
                <a:cxn ang="0">
                  <a:pos x="160" y="304"/>
                </a:cxn>
                <a:cxn ang="0">
                  <a:pos x="180" y="313"/>
                </a:cxn>
                <a:cxn ang="0">
                  <a:pos x="182" y="330"/>
                </a:cxn>
                <a:cxn ang="0">
                  <a:pos x="197" y="328"/>
                </a:cxn>
                <a:cxn ang="0">
                  <a:pos x="221" y="322"/>
                </a:cxn>
                <a:cxn ang="0">
                  <a:pos x="321" y="247"/>
                </a:cxn>
                <a:cxn ang="0">
                  <a:pos x="307" y="229"/>
                </a:cxn>
                <a:cxn ang="0">
                  <a:pos x="294" y="229"/>
                </a:cxn>
                <a:cxn ang="0">
                  <a:pos x="279" y="199"/>
                </a:cxn>
                <a:cxn ang="0">
                  <a:pos x="285" y="189"/>
                </a:cxn>
                <a:cxn ang="0">
                  <a:pos x="287" y="169"/>
                </a:cxn>
                <a:cxn ang="0">
                  <a:pos x="285" y="141"/>
                </a:cxn>
                <a:cxn ang="0">
                  <a:pos x="278" y="129"/>
                </a:cxn>
                <a:cxn ang="0">
                  <a:pos x="281" y="122"/>
                </a:cxn>
                <a:cxn ang="0">
                  <a:pos x="278" y="94"/>
                </a:cxn>
                <a:cxn ang="0">
                  <a:pos x="263" y="82"/>
                </a:cxn>
                <a:cxn ang="0">
                  <a:pos x="253" y="60"/>
                </a:cxn>
                <a:cxn ang="0">
                  <a:pos x="266" y="39"/>
                </a:cxn>
                <a:cxn ang="0">
                  <a:pos x="266" y="8"/>
                </a:cxn>
                <a:cxn ang="0">
                  <a:pos x="274" y="0"/>
                </a:cxn>
                <a:cxn ang="0">
                  <a:pos x="264" y="2"/>
                </a:cxn>
                <a:cxn ang="0">
                  <a:pos x="264" y="2"/>
                </a:cxn>
              </a:cxnLst>
              <a:rect l="0" t="0" r="r" b="b"/>
              <a:pathLst>
                <a:path w="321" h="330">
                  <a:moveTo>
                    <a:pt x="264" y="2"/>
                  </a:moveTo>
                  <a:lnTo>
                    <a:pt x="234" y="0"/>
                  </a:lnTo>
                  <a:lnTo>
                    <a:pt x="221" y="6"/>
                  </a:lnTo>
                  <a:lnTo>
                    <a:pt x="199" y="0"/>
                  </a:lnTo>
                  <a:lnTo>
                    <a:pt x="154" y="8"/>
                  </a:lnTo>
                  <a:lnTo>
                    <a:pt x="107" y="32"/>
                  </a:lnTo>
                  <a:lnTo>
                    <a:pt x="113" y="39"/>
                  </a:lnTo>
                  <a:lnTo>
                    <a:pt x="118" y="84"/>
                  </a:lnTo>
                  <a:lnTo>
                    <a:pt x="79" y="96"/>
                  </a:lnTo>
                  <a:lnTo>
                    <a:pt x="79" y="107"/>
                  </a:lnTo>
                  <a:lnTo>
                    <a:pt x="51" y="127"/>
                  </a:lnTo>
                  <a:lnTo>
                    <a:pt x="10" y="142"/>
                  </a:lnTo>
                  <a:lnTo>
                    <a:pt x="2" y="148"/>
                  </a:lnTo>
                  <a:lnTo>
                    <a:pt x="0" y="170"/>
                  </a:lnTo>
                  <a:lnTo>
                    <a:pt x="0" y="178"/>
                  </a:lnTo>
                  <a:lnTo>
                    <a:pt x="0" y="178"/>
                  </a:lnTo>
                  <a:lnTo>
                    <a:pt x="56" y="219"/>
                  </a:lnTo>
                  <a:lnTo>
                    <a:pt x="148" y="289"/>
                  </a:lnTo>
                  <a:lnTo>
                    <a:pt x="160" y="304"/>
                  </a:lnTo>
                  <a:lnTo>
                    <a:pt x="180" y="313"/>
                  </a:lnTo>
                  <a:lnTo>
                    <a:pt x="182" y="330"/>
                  </a:lnTo>
                  <a:lnTo>
                    <a:pt x="197" y="328"/>
                  </a:lnTo>
                  <a:lnTo>
                    <a:pt x="221" y="322"/>
                  </a:lnTo>
                  <a:lnTo>
                    <a:pt x="321" y="247"/>
                  </a:lnTo>
                  <a:lnTo>
                    <a:pt x="307" y="229"/>
                  </a:lnTo>
                  <a:lnTo>
                    <a:pt x="294" y="229"/>
                  </a:lnTo>
                  <a:lnTo>
                    <a:pt x="279" y="199"/>
                  </a:lnTo>
                  <a:lnTo>
                    <a:pt x="285" y="189"/>
                  </a:lnTo>
                  <a:lnTo>
                    <a:pt x="287" y="169"/>
                  </a:lnTo>
                  <a:lnTo>
                    <a:pt x="285" y="141"/>
                  </a:lnTo>
                  <a:lnTo>
                    <a:pt x="278" y="129"/>
                  </a:lnTo>
                  <a:lnTo>
                    <a:pt x="281" y="122"/>
                  </a:lnTo>
                  <a:lnTo>
                    <a:pt x="278" y="94"/>
                  </a:lnTo>
                  <a:lnTo>
                    <a:pt x="263" y="82"/>
                  </a:lnTo>
                  <a:lnTo>
                    <a:pt x="253" y="60"/>
                  </a:lnTo>
                  <a:lnTo>
                    <a:pt x="266" y="39"/>
                  </a:lnTo>
                  <a:lnTo>
                    <a:pt x="266" y="8"/>
                  </a:lnTo>
                  <a:lnTo>
                    <a:pt x="274" y="0"/>
                  </a:lnTo>
                  <a:lnTo>
                    <a:pt x="264" y="2"/>
                  </a:lnTo>
                  <a:lnTo>
                    <a:pt x="264"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00" name="Freeform 5680"/>
            <p:cNvSpPr>
              <a:spLocks/>
            </p:cNvSpPr>
            <p:nvPr>
              <p:custDataLst>
                <p:tags r:id="rId46"/>
              </p:custDataLst>
            </p:nvPr>
          </p:nvSpPr>
          <p:spPr bwMode="gray">
            <a:xfrm>
              <a:off x="7682595" y="3773651"/>
              <a:ext cx="142423" cy="192684"/>
            </a:xfrm>
            <a:custGeom>
              <a:avLst/>
              <a:gdLst/>
              <a:ahLst/>
              <a:cxnLst>
                <a:cxn ang="0">
                  <a:pos x="23" y="144"/>
                </a:cxn>
                <a:cxn ang="0">
                  <a:pos x="38" y="144"/>
                </a:cxn>
                <a:cxn ang="0">
                  <a:pos x="45" y="131"/>
                </a:cxn>
                <a:cxn ang="0">
                  <a:pos x="60" y="125"/>
                </a:cxn>
                <a:cxn ang="0">
                  <a:pos x="72" y="110"/>
                </a:cxn>
                <a:cxn ang="0">
                  <a:pos x="85" y="105"/>
                </a:cxn>
                <a:cxn ang="0">
                  <a:pos x="83" y="88"/>
                </a:cxn>
                <a:cxn ang="0">
                  <a:pos x="105" y="62"/>
                </a:cxn>
                <a:cxn ang="0">
                  <a:pos x="111" y="43"/>
                </a:cxn>
                <a:cxn ang="0">
                  <a:pos x="94" y="22"/>
                </a:cxn>
                <a:cxn ang="0">
                  <a:pos x="68" y="15"/>
                </a:cxn>
                <a:cxn ang="0">
                  <a:pos x="55" y="0"/>
                </a:cxn>
                <a:cxn ang="0">
                  <a:pos x="43" y="13"/>
                </a:cxn>
                <a:cxn ang="0">
                  <a:pos x="43" y="22"/>
                </a:cxn>
                <a:cxn ang="0">
                  <a:pos x="40" y="24"/>
                </a:cxn>
                <a:cxn ang="0">
                  <a:pos x="40" y="24"/>
                </a:cxn>
                <a:cxn ang="0">
                  <a:pos x="45" y="28"/>
                </a:cxn>
                <a:cxn ang="0">
                  <a:pos x="51" y="41"/>
                </a:cxn>
                <a:cxn ang="0">
                  <a:pos x="55" y="62"/>
                </a:cxn>
                <a:cxn ang="0">
                  <a:pos x="38" y="93"/>
                </a:cxn>
                <a:cxn ang="0">
                  <a:pos x="0" y="131"/>
                </a:cxn>
                <a:cxn ang="0">
                  <a:pos x="10" y="150"/>
                </a:cxn>
                <a:cxn ang="0">
                  <a:pos x="23" y="144"/>
                </a:cxn>
                <a:cxn ang="0">
                  <a:pos x="23" y="144"/>
                </a:cxn>
              </a:cxnLst>
              <a:rect l="0" t="0" r="r" b="b"/>
              <a:pathLst>
                <a:path w="111" h="150">
                  <a:moveTo>
                    <a:pt x="23" y="144"/>
                  </a:moveTo>
                  <a:lnTo>
                    <a:pt x="38" y="144"/>
                  </a:lnTo>
                  <a:lnTo>
                    <a:pt x="45" y="131"/>
                  </a:lnTo>
                  <a:lnTo>
                    <a:pt x="60" y="125"/>
                  </a:lnTo>
                  <a:lnTo>
                    <a:pt x="72" y="110"/>
                  </a:lnTo>
                  <a:lnTo>
                    <a:pt x="85" y="105"/>
                  </a:lnTo>
                  <a:lnTo>
                    <a:pt x="83" y="88"/>
                  </a:lnTo>
                  <a:lnTo>
                    <a:pt x="105" y="62"/>
                  </a:lnTo>
                  <a:lnTo>
                    <a:pt x="111" y="43"/>
                  </a:lnTo>
                  <a:lnTo>
                    <a:pt x="94" y="22"/>
                  </a:lnTo>
                  <a:lnTo>
                    <a:pt x="68" y="15"/>
                  </a:lnTo>
                  <a:lnTo>
                    <a:pt x="55" y="0"/>
                  </a:lnTo>
                  <a:lnTo>
                    <a:pt x="43" y="13"/>
                  </a:lnTo>
                  <a:lnTo>
                    <a:pt x="43" y="22"/>
                  </a:lnTo>
                  <a:lnTo>
                    <a:pt x="40" y="24"/>
                  </a:lnTo>
                  <a:lnTo>
                    <a:pt x="40" y="24"/>
                  </a:lnTo>
                  <a:lnTo>
                    <a:pt x="45" y="28"/>
                  </a:lnTo>
                  <a:lnTo>
                    <a:pt x="51" y="41"/>
                  </a:lnTo>
                  <a:lnTo>
                    <a:pt x="55" y="62"/>
                  </a:lnTo>
                  <a:lnTo>
                    <a:pt x="38" y="93"/>
                  </a:lnTo>
                  <a:lnTo>
                    <a:pt x="0" y="131"/>
                  </a:lnTo>
                  <a:lnTo>
                    <a:pt x="10" y="150"/>
                  </a:lnTo>
                  <a:lnTo>
                    <a:pt x="23" y="144"/>
                  </a:lnTo>
                  <a:lnTo>
                    <a:pt x="23" y="14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01" name="Freeform 5681"/>
            <p:cNvSpPr>
              <a:spLocks/>
            </p:cNvSpPr>
            <p:nvPr>
              <p:custDataLst>
                <p:tags r:id="rId47"/>
              </p:custDataLst>
            </p:nvPr>
          </p:nvSpPr>
          <p:spPr bwMode="gray">
            <a:xfrm>
              <a:off x="7302800" y="3597666"/>
              <a:ext cx="450366" cy="409774"/>
            </a:xfrm>
            <a:custGeom>
              <a:avLst/>
              <a:gdLst/>
              <a:ahLst/>
              <a:cxnLst>
                <a:cxn ang="0">
                  <a:pos x="85" y="29"/>
                </a:cxn>
                <a:cxn ang="0">
                  <a:pos x="91" y="33"/>
                </a:cxn>
                <a:cxn ang="0">
                  <a:pos x="100" y="30"/>
                </a:cxn>
                <a:cxn ang="0">
                  <a:pos x="100" y="30"/>
                </a:cxn>
                <a:cxn ang="0">
                  <a:pos x="115" y="35"/>
                </a:cxn>
                <a:cxn ang="0">
                  <a:pos x="115" y="36"/>
                </a:cxn>
                <a:cxn ang="0">
                  <a:pos x="131" y="54"/>
                </a:cxn>
                <a:cxn ang="0">
                  <a:pos x="138" y="69"/>
                </a:cxn>
                <a:cxn ang="0">
                  <a:pos x="143" y="78"/>
                </a:cxn>
                <a:cxn ang="0">
                  <a:pos x="139" y="83"/>
                </a:cxn>
                <a:cxn ang="0">
                  <a:pos x="139" y="87"/>
                </a:cxn>
                <a:cxn ang="0">
                  <a:pos x="145" y="89"/>
                </a:cxn>
                <a:cxn ang="0">
                  <a:pos x="154" y="89"/>
                </a:cxn>
                <a:cxn ang="0">
                  <a:pos x="164" y="89"/>
                </a:cxn>
                <a:cxn ang="0">
                  <a:pos x="169" y="87"/>
                </a:cxn>
                <a:cxn ang="0">
                  <a:pos x="173" y="85"/>
                </a:cxn>
                <a:cxn ang="0">
                  <a:pos x="179" y="86"/>
                </a:cxn>
                <a:cxn ang="0">
                  <a:pos x="182" y="88"/>
                </a:cxn>
                <a:cxn ang="0">
                  <a:pos x="185" y="95"/>
                </a:cxn>
                <a:cxn ang="0">
                  <a:pos x="187" y="106"/>
                </a:cxn>
                <a:cxn ang="0">
                  <a:pos x="178" y="123"/>
                </a:cxn>
                <a:cxn ang="0">
                  <a:pos x="158" y="143"/>
                </a:cxn>
                <a:cxn ang="0">
                  <a:pos x="130" y="148"/>
                </a:cxn>
                <a:cxn ang="0">
                  <a:pos x="100" y="170"/>
                </a:cxn>
                <a:cxn ang="0">
                  <a:pos x="82" y="149"/>
                </a:cxn>
                <a:cxn ang="0">
                  <a:pos x="74" y="155"/>
                </a:cxn>
                <a:cxn ang="0">
                  <a:pos x="73" y="156"/>
                </a:cxn>
                <a:cxn ang="0">
                  <a:pos x="71" y="149"/>
                </a:cxn>
                <a:cxn ang="0">
                  <a:pos x="56" y="123"/>
                </a:cxn>
                <a:cxn ang="0">
                  <a:pos x="47" y="118"/>
                </a:cxn>
                <a:cxn ang="0">
                  <a:pos x="42" y="111"/>
                </a:cxn>
                <a:cxn ang="0">
                  <a:pos x="40" y="93"/>
                </a:cxn>
                <a:cxn ang="0">
                  <a:pos x="34" y="83"/>
                </a:cxn>
                <a:cxn ang="0">
                  <a:pos x="26" y="77"/>
                </a:cxn>
                <a:cxn ang="0">
                  <a:pos x="5" y="41"/>
                </a:cxn>
                <a:cxn ang="0">
                  <a:pos x="0" y="41"/>
                </a:cxn>
                <a:cxn ang="0">
                  <a:pos x="2" y="28"/>
                </a:cxn>
                <a:cxn ang="0">
                  <a:pos x="2" y="28"/>
                </a:cxn>
                <a:cxn ang="0">
                  <a:pos x="11" y="29"/>
                </a:cxn>
                <a:cxn ang="0">
                  <a:pos x="16" y="22"/>
                </a:cxn>
                <a:cxn ang="0">
                  <a:pos x="21" y="22"/>
                </a:cxn>
                <a:cxn ang="0">
                  <a:pos x="26" y="16"/>
                </a:cxn>
                <a:cxn ang="0">
                  <a:pos x="18" y="7"/>
                </a:cxn>
                <a:cxn ang="0">
                  <a:pos x="35" y="0"/>
                </a:cxn>
                <a:cxn ang="0">
                  <a:pos x="48" y="3"/>
                </a:cxn>
                <a:cxn ang="0">
                  <a:pos x="67" y="14"/>
                </a:cxn>
                <a:cxn ang="0">
                  <a:pos x="73" y="18"/>
                </a:cxn>
                <a:cxn ang="0">
                  <a:pos x="74" y="24"/>
                </a:cxn>
                <a:cxn ang="0">
                  <a:pos x="85" y="29"/>
                </a:cxn>
              </a:cxnLst>
              <a:rect l="0" t="0" r="r" b="b"/>
              <a:pathLst>
                <a:path w="187" h="170">
                  <a:moveTo>
                    <a:pt x="85" y="29"/>
                  </a:moveTo>
                  <a:cubicBezTo>
                    <a:pt x="91" y="33"/>
                    <a:pt x="91" y="33"/>
                    <a:pt x="91" y="33"/>
                  </a:cubicBezTo>
                  <a:cubicBezTo>
                    <a:pt x="100" y="30"/>
                    <a:pt x="100" y="30"/>
                    <a:pt x="100" y="30"/>
                  </a:cubicBezTo>
                  <a:cubicBezTo>
                    <a:pt x="100" y="30"/>
                    <a:pt x="100" y="30"/>
                    <a:pt x="100" y="30"/>
                  </a:cubicBezTo>
                  <a:cubicBezTo>
                    <a:pt x="115" y="35"/>
                    <a:pt x="115" y="35"/>
                    <a:pt x="115" y="35"/>
                  </a:cubicBezTo>
                  <a:cubicBezTo>
                    <a:pt x="115" y="36"/>
                    <a:pt x="115" y="36"/>
                    <a:pt x="115" y="36"/>
                  </a:cubicBezTo>
                  <a:cubicBezTo>
                    <a:pt x="131" y="54"/>
                    <a:pt x="131" y="54"/>
                    <a:pt x="131" y="54"/>
                  </a:cubicBezTo>
                  <a:cubicBezTo>
                    <a:pt x="138" y="69"/>
                    <a:pt x="138" y="69"/>
                    <a:pt x="138" y="69"/>
                  </a:cubicBezTo>
                  <a:cubicBezTo>
                    <a:pt x="143" y="78"/>
                    <a:pt x="143" y="78"/>
                    <a:pt x="143" y="78"/>
                  </a:cubicBezTo>
                  <a:cubicBezTo>
                    <a:pt x="139" y="83"/>
                    <a:pt x="139" y="83"/>
                    <a:pt x="139" y="83"/>
                  </a:cubicBezTo>
                  <a:cubicBezTo>
                    <a:pt x="139" y="87"/>
                    <a:pt x="139" y="87"/>
                    <a:pt x="139" y="87"/>
                  </a:cubicBezTo>
                  <a:cubicBezTo>
                    <a:pt x="145" y="89"/>
                    <a:pt x="145" y="89"/>
                    <a:pt x="145" y="89"/>
                  </a:cubicBezTo>
                  <a:cubicBezTo>
                    <a:pt x="145" y="89"/>
                    <a:pt x="154" y="89"/>
                    <a:pt x="154" y="89"/>
                  </a:cubicBezTo>
                  <a:cubicBezTo>
                    <a:pt x="154" y="89"/>
                    <a:pt x="164" y="89"/>
                    <a:pt x="164" y="89"/>
                  </a:cubicBezTo>
                  <a:cubicBezTo>
                    <a:pt x="165" y="89"/>
                    <a:pt x="169" y="87"/>
                    <a:pt x="169" y="87"/>
                  </a:cubicBezTo>
                  <a:cubicBezTo>
                    <a:pt x="170" y="87"/>
                    <a:pt x="173" y="85"/>
                    <a:pt x="173" y="85"/>
                  </a:cubicBezTo>
                  <a:cubicBezTo>
                    <a:pt x="179" y="86"/>
                    <a:pt x="179" y="86"/>
                    <a:pt x="179" y="86"/>
                  </a:cubicBezTo>
                  <a:cubicBezTo>
                    <a:pt x="182" y="88"/>
                    <a:pt x="182" y="88"/>
                    <a:pt x="182" y="88"/>
                  </a:cubicBezTo>
                  <a:cubicBezTo>
                    <a:pt x="185" y="95"/>
                    <a:pt x="185" y="95"/>
                    <a:pt x="185" y="95"/>
                  </a:cubicBezTo>
                  <a:cubicBezTo>
                    <a:pt x="187" y="106"/>
                    <a:pt x="187" y="106"/>
                    <a:pt x="187" y="106"/>
                  </a:cubicBezTo>
                  <a:cubicBezTo>
                    <a:pt x="178" y="123"/>
                    <a:pt x="178" y="123"/>
                    <a:pt x="178" y="123"/>
                  </a:cubicBezTo>
                  <a:cubicBezTo>
                    <a:pt x="158" y="143"/>
                    <a:pt x="158" y="143"/>
                    <a:pt x="158" y="143"/>
                  </a:cubicBezTo>
                  <a:cubicBezTo>
                    <a:pt x="130" y="148"/>
                    <a:pt x="130" y="148"/>
                    <a:pt x="130" y="148"/>
                  </a:cubicBezTo>
                  <a:cubicBezTo>
                    <a:pt x="100" y="170"/>
                    <a:pt x="100" y="170"/>
                    <a:pt x="100" y="170"/>
                  </a:cubicBezTo>
                  <a:cubicBezTo>
                    <a:pt x="82" y="149"/>
                    <a:pt x="82" y="149"/>
                    <a:pt x="82" y="149"/>
                  </a:cubicBezTo>
                  <a:cubicBezTo>
                    <a:pt x="74" y="155"/>
                    <a:pt x="74" y="155"/>
                    <a:pt x="74" y="155"/>
                  </a:cubicBezTo>
                  <a:cubicBezTo>
                    <a:pt x="73" y="156"/>
                    <a:pt x="73" y="156"/>
                    <a:pt x="73" y="156"/>
                  </a:cubicBezTo>
                  <a:cubicBezTo>
                    <a:pt x="71" y="149"/>
                    <a:pt x="71" y="149"/>
                    <a:pt x="71" y="149"/>
                  </a:cubicBezTo>
                  <a:cubicBezTo>
                    <a:pt x="56" y="123"/>
                    <a:pt x="56" y="123"/>
                    <a:pt x="56" y="123"/>
                  </a:cubicBezTo>
                  <a:cubicBezTo>
                    <a:pt x="47" y="118"/>
                    <a:pt x="47" y="118"/>
                    <a:pt x="47" y="118"/>
                  </a:cubicBezTo>
                  <a:cubicBezTo>
                    <a:pt x="42" y="111"/>
                    <a:pt x="42" y="111"/>
                    <a:pt x="42" y="111"/>
                  </a:cubicBezTo>
                  <a:cubicBezTo>
                    <a:pt x="40" y="93"/>
                    <a:pt x="40" y="93"/>
                    <a:pt x="40" y="93"/>
                  </a:cubicBezTo>
                  <a:cubicBezTo>
                    <a:pt x="34" y="83"/>
                    <a:pt x="34" y="83"/>
                    <a:pt x="34" y="83"/>
                  </a:cubicBezTo>
                  <a:cubicBezTo>
                    <a:pt x="26" y="77"/>
                    <a:pt x="26" y="77"/>
                    <a:pt x="26" y="77"/>
                  </a:cubicBezTo>
                  <a:cubicBezTo>
                    <a:pt x="5" y="41"/>
                    <a:pt x="5" y="41"/>
                    <a:pt x="5" y="41"/>
                  </a:cubicBezTo>
                  <a:cubicBezTo>
                    <a:pt x="0" y="41"/>
                    <a:pt x="0" y="41"/>
                    <a:pt x="0" y="41"/>
                  </a:cubicBezTo>
                  <a:cubicBezTo>
                    <a:pt x="2" y="28"/>
                    <a:pt x="2" y="28"/>
                    <a:pt x="2" y="28"/>
                  </a:cubicBezTo>
                  <a:cubicBezTo>
                    <a:pt x="2" y="28"/>
                    <a:pt x="2" y="28"/>
                    <a:pt x="2" y="28"/>
                  </a:cubicBezTo>
                  <a:cubicBezTo>
                    <a:pt x="11" y="29"/>
                    <a:pt x="11" y="29"/>
                    <a:pt x="11" y="29"/>
                  </a:cubicBezTo>
                  <a:cubicBezTo>
                    <a:pt x="16" y="22"/>
                    <a:pt x="16" y="22"/>
                    <a:pt x="16" y="22"/>
                  </a:cubicBezTo>
                  <a:cubicBezTo>
                    <a:pt x="21" y="22"/>
                    <a:pt x="21" y="22"/>
                    <a:pt x="21" y="22"/>
                  </a:cubicBezTo>
                  <a:cubicBezTo>
                    <a:pt x="26" y="16"/>
                    <a:pt x="26" y="16"/>
                    <a:pt x="26" y="16"/>
                  </a:cubicBezTo>
                  <a:cubicBezTo>
                    <a:pt x="18" y="7"/>
                    <a:pt x="18" y="7"/>
                    <a:pt x="18" y="7"/>
                  </a:cubicBezTo>
                  <a:cubicBezTo>
                    <a:pt x="35" y="0"/>
                    <a:pt x="35" y="0"/>
                    <a:pt x="35" y="0"/>
                  </a:cubicBezTo>
                  <a:cubicBezTo>
                    <a:pt x="48" y="3"/>
                    <a:pt x="48" y="3"/>
                    <a:pt x="48" y="3"/>
                  </a:cubicBezTo>
                  <a:cubicBezTo>
                    <a:pt x="67" y="14"/>
                    <a:pt x="67" y="14"/>
                    <a:pt x="67" y="14"/>
                  </a:cubicBezTo>
                  <a:cubicBezTo>
                    <a:pt x="73" y="18"/>
                    <a:pt x="73" y="18"/>
                    <a:pt x="73" y="18"/>
                  </a:cubicBezTo>
                  <a:cubicBezTo>
                    <a:pt x="74" y="24"/>
                    <a:pt x="74" y="24"/>
                    <a:pt x="74" y="24"/>
                  </a:cubicBezTo>
                  <a:cubicBezTo>
                    <a:pt x="85" y="29"/>
                    <a:pt x="85" y="29"/>
                    <a:pt x="85" y="29"/>
                  </a:cubicBez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02" name="Freeform 5682"/>
            <p:cNvSpPr>
              <a:spLocks/>
            </p:cNvSpPr>
            <p:nvPr>
              <p:custDataLst>
                <p:tags r:id="rId48"/>
              </p:custDataLst>
            </p:nvPr>
          </p:nvSpPr>
          <p:spPr bwMode="gray">
            <a:xfrm>
              <a:off x="7635121" y="3744106"/>
              <a:ext cx="19246" cy="41106"/>
            </a:xfrm>
            <a:custGeom>
              <a:avLst/>
              <a:gdLst/>
              <a:ahLst/>
              <a:cxnLst>
                <a:cxn ang="0">
                  <a:pos x="0" y="15"/>
                </a:cxn>
                <a:cxn ang="0">
                  <a:pos x="4" y="0"/>
                </a:cxn>
                <a:cxn ang="0">
                  <a:pos x="13" y="4"/>
                </a:cxn>
                <a:cxn ang="0">
                  <a:pos x="15" y="23"/>
                </a:cxn>
                <a:cxn ang="0">
                  <a:pos x="9" y="32"/>
                </a:cxn>
                <a:cxn ang="0">
                  <a:pos x="0" y="15"/>
                </a:cxn>
                <a:cxn ang="0">
                  <a:pos x="0" y="15"/>
                </a:cxn>
              </a:cxnLst>
              <a:rect l="0" t="0" r="r" b="b"/>
              <a:pathLst>
                <a:path w="15" h="32">
                  <a:moveTo>
                    <a:pt x="0" y="15"/>
                  </a:moveTo>
                  <a:lnTo>
                    <a:pt x="4" y="0"/>
                  </a:lnTo>
                  <a:lnTo>
                    <a:pt x="13" y="4"/>
                  </a:lnTo>
                  <a:lnTo>
                    <a:pt x="15" y="23"/>
                  </a:lnTo>
                  <a:lnTo>
                    <a:pt x="9" y="32"/>
                  </a:lnTo>
                  <a:lnTo>
                    <a:pt x="0" y="15"/>
                  </a:lnTo>
                  <a:lnTo>
                    <a:pt x="0"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03" name="Freeform 5683"/>
            <p:cNvSpPr>
              <a:spLocks/>
            </p:cNvSpPr>
            <p:nvPr>
              <p:custDataLst>
                <p:tags r:id="rId49"/>
              </p:custDataLst>
            </p:nvPr>
          </p:nvSpPr>
          <p:spPr bwMode="gray">
            <a:xfrm>
              <a:off x="7637687" y="3746675"/>
              <a:ext cx="115478" cy="65513"/>
            </a:xfrm>
            <a:custGeom>
              <a:avLst/>
              <a:gdLst/>
              <a:ahLst/>
              <a:cxnLst>
                <a:cxn ang="0">
                  <a:pos x="47" y="7"/>
                </a:cxn>
                <a:cxn ang="0">
                  <a:pos x="48" y="11"/>
                </a:cxn>
                <a:cxn ang="0">
                  <a:pos x="42" y="18"/>
                </a:cxn>
                <a:cxn ang="0">
                  <a:pos x="42" y="23"/>
                </a:cxn>
                <a:cxn ang="0">
                  <a:pos x="40" y="24"/>
                </a:cxn>
                <a:cxn ang="0">
                  <a:pos x="40" y="24"/>
                </a:cxn>
                <a:cxn ang="0">
                  <a:pos x="34" y="23"/>
                </a:cxn>
                <a:cxn ang="0">
                  <a:pos x="30" y="25"/>
                </a:cxn>
                <a:cxn ang="0">
                  <a:pos x="25" y="27"/>
                </a:cxn>
                <a:cxn ang="0">
                  <a:pos x="15" y="27"/>
                </a:cxn>
                <a:cxn ang="0">
                  <a:pos x="6" y="27"/>
                </a:cxn>
                <a:cxn ang="0">
                  <a:pos x="0" y="25"/>
                </a:cxn>
                <a:cxn ang="0">
                  <a:pos x="0" y="21"/>
                </a:cxn>
                <a:cxn ang="0">
                  <a:pos x="4" y="16"/>
                </a:cxn>
                <a:cxn ang="0">
                  <a:pos x="14" y="19"/>
                </a:cxn>
                <a:cxn ang="0">
                  <a:pos x="16" y="17"/>
                </a:cxn>
                <a:cxn ang="0">
                  <a:pos x="29" y="17"/>
                </a:cxn>
                <a:cxn ang="0">
                  <a:pos x="42" y="0"/>
                </a:cxn>
                <a:cxn ang="0">
                  <a:pos x="47" y="7"/>
                </a:cxn>
              </a:cxnLst>
              <a:rect l="0" t="0" r="r" b="b"/>
              <a:pathLst>
                <a:path w="48" h="27">
                  <a:moveTo>
                    <a:pt x="47" y="7"/>
                  </a:moveTo>
                  <a:cubicBezTo>
                    <a:pt x="48" y="11"/>
                    <a:pt x="48" y="11"/>
                    <a:pt x="48" y="11"/>
                  </a:cubicBezTo>
                  <a:cubicBezTo>
                    <a:pt x="42" y="18"/>
                    <a:pt x="42" y="18"/>
                    <a:pt x="42" y="18"/>
                  </a:cubicBezTo>
                  <a:cubicBezTo>
                    <a:pt x="42" y="23"/>
                    <a:pt x="42" y="23"/>
                    <a:pt x="42" y="23"/>
                  </a:cubicBezTo>
                  <a:cubicBezTo>
                    <a:pt x="40" y="24"/>
                    <a:pt x="40" y="24"/>
                    <a:pt x="40" y="24"/>
                  </a:cubicBezTo>
                  <a:cubicBezTo>
                    <a:pt x="40" y="24"/>
                    <a:pt x="40" y="24"/>
                    <a:pt x="40" y="24"/>
                  </a:cubicBezTo>
                  <a:cubicBezTo>
                    <a:pt x="34" y="23"/>
                    <a:pt x="34" y="23"/>
                    <a:pt x="34" y="23"/>
                  </a:cubicBezTo>
                  <a:cubicBezTo>
                    <a:pt x="34" y="23"/>
                    <a:pt x="31" y="25"/>
                    <a:pt x="30" y="25"/>
                  </a:cubicBezTo>
                  <a:cubicBezTo>
                    <a:pt x="30" y="25"/>
                    <a:pt x="26" y="27"/>
                    <a:pt x="25" y="27"/>
                  </a:cubicBezTo>
                  <a:cubicBezTo>
                    <a:pt x="25" y="27"/>
                    <a:pt x="15" y="27"/>
                    <a:pt x="15" y="27"/>
                  </a:cubicBezTo>
                  <a:cubicBezTo>
                    <a:pt x="15" y="27"/>
                    <a:pt x="6" y="27"/>
                    <a:pt x="6" y="27"/>
                  </a:cubicBezTo>
                  <a:cubicBezTo>
                    <a:pt x="0" y="25"/>
                    <a:pt x="0" y="25"/>
                    <a:pt x="0" y="25"/>
                  </a:cubicBezTo>
                  <a:cubicBezTo>
                    <a:pt x="0" y="21"/>
                    <a:pt x="0" y="21"/>
                    <a:pt x="0" y="21"/>
                  </a:cubicBezTo>
                  <a:cubicBezTo>
                    <a:pt x="4" y="16"/>
                    <a:pt x="4" y="16"/>
                    <a:pt x="4" y="16"/>
                  </a:cubicBezTo>
                  <a:cubicBezTo>
                    <a:pt x="14" y="19"/>
                    <a:pt x="14" y="19"/>
                    <a:pt x="14" y="19"/>
                  </a:cubicBezTo>
                  <a:cubicBezTo>
                    <a:pt x="16" y="17"/>
                    <a:pt x="16" y="17"/>
                    <a:pt x="16" y="17"/>
                  </a:cubicBezTo>
                  <a:cubicBezTo>
                    <a:pt x="29" y="17"/>
                    <a:pt x="29" y="17"/>
                    <a:pt x="29" y="17"/>
                  </a:cubicBezTo>
                  <a:cubicBezTo>
                    <a:pt x="42" y="0"/>
                    <a:pt x="42" y="0"/>
                    <a:pt x="42" y="0"/>
                  </a:cubicBezTo>
                  <a:cubicBezTo>
                    <a:pt x="47" y="7"/>
                    <a:pt x="47" y="7"/>
                    <a:pt x="47" y="7"/>
                  </a:cubicBez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04" name="Freeform 5684"/>
            <p:cNvSpPr>
              <a:spLocks/>
            </p:cNvSpPr>
            <p:nvPr>
              <p:custDataLst>
                <p:tags r:id="rId50"/>
              </p:custDataLst>
            </p:nvPr>
          </p:nvSpPr>
          <p:spPr bwMode="gray">
            <a:xfrm>
              <a:off x="7737768" y="3740252"/>
              <a:ext cx="12831" cy="23122"/>
            </a:xfrm>
            <a:custGeom>
              <a:avLst/>
              <a:gdLst/>
              <a:ahLst/>
              <a:cxnLst>
                <a:cxn ang="0">
                  <a:pos x="10" y="18"/>
                </a:cxn>
                <a:cxn ang="0">
                  <a:pos x="10" y="1"/>
                </a:cxn>
                <a:cxn ang="0">
                  <a:pos x="6" y="0"/>
                </a:cxn>
                <a:cxn ang="0">
                  <a:pos x="0" y="5"/>
                </a:cxn>
                <a:cxn ang="0">
                  <a:pos x="10" y="18"/>
                </a:cxn>
                <a:cxn ang="0">
                  <a:pos x="10" y="18"/>
                </a:cxn>
              </a:cxnLst>
              <a:rect l="0" t="0" r="r" b="b"/>
              <a:pathLst>
                <a:path w="10" h="18">
                  <a:moveTo>
                    <a:pt x="10" y="18"/>
                  </a:moveTo>
                  <a:lnTo>
                    <a:pt x="10" y="1"/>
                  </a:lnTo>
                  <a:lnTo>
                    <a:pt x="6" y="0"/>
                  </a:lnTo>
                  <a:lnTo>
                    <a:pt x="0" y="5"/>
                  </a:lnTo>
                  <a:lnTo>
                    <a:pt x="10" y="18"/>
                  </a:lnTo>
                  <a:lnTo>
                    <a:pt x="10" y="1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05" name="Freeform 5685"/>
            <p:cNvSpPr>
              <a:spLocks/>
            </p:cNvSpPr>
            <p:nvPr>
              <p:custDataLst>
                <p:tags r:id="rId51"/>
              </p:custDataLst>
            </p:nvPr>
          </p:nvSpPr>
          <p:spPr bwMode="gray">
            <a:xfrm>
              <a:off x="9328803" y="4368402"/>
              <a:ext cx="214276" cy="209383"/>
            </a:xfrm>
            <a:custGeom>
              <a:avLst/>
              <a:gdLst/>
              <a:ahLst/>
              <a:cxnLst>
                <a:cxn ang="0">
                  <a:pos x="165" y="163"/>
                </a:cxn>
                <a:cxn ang="0">
                  <a:pos x="145" y="140"/>
                </a:cxn>
                <a:cxn ang="0">
                  <a:pos x="107" y="148"/>
                </a:cxn>
                <a:cxn ang="0">
                  <a:pos x="117" y="129"/>
                </a:cxn>
                <a:cxn ang="0">
                  <a:pos x="124" y="127"/>
                </a:cxn>
                <a:cxn ang="0">
                  <a:pos x="118" y="97"/>
                </a:cxn>
                <a:cxn ang="0">
                  <a:pos x="105" y="86"/>
                </a:cxn>
                <a:cxn ang="0">
                  <a:pos x="68" y="73"/>
                </a:cxn>
                <a:cxn ang="0">
                  <a:pos x="45" y="58"/>
                </a:cxn>
                <a:cxn ang="0">
                  <a:pos x="40" y="67"/>
                </a:cxn>
                <a:cxn ang="0">
                  <a:pos x="32" y="67"/>
                </a:cxn>
                <a:cxn ang="0">
                  <a:pos x="30" y="54"/>
                </a:cxn>
                <a:cxn ang="0">
                  <a:pos x="17" y="46"/>
                </a:cxn>
                <a:cxn ang="0">
                  <a:pos x="47" y="39"/>
                </a:cxn>
                <a:cxn ang="0">
                  <a:pos x="49" y="31"/>
                </a:cxn>
                <a:cxn ang="0">
                  <a:pos x="23" y="35"/>
                </a:cxn>
                <a:cxn ang="0">
                  <a:pos x="17" y="31"/>
                </a:cxn>
                <a:cxn ang="0">
                  <a:pos x="17" y="22"/>
                </a:cxn>
                <a:cxn ang="0">
                  <a:pos x="0" y="18"/>
                </a:cxn>
                <a:cxn ang="0">
                  <a:pos x="23" y="0"/>
                </a:cxn>
                <a:cxn ang="0">
                  <a:pos x="34" y="0"/>
                </a:cxn>
                <a:cxn ang="0">
                  <a:pos x="42" y="7"/>
                </a:cxn>
                <a:cxn ang="0">
                  <a:pos x="51" y="7"/>
                </a:cxn>
                <a:cxn ang="0">
                  <a:pos x="55" y="37"/>
                </a:cxn>
                <a:cxn ang="0">
                  <a:pos x="70" y="56"/>
                </a:cxn>
                <a:cxn ang="0">
                  <a:pos x="77" y="56"/>
                </a:cxn>
                <a:cxn ang="0">
                  <a:pos x="94" y="33"/>
                </a:cxn>
                <a:cxn ang="0">
                  <a:pos x="117" y="20"/>
                </a:cxn>
                <a:cxn ang="0">
                  <a:pos x="167" y="43"/>
                </a:cxn>
                <a:cxn ang="0">
                  <a:pos x="165" y="163"/>
                </a:cxn>
                <a:cxn ang="0">
                  <a:pos x="165" y="163"/>
                </a:cxn>
              </a:cxnLst>
              <a:rect l="0" t="0" r="r" b="b"/>
              <a:pathLst>
                <a:path w="167" h="163">
                  <a:moveTo>
                    <a:pt x="165" y="163"/>
                  </a:moveTo>
                  <a:lnTo>
                    <a:pt x="145" y="140"/>
                  </a:lnTo>
                  <a:lnTo>
                    <a:pt x="107" y="148"/>
                  </a:lnTo>
                  <a:lnTo>
                    <a:pt x="117" y="129"/>
                  </a:lnTo>
                  <a:lnTo>
                    <a:pt x="124" y="127"/>
                  </a:lnTo>
                  <a:lnTo>
                    <a:pt x="118" y="97"/>
                  </a:lnTo>
                  <a:lnTo>
                    <a:pt x="105" y="86"/>
                  </a:lnTo>
                  <a:lnTo>
                    <a:pt x="68" y="73"/>
                  </a:lnTo>
                  <a:lnTo>
                    <a:pt x="45" y="58"/>
                  </a:lnTo>
                  <a:lnTo>
                    <a:pt x="40" y="67"/>
                  </a:lnTo>
                  <a:lnTo>
                    <a:pt x="32" y="67"/>
                  </a:lnTo>
                  <a:lnTo>
                    <a:pt x="30" y="54"/>
                  </a:lnTo>
                  <a:lnTo>
                    <a:pt x="17" y="46"/>
                  </a:lnTo>
                  <a:lnTo>
                    <a:pt x="47" y="39"/>
                  </a:lnTo>
                  <a:lnTo>
                    <a:pt x="49" y="31"/>
                  </a:lnTo>
                  <a:lnTo>
                    <a:pt x="23" y="35"/>
                  </a:lnTo>
                  <a:lnTo>
                    <a:pt x="17" y="31"/>
                  </a:lnTo>
                  <a:lnTo>
                    <a:pt x="17" y="22"/>
                  </a:lnTo>
                  <a:lnTo>
                    <a:pt x="0" y="18"/>
                  </a:lnTo>
                  <a:lnTo>
                    <a:pt x="23" y="0"/>
                  </a:lnTo>
                  <a:lnTo>
                    <a:pt x="34" y="0"/>
                  </a:lnTo>
                  <a:lnTo>
                    <a:pt x="42" y="7"/>
                  </a:lnTo>
                  <a:lnTo>
                    <a:pt x="51" y="7"/>
                  </a:lnTo>
                  <a:lnTo>
                    <a:pt x="55" y="37"/>
                  </a:lnTo>
                  <a:lnTo>
                    <a:pt x="70" y="56"/>
                  </a:lnTo>
                  <a:lnTo>
                    <a:pt x="77" y="56"/>
                  </a:lnTo>
                  <a:lnTo>
                    <a:pt x="94" y="33"/>
                  </a:lnTo>
                  <a:lnTo>
                    <a:pt x="117" y="20"/>
                  </a:lnTo>
                  <a:lnTo>
                    <a:pt x="167" y="43"/>
                  </a:lnTo>
                  <a:lnTo>
                    <a:pt x="165" y="163"/>
                  </a:lnTo>
                  <a:lnTo>
                    <a:pt x="165" y="16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06" name="Freeform 5686"/>
            <p:cNvSpPr>
              <a:spLocks/>
            </p:cNvSpPr>
            <p:nvPr>
              <p:custDataLst>
                <p:tags r:id="rId52"/>
              </p:custDataLst>
            </p:nvPr>
          </p:nvSpPr>
          <p:spPr bwMode="gray">
            <a:xfrm>
              <a:off x="8873305" y="4256645"/>
              <a:ext cx="210427" cy="200391"/>
            </a:xfrm>
            <a:custGeom>
              <a:avLst/>
              <a:gdLst/>
              <a:ahLst/>
              <a:cxnLst>
                <a:cxn ang="0">
                  <a:pos x="119" y="0"/>
                </a:cxn>
                <a:cxn ang="0">
                  <a:pos x="108" y="2"/>
                </a:cxn>
                <a:cxn ang="0">
                  <a:pos x="91" y="49"/>
                </a:cxn>
                <a:cxn ang="0">
                  <a:pos x="76" y="58"/>
                </a:cxn>
                <a:cxn ang="0">
                  <a:pos x="54" y="53"/>
                </a:cxn>
                <a:cxn ang="0">
                  <a:pos x="46" y="62"/>
                </a:cxn>
                <a:cxn ang="0">
                  <a:pos x="22" y="62"/>
                </a:cxn>
                <a:cxn ang="0">
                  <a:pos x="9" y="43"/>
                </a:cxn>
                <a:cxn ang="0">
                  <a:pos x="0" y="62"/>
                </a:cxn>
                <a:cxn ang="0">
                  <a:pos x="5" y="88"/>
                </a:cxn>
                <a:cxn ang="0">
                  <a:pos x="18" y="103"/>
                </a:cxn>
                <a:cxn ang="0">
                  <a:pos x="22" y="133"/>
                </a:cxn>
                <a:cxn ang="0">
                  <a:pos x="46" y="132"/>
                </a:cxn>
                <a:cxn ang="0">
                  <a:pos x="46" y="145"/>
                </a:cxn>
                <a:cxn ang="0">
                  <a:pos x="69" y="137"/>
                </a:cxn>
                <a:cxn ang="0">
                  <a:pos x="78" y="145"/>
                </a:cxn>
                <a:cxn ang="0">
                  <a:pos x="86" y="143"/>
                </a:cxn>
                <a:cxn ang="0">
                  <a:pos x="93" y="156"/>
                </a:cxn>
                <a:cxn ang="0">
                  <a:pos x="101" y="152"/>
                </a:cxn>
                <a:cxn ang="0">
                  <a:pos x="116" y="145"/>
                </a:cxn>
                <a:cxn ang="0">
                  <a:pos x="125" y="122"/>
                </a:cxn>
                <a:cxn ang="0">
                  <a:pos x="121" y="113"/>
                </a:cxn>
                <a:cxn ang="0">
                  <a:pos x="134" y="100"/>
                </a:cxn>
                <a:cxn ang="0">
                  <a:pos x="146" y="64"/>
                </a:cxn>
                <a:cxn ang="0">
                  <a:pos x="164" y="64"/>
                </a:cxn>
                <a:cxn ang="0">
                  <a:pos x="146" y="43"/>
                </a:cxn>
                <a:cxn ang="0">
                  <a:pos x="149" y="38"/>
                </a:cxn>
                <a:cxn ang="0">
                  <a:pos x="138" y="19"/>
                </a:cxn>
                <a:cxn ang="0">
                  <a:pos x="140" y="4"/>
                </a:cxn>
                <a:cxn ang="0">
                  <a:pos x="119" y="0"/>
                </a:cxn>
                <a:cxn ang="0">
                  <a:pos x="119" y="0"/>
                </a:cxn>
              </a:cxnLst>
              <a:rect l="0" t="0" r="r" b="b"/>
              <a:pathLst>
                <a:path w="164" h="156">
                  <a:moveTo>
                    <a:pt x="119" y="0"/>
                  </a:moveTo>
                  <a:lnTo>
                    <a:pt x="108" y="2"/>
                  </a:lnTo>
                  <a:lnTo>
                    <a:pt x="91" y="49"/>
                  </a:lnTo>
                  <a:lnTo>
                    <a:pt x="76" y="58"/>
                  </a:lnTo>
                  <a:lnTo>
                    <a:pt x="54" y="53"/>
                  </a:lnTo>
                  <a:lnTo>
                    <a:pt x="46" y="62"/>
                  </a:lnTo>
                  <a:lnTo>
                    <a:pt x="22" y="62"/>
                  </a:lnTo>
                  <a:lnTo>
                    <a:pt x="9" y="43"/>
                  </a:lnTo>
                  <a:lnTo>
                    <a:pt x="0" y="62"/>
                  </a:lnTo>
                  <a:lnTo>
                    <a:pt x="5" y="88"/>
                  </a:lnTo>
                  <a:lnTo>
                    <a:pt x="18" y="103"/>
                  </a:lnTo>
                  <a:lnTo>
                    <a:pt x="22" y="133"/>
                  </a:lnTo>
                  <a:lnTo>
                    <a:pt x="46" y="132"/>
                  </a:lnTo>
                  <a:lnTo>
                    <a:pt x="46" y="145"/>
                  </a:lnTo>
                  <a:lnTo>
                    <a:pt x="69" y="137"/>
                  </a:lnTo>
                  <a:lnTo>
                    <a:pt x="78" y="145"/>
                  </a:lnTo>
                  <a:lnTo>
                    <a:pt x="86" y="143"/>
                  </a:lnTo>
                  <a:lnTo>
                    <a:pt x="93" y="156"/>
                  </a:lnTo>
                  <a:lnTo>
                    <a:pt x="101" y="152"/>
                  </a:lnTo>
                  <a:lnTo>
                    <a:pt x="116" y="145"/>
                  </a:lnTo>
                  <a:lnTo>
                    <a:pt x="125" y="122"/>
                  </a:lnTo>
                  <a:lnTo>
                    <a:pt x="121" y="113"/>
                  </a:lnTo>
                  <a:lnTo>
                    <a:pt x="134" y="100"/>
                  </a:lnTo>
                  <a:lnTo>
                    <a:pt x="146" y="64"/>
                  </a:lnTo>
                  <a:lnTo>
                    <a:pt x="164" y="64"/>
                  </a:lnTo>
                  <a:lnTo>
                    <a:pt x="146" y="43"/>
                  </a:lnTo>
                  <a:lnTo>
                    <a:pt x="149" y="38"/>
                  </a:lnTo>
                  <a:lnTo>
                    <a:pt x="138" y="19"/>
                  </a:lnTo>
                  <a:lnTo>
                    <a:pt x="140" y="4"/>
                  </a:lnTo>
                  <a:lnTo>
                    <a:pt x="119" y="0"/>
                  </a:lnTo>
                  <a:lnTo>
                    <a:pt x="119"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07" name="Freeform 5687"/>
            <p:cNvSpPr>
              <a:spLocks/>
            </p:cNvSpPr>
            <p:nvPr>
              <p:custDataLst>
                <p:tags r:id="rId53"/>
              </p:custDataLst>
            </p:nvPr>
          </p:nvSpPr>
          <p:spPr bwMode="gray">
            <a:xfrm>
              <a:off x="8884853" y="4194986"/>
              <a:ext cx="198879" cy="141302"/>
            </a:xfrm>
            <a:custGeom>
              <a:avLst/>
              <a:gdLst/>
              <a:ahLst/>
              <a:cxnLst>
                <a:cxn ang="0">
                  <a:pos x="146" y="47"/>
                </a:cxn>
                <a:cxn ang="0">
                  <a:pos x="140" y="39"/>
                </a:cxn>
                <a:cxn ang="0">
                  <a:pos x="155" y="33"/>
                </a:cxn>
                <a:cxn ang="0">
                  <a:pos x="131" y="18"/>
                </a:cxn>
                <a:cxn ang="0">
                  <a:pos x="131" y="9"/>
                </a:cxn>
                <a:cxn ang="0">
                  <a:pos x="118" y="0"/>
                </a:cxn>
                <a:cxn ang="0">
                  <a:pos x="94" y="30"/>
                </a:cxn>
                <a:cxn ang="0">
                  <a:pos x="92" y="37"/>
                </a:cxn>
                <a:cxn ang="0">
                  <a:pos x="94" y="41"/>
                </a:cxn>
                <a:cxn ang="0">
                  <a:pos x="92" y="47"/>
                </a:cxn>
                <a:cxn ang="0">
                  <a:pos x="84" y="43"/>
                </a:cxn>
                <a:cxn ang="0">
                  <a:pos x="80" y="54"/>
                </a:cxn>
                <a:cxn ang="0">
                  <a:pos x="71" y="45"/>
                </a:cxn>
                <a:cxn ang="0">
                  <a:pos x="49" y="73"/>
                </a:cxn>
                <a:cxn ang="0">
                  <a:pos x="32" y="76"/>
                </a:cxn>
                <a:cxn ang="0">
                  <a:pos x="26" y="99"/>
                </a:cxn>
                <a:cxn ang="0">
                  <a:pos x="0" y="91"/>
                </a:cxn>
                <a:cxn ang="0">
                  <a:pos x="13" y="110"/>
                </a:cxn>
                <a:cxn ang="0">
                  <a:pos x="37" y="110"/>
                </a:cxn>
                <a:cxn ang="0">
                  <a:pos x="45" y="101"/>
                </a:cxn>
                <a:cxn ang="0">
                  <a:pos x="67" y="106"/>
                </a:cxn>
                <a:cxn ang="0">
                  <a:pos x="82" y="97"/>
                </a:cxn>
                <a:cxn ang="0">
                  <a:pos x="99" y="50"/>
                </a:cxn>
                <a:cxn ang="0">
                  <a:pos x="110" y="48"/>
                </a:cxn>
                <a:cxn ang="0">
                  <a:pos x="131" y="52"/>
                </a:cxn>
                <a:cxn ang="0">
                  <a:pos x="146" y="47"/>
                </a:cxn>
                <a:cxn ang="0">
                  <a:pos x="146" y="47"/>
                </a:cxn>
              </a:cxnLst>
              <a:rect l="0" t="0" r="r" b="b"/>
              <a:pathLst>
                <a:path w="155" h="110">
                  <a:moveTo>
                    <a:pt x="146" y="47"/>
                  </a:moveTo>
                  <a:lnTo>
                    <a:pt x="140" y="39"/>
                  </a:lnTo>
                  <a:lnTo>
                    <a:pt x="155" y="33"/>
                  </a:lnTo>
                  <a:lnTo>
                    <a:pt x="131" y="18"/>
                  </a:lnTo>
                  <a:lnTo>
                    <a:pt x="131" y="9"/>
                  </a:lnTo>
                  <a:lnTo>
                    <a:pt x="118" y="0"/>
                  </a:lnTo>
                  <a:lnTo>
                    <a:pt x="94" y="30"/>
                  </a:lnTo>
                  <a:lnTo>
                    <a:pt x="92" y="37"/>
                  </a:lnTo>
                  <a:lnTo>
                    <a:pt x="94" y="41"/>
                  </a:lnTo>
                  <a:lnTo>
                    <a:pt x="92" y="47"/>
                  </a:lnTo>
                  <a:lnTo>
                    <a:pt x="84" y="43"/>
                  </a:lnTo>
                  <a:lnTo>
                    <a:pt x="80" y="54"/>
                  </a:lnTo>
                  <a:lnTo>
                    <a:pt x="71" y="45"/>
                  </a:lnTo>
                  <a:lnTo>
                    <a:pt x="49" y="73"/>
                  </a:lnTo>
                  <a:lnTo>
                    <a:pt x="32" y="76"/>
                  </a:lnTo>
                  <a:lnTo>
                    <a:pt x="26" y="99"/>
                  </a:lnTo>
                  <a:lnTo>
                    <a:pt x="0" y="91"/>
                  </a:lnTo>
                  <a:lnTo>
                    <a:pt x="13" y="110"/>
                  </a:lnTo>
                  <a:lnTo>
                    <a:pt x="37" y="110"/>
                  </a:lnTo>
                  <a:lnTo>
                    <a:pt x="45" y="101"/>
                  </a:lnTo>
                  <a:lnTo>
                    <a:pt x="67" y="106"/>
                  </a:lnTo>
                  <a:lnTo>
                    <a:pt x="82" y="97"/>
                  </a:lnTo>
                  <a:lnTo>
                    <a:pt x="99" y="50"/>
                  </a:lnTo>
                  <a:lnTo>
                    <a:pt x="110" y="48"/>
                  </a:lnTo>
                  <a:lnTo>
                    <a:pt x="131" y="52"/>
                  </a:lnTo>
                  <a:lnTo>
                    <a:pt x="146" y="47"/>
                  </a:lnTo>
                  <a:lnTo>
                    <a:pt x="146" y="4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08" name="Freeform 5688"/>
            <p:cNvSpPr>
              <a:spLocks/>
            </p:cNvSpPr>
            <p:nvPr>
              <p:custDataLst>
                <p:tags r:id="rId54"/>
              </p:custDataLst>
            </p:nvPr>
          </p:nvSpPr>
          <p:spPr bwMode="gray">
            <a:xfrm>
              <a:off x="8975953" y="4242515"/>
              <a:ext cx="29511" cy="21838"/>
            </a:xfrm>
            <a:custGeom>
              <a:avLst/>
              <a:gdLst/>
              <a:ahLst/>
              <a:cxnLst>
                <a:cxn ang="0">
                  <a:pos x="23" y="4"/>
                </a:cxn>
                <a:cxn ang="0">
                  <a:pos x="21" y="10"/>
                </a:cxn>
                <a:cxn ang="0">
                  <a:pos x="13" y="6"/>
                </a:cxn>
                <a:cxn ang="0">
                  <a:pos x="9" y="17"/>
                </a:cxn>
                <a:cxn ang="0">
                  <a:pos x="0" y="8"/>
                </a:cxn>
                <a:cxn ang="0">
                  <a:pos x="21" y="0"/>
                </a:cxn>
                <a:cxn ang="0">
                  <a:pos x="23" y="4"/>
                </a:cxn>
                <a:cxn ang="0">
                  <a:pos x="23" y="4"/>
                </a:cxn>
              </a:cxnLst>
              <a:rect l="0" t="0" r="r" b="b"/>
              <a:pathLst>
                <a:path w="23" h="17">
                  <a:moveTo>
                    <a:pt x="23" y="4"/>
                  </a:moveTo>
                  <a:lnTo>
                    <a:pt x="21" y="10"/>
                  </a:lnTo>
                  <a:lnTo>
                    <a:pt x="13" y="6"/>
                  </a:lnTo>
                  <a:lnTo>
                    <a:pt x="9" y="17"/>
                  </a:lnTo>
                  <a:lnTo>
                    <a:pt x="0" y="8"/>
                  </a:lnTo>
                  <a:lnTo>
                    <a:pt x="21" y="0"/>
                  </a:lnTo>
                  <a:lnTo>
                    <a:pt x="23" y="4"/>
                  </a:lnTo>
                  <a:lnTo>
                    <a:pt x="23"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09" name="Freeform 5689"/>
            <p:cNvSpPr>
              <a:spLocks/>
            </p:cNvSpPr>
            <p:nvPr>
              <p:custDataLst>
                <p:tags r:id="rId55"/>
              </p:custDataLst>
            </p:nvPr>
          </p:nvSpPr>
          <p:spPr bwMode="gray">
            <a:xfrm>
              <a:off x="8610271" y="3869992"/>
              <a:ext cx="170651" cy="353254"/>
            </a:xfrm>
            <a:custGeom>
              <a:avLst/>
              <a:gdLst/>
              <a:ahLst/>
              <a:cxnLst>
                <a:cxn ang="0">
                  <a:pos x="62" y="258"/>
                </a:cxn>
                <a:cxn ang="0">
                  <a:pos x="73" y="262"/>
                </a:cxn>
                <a:cxn ang="0">
                  <a:pos x="75" y="271"/>
                </a:cxn>
                <a:cxn ang="0">
                  <a:pos x="83" y="275"/>
                </a:cxn>
                <a:cxn ang="0">
                  <a:pos x="92" y="268"/>
                </a:cxn>
                <a:cxn ang="0">
                  <a:pos x="81" y="256"/>
                </a:cxn>
                <a:cxn ang="0">
                  <a:pos x="66" y="249"/>
                </a:cxn>
                <a:cxn ang="0">
                  <a:pos x="51" y="211"/>
                </a:cxn>
                <a:cxn ang="0">
                  <a:pos x="43" y="211"/>
                </a:cxn>
                <a:cxn ang="0">
                  <a:pos x="40" y="193"/>
                </a:cxn>
                <a:cxn ang="0">
                  <a:pos x="49" y="159"/>
                </a:cxn>
                <a:cxn ang="0">
                  <a:pos x="47" y="137"/>
                </a:cxn>
                <a:cxn ang="0">
                  <a:pos x="62" y="137"/>
                </a:cxn>
                <a:cxn ang="0">
                  <a:pos x="64" y="146"/>
                </a:cxn>
                <a:cxn ang="0">
                  <a:pos x="79" y="148"/>
                </a:cxn>
                <a:cxn ang="0">
                  <a:pos x="92" y="159"/>
                </a:cxn>
                <a:cxn ang="0">
                  <a:pos x="87" y="138"/>
                </a:cxn>
                <a:cxn ang="0">
                  <a:pos x="94" y="120"/>
                </a:cxn>
                <a:cxn ang="0">
                  <a:pos x="131" y="118"/>
                </a:cxn>
                <a:cxn ang="0">
                  <a:pos x="133" y="97"/>
                </a:cxn>
                <a:cxn ang="0">
                  <a:pos x="118" y="80"/>
                </a:cxn>
                <a:cxn ang="0">
                  <a:pos x="113" y="58"/>
                </a:cxn>
                <a:cxn ang="0">
                  <a:pos x="94" y="43"/>
                </a:cxn>
                <a:cxn ang="0">
                  <a:pos x="81" y="50"/>
                </a:cxn>
                <a:cxn ang="0">
                  <a:pos x="72" y="45"/>
                </a:cxn>
                <a:cxn ang="0">
                  <a:pos x="55" y="54"/>
                </a:cxn>
                <a:cxn ang="0">
                  <a:pos x="53" y="22"/>
                </a:cxn>
                <a:cxn ang="0">
                  <a:pos x="43" y="17"/>
                </a:cxn>
                <a:cxn ang="0">
                  <a:pos x="36" y="0"/>
                </a:cxn>
                <a:cxn ang="0">
                  <a:pos x="2" y="26"/>
                </a:cxn>
                <a:cxn ang="0">
                  <a:pos x="0" y="47"/>
                </a:cxn>
                <a:cxn ang="0">
                  <a:pos x="25" y="84"/>
                </a:cxn>
                <a:cxn ang="0">
                  <a:pos x="17" y="108"/>
                </a:cxn>
                <a:cxn ang="0">
                  <a:pos x="30" y="122"/>
                </a:cxn>
                <a:cxn ang="0">
                  <a:pos x="45" y="163"/>
                </a:cxn>
                <a:cxn ang="0">
                  <a:pos x="27" y="204"/>
                </a:cxn>
                <a:cxn ang="0">
                  <a:pos x="25" y="215"/>
                </a:cxn>
                <a:cxn ang="0">
                  <a:pos x="28" y="232"/>
                </a:cxn>
                <a:cxn ang="0">
                  <a:pos x="34" y="230"/>
                </a:cxn>
                <a:cxn ang="0">
                  <a:pos x="62" y="264"/>
                </a:cxn>
                <a:cxn ang="0">
                  <a:pos x="62" y="258"/>
                </a:cxn>
                <a:cxn ang="0">
                  <a:pos x="62" y="258"/>
                </a:cxn>
              </a:cxnLst>
              <a:rect l="0" t="0" r="r" b="b"/>
              <a:pathLst>
                <a:path w="133" h="275">
                  <a:moveTo>
                    <a:pt x="62" y="258"/>
                  </a:moveTo>
                  <a:lnTo>
                    <a:pt x="73" y="262"/>
                  </a:lnTo>
                  <a:lnTo>
                    <a:pt x="75" y="271"/>
                  </a:lnTo>
                  <a:lnTo>
                    <a:pt x="83" y="275"/>
                  </a:lnTo>
                  <a:lnTo>
                    <a:pt x="92" y="268"/>
                  </a:lnTo>
                  <a:lnTo>
                    <a:pt x="81" y="256"/>
                  </a:lnTo>
                  <a:lnTo>
                    <a:pt x="66" y="249"/>
                  </a:lnTo>
                  <a:lnTo>
                    <a:pt x="51" y="211"/>
                  </a:lnTo>
                  <a:lnTo>
                    <a:pt x="43" y="211"/>
                  </a:lnTo>
                  <a:lnTo>
                    <a:pt x="40" y="193"/>
                  </a:lnTo>
                  <a:lnTo>
                    <a:pt x="49" y="159"/>
                  </a:lnTo>
                  <a:lnTo>
                    <a:pt x="47" y="137"/>
                  </a:lnTo>
                  <a:lnTo>
                    <a:pt x="62" y="137"/>
                  </a:lnTo>
                  <a:lnTo>
                    <a:pt x="64" y="146"/>
                  </a:lnTo>
                  <a:lnTo>
                    <a:pt x="79" y="148"/>
                  </a:lnTo>
                  <a:lnTo>
                    <a:pt x="92" y="159"/>
                  </a:lnTo>
                  <a:lnTo>
                    <a:pt x="87" y="138"/>
                  </a:lnTo>
                  <a:lnTo>
                    <a:pt x="94" y="120"/>
                  </a:lnTo>
                  <a:lnTo>
                    <a:pt x="131" y="118"/>
                  </a:lnTo>
                  <a:lnTo>
                    <a:pt x="133" y="97"/>
                  </a:lnTo>
                  <a:lnTo>
                    <a:pt x="118" y="80"/>
                  </a:lnTo>
                  <a:lnTo>
                    <a:pt x="113" y="58"/>
                  </a:lnTo>
                  <a:lnTo>
                    <a:pt x="94" y="43"/>
                  </a:lnTo>
                  <a:lnTo>
                    <a:pt x="81" y="50"/>
                  </a:lnTo>
                  <a:lnTo>
                    <a:pt x="72" y="45"/>
                  </a:lnTo>
                  <a:lnTo>
                    <a:pt x="55" y="54"/>
                  </a:lnTo>
                  <a:lnTo>
                    <a:pt x="53" y="22"/>
                  </a:lnTo>
                  <a:lnTo>
                    <a:pt x="43" y="17"/>
                  </a:lnTo>
                  <a:lnTo>
                    <a:pt x="36" y="0"/>
                  </a:lnTo>
                  <a:lnTo>
                    <a:pt x="2" y="26"/>
                  </a:lnTo>
                  <a:lnTo>
                    <a:pt x="0" y="47"/>
                  </a:lnTo>
                  <a:lnTo>
                    <a:pt x="25" y="84"/>
                  </a:lnTo>
                  <a:lnTo>
                    <a:pt x="17" y="108"/>
                  </a:lnTo>
                  <a:lnTo>
                    <a:pt x="30" y="122"/>
                  </a:lnTo>
                  <a:lnTo>
                    <a:pt x="45" y="163"/>
                  </a:lnTo>
                  <a:lnTo>
                    <a:pt x="27" y="204"/>
                  </a:lnTo>
                  <a:lnTo>
                    <a:pt x="25" y="215"/>
                  </a:lnTo>
                  <a:lnTo>
                    <a:pt x="28" y="232"/>
                  </a:lnTo>
                  <a:lnTo>
                    <a:pt x="34" y="230"/>
                  </a:lnTo>
                  <a:lnTo>
                    <a:pt x="62" y="264"/>
                  </a:lnTo>
                  <a:lnTo>
                    <a:pt x="62" y="258"/>
                  </a:lnTo>
                  <a:lnTo>
                    <a:pt x="62" y="25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10" name="Freeform 5690"/>
            <p:cNvSpPr>
              <a:spLocks/>
            </p:cNvSpPr>
            <p:nvPr>
              <p:custDataLst>
                <p:tags r:id="rId56"/>
              </p:custDataLst>
            </p:nvPr>
          </p:nvSpPr>
          <p:spPr bwMode="gray">
            <a:xfrm>
              <a:off x="8689823" y="4201409"/>
              <a:ext cx="87250" cy="125887"/>
            </a:xfrm>
            <a:custGeom>
              <a:avLst/>
              <a:gdLst/>
              <a:ahLst/>
              <a:cxnLst>
                <a:cxn ang="0">
                  <a:pos x="0" y="4"/>
                </a:cxn>
                <a:cxn ang="0">
                  <a:pos x="0" y="0"/>
                </a:cxn>
                <a:cxn ang="0">
                  <a:pos x="11" y="4"/>
                </a:cxn>
                <a:cxn ang="0">
                  <a:pos x="13" y="13"/>
                </a:cxn>
                <a:cxn ang="0">
                  <a:pos x="21" y="17"/>
                </a:cxn>
                <a:cxn ang="0">
                  <a:pos x="30" y="10"/>
                </a:cxn>
                <a:cxn ang="0">
                  <a:pos x="51" y="32"/>
                </a:cxn>
                <a:cxn ang="0">
                  <a:pos x="53" y="70"/>
                </a:cxn>
                <a:cxn ang="0">
                  <a:pos x="68" y="98"/>
                </a:cxn>
                <a:cxn ang="0">
                  <a:pos x="54" y="98"/>
                </a:cxn>
                <a:cxn ang="0">
                  <a:pos x="21" y="71"/>
                </a:cxn>
                <a:cxn ang="0">
                  <a:pos x="6" y="45"/>
                </a:cxn>
                <a:cxn ang="0">
                  <a:pos x="0" y="4"/>
                </a:cxn>
                <a:cxn ang="0">
                  <a:pos x="0" y="4"/>
                </a:cxn>
              </a:cxnLst>
              <a:rect l="0" t="0" r="r" b="b"/>
              <a:pathLst>
                <a:path w="68" h="98">
                  <a:moveTo>
                    <a:pt x="0" y="4"/>
                  </a:moveTo>
                  <a:lnTo>
                    <a:pt x="0" y="0"/>
                  </a:lnTo>
                  <a:lnTo>
                    <a:pt x="11" y="4"/>
                  </a:lnTo>
                  <a:lnTo>
                    <a:pt x="13" y="13"/>
                  </a:lnTo>
                  <a:lnTo>
                    <a:pt x="21" y="17"/>
                  </a:lnTo>
                  <a:lnTo>
                    <a:pt x="30" y="10"/>
                  </a:lnTo>
                  <a:lnTo>
                    <a:pt x="51" y="32"/>
                  </a:lnTo>
                  <a:lnTo>
                    <a:pt x="53" y="70"/>
                  </a:lnTo>
                  <a:lnTo>
                    <a:pt x="68" y="98"/>
                  </a:lnTo>
                  <a:lnTo>
                    <a:pt x="54" y="98"/>
                  </a:lnTo>
                  <a:lnTo>
                    <a:pt x="21" y="71"/>
                  </a:lnTo>
                  <a:lnTo>
                    <a:pt x="6" y="45"/>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11" name="Freeform 5691"/>
            <p:cNvSpPr>
              <a:spLocks/>
            </p:cNvSpPr>
            <p:nvPr>
              <p:custDataLst>
                <p:tags r:id="rId57"/>
              </p:custDataLst>
            </p:nvPr>
          </p:nvSpPr>
          <p:spPr bwMode="gray">
            <a:xfrm>
              <a:off x="8692389" y="3812187"/>
              <a:ext cx="170651" cy="341693"/>
            </a:xfrm>
            <a:custGeom>
              <a:avLst/>
              <a:gdLst/>
              <a:ahLst/>
              <a:cxnLst>
                <a:cxn ang="0">
                  <a:pos x="0" y="13"/>
                </a:cxn>
                <a:cxn ang="0">
                  <a:pos x="19" y="41"/>
                </a:cxn>
                <a:cxn ang="0">
                  <a:pos x="38" y="45"/>
                </a:cxn>
                <a:cxn ang="0">
                  <a:pos x="45" y="62"/>
                </a:cxn>
                <a:cxn ang="0">
                  <a:pos x="34" y="67"/>
                </a:cxn>
                <a:cxn ang="0">
                  <a:pos x="79" y="108"/>
                </a:cxn>
                <a:cxn ang="0">
                  <a:pos x="81" y="116"/>
                </a:cxn>
                <a:cxn ang="0">
                  <a:pos x="97" y="138"/>
                </a:cxn>
                <a:cxn ang="0">
                  <a:pos x="101" y="155"/>
                </a:cxn>
                <a:cxn ang="0">
                  <a:pos x="107" y="198"/>
                </a:cxn>
                <a:cxn ang="0">
                  <a:pos x="82" y="211"/>
                </a:cxn>
                <a:cxn ang="0">
                  <a:pos x="81" y="225"/>
                </a:cxn>
                <a:cxn ang="0">
                  <a:pos x="62" y="234"/>
                </a:cxn>
                <a:cxn ang="0">
                  <a:pos x="69" y="240"/>
                </a:cxn>
                <a:cxn ang="0">
                  <a:pos x="71" y="266"/>
                </a:cxn>
                <a:cxn ang="0">
                  <a:pos x="92" y="253"/>
                </a:cxn>
                <a:cxn ang="0">
                  <a:pos x="97" y="234"/>
                </a:cxn>
                <a:cxn ang="0">
                  <a:pos x="105" y="234"/>
                </a:cxn>
                <a:cxn ang="0">
                  <a:pos x="133" y="215"/>
                </a:cxn>
                <a:cxn ang="0">
                  <a:pos x="133" y="174"/>
                </a:cxn>
                <a:cxn ang="0">
                  <a:pos x="124" y="144"/>
                </a:cxn>
                <a:cxn ang="0">
                  <a:pos x="69" y="86"/>
                </a:cxn>
                <a:cxn ang="0">
                  <a:pos x="62" y="77"/>
                </a:cxn>
                <a:cxn ang="0">
                  <a:pos x="66" y="60"/>
                </a:cxn>
                <a:cxn ang="0">
                  <a:pos x="81" y="39"/>
                </a:cxn>
                <a:cxn ang="0">
                  <a:pos x="94" y="32"/>
                </a:cxn>
                <a:cxn ang="0">
                  <a:pos x="73" y="22"/>
                </a:cxn>
                <a:cxn ang="0">
                  <a:pos x="67" y="7"/>
                </a:cxn>
                <a:cxn ang="0">
                  <a:pos x="49" y="0"/>
                </a:cxn>
                <a:cxn ang="0">
                  <a:pos x="13" y="11"/>
                </a:cxn>
                <a:cxn ang="0">
                  <a:pos x="2" y="7"/>
                </a:cxn>
                <a:cxn ang="0">
                  <a:pos x="0" y="13"/>
                </a:cxn>
                <a:cxn ang="0">
                  <a:pos x="0" y="13"/>
                </a:cxn>
              </a:cxnLst>
              <a:rect l="0" t="0" r="r" b="b"/>
              <a:pathLst>
                <a:path w="133" h="266">
                  <a:moveTo>
                    <a:pt x="0" y="13"/>
                  </a:moveTo>
                  <a:lnTo>
                    <a:pt x="19" y="41"/>
                  </a:lnTo>
                  <a:lnTo>
                    <a:pt x="38" y="45"/>
                  </a:lnTo>
                  <a:lnTo>
                    <a:pt x="45" y="62"/>
                  </a:lnTo>
                  <a:lnTo>
                    <a:pt x="34" y="67"/>
                  </a:lnTo>
                  <a:lnTo>
                    <a:pt x="79" y="108"/>
                  </a:lnTo>
                  <a:lnTo>
                    <a:pt x="81" y="116"/>
                  </a:lnTo>
                  <a:lnTo>
                    <a:pt x="97" y="138"/>
                  </a:lnTo>
                  <a:lnTo>
                    <a:pt x="101" y="155"/>
                  </a:lnTo>
                  <a:lnTo>
                    <a:pt x="107" y="198"/>
                  </a:lnTo>
                  <a:lnTo>
                    <a:pt x="82" y="211"/>
                  </a:lnTo>
                  <a:lnTo>
                    <a:pt x="81" y="225"/>
                  </a:lnTo>
                  <a:lnTo>
                    <a:pt x="62" y="234"/>
                  </a:lnTo>
                  <a:lnTo>
                    <a:pt x="69" y="240"/>
                  </a:lnTo>
                  <a:lnTo>
                    <a:pt x="71" y="266"/>
                  </a:lnTo>
                  <a:lnTo>
                    <a:pt x="92" y="253"/>
                  </a:lnTo>
                  <a:lnTo>
                    <a:pt x="97" y="234"/>
                  </a:lnTo>
                  <a:lnTo>
                    <a:pt x="105" y="234"/>
                  </a:lnTo>
                  <a:lnTo>
                    <a:pt x="133" y="215"/>
                  </a:lnTo>
                  <a:lnTo>
                    <a:pt x="133" y="174"/>
                  </a:lnTo>
                  <a:lnTo>
                    <a:pt x="124" y="144"/>
                  </a:lnTo>
                  <a:lnTo>
                    <a:pt x="69" y="86"/>
                  </a:lnTo>
                  <a:lnTo>
                    <a:pt x="62" y="77"/>
                  </a:lnTo>
                  <a:lnTo>
                    <a:pt x="66" y="60"/>
                  </a:lnTo>
                  <a:lnTo>
                    <a:pt x="81" y="39"/>
                  </a:lnTo>
                  <a:lnTo>
                    <a:pt x="94" y="32"/>
                  </a:lnTo>
                  <a:lnTo>
                    <a:pt x="73" y="22"/>
                  </a:lnTo>
                  <a:lnTo>
                    <a:pt x="67" y="7"/>
                  </a:lnTo>
                  <a:lnTo>
                    <a:pt x="49" y="0"/>
                  </a:lnTo>
                  <a:lnTo>
                    <a:pt x="13" y="11"/>
                  </a:lnTo>
                  <a:lnTo>
                    <a:pt x="2" y="7"/>
                  </a:lnTo>
                  <a:lnTo>
                    <a:pt x="0" y="13"/>
                  </a:lnTo>
                  <a:lnTo>
                    <a:pt x="0" y="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12" name="Freeform 5692"/>
            <p:cNvSpPr>
              <a:spLocks/>
            </p:cNvSpPr>
            <p:nvPr>
              <p:custDataLst>
                <p:tags r:id="rId58"/>
              </p:custDataLst>
            </p:nvPr>
          </p:nvSpPr>
          <p:spPr bwMode="gray">
            <a:xfrm>
              <a:off x="8656463" y="3826317"/>
              <a:ext cx="165519" cy="200391"/>
            </a:xfrm>
            <a:custGeom>
              <a:avLst/>
              <a:gdLst/>
              <a:ahLst/>
              <a:cxnLst>
                <a:cxn ang="0">
                  <a:pos x="129" y="144"/>
                </a:cxn>
                <a:cxn ang="0">
                  <a:pos x="125" y="127"/>
                </a:cxn>
                <a:cxn ang="0">
                  <a:pos x="109" y="105"/>
                </a:cxn>
                <a:cxn ang="0">
                  <a:pos x="107" y="97"/>
                </a:cxn>
                <a:cxn ang="0">
                  <a:pos x="62" y="56"/>
                </a:cxn>
                <a:cxn ang="0">
                  <a:pos x="73" y="51"/>
                </a:cxn>
                <a:cxn ang="0">
                  <a:pos x="66" y="34"/>
                </a:cxn>
                <a:cxn ang="0">
                  <a:pos x="47" y="30"/>
                </a:cxn>
                <a:cxn ang="0">
                  <a:pos x="28" y="2"/>
                </a:cxn>
                <a:cxn ang="0">
                  <a:pos x="21" y="0"/>
                </a:cxn>
                <a:cxn ang="0">
                  <a:pos x="21" y="23"/>
                </a:cxn>
                <a:cxn ang="0">
                  <a:pos x="15" y="24"/>
                </a:cxn>
                <a:cxn ang="0">
                  <a:pos x="13" y="15"/>
                </a:cxn>
                <a:cxn ang="0">
                  <a:pos x="0" y="34"/>
                </a:cxn>
                <a:cxn ang="0">
                  <a:pos x="7" y="51"/>
                </a:cxn>
                <a:cxn ang="0">
                  <a:pos x="17" y="56"/>
                </a:cxn>
                <a:cxn ang="0">
                  <a:pos x="19" y="88"/>
                </a:cxn>
                <a:cxn ang="0">
                  <a:pos x="36" y="79"/>
                </a:cxn>
                <a:cxn ang="0">
                  <a:pos x="45" y="84"/>
                </a:cxn>
                <a:cxn ang="0">
                  <a:pos x="58" y="77"/>
                </a:cxn>
                <a:cxn ang="0">
                  <a:pos x="77" y="92"/>
                </a:cxn>
                <a:cxn ang="0">
                  <a:pos x="82" y="114"/>
                </a:cxn>
                <a:cxn ang="0">
                  <a:pos x="97" y="131"/>
                </a:cxn>
                <a:cxn ang="0">
                  <a:pos x="95" y="152"/>
                </a:cxn>
                <a:cxn ang="0">
                  <a:pos x="109" y="156"/>
                </a:cxn>
                <a:cxn ang="0">
                  <a:pos x="110" y="150"/>
                </a:cxn>
                <a:cxn ang="0">
                  <a:pos x="129" y="144"/>
                </a:cxn>
                <a:cxn ang="0">
                  <a:pos x="129" y="144"/>
                </a:cxn>
              </a:cxnLst>
              <a:rect l="0" t="0" r="r" b="b"/>
              <a:pathLst>
                <a:path w="129" h="156">
                  <a:moveTo>
                    <a:pt x="129" y="144"/>
                  </a:moveTo>
                  <a:lnTo>
                    <a:pt x="125" y="127"/>
                  </a:lnTo>
                  <a:lnTo>
                    <a:pt x="109" y="105"/>
                  </a:lnTo>
                  <a:lnTo>
                    <a:pt x="107" y="97"/>
                  </a:lnTo>
                  <a:lnTo>
                    <a:pt x="62" y="56"/>
                  </a:lnTo>
                  <a:lnTo>
                    <a:pt x="73" y="51"/>
                  </a:lnTo>
                  <a:lnTo>
                    <a:pt x="66" y="34"/>
                  </a:lnTo>
                  <a:lnTo>
                    <a:pt x="47" y="30"/>
                  </a:lnTo>
                  <a:lnTo>
                    <a:pt x="28" y="2"/>
                  </a:lnTo>
                  <a:lnTo>
                    <a:pt x="21" y="0"/>
                  </a:lnTo>
                  <a:lnTo>
                    <a:pt x="21" y="23"/>
                  </a:lnTo>
                  <a:lnTo>
                    <a:pt x="15" y="24"/>
                  </a:lnTo>
                  <a:lnTo>
                    <a:pt x="13" y="15"/>
                  </a:lnTo>
                  <a:lnTo>
                    <a:pt x="0" y="34"/>
                  </a:lnTo>
                  <a:lnTo>
                    <a:pt x="7" y="51"/>
                  </a:lnTo>
                  <a:lnTo>
                    <a:pt x="17" y="56"/>
                  </a:lnTo>
                  <a:lnTo>
                    <a:pt x="19" y="88"/>
                  </a:lnTo>
                  <a:lnTo>
                    <a:pt x="36" y="79"/>
                  </a:lnTo>
                  <a:lnTo>
                    <a:pt x="45" y="84"/>
                  </a:lnTo>
                  <a:lnTo>
                    <a:pt x="58" y="77"/>
                  </a:lnTo>
                  <a:lnTo>
                    <a:pt x="77" y="92"/>
                  </a:lnTo>
                  <a:lnTo>
                    <a:pt x="82" y="114"/>
                  </a:lnTo>
                  <a:lnTo>
                    <a:pt x="97" y="131"/>
                  </a:lnTo>
                  <a:lnTo>
                    <a:pt x="95" y="152"/>
                  </a:lnTo>
                  <a:lnTo>
                    <a:pt x="109" y="156"/>
                  </a:lnTo>
                  <a:lnTo>
                    <a:pt x="110" y="150"/>
                  </a:lnTo>
                  <a:lnTo>
                    <a:pt x="129" y="144"/>
                  </a:lnTo>
                  <a:lnTo>
                    <a:pt x="129" y="14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13" name="Freeform 5693"/>
            <p:cNvSpPr>
              <a:spLocks/>
            </p:cNvSpPr>
            <p:nvPr>
              <p:custDataLst>
                <p:tags r:id="rId59"/>
              </p:custDataLst>
            </p:nvPr>
          </p:nvSpPr>
          <p:spPr bwMode="gray">
            <a:xfrm>
              <a:off x="8040578" y="3101826"/>
              <a:ext cx="1070099" cy="777158"/>
            </a:xfrm>
            <a:custGeom>
              <a:avLst/>
              <a:gdLst/>
              <a:ahLst/>
              <a:cxnLst>
                <a:cxn ang="0">
                  <a:pos x="169" y="98"/>
                </a:cxn>
                <a:cxn ang="0">
                  <a:pos x="214" y="144"/>
                </a:cxn>
                <a:cxn ang="0">
                  <a:pos x="381" y="191"/>
                </a:cxn>
                <a:cxn ang="0">
                  <a:pos x="517" y="197"/>
                </a:cxn>
                <a:cxn ang="0">
                  <a:pos x="527" y="159"/>
                </a:cxn>
                <a:cxn ang="0">
                  <a:pos x="562" y="143"/>
                </a:cxn>
                <a:cxn ang="0">
                  <a:pos x="619" y="122"/>
                </a:cxn>
                <a:cxn ang="0">
                  <a:pos x="575" y="105"/>
                </a:cxn>
                <a:cxn ang="0">
                  <a:pos x="544" y="62"/>
                </a:cxn>
                <a:cxn ang="0">
                  <a:pos x="577" y="34"/>
                </a:cxn>
                <a:cxn ang="0">
                  <a:pos x="572" y="6"/>
                </a:cxn>
                <a:cxn ang="0">
                  <a:pos x="686" y="45"/>
                </a:cxn>
                <a:cxn ang="0">
                  <a:pos x="759" y="83"/>
                </a:cxn>
                <a:cxn ang="0">
                  <a:pos x="823" y="88"/>
                </a:cxn>
                <a:cxn ang="0">
                  <a:pos x="834" y="150"/>
                </a:cxn>
                <a:cxn ang="0">
                  <a:pos x="826" y="180"/>
                </a:cxn>
                <a:cxn ang="0">
                  <a:pos x="808" y="206"/>
                </a:cxn>
                <a:cxn ang="0">
                  <a:pos x="780" y="214"/>
                </a:cxn>
                <a:cxn ang="0">
                  <a:pos x="718" y="266"/>
                </a:cxn>
                <a:cxn ang="0">
                  <a:pos x="722" y="234"/>
                </a:cxn>
                <a:cxn ang="0">
                  <a:pos x="695" y="240"/>
                </a:cxn>
                <a:cxn ang="0">
                  <a:pos x="665" y="255"/>
                </a:cxn>
                <a:cxn ang="0">
                  <a:pos x="708" y="296"/>
                </a:cxn>
                <a:cxn ang="0">
                  <a:pos x="750" y="300"/>
                </a:cxn>
                <a:cxn ang="0">
                  <a:pos x="716" y="337"/>
                </a:cxn>
                <a:cxn ang="0">
                  <a:pos x="778" y="395"/>
                </a:cxn>
                <a:cxn ang="0">
                  <a:pos x="763" y="420"/>
                </a:cxn>
                <a:cxn ang="0">
                  <a:pos x="783" y="461"/>
                </a:cxn>
                <a:cxn ang="0">
                  <a:pos x="772" y="500"/>
                </a:cxn>
                <a:cxn ang="0">
                  <a:pos x="755" y="532"/>
                </a:cxn>
                <a:cxn ang="0">
                  <a:pos x="697" y="570"/>
                </a:cxn>
                <a:cxn ang="0">
                  <a:pos x="680" y="564"/>
                </a:cxn>
                <a:cxn ang="0">
                  <a:pos x="645" y="602"/>
                </a:cxn>
                <a:cxn ang="0">
                  <a:pos x="630" y="585"/>
                </a:cxn>
                <a:cxn ang="0">
                  <a:pos x="581" y="575"/>
                </a:cxn>
                <a:cxn ang="0">
                  <a:pos x="521" y="564"/>
                </a:cxn>
                <a:cxn ang="0">
                  <a:pos x="501" y="564"/>
                </a:cxn>
                <a:cxn ang="0">
                  <a:pos x="493" y="579"/>
                </a:cxn>
                <a:cxn ang="0">
                  <a:pos x="463" y="557"/>
                </a:cxn>
                <a:cxn ang="0">
                  <a:pos x="431" y="542"/>
                </a:cxn>
                <a:cxn ang="0">
                  <a:pos x="413" y="461"/>
                </a:cxn>
                <a:cxn ang="0">
                  <a:pos x="345" y="459"/>
                </a:cxn>
                <a:cxn ang="0">
                  <a:pos x="281" y="476"/>
                </a:cxn>
                <a:cxn ang="0">
                  <a:pos x="266" y="465"/>
                </a:cxn>
                <a:cxn ang="0">
                  <a:pos x="190" y="442"/>
                </a:cxn>
                <a:cxn ang="0">
                  <a:pos x="117" y="409"/>
                </a:cxn>
                <a:cxn ang="0">
                  <a:pos x="115" y="379"/>
                </a:cxn>
                <a:cxn ang="0">
                  <a:pos x="117" y="324"/>
                </a:cxn>
                <a:cxn ang="0">
                  <a:pos x="51" y="317"/>
                </a:cxn>
                <a:cxn ang="0">
                  <a:pos x="21" y="296"/>
                </a:cxn>
                <a:cxn ang="0">
                  <a:pos x="6" y="270"/>
                </a:cxn>
                <a:cxn ang="0">
                  <a:pos x="0" y="242"/>
                </a:cxn>
                <a:cxn ang="0">
                  <a:pos x="38" y="225"/>
                </a:cxn>
                <a:cxn ang="0">
                  <a:pos x="79" y="201"/>
                </a:cxn>
                <a:cxn ang="0">
                  <a:pos x="68" y="150"/>
                </a:cxn>
                <a:cxn ang="0">
                  <a:pos x="120" y="118"/>
                </a:cxn>
                <a:cxn ang="0">
                  <a:pos x="135" y="84"/>
                </a:cxn>
              </a:cxnLst>
              <a:rect l="0" t="0" r="r" b="b"/>
              <a:pathLst>
                <a:path w="834" h="605">
                  <a:moveTo>
                    <a:pt x="135" y="84"/>
                  </a:moveTo>
                  <a:lnTo>
                    <a:pt x="147" y="79"/>
                  </a:lnTo>
                  <a:lnTo>
                    <a:pt x="169" y="98"/>
                  </a:lnTo>
                  <a:lnTo>
                    <a:pt x="190" y="101"/>
                  </a:lnTo>
                  <a:lnTo>
                    <a:pt x="205" y="118"/>
                  </a:lnTo>
                  <a:lnTo>
                    <a:pt x="214" y="144"/>
                  </a:lnTo>
                  <a:lnTo>
                    <a:pt x="285" y="161"/>
                  </a:lnTo>
                  <a:lnTo>
                    <a:pt x="323" y="191"/>
                  </a:lnTo>
                  <a:lnTo>
                    <a:pt x="381" y="191"/>
                  </a:lnTo>
                  <a:lnTo>
                    <a:pt x="454" y="212"/>
                  </a:lnTo>
                  <a:lnTo>
                    <a:pt x="486" y="199"/>
                  </a:lnTo>
                  <a:lnTo>
                    <a:pt x="517" y="197"/>
                  </a:lnTo>
                  <a:lnTo>
                    <a:pt x="521" y="195"/>
                  </a:lnTo>
                  <a:lnTo>
                    <a:pt x="538" y="174"/>
                  </a:lnTo>
                  <a:lnTo>
                    <a:pt x="527" y="159"/>
                  </a:lnTo>
                  <a:lnTo>
                    <a:pt x="532" y="150"/>
                  </a:lnTo>
                  <a:lnTo>
                    <a:pt x="553" y="156"/>
                  </a:lnTo>
                  <a:lnTo>
                    <a:pt x="562" y="143"/>
                  </a:lnTo>
                  <a:lnTo>
                    <a:pt x="575" y="137"/>
                  </a:lnTo>
                  <a:lnTo>
                    <a:pt x="583" y="122"/>
                  </a:lnTo>
                  <a:lnTo>
                    <a:pt x="619" y="122"/>
                  </a:lnTo>
                  <a:lnTo>
                    <a:pt x="609" y="107"/>
                  </a:lnTo>
                  <a:lnTo>
                    <a:pt x="592" y="99"/>
                  </a:lnTo>
                  <a:lnTo>
                    <a:pt x="575" y="105"/>
                  </a:lnTo>
                  <a:lnTo>
                    <a:pt x="557" y="103"/>
                  </a:lnTo>
                  <a:lnTo>
                    <a:pt x="540" y="73"/>
                  </a:lnTo>
                  <a:lnTo>
                    <a:pt x="544" y="62"/>
                  </a:lnTo>
                  <a:lnTo>
                    <a:pt x="568" y="69"/>
                  </a:lnTo>
                  <a:lnTo>
                    <a:pt x="583" y="60"/>
                  </a:lnTo>
                  <a:lnTo>
                    <a:pt x="577" y="34"/>
                  </a:lnTo>
                  <a:lnTo>
                    <a:pt x="581" y="28"/>
                  </a:lnTo>
                  <a:lnTo>
                    <a:pt x="566" y="11"/>
                  </a:lnTo>
                  <a:lnTo>
                    <a:pt x="572" y="6"/>
                  </a:lnTo>
                  <a:lnTo>
                    <a:pt x="602" y="0"/>
                  </a:lnTo>
                  <a:lnTo>
                    <a:pt x="643" y="11"/>
                  </a:lnTo>
                  <a:lnTo>
                    <a:pt x="686" y="45"/>
                  </a:lnTo>
                  <a:lnTo>
                    <a:pt x="705" y="68"/>
                  </a:lnTo>
                  <a:lnTo>
                    <a:pt x="731" y="71"/>
                  </a:lnTo>
                  <a:lnTo>
                    <a:pt x="759" y="83"/>
                  </a:lnTo>
                  <a:lnTo>
                    <a:pt x="778" y="101"/>
                  </a:lnTo>
                  <a:lnTo>
                    <a:pt x="793" y="103"/>
                  </a:lnTo>
                  <a:lnTo>
                    <a:pt x="823" y="88"/>
                  </a:lnTo>
                  <a:lnTo>
                    <a:pt x="832" y="105"/>
                  </a:lnTo>
                  <a:lnTo>
                    <a:pt x="828" y="109"/>
                  </a:lnTo>
                  <a:lnTo>
                    <a:pt x="834" y="150"/>
                  </a:lnTo>
                  <a:lnTo>
                    <a:pt x="817" y="148"/>
                  </a:lnTo>
                  <a:lnTo>
                    <a:pt x="810" y="158"/>
                  </a:lnTo>
                  <a:lnTo>
                    <a:pt x="826" y="180"/>
                  </a:lnTo>
                  <a:lnTo>
                    <a:pt x="828" y="195"/>
                  </a:lnTo>
                  <a:lnTo>
                    <a:pt x="811" y="191"/>
                  </a:lnTo>
                  <a:lnTo>
                    <a:pt x="808" y="206"/>
                  </a:lnTo>
                  <a:lnTo>
                    <a:pt x="797" y="206"/>
                  </a:lnTo>
                  <a:lnTo>
                    <a:pt x="797" y="217"/>
                  </a:lnTo>
                  <a:lnTo>
                    <a:pt x="780" y="214"/>
                  </a:lnTo>
                  <a:lnTo>
                    <a:pt x="753" y="249"/>
                  </a:lnTo>
                  <a:lnTo>
                    <a:pt x="746" y="247"/>
                  </a:lnTo>
                  <a:lnTo>
                    <a:pt x="718" y="266"/>
                  </a:lnTo>
                  <a:lnTo>
                    <a:pt x="722" y="257"/>
                  </a:lnTo>
                  <a:lnTo>
                    <a:pt x="714" y="251"/>
                  </a:lnTo>
                  <a:lnTo>
                    <a:pt x="722" y="234"/>
                  </a:lnTo>
                  <a:lnTo>
                    <a:pt x="712" y="227"/>
                  </a:lnTo>
                  <a:lnTo>
                    <a:pt x="701" y="225"/>
                  </a:lnTo>
                  <a:lnTo>
                    <a:pt x="695" y="240"/>
                  </a:lnTo>
                  <a:lnTo>
                    <a:pt x="684" y="247"/>
                  </a:lnTo>
                  <a:lnTo>
                    <a:pt x="682" y="257"/>
                  </a:lnTo>
                  <a:lnTo>
                    <a:pt x="665" y="255"/>
                  </a:lnTo>
                  <a:lnTo>
                    <a:pt x="665" y="268"/>
                  </a:lnTo>
                  <a:lnTo>
                    <a:pt x="703" y="296"/>
                  </a:lnTo>
                  <a:lnTo>
                    <a:pt x="708" y="296"/>
                  </a:lnTo>
                  <a:lnTo>
                    <a:pt x="722" y="283"/>
                  </a:lnTo>
                  <a:lnTo>
                    <a:pt x="750" y="292"/>
                  </a:lnTo>
                  <a:lnTo>
                    <a:pt x="750" y="300"/>
                  </a:lnTo>
                  <a:lnTo>
                    <a:pt x="744" y="298"/>
                  </a:lnTo>
                  <a:lnTo>
                    <a:pt x="729" y="306"/>
                  </a:lnTo>
                  <a:lnTo>
                    <a:pt x="716" y="337"/>
                  </a:lnTo>
                  <a:lnTo>
                    <a:pt x="737" y="347"/>
                  </a:lnTo>
                  <a:lnTo>
                    <a:pt x="757" y="379"/>
                  </a:lnTo>
                  <a:lnTo>
                    <a:pt x="778" y="395"/>
                  </a:lnTo>
                  <a:lnTo>
                    <a:pt x="768" y="395"/>
                  </a:lnTo>
                  <a:lnTo>
                    <a:pt x="783" y="410"/>
                  </a:lnTo>
                  <a:lnTo>
                    <a:pt x="763" y="420"/>
                  </a:lnTo>
                  <a:lnTo>
                    <a:pt x="791" y="425"/>
                  </a:lnTo>
                  <a:lnTo>
                    <a:pt x="791" y="455"/>
                  </a:lnTo>
                  <a:lnTo>
                    <a:pt x="783" y="461"/>
                  </a:lnTo>
                  <a:lnTo>
                    <a:pt x="774" y="487"/>
                  </a:lnTo>
                  <a:lnTo>
                    <a:pt x="768" y="487"/>
                  </a:lnTo>
                  <a:lnTo>
                    <a:pt x="772" y="500"/>
                  </a:lnTo>
                  <a:lnTo>
                    <a:pt x="761" y="527"/>
                  </a:lnTo>
                  <a:lnTo>
                    <a:pt x="753" y="527"/>
                  </a:lnTo>
                  <a:lnTo>
                    <a:pt x="755" y="532"/>
                  </a:lnTo>
                  <a:lnTo>
                    <a:pt x="733" y="553"/>
                  </a:lnTo>
                  <a:lnTo>
                    <a:pt x="703" y="562"/>
                  </a:lnTo>
                  <a:lnTo>
                    <a:pt x="697" y="570"/>
                  </a:lnTo>
                  <a:lnTo>
                    <a:pt x="688" y="562"/>
                  </a:lnTo>
                  <a:lnTo>
                    <a:pt x="688" y="570"/>
                  </a:lnTo>
                  <a:lnTo>
                    <a:pt x="680" y="564"/>
                  </a:lnTo>
                  <a:lnTo>
                    <a:pt x="680" y="573"/>
                  </a:lnTo>
                  <a:lnTo>
                    <a:pt x="641" y="588"/>
                  </a:lnTo>
                  <a:lnTo>
                    <a:pt x="645" y="602"/>
                  </a:lnTo>
                  <a:lnTo>
                    <a:pt x="641" y="605"/>
                  </a:lnTo>
                  <a:lnTo>
                    <a:pt x="635" y="605"/>
                  </a:lnTo>
                  <a:lnTo>
                    <a:pt x="630" y="585"/>
                  </a:lnTo>
                  <a:lnTo>
                    <a:pt x="609" y="581"/>
                  </a:lnTo>
                  <a:lnTo>
                    <a:pt x="602" y="585"/>
                  </a:lnTo>
                  <a:lnTo>
                    <a:pt x="581" y="575"/>
                  </a:lnTo>
                  <a:lnTo>
                    <a:pt x="575" y="560"/>
                  </a:lnTo>
                  <a:lnTo>
                    <a:pt x="557" y="553"/>
                  </a:lnTo>
                  <a:lnTo>
                    <a:pt x="521" y="564"/>
                  </a:lnTo>
                  <a:lnTo>
                    <a:pt x="510" y="560"/>
                  </a:lnTo>
                  <a:lnTo>
                    <a:pt x="508" y="566"/>
                  </a:lnTo>
                  <a:lnTo>
                    <a:pt x="501" y="564"/>
                  </a:lnTo>
                  <a:lnTo>
                    <a:pt x="501" y="587"/>
                  </a:lnTo>
                  <a:lnTo>
                    <a:pt x="495" y="588"/>
                  </a:lnTo>
                  <a:lnTo>
                    <a:pt x="493" y="579"/>
                  </a:lnTo>
                  <a:lnTo>
                    <a:pt x="478" y="583"/>
                  </a:lnTo>
                  <a:lnTo>
                    <a:pt x="461" y="570"/>
                  </a:lnTo>
                  <a:lnTo>
                    <a:pt x="463" y="557"/>
                  </a:lnTo>
                  <a:lnTo>
                    <a:pt x="454" y="549"/>
                  </a:lnTo>
                  <a:lnTo>
                    <a:pt x="448" y="536"/>
                  </a:lnTo>
                  <a:lnTo>
                    <a:pt x="431" y="542"/>
                  </a:lnTo>
                  <a:lnTo>
                    <a:pt x="439" y="487"/>
                  </a:lnTo>
                  <a:lnTo>
                    <a:pt x="426" y="465"/>
                  </a:lnTo>
                  <a:lnTo>
                    <a:pt x="413" y="461"/>
                  </a:lnTo>
                  <a:lnTo>
                    <a:pt x="383" y="437"/>
                  </a:lnTo>
                  <a:lnTo>
                    <a:pt x="362" y="440"/>
                  </a:lnTo>
                  <a:lnTo>
                    <a:pt x="345" y="459"/>
                  </a:lnTo>
                  <a:lnTo>
                    <a:pt x="324" y="467"/>
                  </a:lnTo>
                  <a:lnTo>
                    <a:pt x="295" y="459"/>
                  </a:lnTo>
                  <a:lnTo>
                    <a:pt x="281" y="476"/>
                  </a:lnTo>
                  <a:lnTo>
                    <a:pt x="274" y="463"/>
                  </a:lnTo>
                  <a:lnTo>
                    <a:pt x="266" y="465"/>
                  </a:lnTo>
                  <a:lnTo>
                    <a:pt x="266" y="465"/>
                  </a:lnTo>
                  <a:lnTo>
                    <a:pt x="233" y="465"/>
                  </a:lnTo>
                  <a:lnTo>
                    <a:pt x="197" y="440"/>
                  </a:lnTo>
                  <a:lnTo>
                    <a:pt x="190" y="442"/>
                  </a:lnTo>
                  <a:lnTo>
                    <a:pt x="169" y="424"/>
                  </a:lnTo>
                  <a:lnTo>
                    <a:pt x="148" y="422"/>
                  </a:lnTo>
                  <a:lnTo>
                    <a:pt x="117" y="409"/>
                  </a:lnTo>
                  <a:lnTo>
                    <a:pt x="102" y="384"/>
                  </a:lnTo>
                  <a:lnTo>
                    <a:pt x="102" y="379"/>
                  </a:lnTo>
                  <a:lnTo>
                    <a:pt x="115" y="379"/>
                  </a:lnTo>
                  <a:lnTo>
                    <a:pt x="103" y="356"/>
                  </a:lnTo>
                  <a:lnTo>
                    <a:pt x="115" y="339"/>
                  </a:lnTo>
                  <a:lnTo>
                    <a:pt x="117" y="324"/>
                  </a:lnTo>
                  <a:lnTo>
                    <a:pt x="100" y="317"/>
                  </a:lnTo>
                  <a:lnTo>
                    <a:pt x="75" y="326"/>
                  </a:lnTo>
                  <a:lnTo>
                    <a:pt x="51" y="317"/>
                  </a:lnTo>
                  <a:lnTo>
                    <a:pt x="42" y="302"/>
                  </a:lnTo>
                  <a:lnTo>
                    <a:pt x="23" y="298"/>
                  </a:lnTo>
                  <a:lnTo>
                    <a:pt x="21" y="296"/>
                  </a:lnTo>
                  <a:lnTo>
                    <a:pt x="25" y="292"/>
                  </a:lnTo>
                  <a:lnTo>
                    <a:pt x="19" y="272"/>
                  </a:lnTo>
                  <a:lnTo>
                    <a:pt x="6" y="270"/>
                  </a:lnTo>
                  <a:lnTo>
                    <a:pt x="0" y="264"/>
                  </a:lnTo>
                  <a:lnTo>
                    <a:pt x="0" y="253"/>
                  </a:lnTo>
                  <a:lnTo>
                    <a:pt x="0" y="242"/>
                  </a:lnTo>
                  <a:lnTo>
                    <a:pt x="10" y="232"/>
                  </a:lnTo>
                  <a:lnTo>
                    <a:pt x="36" y="232"/>
                  </a:lnTo>
                  <a:lnTo>
                    <a:pt x="38" y="225"/>
                  </a:lnTo>
                  <a:lnTo>
                    <a:pt x="55" y="223"/>
                  </a:lnTo>
                  <a:lnTo>
                    <a:pt x="79" y="206"/>
                  </a:lnTo>
                  <a:lnTo>
                    <a:pt x="79" y="201"/>
                  </a:lnTo>
                  <a:lnTo>
                    <a:pt x="83" y="184"/>
                  </a:lnTo>
                  <a:lnTo>
                    <a:pt x="64" y="156"/>
                  </a:lnTo>
                  <a:lnTo>
                    <a:pt x="68" y="150"/>
                  </a:lnTo>
                  <a:lnTo>
                    <a:pt x="92" y="148"/>
                  </a:lnTo>
                  <a:lnTo>
                    <a:pt x="90" y="111"/>
                  </a:lnTo>
                  <a:lnTo>
                    <a:pt x="120" y="118"/>
                  </a:lnTo>
                  <a:lnTo>
                    <a:pt x="128" y="113"/>
                  </a:lnTo>
                  <a:lnTo>
                    <a:pt x="124" y="90"/>
                  </a:lnTo>
                  <a:lnTo>
                    <a:pt x="135" y="84"/>
                  </a:lnTo>
                  <a:lnTo>
                    <a:pt x="135" y="8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14" name="Freeform 5694"/>
            <p:cNvSpPr>
              <a:spLocks/>
            </p:cNvSpPr>
            <p:nvPr>
              <p:custDataLst>
                <p:tags r:id="rId60"/>
              </p:custDataLst>
            </p:nvPr>
          </p:nvSpPr>
          <p:spPr bwMode="gray">
            <a:xfrm>
              <a:off x="8399844" y="3691439"/>
              <a:ext cx="69287" cy="35968"/>
            </a:xfrm>
            <a:custGeom>
              <a:avLst/>
              <a:gdLst/>
              <a:ahLst/>
              <a:cxnLst>
                <a:cxn ang="0">
                  <a:pos x="44" y="8"/>
                </a:cxn>
                <a:cxn ang="0">
                  <a:pos x="15" y="0"/>
                </a:cxn>
                <a:cxn ang="0">
                  <a:pos x="1" y="17"/>
                </a:cxn>
                <a:cxn ang="0">
                  <a:pos x="0" y="21"/>
                </a:cxn>
                <a:cxn ang="0">
                  <a:pos x="9" y="28"/>
                </a:cxn>
                <a:cxn ang="0">
                  <a:pos x="46" y="26"/>
                </a:cxn>
                <a:cxn ang="0">
                  <a:pos x="54" y="19"/>
                </a:cxn>
                <a:cxn ang="0">
                  <a:pos x="44" y="8"/>
                </a:cxn>
                <a:cxn ang="0">
                  <a:pos x="44" y="8"/>
                </a:cxn>
              </a:cxnLst>
              <a:rect l="0" t="0" r="r" b="b"/>
              <a:pathLst>
                <a:path w="54" h="28">
                  <a:moveTo>
                    <a:pt x="44" y="8"/>
                  </a:moveTo>
                  <a:lnTo>
                    <a:pt x="15" y="0"/>
                  </a:lnTo>
                  <a:lnTo>
                    <a:pt x="1" y="17"/>
                  </a:lnTo>
                  <a:lnTo>
                    <a:pt x="0" y="21"/>
                  </a:lnTo>
                  <a:lnTo>
                    <a:pt x="9" y="28"/>
                  </a:lnTo>
                  <a:lnTo>
                    <a:pt x="46" y="26"/>
                  </a:lnTo>
                  <a:lnTo>
                    <a:pt x="54" y="19"/>
                  </a:lnTo>
                  <a:lnTo>
                    <a:pt x="44" y="8"/>
                  </a:lnTo>
                  <a:lnTo>
                    <a:pt x="44" y="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15" name="Freeform 5695"/>
            <p:cNvSpPr>
              <a:spLocks/>
            </p:cNvSpPr>
            <p:nvPr>
              <p:custDataLst>
                <p:tags r:id="rId61"/>
              </p:custDataLst>
            </p:nvPr>
          </p:nvSpPr>
          <p:spPr bwMode="gray">
            <a:xfrm>
              <a:off x="8218928" y="3643910"/>
              <a:ext cx="168085" cy="91204"/>
            </a:xfrm>
            <a:custGeom>
              <a:avLst/>
              <a:gdLst/>
              <a:ahLst/>
              <a:cxnLst>
                <a:cxn ang="0">
                  <a:pos x="127" y="58"/>
                </a:cxn>
                <a:cxn ang="0">
                  <a:pos x="127" y="43"/>
                </a:cxn>
                <a:cxn ang="0">
                  <a:pos x="94" y="43"/>
                </a:cxn>
                <a:cxn ang="0">
                  <a:pos x="58" y="18"/>
                </a:cxn>
                <a:cxn ang="0">
                  <a:pos x="51" y="20"/>
                </a:cxn>
                <a:cxn ang="0">
                  <a:pos x="30" y="2"/>
                </a:cxn>
                <a:cxn ang="0">
                  <a:pos x="9" y="0"/>
                </a:cxn>
                <a:cxn ang="0">
                  <a:pos x="0" y="26"/>
                </a:cxn>
                <a:cxn ang="0">
                  <a:pos x="47" y="52"/>
                </a:cxn>
                <a:cxn ang="0">
                  <a:pos x="67" y="54"/>
                </a:cxn>
                <a:cxn ang="0">
                  <a:pos x="82" y="65"/>
                </a:cxn>
                <a:cxn ang="0">
                  <a:pos x="116" y="71"/>
                </a:cxn>
                <a:cxn ang="0">
                  <a:pos x="131" y="71"/>
                </a:cxn>
                <a:cxn ang="0">
                  <a:pos x="127" y="58"/>
                </a:cxn>
                <a:cxn ang="0">
                  <a:pos x="127" y="58"/>
                </a:cxn>
              </a:cxnLst>
              <a:rect l="0" t="0" r="r" b="b"/>
              <a:pathLst>
                <a:path w="131" h="71">
                  <a:moveTo>
                    <a:pt x="127" y="58"/>
                  </a:moveTo>
                  <a:lnTo>
                    <a:pt x="127" y="43"/>
                  </a:lnTo>
                  <a:lnTo>
                    <a:pt x="94" y="43"/>
                  </a:lnTo>
                  <a:lnTo>
                    <a:pt x="58" y="18"/>
                  </a:lnTo>
                  <a:lnTo>
                    <a:pt x="51" y="20"/>
                  </a:lnTo>
                  <a:lnTo>
                    <a:pt x="30" y="2"/>
                  </a:lnTo>
                  <a:lnTo>
                    <a:pt x="9" y="0"/>
                  </a:lnTo>
                  <a:lnTo>
                    <a:pt x="0" y="26"/>
                  </a:lnTo>
                  <a:lnTo>
                    <a:pt x="47" y="52"/>
                  </a:lnTo>
                  <a:lnTo>
                    <a:pt x="67" y="54"/>
                  </a:lnTo>
                  <a:lnTo>
                    <a:pt x="82" y="65"/>
                  </a:lnTo>
                  <a:lnTo>
                    <a:pt x="116" y="71"/>
                  </a:lnTo>
                  <a:lnTo>
                    <a:pt x="131" y="71"/>
                  </a:lnTo>
                  <a:lnTo>
                    <a:pt x="127" y="58"/>
                  </a:lnTo>
                  <a:lnTo>
                    <a:pt x="127" y="5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16" name="Freeform 5696"/>
            <p:cNvSpPr>
              <a:spLocks/>
            </p:cNvSpPr>
            <p:nvPr>
              <p:custDataLst>
                <p:tags r:id="rId62"/>
              </p:custDataLst>
            </p:nvPr>
          </p:nvSpPr>
          <p:spPr bwMode="gray">
            <a:xfrm>
              <a:off x="7830151" y="3484625"/>
              <a:ext cx="306659" cy="314717"/>
            </a:xfrm>
            <a:custGeom>
              <a:avLst/>
              <a:gdLst/>
              <a:ahLst/>
              <a:cxnLst>
                <a:cxn ang="0">
                  <a:pos x="136" y="234"/>
                </a:cxn>
                <a:cxn ang="0">
                  <a:pos x="168" y="234"/>
                </a:cxn>
                <a:cxn ang="0">
                  <a:pos x="168" y="223"/>
                </a:cxn>
                <a:cxn ang="0">
                  <a:pos x="161" y="208"/>
                </a:cxn>
                <a:cxn ang="0">
                  <a:pos x="153" y="202"/>
                </a:cxn>
                <a:cxn ang="0">
                  <a:pos x="153" y="193"/>
                </a:cxn>
                <a:cxn ang="0">
                  <a:pos x="142" y="191"/>
                </a:cxn>
                <a:cxn ang="0">
                  <a:pos x="142" y="178"/>
                </a:cxn>
                <a:cxn ang="0">
                  <a:pos x="151" y="167"/>
                </a:cxn>
                <a:cxn ang="0">
                  <a:pos x="161" y="170"/>
                </a:cxn>
                <a:cxn ang="0">
                  <a:pos x="174" y="167"/>
                </a:cxn>
                <a:cxn ang="0">
                  <a:pos x="211" y="107"/>
                </a:cxn>
                <a:cxn ang="0">
                  <a:pos x="208" y="94"/>
                </a:cxn>
                <a:cxn ang="0">
                  <a:pos x="215" y="90"/>
                </a:cxn>
                <a:cxn ang="0">
                  <a:pos x="215" y="84"/>
                </a:cxn>
                <a:cxn ang="0">
                  <a:pos x="194" y="71"/>
                </a:cxn>
                <a:cxn ang="0">
                  <a:pos x="193" y="52"/>
                </a:cxn>
                <a:cxn ang="0">
                  <a:pos x="185" y="45"/>
                </a:cxn>
                <a:cxn ang="0">
                  <a:pos x="187" y="39"/>
                </a:cxn>
                <a:cxn ang="0">
                  <a:pos x="215" y="45"/>
                </a:cxn>
                <a:cxn ang="0">
                  <a:pos x="232" y="39"/>
                </a:cxn>
                <a:cxn ang="0">
                  <a:pos x="239" y="28"/>
                </a:cxn>
                <a:cxn ang="0">
                  <a:pos x="215" y="19"/>
                </a:cxn>
                <a:cxn ang="0">
                  <a:pos x="206" y="4"/>
                </a:cxn>
                <a:cxn ang="0">
                  <a:pos x="187" y="0"/>
                </a:cxn>
                <a:cxn ang="0">
                  <a:pos x="174" y="2"/>
                </a:cxn>
                <a:cxn ang="0">
                  <a:pos x="161" y="2"/>
                </a:cxn>
                <a:cxn ang="0">
                  <a:pos x="142" y="13"/>
                </a:cxn>
                <a:cxn ang="0">
                  <a:pos x="148" y="36"/>
                </a:cxn>
                <a:cxn ang="0">
                  <a:pos x="142" y="54"/>
                </a:cxn>
                <a:cxn ang="0">
                  <a:pos x="127" y="54"/>
                </a:cxn>
                <a:cxn ang="0">
                  <a:pos x="133" y="64"/>
                </a:cxn>
                <a:cxn ang="0">
                  <a:pos x="125" y="73"/>
                </a:cxn>
                <a:cxn ang="0">
                  <a:pos x="121" y="96"/>
                </a:cxn>
                <a:cxn ang="0">
                  <a:pos x="89" y="103"/>
                </a:cxn>
                <a:cxn ang="0">
                  <a:pos x="84" y="111"/>
                </a:cxn>
                <a:cxn ang="0">
                  <a:pos x="82" y="131"/>
                </a:cxn>
                <a:cxn ang="0">
                  <a:pos x="22" y="139"/>
                </a:cxn>
                <a:cxn ang="0">
                  <a:pos x="0" y="131"/>
                </a:cxn>
                <a:cxn ang="0">
                  <a:pos x="0" y="131"/>
                </a:cxn>
                <a:cxn ang="0">
                  <a:pos x="16" y="156"/>
                </a:cxn>
                <a:cxn ang="0">
                  <a:pos x="30" y="161"/>
                </a:cxn>
                <a:cxn ang="0">
                  <a:pos x="43" y="180"/>
                </a:cxn>
                <a:cxn ang="0">
                  <a:pos x="41" y="187"/>
                </a:cxn>
                <a:cxn ang="0">
                  <a:pos x="22" y="200"/>
                </a:cxn>
                <a:cxn ang="0">
                  <a:pos x="20" y="215"/>
                </a:cxn>
                <a:cxn ang="0">
                  <a:pos x="56" y="214"/>
                </a:cxn>
                <a:cxn ang="0">
                  <a:pos x="69" y="217"/>
                </a:cxn>
                <a:cxn ang="0">
                  <a:pos x="99" y="214"/>
                </a:cxn>
                <a:cxn ang="0">
                  <a:pos x="114" y="240"/>
                </a:cxn>
                <a:cxn ang="0">
                  <a:pos x="125" y="245"/>
                </a:cxn>
                <a:cxn ang="0">
                  <a:pos x="136" y="234"/>
                </a:cxn>
                <a:cxn ang="0">
                  <a:pos x="136" y="234"/>
                </a:cxn>
              </a:cxnLst>
              <a:rect l="0" t="0" r="r" b="b"/>
              <a:pathLst>
                <a:path w="239" h="245">
                  <a:moveTo>
                    <a:pt x="136" y="234"/>
                  </a:moveTo>
                  <a:lnTo>
                    <a:pt x="168" y="234"/>
                  </a:lnTo>
                  <a:lnTo>
                    <a:pt x="168" y="223"/>
                  </a:lnTo>
                  <a:lnTo>
                    <a:pt x="161" y="208"/>
                  </a:lnTo>
                  <a:lnTo>
                    <a:pt x="153" y="202"/>
                  </a:lnTo>
                  <a:lnTo>
                    <a:pt x="153" y="193"/>
                  </a:lnTo>
                  <a:lnTo>
                    <a:pt x="142" y="191"/>
                  </a:lnTo>
                  <a:lnTo>
                    <a:pt x="142" y="178"/>
                  </a:lnTo>
                  <a:lnTo>
                    <a:pt x="151" y="167"/>
                  </a:lnTo>
                  <a:lnTo>
                    <a:pt x="161" y="170"/>
                  </a:lnTo>
                  <a:lnTo>
                    <a:pt x="174" y="167"/>
                  </a:lnTo>
                  <a:lnTo>
                    <a:pt x="211" y="107"/>
                  </a:lnTo>
                  <a:lnTo>
                    <a:pt x="208" y="94"/>
                  </a:lnTo>
                  <a:lnTo>
                    <a:pt x="215" y="90"/>
                  </a:lnTo>
                  <a:lnTo>
                    <a:pt x="215" y="84"/>
                  </a:lnTo>
                  <a:lnTo>
                    <a:pt x="194" y="71"/>
                  </a:lnTo>
                  <a:lnTo>
                    <a:pt x="193" y="52"/>
                  </a:lnTo>
                  <a:lnTo>
                    <a:pt x="185" y="45"/>
                  </a:lnTo>
                  <a:lnTo>
                    <a:pt x="187" y="39"/>
                  </a:lnTo>
                  <a:lnTo>
                    <a:pt x="215" y="45"/>
                  </a:lnTo>
                  <a:lnTo>
                    <a:pt x="232" y="39"/>
                  </a:lnTo>
                  <a:lnTo>
                    <a:pt x="239" y="28"/>
                  </a:lnTo>
                  <a:lnTo>
                    <a:pt x="215" y="19"/>
                  </a:lnTo>
                  <a:lnTo>
                    <a:pt x="206" y="4"/>
                  </a:lnTo>
                  <a:lnTo>
                    <a:pt x="187" y="0"/>
                  </a:lnTo>
                  <a:lnTo>
                    <a:pt x="174" y="2"/>
                  </a:lnTo>
                  <a:lnTo>
                    <a:pt x="161" y="2"/>
                  </a:lnTo>
                  <a:lnTo>
                    <a:pt x="142" y="13"/>
                  </a:lnTo>
                  <a:lnTo>
                    <a:pt x="148" y="36"/>
                  </a:lnTo>
                  <a:lnTo>
                    <a:pt x="142" y="54"/>
                  </a:lnTo>
                  <a:lnTo>
                    <a:pt x="127" y="54"/>
                  </a:lnTo>
                  <a:lnTo>
                    <a:pt x="133" y="64"/>
                  </a:lnTo>
                  <a:lnTo>
                    <a:pt x="125" y="73"/>
                  </a:lnTo>
                  <a:lnTo>
                    <a:pt x="121" y="96"/>
                  </a:lnTo>
                  <a:lnTo>
                    <a:pt x="89" y="103"/>
                  </a:lnTo>
                  <a:lnTo>
                    <a:pt x="84" y="111"/>
                  </a:lnTo>
                  <a:lnTo>
                    <a:pt x="82" y="131"/>
                  </a:lnTo>
                  <a:lnTo>
                    <a:pt x="22" y="139"/>
                  </a:lnTo>
                  <a:lnTo>
                    <a:pt x="0" y="131"/>
                  </a:lnTo>
                  <a:lnTo>
                    <a:pt x="0" y="131"/>
                  </a:lnTo>
                  <a:lnTo>
                    <a:pt x="16" y="156"/>
                  </a:lnTo>
                  <a:lnTo>
                    <a:pt x="30" y="161"/>
                  </a:lnTo>
                  <a:lnTo>
                    <a:pt x="43" y="180"/>
                  </a:lnTo>
                  <a:lnTo>
                    <a:pt x="41" y="187"/>
                  </a:lnTo>
                  <a:lnTo>
                    <a:pt x="22" y="200"/>
                  </a:lnTo>
                  <a:lnTo>
                    <a:pt x="20" y="215"/>
                  </a:lnTo>
                  <a:lnTo>
                    <a:pt x="56" y="214"/>
                  </a:lnTo>
                  <a:lnTo>
                    <a:pt x="69" y="217"/>
                  </a:lnTo>
                  <a:lnTo>
                    <a:pt x="99" y="214"/>
                  </a:lnTo>
                  <a:lnTo>
                    <a:pt x="114" y="240"/>
                  </a:lnTo>
                  <a:lnTo>
                    <a:pt x="125" y="245"/>
                  </a:lnTo>
                  <a:lnTo>
                    <a:pt x="136" y="234"/>
                  </a:lnTo>
                  <a:lnTo>
                    <a:pt x="136" y="23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17" name="Freeform 5697"/>
            <p:cNvSpPr>
              <a:spLocks/>
            </p:cNvSpPr>
            <p:nvPr>
              <p:custDataLst>
                <p:tags r:id="rId63"/>
              </p:custDataLst>
            </p:nvPr>
          </p:nvSpPr>
          <p:spPr bwMode="gray">
            <a:xfrm>
              <a:off x="9077317" y="3448657"/>
              <a:ext cx="74419" cy="98911"/>
            </a:xfrm>
            <a:custGeom>
              <a:avLst/>
              <a:gdLst/>
              <a:ahLst/>
              <a:cxnLst>
                <a:cxn ang="0">
                  <a:pos x="0" y="13"/>
                </a:cxn>
                <a:cxn ang="0">
                  <a:pos x="5" y="6"/>
                </a:cxn>
                <a:cxn ang="0">
                  <a:pos x="22" y="0"/>
                </a:cxn>
                <a:cxn ang="0">
                  <a:pos x="41" y="19"/>
                </a:cxn>
                <a:cxn ang="0">
                  <a:pos x="58" y="47"/>
                </a:cxn>
                <a:cxn ang="0">
                  <a:pos x="58" y="60"/>
                </a:cxn>
                <a:cxn ang="0">
                  <a:pos x="26" y="77"/>
                </a:cxn>
                <a:cxn ang="0">
                  <a:pos x="15" y="58"/>
                </a:cxn>
                <a:cxn ang="0">
                  <a:pos x="18" y="50"/>
                </a:cxn>
                <a:cxn ang="0">
                  <a:pos x="0" y="28"/>
                </a:cxn>
                <a:cxn ang="0">
                  <a:pos x="9" y="28"/>
                </a:cxn>
                <a:cxn ang="0">
                  <a:pos x="2" y="21"/>
                </a:cxn>
                <a:cxn ang="0">
                  <a:pos x="0" y="13"/>
                </a:cxn>
                <a:cxn ang="0">
                  <a:pos x="0" y="13"/>
                </a:cxn>
              </a:cxnLst>
              <a:rect l="0" t="0" r="r" b="b"/>
              <a:pathLst>
                <a:path w="58" h="77">
                  <a:moveTo>
                    <a:pt x="0" y="13"/>
                  </a:moveTo>
                  <a:lnTo>
                    <a:pt x="5" y="6"/>
                  </a:lnTo>
                  <a:lnTo>
                    <a:pt x="22" y="0"/>
                  </a:lnTo>
                  <a:lnTo>
                    <a:pt x="41" y="19"/>
                  </a:lnTo>
                  <a:lnTo>
                    <a:pt x="58" y="47"/>
                  </a:lnTo>
                  <a:lnTo>
                    <a:pt x="58" y="60"/>
                  </a:lnTo>
                  <a:lnTo>
                    <a:pt x="26" y="77"/>
                  </a:lnTo>
                  <a:lnTo>
                    <a:pt x="15" y="58"/>
                  </a:lnTo>
                  <a:lnTo>
                    <a:pt x="18" y="50"/>
                  </a:lnTo>
                  <a:lnTo>
                    <a:pt x="0" y="28"/>
                  </a:lnTo>
                  <a:lnTo>
                    <a:pt x="9" y="28"/>
                  </a:lnTo>
                  <a:lnTo>
                    <a:pt x="2" y="21"/>
                  </a:lnTo>
                  <a:lnTo>
                    <a:pt x="0" y="13"/>
                  </a:lnTo>
                  <a:lnTo>
                    <a:pt x="0" y="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18" name="Freeform 5698"/>
            <p:cNvSpPr>
              <a:spLocks/>
            </p:cNvSpPr>
            <p:nvPr>
              <p:custDataLst>
                <p:tags r:id="rId64"/>
              </p:custDataLst>
            </p:nvPr>
          </p:nvSpPr>
          <p:spPr bwMode="gray">
            <a:xfrm>
              <a:off x="8229193" y="3131371"/>
              <a:ext cx="605620" cy="242782"/>
            </a:xfrm>
            <a:custGeom>
              <a:avLst/>
              <a:gdLst/>
              <a:ahLst/>
              <a:cxnLst>
                <a:cxn ang="0">
                  <a:pos x="393" y="50"/>
                </a:cxn>
                <a:cxn ang="0">
                  <a:pos x="410" y="80"/>
                </a:cxn>
                <a:cxn ang="0">
                  <a:pos x="428" y="82"/>
                </a:cxn>
                <a:cxn ang="0">
                  <a:pos x="445" y="76"/>
                </a:cxn>
                <a:cxn ang="0">
                  <a:pos x="462" y="84"/>
                </a:cxn>
                <a:cxn ang="0">
                  <a:pos x="472" y="99"/>
                </a:cxn>
                <a:cxn ang="0">
                  <a:pos x="436" y="99"/>
                </a:cxn>
                <a:cxn ang="0">
                  <a:pos x="428" y="114"/>
                </a:cxn>
                <a:cxn ang="0">
                  <a:pos x="415" y="120"/>
                </a:cxn>
                <a:cxn ang="0">
                  <a:pos x="406" y="133"/>
                </a:cxn>
                <a:cxn ang="0">
                  <a:pos x="385" y="127"/>
                </a:cxn>
                <a:cxn ang="0">
                  <a:pos x="380" y="136"/>
                </a:cxn>
                <a:cxn ang="0">
                  <a:pos x="391" y="151"/>
                </a:cxn>
                <a:cxn ang="0">
                  <a:pos x="374" y="172"/>
                </a:cxn>
                <a:cxn ang="0">
                  <a:pos x="370" y="174"/>
                </a:cxn>
                <a:cxn ang="0">
                  <a:pos x="339" y="176"/>
                </a:cxn>
                <a:cxn ang="0">
                  <a:pos x="307" y="189"/>
                </a:cxn>
                <a:cxn ang="0">
                  <a:pos x="234" y="168"/>
                </a:cxn>
                <a:cxn ang="0">
                  <a:pos x="176" y="168"/>
                </a:cxn>
                <a:cxn ang="0">
                  <a:pos x="138" y="138"/>
                </a:cxn>
                <a:cxn ang="0">
                  <a:pos x="67" y="121"/>
                </a:cxn>
                <a:cxn ang="0">
                  <a:pos x="58" y="95"/>
                </a:cxn>
                <a:cxn ang="0">
                  <a:pos x="43" y="78"/>
                </a:cxn>
                <a:cxn ang="0">
                  <a:pos x="22" y="75"/>
                </a:cxn>
                <a:cxn ang="0">
                  <a:pos x="0" y="56"/>
                </a:cxn>
                <a:cxn ang="0">
                  <a:pos x="3" y="48"/>
                </a:cxn>
                <a:cxn ang="0">
                  <a:pos x="44" y="28"/>
                </a:cxn>
                <a:cxn ang="0">
                  <a:pos x="80" y="30"/>
                </a:cxn>
                <a:cxn ang="0">
                  <a:pos x="97" y="39"/>
                </a:cxn>
                <a:cxn ang="0">
                  <a:pos x="134" y="37"/>
                </a:cxn>
                <a:cxn ang="0">
                  <a:pos x="133" y="26"/>
                </a:cxn>
                <a:cxn ang="0">
                  <a:pos x="123" y="13"/>
                </a:cxn>
                <a:cxn ang="0">
                  <a:pos x="134" y="0"/>
                </a:cxn>
                <a:cxn ang="0">
                  <a:pos x="177" y="11"/>
                </a:cxn>
                <a:cxn ang="0">
                  <a:pos x="204" y="31"/>
                </a:cxn>
                <a:cxn ang="0">
                  <a:pos x="239" y="28"/>
                </a:cxn>
                <a:cxn ang="0">
                  <a:pos x="314" y="52"/>
                </a:cxn>
                <a:cxn ang="0">
                  <a:pos x="314" y="52"/>
                </a:cxn>
                <a:cxn ang="0">
                  <a:pos x="354" y="46"/>
                </a:cxn>
                <a:cxn ang="0">
                  <a:pos x="370" y="33"/>
                </a:cxn>
                <a:cxn ang="0">
                  <a:pos x="397" y="39"/>
                </a:cxn>
                <a:cxn ang="0">
                  <a:pos x="393" y="50"/>
                </a:cxn>
                <a:cxn ang="0">
                  <a:pos x="393" y="50"/>
                </a:cxn>
              </a:cxnLst>
              <a:rect l="0" t="0" r="r" b="b"/>
              <a:pathLst>
                <a:path w="472" h="189">
                  <a:moveTo>
                    <a:pt x="393" y="50"/>
                  </a:moveTo>
                  <a:lnTo>
                    <a:pt x="410" y="80"/>
                  </a:lnTo>
                  <a:lnTo>
                    <a:pt x="428" y="82"/>
                  </a:lnTo>
                  <a:lnTo>
                    <a:pt x="445" y="76"/>
                  </a:lnTo>
                  <a:lnTo>
                    <a:pt x="462" y="84"/>
                  </a:lnTo>
                  <a:lnTo>
                    <a:pt x="472" y="99"/>
                  </a:lnTo>
                  <a:lnTo>
                    <a:pt x="436" y="99"/>
                  </a:lnTo>
                  <a:lnTo>
                    <a:pt x="428" y="114"/>
                  </a:lnTo>
                  <a:lnTo>
                    <a:pt x="415" y="120"/>
                  </a:lnTo>
                  <a:lnTo>
                    <a:pt x="406" y="133"/>
                  </a:lnTo>
                  <a:lnTo>
                    <a:pt x="385" y="127"/>
                  </a:lnTo>
                  <a:lnTo>
                    <a:pt x="380" y="136"/>
                  </a:lnTo>
                  <a:lnTo>
                    <a:pt x="391" y="151"/>
                  </a:lnTo>
                  <a:lnTo>
                    <a:pt x="374" y="172"/>
                  </a:lnTo>
                  <a:lnTo>
                    <a:pt x="370" y="174"/>
                  </a:lnTo>
                  <a:lnTo>
                    <a:pt x="339" y="176"/>
                  </a:lnTo>
                  <a:lnTo>
                    <a:pt x="307" y="189"/>
                  </a:lnTo>
                  <a:lnTo>
                    <a:pt x="234" y="168"/>
                  </a:lnTo>
                  <a:lnTo>
                    <a:pt x="176" y="168"/>
                  </a:lnTo>
                  <a:lnTo>
                    <a:pt x="138" y="138"/>
                  </a:lnTo>
                  <a:lnTo>
                    <a:pt x="67" y="121"/>
                  </a:lnTo>
                  <a:lnTo>
                    <a:pt x="58" y="95"/>
                  </a:lnTo>
                  <a:lnTo>
                    <a:pt x="43" y="78"/>
                  </a:lnTo>
                  <a:lnTo>
                    <a:pt x="22" y="75"/>
                  </a:lnTo>
                  <a:lnTo>
                    <a:pt x="0" y="56"/>
                  </a:lnTo>
                  <a:lnTo>
                    <a:pt x="3" y="48"/>
                  </a:lnTo>
                  <a:lnTo>
                    <a:pt x="44" y="28"/>
                  </a:lnTo>
                  <a:lnTo>
                    <a:pt x="80" y="30"/>
                  </a:lnTo>
                  <a:lnTo>
                    <a:pt x="97" y="39"/>
                  </a:lnTo>
                  <a:lnTo>
                    <a:pt x="134" y="37"/>
                  </a:lnTo>
                  <a:lnTo>
                    <a:pt x="133" y="26"/>
                  </a:lnTo>
                  <a:lnTo>
                    <a:pt x="123" y="13"/>
                  </a:lnTo>
                  <a:lnTo>
                    <a:pt x="134" y="0"/>
                  </a:lnTo>
                  <a:lnTo>
                    <a:pt x="177" y="11"/>
                  </a:lnTo>
                  <a:lnTo>
                    <a:pt x="204" y="31"/>
                  </a:lnTo>
                  <a:lnTo>
                    <a:pt x="239" y="28"/>
                  </a:lnTo>
                  <a:lnTo>
                    <a:pt x="314" y="52"/>
                  </a:lnTo>
                  <a:lnTo>
                    <a:pt x="314" y="52"/>
                  </a:lnTo>
                  <a:lnTo>
                    <a:pt x="354" y="46"/>
                  </a:lnTo>
                  <a:lnTo>
                    <a:pt x="370" y="33"/>
                  </a:lnTo>
                  <a:lnTo>
                    <a:pt x="397" y="39"/>
                  </a:lnTo>
                  <a:lnTo>
                    <a:pt x="393" y="50"/>
                  </a:lnTo>
                  <a:lnTo>
                    <a:pt x="393" y="5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19" name="Freeform 5699"/>
            <p:cNvSpPr>
              <a:spLocks/>
            </p:cNvSpPr>
            <p:nvPr>
              <p:custDataLst>
                <p:tags r:id="rId65"/>
              </p:custDataLst>
            </p:nvPr>
          </p:nvSpPr>
          <p:spPr bwMode="gray">
            <a:xfrm>
              <a:off x="7115469" y="3366445"/>
              <a:ext cx="370814" cy="142586"/>
            </a:xfrm>
            <a:custGeom>
              <a:avLst/>
              <a:gdLst/>
              <a:ahLst/>
              <a:cxnLst>
                <a:cxn ang="0">
                  <a:pos x="257" y="17"/>
                </a:cxn>
                <a:cxn ang="0">
                  <a:pos x="251" y="8"/>
                </a:cxn>
                <a:cxn ang="0">
                  <a:pos x="231" y="6"/>
                </a:cxn>
                <a:cxn ang="0">
                  <a:pos x="231" y="6"/>
                </a:cxn>
                <a:cxn ang="0">
                  <a:pos x="206" y="17"/>
                </a:cxn>
                <a:cxn ang="0">
                  <a:pos x="167" y="17"/>
                </a:cxn>
                <a:cxn ang="0">
                  <a:pos x="131" y="0"/>
                </a:cxn>
                <a:cxn ang="0">
                  <a:pos x="105" y="0"/>
                </a:cxn>
                <a:cxn ang="0">
                  <a:pos x="75" y="17"/>
                </a:cxn>
                <a:cxn ang="0">
                  <a:pos x="56" y="17"/>
                </a:cxn>
                <a:cxn ang="0">
                  <a:pos x="38" y="11"/>
                </a:cxn>
                <a:cxn ang="0">
                  <a:pos x="28" y="2"/>
                </a:cxn>
                <a:cxn ang="0">
                  <a:pos x="4" y="2"/>
                </a:cxn>
                <a:cxn ang="0">
                  <a:pos x="4" y="2"/>
                </a:cxn>
                <a:cxn ang="0">
                  <a:pos x="0" y="26"/>
                </a:cxn>
                <a:cxn ang="0">
                  <a:pos x="8" y="25"/>
                </a:cxn>
                <a:cxn ang="0">
                  <a:pos x="4" y="34"/>
                </a:cxn>
                <a:cxn ang="0">
                  <a:pos x="21" y="19"/>
                </a:cxn>
                <a:cxn ang="0">
                  <a:pos x="41" y="17"/>
                </a:cxn>
                <a:cxn ang="0">
                  <a:pos x="51" y="25"/>
                </a:cxn>
                <a:cxn ang="0">
                  <a:pos x="43" y="25"/>
                </a:cxn>
                <a:cxn ang="0">
                  <a:pos x="47" y="30"/>
                </a:cxn>
                <a:cxn ang="0">
                  <a:pos x="12" y="30"/>
                </a:cxn>
                <a:cxn ang="0">
                  <a:pos x="4" y="36"/>
                </a:cxn>
                <a:cxn ang="0">
                  <a:pos x="0" y="47"/>
                </a:cxn>
                <a:cxn ang="0">
                  <a:pos x="13" y="45"/>
                </a:cxn>
                <a:cxn ang="0">
                  <a:pos x="15" y="66"/>
                </a:cxn>
                <a:cxn ang="0">
                  <a:pos x="8" y="62"/>
                </a:cxn>
                <a:cxn ang="0">
                  <a:pos x="6" y="68"/>
                </a:cxn>
                <a:cxn ang="0">
                  <a:pos x="21" y="73"/>
                </a:cxn>
                <a:cxn ang="0">
                  <a:pos x="19" y="81"/>
                </a:cxn>
                <a:cxn ang="0">
                  <a:pos x="26" y="86"/>
                </a:cxn>
                <a:cxn ang="0">
                  <a:pos x="21" y="92"/>
                </a:cxn>
                <a:cxn ang="0">
                  <a:pos x="36" y="92"/>
                </a:cxn>
                <a:cxn ang="0">
                  <a:pos x="34" y="96"/>
                </a:cxn>
                <a:cxn ang="0">
                  <a:pos x="62" y="107"/>
                </a:cxn>
                <a:cxn ang="0">
                  <a:pos x="73" y="101"/>
                </a:cxn>
                <a:cxn ang="0">
                  <a:pos x="75" y="94"/>
                </a:cxn>
                <a:cxn ang="0">
                  <a:pos x="85" y="96"/>
                </a:cxn>
                <a:cxn ang="0">
                  <a:pos x="107" y="111"/>
                </a:cxn>
                <a:cxn ang="0">
                  <a:pos x="120" y="107"/>
                </a:cxn>
                <a:cxn ang="0">
                  <a:pos x="133" y="94"/>
                </a:cxn>
                <a:cxn ang="0">
                  <a:pos x="150" y="100"/>
                </a:cxn>
                <a:cxn ang="0">
                  <a:pos x="156" y="92"/>
                </a:cxn>
                <a:cxn ang="0">
                  <a:pos x="158" y="111"/>
                </a:cxn>
                <a:cxn ang="0">
                  <a:pos x="158" y="111"/>
                </a:cxn>
                <a:cxn ang="0">
                  <a:pos x="167" y="103"/>
                </a:cxn>
                <a:cxn ang="0">
                  <a:pos x="165" y="94"/>
                </a:cxn>
                <a:cxn ang="0">
                  <a:pos x="191" y="92"/>
                </a:cxn>
                <a:cxn ang="0">
                  <a:pos x="206" y="96"/>
                </a:cxn>
                <a:cxn ang="0">
                  <a:pos x="229" y="88"/>
                </a:cxn>
                <a:cxn ang="0">
                  <a:pos x="255" y="88"/>
                </a:cxn>
                <a:cxn ang="0">
                  <a:pos x="261" y="83"/>
                </a:cxn>
                <a:cxn ang="0">
                  <a:pos x="289" y="86"/>
                </a:cxn>
                <a:cxn ang="0">
                  <a:pos x="274" y="47"/>
                </a:cxn>
                <a:cxn ang="0">
                  <a:pos x="279" y="38"/>
                </a:cxn>
                <a:cxn ang="0">
                  <a:pos x="279" y="38"/>
                </a:cxn>
                <a:cxn ang="0">
                  <a:pos x="268" y="30"/>
                </a:cxn>
                <a:cxn ang="0">
                  <a:pos x="257" y="17"/>
                </a:cxn>
                <a:cxn ang="0">
                  <a:pos x="257" y="17"/>
                </a:cxn>
              </a:cxnLst>
              <a:rect l="0" t="0" r="r" b="b"/>
              <a:pathLst>
                <a:path w="289" h="111">
                  <a:moveTo>
                    <a:pt x="257" y="17"/>
                  </a:moveTo>
                  <a:lnTo>
                    <a:pt x="251" y="8"/>
                  </a:lnTo>
                  <a:lnTo>
                    <a:pt x="231" y="6"/>
                  </a:lnTo>
                  <a:lnTo>
                    <a:pt x="231" y="6"/>
                  </a:lnTo>
                  <a:lnTo>
                    <a:pt x="206" y="17"/>
                  </a:lnTo>
                  <a:lnTo>
                    <a:pt x="167" y="17"/>
                  </a:lnTo>
                  <a:lnTo>
                    <a:pt x="131" y="0"/>
                  </a:lnTo>
                  <a:lnTo>
                    <a:pt x="105" y="0"/>
                  </a:lnTo>
                  <a:lnTo>
                    <a:pt x="75" y="17"/>
                  </a:lnTo>
                  <a:lnTo>
                    <a:pt x="56" y="17"/>
                  </a:lnTo>
                  <a:lnTo>
                    <a:pt x="38" y="11"/>
                  </a:lnTo>
                  <a:lnTo>
                    <a:pt x="28" y="2"/>
                  </a:lnTo>
                  <a:lnTo>
                    <a:pt x="4" y="2"/>
                  </a:lnTo>
                  <a:lnTo>
                    <a:pt x="4" y="2"/>
                  </a:lnTo>
                  <a:lnTo>
                    <a:pt x="0" y="26"/>
                  </a:lnTo>
                  <a:lnTo>
                    <a:pt x="8" y="25"/>
                  </a:lnTo>
                  <a:lnTo>
                    <a:pt x="4" y="34"/>
                  </a:lnTo>
                  <a:lnTo>
                    <a:pt x="21" y="19"/>
                  </a:lnTo>
                  <a:lnTo>
                    <a:pt x="41" y="17"/>
                  </a:lnTo>
                  <a:lnTo>
                    <a:pt x="51" y="25"/>
                  </a:lnTo>
                  <a:lnTo>
                    <a:pt x="43" y="25"/>
                  </a:lnTo>
                  <a:lnTo>
                    <a:pt x="47" y="30"/>
                  </a:lnTo>
                  <a:lnTo>
                    <a:pt x="12" y="30"/>
                  </a:lnTo>
                  <a:lnTo>
                    <a:pt x="4" y="36"/>
                  </a:lnTo>
                  <a:lnTo>
                    <a:pt x="0" y="47"/>
                  </a:lnTo>
                  <a:lnTo>
                    <a:pt x="13" y="45"/>
                  </a:lnTo>
                  <a:lnTo>
                    <a:pt x="15" y="66"/>
                  </a:lnTo>
                  <a:lnTo>
                    <a:pt x="8" y="62"/>
                  </a:lnTo>
                  <a:lnTo>
                    <a:pt x="6" y="68"/>
                  </a:lnTo>
                  <a:lnTo>
                    <a:pt x="21" y="73"/>
                  </a:lnTo>
                  <a:lnTo>
                    <a:pt x="19" y="81"/>
                  </a:lnTo>
                  <a:lnTo>
                    <a:pt x="26" y="86"/>
                  </a:lnTo>
                  <a:lnTo>
                    <a:pt x="21" y="92"/>
                  </a:lnTo>
                  <a:lnTo>
                    <a:pt x="36" y="92"/>
                  </a:lnTo>
                  <a:lnTo>
                    <a:pt x="34" y="96"/>
                  </a:lnTo>
                  <a:lnTo>
                    <a:pt x="62" y="107"/>
                  </a:lnTo>
                  <a:lnTo>
                    <a:pt x="73" y="101"/>
                  </a:lnTo>
                  <a:lnTo>
                    <a:pt x="75" y="94"/>
                  </a:lnTo>
                  <a:lnTo>
                    <a:pt x="85" y="96"/>
                  </a:lnTo>
                  <a:lnTo>
                    <a:pt x="107" y="111"/>
                  </a:lnTo>
                  <a:lnTo>
                    <a:pt x="120" y="107"/>
                  </a:lnTo>
                  <a:lnTo>
                    <a:pt x="133" y="94"/>
                  </a:lnTo>
                  <a:lnTo>
                    <a:pt x="150" y="100"/>
                  </a:lnTo>
                  <a:lnTo>
                    <a:pt x="156" y="92"/>
                  </a:lnTo>
                  <a:lnTo>
                    <a:pt x="158" y="111"/>
                  </a:lnTo>
                  <a:lnTo>
                    <a:pt x="158" y="111"/>
                  </a:lnTo>
                  <a:lnTo>
                    <a:pt x="167" y="103"/>
                  </a:lnTo>
                  <a:lnTo>
                    <a:pt x="165" y="94"/>
                  </a:lnTo>
                  <a:lnTo>
                    <a:pt x="191" y="92"/>
                  </a:lnTo>
                  <a:lnTo>
                    <a:pt x="206" y="96"/>
                  </a:lnTo>
                  <a:lnTo>
                    <a:pt x="229" y="88"/>
                  </a:lnTo>
                  <a:lnTo>
                    <a:pt x="255" y="88"/>
                  </a:lnTo>
                  <a:lnTo>
                    <a:pt x="261" y="83"/>
                  </a:lnTo>
                  <a:lnTo>
                    <a:pt x="289" y="86"/>
                  </a:lnTo>
                  <a:lnTo>
                    <a:pt x="274" y="47"/>
                  </a:lnTo>
                  <a:lnTo>
                    <a:pt x="279" y="38"/>
                  </a:lnTo>
                  <a:lnTo>
                    <a:pt x="279" y="38"/>
                  </a:lnTo>
                  <a:lnTo>
                    <a:pt x="268" y="30"/>
                  </a:lnTo>
                  <a:lnTo>
                    <a:pt x="257" y="17"/>
                  </a:lnTo>
                  <a:lnTo>
                    <a:pt x="257" y="17"/>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20" name="Freeform 5700"/>
            <p:cNvSpPr>
              <a:spLocks/>
            </p:cNvSpPr>
            <p:nvPr>
              <p:custDataLst>
                <p:tags r:id="rId66"/>
              </p:custDataLst>
            </p:nvPr>
          </p:nvSpPr>
          <p:spPr bwMode="gray">
            <a:xfrm>
              <a:off x="7313065" y="3479486"/>
              <a:ext cx="129592" cy="113041"/>
            </a:xfrm>
            <a:custGeom>
              <a:avLst/>
              <a:gdLst/>
              <a:ahLst/>
              <a:cxnLst>
                <a:cxn ang="0">
                  <a:pos x="101" y="0"/>
                </a:cxn>
                <a:cxn ang="0">
                  <a:pos x="75" y="0"/>
                </a:cxn>
                <a:cxn ang="0">
                  <a:pos x="52" y="8"/>
                </a:cxn>
                <a:cxn ang="0">
                  <a:pos x="37" y="4"/>
                </a:cxn>
                <a:cxn ang="0">
                  <a:pos x="11" y="6"/>
                </a:cxn>
                <a:cxn ang="0">
                  <a:pos x="13" y="15"/>
                </a:cxn>
                <a:cxn ang="0">
                  <a:pos x="4" y="23"/>
                </a:cxn>
                <a:cxn ang="0">
                  <a:pos x="4" y="23"/>
                </a:cxn>
                <a:cxn ang="0">
                  <a:pos x="4" y="51"/>
                </a:cxn>
                <a:cxn ang="0">
                  <a:pos x="15" y="53"/>
                </a:cxn>
                <a:cxn ang="0">
                  <a:pos x="2" y="73"/>
                </a:cxn>
                <a:cxn ang="0">
                  <a:pos x="0" y="83"/>
                </a:cxn>
                <a:cxn ang="0">
                  <a:pos x="15" y="88"/>
                </a:cxn>
                <a:cxn ang="0">
                  <a:pos x="49" y="70"/>
                </a:cxn>
                <a:cxn ang="0">
                  <a:pos x="84" y="49"/>
                </a:cxn>
                <a:cxn ang="0">
                  <a:pos x="84" y="13"/>
                </a:cxn>
                <a:cxn ang="0">
                  <a:pos x="101" y="0"/>
                </a:cxn>
                <a:cxn ang="0">
                  <a:pos x="101" y="0"/>
                </a:cxn>
                <a:cxn ang="0">
                  <a:pos x="101" y="0"/>
                </a:cxn>
              </a:cxnLst>
              <a:rect l="0" t="0" r="r" b="b"/>
              <a:pathLst>
                <a:path w="101" h="88">
                  <a:moveTo>
                    <a:pt x="101" y="0"/>
                  </a:moveTo>
                  <a:lnTo>
                    <a:pt x="75" y="0"/>
                  </a:lnTo>
                  <a:lnTo>
                    <a:pt x="52" y="8"/>
                  </a:lnTo>
                  <a:lnTo>
                    <a:pt x="37" y="4"/>
                  </a:lnTo>
                  <a:lnTo>
                    <a:pt x="11" y="6"/>
                  </a:lnTo>
                  <a:lnTo>
                    <a:pt x="13" y="15"/>
                  </a:lnTo>
                  <a:lnTo>
                    <a:pt x="4" y="23"/>
                  </a:lnTo>
                  <a:lnTo>
                    <a:pt x="4" y="23"/>
                  </a:lnTo>
                  <a:lnTo>
                    <a:pt x="4" y="51"/>
                  </a:lnTo>
                  <a:lnTo>
                    <a:pt x="15" y="53"/>
                  </a:lnTo>
                  <a:lnTo>
                    <a:pt x="2" y="73"/>
                  </a:lnTo>
                  <a:lnTo>
                    <a:pt x="0" y="83"/>
                  </a:lnTo>
                  <a:lnTo>
                    <a:pt x="15" y="88"/>
                  </a:lnTo>
                  <a:lnTo>
                    <a:pt x="49" y="70"/>
                  </a:lnTo>
                  <a:lnTo>
                    <a:pt x="84" y="49"/>
                  </a:lnTo>
                  <a:lnTo>
                    <a:pt x="84" y="13"/>
                  </a:lnTo>
                  <a:lnTo>
                    <a:pt x="101" y="0"/>
                  </a:lnTo>
                  <a:lnTo>
                    <a:pt x="101" y="0"/>
                  </a:lnTo>
                  <a:lnTo>
                    <a:pt x="101"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21" name="Freeform 5701"/>
            <p:cNvSpPr>
              <a:spLocks/>
            </p:cNvSpPr>
            <p:nvPr>
              <p:custDataLst>
                <p:tags r:id="rId67"/>
              </p:custDataLst>
            </p:nvPr>
          </p:nvSpPr>
          <p:spPr bwMode="gray">
            <a:xfrm>
              <a:off x="7302800" y="3569406"/>
              <a:ext cx="84684" cy="97627"/>
            </a:xfrm>
            <a:custGeom>
              <a:avLst/>
              <a:gdLst/>
              <a:ahLst/>
              <a:cxnLst>
                <a:cxn ang="0">
                  <a:pos x="8" y="13"/>
                </a:cxn>
                <a:cxn ang="0">
                  <a:pos x="23" y="18"/>
                </a:cxn>
                <a:cxn ang="0">
                  <a:pos x="57" y="0"/>
                </a:cxn>
                <a:cxn ang="0">
                  <a:pos x="66" y="22"/>
                </a:cxn>
                <a:cxn ang="0">
                  <a:pos x="34" y="35"/>
                </a:cxn>
                <a:cxn ang="0">
                  <a:pos x="49" y="52"/>
                </a:cxn>
                <a:cxn ang="0">
                  <a:pos x="40" y="63"/>
                </a:cxn>
                <a:cxn ang="0">
                  <a:pos x="30" y="63"/>
                </a:cxn>
                <a:cxn ang="0">
                  <a:pos x="21" y="76"/>
                </a:cxn>
                <a:cxn ang="0">
                  <a:pos x="4" y="75"/>
                </a:cxn>
                <a:cxn ang="0">
                  <a:pos x="4" y="75"/>
                </a:cxn>
                <a:cxn ang="0">
                  <a:pos x="8" y="41"/>
                </a:cxn>
                <a:cxn ang="0">
                  <a:pos x="0" y="26"/>
                </a:cxn>
                <a:cxn ang="0">
                  <a:pos x="8" y="13"/>
                </a:cxn>
                <a:cxn ang="0">
                  <a:pos x="8" y="13"/>
                </a:cxn>
              </a:cxnLst>
              <a:rect l="0" t="0" r="r" b="b"/>
              <a:pathLst>
                <a:path w="66" h="76">
                  <a:moveTo>
                    <a:pt x="8" y="13"/>
                  </a:moveTo>
                  <a:lnTo>
                    <a:pt x="23" y="18"/>
                  </a:lnTo>
                  <a:lnTo>
                    <a:pt x="57" y="0"/>
                  </a:lnTo>
                  <a:lnTo>
                    <a:pt x="66" y="22"/>
                  </a:lnTo>
                  <a:lnTo>
                    <a:pt x="34" y="35"/>
                  </a:lnTo>
                  <a:lnTo>
                    <a:pt x="49" y="52"/>
                  </a:lnTo>
                  <a:lnTo>
                    <a:pt x="40" y="63"/>
                  </a:lnTo>
                  <a:lnTo>
                    <a:pt x="30" y="63"/>
                  </a:lnTo>
                  <a:lnTo>
                    <a:pt x="21" y="76"/>
                  </a:lnTo>
                  <a:lnTo>
                    <a:pt x="4" y="75"/>
                  </a:lnTo>
                  <a:lnTo>
                    <a:pt x="4" y="75"/>
                  </a:lnTo>
                  <a:lnTo>
                    <a:pt x="8" y="41"/>
                  </a:lnTo>
                  <a:lnTo>
                    <a:pt x="0" y="26"/>
                  </a:lnTo>
                  <a:lnTo>
                    <a:pt x="8" y="13"/>
                  </a:lnTo>
                  <a:lnTo>
                    <a:pt x="8" y="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22" name="Freeform 5702"/>
            <p:cNvSpPr>
              <a:spLocks/>
            </p:cNvSpPr>
            <p:nvPr>
              <p:custDataLst>
                <p:tags r:id="rId68"/>
              </p:custDataLst>
            </p:nvPr>
          </p:nvSpPr>
          <p:spPr bwMode="gray">
            <a:xfrm>
              <a:off x="7375936" y="3473064"/>
              <a:ext cx="206578" cy="196538"/>
            </a:xfrm>
            <a:custGeom>
              <a:avLst/>
              <a:gdLst/>
              <a:ahLst/>
              <a:cxnLst>
                <a:cxn ang="0">
                  <a:pos x="86" y="3"/>
                </a:cxn>
                <a:cxn ang="0">
                  <a:pos x="112" y="39"/>
                </a:cxn>
                <a:cxn ang="0">
                  <a:pos x="103" y="63"/>
                </a:cxn>
                <a:cxn ang="0">
                  <a:pos x="114" y="80"/>
                </a:cxn>
                <a:cxn ang="0">
                  <a:pos x="134" y="91"/>
                </a:cxn>
                <a:cxn ang="0">
                  <a:pos x="144" y="118"/>
                </a:cxn>
                <a:cxn ang="0">
                  <a:pos x="161" y="136"/>
                </a:cxn>
                <a:cxn ang="0">
                  <a:pos x="159" y="138"/>
                </a:cxn>
                <a:cxn ang="0">
                  <a:pos x="159" y="138"/>
                </a:cxn>
                <a:cxn ang="0">
                  <a:pos x="142" y="138"/>
                </a:cxn>
                <a:cxn ang="0">
                  <a:pos x="131" y="153"/>
                </a:cxn>
                <a:cxn ang="0">
                  <a:pos x="131" y="153"/>
                </a:cxn>
                <a:cxn ang="0">
                  <a:pos x="112" y="148"/>
                </a:cxn>
                <a:cxn ang="0">
                  <a:pos x="103" y="151"/>
                </a:cxn>
                <a:cxn ang="0">
                  <a:pos x="82" y="142"/>
                </a:cxn>
                <a:cxn ang="0">
                  <a:pos x="80" y="131"/>
                </a:cxn>
                <a:cxn ang="0">
                  <a:pos x="69" y="123"/>
                </a:cxn>
                <a:cxn ang="0">
                  <a:pos x="33" y="103"/>
                </a:cxn>
                <a:cxn ang="0">
                  <a:pos x="9" y="97"/>
                </a:cxn>
                <a:cxn ang="0">
                  <a:pos x="0" y="75"/>
                </a:cxn>
                <a:cxn ang="0">
                  <a:pos x="35" y="54"/>
                </a:cxn>
                <a:cxn ang="0">
                  <a:pos x="35" y="18"/>
                </a:cxn>
                <a:cxn ang="0">
                  <a:pos x="52" y="5"/>
                </a:cxn>
                <a:cxn ang="0">
                  <a:pos x="58" y="0"/>
                </a:cxn>
                <a:cxn ang="0">
                  <a:pos x="86" y="3"/>
                </a:cxn>
                <a:cxn ang="0">
                  <a:pos x="86" y="3"/>
                </a:cxn>
              </a:cxnLst>
              <a:rect l="0" t="0" r="r" b="b"/>
              <a:pathLst>
                <a:path w="161" h="153">
                  <a:moveTo>
                    <a:pt x="86" y="3"/>
                  </a:moveTo>
                  <a:lnTo>
                    <a:pt x="112" y="39"/>
                  </a:lnTo>
                  <a:lnTo>
                    <a:pt x="103" y="63"/>
                  </a:lnTo>
                  <a:lnTo>
                    <a:pt x="114" y="80"/>
                  </a:lnTo>
                  <a:lnTo>
                    <a:pt x="134" y="91"/>
                  </a:lnTo>
                  <a:lnTo>
                    <a:pt x="144" y="118"/>
                  </a:lnTo>
                  <a:lnTo>
                    <a:pt x="161" y="136"/>
                  </a:lnTo>
                  <a:lnTo>
                    <a:pt x="159" y="138"/>
                  </a:lnTo>
                  <a:lnTo>
                    <a:pt x="159" y="138"/>
                  </a:lnTo>
                  <a:lnTo>
                    <a:pt x="142" y="138"/>
                  </a:lnTo>
                  <a:lnTo>
                    <a:pt x="131" y="153"/>
                  </a:lnTo>
                  <a:lnTo>
                    <a:pt x="131" y="153"/>
                  </a:lnTo>
                  <a:lnTo>
                    <a:pt x="112" y="148"/>
                  </a:lnTo>
                  <a:lnTo>
                    <a:pt x="103" y="151"/>
                  </a:lnTo>
                  <a:lnTo>
                    <a:pt x="82" y="142"/>
                  </a:lnTo>
                  <a:lnTo>
                    <a:pt x="80" y="131"/>
                  </a:lnTo>
                  <a:lnTo>
                    <a:pt x="69" y="123"/>
                  </a:lnTo>
                  <a:lnTo>
                    <a:pt x="33" y="103"/>
                  </a:lnTo>
                  <a:lnTo>
                    <a:pt x="9" y="97"/>
                  </a:lnTo>
                  <a:lnTo>
                    <a:pt x="0" y="75"/>
                  </a:lnTo>
                  <a:lnTo>
                    <a:pt x="35" y="54"/>
                  </a:lnTo>
                  <a:lnTo>
                    <a:pt x="35" y="18"/>
                  </a:lnTo>
                  <a:lnTo>
                    <a:pt x="52" y="5"/>
                  </a:lnTo>
                  <a:lnTo>
                    <a:pt x="58" y="0"/>
                  </a:lnTo>
                  <a:lnTo>
                    <a:pt x="86" y="3"/>
                  </a:lnTo>
                  <a:lnTo>
                    <a:pt x="86" y="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23" name="Freeform 5703"/>
            <p:cNvSpPr>
              <a:spLocks/>
            </p:cNvSpPr>
            <p:nvPr>
              <p:custDataLst>
                <p:tags r:id="rId69"/>
              </p:custDataLst>
            </p:nvPr>
          </p:nvSpPr>
          <p:spPr bwMode="gray">
            <a:xfrm>
              <a:off x="7302800" y="3544999"/>
              <a:ext cx="29511" cy="30829"/>
            </a:xfrm>
            <a:custGeom>
              <a:avLst/>
              <a:gdLst/>
              <a:ahLst/>
              <a:cxnLst>
                <a:cxn ang="0">
                  <a:pos x="12" y="0"/>
                </a:cxn>
                <a:cxn ang="0">
                  <a:pos x="23" y="2"/>
                </a:cxn>
                <a:cxn ang="0">
                  <a:pos x="10" y="22"/>
                </a:cxn>
                <a:cxn ang="0">
                  <a:pos x="0" y="24"/>
                </a:cxn>
                <a:cxn ang="0">
                  <a:pos x="12" y="0"/>
                </a:cxn>
                <a:cxn ang="0">
                  <a:pos x="12" y="0"/>
                </a:cxn>
              </a:cxnLst>
              <a:rect l="0" t="0" r="r" b="b"/>
              <a:pathLst>
                <a:path w="23" h="24">
                  <a:moveTo>
                    <a:pt x="12" y="0"/>
                  </a:moveTo>
                  <a:lnTo>
                    <a:pt x="23" y="2"/>
                  </a:lnTo>
                  <a:lnTo>
                    <a:pt x="10" y="22"/>
                  </a:lnTo>
                  <a:lnTo>
                    <a:pt x="0" y="24"/>
                  </a:lnTo>
                  <a:lnTo>
                    <a:pt x="12" y="0"/>
                  </a:lnTo>
                  <a:lnTo>
                    <a:pt x="12"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24" name="Freeform 5704"/>
            <p:cNvSpPr>
              <a:spLocks/>
            </p:cNvSpPr>
            <p:nvPr>
              <p:custDataLst>
                <p:tags r:id="rId70"/>
              </p:custDataLst>
            </p:nvPr>
          </p:nvSpPr>
          <p:spPr bwMode="gray">
            <a:xfrm>
              <a:off x="7288686" y="3573259"/>
              <a:ext cx="26945" cy="92488"/>
            </a:xfrm>
            <a:custGeom>
              <a:avLst/>
              <a:gdLst/>
              <a:ahLst/>
              <a:cxnLst>
                <a:cxn ang="0">
                  <a:pos x="19" y="10"/>
                </a:cxn>
                <a:cxn ang="0">
                  <a:pos x="11" y="23"/>
                </a:cxn>
                <a:cxn ang="0">
                  <a:pos x="19" y="38"/>
                </a:cxn>
                <a:cxn ang="0">
                  <a:pos x="15" y="72"/>
                </a:cxn>
                <a:cxn ang="0">
                  <a:pos x="15" y="72"/>
                </a:cxn>
                <a:cxn ang="0">
                  <a:pos x="0" y="36"/>
                </a:cxn>
                <a:cxn ang="0">
                  <a:pos x="4" y="32"/>
                </a:cxn>
                <a:cxn ang="0">
                  <a:pos x="11" y="2"/>
                </a:cxn>
                <a:cxn ang="0">
                  <a:pos x="21" y="0"/>
                </a:cxn>
                <a:cxn ang="0">
                  <a:pos x="19" y="10"/>
                </a:cxn>
                <a:cxn ang="0">
                  <a:pos x="19" y="10"/>
                </a:cxn>
              </a:cxnLst>
              <a:rect l="0" t="0" r="r" b="b"/>
              <a:pathLst>
                <a:path w="21" h="72">
                  <a:moveTo>
                    <a:pt x="19" y="10"/>
                  </a:moveTo>
                  <a:lnTo>
                    <a:pt x="11" y="23"/>
                  </a:lnTo>
                  <a:lnTo>
                    <a:pt x="19" y="38"/>
                  </a:lnTo>
                  <a:lnTo>
                    <a:pt x="15" y="72"/>
                  </a:lnTo>
                  <a:lnTo>
                    <a:pt x="15" y="72"/>
                  </a:lnTo>
                  <a:lnTo>
                    <a:pt x="0" y="36"/>
                  </a:lnTo>
                  <a:lnTo>
                    <a:pt x="4" y="32"/>
                  </a:lnTo>
                  <a:lnTo>
                    <a:pt x="11" y="2"/>
                  </a:lnTo>
                  <a:lnTo>
                    <a:pt x="21" y="0"/>
                  </a:lnTo>
                  <a:lnTo>
                    <a:pt x="19" y="10"/>
                  </a:lnTo>
                  <a:lnTo>
                    <a:pt x="19" y="1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25" name="Freeform 5705"/>
            <p:cNvSpPr>
              <a:spLocks/>
            </p:cNvSpPr>
            <p:nvPr>
              <p:custDataLst>
                <p:tags r:id="rId71"/>
              </p:custDataLst>
            </p:nvPr>
          </p:nvSpPr>
          <p:spPr bwMode="gray">
            <a:xfrm>
              <a:off x="7101355" y="3607942"/>
              <a:ext cx="228390" cy="232505"/>
            </a:xfrm>
            <a:custGeom>
              <a:avLst/>
              <a:gdLst/>
              <a:ahLst/>
              <a:cxnLst>
                <a:cxn ang="0">
                  <a:pos x="146" y="9"/>
                </a:cxn>
                <a:cxn ang="0">
                  <a:pos x="124" y="13"/>
                </a:cxn>
                <a:cxn ang="0">
                  <a:pos x="118" y="9"/>
                </a:cxn>
                <a:cxn ang="0">
                  <a:pos x="116" y="16"/>
                </a:cxn>
                <a:cxn ang="0">
                  <a:pos x="109" y="13"/>
                </a:cxn>
                <a:cxn ang="0">
                  <a:pos x="111" y="5"/>
                </a:cxn>
                <a:cxn ang="0">
                  <a:pos x="99" y="5"/>
                </a:cxn>
                <a:cxn ang="0">
                  <a:pos x="67" y="16"/>
                </a:cxn>
                <a:cxn ang="0">
                  <a:pos x="34" y="5"/>
                </a:cxn>
                <a:cxn ang="0">
                  <a:pos x="6" y="5"/>
                </a:cxn>
                <a:cxn ang="0">
                  <a:pos x="4" y="0"/>
                </a:cxn>
                <a:cxn ang="0">
                  <a:pos x="0" y="35"/>
                </a:cxn>
                <a:cxn ang="0">
                  <a:pos x="6" y="56"/>
                </a:cxn>
                <a:cxn ang="0">
                  <a:pos x="9" y="178"/>
                </a:cxn>
                <a:cxn ang="0">
                  <a:pos x="9" y="178"/>
                </a:cxn>
                <a:cxn ang="0">
                  <a:pos x="141" y="178"/>
                </a:cxn>
                <a:cxn ang="0">
                  <a:pos x="154" y="181"/>
                </a:cxn>
                <a:cxn ang="0">
                  <a:pos x="178" y="159"/>
                </a:cxn>
                <a:cxn ang="0">
                  <a:pos x="176" y="144"/>
                </a:cxn>
                <a:cxn ang="0">
                  <a:pos x="126" y="50"/>
                </a:cxn>
                <a:cxn ang="0">
                  <a:pos x="120" y="35"/>
                </a:cxn>
                <a:cxn ang="0">
                  <a:pos x="124" y="31"/>
                </a:cxn>
                <a:cxn ang="0">
                  <a:pos x="139" y="61"/>
                </a:cxn>
                <a:cxn ang="0">
                  <a:pos x="150" y="74"/>
                </a:cxn>
                <a:cxn ang="0">
                  <a:pos x="161" y="45"/>
                </a:cxn>
                <a:cxn ang="0">
                  <a:pos x="146" y="9"/>
                </a:cxn>
                <a:cxn ang="0">
                  <a:pos x="146" y="9"/>
                </a:cxn>
              </a:cxnLst>
              <a:rect l="0" t="0" r="r" b="b"/>
              <a:pathLst>
                <a:path w="178" h="181">
                  <a:moveTo>
                    <a:pt x="146" y="9"/>
                  </a:moveTo>
                  <a:lnTo>
                    <a:pt x="124" y="13"/>
                  </a:lnTo>
                  <a:lnTo>
                    <a:pt x="118" y="9"/>
                  </a:lnTo>
                  <a:lnTo>
                    <a:pt x="116" y="16"/>
                  </a:lnTo>
                  <a:lnTo>
                    <a:pt x="109" y="13"/>
                  </a:lnTo>
                  <a:lnTo>
                    <a:pt x="111" y="5"/>
                  </a:lnTo>
                  <a:lnTo>
                    <a:pt x="99" y="5"/>
                  </a:lnTo>
                  <a:lnTo>
                    <a:pt x="67" y="16"/>
                  </a:lnTo>
                  <a:lnTo>
                    <a:pt x="34" y="5"/>
                  </a:lnTo>
                  <a:lnTo>
                    <a:pt x="6" y="5"/>
                  </a:lnTo>
                  <a:lnTo>
                    <a:pt x="4" y="0"/>
                  </a:lnTo>
                  <a:lnTo>
                    <a:pt x="0" y="35"/>
                  </a:lnTo>
                  <a:lnTo>
                    <a:pt x="6" y="56"/>
                  </a:lnTo>
                  <a:lnTo>
                    <a:pt x="9" y="178"/>
                  </a:lnTo>
                  <a:lnTo>
                    <a:pt x="9" y="178"/>
                  </a:lnTo>
                  <a:lnTo>
                    <a:pt x="141" y="178"/>
                  </a:lnTo>
                  <a:lnTo>
                    <a:pt x="154" y="181"/>
                  </a:lnTo>
                  <a:lnTo>
                    <a:pt x="178" y="159"/>
                  </a:lnTo>
                  <a:lnTo>
                    <a:pt x="176" y="144"/>
                  </a:lnTo>
                  <a:lnTo>
                    <a:pt x="126" y="50"/>
                  </a:lnTo>
                  <a:lnTo>
                    <a:pt x="120" y="35"/>
                  </a:lnTo>
                  <a:lnTo>
                    <a:pt x="124" y="31"/>
                  </a:lnTo>
                  <a:lnTo>
                    <a:pt x="139" y="61"/>
                  </a:lnTo>
                  <a:lnTo>
                    <a:pt x="150" y="74"/>
                  </a:lnTo>
                  <a:lnTo>
                    <a:pt x="161" y="45"/>
                  </a:lnTo>
                  <a:lnTo>
                    <a:pt x="146" y="9"/>
                  </a:lnTo>
                  <a:lnTo>
                    <a:pt x="146" y="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26" name="Freeform 5706"/>
            <p:cNvSpPr>
              <a:spLocks/>
            </p:cNvSpPr>
            <p:nvPr>
              <p:custDataLst>
                <p:tags r:id="rId72"/>
              </p:custDataLst>
            </p:nvPr>
          </p:nvSpPr>
          <p:spPr bwMode="gray">
            <a:xfrm>
              <a:off x="7286120" y="3931651"/>
              <a:ext cx="310508" cy="344262"/>
            </a:xfrm>
            <a:custGeom>
              <a:avLst/>
              <a:gdLst/>
              <a:ahLst/>
              <a:cxnLst>
                <a:cxn ang="0">
                  <a:pos x="60" y="248"/>
                </a:cxn>
                <a:cxn ang="0">
                  <a:pos x="79" y="265"/>
                </a:cxn>
                <a:cxn ang="0">
                  <a:pos x="98" y="268"/>
                </a:cxn>
                <a:cxn ang="0">
                  <a:pos x="128" y="255"/>
                </a:cxn>
                <a:cxn ang="0">
                  <a:pos x="144" y="261"/>
                </a:cxn>
                <a:cxn ang="0">
                  <a:pos x="144" y="261"/>
                </a:cxn>
                <a:cxn ang="0">
                  <a:pos x="174" y="242"/>
                </a:cxn>
                <a:cxn ang="0">
                  <a:pos x="197" y="240"/>
                </a:cxn>
                <a:cxn ang="0">
                  <a:pos x="242" y="186"/>
                </a:cxn>
                <a:cxn ang="0">
                  <a:pos x="229" y="186"/>
                </a:cxn>
                <a:cxn ang="0">
                  <a:pos x="178" y="165"/>
                </a:cxn>
                <a:cxn ang="0">
                  <a:pos x="159" y="143"/>
                </a:cxn>
                <a:cxn ang="0">
                  <a:pos x="159" y="133"/>
                </a:cxn>
                <a:cxn ang="0">
                  <a:pos x="159" y="132"/>
                </a:cxn>
                <a:cxn ang="0">
                  <a:pos x="143" y="132"/>
                </a:cxn>
                <a:cxn ang="0">
                  <a:pos x="143" y="126"/>
                </a:cxn>
                <a:cxn ang="0">
                  <a:pos x="148" y="107"/>
                </a:cxn>
                <a:cxn ang="0">
                  <a:pos x="158" y="100"/>
                </a:cxn>
                <a:cxn ang="0">
                  <a:pos x="158" y="98"/>
                </a:cxn>
                <a:cxn ang="0">
                  <a:pos x="130" y="64"/>
                </a:cxn>
                <a:cxn ang="0">
                  <a:pos x="101" y="45"/>
                </a:cxn>
                <a:cxn ang="0">
                  <a:pos x="85" y="0"/>
                </a:cxn>
                <a:cxn ang="0">
                  <a:pos x="79" y="10"/>
                </a:cxn>
                <a:cxn ang="0">
                  <a:pos x="60" y="21"/>
                </a:cxn>
                <a:cxn ang="0">
                  <a:pos x="49" y="94"/>
                </a:cxn>
                <a:cxn ang="0">
                  <a:pos x="21" y="141"/>
                </a:cxn>
                <a:cxn ang="0">
                  <a:pos x="19" y="175"/>
                </a:cxn>
                <a:cxn ang="0">
                  <a:pos x="6" y="178"/>
                </a:cxn>
                <a:cxn ang="0">
                  <a:pos x="0" y="188"/>
                </a:cxn>
                <a:cxn ang="0">
                  <a:pos x="17" y="197"/>
                </a:cxn>
                <a:cxn ang="0">
                  <a:pos x="34" y="231"/>
                </a:cxn>
                <a:cxn ang="0">
                  <a:pos x="47" y="235"/>
                </a:cxn>
                <a:cxn ang="0">
                  <a:pos x="47" y="248"/>
                </a:cxn>
                <a:cxn ang="0">
                  <a:pos x="60" y="248"/>
                </a:cxn>
                <a:cxn ang="0">
                  <a:pos x="60" y="248"/>
                </a:cxn>
              </a:cxnLst>
              <a:rect l="0" t="0" r="r" b="b"/>
              <a:pathLst>
                <a:path w="242" h="268">
                  <a:moveTo>
                    <a:pt x="60" y="248"/>
                  </a:moveTo>
                  <a:lnTo>
                    <a:pt x="79" y="265"/>
                  </a:lnTo>
                  <a:lnTo>
                    <a:pt x="98" y="268"/>
                  </a:lnTo>
                  <a:lnTo>
                    <a:pt x="128" y="255"/>
                  </a:lnTo>
                  <a:lnTo>
                    <a:pt x="144" y="261"/>
                  </a:lnTo>
                  <a:lnTo>
                    <a:pt x="144" y="261"/>
                  </a:lnTo>
                  <a:lnTo>
                    <a:pt x="174" y="242"/>
                  </a:lnTo>
                  <a:lnTo>
                    <a:pt x="197" y="240"/>
                  </a:lnTo>
                  <a:lnTo>
                    <a:pt x="242" y="186"/>
                  </a:lnTo>
                  <a:lnTo>
                    <a:pt x="229" y="186"/>
                  </a:lnTo>
                  <a:lnTo>
                    <a:pt x="178" y="165"/>
                  </a:lnTo>
                  <a:lnTo>
                    <a:pt x="159" y="143"/>
                  </a:lnTo>
                  <a:lnTo>
                    <a:pt x="159" y="133"/>
                  </a:lnTo>
                  <a:lnTo>
                    <a:pt x="159" y="132"/>
                  </a:lnTo>
                  <a:lnTo>
                    <a:pt x="143" y="132"/>
                  </a:lnTo>
                  <a:lnTo>
                    <a:pt x="143" y="126"/>
                  </a:lnTo>
                  <a:lnTo>
                    <a:pt x="148" y="107"/>
                  </a:lnTo>
                  <a:lnTo>
                    <a:pt x="158" y="100"/>
                  </a:lnTo>
                  <a:lnTo>
                    <a:pt x="158" y="98"/>
                  </a:lnTo>
                  <a:lnTo>
                    <a:pt x="130" y="64"/>
                  </a:lnTo>
                  <a:lnTo>
                    <a:pt x="101" y="45"/>
                  </a:lnTo>
                  <a:lnTo>
                    <a:pt x="85" y="0"/>
                  </a:lnTo>
                  <a:lnTo>
                    <a:pt x="79" y="10"/>
                  </a:lnTo>
                  <a:lnTo>
                    <a:pt x="60" y="21"/>
                  </a:lnTo>
                  <a:lnTo>
                    <a:pt x="49" y="94"/>
                  </a:lnTo>
                  <a:lnTo>
                    <a:pt x="21" y="141"/>
                  </a:lnTo>
                  <a:lnTo>
                    <a:pt x="19" y="175"/>
                  </a:lnTo>
                  <a:lnTo>
                    <a:pt x="6" y="178"/>
                  </a:lnTo>
                  <a:lnTo>
                    <a:pt x="0" y="188"/>
                  </a:lnTo>
                  <a:lnTo>
                    <a:pt x="17" y="197"/>
                  </a:lnTo>
                  <a:lnTo>
                    <a:pt x="34" y="231"/>
                  </a:lnTo>
                  <a:lnTo>
                    <a:pt x="47" y="235"/>
                  </a:lnTo>
                  <a:lnTo>
                    <a:pt x="47" y="248"/>
                  </a:lnTo>
                  <a:lnTo>
                    <a:pt x="60" y="248"/>
                  </a:lnTo>
                  <a:lnTo>
                    <a:pt x="60" y="24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27" name="Freeform 5707"/>
            <p:cNvSpPr>
              <a:spLocks/>
            </p:cNvSpPr>
            <p:nvPr>
              <p:custDataLst>
                <p:tags r:id="rId73"/>
              </p:custDataLst>
            </p:nvPr>
          </p:nvSpPr>
          <p:spPr bwMode="gray">
            <a:xfrm>
              <a:off x="7039288" y="4532923"/>
              <a:ext cx="243788" cy="233790"/>
            </a:xfrm>
            <a:custGeom>
              <a:avLst/>
              <a:gdLst/>
              <a:ahLst/>
              <a:cxnLst>
                <a:cxn ang="0">
                  <a:pos x="115" y="140"/>
                </a:cxn>
                <a:cxn ang="0">
                  <a:pos x="105" y="157"/>
                </a:cxn>
                <a:cxn ang="0">
                  <a:pos x="75" y="182"/>
                </a:cxn>
                <a:cxn ang="0">
                  <a:pos x="49" y="178"/>
                </a:cxn>
                <a:cxn ang="0">
                  <a:pos x="49" y="178"/>
                </a:cxn>
                <a:cxn ang="0">
                  <a:pos x="32" y="170"/>
                </a:cxn>
                <a:cxn ang="0">
                  <a:pos x="17" y="174"/>
                </a:cxn>
                <a:cxn ang="0">
                  <a:pos x="0" y="155"/>
                </a:cxn>
                <a:cxn ang="0">
                  <a:pos x="0" y="92"/>
                </a:cxn>
                <a:cxn ang="0">
                  <a:pos x="34" y="88"/>
                </a:cxn>
                <a:cxn ang="0">
                  <a:pos x="32" y="86"/>
                </a:cxn>
                <a:cxn ang="0">
                  <a:pos x="34" y="49"/>
                </a:cxn>
                <a:cxn ang="0">
                  <a:pos x="66" y="67"/>
                </a:cxn>
                <a:cxn ang="0">
                  <a:pos x="81" y="65"/>
                </a:cxn>
                <a:cxn ang="0">
                  <a:pos x="107" y="88"/>
                </a:cxn>
                <a:cxn ang="0">
                  <a:pos x="120" y="92"/>
                </a:cxn>
                <a:cxn ang="0">
                  <a:pos x="124" y="73"/>
                </a:cxn>
                <a:cxn ang="0">
                  <a:pos x="113" y="75"/>
                </a:cxn>
                <a:cxn ang="0">
                  <a:pos x="107" y="67"/>
                </a:cxn>
                <a:cxn ang="0">
                  <a:pos x="111" y="17"/>
                </a:cxn>
                <a:cxn ang="0">
                  <a:pos x="115" y="7"/>
                </a:cxn>
                <a:cxn ang="0">
                  <a:pos x="139" y="0"/>
                </a:cxn>
                <a:cxn ang="0">
                  <a:pos x="145" y="0"/>
                </a:cxn>
                <a:cxn ang="0">
                  <a:pos x="150" y="7"/>
                </a:cxn>
                <a:cxn ang="0">
                  <a:pos x="150" y="7"/>
                </a:cxn>
                <a:cxn ang="0">
                  <a:pos x="180" y="22"/>
                </a:cxn>
                <a:cxn ang="0">
                  <a:pos x="190" y="47"/>
                </a:cxn>
                <a:cxn ang="0">
                  <a:pos x="184" y="62"/>
                </a:cxn>
                <a:cxn ang="0">
                  <a:pos x="186" y="77"/>
                </a:cxn>
                <a:cxn ang="0">
                  <a:pos x="175" y="101"/>
                </a:cxn>
                <a:cxn ang="0">
                  <a:pos x="180" y="108"/>
                </a:cxn>
                <a:cxn ang="0">
                  <a:pos x="132" y="127"/>
                </a:cxn>
                <a:cxn ang="0">
                  <a:pos x="133" y="137"/>
                </a:cxn>
                <a:cxn ang="0">
                  <a:pos x="115" y="140"/>
                </a:cxn>
                <a:cxn ang="0">
                  <a:pos x="115" y="140"/>
                </a:cxn>
              </a:cxnLst>
              <a:rect l="0" t="0" r="r" b="b"/>
              <a:pathLst>
                <a:path w="190" h="182">
                  <a:moveTo>
                    <a:pt x="115" y="140"/>
                  </a:moveTo>
                  <a:lnTo>
                    <a:pt x="105" y="157"/>
                  </a:lnTo>
                  <a:lnTo>
                    <a:pt x="75" y="182"/>
                  </a:lnTo>
                  <a:lnTo>
                    <a:pt x="49" y="178"/>
                  </a:lnTo>
                  <a:lnTo>
                    <a:pt x="49" y="178"/>
                  </a:lnTo>
                  <a:lnTo>
                    <a:pt x="32" y="170"/>
                  </a:lnTo>
                  <a:lnTo>
                    <a:pt x="17" y="174"/>
                  </a:lnTo>
                  <a:lnTo>
                    <a:pt x="0" y="155"/>
                  </a:lnTo>
                  <a:lnTo>
                    <a:pt x="0" y="92"/>
                  </a:lnTo>
                  <a:lnTo>
                    <a:pt x="34" y="88"/>
                  </a:lnTo>
                  <a:lnTo>
                    <a:pt x="32" y="86"/>
                  </a:lnTo>
                  <a:lnTo>
                    <a:pt x="34" y="49"/>
                  </a:lnTo>
                  <a:lnTo>
                    <a:pt x="66" y="67"/>
                  </a:lnTo>
                  <a:lnTo>
                    <a:pt x="81" y="65"/>
                  </a:lnTo>
                  <a:lnTo>
                    <a:pt x="107" y="88"/>
                  </a:lnTo>
                  <a:lnTo>
                    <a:pt x="120" y="92"/>
                  </a:lnTo>
                  <a:lnTo>
                    <a:pt x="124" y="73"/>
                  </a:lnTo>
                  <a:lnTo>
                    <a:pt x="113" y="75"/>
                  </a:lnTo>
                  <a:lnTo>
                    <a:pt x="107" y="67"/>
                  </a:lnTo>
                  <a:lnTo>
                    <a:pt x="111" y="17"/>
                  </a:lnTo>
                  <a:lnTo>
                    <a:pt x="115" y="7"/>
                  </a:lnTo>
                  <a:lnTo>
                    <a:pt x="139" y="0"/>
                  </a:lnTo>
                  <a:lnTo>
                    <a:pt x="145" y="0"/>
                  </a:lnTo>
                  <a:lnTo>
                    <a:pt x="150" y="7"/>
                  </a:lnTo>
                  <a:lnTo>
                    <a:pt x="150" y="7"/>
                  </a:lnTo>
                  <a:lnTo>
                    <a:pt x="180" y="22"/>
                  </a:lnTo>
                  <a:lnTo>
                    <a:pt x="190" y="47"/>
                  </a:lnTo>
                  <a:lnTo>
                    <a:pt x="184" y="62"/>
                  </a:lnTo>
                  <a:lnTo>
                    <a:pt x="186" y="77"/>
                  </a:lnTo>
                  <a:lnTo>
                    <a:pt x="175" y="101"/>
                  </a:lnTo>
                  <a:lnTo>
                    <a:pt x="180" y="108"/>
                  </a:lnTo>
                  <a:lnTo>
                    <a:pt x="132" y="127"/>
                  </a:lnTo>
                  <a:lnTo>
                    <a:pt x="133" y="137"/>
                  </a:lnTo>
                  <a:lnTo>
                    <a:pt x="115" y="140"/>
                  </a:lnTo>
                  <a:lnTo>
                    <a:pt x="115" y="14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28" name="Freeform 5708"/>
            <p:cNvSpPr>
              <a:spLocks/>
            </p:cNvSpPr>
            <p:nvPr>
              <p:custDataLst>
                <p:tags r:id="rId74"/>
              </p:custDataLst>
            </p:nvPr>
          </p:nvSpPr>
          <p:spPr bwMode="gray">
            <a:xfrm>
              <a:off x="7102160" y="4708908"/>
              <a:ext cx="161670" cy="165708"/>
            </a:xfrm>
            <a:custGeom>
              <a:avLst/>
              <a:gdLst/>
              <a:ahLst/>
              <a:cxnLst>
                <a:cxn ang="0">
                  <a:pos x="64" y="119"/>
                </a:cxn>
                <a:cxn ang="0">
                  <a:pos x="45" y="112"/>
                </a:cxn>
                <a:cxn ang="0">
                  <a:pos x="39" y="93"/>
                </a:cxn>
                <a:cxn ang="0">
                  <a:pos x="13" y="71"/>
                </a:cxn>
                <a:cxn ang="0">
                  <a:pos x="0" y="41"/>
                </a:cxn>
                <a:cxn ang="0">
                  <a:pos x="0" y="41"/>
                </a:cxn>
                <a:cxn ang="0">
                  <a:pos x="26" y="45"/>
                </a:cxn>
                <a:cxn ang="0">
                  <a:pos x="56" y="20"/>
                </a:cxn>
                <a:cxn ang="0">
                  <a:pos x="66" y="3"/>
                </a:cxn>
                <a:cxn ang="0">
                  <a:pos x="84" y="0"/>
                </a:cxn>
                <a:cxn ang="0">
                  <a:pos x="84" y="0"/>
                </a:cxn>
                <a:cxn ang="0">
                  <a:pos x="84" y="7"/>
                </a:cxn>
                <a:cxn ang="0">
                  <a:pos x="101" y="7"/>
                </a:cxn>
                <a:cxn ang="0">
                  <a:pos x="124" y="20"/>
                </a:cxn>
                <a:cxn ang="0">
                  <a:pos x="126" y="33"/>
                </a:cxn>
                <a:cxn ang="0">
                  <a:pos x="124" y="80"/>
                </a:cxn>
                <a:cxn ang="0">
                  <a:pos x="101" y="129"/>
                </a:cxn>
                <a:cxn ang="0">
                  <a:pos x="90" y="123"/>
                </a:cxn>
                <a:cxn ang="0">
                  <a:pos x="64" y="119"/>
                </a:cxn>
                <a:cxn ang="0">
                  <a:pos x="64" y="119"/>
                </a:cxn>
              </a:cxnLst>
              <a:rect l="0" t="0" r="r" b="b"/>
              <a:pathLst>
                <a:path w="126" h="129">
                  <a:moveTo>
                    <a:pt x="64" y="119"/>
                  </a:moveTo>
                  <a:lnTo>
                    <a:pt x="45" y="112"/>
                  </a:lnTo>
                  <a:lnTo>
                    <a:pt x="39" y="93"/>
                  </a:lnTo>
                  <a:lnTo>
                    <a:pt x="13" y="71"/>
                  </a:lnTo>
                  <a:lnTo>
                    <a:pt x="0" y="41"/>
                  </a:lnTo>
                  <a:lnTo>
                    <a:pt x="0" y="41"/>
                  </a:lnTo>
                  <a:lnTo>
                    <a:pt x="26" y="45"/>
                  </a:lnTo>
                  <a:lnTo>
                    <a:pt x="56" y="20"/>
                  </a:lnTo>
                  <a:lnTo>
                    <a:pt x="66" y="3"/>
                  </a:lnTo>
                  <a:lnTo>
                    <a:pt x="84" y="0"/>
                  </a:lnTo>
                  <a:lnTo>
                    <a:pt x="84" y="0"/>
                  </a:lnTo>
                  <a:lnTo>
                    <a:pt x="84" y="7"/>
                  </a:lnTo>
                  <a:lnTo>
                    <a:pt x="101" y="7"/>
                  </a:lnTo>
                  <a:lnTo>
                    <a:pt x="124" y="20"/>
                  </a:lnTo>
                  <a:lnTo>
                    <a:pt x="126" y="33"/>
                  </a:lnTo>
                  <a:lnTo>
                    <a:pt x="124" y="80"/>
                  </a:lnTo>
                  <a:lnTo>
                    <a:pt x="101" y="129"/>
                  </a:lnTo>
                  <a:lnTo>
                    <a:pt x="90" y="123"/>
                  </a:lnTo>
                  <a:lnTo>
                    <a:pt x="64" y="119"/>
                  </a:lnTo>
                  <a:lnTo>
                    <a:pt x="64" y="11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29" name="Freeform 5709"/>
            <p:cNvSpPr>
              <a:spLocks/>
            </p:cNvSpPr>
            <p:nvPr>
              <p:custDataLst>
                <p:tags r:id="rId75"/>
              </p:custDataLst>
            </p:nvPr>
          </p:nvSpPr>
          <p:spPr bwMode="gray">
            <a:xfrm>
              <a:off x="6922527" y="4861770"/>
              <a:ext cx="331038" cy="301871"/>
            </a:xfrm>
            <a:custGeom>
              <a:avLst/>
              <a:gdLst/>
              <a:ahLst/>
              <a:cxnLst>
                <a:cxn ang="0">
                  <a:pos x="204" y="0"/>
                </a:cxn>
                <a:cxn ang="0">
                  <a:pos x="230" y="4"/>
                </a:cxn>
                <a:cxn ang="0">
                  <a:pos x="241" y="10"/>
                </a:cxn>
                <a:cxn ang="0">
                  <a:pos x="245" y="70"/>
                </a:cxn>
                <a:cxn ang="0">
                  <a:pos x="232" y="70"/>
                </a:cxn>
                <a:cxn ang="0">
                  <a:pos x="226" y="87"/>
                </a:cxn>
                <a:cxn ang="0">
                  <a:pos x="236" y="94"/>
                </a:cxn>
                <a:cxn ang="0">
                  <a:pos x="245" y="87"/>
                </a:cxn>
                <a:cxn ang="0">
                  <a:pos x="256" y="87"/>
                </a:cxn>
                <a:cxn ang="0">
                  <a:pos x="258" y="90"/>
                </a:cxn>
                <a:cxn ang="0">
                  <a:pos x="249" y="120"/>
                </a:cxn>
                <a:cxn ang="0">
                  <a:pos x="234" y="132"/>
                </a:cxn>
                <a:cxn ang="0">
                  <a:pos x="217" y="163"/>
                </a:cxn>
                <a:cxn ang="0">
                  <a:pos x="183" y="197"/>
                </a:cxn>
                <a:cxn ang="0">
                  <a:pos x="161" y="214"/>
                </a:cxn>
                <a:cxn ang="0">
                  <a:pos x="125" y="225"/>
                </a:cxn>
                <a:cxn ang="0">
                  <a:pos x="93" y="222"/>
                </a:cxn>
                <a:cxn ang="0">
                  <a:pos x="54" y="235"/>
                </a:cxn>
                <a:cxn ang="0">
                  <a:pos x="45" y="235"/>
                </a:cxn>
                <a:cxn ang="0">
                  <a:pos x="33" y="222"/>
                </a:cxn>
                <a:cxn ang="0">
                  <a:pos x="28" y="225"/>
                </a:cxn>
                <a:cxn ang="0">
                  <a:pos x="20" y="199"/>
                </a:cxn>
                <a:cxn ang="0">
                  <a:pos x="28" y="195"/>
                </a:cxn>
                <a:cxn ang="0">
                  <a:pos x="26" y="184"/>
                </a:cxn>
                <a:cxn ang="0">
                  <a:pos x="3" y="128"/>
                </a:cxn>
                <a:cxn ang="0">
                  <a:pos x="0" y="122"/>
                </a:cxn>
                <a:cxn ang="0">
                  <a:pos x="5" y="115"/>
                </a:cxn>
                <a:cxn ang="0">
                  <a:pos x="15" y="120"/>
                </a:cxn>
                <a:cxn ang="0">
                  <a:pos x="18" y="128"/>
                </a:cxn>
                <a:cxn ang="0">
                  <a:pos x="39" y="128"/>
                </a:cxn>
                <a:cxn ang="0">
                  <a:pos x="52" y="117"/>
                </a:cxn>
                <a:cxn ang="0">
                  <a:pos x="54" y="49"/>
                </a:cxn>
                <a:cxn ang="0">
                  <a:pos x="54" y="49"/>
                </a:cxn>
                <a:cxn ang="0">
                  <a:pos x="65" y="62"/>
                </a:cxn>
                <a:cxn ang="0">
                  <a:pos x="65" y="83"/>
                </a:cxn>
                <a:cxn ang="0">
                  <a:pos x="73" y="87"/>
                </a:cxn>
                <a:cxn ang="0">
                  <a:pos x="88" y="85"/>
                </a:cxn>
                <a:cxn ang="0">
                  <a:pos x="110" y="60"/>
                </a:cxn>
                <a:cxn ang="0">
                  <a:pos x="125" y="66"/>
                </a:cxn>
                <a:cxn ang="0">
                  <a:pos x="140" y="64"/>
                </a:cxn>
                <a:cxn ang="0">
                  <a:pos x="176" y="21"/>
                </a:cxn>
                <a:cxn ang="0">
                  <a:pos x="204" y="0"/>
                </a:cxn>
                <a:cxn ang="0">
                  <a:pos x="204" y="0"/>
                </a:cxn>
              </a:cxnLst>
              <a:rect l="0" t="0" r="r" b="b"/>
              <a:pathLst>
                <a:path w="258" h="235">
                  <a:moveTo>
                    <a:pt x="204" y="0"/>
                  </a:moveTo>
                  <a:lnTo>
                    <a:pt x="230" y="4"/>
                  </a:lnTo>
                  <a:lnTo>
                    <a:pt x="241" y="10"/>
                  </a:lnTo>
                  <a:lnTo>
                    <a:pt x="245" y="70"/>
                  </a:lnTo>
                  <a:lnTo>
                    <a:pt x="232" y="70"/>
                  </a:lnTo>
                  <a:lnTo>
                    <a:pt x="226" y="87"/>
                  </a:lnTo>
                  <a:lnTo>
                    <a:pt x="236" y="94"/>
                  </a:lnTo>
                  <a:lnTo>
                    <a:pt x="245" y="87"/>
                  </a:lnTo>
                  <a:lnTo>
                    <a:pt x="256" y="87"/>
                  </a:lnTo>
                  <a:lnTo>
                    <a:pt x="258" y="90"/>
                  </a:lnTo>
                  <a:lnTo>
                    <a:pt x="249" y="120"/>
                  </a:lnTo>
                  <a:lnTo>
                    <a:pt x="234" y="132"/>
                  </a:lnTo>
                  <a:lnTo>
                    <a:pt x="217" y="163"/>
                  </a:lnTo>
                  <a:lnTo>
                    <a:pt x="183" y="197"/>
                  </a:lnTo>
                  <a:lnTo>
                    <a:pt x="161" y="214"/>
                  </a:lnTo>
                  <a:lnTo>
                    <a:pt x="125" y="225"/>
                  </a:lnTo>
                  <a:lnTo>
                    <a:pt x="93" y="222"/>
                  </a:lnTo>
                  <a:lnTo>
                    <a:pt x="54" y="235"/>
                  </a:lnTo>
                  <a:lnTo>
                    <a:pt x="45" y="235"/>
                  </a:lnTo>
                  <a:lnTo>
                    <a:pt x="33" y="222"/>
                  </a:lnTo>
                  <a:lnTo>
                    <a:pt x="28" y="225"/>
                  </a:lnTo>
                  <a:lnTo>
                    <a:pt x="20" y="199"/>
                  </a:lnTo>
                  <a:lnTo>
                    <a:pt x="28" y="195"/>
                  </a:lnTo>
                  <a:lnTo>
                    <a:pt x="26" y="184"/>
                  </a:lnTo>
                  <a:lnTo>
                    <a:pt x="3" y="128"/>
                  </a:lnTo>
                  <a:lnTo>
                    <a:pt x="0" y="122"/>
                  </a:lnTo>
                  <a:lnTo>
                    <a:pt x="5" y="115"/>
                  </a:lnTo>
                  <a:lnTo>
                    <a:pt x="15" y="120"/>
                  </a:lnTo>
                  <a:lnTo>
                    <a:pt x="18" y="128"/>
                  </a:lnTo>
                  <a:lnTo>
                    <a:pt x="39" y="128"/>
                  </a:lnTo>
                  <a:lnTo>
                    <a:pt x="52" y="117"/>
                  </a:lnTo>
                  <a:lnTo>
                    <a:pt x="54" y="49"/>
                  </a:lnTo>
                  <a:lnTo>
                    <a:pt x="54" y="49"/>
                  </a:lnTo>
                  <a:lnTo>
                    <a:pt x="65" y="62"/>
                  </a:lnTo>
                  <a:lnTo>
                    <a:pt x="65" y="83"/>
                  </a:lnTo>
                  <a:lnTo>
                    <a:pt x="73" y="87"/>
                  </a:lnTo>
                  <a:lnTo>
                    <a:pt x="88" y="85"/>
                  </a:lnTo>
                  <a:lnTo>
                    <a:pt x="110" y="60"/>
                  </a:lnTo>
                  <a:lnTo>
                    <a:pt x="125" y="66"/>
                  </a:lnTo>
                  <a:lnTo>
                    <a:pt x="140" y="64"/>
                  </a:lnTo>
                  <a:lnTo>
                    <a:pt x="176" y="21"/>
                  </a:lnTo>
                  <a:lnTo>
                    <a:pt x="204" y="0"/>
                  </a:lnTo>
                  <a:lnTo>
                    <a:pt x="204"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30" name="Freeform 5710"/>
            <p:cNvSpPr>
              <a:spLocks/>
            </p:cNvSpPr>
            <p:nvPr>
              <p:custDataLst>
                <p:tags r:id="rId76"/>
              </p:custDataLst>
            </p:nvPr>
          </p:nvSpPr>
          <p:spPr bwMode="gray">
            <a:xfrm>
              <a:off x="6849390" y="4739737"/>
              <a:ext cx="275865" cy="286457"/>
            </a:xfrm>
            <a:custGeom>
              <a:avLst/>
              <a:gdLst/>
              <a:ahLst/>
              <a:cxnLst>
                <a:cxn ang="0">
                  <a:pos x="129" y="144"/>
                </a:cxn>
                <a:cxn ang="0">
                  <a:pos x="129" y="97"/>
                </a:cxn>
                <a:cxn ang="0">
                  <a:pos x="146" y="90"/>
                </a:cxn>
                <a:cxn ang="0">
                  <a:pos x="148" y="28"/>
                </a:cxn>
                <a:cxn ang="0">
                  <a:pos x="180" y="22"/>
                </a:cxn>
                <a:cxn ang="0">
                  <a:pos x="185" y="22"/>
                </a:cxn>
                <a:cxn ang="0">
                  <a:pos x="189" y="32"/>
                </a:cxn>
                <a:cxn ang="0">
                  <a:pos x="198" y="22"/>
                </a:cxn>
                <a:cxn ang="0">
                  <a:pos x="215" y="17"/>
                </a:cxn>
                <a:cxn ang="0">
                  <a:pos x="198" y="9"/>
                </a:cxn>
                <a:cxn ang="0">
                  <a:pos x="183" y="13"/>
                </a:cxn>
                <a:cxn ang="0">
                  <a:pos x="159" y="21"/>
                </a:cxn>
                <a:cxn ang="0">
                  <a:pos x="120" y="17"/>
                </a:cxn>
                <a:cxn ang="0">
                  <a:pos x="107" y="9"/>
                </a:cxn>
                <a:cxn ang="0">
                  <a:pos x="37" y="7"/>
                </a:cxn>
                <a:cxn ang="0">
                  <a:pos x="24" y="0"/>
                </a:cxn>
                <a:cxn ang="0">
                  <a:pos x="0" y="7"/>
                </a:cxn>
                <a:cxn ang="0">
                  <a:pos x="2" y="19"/>
                </a:cxn>
                <a:cxn ang="0">
                  <a:pos x="43" y="103"/>
                </a:cxn>
                <a:cxn ang="0">
                  <a:pos x="43" y="131"/>
                </a:cxn>
                <a:cxn ang="0">
                  <a:pos x="56" y="197"/>
                </a:cxn>
                <a:cxn ang="0">
                  <a:pos x="75" y="217"/>
                </a:cxn>
                <a:cxn ang="0">
                  <a:pos x="80" y="210"/>
                </a:cxn>
                <a:cxn ang="0">
                  <a:pos x="90" y="215"/>
                </a:cxn>
                <a:cxn ang="0">
                  <a:pos x="93" y="223"/>
                </a:cxn>
                <a:cxn ang="0">
                  <a:pos x="114" y="223"/>
                </a:cxn>
                <a:cxn ang="0">
                  <a:pos x="127" y="212"/>
                </a:cxn>
                <a:cxn ang="0">
                  <a:pos x="129" y="144"/>
                </a:cxn>
                <a:cxn ang="0">
                  <a:pos x="129" y="144"/>
                </a:cxn>
              </a:cxnLst>
              <a:rect l="0" t="0" r="r" b="b"/>
              <a:pathLst>
                <a:path w="215" h="223">
                  <a:moveTo>
                    <a:pt x="129" y="144"/>
                  </a:moveTo>
                  <a:lnTo>
                    <a:pt x="129" y="97"/>
                  </a:lnTo>
                  <a:lnTo>
                    <a:pt x="146" y="90"/>
                  </a:lnTo>
                  <a:lnTo>
                    <a:pt x="148" y="28"/>
                  </a:lnTo>
                  <a:lnTo>
                    <a:pt x="180" y="22"/>
                  </a:lnTo>
                  <a:lnTo>
                    <a:pt x="185" y="22"/>
                  </a:lnTo>
                  <a:lnTo>
                    <a:pt x="189" y="32"/>
                  </a:lnTo>
                  <a:lnTo>
                    <a:pt x="198" y="22"/>
                  </a:lnTo>
                  <a:lnTo>
                    <a:pt x="215" y="17"/>
                  </a:lnTo>
                  <a:lnTo>
                    <a:pt x="198" y="9"/>
                  </a:lnTo>
                  <a:lnTo>
                    <a:pt x="183" y="13"/>
                  </a:lnTo>
                  <a:lnTo>
                    <a:pt x="159" y="21"/>
                  </a:lnTo>
                  <a:lnTo>
                    <a:pt x="120" y="17"/>
                  </a:lnTo>
                  <a:lnTo>
                    <a:pt x="107" y="9"/>
                  </a:lnTo>
                  <a:lnTo>
                    <a:pt x="37" y="7"/>
                  </a:lnTo>
                  <a:lnTo>
                    <a:pt x="24" y="0"/>
                  </a:lnTo>
                  <a:lnTo>
                    <a:pt x="0" y="7"/>
                  </a:lnTo>
                  <a:lnTo>
                    <a:pt x="2" y="19"/>
                  </a:lnTo>
                  <a:lnTo>
                    <a:pt x="43" y="103"/>
                  </a:lnTo>
                  <a:lnTo>
                    <a:pt x="43" y="131"/>
                  </a:lnTo>
                  <a:lnTo>
                    <a:pt x="56" y="197"/>
                  </a:lnTo>
                  <a:lnTo>
                    <a:pt x="75" y="217"/>
                  </a:lnTo>
                  <a:lnTo>
                    <a:pt x="80" y="210"/>
                  </a:lnTo>
                  <a:lnTo>
                    <a:pt x="90" y="215"/>
                  </a:lnTo>
                  <a:lnTo>
                    <a:pt x="93" y="223"/>
                  </a:lnTo>
                  <a:lnTo>
                    <a:pt x="114" y="223"/>
                  </a:lnTo>
                  <a:lnTo>
                    <a:pt x="127" y="212"/>
                  </a:lnTo>
                  <a:lnTo>
                    <a:pt x="129" y="144"/>
                  </a:lnTo>
                  <a:lnTo>
                    <a:pt x="129" y="14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31" name="Freeform 5711"/>
            <p:cNvSpPr>
              <a:spLocks/>
            </p:cNvSpPr>
            <p:nvPr>
              <p:custDataLst>
                <p:tags r:id="rId77"/>
              </p:custDataLst>
            </p:nvPr>
          </p:nvSpPr>
          <p:spPr bwMode="gray">
            <a:xfrm>
              <a:off x="6849390" y="4475118"/>
              <a:ext cx="256619" cy="291595"/>
            </a:xfrm>
            <a:custGeom>
              <a:avLst/>
              <a:gdLst/>
              <a:ahLst/>
              <a:cxnLst>
                <a:cxn ang="0">
                  <a:pos x="30" y="2"/>
                </a:cxn>
                <a:cxn ang="0">
                  <a:pos x="69" y="0"/>
                </a:cxn>
                <a:cxn ang="0">
                  <a:pos x="78" y="7"/>
                </a:cxn>
                <a:cxn ang="0">
                  <a:pos x="84" y="30"/>
                </a:cxn>
                <a:cxn ang="0">
                  <a:pos x="101" y="45"/>
                </a:cxn>
                <a:cxn ang="0">
                  <a:pos x="121" y="41"/>
                </a:cxn>
                <a:cxn ang="0">
                  <a:pos x="127" y="24"/>
                </a:cxn>
                <a:cxn ang="0">
                  <a:pos x="148" y="20"/>
                </a:cxn>
                <a:cxn ang="0">
                  <a:pos x="148" y="26"/>
                </a:cxn>
                <a:cxn ang="0">
                  <a:pos x="161" y="30"/>
                </a:cxn>
                <a:cxn ang="0">
                  <a:pos x="163" y="34"/>
                </a:cxn>
                <a:cxn ang="0">
                  <a:pos x="163" y="71"/>
                </a:cxn>
                <a:cxn ang="0">
                  <a:pos x="170" y="88"/>
                </a:cxn>
                <a:cxn ang="0">
                  <a:pos x="165" y="97"/>
                </a:cxn>
                <a:cxn ang="0">
                  <a:pos x="168" y="103"/>
                </a:cxn>
                <a:cxn ang="0">
                  <a:pos x="200" y="94"/>
                </a:cxn>
                <a:cxn ang="0">
                  <a:pos x="198" y="131"/>
                </a:cxn>
                <a:cxn ang="0">
                  <a:pos x="200" y="133"/>
                </a:cxn>
                <a:cxn ang="0">
                  <a:pos x="166" y="137"/>
                </a:cxn>
                <a:cxn ang="0">
                  <a:pos x="166" y="200"/>
                </a:cxn>
                <a:cxn ang="0">
                  <a:pos x="183" y="219"/>
                </a:cxn>
                <a:cxn ang="0">
                  <a:pos x="159" y="227"/>
                </a:cxn>
                <a:cxn ang="0">
                  <a:pos x="120" y="223"/>
                </a:cxn>
                <a:cxn ang="0">
                  <a:pos x="107" y="215"/>
                </a:cxn>
                <a:cxn ang="0">
                  <a:pos x="37" y="213"/>
                </a:cxn>
                <a:cxn ang="0">
                  <a:pos x="24" y="206"/>
                </a:cxn>
                <a:cxn ang="0">
                  <a:pos x="0" y="213"/>
                </a:cxn>
                <a:cxn ang="0">
                  <a:pos x="2" y="189"/>
                </a:cxn>
                <a:cxn ang="0">
                  <a:pos x="15" y="140"/>
                </a:cxn>
                <a:cxn ang="0">
                  <a:pos x="32" y="120"/>
                </a:cxn>
                <a:cxn ang="0">
                  <a:pos x="35" y="103"/>
                </a:cxn>
                <a:cxn ang="0">
                  <a:pos x="20" y="64"/>
                </a:cxn>
                <a:cxn ang="0">
                  <a:pos x="28" y="54"/>
                </a:cxn>
                <a:cxn ang="0">
                  <a:pos x="13" y="11"/>
                </a:cxn>
                <a:cxn ang="0">
                  <a:pos x="30" y="2"/>
                </a:cxn>
                <a:cxn ang="0">
                  <a:pos x="30" y="2"/>
                </a:cxn>
              </a:cxnLst>
              <a:rect l="0" t="0" r="r" b="b"/>
              <a:pathLst>
                <a:path w="200" h="227">
                  <a:moveTo>
                    <a:pt x="30" y="2"/>
                  </a:moveTo>
                  <a:lnTo>
                    <a:pt x="69" y="0"/>
                  </a:lnTo>
                  <a:lnTo>
                    <a:pt x="78" y="7"/>
                  </a:lnTo>
                  <a:lnTo>
                    <a:pt x="84" y="30"/>
                  </a:lnTo>
                  <a:lnTo>
                    <a:pt x="101" y="45"/>
                  </a:lnTo>
                  <a:lnTo>
                    <a:pt x="121" y="41"/>
                  </a:lnTo>
                  <a:lnTo>
                    <a:pt x="127" y="24"/>
                  </a:lnTo>
                  <a:lnTo>
                    <a:pt x="148" y="20"/>
                  </a:lnTo>
                  <a:lnTo>
                    <a:pt x="148" y="26"/>
                  </a:lnTo>
                  <a:lnTo>
                    <a:pt x="161" y="30"/>
                  </a:lnTo>
                  <a:lnTo>
                    <a:pt x="163" y="34"/>
                  </a:lnTo>
                  <a:lnTo>
                    <a:pt x="163" y="71"/>
                  </a:lnTo>
                  <a:lnTo>
                    <a:pt x="170" y="88"/>
                  </a:lnTo>
                  <a:lnTo>
                    <a:pt x="165" y="97"/>
                  </a:lnTo>
                  <a:lnTo>
                    <a:pt x="168" y="103"/>
                  </a:lnTo>
                  <a:lnTo>
                    <a:pt x="200" y="94"/>
                  </a:lnTo>
                  <a:lnTo>
                    <a:pt x="198" y="131"/>
                  </a:lnTo>
                  <a:lnTo>
                    <a:pt x="200" y="133"/>
                  </a:lnTo>
                  <a:lnTo>
                    <a:pt x="166" y="137"/>
                  </a:lnTo>
                  <a:lnTo>
                    <a:pt x="166" y="200"/>
                  </a:lnTo>
                  <a:lnTo>
                    <a:pt x="183" y="219"/>
                  </a:lnTo>
                  <a:lnTo>
                    <a:pt x="159" y="227"/>
                  </a:lnTo>
                  <a:lnTo>
                    <a:pt x="120" y="223"/>
                  </a:lnTo>
                  <a:lnTo>
                    <a:pt x="107" y="215"/>
                  </a:lnTo>
                  <a:lnTo>
                    <a:pt x="37" y="213"/>
                  </a:lnTo>
                  <a:lnTo>
                    <a:pt x="24" y="206"/>
                  </a:lnTo>
                  <a:lnTo>
                    <a:pt x="0" y="213"/>
                  </a:lnTo>
                  <a:lnTo>
                    <a:pt x="2" y="189"/>
                  </a:lnTo>
                  <a:lnTo>
                    <a:pt x="15" y="140"/>
                  </a:lnTo>
                  <a:lnTo>
                    <a:pt x="32" y="120"/>
                  </a:lnTo>
                  <a:lnTo>
                    <a:pt x="35" y="103"/>
                  </a:lnTo>
                  <a:lnTo>
                    <a:pt x="20" y="64"/>
                  </a:lnTo>
                  <a:lnTo>
                    <a:pt x="28" y="54"/>
                  </a:lnTo>
                  <a:lnTo>
                    <a:pt x="13" y="11"/>
                  </a:lnTo>
                  <a:lnTo>
                    <a:pt x="30" y="2"/>
                  </a:lnTo>
                  <a:lnTo>
                    <a:pt x="3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32" name="Freeform 5712"/>
            <p:cNvSpPr>
              <a:spLocks/>
            </p:cNvSpPr>
            <p:nvPr>
              <p:custDataLst>
                <p:tags r:id="rId78"/>
              </p:custDataLst>
            </p:nvPr>
          </p:nvSpPr>
          <p:spPr bwMode="gray">
            <a:xfrm>
              <a:off x="6832710" y="4443004"/>
              <a:ext cx="19246" cy="34683"/>
            </a:xfrm>
            <a:custGeom>
              <a:avLst/>
              <a:gdLst/>
              <a:ahLst/>
              <a:cxnLst>
                <a:cxn ang="0">
                  <a:pos x="15" y="6"/>
                </a:cxn>
                <a:cxn ang="0">
                  <a:pos x="8" y="12"/>
                </a:cxn>
                <a:cxn ang="0">
                  <a:pos x="6" y="27"/>
                </a:cxn>
                <a:cxn ang="0">
                  <a:pos x="6" y="27"/>
                </a:cxn>
                <a:cxn ang="0">
                  <a:pos x="2" y="17"/>
                </a:cxn>
                <a:cxn ang="0">
                  <a:pos x="0" y="12"/>
                </a:cxn>
                <a:cxn ang="0">
                  <a:pos x="12" y="0"/>
                </a:cxn>
                <a:cxn ang="0">
                  <a:pos x="15" y="6"/>
                </a:cxn>
                <a:cxn ang="0">
                  <a:pos x="15" y="6"/>
                </a:cxn>
              </a:cxnLst>
              <a:rect l="0" t="0" r="r" b="b"/>
              <a:pathLst>
                <a:path w="15" h="27">
                  <a:moveTo>
                    <a:pt x="15" y="6"/>
                  </a:moveTo>
                  <a:lnTo>
                    <a:pt x="8" y="12"/>
                  </a:lnTo>
                  <a:lnTo>
                    <a:pt x="6" y="27"/>
                  </a:lnTo>
                  <a:lnTo>
                    <a:pt x="6" y="27"/>
                  </a:lnTo>
                  <a:lnTo>
                    <a:pt x="2" y="17"/>
                  </a:lnTo>
                  <a:lnTo>
                    <a:pt x="0" y="12"/>
                  </a:lnTo>
                  <a:lnTo>
                    <a:pt x="12" y="0"/>
                  </a:lnTo>
                  <a:lnTo>
                    <a:pt x="15" y="6"/>
                  </a:lnTo>
                  <a:lnTo>
                    <a:pt x="15"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33" name="Freeform 5713"/>
            <p:cNvSpPr>
              <a:spLocks/>
            </p:cNvSpPr>
            <p:nvPr>
              <p:custDataLst>
                <p:tags r:id="rId79"/>
              </p:custDataLst>
            </p:nvPr>
          </p:nvSpPr>
          <p:spPr bwMode="gray">
            <a:xfrm>
              <a:off x="6783953" y="4026807"/>
              <a:ext cx="159103" cy="272327"/>
            </a:xfrm>
            <a:custGeom>
              <a:avLst/>
              <a:gdLst/>
              <a:ahLst/>
              <a:cxnLst>
                <a:cxn ang="0">
                  <a:pos x="90" y="0"/>
                </a:cxn>
                <a:cxn ang="0">
                  <a:pos x="90" y="12"/>
                </a:cxn>
                <a:cxn ang="0">
                  <a:pos x="96" y="27"/>
                </a:cxn>
                <a:cxn ang="0">
                  <a:pos x="79" y="43"/>
                </a:cxn>
                <a:cxn ang="0">
                  <a:pos x="70" y="79"/>
                </a:cxn>
                <a:cxn ang="0">
                  <a:pos x="62" y="87"/>
                </a:cxn>
                <a:cxn ang="0">
                  <a:pos x="49" y="120"/>
                </a:cxn>
                <a:cxn ang="0">
                  <a:pos x="41" y="124"/>
                </a:cxn>
                <a:cxn ang="0">
                  <a:pos x="34" y="117"/>
                </a:cxn>
                <a:cxn ang="0">
                  <a:pos x="19" y="117"/>
                </a:cxn>
                <a:cxn ang="0">
                  <a:pos x="0" y="156"/>
                </a:cxn>
                <a:cxn ang="0">
                  <a:pos x="8" y="169"/>
                </a:cxn>
                <a:cxn ang="0">
                  <a:pos x="13" y="171"/>
                </a:cxn>
                <a:cxn ang="0">
                  <a:pos x="23" y="188"/>
                </a:cxn>
                <a:cxn ang="0">
                  <a:pos x="19" y="203"/>
                </a:cxn>
                <a:cxn ang="0">
                  <a:pos x="45" y="203"/>
                </a:cxn>
                <a:cxn ang="0">
                  <a:pos x="81" y="203"/>
                </a:cxn>
                <a:cxn ang="0">
                  <a:pos x="124" y="212"/>
                </a:cxn>
                <a:cxn ang="0">
                  <a:pos x="124" y="191"/>
                </a:cxn>
                <a:cxn ang="0">
                  <a:pos x="101" y="154"/>
                </a:cxn>
                <a:cxn ang="0">
                  <a:pos x="98" y="137"/>
                </a:cxn>
                <a:cxn ang="0">
                  <a:pos x="111" y="105"/>
                </a:cxn>
                <a:cxn ang="0">
                  <a:pos x="111" y="105"/>
                </a:cxn>
                <a:cxn ang="0">
                  <a:pos x="105" y="83"/>
                </a:cxn>
                <a:cxn ang="0">
                  <a:pos x="90" y="70"/>
                </a:cxn>
                <a:cxn ang="0">
                  <a:pos x="96" y="58"/>
                </a:cxn>
                <a:cxn ang="0">
                  <a:pos x="111" y="55"/>
                </a:cxn>
                <a:cxn ang="0">
                  <a:pos x="103" y="40"/>
                </a:cxn>
                <a:cxn ang="0">
                  <a:pos x="98" y="6"/>
                </a:cxn>
                <a:cxn ang="0">
                  <a:pos x="98" y="6"/>
                </a:cxn>
                <a:cxn ang="0">
                  <a:pos x="90" y="0"/>
                </a:cxn>
                <a:cxn ang="0">
                  <a:pos x="90" y="0"/>
                </a:cxn>
              </a:cxnLst>
              <a:rect l="0" t="0" r="r" b="b"/>
              <a:pathLst>
                <a:path w="124" h="212">
                  <a:moveTo>
                    <a:pt x="90" y="0"/>
                  </a:moveTo>
                  <a:lnTo>
                    <a:pt x="90" y="12"/>
                  </a:lnTo>
                  <a:lnTo>
                    <a:pt x="96" y="27"/>
                  </a:lnTo>
                  <a:lnTo>
                    <a:pt x="79" y="43"/>
                  </a:lnTo>
                  <a:lnTo>
                    <a:pt x="70" y="79"/>
                  </a:lnTo>
                  <a:lnTo>
                    <a:pt x="62" y="87"/>
                  </a:lnTo>
                  <a:lnTo>
                    <a:pt x="49" y="120"/>
                  </a:lnTo>
                  <a:lnTo>
                    <a:pt x="41" y="124"/>
                  </a:lnTo>
                  <a:lnTo>
                    <a:pt x="34" y="117"/>
                  </a:lnTo>
                  <a:lnTo>
                    <a:pt x="19" y="117"/>
                  </a:lnTo>
                  <a:lnTo>
                    <a:pt x="0" y="156"/>
                  </a:lnTo>
                  <a:lnTo>
                    <a:pt x="8" y="169"/>
                  </a:lnTo>
                  <a:lnTo>
                    <a:pt x="13" y="171"/>
                  </a:lnTo>
                  <a:lnTo>
                    <a:pt x="23" y="188"/>
                  </a:lnTo>
                  <a:lnTo>
                    <a:pt x="19" y="203"/>
                  </a:lnTo>
                  <a:lnTo>
                    <a:pt x="45" y="203"/>
                  </a:lnTo>
                  <a:lnTo>
                    <a:pt x="81" y="203"/>
                  </a:lnTo>
                  <a:lnTo>
                    <a:pt x="124" y="212"/>
                  </a:lnTo>
                  <a:lnTo>
                    <a:pt x="124" y="191"/>
                  </a:lnTo>
                  <a:lnTo>
                    <a:pt x="101" y="154"/>
                  </a:lnTo>
                  <a:lnTo>
                    <a:pt x="98" y="137"/>
                  </a:lnTo>
                  <a:lnTo>
                    <a:pt x="111" y="105"/>
                  </a:lnTo>
                  <a:lnTo>
                    <a:pt x="111" y="105"/>
                  </a:lnTo>
                  <a:lnTo>
                    <a:pt x="105" y="83"/>
                  </a:lnTo>
                  <a:lnTo>
                    <a:pt x="90" y="70"/>
                  </a:lnTo>
                  <a:lnTo>
                    <a:pt x="96" y="58"/>
                  </a:lnTo>
                  <a:lnTo>
                    <a:pt x="111" y="55"/>
                  </a:lnTo>
                  <a:lnTo>
                    <a:pt x="103" y="40"/>
                  </a:lnTo>
                  <a:lnTo>
                    <a:pt x="98" y="6"/>
                  </a:lnTo>
                  <a:lnTo>
                    <a:pt x="98" y="6"/>
                  </a:lnTo>
                  <a:lnTo>
                    <a:pt x="90" y="0"/>
                  </a:lnTo>
                  <a:lnTo>
                    <a:pt x="9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34" name="Freeform 5714"/>
            <p:cNvSpPr>
              <a:spLocks/>
            </p:cNvSpPr>
            <p:nvPr>
              <p:custDataLst>
                <p:tags r:id="rId80"/>
              </p:custDataLst>
            </p:nvPr>
          </p:nvSpPr>
          <p:spPr bwMode="gray">
            <a:xfrm>
              <a:off x="6844258" y="4251605"/>
              <a:ext cx="151405" cy="206814"/>
            </a:xfrm>
            <a:custGeom>
              <a:avLst/>
              <a:gdLst/>
              <a:ahLst/>
              <a:cxnLst>
                <a:cxn ang="0">
                  <a:pos x="23" y="149"/>
                </a:cxn>
                <a:cxn ang="0">
                  <a:pos x="26" y="155"/>
                </a:cxn>
                <a:cxn ang="0">
                  <a:pos x="36" y="157"/>
                </a:cxn>
                <a:cxn ang="0">
                  <a:pos x="47" y="149"/>
                </a:cxn>
                <a:cxn ang="0">
                  <a:pos x="53" y="157"/>
                </a:cxn>
                <a:cxn ang="0">
                  <a:pos x="73" y="140"/>
                </a:cxn>
                <a:cxn ang="0">
                  <a:pos x="81" y="106"/>
                </a:cxn>
                <a:cxn ang="0">
                  <a:pos x="103" y="82"/>
                </a:cxn>
                <a:cxn ang="0">
                  <a:pos x="109" y="31"/>
                </a:cxn>
                <a:cxn ang="0">
                  <a:pos x="118" y="0"/>
                </a:cxn>
                <a:cxn ang="0">
                  <a:pos x="107" y="5"/>
                </a:cxn>
                <a:cxn ang="0">
                  <a:pos x="98" y="0"/>
                </a:cxn>
                <a:cxn ang="0">
                  <a:pos x="84" y="5"/>
                </a:cxn>
                <a:cxn ang="0">
                  <a:pos x="77" y="16"/>
                </a:cxn>
                <a:cxn ang="0">
                  <a:pos x="77" y="37"/>
                </a:cxn>
                <a:cxn ang="0">
                  <a:pos x="34" y="28"/>
                </a:cxn>
                <a:cxn ang="0">
                  <a:pos x="41" y="35"/>
                </a:cxn>
                <a:cxn ang="0">
                  <a:pos x="39" y="41"/>
                </a:cxn>
                <a:cxn ang="0">
                  <a:pos x="47" y="46"/>
                </a:cxn>
                <a:cxn ang="0">
                  <a:pos x="43" y="63"/>
                </a:cxn>
                <a:cxn ang="0">
                  <a:pos x="47" y="90"/>
                </a:cxn>
                <a:cxn ang="0">
                  <a:pos x="43" y="112"/>
                </a:cxn>
                <a:cxn ang="0">
                  <a:pos x="21" y="103"/>
                </a:cxn>
                <a:cxn ang="0">
                  <a:pos x="4" y="118"/>
                </a:cxn>
                <a:cxn ang="0">
                  <a:pos x="6" y="133"/>
                </a:cxn>
                <a:cxn ang="0">
                  <a:pos x="0" y="144"/>
                </a:cxn>
                <a:cxn ang="0">
                  <a:pos x="11" y="161"/>
                </a:cxn>
                <a:cxn ang="0">
                  <a:pos x="23" y="149"/>
                </a:cxn>
                <a:cxn ang="0">
                  <a:pos x="23" y="149"/>
                </a:cxn>
              </a:cxnLst>
              <a:rect l="0" t="0" r="r" b="b"/>
              <a:pathLst>
                <a:path w="118" h="161">
                  <a:moveTo>
                    <a:pt x="23" y="149"/>
                  </a:moveTo>
                  <a:lnTo>
                    <a:pt x="26" y="155"/>
                  </a:lnTo>
                  <a:lnTo>
                    <a:pt x="36" y="157"/>
                  </a:lnTo>
                  <a:lnTo>
                    <a:pt x="47" y="149"/>
                  </a:lnTo>
                  <a:lnTo>
                    <a:pt x="53" y="157"/>
                  </a:lnTo>
                  <a:lnTo>
                    <a:pt x="73" y="140"/>
                  </a:lnTo>
                  <a:lnTo>
                    <a:pt x="81" y="106"/>
                  </a:lnTo>
                  <a:lnTo>
                    <a:pt x="103" y="82"/>
                  </a:lnTo>
                  <a:lnTo>
                    <a:pt x="109" y="31"/>
                  </a:lnTo>
                  <a:lnTo>
                    <a:pt x="118" y="0"/>
                  </a:lnTo>
                  <a:lnTo>
                    <a:pt x="107" y="5"/>
                  </a:lnTo>
                  <a:lnTo>
                    <a:pt x="98" y="0"/>
                  </a:lnTo>
                  <a:lnTo>
                    <a:pt x="84" y="5"/>
                  </a:lnTo>
                  <a:lnTo>
                    <a:pt x="77" y="16"/>
                  </a:lnTo>
                  <a:lnTo>
                    <a:pt x="77" y="37"/>
                  </a:lnTo>
                  <a:lnTo>
                    <a:pt x="34" y="28"/>
                  </a:lnTo>
                  <a:lnTo>
                    <a:pt x="41" y="35"/>
                  </a:lnTo>
                  <a:lnTo>
                    <a:pt x="39" y="41"/>
                  </a:lnTo>
                  <a:lnTo>
                    <a:pt x="47" y="46"/>
                  </a:lnTo>
                  <a:lnTo>
                    <a:pt x="43" y="63"/>
                  </a:lnTo>
                  <a:lnTo>
                    <a:pt x="47" y="90"/>
                  </a:lnTo>
                  <a:lnTo>
                    <a:pt x="43" y="112"/>
                  </a:lnTo>
                  <a:lnTo>
                    <a:pt x="21" y="103"/>
                  </a:lnTo>
                  <a:lnTo>
                    <a:pt x="4" y="118"/>
                  </a:lnTo>
                  <a:lnTo>
                    <a:pt x="6" y="133"/>
                  </a:lnTo>
                  <a:lnTo>
                    <a:pt x="0" y="144"/>
                  </a:lnTo>
                  <a:lnTo>
                    <a:pt x="11" y="161"/>
                  </a:lnTo>
                  <a:lnTo>
                    <a:pt x="23" y="149"/>
                  </a:lnTo>
                  <a:lnTo>
                    <a:pt x="23" y="14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35" name="Freeform 5715"/>
            <p:cNvSpPr>
              <a:spLocks/>
            </p:cNvSpPr>
            <p:nvPr>
              <p:custDataLst>
                <p:tags r:id="rId81"/>
              </p:custDataLst>
            </p:nvPr>
          </p:nvSpPr>
          <p:spPr bwMode="gray">
            <a:xfrm>
              <a:off x="6789085" y="4287572"/>
              <a:ext cx="115478" cy="149009"/>
            </a:xfrm>
            <a:custGeom>
              <a:avLst/>
              <a:gdLst/>
              <a:ahLst/>
              <a:cxnLst>
                <a:cxn ang="0">
                  <a:pos x="84" y="7"/>
                </a:cxn>
                <a:cxn ang="0">
                  <a:pos x="82" y="13"/>
                </a:cxn>
                <a:cxn ang="0">
                  <a:pos x="90" y="18"/>
                </a:cxn>
                <a:cxn ang="0">
                  <a:pos x="86" y="35"/>
                </a:cxn>
                <a:cxn ang="0">
                  <a:pos x="90" y="62"/>
                </a:cxn>
                <a:cxn ang="0">
                  <a:pos x="86" y="84"/>
                </a:cxn>
                <a:cxn ang="0">
                  <a:pos x="64" y="75"/>
                </a:cxn>
                <a:cxn ang="0">
                  <a:pos x="47" y="90"/>
                </a:cxn>
                <a:cxn ang="0">
                  <a:pos x="49" y="105"/>
                </a:cxn>
                <a:cxn ang="0">
                  <a:pos x="43" y="116"/>
                </a:cxn>
                <a:cxn ang="0">
                  <a:pos x="19" y="92"/>
                </a:cxn>
                <a:cxn ang="0">
                  <a:pos x="0" y="56"/>
                </a:cxn>
                <a:cxn ang="0">
                  <a:pos x="9" y="48"/>
                </a:cxn>
                <a:cxn ang="0">
                  <a:pos x="9" y="41"/>
                </a:cxn>
                <a:cxn ang="0">
                  <a:pos x="15" y="24"/>
                </a:cxn>
                <a:cxn ang="0">
                  <a:pos x="43" y="20"/>
                </a:cxn>
                <a:cxn ang="0">
                  <a:pos x="41" y="0"/>
                </a:cxn>
                <a:cxn ang="0">
                  <a:pos x="77" y="0"/>
                </a:cxn>
                <a:cxn ang="0">
                  <a:pos x="84" y="7"/>
                </a:cxn>
                <a:cxn ang="0">
                  <a:pos x="84" y="7"/>
                </a:cxn>
              </a:cxnLst>
              <a:rect l="0" t="0" r="r" b="b"/>
              <a:pathLst>
                <a:path w="90" h="116">
                  <a:moveTo>
                    <a:pt x="84" y="7"/>
                  </a:moveTo>
                  <a:lnTo>
                    <a:pt x="82" y="13"/>
                  </a:lnTo>
                  <a:lnTo>
                    <a:pt x="90" y="18"/>
                  </a:lnTo>
                  <a:lnTo>
                    <a:pt x="86" y="35"/>
                  </a:lnTo>
                  <a:lnTo>
                    <a:pt x="90" y="62"/>
                  </a:lnTo>
                  <a:lnTo>
                    <a:pt x="86" y="84"/>
                  </a:lnTo>
                  <a:lnTo>
                    <a:pt x="64" y="75"/>
                  </a:lnTo>
                  <a:lnTo>
                    <a:pt x="47" y="90"/>
                  </a:lnTo>
                  <a:lnTo>
                    <a:pt x="49" y="105"/>
                  </a:lnTo>
                  <a:lnTo>
                    <a:pt x="43" y="116"/>
                  </a:lnTo>
                  <a:lnTo>
                    <a:pt x="19" y="92"/>
                  </a:lnTo>
                  <a:lnTo>
                    <a:pt x="0" y="56"/>
                  </a:lnTo>
                  <a:lnTo>
                    <a:pt x="9" y="48"/>
                  </a:lnTo>
                  <a:lnTo>
                    <a:pt x="9" y="41"/>
                  </a:lnTo>
                  <a:lnTo>
                    <a:pt x="15" y="24"/>
                  </a:lnTo>
                  <a:lnTo>
                    <a:pt x="43" y="20"/>
                  </a:lnTo>
                  <a:lnTo>
                    <a:pt x="41" y="0"/>
                  </a:lnTo>
                  <a:lnTo>
                    <a:pt x="77" y="0"/>
                  </a:lnTo>
                  <a:lnTo>
                    <a:pt x="84" y="7"/>
                  </a:lnTo>
                  <a:lnTo>
                    <a:pt x="84" y="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36" name="Freeform 5716"/>
            <p:cNvSpPr>
              <a:spLocks/>
            </p:cNvSpPr>
            <p:nvPr>
              <p:custDataLst>
                <p:tags r:id="rId82"/>
              </p:custDataLst>
            </p:nvPr>
          </p:nvSpPr>
          <p:spPr bwMode="gray">
            <a:xfrm>
              <a:off x="6800633" y="4287572"/>
              <a:ext cx="43625" cy="30829"/>
            </a:xfrm>
            <a:custGeom>
              <a:avLst/>
              <a:gdLst/>
              <a:ahLst/>
              <a:cxnLst>
                <a:cxn ang="0">
                  <a:pos x="34" y="20"/>
                </a:cxn>
                <a:cxn ang="0">
                  <a:pos x="32" y="0"/>
                </a:cxn>
                <a:cxn ang="0">
                  <a:pos x="6" y="0"/>
                </a:cxn>
                <a:cxn ang="0">
                  <a:pos x="0" y="20"/>
                </a:cxn>
                <a:cxn ang="0">
                  <a:pos x="4" y="24"/>
                </a:cxn>
                <a:cxn ang="0">
                  <a:pos x="34" y="20"/>
                </a:cxn>
                <a:cxn ang="0">
                  <a:pos x="34" y="20"/>
                </a:cxn>
              </a:cxnLst>
              <a:rect l="0" t="0" r="r" b="b"/>
              <a:pathLst>
                <a:path w="34" h="24">
                  <a:moveTo>
                    <a:pt x="34" y="20"/>
                  </a:moveTo>
                  <a:lnTo>
                    <a:pt x="32" y="0"/>
                  </a:lnTo>
                  <a:lnTo>
                    <a:pt x="6" y="0"/>
                  </a:lnTo>
                  <a:lnTo>
                    <a:pt x="0" y="20"/>
                  </a:lnTo>
                  <a:lnTo>
                    <a:pt x="4" y="24"/>
                  </a:lnTo>
                  <a:lnTo>
                    <a:pt x="34" y="20"/>
                  </a:lnTo>
                  <a:lnTo>
                    <a:pt x="34" y="2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37" name="Freeform 5717"/>
            <p:cNvSpPr>
              <a:spLocks/>
            </p:cNvSpPr>
            <p:nvPr>
              <p:custDataLst>
                <p:tags r:id="rId83"/>
              </p:custDataLst>
            </p:nvPr>
          </p:nvSpPr>
          <p:spPr bwMode="gray">
            <a:xfrm>
              <a:off x="6535033" y="4083327"/>
              <a:ext cx="91100" cy="151578"/>
            </a:xfrm>
            <a:custGeom>
              <a:avLst/>
              <a:gdLst/>
              <a:ahLst/>
              <a:cxnLst>
                <a:cxn ang="0">
                  <a:pos x="64" y="79"/>
                </a:cxn>
                <a:cxn ang="0">
                  <a:pos x="60" y="37"/>
                </a:cxn>
                <a:cxn ang="0">
                  <a:pos x="49" y="0"/>
                </a:cxn>
                <a:cxn ang="0">
                  <a:pos x="9" y="2"/>
                </a:cxn>
                <a:cxn ang="0">
                  <a:pos x="6" y="5"/>
                </a:cxn>
                <a:cxn ang="0">
                  <a:pos x="9" y="30"/>
                </a:cxn>
                <a:cxn ang="0">
                  <a:pos x="13" y="52"/>
                </a:cxn>
                <a:cxn ang="0">
                  <a:pos x="0" y="84"/>
                </a:cxn>
                <a:cxn ang="0">
                  <a:pos x="8" y="110"/>
                </a:cxn>
                <a:cxn ang="0">
                  <a:pos x="0" y="112"/>
                </a:cxn>
                <a:cxn ang="0">
                  <a:pos x="19" y="118"/>
                </a:cxn>
                <a:cxn ang="0">
                  <a:pos x="56" y="99"/>
                </a:cxn>
                <a:cxn ang="0">
                  <a:pos x="68" y="99"/>
                </a:cxn>
                <a:cxn ang="0">
                  <a:pos x="71" y="92"/>
                </a:cxn>
                <a:cxn ang="0">
                  <a:pos x="64" y="79"/>
                </a:cxn>
                <a:cxn ang="0">
                  <a:pos x="64" y="79"/>
                </a:cxn>
              </a:cxnLst>
              <a:rect l="0" t="0" r="r" b="b"/>
              <a:pathLst>
                <a:path w="71" h="118">
                  <a:moveTo>
                    <a:pt x="64" y="79"/>
                  </a:moveTo>
                  <a:lnTo>
                    <a:pt x="60" y="37"/>
                  </a:lnTo>
                  <a:lnTo>
                    <a:pt x="49" y="0"/>
                  </a:lnTo>
                  <a:lnTo>
                    <a:pt x="9" y="2"/>
                  </a:lnTo>
                  <a:lnTo>
                    <a:pt x="6" y="5"/>
                  </a:lnTo>
                  <a:lnTo>
                    <a:pt x="9" y="30"/>
                  </a:lnTo>
                  <a:lnTo>
                    <a:pt x="13" y="52"/>
                  </a:lnTo>
                  <a:lnTo>
                    <a:pt x="0" y="84"/>
                  </a:lnTo>
                  <a:lnTo>
                    <a:pt x="8" y="110"/>
                  </a:lnTo>
                  <a:lnTo>
                    <a:pt x="0" y="112"/>
                  </a:lnTo>
                  <a:lnTo>
                    <a:pt x="19" y="118"/>
                  </a:lnTo>
                  <a:lnTo>
                    <a:pt x="56" y="99"/>
                  </a:lnTo>
                  <a:lnTo>
                    <a:pt x="68" y="99"/>
                  </a:lnTo>
                  <a:lnTo>
                    <a:pt x="71" y="92"/>
                  </a:lnTo>
                  <a:lnTo>
                    <a:pt x="64" y="79"/>
                  </a:lnTo>
                  <a:lnTo>
                    <a:pt x="64" y="7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38" name="Freeform 5718"/>
            <p:cNvSpPr>
              <a:spLocks/>
            </p:cNvSpPr>
            <p:nvPr>
              <p:custDataLst>
                <p:tags r:id="rId84"/>
              </p:custDataLst>
            </p:nvPr>
          </p:nvSpPr>
          <p:spPr bwMode="gray">
            <a:xfrm>
              <a:off x="6664625" y="4010107"/>
              <a:ext cx="242505" cy="228652"/>
            </a:xfrm>
            <a:custGeom>
              <a:avLst/>
              <a:gdLst/>
              <a:ahLst/>
              <a:cxnLst>
                <a:cxn ang="0">
                  <a:pos x="183" y="13"/>
                </a:cxn>
                <a:cxn ang="0">
                  <a:pos x="174" y="0"/>
                </a:cxn>
                <a:cxn ang="0">
                  <a:pos x="170" y="0"/>
                </a:cxn>
                <a:cxn ang="0">
                  <a:pos x="155" y="13"/>
                </a:cxn>
                <a:cxn ang="0">
                  <a:pos x="125" y="10"/>
                </a:cxn>
                <a:cxn ang="0">
                  <a:pos x="106" y="21"/>
                </a:cxn>
                <a:cxn ang="0">
                  <a:pos x="82" y="10"/>
                </a:cxn>
                <a:cxn ang="0">
                  <a:pos x="71" y="17"/>
                </a:cxn>
                <a:cxn ang="0">
                  <a:pos x="48" y="0"/>
                </a:cxn>
                <a:cxn ang="0">
                  <a:pos x="31" y="4"/>
                </a:cxn>
                <a:cxn ang="0">
                  <a:pos x="16" y="23"/>
                </a:cxn>
                <a:cxn ang="0">
                  <a:pos x="15" y="40"/>
                </a:cxn>
                <a:cxn ang="0">
                  <a:pos x="15" y="40"/>
                </a:cxn>
                <a:cxn ang="0">
                  <a:pos x="16" y="60"/>
                </a:cxn>
                <a:cxn ang="0">
                  <a:pos x="2" y="100"/>
                </a:cxn>
                <a:cxn ang="0">
                  <a:pos x="0" y="139"/>
                </a:cxn>
                <a:cxn ang="0">
                  <a:pos x="20" y="137"/>
                </a:cxn>
                <a:cxn ang="0">
                  <a:pos x="37" y="146"/>
                </a:cxn>
                <a:cxn ang="0">
                  <a:pos x="43" y="171"/>
                </a:cxn>
                <a:cxn ang="0">
                  <a:pos x="52" y="178"/>
                </a:cxn>
                <a:cxn ang="0">
                  <a:pos x="93" y="169"/>
                </a:cxn>
                <a:cxn ang="0">
                  <a:pos x="112" y="130"/>
                </a:cxn>
                <a:cxn ang="0">
                  <a:pos x="127" y="130"/>
                </a:cxn>
                <a:cxn ang="0">
                  <a:pos x="134" y="137"/>
                </a:cxn>
                <a:cxn ang="0">
                  <a:pos x="142" y="133"/>
                </a:cxn>
                <a:cxn ang="0">
                  <a:pos x="155" y="100"/>
                </a:cxn>
                <a:cxn ang="0">
                  <a:pos x="163" y="92"/>
                </a:cxn>
                <a:cxn ang="0">
                  <a:pos x="172" y="56"/>
                </a:cxn>
                <a:cxn ang="0">
                  <a:pos x="189" y="40"/>
                </a:cxn>
                <a:cxn ang="0">
                  <a:pos x="183" y="25"/>
                </a:cxn>
                <a:cxn ang="0">
                  <a:pos x="183" y="13"/>
                </a:cxn>
                <a:cxn ang="0">
                  <a:pos x="183" y="13"/>
                </a:cxn>
              </a:cxnLst>
              <a:rect l="0" t="0" r="r" b="b"/>
              <a:pathLst>
                <a:path w="189" h="178">
                  <a:moveTo>
                    <a:pt x="183" y="13"/>
                  </a:moveTo>
                  <a:lnTo>
                    <a:pt x="174" y="0"/>
                  </a:lnTo>
                  <a:lnTo>
                    <a:pt x="170" y="0"/>
                  </a:lnTo>
                  <a:lnTo>
                    <a:pt x="155" y="13"/>
                  </a:lnTo>
                  <a:lnTo>
                    <a:pt x="125" y="10"/>
                  </a:lnTo>
                  <a:lnTo>
                    <a:pt x="106" y="21"/>
                  </a:lnTo>
                  <a:lnTo>
                    <a:pt x="82" y="10"/>
                  </a:lnTo>
                  <a:lnTo>
                    <a:pt x="71" y="17"/>
                  </a:lnTo>
                  <a:lnTo>
                    <a:pt x="48" y="0"/>
                  </a:lnTo>
                  <a:lnTo>
                    <a:pt x="31" y="4"/>
                  </a:lnTo>
                  <a:lnTo>
                    <a:pt x="16" y="23"/>
                  </a:lnTo>
                  <a:lnTo>
                    <a:pt x="15" y="40"/>
                  </a:lnTo>
                  <a:lnTo>
                    <a:pt x="15" y="40"/>
                  </a:lnTo>
                  <a:lnTo>
                    <a:pt x="16" y="60"/>
                  </a:lnTo>
                  <a:lnTo>
                    <a:pt x="2" y="100"/>
                  </a:lnTo>
                  <a:lnTo>
                    <a:pt x="0" y="139"/>
                  </a:lnTo>
                  <a:lnTo>
                    <a:pt x="20" y="137"/>
                  </a:lnTo>
                  <a:lnTo>
                    <a:pt x="37" y="146"/>
                  </a:lnTo>
                  <a:lnTo>
                    <a:pt x="43" y="171"/>
                  </a:lnTo>
                  <a:lnTo>
                    <a:pt x="52" y="178"/>
                  </a:lnTo>
                  <a:lnTo>
                    <a:pt x="93" y="169"/>
                  </a:lnTo>
                  <a:lnTo>
                    <a:pt x="112" y="130"/>
                  </a:lnTo>
                  <a:lnTo>
                    <a:pt x="127" y="130"/>
                  </a:lnTo>
                  <a:lnTo>
                    <a:pt x="134" y="137"/>
                  </a:lnTo>
                  <a:lnTo>
                    <a:pt x="142" y="133"/>
                  </a:lnTo>
                  <a:lnTo>
                    <a:pt x="155" y="100"/>
                  </a:lnTo>
                  <a:lnTo>
                    <a:pt x="163" y="92"/>
                  </a:lnTo>
                  <a:lnTo>
                    <a:pt x="172" y="56"/>
                  </a:lnTo>
                  <a:lnTo>
                    <a:pt x="189" y="40"/>
                  </a:lnTo>
                  <a:lnTo>
                    <a:pt x="183" y="25"/>
                  </a:lnTo>
                  <a:lnTo>
                    <a:pt x="183" y="13"/>
                  </a:lnTo>
                  <a:lnTo>
                    <a:pt x="183" y="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39" name="Freeform 5719"/>
            <p:cNvSpPr>
              <a:spLocks/>
            </p:cNvSpPr>
            <p:nvPr>
              <p:custDataLst>
                <p:tags r:id="rId85"/>
              </p:custDataLst>
            </p:nvPr>
          </p:nvSpPr>
          <p:spPr bwMode="gray">
            <a:xfrm>
              <a:off x="6424687" y="4092319"/>
              <a:ext cx="127026" cy="151578"/>
            </a:xfrm>
            <a:custGeom>
              <a:avLst/>
              <a:gdLst/>
              <a:ahLst/>
              <a:cxnLst>
                <a:cxn ang="0">
                  <a:pos x="94" y="103"/>
                </a:cxn>
                <a:cxn ang="0">
                  <a:pos x="86" y="77"/>
                </a:cxn>
                <a:cxn ang="0">
                  <a:pos x="99" y="45"/>
                </a:cxn>
                <a:cxn ang="0">
                  <a:pos x="95" y="23"/>
                </a:cxn>
                <a:cxn ang="0">
                  <a:pos x="80" y="13"/>
                </a:cxn>
                <a:cxn ang="0">
                  <a:pos x="60" y="15"/>
                </a:cxn>
                <a:cxn ang="0">
                  <a:pos x="54" y="8"/>
                </a:cxn>
                <a:cxn ang="0">
                  <a:pos x="41" y="8"/>
                </a:cxn>
                <a:cxn ang="0">
                  <a:pos x="36" y="0"/>
                </a:cxn>
                <a:cxn ang="0">
                  <a:pos x="22" y="10"/>
                </a:cxn>
                <a:cxn ang="0">
                  <a:pos x="13" y="6"/>
                </a:cxn>
                <a:cxn ang="0">
                  <a:pos x="9" y="10"/>
                </a:cxn>
                <a:cxn ang="0">
                  <a:pos x="6" y="21"/>
                </a:cxn>
                <a:cxn ang="0">
                  <a:pos x="13" y="40"/>
                </a:cxn>
                <a:cxn ang="0">
                  <a:pos x="4" y="45"/>
                </a:cxn>
                <a:cxn ang="0">
                  <a:pos x="6" y="55"/>
                </a:cxn>
                <a:cxn ang="0">
                  <a:pos x="0" y="58"/>
                </a:cxn>
                <a:cxn ang="0">
                  <a:pos x="2" y="79"/>
                </a:cxn>
                <a:cxn ang="0">
                  <a:pos x="17" y="94"/>
                </a:cxn>
                <a:cxn ang="0">
                  <a:pos x="15" y="118"/>
                </a:cxn>
                <a:cxn ang="0">
                  <a:pos x="41" y="105"/>
                </a:cxn>
                <a:cxn ang="0">
                  <a:pos x="67" y="102"/>
                </a:cxn>
                <a:cxn ang="0">
                  <a:pos x="86" y="105"/>
                </a:cxn>
                <a:cxn ang="0">
                  <a:pos x="94" y="103"/>
                </a:cxn>
                <a:cxn ang="0">
                  <a:pos x="94" y="103"/>
                </a:cxn>
              </a:cxnLst>
              <a:rect l="0" t="0" r="r" b="b"/>
              <a:pathLst>
                <a:path w="99" h="118">
                  <a:moveTo>
                    <a:pt x="94" y="103"/>
                  </a:moveTo>
                  <a:lnTo>
                    <a:pt x="86" y="77"/>
                  </a:lnTo>
                  <a:lnTo>
                    <a:pt x="99" y="45"/>
                  </a:lnTo>
                  <a:lnTo>
                    <a:pt x="95" y="23"/>
                  </a:lnTo>
                  <a:lnTo>
                    <a:pt x="80" y="13"/>
                  </a:lnTo>
                  <a:lnTo>
                    <a:pt x="60" y="15"/>
                  </a:lnTo>
                  <a:lnTo>
                    <a:pt x="54" y="8"/>
                  </a:lnTo>
                  <a:lnTo>
                    <a:pt x="41" y="8"/>
                  </a:lnTo>
                  <a:lnTo>
                    <a:pt x="36" y="0"/>
                  </a:lnTo>
                  <a:lnTo>
                    <a:pt x="22" y="10"/>
                  </a:lnTo>
                  <a:lnTo>
                    <a:pt x="13" y="6"/>
                  </a:lnTo>
                  <a:lnTo>
                    <a:pt x="9" y="10"/>
                  </a:lnTo>
                  <a:lnTo>
                    <a:pt x="6" y="21"/>
                  </a:lnTo>
                  <a:lnTo>
                    <a:pt x="13" y="40"/>
                  </a:lnTo>
                  <a:lnTo>
                    <a:pt x="4" y="45"/>
                  </a:lnTo>
                  <a:lnTo>
                    <a:pt x="6" y="55"/>
                  </a:lnTo>
                  <a:lnTo>
                    <a:pt x="0" y="58"/>
                  </a:lnTo>
                  <a:lnTo>
                    <a:pt x="2" y="79"/>
                  </a:lnTo>
                  <a:lnTo>
                    <a:pt x="17" y="94"/>
                  </a:lnTo>
                  <a:lnTo>
                    <a:pt x="15" y="118"/>
                  </a:lnTo>
                  <a:lnTo>
                    <a:pt x="41" y="105"/>
                  </a:lnTo>
                  <a:lnTo>
                    <a:pt x="67" y="102"/>
                  </a:lnTo>
                  <a:lnTo>
                    <a:pt x="86" y="105"/>
                  </a:lnTo>
                  <a:lnTo>
                    <a:pt x="94" y="103"/>
                  </a:lnTo>
                  <a:lnTo>
                    <a:pt x="94" y="10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40" name="Freeform 5720"/>
            <p:cNvSpPr>
              <a:spLocks/>
            </p:cNvSpPr>
            <p:nvPr>
              <p:custDataLst>
                <p:tags r:id="rId86"/>
              </p:custDataLst>
            </p:nvPr>
          </p:nvSpPr>
          <p:spPr bwMode="gray">
            <a:xfrm>
              <a:off x="6242488" y="3951018"/>
              <a:ext cx="124460" cy="102765"/>
            </a:xfrm>
            <a:custGeom>
              <a:avLst/>
              <a:gdLst/>
              <a:ahLst/>
              <a:cxnLst>
                <a:cxn ang="0">
                  <a:pos x="86" y="35"/>
                </a:cxn>
                <a:cxn ang="0">
                  <a:pos x="97" y="79"/>
                </a:cxn>
                <a:cxn ang="0">
                  <a:pos x="60" y="73"/>
                </a:cxn>
                <a:cxn ang="0">
                  <a:pos x="11" y="79"/>
                </a:cxn>
                <a:cxn ang="0">
                  <a:pos x="9" y="80"/>
                </a:cxn>
                <a:cxn ang="0">
                  <a:pos x="9" y="65"/>
                </a:cxn>
                <a:cxn ang="0">
                  <a:pos x="11" y="67"/>
                </a:cxn>
                <a:cxn ang="0">
                  <a:pos x="35" y="60"/>
                </a:cxn>
                <a:cxn ang="0">
                  <a:pos x="56" y="62"/>
                </a:cxn>
                <a:cxn ang="0">
                  <a:pos x="58" y="58"/>
                </a:cxn>
                <a:cxn ang="0">
                  <a:pos x="35" y="50"/>
                </a:cxn>
                <a:cxn ang="0">
                  <a:pos x="11" y="56"/>
                </a:cxn>
                <a:cxn ang="0">
                  <a:pos x="11" y="56"/>
                </a:cxn>
                <a:cxn ang="0">
                  <a:pos x="11" y="50"/>
                </a:cxn>
                <a:cxn ang="0">
                  <a:pos x="0" y="37"/>
                </a:cxn>
                <a:cxn ang="0">
                  <a:pos x="18" y="15"/>
                </a:cxn>
                <a:cxn ang="0">
                  <a:pos x="30" y="4"/>
                </a:cxn>
                <a:cxn ang="0">
                  <a:pos x="46" y="0"/>
                </a:cxn>
                <a:cxn ang="0">
                  <a:pos x="67" y="13"/>
                </a:cxn>
                <a:cxn ang="0">
                  <a:pos x="86" y="35"/>
                </a:cxn>
                <a:cxn ang="0">
                  <a:pos x="86" y="35"/>
                </a:cxn>
              </a:cxnLst>
              <a:rect l="0" t="0" r="r" b="b"/>
              <a:pathLst>
                <a:path w="97" h="80">
                  <a:moveTo>
                    <a:pt x="86" y="35"/>
                  </a:moveTo>
                  <a:lnTo>
                    <a:pt x="97" y="79"/>
                  </a:lnTo>
                  <a:lnTo>
                    <a:pt x="60" y="73"/>
                  </a:lnTo>
                  <a:lnTo>
                    <a:pt x="11" y="79"/>
                  </a:lnTo>
                  <a:lnTo>
                    <a:pt x="9" y="80"/>
                  </a:lnTo>
                  <a:lnTo>
                    <a:pt x="9" y="65"/>
                  </a:lnTo>
                  <a:lnTo>
                    <a:pt x="11" y="67"/>
                  </a:lnTo>
                  <a:lnTo>
                    <a:pt x="35" y="60"/>
                  </a:lnTo>
                  <a:lnTo>
                    <a:pt x="56" y="62"/>
                  </a:lnTo>
                  <a:lnTo>
                    <a:pt x="58" y="58"/>
                  </a:lnTo>
                  <a:lnTo>
                    <a:pt x="35" y="50"/>
                  </a:lnTo>
                  <a:lnTo>
                    <a:pt x="11" y="56"/>
                  </a:lnTo>
                  <a:lnTo>
                    <a:pt x="11" y="56"/>
                  </a:lnTo>
                  <a:lnTo>
                    <a:pt x="11" y="50"/>
                  </a:lnTo>
                  <a:lnTo>
                    <a:pt x="0" y="37"/>
                  </a:lnTo>
                  <a:lnTo>
                    <a:pt x="18" y="15"/>
                  </a:lnTo>
                  <a:lnTo>
                    <a:pt x="30" y="4"/>
                  </a:lnTo>
                  <a:lnTo>
                    <a:pt x="46" y="0"/>
                  </a:lnTo>
                  <a:lnTo>
                    <a:pt x="67" y="13"/>
                  </a:lnTo>
                  <a:lnTo>
                    <a:pt x="86" y="35"/>
                  </a:lnTo>
                  <a:lnTo>
                    <a:pt x="86" y="3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41" name="Freeform 5721"/>
            <p:cNvSpPr>
              <a:spLocks/>
            </p:cNvSpPr>
            <p:nvPr>
              <p:custDataLst>
                <p:tags r:id="rId87"/>
              </p:custDataLst>
            </p:nvPr>
          </p:nvSpPr>
          <p:spPr bwMode="gray">
            <a:xfrm>
              <a:off x="6757486" y="3476917"/>
              <a:ext cx="71853" cy="164424"/>
            </a:xfrm>
            <a:custGeom>
              <a:avLst/>
              <a:gdLst/>
              <a:ahLst/>
              <a:cxnLst>
                <a:cxn ang="0">
                  <a:pos x="54" y="75"/>
                </a:cxn>
                <a:cxn ang="0">
                  <a:pos x="56" y="90"/>
                </a:cxn>
                <a:cxn ang="0">
                  <a:pos x="40" y="107"/>
                </a:cxn>
                <a:cxn ang="0">
                  <a:pos x="40" y="124"/>
                </a:cxn>
                <a:cxn ang="0">
                  <a:pos x="28" y="128"/>
                </a:cxn>
                <a:cxn ang="0">
                  <a:pos x="25" y="100"/>
                </a:cxn>
                <a:cxn ang="0">
                  <a:pos x="10" y="88"/>
                </a:cxn>
                <a:cxn ang="0">
                  <a:pos x="0" y="66"/>
                </a:cxn>
                <a:cxn ang="0">
                  <a:pos x="13" y="45"/>
                </a:cxn>
                <a:cxn ang="0">
                  <a:pos x="13" y="14"/>
                </a:cxn>
                <a:cxn ang="0">
                  <a:pos x="21" y="6"/>
                </a:cxn>
                <a:cxn ang="0">
                  <a:pos x="32" y="0"/>
                </a:cxn>
                <a:cxn ang="0">
                  <a:pos x="41" y="2"/>
                </a:cxn>
                <a:cxn ang="0">
                  <a:pos x="45" y="12"/>
                </a:cxn>
                <a:cxn ang="0">
                  <a:pos x="54" y="6"/>
                </a:cxn>
                <a:cxn ang="0">
                  <a:pos x="45" y="17"/>
                </a:cxn>
                <a:cxn ang="0">
                  <a:pos x="54" y="38"/>
                </a:cxn>
                <a:cxn ang="0">
                  <a:pos x="40" y="57"/>
                </a:cxn>
                <a:cxn ang="0">
                  <a:pos x="41" y="64"/>
                </a:cxn>
                <a:cxn ang="0">
                  <a:pos x="53" y="66"/>
                </a:cxn>
                <a:cxn ang="0">
                  <a:pos x="54" y="75"/>
                </a:cxn>
                <a:cxn ang="0">
                  <a:pos x="54" y="75"/>
                </a:cxn>
                <a:cxn ang="0">
                  <a:pos x="54" y="75"/>
                </a:cxn>
              </a:cxnLst>
              <a:rect l="0" t="0" r="r" b="b"/>
              <a:pathLst>
                <a:path w="56" h="128">
                  <a:moveTo>
                    <a:pt x="54" y="75"/>
                  </a:moveTo>
                  <a:lnTo>
                    <a:pt x="56" y="90"/>
                  </a:lnTo>
                  <a:lnTo>
                    <a:pt x="40" y="107"/>
                  </a:lnTo>
                  <a:lnTo>
                    <a:pt x="40" y="124"/>
                  </a:lnTo>
                  <a:lnTo>
                    <a:pt x="28" y="128"/>
                  </a:lnTo>
                  <a:lnTo>
                    <a:pt x="25" y="100"/>
                  </a:lnTo>
                  <a:lnTo>
                    <a:pt x="10" y="88"/>
                  </a:lnTo>
                  <a:lnTo>
                    <a:pt x="0" y="66"/>
                  </a:lnTo>
                  <a:lnTo>
                    <a:pt x="13" y="45"/>
                  </a:lnTo>
                  <a:lnTo>
                    <a:pt x="13" y="14"/>
                  </a:lnTo>
                  <a:lnTo>
                    <a:pt x="21" y="6"/>
                  </a:lnTo>
                  <a:lnTo>
                    <a:pt x="32" y="0"/>
                  </a:lnTo>
                  <a:lnTo>
                    <a:pt x="41" y="2"/>
                  </a:lnTo>
                  <a:lnTo>
                    <a:pt x="45" y="12"/>
                  </a:lnTo>
                  <a:lnTo>
                    <a:pt x="54" y="6"/>
                  </a:lnTo>
                  <a:lnTo>
                    <a:pt x="45" y="17"/>
                  </a:lnTo>
                  <a:lnTo>
                    <a:pt x="54" y="38"/>
                  </a:lnTo>
                  <a:lnTo>
                    <a:pt x="40" y="57"/>
                  </a:lnTo>
                  <a:lnTo>
                    <a:pt x="41" y="64"/>
                  </a:lnTo>
                  <a:lnTo>
                    <a:pt x="53" y="66"/>
                  </a:lnTo>
                  <a:lnTo>
                    <a:pt x="54" y="75"/>
                  </a:lnTo>
                  <a:lnTo>
                    <a:pt x="54" y="75"/>
                  </a:lnTo>
                  <a:lnTo>
                    <a:pt x="54" y="7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42" name="Freeform 5722"/>
            <p:cNvSpPr>
              <a:spLocks/>
            </p:cNvSpPr>
            <p:nvPr>
              <p:custDataLst>
                <p:tags r:id="rId88"/>
              </p:custDataLst>
            </p:nvPr>
          </p:nvSpPr>
          <p:spPr bwMode="gray">
            <a:xfrm>
              <a:off x="6445694" y="3325339"/>
              <a:ext cx="232240" cy="181123"/>
            </a:xfrm>
            <a:custGeom>
              <a:avLst/>
              <a:gdLst/>
              <a:ahLst/>
              <a:cxnLst>
                <a:cxn ang="0">
                  <a:pos x="129" y="17"/>
                </a:cxn>
                <a:cxn ang="0">
                  <a:pos x="179" y="21"/>
                </a:cxn>
                <a:cxn ang="0">
                  <a:pos x="181" y="32"/>
                </a:cxn>
                <a:cxn ang="0">
                  <a:pos x="148" y="49"/>
                </a:cxn>
                <a:cxn ang="0">
                  <a:pos x="127" y="77"/>
                </a:cxn>
                <a:cxn ang="0">
                  <a:pos x="135" y="92"/>
                </a:cxn>
                <a:cxn ang="0">
                  <a:pos x="97" y="128"/>
                </a:cxn>
                <a:cxn ang="0">
                  <a:pos x="60" y="130"/>
                </a:cxn>
                <a:cxn ang="0">
                  <a:pos x="45" y="141"/>
                </a:cxn>
                <a:cxn ang="0">
                  <a:pos x="24" y="118"/>
                </a:cxn>
                <a:cxn ang="0">
                  <a:pos x="30" y="100"/>
                </a:cxn>
                <a:cxn ang="0">
                  <a:pos x="24" y="75"/>
                </a:cxn>
                <a:cxn ang="0">
                  <a:pos x="32" y="68"/>
                </a:cxn>
                <a:cxn ang="0">
                  <a:pos x="33" y="53"/>
                </a:cxn>
                <a:cxn ang="0">
                  <a:pos x="43" y="42"/>
                </a:cxn>
                <a:cxn ang="0">
                  <a:pos x="41" y="34"/>
                </a:cxn>
                <a:cxn ang="0">
                  <a:pos x="7" y="32"/>
                </a:cxn>
                <a:cxn ang="0">
                  <a:pos x="0" y="13"/>
                </a:cxn>
                <a:cxn ang="0">
                  <a:pos x="3" y="8"/>
                </a:cxn>
                <a:cxn ang="0">
                  <a:pos x="18" y="0"/>
                </a:cxn>
                <a:cxn ang="0">
                  <a:pos x="71" y="8"/>
                </a:cxn>
                <a:cxn ang="0">
                  <a:pos x="103" y="8"/>
                </a:cxn>
                <a:cxn ang="0">
                  <a:pos x="110" y="6"/>
                </a:cxn>
                <a:cxn ang="0">
                  <a:pos x="129" y="17"/>
                </a:cxn>
                <a:cxn ang="0">
                  <a:pos x="129" y="17"/>
                </a:cxn>
              </a:cxnLst>
              <a:rect l="0" t="0" r="r" b="b"/>
              <a:pathLst>
                <a:path w="181" h="141">
                  <a:moveTo>
                    <a:pt x="129" y="17"/>
                  </a:moveTo>
                  <a:lnTo>
                    <a:pt x="179" y="21"/>
                  </a:lnTo>
                  <a:lnTo>
                    <a:pt x="181" y="32"/>
                  </a:lnTo>
                  <a:lnTo>
                    <a:pt x="148" y="49"/>
                  </a:lnTo>
                  <a:lnTo>
                    <a:pt x="127" y="77"/>
                  </a:lnTo>
                  <a:lnTo>
                    <a:pt x="135" y="92"/>
                  </a:lnTo>
                  <a:lnTo>
                    <a:pt x="97" y="128"/>
                  </a:lnTo>
                  <a:lnTo>
                    <a:pt x="60" y="130"/>
                  </a:lnTo>
                  <a:lnTo>
                    <a:pt x="45" y="141"/>
                  </a:lnTo>
                  <a:lnTo>
                    <a:pt x="24" y="118"/>
                  </a:lnTo>
                  <a:lnTo>
                    <a:pt x="30" y="100"/>
                  </a:lnTo>
                  <a:lnTo>
                    <a:pt x="24" y="75"/>
                  </a:lnTo>
                  <a:lnTo>
                    <a:pt x="32" y="68"/>
                  </a:lnTo>
                  <a:lnTo>
                    <a:pt x="33" y="53"/>
                  </a:lnTo>
                  <a:lnTo>
                    <a:pt x="43" y="42"/>
                  </a:lnTo>
                  <a:lnTo>
                    <a:pt x="41" y="34"/>
                  </a:lnTo>
                  <a:lnTo>
                    <a:pt x="7" y="32"/>
                  </a:lnTo>
                  <a:lnTo>
                    <a:pt x="0" y="13"/>
                  </a:lnTo>
                  <a:lnTo>
                    <a:pt x="3" y="8"/>
                  </a:lnTo>
                  <a:lnTo>
                    <a:pt x="18" y="0"/>
                  </a:lnTo>
                  <a:lnTo>
                    <a:pt x="71" y="8"/>
                  </a:lnTo>
                  <a:lnTo>
                    <a:pt x="103" y="8"/>
                  </a:lnTo>
                  <a:lnTo>
                    <a:pt x="110" y="6"/>
                  </a:lnTo>
                  <a:lnTo>
                    <a:pt x="129" y="17"/>
                  </a:lnTo>
                  <a:lnTo>
                    <a:pt x="129"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43" name="Freeform 5723"/>
            <p:cNvSpPr>
              <a:spLocks/>
            </p:cNvSpPr>
            <p:nvPr>
              <p:custDataLst>
                <p:tags r:id="rId89"/>
              </p:custDataLst>
            </p:nvPr>
          </p:nvSpPr>
          <p:spPr bwMode="gray">
            <a:xfrm>
              <a:off x="6432863" y="3366445"/>
              <a:ext cx="68004" cy="115610"/>
            </a:xfrm>
            <a:custGeom>
              <a:avLst/>
              <a:gdLst/>
              <a:ahLst/>
              <a:cxnLst>
                <a:cxn ang="0">
                  <a:pos x="40" y="68"/>
                </a:cxn>
                <a:cxn ang="0">
                  <a:pos x="34" y="43"/>
                </a:cxn>
                <a:cxn ang="0">
                  <a:pos x="42" y="36"/>
                </a:cxn>
                <a:cxn ang="0">
                  <a:pos x="43" y="21"/>
                </a:cxn>
                <a:cxn ang="0">
                  <a:pos x="53" y="10"/>
                </a:cxn>
                <a:cxn ang="0">
                  <a:pos x="51" y="2"/>
                </a:cxn>
                <a:cxn ang="0">
                  <a:pos x="17" y="0"/>
                </a:cxn>
                <a:cxn ang="0">
                  <a:pos x="15" y="15"/>
                </a:cxn>
                <a:cxn ang="0">
                  <a:pos x="0" y="58"/>
                </a:cxn>
                <a:cxn ang="0">
                  <a:pos x="10" y="64"/>
                </a:cxn>
                <a:cxn ang="0">
                  <a:pos x="4" y="90"/>
                </a:cxn>
                <a:cxn ang="0">
                  <a:pos x="34" y="86"/>
                </a:cxn>
                <a:cxn ang="0">
                  <a:pos x="40" y="68"/>
                </a:cxn>
                <a:cxn ang="0">
                  <a:pos x="40" y="68"/>
                </a:cxn>
              </a:cxnLst>
              <a:rect l="0" t="0" r="r" b="b"/>
              <a:pathLst>
                <a:path w="53" h="90">
                  <a:moveTo>
                    <a:pt x="40" y="68"/>
                  </a:moveTo>
                  <a:lnTo>
                    <a:pt x="34" y="43"/>
                  </a:lnTo>
                  <a:lnTo>
                    <a:pt x="42" y="36"/>
                  </a:lnTo>
                  <a:lnTo>
                    <a:pt x="43" y="21"/>
                  </a:lnTo>
                  <a:lnTo>
                    <a:pt x="53" y="10"/>
                  </a:lnTo>
                  <a:lnTo>
                    <a:pt x="51" y="2"/>
                  </a:lnTo>
                  <a:lnTo>
                    <a:pt x="17" y="0"/>
                  </a:lnTo>
                  <a:lnTo>
                    <a:pt x="15" y="15"/>
                  </a:lnTo>
                  <a:lnTo>
                    <a:pt x="0" y="58"/>
                  </a:lnTo>
                  <a:lnTo>
                    <a:pt x="10" y="64"/>
                  </a:lnTo>
                  <a:lnTo>
                    <a:pt x="4" y="90"/>
                  </a:lnTo>
                  <a:lnTo>
                    <a:pt x="34" y="86"/>
                  </a:lnTo>
                  <a:lnTo>
                    <a:pt x="40" y="68"/>
                  </a:lnTo>
                  <a:lnTo>
                    <a:pt x="40" y="6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44" name="Freeform 5724"/>
            <p:cNvSpPr>
              <a:spLocks/>
            </p:cNvSpPr>
            <p:nvPr>
              <p:custDataLst>
                <p:tags r:id="rId90"/>
              </p:custDataLst>
            </p:nvPr>
          </p:nvSpPr>
          <p:spPr bwMode="gray">
            <a:xfrm>
              <a:off x="6539360" y="3151924"/>
              <a:ext cx="232240" cy="200391"/>
            </a:xfrm>
            <a:custGeom>
              <a:avLst/>
              <a:gdLst/>
              <a:ahLst/>
              <a:cxnLst>
                <a:cxn ang="0">
                  <a:pos x="174" y="64"/>
                </a:cxn>
                <a:cxn ang="0">
                  <a:pos x="181" y="42"/>
                </a:cxn>
                <a:cxn ang="0">
                  <a:pos x="157" y="30"/>
                </a:cxn>
                <a:cxn ang="0">
                  <a:pos x="150" y="29"/>
                </a:cxn>
                <a:cxn ang="0">
                  <a:pos x="140" y="27"/>
                </a:cxn>
                <a:cxn ang="0">
                  <a:pos x="138" y="19"/>
                </a:cxn>
                <a:cxn ang="0">
                  <a:pos x="129" y="21"/>
                </a:cxn>
                <a:cxn ang="0">
                  <a:pos x="110" y="2"/>
                </a:cxn>
                <a:cxn ang="0">
                  <a:pos x="108" y="0"/>
                </a:cxn>
                <a:cxn ang="0">
                  <a:pos x="95" y="8"/>
                </a:cxn>
                <a:cxn ang="0">
                  <a:pos x="90" y="21"/>
                </a:cxn>
                <a:cxn ang="0">
                  <a:pos x="71" y="27"/>
                </a:cxn>
                <a:cxn ang="0">
                  <a:pos x="69" y="36"/>
                </a:cxn>
                <a:cxn ang="0">
                  <a:pos x="52" y="36"/>
                </a:cxn>
                <a:cxn ang="0">
                  <a:pos x="50" y="27"/>
                </a:cxn>
                <a:cxn ang="0">
                  <a:pos x="41" y="27"/>
                </a:cxn>
                <a:cxn ang="0">
                  <a:pos x="47" y="47"/>
                </a:cxn>
                <a:cxn ang="0">
                  <a:pos x="30" y="49"/>
                </a:cxn>
                <a:cxn ang="0">
                  <a:pos x="24" y="44"/>
                </a:cxn>
                <a:cxn ang="0">
                  <a:pos x="0" y="49"/>
                </a:cxn>
                <a:cxn ang="0">
                  <a:pos x="0" y="59"/>
                </a:cxn>
                <a:cxn ang="0">
                  <a:pos x="30" y="66"/>
                </a:cxn>
                <a:cxn ang="0">
                  <a:pos x="47" y="89"/>
                </a:cxn>
                <a:cxn ang="0">
                  <a:pos x="50" y="96"/>
                </a:cxn>
                <a:cxn ang="0">
                  <a:pos x="41" y="135"/>
                </a:cxn>
                <a:cxn ang="0">
                  <a:pos x="37" y="141"/>
                </a:cxn>
                <a:cxn ang="0">
                  <a:pos x="56" y="152"/>
                </a:cxn>
                <a:cxn ang="0">
                  <a:pos x="106" y="156"/>
                </a:cxn>
                <a:cxn ang="0">
                  <a:pos x="106" y="148"/>
                </a:cxn>
                <a:cxn ang="0">
                  <a:pos x="121" y="139"/>
                </a:cxn>
                <a:cxn ang="0">
                  <a:pos x="157" y="147"/>
                </a:cxn>
                <a:cxn ang="0">
                  <a:pos x="174" y="133"/>
                </a:cxn>
                <a:cxn ang="0">
                  <a:pos x="163" y="115"/>
                </a:cxn>
                <a:cxn ang="0">
                  <a:pos x="166" y="96"/>
                </a:cxn>
                <a:cxn ang="0">
                  <a:pos x="163" y="87"/>
                </a:cxn>
                <a:cxn ang="0">
                  <a:pos x="153" y="90"/>
                </a:cxn>
                <a:cxn ang="0">
                  <a:pos x="151" y="85"/>
                </a:cxn>
                <a:cxn ang="0">
                  <a:pos x="166" y="66"/>
                </a:cxn>
                <a:cxn ang="0">
                  <a:pos x="174" y="64"/>
                </a:cxn>
                <a:cxn ang="0">
                  <a:pos x="174" y="64"/>
                </a:cxn>
                <a:cxn ang="0">
                  <a:pos x="174" y="64"/>
                </a:cxn>
              </a:cxnLst>
              <a:rect l="0" t="0" r="r" b="b"/>
              <a:pathLst>
                <a:path w="181" h="156">
                  <a:moveTo>
                    <a:pt x="174" y="64"/>
                  </a:moveTo>
                  <a:lnTo>
                    <a:pt x="181" y="42"/>
                  </a:lnTo>
                  <a:lnTo>
                    <a:pt x="157" y="30"/>
                  </a:lnTo>
                  <a:lnTo>
                    <a:pt x="150" y="29"/>
                  </a:lnTo>
                  <a:lnTo>
                    <a:pt x="140" y="27"/>
                  </a:lnTo>
                  <a:lnTo>
                    <a:pt x="138" y="19"/>
                  </a:lnTo>
                  <a:lnTo>
                    <a:pt x="129" y="21"/>
                  </a:lnTo>
                  <a:lnTo>
                    <a:pt x="110" y="2"/>
                  </a:lnTo>
                  <a:lnTo>
                    <a:pt x="108" y="0"/>
                  </a:lnTo>
                  <a:lnTo>
                    <a:pt x="95" y="8"/>
                  </a:lnTo>
                  <a:lnTo>
                    <a:pt x="90" y="21"/>
                  </a:lnTo>
                  <a:lnTo>
                    <a:pt x="71" y="27"/>
                  </a:lnTo>
                  <a:lnTo>
                    <a:pt x="69" y="36"/>
                  </a:lnTo>
                  <a:lnTo>
                    <a:pt x="52" y="36"/>
                  </a:lnTo>
                  <a:lnTo>
                    <a:pt x="50" y="27"/>
                  </a:lnTo>
                  <a:lnTo>
                    <a:pt x="41" y="27"/>
                  </a:lnTo>
                  <a:lnTo>
                    <a:pt x="47" y="47"/>
                  </a:lnTo>
                  <a:lnTo>
                    <a:pt x="30" y="49"/>
                  </a:lnTo>
                  <a:lnTo>
                    <a:pt x="24" y="44"/>
                  </a:lnTo>
                  <a:lnTo>
                    <a:pt x="0" y="49"/>
                  </a:lnTo>
                  <a:lnTo>
                    <a:pt x="0" y="59"/>
                  </a:lnTo>
                  <a:lnTo>
                    <a:pt x="30" y="66"/>
                  </a:lnTo>
                  <a:lnTo>
                    <a:pt x="47" y="89"/>
                  </a:lnTo>
                  <a:lnTo>
                    <a:pt x="50" y="96"/>
                  </a:lnTo>
                  <a:lnTo>
                    <a:pt x="41" y="135"/>
                  </a:lnTo>
                  <a:lnTo>
                    <a:pt x="37" y="141"/>
                  </a:lnTo>
                  <a:lnTo>
                    <a:pt x="56" y="152"/>
                  </a:lnTo>
                  <a:lnTo>
                    <a:pt x="106" y="156"/>
                  </a:lnTo>
                  <a:lnTo>
                    <a:pt x="106" y="148"/>
                  </a:lnTo>
                  <a:lnTo>
                    <a:pt x="121" y="139"/>
                  </a:lnTo>
                  <a:lnTo>
                    <a:pt x="157" y="147"/>
                  </a:lnTo>
                  <a:lnTo>
                    <a:pt x="174" y="133"/>
                  </a:lnTo>
                  <a:lnTo>
                    <a:pt x="163" y="115"/>
                  </a:lnTo>
                  <a:lnTo>
                    <a:pt x="166" y="96"/>
                  </a:lnTo>
                  <a:lnTo>
                    <a:pt x="163" y="87"/>
                  </a:lnTo>
                  <a:lnTo>
                    <a:pt x="153" y="90"/>
                  </a:lnTo>
                  <a:lnTo>
                    <a:pt x="151" y="85"/>
                  </a:lnTo>
                  <a:lnTo>
                    <a:pt x="166" y="66"/>
                  </a:lnTo>
                  <a:lnTo>
                    <a:pt x="174" y="64"/>
                  </a:lnTo>
                  <a:lnTo>
                    <a:pt x="174" y="64"/>
                  </a:lnTo>
                  <a:lnTo>
                    <a:pt x="174" y="6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45" name="Freeform 5725"/>
            <p:cNvSpPr>
              <a:spLocks/>
            </p:cNvSpPr>
            <p:nvPr>
              <p:custDataLst>
                <p:tags r:id="rId91"/>
              </p:custDataLst>
            </p:nvPr>
          </p:nvSpPr>
          <p:spPr bwMode="gray">
            <a:xfrm>
              <a:off x="6748504" y="3246981"/>
              <a:ext cx="220692" cy="213237"/>
            </a:xfrm>
            <a:custGeom>
              <a:avLst/>
              <a:gdLst/>
              <a:ahLst/>
              <a:cxnLst>
                <a:cxn ang="0">
                  <a:pos x="0" y="41"/>
                </a:cxn>
                <a:cxn ang="0">
                  <a:pos x="3" y="22"/>
                </a:cxn>
                <a:cxn ang="0">
                  <a:pos x="3" y="22"/>
                </a:cxn>
                <a:cxn ang="0">
                  <a:pos x="24" y="13"/>
                </a:cxn>
                <a:cxn ang="0">
                  <a:pos x="32" y="20"/>
                </a:cxn>
                <a:cxn ang="0">
                  <a:pos x="37" y="13"/>
                </a:cxn>
                <a:cxn ang="0">
                  <a:pos x="48" y="15"/>
                </a:cxn>
                <a:cxn ang="0">
                  <a:pos x="52" y="5"/>
                </a:cxn>
                <a:cxn ang="0">
                  <a:pos x="54" y="5"/>
                </a:cxn>
                <a:cxn ang="0">
                  <a:pos x="76" y="0"/>
                </a:cxn>
                <a:cxn ang="0">
                  <a:pos x="78" y="5"/>
                </a:cxn>
                <a:cxn ang="0">
                  <a:pos x="99" y="11"/>
                </a:cxn>
                <a:cxn ang="0">
                  <a:pos x="97" y="16"/>
                </a:cxn>
                <a:cxn ang="0">
                  <a:pos x="103" y="26"/>
                </a:cxn>
                <a:cxn ang="0">
                  <a:pos x="99" y="28"/>
                </a:cxn>
                <a:cxn ang="0">
                  <a:pos x="99" y="30"/>
                </a:cxn>
                <a:cxn ang="0">
                  <a:pos x="91" y="24"/>
                </a:cxn>
                <a:cxn ang="0">
                  <a:pos x="78" y="30"/>
                </a:cxn>
                <a:cxn ang="0">
                  <a:pos x="80" y="52"/>
                </a:cxn>
                <a:cxn ang="0">
                  <a:pos x="99" y="67"/>
                </a:cxn>
                <a:cxn ang="0">
                  <a:pos x="108" y="86"/>
                </a:cxn>
                <a:cxn ang="0">
                  <a:pos x="125" y="95"/>
                </a:cxn>
                <a:cxn ang="0">
                  <a:pos x="136" y="95"/>
                </a:cxn>
                <a:cxn ang="0">
                  <a:pos x="133" y="103"/>
                </a:cxn>
                <a:cxn ang="0">
                  <a:pos x="172" y="127"/>
                </a:cxn>
                <a:cxn ang="0">
                  <a:pos x="170" y="133"/>
                </a:cxn>
                <a:cxn ang="0">
                  <a:pos x="150" y="119"/>
                </a:cxn>
                <a:cxn ang="0">
                  <a:pos x="144" y="136"/>
                </a:cxn>
                <a:cxn ang="0">
                  <a:pos x="151" y="140"/>
                </a:cxn>
                <a:cxn ang="0">
                  <a:pos x="151" y="148"/>
                </a:cxn>
                <a:cxn ang="0">
                  <a:pos x="144" y="151"/>
                </a:cxn>
                <a:cxn ang="0">
                  <a:pos x="136" y="166"/>
                </a:cxn>
                <a:cxn ang="0">
                  <a:pos x="133" y="166"/>
                </a:cxn>
                <a:cxn ang="0">
                  <a:pos x="138" y="151"/>
                </a:cxn>
                <a:cxn ang="0">
                  <a:pos x="131" y="129"/>
                </a:cxn>
                <a:cxn ang="0">
                  <a:pos x="99" y="106"/>
                </a:cxn>
                <a:cxn ang="0">
                  <a:pos x="82" y="103"/>
                </a:cxn>
                <a:cxn ang="0">
                  <a:pos x="69" y="86"/>
                </a:cxn>
                <a:cxn ang="0">
                  <a:pos x="61" y="86"/>
                </a:cxn>
                <a:cxn ang="0">
                  <a:pos x="48" y="56"/>
                </a:cxn>
                <a:cxn ang="0">
                  <a:pos x="28" y="50"/>
                </a:cxn>
                <a:cxn ang="0">
                  <a:pos x="11" y="59"/>
                </a:cxn>
                <a:cxn ang="0">
                  <a:pos x="0" y="41"/>
                </a:cxn>
                <a:cxn ang="0">
                  <a:pos x="0" y="41"/>
                </a:cxn>
              </a:cxnLst>
              <a:rect l="0" t="0" r="r" b="b"/>
              <a:pathLst>
                <a:path w="172" h="166">
                  <a:moveTo>
                    <a:pt x="0" y="41"/>
                  </a:moveTo>
                  <a:lnTo>
                    <a:pt x="3" y="22"/>
                  </a:lnTo>
                  <a:lnTo>
                    <a:pt x="3" y="22"/>
                  </a:lnTo>
                  <a:lnTo>
                    <a:pt x="24" y="13"/>
                  </a:lnTo>
                  <a:lnTo>
                    <a:pt x="32" y="20"/>
                  </a:lnTo>
                  <a:lnTo>
                    <a:pt x="37" y="13"/>
                  </a:lnTo>
                  <a:lnTo>
                    <a:pt x="48" y="15"/>
                  </a:lnTo>
                  <a:lnTo>
                    <a:pt x="52" y="5"/>
                  </a:lnTo>
                  <a:lnTo>
                    <a:pt x="54" y="5"/>
                  </a:lnTo>
                  <a:lnTo>
                    <a:pt x="76" y="0"/>
                  </a:lnTo>
                  <a:lnTo>
                    <a:pt x="78" y="5"/>
                  </a:lnTo>
                  <a:lnTo>
                    <a:pt x="99" y="11"/>
                  </a:lnTo>
                  <a:lnTo>
                    <a:pt x="97" y="16"/>
                  </a:lnTo>
                  <a:lnTo>
                    <a:pt x="103" y="26"/>
                  </a:lnTo>
                  <a:lnTo>
                    <a:pt x="99" y="28"/>
                  </a:lnTo>
                  <a:lnTo>
                    <a:pt x="99" y="30"/>
                  </a:lnTo>
                  <a:lnTo>
                    <a:pt x="91" y="24"/>
                  </a:lnTo>
                  <a:lnTo>
                    <a:pt x="78" y="30"/>
                  </a:lnTo>
                  <a:lnTo>
                    <a:pt x="80" y="52"/>
                  </a:lnTo>
                  <a:lnTo>
                    <a:pt x="99" y="67"/>
                  </a:lnTo>
                  <a:lnTo>
                    <a:pt x="108" y="86"/>
                  </a:lnTo>
                  <a:lnTo>
                    <a:pt x="125" y="95"/>
                  </a:lnTo>
                  <a:lnTo>
                    <a:pt x="136" y="95"/>
                  </a:lnTo>
                  <a:lnTo>
                    <a:pt x="133" y="103"/>
                  </a:lnTo>
                  <a:lnTo>
                    <a:pt x="172" y="127"/>
                  </a:lnTo>
                  <a:lnTo>
                    <a:pt x="170" y="133"/>
                  </a:lnTo>
                  <a:lnTo>
                    <a:pt x="150" y="119"/>
                  </a:lnTo>
                  <a:lnTo>
                    <a:pt x="144" y="136"/>
                  </a:lnTo>
                  <a:lnTo>
                    <a:pt x="151" y="140"/>
                  </a:lnTo>
                  <a:lnTo>
                    <a:pt x="151" y="148"/>
                  </a:lnTo>
                  <a:lnTo>
                    <a:pt x="144" y="151"/>
                  </a:lnTo>
                  <a:lnTo>
                    <a:pt x="136" y="166"/>
                  </a:lnTo>
                  <a:lnTo>
                    <a:pt x="133" y="166"/>
                  </a:lnTo>
                  <a:lnTo>
                    <a:pt x="138" y="151"/>
                  </a:lnTo>
                  <a:lnTo>
                    <a:pt x="131" y="129"/>
                  </a:lnTo>
                  <a:lnTo>
                    <a:pt x="99" y="106"/>
                  </a:lnTo>
                  <a:lnTo>
                    <a:pt x="82" y="103"/>
                  </a:lnTo>
                  <a:lnTo>
                    <a:pt x="69" y="86"/>
                  </a:lnTo>
                  <a:lnTo>
                    <a:pt x="61" y="86"/>
                  </a:lnTo>
                  <a:lnTo>
                    <a:pt x="48" y="56"/>
                  </a:lnTo>
                  <a:lnTo>
                    <a:pt x="28" y="50"/>
                  </a:lnTo>
                  <a:lnTo>
                    <a:pt x="11" y="59"/>
                  </a:lnTo>
                  <a:lnTo>
                    <a:pt x="0" y="41"/>
                  </a:lnTo>
                  <a:lnTo>
                    <a:pt x="0" y="4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46" name="Freeform 5726"/>
            <p:cNvSpPr>
              <a:spLocks/>
            </p:cNvSpPr>
            <p:nvPr>
              <p:custDataLst>
                <p:tags r:id="rId92"/>
              </p:custDataLst>
            </p:nvPr>
          </p:nvSpPr>
          <p:spPr bwMode="gray">
            <a:xfrm>
              <a:off x="7041049" y="3316347"/>
              <a:ext cx="120611" cy="66797"/>
            </a:xfrm>
            <a:custGeom>
              <a:avLst/>
              <a:gdLst/>
              <a:ahLst/>
              <a:cxnLst>
                <a:cxn ang="0">
                  <a:pos x="68" y="0"/>
                </a:cxn>
                <a:cxn ang="0">
                  <a:pos x="45" y="7"/>
                </a:cxn>
                <a:cxn ang="0">
                  <a:pos x="23" y="5"/>
                </a:cxn>
                <a:cxn ang="0">
                  <a:pos x="6" y="0"/>
                </a:cxn>
                <a:cxn ang="0">
                  <a:pos x="0" y="5"/>
                </a:cxn>
                <a:cxn ang="0">
                  <a:pos x="4" y="20"/>
                </a:cxn>
                <a:cxn ang="0">
                  <a:pos x="2" y="34"/>
                </a:cxn>
                <a:cxn ang="0">
                  <a:pos x="11" y="50"/>
                </a:cxn>
                <a:cxn ang="0">
                  <a:pos x="34" y="45"/>
                </a:cxn>
                <a:cxn ang="0">
                  <a:pos x="49" y="52"/>
                </a:cxn>
                <a:cxn ang="0">
                  <a:pos x="62" y="41"/>
                </a:cxn>
                <a:cxn ang="0">
                  <a:pos x="86" y="41"/>
                </a:cxn>
                <a:cxn ang="0">
                  <a:pos x="77" y="30"/>
                </a:cxn>
                <a:cxn ang="0">
                  <a:pos x="83" y="15"/>
                </a:cxn>
                <a:cxn ang="0">
                  <a:pos x="92" y="13"/>
                </a:cxn>
                <a:cxn ang="0">
                  <a:pos x="94" y="7"/>
                </a:cxn>
                <a:cxn ang="0">
                  <a:pos x="68" y="0"/>
                </a:cxn>
                <a:cxn ang="0">
                  <a:pos x="68" y="0"/>
                </a:cxn>
              </a:cxnLst>
              <a:rect l="0" t="0" r="r" b="b"/>
              <a:pathLst>
                <a:path w="94" h="52">
                  <a:moveTo>
                    <a:pt x="68" y="0"/>
                  </a:moveTo>
                  <a:lnTo>
                    <a:pt x="45" y="7"/>
                  </a:lnTo>
                  <a:lnTo>
                    <a:pt x="23" y="5"/>
                  </a:lnTo>
                  <a:lnTo>
                    <a:pt x="6" y="0"/>
                  </a:lnTo>
                  <a:lnTo>
                    <a:pt x="0" y="5"/>
                  </a:lnTo>
                  <a:lnTo>
                    <a:pt x="4" y="20"/>
                  </a:lnTo>
                  <a:lnTo>
                    <a:pt x="2" y="34"/>
                  </a:lnTo>
                  <a:lnTo>
                    <a:pt x="11" y="50"/>
                  </a:lnTo>
                  <a:lnTo>
                    <a:pt x="34" y="45"/>
                  </a:lnTo>
                  <a:lnTo>
                    <a:pt x="49" y="52"/>
                  </a:lnTo>
                  <a:lnTo>
                    <a:pt x="62" y="41"/>
                  </a:lnTo>
                  <a:lnTo>
                    <a:pt x="86" y="41"/>
                  </a:lnTo>
                  <a:lnTo>
                    <a:pt x="77" y="30"/>
                  </a:lnTo>
                  <a:lnTo>
                    <a:pt x="83" y="15"/>
                  </a:lnTo>
                  <a:lnTo>
                    <a:pt x="92" y="13"/>
                  </a:lnTo>
                  <a:lnTo>
                    <a:pt x="94" y="7"/>
                  </a:lnTo>
                  <a:lnTo>
                    <a:pt x="68" y="0"/>
                  </a:lnTo>
                  <a:lnTo>
                    <a:pt x="68"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47" name="Freeform 5727"/>
            <p:cNvSpPr>
              <a:spLocks/>
            </p:cNvSpPr>
            <p:nvPr>
              <p:custDataLst>
                <p:tags r:id="rId93"/>
              </p:custDataLst>
            </p:nvPr>
          </p:nvSpPr>
          <p:spPr bwMode="gray">
            <a:xfrm>
              <a:off x="7002556" y="3369014"/>
              <a:ext cx="118045" cy="101480"/>
            </a:xfrm>
            <a:custGeom>
              <a:avLst/>
              <a:gdLst/>
              <a:ahLst/>
              <a:cxnLst>
                <a:cxn ang="0">
                  <a:pos x="92" y="0"/>
                </a:cxn>
                <a:cxn ang="0">
                  <a:pos x="79" y="11"/>
                </a:cxn>
                <a:cxn ang="0">
                  <a:pos x="64" y="4"/>
                </a:cxn>
                <a:cxn ang="0">
                  <a:pos x="41" y="9"/>
                </a:cxn>
                <a:cxn ang="0">
                  <a:pos x="13" y="19"/>
                </a:cxn>
                <a:cxn ang="0">
                  <a:pos x="13" y="19"/>
                </a:cxn>
                <a:cxn ang="0">
                  <a:pos x="13" y="24"/>
                </a:cxn>
                <a:cxn ang="0">
                  <a:pos x="0" y="39"/>
                </a:cxn>
                <a:cxn ang="0">
                  <a:pos x="0" y="41"/>
                </a:cxn>
                <a:cxn ang="0">
                  <a:pos x="15" y="66"/>
                </a:cxn>
                <a:cxn ang="0">
                  <a:pos x="38" y="66"/>
                </a:cxn>
                <a:cxn ang="0">
                  <a:pos x="60" y="79"/>
                </a:cxn>
                <a:cxn ang="0">
                  <a:pos x="60" y="68"/>
                </a:cxn>
                <a:cxn ang="0">
                  <a:pos x="70" y="71"/>
                </a:cxn>
                <a:cxn ang="0">
                  <a:pos x="49" y="54"/>
                </a:cxn>
                <a:cxn ang="0">
                  <a:pos x="36" y="34"/>
                </a:cxn>
                <a:cxn ang="0">
                  <a:pos x="36" y="23"/>
                </a:cxn>
                <a:cxn ang="0">
                  <a:pos x="53" y="32"/>
                </a:cxn>
                <a:cxn ang="0">
                  <a:pos x="51" y="23"/>
                </a:cxn>
                <a:cxn ang="0">
                  <a:pos x="60" y="17"/>
                </a:cxn>
                <a:cxn ang="0">
                  <a:pos x="83" y="19"/>
                </a:cxn>
                <a:cxn ang="0">
                  <a:pos x="88" y="24"/>
                </a:cxn>
                <a:cxn ang="0">
                  <a:pos x="92" y="0"/>
                </a:cxn>
                <a:cxn ang="0">
                  <a:pos x="92" y="0"/>
                </a:cxn>
              </a:cxnLst>
              <a:rect l="0" t="0" r="r" b="b"/>
              <a:pathLst>
                <a:path w="92" h="79">
                  <a:moveTo>
                    <a:pt x="92" y="0"/>
                  </a:moveTo>
                  <a:lnTo>
                    <a:pt x="79" y="11"/>
                  </a:lnTo>
                  <a:lnTo>
                    <a:pt x="64" y="4"/>
                  </a:lnTo>
                  <a:lnTo>
                    <a:pt x="41" y="9"/>
                  </a:lnTo>
                  <a:lnTo>
                    <a:pt x="13" y="19"/>
                  </a:lnTo>
                  <a:lnTo>
                    <a:pt x="13" y="19"/>
                  </a:lnTo>
                  <a:lnTo>
                    <a:pt x="13" y="24"/>
                  </a:lnTo>
                  <a:lnTo>
                    <a:pt x="0" y="39"/>
                  </a:lnTo>
                  <a:lnTo>
                    <a:pt x="0" y="41"/>
                  </a:lnTo>
                  <a:lnTo>
                    <a:pt x="15" y="66"/>
                  </a:lnTo>
                  <a:lnTo>
                    <a:pt x="38" y="66"/>
                  </a:lnTo>
                  <a:lnTo>
                    <a:pt x="60" y="79"/>
                  </a:lnTo>
                  <a:lnTo>
                    <a:pt x="60" y="68"/>
                  </a:lnTo>
                  <a:lnTo>
                    <a:pt x="70" y="71"/>
                  </a:lnTo>
                  <a:lnTo>
                    <a:pt x="49" y="54"/>
                  </a:lnTo>
                  <a:lnTo>
                    <a:pt x="36" y="34"/>
                  </a:lnTo>
                  <a:lnTo>
                    <a:pt x="36" y="23"/>
                  </a:lnTo>
                  <a:lnTo>
                    <a:pt x="53" y="32"/>
                  </a:lnTo>
                  <a:lnTo>
                    <a:pt x="51" y="23"/>
                  </a:lnTo>
                  <a:lnTo>
                    <a:pt x="60" y="17"/>
                  </a:lnTo>
                  <a:lnTo>
                    <a:pt x="83" y="19"/>
                  </a:lnTo>
                  <a:lnTo>
                    <a:pt x="88" y="24"/>
                  </a:lnTo>
                  <a:lnTo>
                    <a:pt x="92" y="0"/>
                  </a:lnTo>
                  <a:lnTo>
                    <a:pt x="92"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48" name="Freeform 5728"/>
            <p:cNvSpPr>
              <a:spLocks/>
            </p:cNvSpPr>
            <p:nvPr>
              <p:custDataLst>
                <p:tags r:id="rId94"/>
              </p:custDataLst>
            </p:nvPr>
          </p:nvSpPr>
          <p:spPr bwMode="gray">
            <a:xfrm>
              <a:off x="6997424" y="3220005"/>
              <a:ext cx="178350" cy="105334"/>
            </a:xfrm>
            <a:custGeom>
              <a:avLst/>
              <a:gdLst/>
              <a:ahLst/>
              <a:cxnLst>
                <a:cxn ang="0">
                  <a:pos x="120" y="47"/>
                </a:cxn>
                <a:cxn ang="0">
                  <a:pos x="122" y="52"/>
                </a:cxn>
                <a:cxn ang="0">
                  <a:pos x="139" y="52"/>
                </a:cxn>
                <a:cxn ang="0">
                  <a:pos x="137" y="62"/>
                </a:cxn>
                <a:cxn ang="0">
                  <a:pos x="126" y="71"/>
                </a:cxn>
                <a:cxn ang="0">
                  <a:pos x="128" y="82"/>
                </a:cxn>
                <a:cxn ang="0">
                  <a:pos x="102" y="75"/>
                </a:cxn>
                <a:cxn ang="0">
                  <a:pos x="79" y="82"/>
                </a:cxn>
                <a:cxn ang="0">
                  <a:pos x="57" y="80"/>
                </a:cxn>
                <a:cxn ang="0">
                  <a:pos x="40" y="75"/>
                </a:cxn>
                <a:cxn ang="0">
                  <a:pos x="34" y="64"/>
                </a:cxn>
                <a:cxn ang="0">
                  <a:pos x="19" y="62"/>
                </a:cxn>
                <a:cxn ang="0">
                  <a:pos x="0" y="37"/>
                </a:cxn>
                <a:cxn ang="0">
                  <a:pos x="0" y="37"/>
                </a:cxn>
                <a:cxn ang="0">
                  <a:pos x="14" y="34"/>
                </a:cxn>
                <a:cxn ang="0">
                  <a:pos x="27" y="9"/>
                </a:cxn>
                <a:cxn ang="0">
                  <a:pos x="36" y="6"/>
                </a:cxn>
                <a:cxn ang="0">
                  <a:pos x="66" y="7"/>
                </a:cxn>
                <a:cxn ang="0">
                  <a:pos x="89" y="0"/>
                </a:cxn>
                <a:cxn ang="0">
                  <a:pos x="96" y="2"/>
                </a:cxn>
                <a:cxn ang="0">
                  <a:pos x="113" y="26"/>
                </a:cxn>
                <a:cxn ang="0">
                  <a:pos x="120" y="47"/>
                </a:cxn>
                <a:cxn ang="0">
                  <a:pos x="120" y="47"/>
                </a:cxn>
              </a:cxnLst>
              <a:rect l="0" t="0" r="r" b="b"/>
              <a:pathLst>
                <a:path w="139" h="82">
                  <a:moveTo>
                    <a:pt x="120" y="47"/>
                  </a:moveTo>
                  <a:lnTo>
                    <a:pt x="122" y="52"/>
                  </a:lnTo>
                  <a:lnTo>
                    <a:pt x="139" y="52"/>
                  </a:lnTo>
                  <a:lnTo>
                    <a:pt x="137" y="62"/>
                  </a:lnTo>
                  <a:lnTo>
                    <a:pt x="126" y="71"/>
                  </a:lnTo>
                  <a:lnTo>
                    <a:pt x="128" y="82"/>
                  </a:lnTo>
                  <a:lnTo>
                    <a:pt x="102" y="75"/>
                  </a:lnTo>
                  <a:lnTo>
                    <a:pt x="79" y="82"/>
                  </a:lnTo>
                  <a:lnTo>
                    <a:pt x="57" y="80"/>
                  </a:lnTo>
                  <a:lnTo>
                    <a:pt x="40" y="75"/>
                  </a:lnTo>
                  <a:lnTo>
                    <a:pt x="34" y="64"/>
                  </a:lnTo>
                  <a:lnTo>
                    <a:pt x="19" y="62"/>
                  </a:lnTo>
                  <a:lnTo>
                    <a:pt x="0" y="37"/>
                  </a:lnTo>
                  <a:lnTo>
                    <a:pt x="0" y="37"/>
                  </a:lnTo>
                  <a:lnTo>
                    <a:pt x="14" y="34"/>
                  </a:lnTo>
                  <a:lnTo>
                    <a:pt x="27" y="9"/>
                  </a:lnTo>
                  <a:lnTo>
                    <a:pt x="36" y="6"/>
                  </a:lnTo>
                  <a:lnTo>
                    <a:pt x="66" y="7"/>
                  </a:lnTo>
                  <a:lnTo>
                    <a:pt x="89" y="0"/>
                  </a:lnTo>
                  <a:lnTo>
                    <a:pt x="96" y="2"/>
                  </a:lnTo>
                  <a:lnTo>
                    <a:pt x="113" y="26"/>
                  </a:lnTo>
                  <a:lnTo>
                    <a:pt x="120" y="47"/>
                  </a:lnTo>
                  <a:lnTo>
                    <a:pt x="120" y="4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49" name="Freeform 5729"/>
            <p:cNvSpPr>
              <a:spLocks/>
            </p:cNvSpPr>
            <p:nvPr>
              <p:custDataLst>
                <p:tags r:id="rId95"/>
              </p:custDataLst>
            </p:nvPr>
          </p:nvSpPr>
          <p:spPr bwMode="gray">
            <a:xfrm>
              <a:off x="6872964" y="3250835"/>
              <a:ext cx="52607" cy="34683"/>
            </a:xfrm>
            <a:custGeom>
              <a:avLst/>
              <a:gdLst/>
              <a:ahLst/>
              <a:cxnLst>
                <a:cxn ang="0">
                  <a:pos x="2" y="27"/>
                </a:cxn>
                <a:cxn ang="0">
                  <a:pos x="2" y="25"/>
                </a:cxn>
                <a:cxn ang="0">
                  <a:pos x="6" y="23"/>
                </a:cxn>
                <a:cxn ang="0">
                  <a:pos x="0" y="13"/>
                </a:cxn>
                <a:cxn ang="0">
                  <a:pos x="2" y="8"/>
                </a:cxn>
                <a:cxn ang="0">
                  <a:pos x="38" y="0"/>
                </a:cxn>
                <a:cxn ang="0">
                  <a:pos x="41" y="4"/>
                </a:cxn>
                <a:cxn ang="0">
                  <a:pos x="41" y="4"/>
                </a:cxn>
                <a:cxn ang="0">
                  <a:pos x="28" y="13"/>
                </a:cxn>
                <a:cxn ang="0">
                  <a:pos x="26" y="23"/>
                </a:cxn>
                <a:cxn ang="0">
                  <a:pos x="17" y="21"/>
                </a:cxn>
                <a:cxn ang="0">
                  <a:pos x="8" y="27"/>
                </a:cxn>
                <a:cxn ang="0">
                  <a:pos x="2" y="27"/>
                </a:cxn>
                <a:cxn ang="0">
                  <a:pos x="2" y="27"/>
                </a:cxn>
              </a:cxnLst>
              <a:rect l="0" t="0" r="r" b="b"/>
              <a:pathLst>
                <a:path w="41" h="27">
                  <a:moveTo>
                    <a:pt x="2" y="27"/>
                  </a:moveTo>
                  <a:lnTo>
                    <a:pt x="2" y="25"/>
                  </a:lnTo>
                  <a:lnTo>
                    <a:pt x="6" y="23"/>
                  </a:lnTo>
                  <a:lnTo>
                    <a:pt x="0" y="13"/>
                  </a:lnTo>
                  <a:lnTo>
                    <a:pt x="2" y="8"/>
                  </a:lnTo>
                  <a:lnTo>
                    <a:pt x="38" y="0"/>
                  </a:lnTo>
                  <a:lnTo>
                    <a:pt x="41" y="4"/>
                  </a:lnTo>
                  <a:lnTo>
                    <a:pt x="41" y="4"/>
                  </a:lnTo>
                  <a:lnTo>
                    <a:pt x="28" y="13"/>
                  </a:lnTo>
                  <a:lnTo>
                    <a:pt x="26" y="23"/>
                  </a:lnTo>
                  <a:lnTo>
                    <a:pt x="17" y="21"/>
                  </a:lnTo>
                  <a:lnTo>
                    <a:pt x="8" y="27"/>
                  </a:lnTo>
                  <a:lnTo>
                    <a:pt x="2" y="27"/>
                  </a:lnTo>
                  <a:lnTo>
                    <a:pt x="2" y="2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50" name="Freeform 5730"/>
            <p:cNvSpPr>
              <a:spLocks/>
            </p:cNvSpPr>
            <p:nvPr>
              <p:custDataLst>
                <p:tags r:id="rId96"/>
              </p:custDataLst>
            </p:nvPr>
          </p:nvSpPr>
          <p:spPr bwMode="gray">
            <a:xfrm>
              <a:off x="6875530" y="3255973"/>
              <a:ext cx="107780" cy="96342"/>
            </a:xfrm>
            <a:custGeom>
              <a:avLst/>
              <a:gdLst/>
              <a:ahLst/>
              <a:cxnLst>
                <a:cxn ang="0">
                  <a:pos x="75" y="15"/>
                </a:cxn>
                <a:cxn ang="0">
                  <a:pos x="62" y="17"/>
                </a:cxn>
                <a:cxn ang="0">
                  <a:pos x="39" y="0"/>
                </a:cxn>
                <a:cxn ang="0">
                  <a:pos x="39" y="0"/>
                </a:cxn>
                <a:cxn ang="0">
                  <a:pos x="26" y="9"/>
                </a:cxn>
                <a:cxn ang="0">
                  <a:pos x="24" y="19"/>
                </a:cxn>
                <a:cxn ang="0">
                  <a:pos x="15" y="17"/>
                </a:cxn>
                <a:cxn ang="0">
                  <a:pos x="6" y="23"/>
                </a:cxn>
                <a:cxn ang="0">
                  <a:pos x="0" y="23"/>
                </a:cxn>
                <a:cxn ang="0">
                  <a:pos x="2" y="34"/>
                </a:cxn>
                <a:cxn ang="0">
                  <a:pos x="7" y="24"/>
                </a:cxn>
                <a:cxn ang="0">
                  <a:pos x="17" y="32"/>
                </a:cxn>
                <a:cxn ang="0">
                  <a:pos x="24" y="49"/>
                </a:cxn>
                <a:cxn ang="0">
                  <a:pos x="66" y="75"/>
                </a:cxn>
                <a:cxn ang="0">
                  <a:pos x="69" y="71"/>
                </a:cxn>
                <a:cxn ang="0">
                  <a:pos x="41" y="45"/>
                </a:cxn>
                <a:cxn ang="0">
                  <a:pos x="36" y="34"/>
                </a:cxn>
                <a:cxn ang="0">
                  <a:pos x="37" y="26"/>
                </a:cxn>
                <a:cxn ang="0">
                  <a:pos x="69" y="30"/>
                </a:cxn>
                <a:cxn ang="0">
                  <a:pos x="81" y="32"/>
                </a:cxn>
                <a:cxn ang="0">
                  <a:pos x="84" y="28"/>
                </a:cxn>
                <a:cxn ang="0">
                  <a:pos x="79" y="24"/>
                </a:cxn>
                <a:cxn ang="0">
                  <a:pos x="75" y="15"/>
                </a:cxn>
                <a:cxn ang="0">
                  <a:pos x="75" y="15"/>
                </a:cxn>
              </a:cxnLst>
              <a:rect l="0" t="0" r="r" b="b"/>
              <a:pathLst>
                <a:path w="84" h="75">
                  <a:moveTo>
                    <a:pt x="75" y="15"/>
                  </a:moveTo>
                  <a:lnTo>
                    <a:pt x="62" y="17"/>
                  </a:lnTo>
                  <a:lnTo>
                    <a:pt x="39" y="0"/>
                  </a:lnTo>
                  <a:lnTo>
                    <a:pt x="39" y="0"/>
                  </a:lnTo>
                  <a:lnTo>
                    <a:pt x="26" y="9"/>
                  </a:lnTo>
                  <a:lnTo>
                    <a:pt x="24" y="19"/>
                  </a:lnTo>
                  <a:lnTo>
                    <a:pt x="15" y="17"/>
                  </a:lnTo>
                  <a:lnTo>
                    <a:pt x="6" y="23"/>
                  </a:lnTo>
                  <a:lnTo>
                    <a:pt x="0" y="23"/>
                  </a:lnTo>
                  <a:lnTo>
                    <a:pt x="2" y="34"/>
                  </a:lnTo>
                  <a:lnTo>
                    <a:pt x="7" y="24"/>
                  </a:lnTo>
                  <a:lnTo>
                    <a:pt x="17" y="32"/>
                  </a:lnTo>
                  <a:lnTo>
                    <a:pt x="24" y="49"/>
                  </a:lnTo>
                  <a:lnTo>
                    <a:pt x="66" y="75"/>
                  </a:lnTo>
                  <a:lnTo>
                    <a:pt x="69" y="71"/>
                  </a:lnTo>
                  <a:lnTo>
                    <a:pt x="41" y="45"/>
                  </a:lnTo>
                  <a:lnTo>
                    <a:pt x="36" y="34"/>
                  </a:lnTo>
                  <a:lnTo>
                    <a:pt x="37" y="26"/>
                  </a:lnTo>
                  <a:lnTo>
                    <a:pt x="69" y="30"/>
                  </a:lnTo>
                  <a:lnTo>
                    <a:pt x="81" y="32"/>
                  </a:lnTo>
                  <a:lnTo>
                    <a:pt x="84" y="28"/>
                  </a:lnTo>
                  <a:lnTo>
                    <a:pt x="79" y="24"/>
                  </a:lnTo>
                  <a:lnTo>
                    <a:pt x="75" y="15"/>
                  </a:lnTo>
                  <a:lnTo>
                    <a:pt x="75"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51" name="Freeform 5731"/>
            <p:cNvSpPr>
              <a:spLocks/>
            </p:cNvSpPr>
            <p:nvPr>
              <p:custDataLst>
                <p:tags r:id="rId97"/>
              </p:custDataLst>
            </p:nvPr>
          </p:nvSpPr>
          <p:spPr bwMode="gray">
            <a:xfrm>
              <a:off x="6921722" y="3289372"/>
              <a:ext cx="66721" cy="57805"/>
            </a:xfrm>
            <a:custGeom>
              <a:avLst/>
              <a:gdLst/>
              <a:ahLst/>
              <a:cxnLst>
                <a:cxn ang="0">
                  <a:pos x="45" y="6"/>
                </a:cxn>
                <a:cxn ang="0">
                  <a:pos x="48" y="10"/>
                </a:cxn>
                <a:cxn ang="0">
                  <a:pos x="46" y="19"/>
                </a:cxn>
                <a:cxn ang="0">
                  <a:pos x="52" y="21"/>
                </a:cxn>
                <a:cxn ang="0">
                  <a:pos x="48" y="30"/>
                </a:cxn>
                <a:cxn ang="0">
                  <a:pos x="37" y="30"/>
                </a:cxn>
                <a:cxn ang="0">
                  <a:pos x="33" y="45"/>
                </a:cxn>
                <a:cxn ang="0">
                  <a:pos x="5" y="19"/>
                </a:cxn>
                <a:cxn ang="0">
                  <a:pos x="0" y="8"/>
                </a:cxn>
                <a:cxn ang="0">
                  <a:pos x="1" y="0"/>
                </a:cxn>
                <a:cxn ang="0">
                  <a:pos x="33" y="4"/>
                </a:cxn>
                <a:cxn ang="0">
                  <a:pos x="45" y="6"/>
                </a:cxn>
                <a:cxn ang="0">
                  <a:pos x="45" y="6"/>
                </a:cxn>
              </a:cxnLst>
              <a:rect l="0" t="0" r="r" b="b"/>
              <a:pathLst>
                <a:path w="52" h="45">
                  <a:moveTo>
                    <a:pt x="45" y="6"/>
                  </a:moveTo>
                  <a:lnTo>
                    <a:pt x="48" y="10"/>
                  </a:lnTo>
                  <a:lnTo>
                    <a:pt x="46" y="19"/>
                  </a:lnTo>
                  <a:lnTo>
                    <a:pt x="52" y="21"/>
                  </a:lnTo>
                  <a:lnTo>
                    <a:pt x="48" y="30"/>
                  </a:lnTo>
                  <a:lnTo>
                    <a:pt x="37" y="30"/>
                  </a:lnTo>
                  <a:lnTo>
                    <a:pt x="33" y="45"/>
                  </a:lnTo>
                  <a:lnTo>
                    <a:pt x="5" y="19"/>
                  </a:lnTo>
                  <a:lnTo>
                    <a:pt x="0" y="8"/>
                  </a:lnTo>
                  <a:lnTo>
                    <a:pt x="1" y="0"/>
                  </a:lnTo>
                  <a:lnTo>
                    <a:pt x="33" y="4"/>
                  </a:lnTo>
                  <a:lnTo>
                    <a:pt x="45" y="6"/>
                  </a:lnTo>
                  <a:lnTo>
                    <a:pt x="45"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52" name="Freeform 5732"/>
            <p:cNvSpPr>
              <a:spLocks/>
            </p:cNvSpPr>
            <p:nvPr>
              <p:custDataLst>
                <p:tags r:id="rId98"/>
              </p:custDataLst>
            </p:nvPr>
          </p:nvSpPr>
          <p:spPr bwMode="gray">
            <a:xfrm>
              <a:off x="6960214" y="3327908"/>
              <a:ext cx="37210" cy="41106"/>
            </a:xfrm>
            <a:custGeom>
              <a:avLst/>
              <a:gdLst/>
              <a:ahLst/>
              <a:cxnLst>
                <a:cxn ang="0">
                  <a:pos x="0" y="19"/>
                </a:cxn>
                <a:cxn ang="0">
                  <a:pos x="20" y="32"/>
                </a:cxn>
                <a:cxn ang="0">
                  <a:pos x="20" y="32"/>
                </a:cxn>
                <a:cxn ang="0">
                  <a:pos x="24" y="17"/>
                </a:cxn>
                <a:cxn ang="0">
                  <a:pos x="29" y="11"/>
                </a:cxn>
                <a:cxn ang="0">
                  <a:pos x="18" y="0"/>
                </a:cxn>
                <a:cxn ang="0">
                  <a:pos x="7" y="0"/>
                </a:cxn>
                <a:cxn ang="0">
                  <a:pos x="3" y="15"/>
                </a:cxn>
                <a:cxn ang="0">
                  <a:pos x="0" y="19"/>
                </a:cxn>
                <a:cxn ang="0">
                  <a:pos x="0" y="19"/>
                </a:cxn>
              </a:cxnLst>
              <a:rect l="0" t="0" r="r" b="b"/>
              <a:pathLst>
                <a:path w="29" h="32">
                  <a:moveTo>
                    <a:pt x="0" y="19"/>
                  </a:moveTo>
                  <a:lnTo>
                    <a:pt x="20" y="32"/>
                  </a:lnTo>
                  <a:lnTo>
                    <a:pt x="20" y="32"/>
                  </a:lnTo>
                  <a:lnTo>
                    <a:pt x="24" y="17"/>
                  </a:lnTo>
                  <a:lnTo>
                    <a:pt x="29" y="11"/>
                  </a:lnTo>
                  <a:lnTo>
                    <a:pt x="18" y="0"/>
                  </a:lnTo>
                  <a:lnTo>
                    <a:pt x="7" y="0"/>
                  </a:lnTo>
                  <a:lnTo>
                    <a:pt x="3" y="15"/>
                  </a:lnTo>
                  <a:lnTo>
                    <a:pt x="0" y="19"/>
                  </a:lnTo>
                  <a:lnTo>
                    <a:pt x="0" y="1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53" name="Freeform 5733"/>
            <p:cNvSpPr>
              <a:spLocks/>
            </p:cNvSpPr>
            <p:nvPr>
              <p:custDataLst>
                <p:tags r:id="rId99"/>
              </p:custDataLst>
            </p:nvPr>
          </p:nvSpPr>
          <p:spPr bwMode="gray">
            <a:xfrm>
              <a:off x="6971762" y="3267534"/>
              <a:ext cx="76986" cy="106618"/>
            </a:xfrm>
            <a:custGeom>
              <a:avLst/>
              <a:gdLst/>
              <a:ahLst/>
              <a:cxnLst>
                <a:cxn ang="0">
                  <a:pos x="30" y="83"/>
                </a:cxn>
                <a:cxn ang="0">
                  <a:pos x="22" y="68"/>
                </a:cxn>
                <a:cxn ang="0">
                  <a:pos x="15" y="64"/>
                </a:cxn>
                <a:cxn ang="0">
                  <a:pos x="20" y="58"/>
                </a:cxn>
                <a:cxn ang="0">
                  <a:pos x="9" y="47"/>
                </a:cxn>
                <a:cxn ang="0">
                  <a:pos x="13" y="38"/>
                </a:cxn>
                <a:cxn ang="0">
                  <a:pos x="7" y="36"/>
                </a:cxn>
                <a:cxn ang="0">
                  <a:pos x="9" y="27"/>
                </a:cxn>
                <a:cxn ang="0">
                  <a:pos x="6" y="23"/>
                </a:cxn>
                <a:cxn ang="0">
                  <a:pos x="9" y="19"/>
                </a:cxn>
                <a:cxn ang="0">
                  <a:pos x="4" y="15"/>
                </a:cxn>
                <a:cxn ang="0">
                  <a:pos x="0" y="6"/>
                </a:cxn>
                <a:cxn ang="0">
                  <a:pos x="20" y="0"/>
                </a:cxn>
                <a:cxn ang="0">
                  <a:pos x="39" y="25"/>
                </a:cxn>
                <a:cxn ang="0">
                  <a:pos x="54" y="27"/>
                </a:cxn>
                <a:cxn ang="0">
                  <a:pos x="60" y="38"/>
                </a:cxn>
                <a:cxn ang="0">
                  <a:pos x="54" y="43"/>
                </a:cxn>
                <a:cxn ang="0">
                  <a:pos x="58" y="58"/>
                </a:cxn>
                <a:cxn ang="0">
                  <a:pos x="56" y="72"/>
                </a:cxn>
                <a:cxn ang="0">
                  <a:pos x="41" y="72"/>
                </a:cxn>
                <a:cxn ang="0">
                  <a:pos x="30" y="83"/>
                </a:cxn>
                <a:cxn ang="0">
                  <a:pos x="30" y="83"/>
                </a:cxn>
              </a:cxnLst>
              <a:rect l="0" t="0" r="r" b="b"/>
              <a:pathLst>
                <a:path w="60" h="83">
                  <a:moveTo>
                    <a:pt x="30" y="83"/>
                  </a:moveTo>
                  <a:lnTo>
                    <a:pt x="22" y="68"/>
                  </a:lnTo>
                  <a:lnTo>
                    <a:pt x="15" y="64"/>
                  </a:lnTo>
                  <a:lnTo>
                    <a:pt x="20" y="58"/>
                  </a:lnTo>
                  <a:lnTo>
                    <a:pt x="9" y="47"/>
                  </a:lnTo>
                  <a:lnTo>
                    <a:pt x="13" y="38"/>
                  </a:lnTo>
                  <a:lnTo>
                    <a:pt x="7" y="36"/>
                  </a:lnTo>
                  <a:lnTo>
                    <a:pt x="9" y="27"/>
                  </a:lnTo>
                  <a:lnTo>
                    <a:pt x="6" y="23"/>
                  </a:lnTo>
                  <a:lnTo>
                    <a:pt x="9" y="19"/>
                  </a:lnTo>
                  <a:lnTo>
                    <a:pt x="4" y="15"/>
                  </a:lnTo>
                  <a:lnTo>
                    <a:pt x="0" y="6"/>
                  </a:lnTo>
                  <a:lnTo>
                    <a:pt x="20" y="0"/>
                  </a:lnTo>
                  <a:lnTo>
                    <a:pt x="39" y="25"/>
                  </a:lnTo>
                  <a:lnTo>
                    <a:pt x="54" y="27"/>
                  </a:lnTo>
                  <a:lnTo>
                    <a:pt x="60" y="38"/>
                  </a:lnTo>
                  <a:lnTo>
                    <a:pt x="54" y="43"/>
                  </a:lnTo>
                  <a:lnTo>
                    <a:pt x="58" y="58"/>
                  </a:lnTo>
                  <a:lnTo>
                    <a:pt x="56" y="72"/>
                  </a:lnTo>
                  <a:lnTo>
                    <a:pt x="41" y="72"/>
                  </a:lnTo>
                  <a:lnTo>
                    <a:pt x="30" y="83"/>
                  </a:lnTo>
                  <a:lnTo>
                    <a:pt x="30" y="8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54" name="Freeform 5734"/>
            <p:cNvSpPr>
              <a:spLocks/>
            </p:cNvSpPr>
            <p:nvPr>
              <p:custDataLst>
                <p:tags r:id="rId100"/>
              </p:custDataLst>
            </p:nvPr>
          </p:nvSpPr>
          <p:spPr bwMode="gray">
            <a:xfrm>
              <a:off x="7010255" y="3360022"/>
              <a:ext cx="44908" cy="33399"/>
            </a:xfrm>
            <a:custGeom>
              <a:avLst/>
              <a:gdLst/>
              <a:ahLst/>
              <a:cxnLst>
                <a:cxn ang="0">
                  <a:pos x="35" y="16"/>
                </a:cxn>
                <a:cxn ang="0">
                  <a:pos x="26" y="0"/>
                </a:cxn>
                <a:cxn ang="0">
                  <a:pos x="11" y="0"/>
                </a:cxn>
                <a:cxn ang="0">
                  <a:pos x="0" y="11"/>
                </a:cxn>
                <a:cxn ang="0">
                  <a:pos x="7" y="26"/>
                </a:cxn>
                <a:cxn ang="0">
                  <a:pos x="35" y="16"/>
                </a:cxn>
                <a:cxn ang="0">
                  <a:pos x="35" y="16"/>
                </a:cxn>
              </a:cxnLst>
              <a:rect l="0" t="0" r="r" b="b"/>
              <a:pathLst>
                <a:path w="35" h="26">
                  <a:moveTo>
                    <a:pt x="35" y="16"/>
                  </a:moveTo>
                  <a:lnTo>
                    <a:pt x="26" y="0"/>
                  </a:lnTo>
                  <a:lnTo>
                    <a:pt x="11" y="0"/>
                  </a:lnTo>
                  <a:lnTo>
                    <a:pt x="0" y="11"/>
                  </a:lnTo>
                  <a:lnTo>
                    <a:pt x="7" y="26"/>
                  </a:lnTo>
                  <a:lnTo>
                    <a:pt x="35" y="16"/>
                  </a:lnTo>
                  <a:lnTo>
                    <a:pt x="35" y="1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55" name="Freeform 5735"/>
            <p:cNvSpPr>
              <a:spLocks/>
            </p:cNvSpPr>
            <p:nvPr>
              <p:custDataLst>
                <p:tags r:id="rId101"/>
              </p:custDataLst>
            </p:nvPr>
          </p:nvSpPr>
          <p:spPr bwMode="gray">
            <a:xfrm>
              <a:off x="6854523" y="4003685"/>
              <a:ext cx="46191" cy="38537"/>
            </a:xfrm>
            <a:custGeom>
              <a:avLst/>
              <a:gdLst/>
              <a:ahLst/>
              <a:cxnLst>
                <a:cxn ang="0">
                  <a:pos x="0" y="2"/>
                </a:cxn>
                <a:cxn ang="0">
                  <a:pos x="17" y="30"/>
                </a:cxn>
                <a:cxn ang="0">
                  <a:pos x="32" y="24"/>
                </a:cxn>
                <a:cxn ang="0">
                  <a:pos x="36" y="15"/>
                </a:cxn>
                <a:cxn ang="0">
                  <a:pos x="17" y="13"/>
                </a:cxn>
                <a:cxn ang="0">
                  <a:pos x="13" y="0"/>
                </a:cxn>
                <a:cxn ang="0">
                  <a:pos x="0" y="2"/>
                </a:cxn>
                <a:cxn ang="0">
                  <a:pos x="0" y="2"/>
                </a:cxn>
              </a:cxnLst>
              <a:rect l="0" t="0" r="r" b="b"/>
              <a:pathLst>
                <a:path w="36" h="30">
                  <a:moveTo>
                    <a:pt x="0" y="2"/>
                  </a:moveTo>
                  <a:lnTo>
                    <a:pt x="17" y="30"/>
                  </a:lnTo>
                  <a:lnTo>
                    <a:pt x="32" y="24"/>
                  </a:lnTo>
                  <a:lnTo>
                    <a:pt x="36" y="15"/>
                  </a:lnTo>
                  <a:lnTo>
                    <a:pt x="17" y="13"/>
                  </a:lnTo>
                  <a:lnTo>
                    <a:pt x="13"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56" name="Freeform 5736"/>
            <p:cNvSpPr>
              <a:spLocks/>
            </p:cNvSpPr>
            <p:nvPr>
              <p:custDataLst>
                <p:tags r:id="rId102"/>
              </p:custDataLst>
            </p:nvPr>
          </p:nvSpPr>
          <p:spPr bwMode="gray">
            <a:xfrm>
              <a:off x="7263829" y="4561183"/>
              <a:ext cx="64155" cy="178554"/>
            </a:xfrm>
            <a:custGeom>
              <a:avLst/>
              <a:gdLst/>
              <a:ahLst/>
              <a:cxnLst>
                <a:cxn ang="0">
                  <a:pos x="37" y="83"/>
                </a:cxn>
                <a:cxn ang="0">
                  <a:pos x="39" y="94"/>
                </a:cxn>
                <a:cxn ang="0">
                  <a:pos x="24" y="75"/>
                </a:cxn>
                <a:cxn ang="0">
                  <a:pos x="20" y="51"/>
                </a:cxn>
                <a:cxn ang="0">
                  <a:pos x="26" y="43"/>
                </a:cxn>
                <a:cxn ang="0">
                  <a:pos x="22" y="4"/>
                </a:cxn>
                <a:cxn ang="0">
                  <a:pos x="20" y="4"/>
                </a:cxn>
                <a:cxn ang="0">
                  <a:pos x="5" y="0"/>
                </a:cxn>
                <a:cxn ang="0">
                  <a:pos x="15" y="25"/>
                </a:cxn>
                <a:cxn ang="0">
                  <a:pos x="9" y="40"/>
                </a:cxn>
                <a:cxn ang="0">
                  <a:pos x="11" y="55"/>
                </a:cxn>
                <a:cxn ang="0">
                  <a:pos x="0" y="79"/>
                </a:cxn>
                <a:cxn ang="0">
                  <a:pos x="5" y="86"/>
                </a:cxn>
                <a:cxn ang="0">
                  <a:pos x="13" y="96"/>
                </a:cxn>
                <a:cxn ang="0">
                  <a:pos x="26" y="96"/>
                </a:cxn>
                <a:cxn ang="0">
                  <a:pos x="24" y="120"/>
                </a:cxn>
                <a:cxn ang="0">
                  <a:pos x="35" y="139"/>
                </a:cxn>
                <a:cxn ang="0">
                  <a:pos x="48" y="118"/>
                </a:cxn>
                <a:cxn ang="0">
                  <a:pos x="50" y="101"/>
                </a:cxn>
                <a:cxn ang="0">
                  <a:pos x="37" y="83"/>
                </a:cxn>
              </a:cxnLst>
              <a:rect l="0" t="0" r="r" b="b"/>
              <a:pathLst>
                <a:path w="50" h="139">
                  <a:moveTo>
                    <a:pt x="37" y="83"/>
                  </a:moveTo>
                  <a:lnTo>
                    <a:pt x="39" y="94"/>
                  </a:lnTo>
                  <a:lnTo>
                    <a:pt x="24" y="75"/>
                  </a:lnTo>
                  <a:lnTo>
                    <a:pt x="20" y="51"/>
                  </a:lnTo>
                  <a:lnTo>
                    <a:pt x="26" y="43"/>
                  </a:lnTo>
                  <a:lnTo>
                    <a:pt x="22" y="4"/>
                  </a:lnTo>
                  <a:lnTo>
                    <a:pt x="20" y="4"/>
                  </a:lnTo>
                  <a:lnTo>
                    <a:pt x="5" y="0"/>
                  </a:lnTo>
                  <a:lnTo>
                    <a:pt x="15" y="25"/>
                  </a:lnTo>
                  <a:lnTo>
                    <a:pt x="9" y="40"/>
                  </a:lnTo>
                  <a:lnTo>
                    <a:pt x="11" y="55"/>
                  </a:lnTo>
                  <a:lnTo>
                    <a:pt x="0" y="79"/>
                  </a:lnTo>
                  <a:lnTo>
                    <a:pt x="5" y="86"/>
                  </a:lnTo>
                  <a:lnTo>
                    <a:pt x="13" y="96"/>
                  </a:lnTo>
                  <a:lnTo>
                    <a:pt x="26" y="96"/>
                  </a:lnTo>
                  <a:lnTo>
                    <a:pt x="24" y="120"/>
                  </a:lnTo>
                  <a:lnTo>
                    <a:pt x="35" y="139"/>
                  </a:lnTo>
                  <a:lnTo>
                    <a:pt x="48" y="118"/>
                  </a:lnTo>
                  <a:lnTo>
                    <a:pt x="50" y="101"/>
                  </a:lnTo>
                  <a:lnTo>
                    <a:pt x="37" y="8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57" name="Freeform 5737"/>
            <p:cNvSpPr>
              <a:spLocks/>
            </p:cNvSpPr>
            <p:nvPr>
              <p:custDataLst>
                <p:tags r:id="rId103"/>
              </p:custDataLst>
            </p:nvPr>
          </p:nvSpPr>
          <p:spPr bwMode="gray">
            <a:xfrm>
              <a:off x="6883229" y="3070997"/>
              <a:ext cx="177067" cy="129740"/>
            </a:xfrm>
            <a:custGeom>
              <a:avLst/>
              <a:gdLst/>
              <a:ahLst/>
              <a:cxnLst>
                <a:cxn ang="0">
                  <a:pos x="131" y="56"/>
                </a:cxn>
                <a:cxn ang="0">
                  <a:pos x="127" y="47"/>
                </a:cxn>
                <a:cxn ang="0">
                  <a:pos x="133" y="34"/>
                </a:cxn>
                <a:cxn ang="0">
                  <a:pos x="127" y="13"/>
                </a:cxn>
                <a:cxn ang="0">
                  <a:pos x="118" y="7"/>
                </a:cxn>
                <a:cxn ang="0">
                  <a:pos x="73" y="5"/>
                </a:cxn>
                <a:cxn ang="0">
                  <a:pos x="69" y="9"/>
                </a:cxn>
                <a:cxn ang="0">
                  <a:pos x="61" y="9"/>
                </a:cxn>
                <a:cxn ang="0">
                  <a:pos x="56" y="0"/>
                </a:cxn>
                <a:cxn ang="0">
                  <a:pos x="0" y="19"/>
                </a:cxn>
                <a:cxn ang="0">
                  <a:pos x="7" y="69"/>
                </a:cxn>
                <a:cxn ang="0">
                  <a:pos x="22" y="71"/>
                </a:cxn>
                <a:cxn ang="0">
                  <a:pos x="37" y="82"/>
                </a:cxn>
                <a:cxn ang="0">
                  <a:pos x="39" y="77"/>
                </a:cxn>
                <a:cxn ang="0">
                  <a:pos x="56" y="84"/>
                </a:cxn>
                <a:cxn ang="0">
                  <a:pos x="84" y="99"/>
                </a:cxn>
                <a:cxn ang="0">
                  <a:pos x="104" y="95"/>
                </a:cxn>
                <a:cxn ang="0">
                  <a:pos x="118" y="101"/>
                </a:cxn>
                <a:cxn ang="0">
                  <a:pos x="138" y="77"/>
                </a:cxn>
                <a:cxn ang="0">
                  <a:pos x="131" y="56"/>
                </a:cxn>
                <a:cxn ang="0">
                  <a:pos x="131" y="56"/>
                </a:cxn>
              </a:cxnLst>
              <a:rect l="0" t="0" r="r" b="b"/>
              <a:pathLst>
                <a:path w="138" h="101">
                  <a:moveTo>
                    <a:pt x="131" y="56"/>
                  </a:moveTo>
                  <a:lnTo>
                    <a:pt x="127" y="47"/>
                  </a:lnTo>
                  <a:lnTo>
                    <a:pt x="133" y="34"/>
                  </a:lnTo>
                  <a:lnTo>
                    <a:pt x="127" y="13"/>
                  </a:lnTo>
                  <a:lnTo>
                    <a:pt x="118" y="7"/>
                  </a:lnTo>
                  <a:lnTo>
                    <a:pt x="73" y="5"/>
                  </a:lnTo>
                  <a:lnTo>
                    <a:pt x="69" y="9"/>
                  </a:lnTo>
                  <a:lnTo>
                    <a:pt x="61" y="9"/>
                  </a:lnTo>
                  <a:lnTo>
                    <a:pt x="56" y="0"/>
                  </a:lnTo>
                  <a:lnTo>
                    <a:pt x="0" y="19"/>
                  </a:lnTo>
                  <a:lnTo>
                    <a:pt x="7" y="69"/>
                  </a:lnTo>
                  <a:lnTo>
                    <a:pt x="22" y="71"/>
                  </a:lnTo>
                  <a:lnTo>
                    <a:pt x="37" y="82"/>
                  </a:lnTo>
                  <a:lnTo>
                    <a:pt x="39" y="77"/>
                  </a:lnTo>
                  <a:lnTo>
                    <a:pt x="56" y="84"/>
                  </a:lnTo>
                  <a:lnTo>
                    <a:pt x="84" y="99"/>
                  </a:lnTo>
                  <a:lnTo>
                    <a:pt x="104" y="95"/>
                  </a:lnTo>
                  <a:lnTo>
                    <a:pt x="118" y="101"/>
                  </a:lnTo>
                  <a:lnTo>
                    <a:pt x="138" y="77"/>
                  </a:lnTo>
                  <a:lnTo>
                    <a:pt x="131" y="56"/>
                  </a:lnTo>
                  <a:lnTo>
                    <a:pt x="131" y="5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58" name="Freeform 5738"/>
            <p:cNvSpPr>
              <a:spLocks/>
            </p:cNvSpPr>
            <p:nvPr>
              <p:custDataLst>
                <p:tags r:id="rId104"/>
              </p:custDataLst>
            </p:nvPr>
          </p:nvSpPr>
          <p:spPr bwMode="gray">
            <a:xfrm>
              <a:off x="6735673" y="3070997"/>
              <a:ext cx="156537" cy="165708"/>
            </a:xfrm>
            <a:custGeom>
              <a:avLst/>
              <a:gdLst/>
              <a:ahLst/>
              <a:cxnLst>
                <a:cxn ang="0">
                  <a:pos x="70" y="9"/>
                </a:cxn>
                <a:cxn ang="0">
                  <a:pos x="51" y="0"/>
                </a:cxn>
                <a:cxn ang="0">
                  <a:pos x="42" y="0"/>
                </a:cxn>
                <a:cxn ang="0">
                  <a:pos x="43" y="5"/>
                </a:cxn>
                <a:cxn ang="0">
                  <a:pos x="38" y="24"/>
                </a:cxn>
                <a:cxn ang="0">
                  <a:pos x="21" y="20"/>
                </a:cxn>
                <a:cxn ang="0">
                  <a:pos x="12" y="39"/>
                </a:cxn>
                <a:cxn ang="0">
                  <a:pos x="15" y="45"/>
                </a:cxn>
                <a:cxn ang="0">
                  <a:pos x="0" y="52"/>
                </a:cxn>
                <a:cxn ang="0">
                  <a:pos x="0" y="71"/>
                </a:cxn>
                <a:cxn ang="0">
                  <a:pos x="0" y="82"/>
                </a:cxn>
                <a:cxn ang="0">
                  <a:pos x="4" y="93"/>
                </a:cxn>
                <a:cxn ang="0">
                  <a:pos x="4" y="93"/>
                </a:cxn>
                <a:cxn ang="0">
                  <a:pos x="28" y="105"/>
                </a:cxn>
                <a:cxn ang="0">
                  <a:pos x="21" y="127"/>
                </a:cxn>
                <a:cxn ang="0">
                  <a:pos x="21" y="127"/>
                </a:cxn>
                <a:cxn ang="0">
                  <a:pos x="49" y="129"/>
                </a:cxn>
                <a:cxn ang="0">
                  <a:pos x="98" y="125"/>
                </a:cxn>
                <a:cxn ang="0">
                  <a:pos x="96" y="120"/>
                </a:cxn>
                <a:cxn ang="0">
                  <a:pos x="111" y="107"/>
                </a:cxn>
                <a:cxn ang="0">
                  <a:pos x="92" y="93"/>
                </a:cxn>
                <a:cxn ang="0">
                  <a:pos x="85" y="78"/>
                </a:cxn>
                <a:cxn ang="0">
                  <a:pos x="116" y="63"/>
                </a:cxn>
                <a:cxn ang="0">
                  <a:pos x="122" y="69"/>
                </a:cxn>
                <a:cxn ang="0">
                  <a:pos x="115" y="19"/>
                </a:cxn>
                <a:cxn ang="0">
                  <a:pos x="101" y="11"/>
                </a:cxn>
                <a:cxn ang="0">
                  <a:pos x="107" y="9"/>
                </a:cxn>
                <a:cxn ang="0">
                  <a:pos x="103" y="4"/>
                </a:cxn>
                <a:cxn ang="0">
                  <a:pos x="70" y="17"/>
                </a:cxn>
                <a:cxn ang="0">
                  <a:pos x="70" y="9"/>
                </a:cxn>
                <a:cxn ang="0">
                  <a:pos x="70" y="9"/>
                </a:cxn>
              </a:cxnLst>
              <a:rect l="0" t="0" r="r" b="b"/>
              <a:pathLst>
                <a:path w="122" h="129">
                  <a:moveTo>
                    <a:pt x="70" y="9"/>
                  </a:moveTo>
                  <a:lnTo>
                    <a:pt x="51" y="0"/>
                  </a:lnTo>
                  <a:lnTo>
                    <a:pt x="42" y="0"/>
                  </a:lnTo>
                  <a:lnTo>
                    <a:pt x="43" y="5"/>
                  </a:lnTo>
                  <a:lnTo>
                    <a:pt x="38" y="24"/>
                  </a:lnTo>
                  <a:lnTo>
                    <a:pt x="21" y="20"/>
                  </a:lnTo>
                  <a:lnTo>
                    <a:pt x="12" y="39"/>
                  </a:lnTo>
                  <a:lnTo>
                    <a:pt x="15" y="45"/>
                  </a:lnTo>
                  <a:lnTo>
                    <a:pt x="0" y="52"/>
                  </a:lnTo>
                  <a:lnTo>
                    <a:pt x="0" y="71"/>
                  </a:lnTo>
                  <a:lnTo>
                    <a:pt x="0" y="82"/>
                  </a:lnTo>
                  <a:lnTo>
                    <a:pt x="4" y="93"/>
                  </a:lnTo>
                  <a:lnTo>
                    <a:pt x="4" y="93"/>
                  </a:lnTo>
                  <a:lnTo>
                    <a:pt x="28" y="105"/>
                  </a:lnTo>
                  <a:lnTo>
                    <a:pt x="21" y="127"/>
                  </a:lnTo>
                  <a:lnTo>
                    <a:pt x="21" y="127"/>
                  </a:lnTo>
                  <a:lnTo>
                    <a:pt x="49" y="129"/>
                  </a:lnTo>
                  <a:lnTo>
                    <a:pt x="98" y="125"/>
                  </a:lnTo>
                  <a:lnTo>
                    <a:pt x="96" y="120"/>
                  </a:lnTo>
                  <a:lnTo>
                    <a:pt x="111" y="107"/>
                  </a:lnTo>
                  <a:lnTo>
                    <a:pt x="92" y="93"/>
                  </a:lnTo>
                  <a:lnTo>
                    <a:pt x="85" y="78"/>
                  </a:lnTo>
                  <a:lnTo>
                    <a:pt x="116" y="63"/>
                  </a:lnTo>
                  <a:lnTo>
                    <a:pt x="122" y="69"/>
                  </a:lnTo>
                  <a:lnTo>
                    <a:pt x="115" y="19"/>
                  </a:lnTo>
                  <a:lnTo>
                    <a:pt x="101" y="11"/>
                  </a:lnTo>
                  <a:lnTo>
                    <a:pt x="107" y="9"/>
                  </a:lnTo>
                  <a:lnTo>
                    <a:pt x="103" y="4"/>
                  </a:lnTo>
                  <a:lnTo>
                    <a:pt x="70" y="17"/>
                  </a:lnTo>
                  <a:lnTo>
                    <a:pt x="70" y="9"/>
                  </a:lnTo>
                  <a:lnTo>
                    <a:pt x="70" y="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59" name="Freeform 5739"/>
            <p:cNvSpPr>
              <a:spLocks/>
            </p:cNvSpPr>
            <p:nvPr>
              <p:custDataLst>
                <p:tags r:id="rId105"/>
              </p:custDataLst>
            </p:nvPr>
          </p:nvSpPr>
          <p:spPr bwMode="gray">
            <a:xfrm>
              <a:off x="6680500" y="3148070"/>
              <a:ext cx="55173" cy="41106"/>
            </a:xfrm>
            <a:custGeom>
              <a:avLst/>
              <a:gdLst/>
              <a:ahLst/>
              <a:cxnLst>
                <a:cxn ang="0">
                  <a:pos x="11" y="0"/>
                </a:cxn>
                <a:cxn ang="0">
                  <a:pos x="32" y="0"/>
                </a:cxn>
                <a:cxn ang="0">
                  <a:pos x="32" y="0"/>
                </a:cxn>
                <a:cxn ang="0">
                  <a:pos x="43" y="11"/>
                </a:cxn>
                <a:cxn ang="0">
                  <a:pos x="43" y="22"/>
                </a:cxn>
                <a:cxn ang="0">
                  <a:pos x="40" y="32"/>
                </a:cxn>
                <a:cxn ang="0">
                  <a:pos x="30" y="30"/>
                </a:cxn>
                <a:cxn ang="0">
                  <a:pos x="28" y="22"/>
                </a:cxn>
                <a:cxn ang="0">
                  <a:pos x="19" y="24"/>
                </a:cxn>
                <a:cxn ang="0">
                  <a:pos x="0" y="5"/>
                </a:cxn>
                <a:cxn ang="0">
                  <a:pos x="11" y="0"/>
                </a:cxn>
                <a:cxn ang="0">
                  <a:pos x="11" y="0"/>
                </a:cxn>
              </a:cxnLst>
              <a:rect l="0" t="0" r="r" b="b"/>
              <a:pathLst>
                <a:path w="43" h="32">
                  <a:moveTo>
                    <a:pt x="11" y="0"/>
                  </a:moveTo>
                  <a:lnTo>
                    <a:pt x="32" y="0"/>
                  </a:lnTo>
                  <a:lnTo>
                    <a:pt x="32" y="0"/>
                  </a:lnTo>
                  <a:lnTo>
                    <a:pt x="43" y="11"/>
                  </a:lnTo>
                  <a:lnTo>
                    <a:pt x="43" y="22"/>
                  </a:lnTo>
                  <a:lnTo>
                    <a:pt x="40" y="32"/>
                  </a:lnTo>
                  <a:lnTo>
                    <a:pt x="30" y="30"/>
                  </a:lnTo>
                  <a:lnTo>
                    <a:pt x="28" y="22"/>
                  </a:lnTo>
                  <a:lnTo>
                    <a:pt x="19" y="24"/>
                  </a:lnTo>
                  <a:lnTo>
                    <a:pt x="0" y="5"/>
                  </a:lnTo>
                  <a:lnTo>
                    <a:pt x="11" y="0"/>
                  </a:lnTo>
                  <a:lnTo>
                    <a:pt x="11"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60" name="Freeform 5740"/>
            <p:cNvSpPr>
              <a:spLocks/>
            </p:cNvSpPr>
            <p:nvPr>
              <p:custDataLst>
                <p:tags r:id="rId106"/>
              </p:custDataLst>
            </p:nvPr>
          </p:nvSpPr>
          <p:spPr bwMode="gray">
            <a:xfrm>
              <a:off x="6726691" y="2726735"/>
              <a:ext cx="401608" cy="273611"/>
            </a:xfrm>
            <a:custGeom>
              <a:avLst/>
              <a:gdLst/>
              <a:ahLst/>
              <a:cxnLst>
                <a:cxn ang="0">
                  <a:pos x="187" y="41"/>
                </a:cxn>
                <a:cxn ang="0">
                  <a:pos x="163" y="47"/>
                </a:cxn>
                <a:cxn ang="0">
                  <a:pos x="138" y="65"/>
                </a:cxn>
                <a:cxn ang="0">
                  <a:pos x="112" y="101"/>
                </a:cxn>
                <a:cxn ang="0">
                  <a:pos x="93" y="118"/>
                </a:cxn>
                <a:cxn ang="0">
                  <a:pos x="99" y="159"/>
                </a:cxn>
                <a:cxn ang="0">
                  <a:pos x="95" y="180"/>
                </a:cxn>
                <a:cxn ang="0">
                  <a:pos x="84" y="197"/>
                </a:cxn>
                <a:cxn ang="0">
                  <a:pos x="73" y="191"/>
                </a:cxn>
                <a:cxn ang="0">
                  <a:pos x="11" y="208"/>
                </a:cxn>
                <a:cxn ang="0">
                  <a:pos x="15" y="191"/>
                </a:cxn>
                <a:cxn ang="0">
                  <a:pos x="7" y="180"/>
                </a:cxn>
                <a:cxn ang="0">
                  <a:pos x="0" y="159"/>
                </a:cxn>
                <a:cxn ang="0">
                  <a:pos x="0" y="148"/>
                </a:cxn>
                <a:cxn ang="0">
                  <a:pos x="41" y="129"/>
                </a:cxn>
                <a:cxn ang="0">
                  <a:pos x="60" y="122"/>
                </a:cxn>
                <a:cxn ang="0">
                  <a:pos x="112" y="64"/>
                </a:cxn>
                <a:cxn ang="0">
                  <a:pos x="101" y="50"/>
                </a:cxn>
                <a:cxn ang="0">
                  <a:pos x="120" y="37"/>
                </a:cxn>
                <a:cxn ang="0">
                  <a:pos x="137" y="35"/>
                </a:cxn>
                <a:cxn ang="0">
                  <a:pos x="146" y="37"/>
                </a:cxn>
                <a:cxn ang="0">
                  <a:pos x="150" y="32"/>
                </a:cxn>
                <a:cxn ang="0">
                  <a:pos x="170" y="15"/>
                </a:cxn>
                <a:cxn ang="0">
                  <a:pos x="221" y="4"/>
                </a:cxn>
                <a:cxn ang="0">
                  <a:pos x="247" y="0"/>
                </a:cxn>
                <a:cxn ang="0">
                  <a:pos x="258" y="4"/>
                </a:cxn>
                <a:cxn ang="0">
                  <a:pos x="271" y="2"/>
                </a:cxn>
                <a:cxn ang="0">
                  <a:pos x="313" y="11"/>
                </a:cxn>
                <a:cxn ang="0">
                  <a:pos x="313" y="22"/>
                </a:cxn>
                <a:cxn ang="0">
                  <a:pos x="292" y="32"/>
                </a:cxn>
                <a:cxn ang="0">
                  <a:pos x="275" y="17"/>
                </a:cxn>
                <a:cxn ang="0">
                  <a:pos x="253" y="34"/>
                </a:cxn>
                <a:cxn ang="0">
                  <a:pos x="217" y="35"/>
                </a:cxn>
                <a:cxn ang="0">
                  <a:pos x="191" y="32"/>
                </a:cxn>
              </a:cxnLst>
              <a:rect l="0" t="0" r="r" b="b"/>
              <a:pathLst>
                <a:path w="313" h="213">
                  <a:moveTo>
                    <a:pt x="191" y="32"/>
                  </a:moveTo>
                  <a:lnTo>
                    <a:pt x="187" y="41"/>
                  </a:lnTo>
                  <a:lnTo>
                    <a:pt x="167" y="39"/>
                  </a:lnTo>
                  <a:lnTo>
                    <a:pt x="163" y="47"/>
                  </a:lnTo>
                  <a:lnTo>
                    <a:pt x="148" y="49"/>
                  </a:lnTo>
                  <a:lnTo>
                    <a:pt x="138" y="65"/>
                  </a:lnTo>
                  <a:lnTo>
                    <a:pt x="123" y="79"/>
                  </a:lnTo>
                  <a:lnTo>
                    <a:pt x="112" y="101"/>
                  </a:lnTo>
                  <a:lnTo>
                    <a:pt x="116" y="110"/>
                  </a:lnTo>
                  <a:lnTo>
                    <a:pt x="93" y="118"/>
                  </a:lnTo>
                  <a:lnTo>
                    <a:pt x="92" y="137"/>
                  </a:lnTo>
                  <a:lnTo>
                    <a:pt x="99" y="159"/>
                  </a:lnTo>
                  <a:lnTo>
                    <a:pt x="93" y="161"/>
                  </a:lnTo>
                  <a:lnTo>
                    <a:pt x="95" y="180"/>
                  </a:lnTo>
                  <a:lnTo>
                    <a:pt x="86" y="185"/>
                  </a:lnTo>
                  <a:lnTo>
                    <a:pt x="84" y="197"/>
                  </a:lnTo>
                  <a:lnTo>
                    <a:pt x="78" y="195"/>
                  </a:lnTo>
                  <a:lnTo>
                    <a:pt x="73" y="191"/>
                  </a:lnTo>
                  <a:lnTo>
                    <a:pt x="34" y="213"/>
                  </a:lnTo>
                  <a:lnTo>
                    <a:pt x="11" y="208"/>
                  </a:lnTo>
                  <a:lnTo>
                    <a:pt x="7" y="202"/>
                  </a:lnTo>
                  <a:lnTo>
                    <a:pt x="15" y="191"/>
                  </a:lnTo>
                  <a:lnTo>
                    <a:pt x="5" y="193"/>
                  </a:lnTo>
                  <a:lnTo>
                    <a:pt x="7" y="180"/>
                  </a:lnTo>
                  <a:lnTo>
                    <a:pt x="2" y="174"/>
                  </a:lnTo>
                  <a:lnTo>
                    <a:pt x="0" y="159"/>
                  </a:lnTo>
                  <a:lnTo>
                    <a:pt x="4" y="154"/>
                  </a:lnTo>
                  <a:lnTo>
                    <a:pt x="0" y="148"/>
                  </a:lnTo>
                  <a:lnTo>
                    <a:pt x="28" y="131"/>
                  </a:lnTo>
                  <a:lnTo>
                    <a:pt x="41" y="129"/>
                  </a:lnTo>
                  <a:lnTo>
                    <a:pt x="52" y="118"/>
                  </a:lnTo>
                  <a:lnTo>
                    <a:pt x="60" y="122"/>
                  </a:lnTo>
                  <a:lnTo>
                    <a:pt x="93" y="94"/>
                  </a:lnTo>
                  <a:lnTo>
                    <a:pt x="112" y="64"/>
                  </a:lnTo>
                  <a:lnTo>
                    <a:pt x="135" y="45"/>
                  </a:lnTo>
                  <a:lnTo>
                    <a:pt x="101" y="50"/>
                  </a:lnTo>
                  <a:lnTo>
                    <a:pt x="125" y="41"/>
                  </a:lnTo>
                  <a:lnTo>
                    <a:pt x="120" y="37"/>
                  </a:lnTo>
                  <a:lnTo>
                    <a:pt x="140" y="28"/>
                  </a:lnTo>
                  <a:lnTo>
                    <a:pt x="137" y="35"/>
                  </a:lnTo>
                  <a:lnTo>
                    <a:pt x="144" y="32"/>
                  </a:lnTo>
                  <a:lnTo>
                    <a:pt x="146" y="37"/>
                  </a:lnTo>
                  <a:lnTo>
                    <a:pt x="155" y="32"/>
                  </a:lnTo>
                  <a:lnTo>
                    <a:pt x="150" y="32"/>
                  </a:lnTo>
                  <a:lnTo>
                    <a:pt x="150" y="26"/>
                  </a:lnTo>
                  <a:lnTo>
                    <a:pt x="170" y="15"/>
                  </a:lnTo>
                  <a:lnTo>
                    <a:pt x="200" y="13"/>
                  </a:lnTo>
                  <a:lnTo>
                    <a:pt x="221" y="4"/>
                  </a:lnTo>
                  <a:lnTo>
                    <a:pt x="232" y="7"/>
                  </a:lnTo>
                  <a:lnTo>
                    <a:pt x="247" y="0"/>
                  </a:lnTo>
                  <a:lnTo>
                    <a:pt x="247" y="7"/>
                  </a:lnTo>
                  <a:lnTo>
                    <a:pt x="258" y="4"/>
                  </a:lnTo>
                  <a:lnTo>
                    <a:pt x="262" y="9"/>
                  </a:lnTo>
                  <a:lnTo>
                    <a:pt x="271" y="2"/>
                  </a:lnTo>
                  <a:lnTo>
                    <a:pt x="288" y="4"/>
                  </a:lnTo>
                  <a:lnTo>
                    <a:pt x="313" y="11"/>
                  </a:lnTo>
                  <a:lnTo>
                    <a:pt x="286" y="15"/>
                  </a:lnTo>
                  <a:lnTo>
                    <a:pt x="313" y="22"/>
                  </a:lnTo>
                  <a:lnTo>
                    <a:pt x="313" y="22"/>
                  </a:lnTo>
                  <a:lnTo>
                    <a:pt x="292" y="32"/>
                  </a:lnTo>
                  <a:lnTo>
                    <a:pt x="292" y="22"/>
                  </a:lnTo>
                  <a:lnTo>
                    <a:pt x="275" y="17"/>
                  </a:lnTo>
                  <a:lnTo>
                    <a:pt x="256" y="20"/>
                  </a:lnTo>
                  <a:lnTo>
                    <a:pt x="253" y="34"/>
                  </a:lnTo>
                  <a:lnTo>
                    <a:pt x="243" y="37"/>
                  </a:lnTo>
                  <a:lnTo>
                    <a:pt x="217" y="35"/>
                  </a:lnTo>
                  <a:lnTo>
                    <a:pt x="198" y="28"/>
                  </a:lnTo>
                  <a:lnTo>
                    <a:pt x="191" y="32"/>
                  </a:lnTo>
                  <a:lnTo>
                    <a:pt x="191" y="3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61" name="Freeform 5741"/>
            <p:cNvSpPr>
              <a:spLocks/>
            </p:cNvSpPr>
            <p:nvPr>
              <p:custDataLst>
                <p:tags r:id="rId107"/>
              </p:custDataLst>
            </p:nvPr>
          </p:nvSpPr>
          <p:spPr bwMode="gray">
            <a:xfrm>
              <a:off x="6826773" y="2767841"/>
              <a:ext cx="205295" cy="289026"/>
            </a:xfrm>
            <a:custGeom>
              <a:avLst/>
              <a:gdLst/>
              <a:ahLst/>
              <a:cxnLst>
                <a:cxn ang="0">
                  <a:pos x="6" y="165"/>
                </a:cxn>
                <a:cxn ang="0">
                  <a:pos x="8" y="153"/>
                </a:cxn>
                <a:cxn ang="0">
                  <a:pos x="17" y="148"/>
                </a:cxn>
                <a:cxn ang="0">
                  <a:pos x="15" y="129"/>
                </a:cxn>
                <a:cxn ang="0">
                  <a:pos x="21" y="127"/>
                </a:cxn>
                <a:cxn ang="0">
                  <a:pos x="14" y="105"/>
                </a:cxn>
                <a:cxn ang="0">
                  <a:pos x="15" y="86"/>
                </a:cxn>
                <a:cxn ang="0">
                  <a:pos x="38" y="78"/>
                </a:cxn>
                <a:cxn ang="0">
                  <a:pos x="34" y="69"/>
                </a:cxn>
                <a:cxn ang="0">
                  <a:pos x="45" y="47"/>
                </a:cxn>
                <a:cxn ang="0">
                  <a:pos x="60" y="33"/>
                </a:cxn>
                <a:cxn ang="0">
                  <a:pos x="70" y="17"/>
                </a:cxn>
                <a:cxn ang="0">
                  <a:pos x="85" y="15"/>
                </a:cxn>
                <a:cxn ang="0">
                  <a:pos x="89" y="7"/>
                </a:cxn>
                <a:cxn ang="0">
                  <a:pos x="109" y="9"/>
                </a:cxn>
                <a:cxn ang="0">
                  <a:pos x="113" y="0"/>
                </a:cxn>
                <a:cxn ang="0">
                  <a:pos x="148" y="15"/>
                </a:cxn>
                <a:cxn ang="0">
                  <a:pos x="160" y="50"/>
                </a:cxn>
                <a:cxn ang="0">
                  <a:pos x="141" y="50"/>
                </a:cxn>
                <a:cxn ang="0">
                  <a:pos x="124" y="69"/>
                </a:cxn>
                <a:cxn ang="0">
                  <a:pos x="133" y="73"/>
                </a:cxn>
                <a:cxn ang="0">
                  <a:pos x="83" y="110"/>
                </a:cxn>
                <a:cxn ang="0">
                  <a:pos x="81" y="133"/>
                </a:cxn>
                <a:cxn ang="0">
                  <a:pos x="102" y="150"/>
                </a:cxn>
                <a:cxn ang="0">
                  <a:pos x="92" y="159"/>
                </a:cxn>
                <a:cxn ang="0">
                  <a:pos x="96" y="161"/>
                </a:cxn>
                <a:cxn ang="0">
                  <a:pos x="77" y="170"/>
                </a:cxn>
                <a:cxn ang="0">
                  <a:pos x="66" y="213"/>
                </a:cxn>
                <a:cxn ang="0">
                  <a:pos x="49" y="213"/>
                </a:cxn>
                <a:cxn ang="0">
                  <a:pos x="44" y="225"/>
                </a:cxn>
                <a:cxn ang="0">
                  <a:pos x="27" y="225"/>
                </a:cxn>
                <a:cxn ang="0">
                  <a:pos x="23" y="213"/>
                </a:cxn>
                <a:cxn ang="0">
                  <a:pos x="25" y="208"/>
                </a:cxn>
                <a:cxn ang="0">
                  <a:pos x="0" y="163"/>
                </a:cxn>
                <a:cxn ang="0">
                  <a:pos x="6" y="165"/>
                </a:cxn>
                <a:cxn ang="0">
                  <a:pos x="6" y="165"/>
                </a:cxn>
              </a:cxnLst>
              <a:rect l="0" t="0" r="r" b="b"/>
              <a:pathLst>
                <a:path w="160" h="225">
                  <a:moveTo>
                    <a:pt x="6" y="165"/>
                  </a:moveTo>
                  <a:lnTo>
                    <a:pt x="8" y="153"/>
                  </a:lnTo>
                  <a:lnTo>
                    <a:pt x="17" y="148"/>
                  </a:lnTo>
                  <a:lnTo>
                    <a:pt x="15" y="129"/>
                  </a:lnTo>
                  <a:lnTo>
                    <a:pt x="21" y="127"/>
                  </a:lnTo>
                  <a:lnTo>
                    <a:pt x="14" y="105"/>
                  </a:lnTo>
                  <a:lnTo>
                    <a:pt x="15" y="86"/>
                  </a:lnTo>
                  <a:lnTo>
                    <a:pt x="38" y="78"/>
                  </a:lnTo>
                  <a:lnTo>
                    <a:pt x="34" y="69"/>
                  </a:lnTo>
                  <a:lnTo>
                    <a:pt x="45" y="47"/>
                  </a:lnTo>
                  <a:lnTo>
                    <a:pt x="60" y="33"/>
                  </a:lnTo>
                  <a:lnTo>
                    <a:pt x="70" y="17"/>
                  </a:lnTo>
                  <a:lnTo>
                    <a:pt x="85" y="15"/>
                  </a:lnTo>
                  <a:lnTo>
                    <a:pt x="89" y="7"/>
                  </a:lnTo>
                  <a:lnTo>
                    <a:pt x="109" y="9"/>
                  </a:lnTo>
                  <a:lnTo>
                    <a:pt x="113" y="0"/>
                  </a:lnTo>
                  <a:lnTo>
                    <a:pt x="148" y="15"/>
                  </a:lnTo>
                  <a:lnTo>
                    <a:pt x="160" y="50"/>
                  </a:lnTo>
                  <a:lnTo>
                    <a:pt x="141" y="50"/>
                  </a:lnTo>
                  <a:lnTo>
                    <a:pt x="124" y="69"/>
                  </a:lnTo>
                  <a:lnTo>
                    <a:pt x="133" y="73"/>
                  </a:lnTo>
                  <a:lnTo>
                    <a:pt x="83" y="110"/>
                  </a:lnTo>
                  <a:lnTo>
                    <a:pt x="81" y="133"/>
                  </a:lnTo>
                  <a:lnTo>
                    <a:pt x="102" y="150"/>
                  </a:lnTo>
                  <a:lnTo>
                    <a:pt x="92" y="159"/>
                  </a:lnTo>
                  <a:lnTo>
                    <a:pt x="96" y="161"/>
                  </a:lnTo>
                  <a:lnTo>
                    <a:pt x="77" y="170"/>
                  </a:lnTo>
                  <a:lnTo>
                    <a:pt x="66" y="213"/>
                  </a:lnTo>
                  <a:lnTo>
                    <a:pt x="49" y="213"/>
                  </a:lnTo>
                  <a:lnTo>
                    <a:pt x="44" y="225"/>
                  </a:lnTo>
                  <a:lnTo>
                    <a:pt x="27" y="225"/>
                  </a:lnTo>
                  <a:lnTo>
                    <a:pt x="23" y="213"/>
                  </a:lnTo>
                  <a:lnTo>
                    <a:pt x="25" y="208"/>
                  </a:lnTo>
                  <a:lnTo>
                    <a:pt x="0" y="163"/>
                  </a:lnTo>
                  <a:lnTo>
                    <a:pt x="6" y="165"/>
                  </a:lnTo>
                  <a:lnTo>
                    <a:pt x="6" y="16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62" name="Freeform 5742"/>
            <p:cNvSpPr>
              <a:spLocks/>
            </p:cNvSpPr>
            <p:nvPr>
              <p:custDataLst>
                <p:tags r:id="rId108"/>
              </p:custDataLst>
            </p:nvPr>
          </p:nvSpPr>
          <p:spPr bwMode="gray">
            <a:xfrm>
              <a:off x="6971762" y="2748572"/>
              <a:ext cx="187332" cy="209383"/>
            </a:xfrm>
            <a:custGeom>
              <a:avLst/>
              <a:gdLst/>
              <a:ahLst/>
              <a:cxnLst>
                <a:cxn ang="0">
                  <a:pos x="101" y="15"/>
                </a:cxn>
                <a:cxn ang="0">
                  <a:pos x="97" y="17"/>
                </a:cxn>
                <a:cxn ang="0">
                  <a:pos x="97" y="28"/>
                </a:cxn>
                <a:cxn ang="0">
                  <a:pos x="116" y="35"/>
                </a:cxn>
                <a:cxn ang="0">
                  <a:pos x="109" y="47"/>
                </a:cxn>
                <a:cxn ang="0">
                  <a:pos x="122" y="63"/>
                </a:cxn>
                <a:cxn ang="0">
                  <a:pos x="120" y="80"/>
                </a:cxn>
                <a:cxn ang="0">
                  <a:pos x="131" y="92"/>
                </a:cxn>
                <a:cxn ang="0">
                  <a:pos x="129" y="101"/>
                </a:cxn>
                <a:cxn ang="0">
                  <a:pos x="146" y="116"/>
                </a:cxn>
                <a:cxn ang="0">
                  <a:pos x="103" y="153"/>
                </a:cxn>
                <a:cxn ang="0">
                  <a:pos x="50" y="163"/>
                </a:cxn>
                <a:cxn ang="0">
                  <a:pos x="20" y="151"/>
                </a:cxn>
                <a:cxn ang="0">
                  <a:pos x="24" y="137"/>
                </a:cxn>
                <a:cxn ang="0">
                  <a:pos x="15" y="120"/>
                </a:cxn>
                <a:cxn ang="0">
                  <a:pos x="20" y="112"/>
                </a:cxn>
                <a:cxn ang="0">
                  <a:pos x="64" y="80"/>
                </a:cxn>
                <a:cxn ang="0">
                  <a:pos x="64" y="71"/>
                </a:cxn>
                <a:cxn ang="0">
                  <a:pos x="52" y="65"/>
                </a:cxn>
                <a:cxn ang="0">
                  <a:pos x="47" y="65"/>
                </a:cxn>
                <a:cxn ang="0">
                  <a:pos x="35" y="30"/>
                </a:cxn>
                <a:cxn ang="0">
                  <a:pos x="0" y="15"/>
                </a:cxn>
                <a:cxn ang="0">
                  <a:pos x="7" y="11"/>
                </a:cxn>
                <a:cxn ang="0">
                  <a:pos x="26" y="18"/>
                </a:cxn>
                <a:cxn ang="0">
                  <a:pos x="52" y="20"/>
                </a:cxn>
                <a:cxn ang="0">
                  <a:pos x="62" y="17"/>
                </a:cxn>
                <a:cxn ang="0">
                  <a:pos x="65" y="3"/>
                </a:cxn>
                <a:cxn ang="0">
                  <a:pos x="84" y="0"/>
                </a:cxn>
                <a:cxn ang="0">
                  <a:pos x="101" y="5"/>
                </a:cxn>
                <a:cxn ang="0">
                  <a:pos x="101" y="15"/>
                </a:cxn>
                <a:cxn ang="0">
                  <a:pos x="101" y="15"/>
                </a:cxn>
              </a:cxnLst>
              <a:rect l="0" t="0" r="r" b="b"/>
              <a:pathLst>
                <a:path w="146" h="163">
                  <a:moveTo>
                    <a:pt x="101" y="15"/>
                  </a:moveTo>
                  <a:lnTo>
                    <a:pt x="97" y="17"/>
                  </a:lnTo>
                  <a:lnTo>
                    <a:pt x="97" y="28"/>
                  </a:lnTo>
                  <a:lnTo>
                    <a:pt x="116" y="35"/>
                  </a:lnTo>
                  <a:lnTo>
                    <a:pt x="109" y="47"/>
                  </a:lnTo>
                  <a:lnTo>
                    <a:pt x="122" y="63"/>
                  </a:lnTo>
                  <a:lnTo>
                    <a:pt x="120" y="80"/>
                  </a:lnTo>
                  <a:lnTo>
                    <a:pt x="131" y="92"/>
                  </a:lnTo>
                  <a:lnTo>
                    <a:pt x="129" y="101"/>
                  </a:lnTo>
                  <a:lnTo>
                    <a:pt x="146" y="116"/>
                  </a:lnTo>
                  <a:lnTo>
                    <a:pt x="103" y="153"/>
                  </a:lnTo>
                  <a:lnTo>
                    <a:pt x="50" y="163"/>
                  </a:lnTo>
                  <a:lnTo>
                    <a:pt x="20" y="151"/>
                  </a:lnTo>
                  <a:lnTo>
                    <a:pt x="24" y="137"/>
                  </a:lnTo>
                  <a:lnTo>
                    <a:pt x="15" y="120"/>
                  </a:lnTo>
                  <a:lnTo>
                    <a:pt x="20" y="112"/>
                  </a:lnTo>
                  <a:lnTo>
                    <a:pt x="64" y="80"/>
                  </a:lnTo>
                  <a:lnTo>
                    <a:pt x="64" y="71"/>
                  </a:lnTo>
                  <a:lnTo>
                    <a:pt x="52" y="65"/>
                  </a:lnTo>
                  <a:lnTo>
                    <a:pt x="47" y="65"/>
                  </a:lnTo>
                  <a:lnTo>
                    <a:pt x="35" y="30"/>
                  </a:lnTo>
                  <a:lnTo>
                    <a:pt x="0" y="15"/>
                  </a:lnTo>
                  <a:lnTo>
                    <a:pt x="7" y="11"/>
                  </a:lnTo>
                  <a:lnTo>
                    <a:pt x="26" y="18"/>
                  </a:lnTo>
                  <a:lnTo>
                    <a:pt x="52" y="20"/>
                  </a:lnTo>
                  <a:lnTo>
                    <a:pt x="62" y="17"/>
                  </a:lnTo>
                  <a:lnTo>
                    <a:pt x="65" y="3"/>
                  </a:lnTo>
                  <a:lnTo>
                    <a:pt x="84" y="0"/>
                  </a:lnTo>
                  <a:lnTo>
                    <a:pt x="101" y="5"/>
                  </a:lnTo>
                  <a:lnTo>
                    <a:pt x="101" y="15"/>
                  </a:lnTo>
                  <a:lnTo>
                    <a:pt x="101"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63" name="Freeform 5743"/>
            <p:cNvSpPr>
              <a:spLocks/>
            </p:cNvSpPr>
            <p:nvPr>
              <p:custDataLst>
                <p:tags r:id="rId109"/>
              </p:custDataLst>
            </p:nvPr>
          </p:nvSpPr>
          <p:spPr bwMode="gray">
            <a:xfrm>
              <a:off x="3743501" y="2724166"/>
              <a:ext cx="792951" cy="358392"/>
            </a:xfrm>
            <a:custGeom>
              <a:avLst/>
              <a:gdLst/>
              <a:ahLst/>
              <a:cxnLst>
                <a:cxn ang="0">
                  <a:pos x="433" y="178"/>
                </a:cxn>
                <a:cxn ang="0">
                  <a:pos x="450" y="180"/>
                </a:cxn>
                <a:cxn ang="0">
                  <a:pos x="495" y="185"/>
                </a:cxn>
                <a:cxn ang="0">
                  <a:pos x="497" y="204"/>
                </a:cxn>
                <a:cxn ang="0">
                  <a:pos x="500" y="251"/>
                </a:cxn>
                <a:cxn ang="0">
                  <a:pos x="472" y="272"/>
                </a:cxn>
                <a:cxn ang="0">
                  <a:pos x="470" y="253"/>
                </a:cxn>
                <a:cxn ang="0">
                  <a:pos x="467" y="245"/>
                </a:cxn>
                <a:cxn ang="0">
                  <a:pos x="452" y="274"/>
                </a:cxn>
                <a:cxn ang="0">
                  <a:pos x="457" y="244"/>
                </a:cxn>
                <a:cxn ang="0">
                  <a:pos x="455" y="236"/>
                </a:cxn>
                <a:cxn ang="0">
                  <a:pos x="476" y="234"/>
                </a:cxn>
                <a:cxn ang="0">
                  <a:pos x="457" y="232"/>
                </a:cxn>
                <a:cxn ang="0">
                  <a:pos x="465" y="210"/>
                </a:cxn>
                <a:cxn ang="0">
                  <a:pos x="440" y="247"/>
                </a:cxn>
                <a:cxn ang="0">
                  <a:pos x="435" y="191"/>
                </a:cxn>
                <a:cxn ang="0">
                  <a:pos x="429" y="185"/>
                </a:cxn>
                <a:cxn ang="0">
                  <a:pos x="369" y="167"/>
                </a:cxn>
                <a:cxn ang="0">
                  <a:pos x="324" y="182"/>
                </a:cxn>
                <a:cxn ang="0">
                  <a:pos x="307" y="169"/>
                </a:cxn>
                <a:cxn ang="0">
                  <a:pos x="326" y="159"/>
                </a:cxn>
                <a:cxn ang="0">
                  <a:pos x="238" y="197"/>
                </a:cxn>
                <a:cxn ang="0">
                  <a:pos x="229" y="206"/>
                </a:cxn>
                <a:cxn ang="0">
                  <a:pos x="115" y="249"/>
                </a:cxn>
                <a:cxn ang="0">
                  <a:pos x="159" y="223"/>
                </a:cxn>
                <a:cxn ang="0">
                  <a:pos x="159" y="208"/>
                </a:cxn>
                <a:cxn ang="0">
                  <a:pos x="131" y="202"/>
                </a:cxn>
                <a:cxn ang="0">
                  <a:pos x="122" y="185"/>
                </a:cxn>
                <a:cxn ang="0">
                  <a:pos x="184" y="131"/>
                </a:cxn>
                <a:cxn ang="0">
                  <a:pos x="272" y="101"/>
                </a:cxn>
                <a:cxn ang="0">
                  <a:pos x="216" y="107"/>
                </a:cxn>
                <a:cxn ang="0">
                  <a:pos x="216" y="92"/>
                </a:cxn>
                <a:cxn ang="0">
                  <a:pos x="264" y="75"/>
                </a:cxn>
                <a:cxn ang="0">
                  <a:pos x="266" y="81"/>
                </a:cxn>
                <a:cxn ang="0">
                  <a:pos x="294" y="64"/>
                </a:cxn>
                <a:cxn ang="0">
                  <a:pos x="289" y="45"/>
                </a:cxn>
                <a:cxn ang="0">
                  <a:pos x="339" y="34"/>
                </a:cxn>
                <a:cxn ang="0">
                  <a:pos x="476" y="0"/>
                </a:cxn>
                <a:cxn ang="0">
                  <a:pos x="489" y="6"/>
                </a:cxn>
                <a:cxn ang="0">
                  <a:pos x="514" y="11"/>
                </a:cxn>
                <a:cxn ang="0">
                  <a:pos x="618" y="24"/>
                </a:cxn>
                <a:cxn ang="0">
                  <a:pos x="435" y="174"/>
                </a:cxn>
              </a:cxnLst>
              <a:rect l="0" t="0" r="r" b="b"/>
              <a:pathLst>
                <a:path w="618" h="279">
                  <a:moveTo>
                    <a:pt x="435" y="174"/>
                  </a:moveTo>
                  <a:lnTo>
                    <a:pt x="433" y="178"/>
                  </a:lnTo>
                  <a:lnTo>
                    <a:pt x="455" y="176"/>
                  </a:lnTo>
                  <a:lnTo>
                    <a:pt x="450" y="180"/>
                  </a:lnTo>
                  <a:lnTo>
                    <a:pt x="455" y="199"/>
                  </a:lnTo>
                  <a:lnTo>
                    <a:pt x="495" y="185"/>
                  </a:lnTo>
                  <a:lnTo>
                    <a:pt x="491" y="200"/>
                  </a:lnTo>
                  <a:lnTo>
                    <a:pt x="497" y="204"/>
                  </a:lnTo>
                  <a:lnTo>
                    <a:pt x="485" y="238"/>
                  </a:lnTo>
                  <a:lnTo>
                    <a:pt x="500" y="251"/>
                  </a:lnTo>
                  <a:lnTo>
                    <a:pt x="484" y="268"/>
                  </a:lnTo>
                  <a:lnTo>
                    <a:pt x="472" y="272"/>
                  </a:lnTo>
                  <a:lnTo>
                    <a:pt x="469" y="268"/>
                  </a:lnTo>
                  <a:lnTo>
                    <a:pt x="470" y="253"/>
                  </a:lnTo>
                  <a:lnTo>
                    <a:pt x="476" y="249"/>
                  </a:lnTo>
                  <a:lnTo>
                    <a:pt x="467" y="245"/>
                  </a:lnTo>
                  <a:lnTo>
                    <a:pt x="461" y="262"/>
                  </a:lnTo>
                  <a:lnTo>
                    <a:pt x="452" y="274"/>
                  </a:lnTo>
                  <a:lnTo>
                    <a:pt x="450" y="260"/>
                  </a:lnTo>
                  <a:lnTo>
                    <a:pt x="457" y="244"/>
                  </a:lnTo>
                  <a:lnTo>
                    <a:pt x="450" y="245"/>
                  </a:lnTo>
                  <a:lnTo>
                    <a:pt x="455" y="236"/>
                  </a:lnTo>
                  <a:lnTo>
                    <a:pt x="469" y="230"/>
                  </a:lnTo>
                  <a:lnTo>
                    <a:pt x="476" y="234"/>
                  </a:lnTo>
                  <a:lnTo>
                    <a:pt x="478" y="223"/>
                  </a:lnTo>
                  <a:lnTo>
                    <a:pt x="457" y="232"/>
                  </a:lnTo>
                  <a:lnTo>
                    <a:pt x="480" y="204"/>
                  </a:lnTo>
                  <a:lnTo>
                    <a:pt x="465" y="210"/>
                  </a:lnTo>
                  <a:lnTo>
                    <a:pt x="467" y="217"/>
                  </a:lnTo>
                  <a:lnTo>
                    <a:pt x="440" y="247"/>
                  </a:lnTo>
                  <a:lnTo>
                    <a:pt x="452" y="212"/>
                  </a:lnTo>
                  <a:lnTo>
                    <a:pt x="435" y="191"/>
                  </a:lnTo>
                  <a:lnTo>
                    <a:pt x="442" y="182"/>
                  </a:lnTo>
                  <a:lnTo>
                    <a:pt x="429" y="185"/>
                  </a:lnTo>
                  <a:lnTo>
                    <a:pt x="386" y="182"/>
                  </a:lnTo>
                  <a:lnTo>
                    <a:pt x="369" y="167"/>
                  </a:lnTo>
                  <a:lnTo>
                    <a:pt x="351" y="163"/>
                  </a:lnTo>
                  <a:lnTo>
                    <a:pt x="324" y="182"/>
                  </a:lnTo>
                  <a:lnTo>
                    <a:pt x="268" y="195"/>
                  </a:lnTo>
                  <a:lnTo>
                    <a:pt x="307" y="169"/>
                  </a:lnTo>
                  <a:lnTo>
                    <a:pt x="336" y="159"/>
                  </a:lnTo>
                  <a:lnTo>
                    <a:pt x="326" y="159"/>
                  </a:lnTo>
                  <a:lnTo>
                    <a:pt x="248" y="191"/>
                  </a:lnTo>
                  <a:lnTo>
                    <a:pt x="238" y="197"/>
                  </a:lnTo>
                  <a:lnTo>
                    <a:pt x="244" y="200"/>
                  </a:lnTo>
                  <a:lnTo>
                    <a:pt x="229" y="206"/>
                  </a:lnTo>
                  <a:lnTo>
                    <a:pt x="161" y="232"/>
                  </a:lnTo>
                  <a:lnTo>
                    <a:pt x="115" y="249"/>
                  </a:lnTo>
                  <a:lnTo>
                    <a:pt x="0" y="279"/>
                  </a:lnTo>
                  <a:lnTo>
                    <a:pt x="159" y="223"/>
                  </a:lnTo>
                  <a:lnTo>
                    <a:pt x="188" y="202"/>
                  </a:lnTo>
                  <a:lnTo>
                    <a:pt x="159" y="208"/>
                  </a:lnTo>
                  <a:lnTo>
                    <a:pt x="161" y="200"/>
                  </a:lnTo>
                  <a:lnTo>
                    <a:pt x="131" y="202"/>
                  </a:lnTo>
                  <a:lnTo>
                    <a:pt x="154" y="180"/>
                  </a:lnTo>
                  <a:lnTo>
                    <a:pt x="122" y="185"/>
                  </a:lnTo>
                  <a:lnTo>
                    <a:pt x="133" y="156"/>
                  </a:lnTo>
                  <a:lnTo>
                    <a:pt x="184" y="131"/>
                  </a:lnTo>
                  <a:lnTo>
                    <a:pt x="242" y="124"/>
                  </a:lnTo>
                  <a:lnTo>
                    <a:pt x="272" y="101"/>
                  </a:lnTo>
                  <a:lnTo>
                    <a:pt x="242" y="107"/>
                  </a:lnTo>
                  <a:lnTo>
                    <a:pt x="216" y="107"/>
                  </a:lnTo>
                  <a:lnTo>
                    <a:pt x="203" y="103"/>
                  </a:lnTo>
                  <a:lnTo>
                    <a:pt x="216" y="92"/>
                  </a:lnTo>
                  <a:lnTo>
                    <a:pt x="204" y="88"/>
                  </a:lnTo>
                  <a:lnTo>
                    <a:pt x="264" y="75"/>
                  </a:lnTo>
                  <a:lnTo>
                    <a:pt x="276" y="75"/>
                  </a:lnTo>
                  <a:lnTo>
                    <a:pt x="266" y="81"/>
                  </a:lnTo>
                  <a:lnTo>
                    <a:pt x="298" y="75"/>
                  </a:lnTo>
                  <a:lnTo>
                    <a:pt x="294" y="64"/>
                  </a:lnTo>
                  <a:lnTo>
                    <a:pt x="300" y="56"/>
                  </a:lnTo>
                  <a:lnTo>
                    <a:pt x="289" y="45"/>
                  </a:lnTo>
                  <a:lnTo>
                    <a:pt x="304" y="37"/>
                  </a:lnTo>
                  <a:lnTo>
                    <a:pt x="339" y="34"/>
                  </a:lnTo>
                  <a:lnTo>
                    <a:pt x="392" y="13"/>
                  </a:lnTo>
                  <a:lnTo>
                    <a:pt x="476" y="0"/>
                  </a:lnTo>
                  <a:lnTo>
                    <a:pt x="489" y="2"/>
                  </a:lnTo>
                  <a:lnTo>
                    <a:pt x="489" y="6"/>
                  </a:lnTo>
                  <a:lnTo>
                    <a:pt x="510" y="6"/>
                  </a:lnTo>
                  <a:lnTo>
                    <a:pt x="514" y="11"/>
                  </a:lnTo>
                  <a:lnTo>
                    <a:pt x="605" y="17"/>
                  </a:lnTo>
                  <a:lnTo>
                    <a:pt x="618" y="24"/>
                  </a:lnTo>
                  <a:lnTo>
                    <a:pt x="435" y="174"/>
                  </a:lnTo>
                  <a:lnTo>
                    <a:pt x="435" y="17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64" name="Freeform 5744"/>
            <p:cNvSpPr>
              <a:spLocks/>
            </p:cNvSpPr>
            <p:nvPr>
              <p:custDataLst>
                <p:tags r:id="rId110"/>
              </p:custDataLst>
            </p:nvPr>
          </p:nvSpPr>
          <p:spPr bwMode="gray">
            <a:xfrm>
              <a:off x="4282400" y="3586105"/>
              <a:ext cx="540182" cy="427758"/>
            </a:xfrm>
            <a:custGeom>
              <a:avLst/>
              <a:gdLst/>
              <a:ahLst/>
              <a:cxnLst>
                <a:cxn ang="0">
                  <a:pos x="2" y="54"/>
                </a:cxn>
                <a:cxn ang="0">
                  <a:pos x="9" y="91"/>
                </a:cxn>
                <a:cxn ang="0">
                  <a:pos x="7" y="101"/>
                </a:cxn>
                <a:cxn ang="0">
                  <a:pos x="35" y="129"/>
                </a:cxn>
                <a:cxn ang="0">
                  <a:pos x="54" y="168"/>
                </a:cxn>
                <a:cxn ang="0">
                  <a:pos x="69" y="172"/>
                </a:cxn>
                <a:cxn ang="0">
                  <a:pos x="54" y="155"/>
                </a:cxn>
                <a:cxn ang="0">
                  <a:pos x="20" y="47"/>
                </a:cxn>
                <a:cxn ang="0">
                  <a:pos x="41" y="20"/>
                </a:cxn>
                <a:cxn ang="0">
                  <a:pos x="52" y="67"/>
                </a:cxn>
                <a:cxn ang="0">
                  <a:pos x="71" y="88"/>
                </a:cxn>
                <a:cxn ang="0">
                  <a:pos x="84" y="118"/>
                </a:cxn>
                <a:cxn ang="0">
                  <a:pos x="94" y="136"/>
                </a:cxn>
                <a:cxn ang="0">
                  <a:pos x="129" y="206"/>
                </a:cxn>
                <a:cxn ang="0">
                  <a:pos x="122" y="238"/>
                </a:cxn>
                <a:cxn ang="0">
                  <a:pos x="170" y="269"/>
                </a:cxn>
                <a:cxn ang="0">
                  <a:pos x="228" y="307"/>
                </a:cxn>
                <a:cxn ang="0">
                  <a:pos x="275" y="305"/>
                </a:cxn>
                <a:cxn ang="0">
                  <a:pos x="318" y="333"/>
                </a:cxn>
                <a:cxn ang="0">
                  <a:pos x="350" y="301"/>
                </a:cxn>
                <a:cxn ang="0">
                  <a:pos x="350" y="273"/>
                </a:cxn>
                <a:cxn ang="0">
                  <a:pos x="389" y="262"/>
                </a:cxn>
                <a:cxn ang="0">
                  <a:pos x="395" y="271"/>
                </a:cxn>
                <a:cxn ang="0">
                  <a:pos x="421" y="210"/>
                </a:cxn>
                <a:cxn ang="0">
                  <a:pos x="371" y="211"/>
                </a:cxn>
                <a:cxn ang="0">
                  <a:pos x="354" y="247"/>
                </a:cxn>
                <a:cxn ang="0">
                  <a:pos x="345" y="260"/>
                </a:cxn>
                <a:cxn ang="0">
                  <a:pos x="326" y="258"/>
                </a:cxn>
                <a:cxn ang="0">
                  <a:pos x="268" y="247"/>
                </a:cxn>
                <a:cxn ang="0">
                  <a:pos x="256" y="153"/>
                </a:cxn>
                <a:cxn ang="0">
                  <a:pos x="245" y="116"/>
                </a:cxn>
                <a:cxn ang="0">
                  <a:pos x="206" y="52"/>
                </a:cxn>
                <a:cxn ang="0">
                  <a:pos x="183" y="65"/>
                </a:cxn>
                <a:cxn ang="0">
                  <a:pos x="174" y="37"/>
                </a:cxn>
                <a:cxn ang="0">
                  <a:pos x="84" y="26"/>
                </a:cxn>
                <a:cxn ang="0">
                  <a:pos x="0" y="3"/>
                </a:cxn>
              </a:cxnLst>
              <a:rect l="0" t="0" r="r" b="b"/>
              <a:pathLst>
                <a:path w="421" h="333">
                  <a:moveTo>
                    <a:pt x="0" y="3"/>
                  </a:moveTo>
                  <a:lnTo>
                    <a:pt x="2" y="54"/>
                  </a:lnTo>
                  <a:lnTo>
                    <a:pt x="20" y="78"/>
                  </a:lnTo>
                  <a:lnTo>
                    <a:pt x="9" y="91"/>
                  </a:lnTo>
                  <a:lnTo>
                    <a:pt x="2" y="90"/>
                  </a:lnTo>
                  <a:lnTo>
                    <a:pt x="7" y="101"/>
                  </a:lnTo>
                  <a:lnTo>
                    <a:pt x="34" y="120"/>
                  </a:lnTo>
                  <a:lnTo>
                    <a:pt x="35" y="129"/>
                  </a:lnTo>
                  <a:lnTo>
                    <a:pt x="28" y="144"/>
                  </a:lnTo>
                  <a:lnTo>
                    <a:pt x="54" y="168"/>
                  </a:lnTo>
                  <a:lnTo>
                    <a:pt x="58" y="181"/>
                  </a:lnTo>
                  <a:lnTo>
                    <a:pt x="69" y="172"/>
                  </a:lnTo>
                  <a:lnTo>
                    <a:pt x="60" y="155"/>
                  </a:lnTo>
                  <a:lnTo>
                    <a:pt x="54" y="155"/>
                  </a:lnTo>
                  <a:lnTo>
                    <a:pt x="49" y="114"/>
                  </a:lnTo>
                  <a:lnTo>
                    <a:pt x="20" y="47"/>
                  </a:lnTo>
                  <a:lnTo>
                    <a:pt x="28" y="17"/>
                  </a:lnTo>
                  <a:lnTo>
                    <a:pt x="41" y="20"/>
                  </a:lnTo>
                  <a:lnTo>
                    <a:pt x="50" y="28"/>
                  </a:lnTo>
                  <a:lnTo>
                    <a:pt x="52" y="67"/>
                  </a:lnTo>
                  <a:lnTo>
                    <a:pt x="62" y="86"/>
                  </a:lnTo>
                  <a:lnTo>
                    <a:pt x="71" y="88"/>
                  </a:lnTo>
                  <a:lnTo>
                    <a:pt x="69" y="97"/>
                  </a:lnTo>
                  <a:lnTo>
                    <a:pt x="84" y="118"/>
                  </a:lnTo>
                  <a:lnTo>
                    <a:pt x="79" y="127"/>
                  </a:lnTo>
                  <a:lnTo>
                    <a:pt x="94" y="136"/>
                  </a:lnTo>
                  <a:lnTo>
                    <a:pt x="125" y="189"/>
                  </a:lnTo>
                  <a:lnTo>
                    <a:pt x="129" y="206"/>
                  </a:lnTo>
                  <a:lnTo>
                    <a:pt x="118" y="228"/>
                  </a:lnTo>
                  <a:lnTo>
                    <a:pt x="122" y="238"/>
                  </a:lnTo>
                  <a:lnTo>
                    <a:pt x="146" y="264"/>
                  </a:lnTo>
                  <a:lnTo>
                    <a:pt x="170" y="269"/>
                  </a:lnTo>
                  <a:lnTo>
                    <a:pt x="183" y="284"/>
                  </a:lnTo>
                  <a:lnTo>
                    <a:pt x="228" y="307"/>
                  </a:lnTo>
                  <a:lnTo>
                    <a:pt x="255" y="314"/>
                  </a:lnTo>
                  <a:lnTo>
                    <a:pt x="275" y="305"/>
                  </a:lnTo>
                  <a:lnTo>
                    <a:pt x="288" y="307"/>
                  </a:lnTo>
                  <a:lnTo>
                    <a:pt x="318" y="333"/>
                  </a:lnTo>
                  <a:lnTo>
                    <a:pt x="333" y="305"/>
                  </a:lnTo>
                  <a:lnTo>
                    <a:pt x="350" y="301"/>
                  </a:lnTo>
                  <a:lnTo>
                    <a:pt x="341" y="283"/>
                  </a:lnTo>
                  <a:lnTo>
                    <a:pt x="350" y="273"/>
                  </a:lnTo>
                  <a:lnTo>
                    <a:pt x="374" y="271"/>
                  </a:lnTo>
                  <a:lnTo>
                    <a:pt x="389" y="262"/>
                  </a:lnTo>
                  <a:lnTo>
                    <a:pt x="389" y="262"/>
                  </a:lnTo>
                  <a:lnTo>
                    <a:pt x="395" y="271"/>
                  </a:lnTo>
                  <a:lnTo>
                    <a:pt x="401" y="262"/>
                  </a:lnTo>
                  <a:lnTo>
                    <a:pt x="421" y="210"/>
                  </a:lnTo>
                  <a:lnTo>
                    <a:pt x="404" y="206"/>
                  </a:lnTo>
                  <a:lnTo>
                    <a:pt x="371" y="211"/>
                  </a:lnTo>
                  <a:lnTo>
                    <a:pt x="365" y="215"/>
                  </a:lnTo>
                  <a:lnTo>
                    <a:pt x="354" y="247"/>
                  </a:lnTo>
                  <a:lnTo>
                    <a:pt x="343" y="256"/>
                  </a:lnTo>
                  <a:lnTo>
                    <a:pt x="345" y="260"/>
                  </a:lnTo>
                  <a:lnTo>
                    <a:pt x="333" y="262"/>
                  </a:lnTo>
                  <a:lnTo>
                    <a:pt x="326" y="258"/>
                  </a:lnTo>
                  <a:lnTo>
                    <a:pt x="290" y="268"/>
                  </a:lnTo>
                  <a:lnTo>
                    <a:pt x="268" y="247"/>
                  </a:lnTo>
                  <a:lnTo>
                    <a:pt x="249" y="189"/>
                  </a:lnTo>
                  <a:lnTo>
                    <a:pt x="256" y="153"/>
                  </a:lnTo>
                  <a:lnTo>
                    <a:pt x="273" y="125"/>
                  </a:lnTo>
                  <a:lnTo>
                    <a:pt x="245" y="116"/>
                  </a:lnTo>
                  <a:lnTo>
                    <a:pt x="225" y="54"/>
                  </a:lnTo>
                  <a:lnTo>
                    <a:pt x="206" y="52"/>
                  </a:lnTo>
                  <a:lnTo>
                    <a:pt x="193" y="67"/>
                  </a:lnTo>
                  <a:lnTo>
                    <a:pt x="183" y="65"/>
                  </a:lnTo>
                  <a:lnTo>
                    <a:pt x="174" y="52"/>
                  </a:lnTo>
                  <a:lnTo>
                    <a:pt x="174" y="37"/>
                  </a:lnTo>
                  <a:lnTo>
                    <a:pt x="159" y="18"/>
                  </a:lnTo>
                  <a:lnTo>
                    <a:pt x="84" y="26"/>
                  </a:lnTo>
                  <a:lnTo>
                    <a:pt x="32" y="0"/>
                  </a:lnTo>
                  <a:lnTo>
                    <a:pt x="0" y="3"/>
                  </a:lnTo>
                  <a:lnTo>
                    <a:pt x="0" y="3"/>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65" name="Freeform 5745"/>
            <p:cNvSpPr>
              <a:spLocks/>
            </p:cNvSpPr>
            <p:nvPr>
              <p:custDataLst>
                <p:tags r:id="rId111"/>
              </p:custDataLst>
            </p:nvPr>
          </p:nvSpPr>
          <p:spPr bwMode="gray">
            <a:xfrm>
              <a:off x="4219529" y="3193030"/>
              <a:ext cx="1149651" cy="572913"/>
            </a:xfrm>
            <a:custGeom>
              <a:avLst/>
              <a:gdLst/>
              <a:ahLst/>
              <a:cxnLst>
                <a:cxn ang="0">
                  <a:pos x="373" y="360"/>
                </a:cxn>
                <a:cxn ang="0">
                  <a:pos x="392" y="360"/>
                </a:cxn>
                <a:cxn ang="0">
                  <a:pos x="429" y="371"/>
                </a:cxn>
                <a:cxn ang="0">
                  <a:pos x="465" y="371"/>
                </a:cxn>
                <a:cxn ang="0">
                  <a:pos x="448" y="354"/>
                </a:cxn>
                <a:cxn ang="0">
                  <a:pos x="487" y="343"/>
                </a:cxn>
                <a:cxn ang="0">
                  <a:pos x="525" y="354"/>
                </a:cxn>
                <a:cxn ang="0">
                  <a:pos x="562" y="373"/>
                </a:cxn>
                <a:cxn ang="0">
                  <a:pos x="581" y="444"/>
                </a:cxn>
                <a:cxn ang="0">
                  <a:pos x="590" y="336"/>
                </a:cxn>
                <a:cxn ang="0">
                  <a:pos x="704" y="246"/>
                </a:cxn>
                <a:cxn ang="0">
                  <a:pos x="708" y="249"/>
                </a:cxn>
                <a:cxn ang="0">
                  <a:pos x="703" y="203"/>
                </a:cxn>
                <a:cxn ang="0">
                  <a:pos x="723" y="180"/>
                </a:cxn>
                <a:cxn ang="0">
                  <a:pos x="714" y="208"/>
                </a:cxn>
                <a:cxn ang="0">
                  <a:pos x="733" y="201"/>
                </a:cxn>
                <a:cxn ang="0">
                  <a:pos x="744" y="184"/>
                </a:cxn>
                <a:cxn ang="0">
                  <a:pos x="807" y="139"/>
                </a:cxn>
                <a:cxn ang="0">
                  <a:pos x="830" y="135"/>
                </a:cxn>
                <a:cxn ang="0">
                  <a:pos x="837" y="103"/>
                </a:cxn>
                <a:cxn ang="0">
                  <a:pos x="894" y="77"/>
                </a:cxn>
                <a:cxn ang="0">
                  <a:pos x="896" y="42"/>
                </a:cxn>
                <a:cxn ang="0">
                  <a:pos x="824" y="81"/>
                </a:cxn>
                <a:cxn ang="0">
                  <a:pos x="757" y="92"/>
                </a:cxn>
                <a:cxn ang="0">
                  <a:pos x="704" y="111"/>
                </a:cxn>
                <a:cxn ang="0">
                  <a:pos x="654" y="143"/>
                </a:cxn>
                <a:cxn ang="0">
                  <a:pos x="631" y="137"/>
                </a:cxn>
                <a:cxn ang="0">
                  <a:pos x="654" y="115"/>
                </a:cxn>
                <a:cxn ang="0">
                  <a:pos x="650" y="90"/>
                </a:cxn>
                <a:cxn ang="0">
                  <a:pos x="615" y="81"/>
                </a:cxn>
                <a:cxn ang="0">
                  <a:pos x="573" y="141"/>
                </a:cxn>
                <a:cxn ang="0">
                  <a:pos x="573" y="113"/>
                </a:cxn>
                <a:cxn ang="0">
                  <a:pos x="609" y="66"/>
                </a:cxn>
                <a:cxn ang="0">
                  <a:pos x="656" y="57"/>
                </a:cxn>
                <a:cxn ang="0">
                  <a:pos x="645" y="53"/>
                </a:cxn>
                <a:cxn ang="0">
                  <a:pos x="607" y="47"/>
                </a:cxn>
                <a:cxn ang="0">
                  <a:pos x="564" y="53"/>
                </a:cxn>
                <a:cxn ang="0">
                  <a:pos x="586" y="27"/>
                </a:cxn>
                <a:cxn ang="0">
                  <a:pos x="527" y="0"/>
                </a:cxn>
                <a:cxn ang="0">
                  <a:pos x="129" y="15"/>
                </a:cxn>
                <a:cxn ang="0">
                  <a:pos x="118" y="28"/>
                </a:cxn>
                <a:cxn ang="0">
                  <a:pos x="90" y="23"/>
                </a:cxn>
                <a:cxn ang="0">
                  <a:pos x="23" y="145"/>
                </a:cxn>
                <a:cxn ang="0">
                  <a:pos x="0" y="191"/>
                </a:cxn>
                <a:cxn ang="0">
                  <a:pos x="15" y="206"/>
                </a:cxn>
                <a:cxn ang="0">
                  <a:pos x="10" y="227"/>
                </a:cxn>
                <a:cxn ang="0">
                  <a:pos x="8" y="270"/>
                </a:cxn>
                <a:cxn ang="0">
                  <a:pos x="47" y="293"/>
                </a:cxn>
                <a:cxn ang="0">
                  <a:pos x="133" y="332"/>
                </a:cxn>
                <a:cxn ang="0">
                  <a:pos x="223" y="358"/>
                </a:cxn>
                <a:cxn ang="0">
                  <a:pos x="255" y="358"/>
                </a:cxn>
                <a:cxn ang="0">
                  <a:pos x="322" y="431"/>
                </a:cxn>
              </a:cxnLst>
              <a:rect l="0" t="0" r="r" b="b"/>
              <a:pathLst>
                <a:path w="896" h="446">
                  <a:moveTo>
                    <a:pt x="326" y="397"/>
                  </a:moveTo>
                  <a:lnTo>
                    <a:pt x="373" y="369"/>
                  </a:lnTo>
                  <a:lnTo>
                    <a:pt x="373" y="360"/>
                  </a:lnTo>
                  <a:lnTo>
                    <a:pt x="379" y="358"/>
                  </a:lnTo>
                  <a:lnTo>
                    <a:pt x="377" y="366"/>
                  </a:lnTo>
                  <a:lnTo>
                    <a:pt x="392" y="360"/>
                  </a:lnTo>
                  <a:lnTo>
                    <a:pt x="416" y="364"/>
                  </a:lnTo>
                  <a:lnTo>
                    <a:pt x="423" y="358"/>
                  </a:lnTo>
                  <a:lnTo>
                    <a:pt x="429" y="371"/>
                  </a:lnTo>
                  <a:lnTo>
                    <a:pt x="452" y="368"/>
                  </a:lnTo>
                  <a:lnTo>
                    <a:pt x="461" y="373"/>
                  </a:lnTo>
                  <a:lnTo>
                    <a:pt x="465" y="371"/>
                  </a:lnTo>
                  <a:lnTo>
                    <a:pt x="457" y="366"/>
                  </a:lnTo>
                  <a:lnTo>
                    <a:pt x="465" y="354"/>
                  </a:lnTo>
                  <a:lnTo>
                    <a:pt x="448" y="354"/>
                  </a:lnTo>
                  <a:lnTo>
                    <a:pt x="453" y="347"/>
                  </a:lnTo>
                  <a:lnTo>
                    <a:pt x="461" y="351"/>
                  </a:lnTo>
                  <a:lnTo>
                    <a:pt x="487" y="343"/>
                  </a:lnTo>
                  <a:lnTo>
                    <a:pt x="489" y="349"/>
                  </a:lnTo>
                  <a:lnTo>
                    <a:pt x="513" y="347"/>
                  </a:lnTo>
                  <a:lnTo>
                    <a:pt x="525" y="354"/>
                  </a:lnTo>
                  <a:lnTo>
                    <a:pt x="525" y="360"/>
                  </a:lnTo>
                  <a:lnTo>
                    <a:pt x="549" y="354"/>
                  </a:lnTo>
                  <a:lnTo>
                    <a:pt x="562" y="373"/>
                  </a:lnTo>
                  <a:lnTo>
                    <a:pt x="558" y="409"/>
                  </a:lnTo>
                  <a:lnTo>
                    <a:pt x="573" y="446"/>
                  </a:lnTo>
                  <a:lnTo>
                    <a:pt x="581" y="444"/>
                  </a:lnTo>
                  <a:lnTo>
                    <a:pt x="590" y="431"/>
                  </a:lnTo>
                  <a:lnTo>
                    <a:pt x="596" y="411"/>
                  </a:lnTo>
                  <a:lnTo>
                    <a:pt x="590" y="336"/>
                  </a:lnTo>
                  <a:lnTo>
                    <a:pt x="613" y="309"/>
                  </a:lnTo>
                  <a:lnTo>
                    <a:pt x="699" y="257"/>
                  </a:lnTo>
                  <a:lnTo>
                    <a:pt x="704" y="246"/>
                  </a:lnTo>
                  <a:lnTo>
                    <a:pt x="689" y="246"/>
                  </a:lnTo>
                  <a:lnTo>
                    <a:pt x="703" y="242"/>
                  </a:lnTo>
                  <a:lnTo>
                    <a:pt x="708" y="249"/>
                  </a:lnTo>
                  <a:lnTo>
                    <a:pt x="703" y="223"/>
                  </a:lnTo>
                  <a:lnTo>
                    <a:pt x="708" y="208"/>
                  </a:lnTo>
                  <a:lnTo>
                    <a:pt x="703" y="203"/>
                  </a:lnTo>
                  <a:lnTo>
                    <a:pt x="708" y="205"/>
                  </a:lnTo>
                  <a:lnTo>
                    <a:pt x="716" y="184"/>
                  </a:lnTo>
                  <a:lnTo>
                    <a:pt x="723" y="180"/>
                  </a:lnTo>
                  <a:lnTo>
                    <a:pt x="712" y="201"/>
                  </a:lnTo>
                  <a:lnTo>
                    <a:pt x="716" y="203"/>
                  </a:lnTo>
                  <a:lnTo>
                    <a:pt x="714" y="208"/>
                  </a:lnTo>
                  <a:lnTo>
                    <a:pt x="719" y="208"/>
                  </a:lnTo>
                  <a:lnTo>
                    <a:pt x="714" y="221"/>
                  </a:lnTo>
                  <a:lnTo>
                    <a:pt x="733" y="201"/>
                  </a:lnTo>
                  <a:lnTo>
                    <a:pt x="731" y="180"/>
                  </a:lnTo>
                  <a:lnTo>
                    <a:pt x="734" y="190"/>
                  </a:lnTo>
                  <a:lnTo>
                    <a:pt x="744" y="184"/>
                  </a:lnTo>
                  <a:lnTo>
                    <a:pt x="763" y="156"/>
                  </a:lnTo>
                  <a:lnTo>
                    <a:pt x="804" y="146"/>
                  </a:lnTo>
                  <a:lnTo>
                    <a:pt x="807" y="139"/>
                  </a:lnTo>
                  <a:lnTo>
                    <a:pt x="809" y="145"/>
                  </a:lnTo>
                  <a:lnTo>
                    <a:pt x="828" y="141"/>
                  </a:lnTo>
                  <a:lnTo>
                    <a:pt x="830" y="135"/>
                  </a:lnTo>
                  <a:lnTo>
                    <a:pt x="821" y="139"/>
                  </a:lnTo>
                  <a:lnTo>
                    <a:pt x="817" y="128"/>
                  </a:lnTo>
                  <a:lnTo>
                    <a:pt x="837" y="103"/>
                  </a:lnTo>
                  <a:lnTo>
                    <a:pt x="864" y="90"/>
                  </a:lnTo>
                  <a:lnTo>
                    <a:pt x="884" y="87"/>
                  </a:lnTo>
                  <a:lnTo>
                    <a:pt x="894" y="77"/>
                  </a:lnTo>
                  <a:lnTo>
                    <a:pt x="896" y="77"/>
                  </a:lnTo>
                  <a:lnTo>
                    <a:pt x="888" y="68"/>
                  </a:lnTo>
                  <a:lnTo>
                    <a:pt x="896" y="42"/>
                  </a:lnTo>
                  <a:lnTo>
                    <a:pt x="875" y="36"/>
                  </a:lnTo>
                  <a:lnTo>
                    <a:pt x="843" y="75"/>
                  </a:lnTo>
                  <a:lnTo>
                    <a:pt x="824" y="81"/>
                  </a:lnTo>
                  <a:lnTo>
                    <a:pt x="779" y="81"/>
                  </a:lnTo>
                  <a:lnTo>
                    <a:pt x="757" y="92"/>
                  </a:lnTo>
                  <a:lnTo>
                    <a:pt x="757" y="92"/>
                  </a:lnTo>
                  <a:lnTo>
                    <a:pt x="748" y="107"/>
                  </a:lnTo>
                  <a:lnTo>
                    <a:pt x="704" y="111"/>
                  </a:lnTo>
                  <a:lnTo>
                    <a:pt x="704" y="111"/>
                  </a:lnTo>
                  <a:lnTo>
                    <a:pt x="704" y="120"/>
                  </a:lnTo>
                  <a:lnTo>
                    <a:pt x="704" y="120"/>
                  </a:lnTo>
                  <a:lnTo>
                    <a:pt x="654" y="143"/>
                  </a:lnTo>
                  <a:lnTo>
                    <a:pt x="635" y="145"/>
                  </a:lnTo>
                  <a:lnTo>
                    <a:pt x="626" y="139"/>
                  </a:lnTo>
                  <a:lnTo>
                    <a:pt x="631" y="137"/>
                  </a:lnTo>
                  <a:lnTo>
                    <a:pt x="631" y="137"/>
                  </a:lnTo>
                  <a:lnTo>
                    <a:pt x="654" y="115"/>
                  </a:lnTo>
                  <a:lnTo>
                    <a:pt x="654" y="115"/>
                  </a:lnTo>
                  <a:lnTo>
                    <a:pt x="654" y="98"/>
                  </a:lnTo>
                  <a:lnTo>
                    <a:pt x="637" y="105"/>
                  </a:lnTo>
                  <a:lnTo>
                    <a:pt x="650" y="90"/>
                  </a:lnTo>
                  <a:lnTo>
                    <a:pt x="656" y="73"/>
                  </a:lnTo>
                  <a:lnTo>
                    <a:pt x="637" y="68"/>
                  </a:lnTo>
                  <a:lnTo>
                    <a:pt x="615" y="81"/>
                  </a:lnTo>
                  <a:lnTo>
                    <a:pt x="601" y="98"/>
                  </a:lnTo>
                  <a:lnTo>
                    <a:pt x="586" y="131"/>
                  </a:lnTo>
                  <a:lnTo>
                    <a:pt x="573" y="141"/>
                  </a:lnTo>
                  <a:lnTo>
                    <a:pt x="566" y="141"/>
                  </a:lnTo>
                  <a:lnTo>
                    <a:pt x="566" y="131"/>
                  </a:lnTo>
                  <a:lnTo>
                    <a:pt x="573" y="113"/>
                  </a:lnTo>
                  <a:lnTo>
                    <a:pt x="598" y="81"/>
                  </a:lnTo>
                  <a:lnTo>
                    <a:pt x="585" y="87"/>
                  </a:lnTo>
                  <a:lnTo>
                    <a:pt x="609" y="66"/>
                  </a:lnTo>
                  <a:lnTo>
                    <a:pt x="654" y="64"/>
                  </a:lnTo>
                  <a:lnTo>
                    <a:pt x="654" y="57"/>
                  </a:lnTo>
                  <a:lnTo>
                    <a:pt x="656" y="57"/>
                  </a:lnTo>
                  <a:lnTo>
                    <a:pt x="650" y="53"/>
                  </a:lnTo>
                  <a:lnTo>
                    <a:pt x="650" y="53"/>
                  </a:lnTo>
                  <a:lnTo>
                    <a:pt x="645" y="53"/>
                  </a:lnTo>
                  <a:lnTo>
                    <a:pt x="646" y="49"/>
                  </a:lnTo>
                  <a:lnTo>
                    <a:pt x="609" y="55"/>
                  </a:lnTo>
                  <a:lnTo>
                    <a:pt x="607" y="47"/>
                  </a:lnTo>
                  <a:lnTo>
                    <a:pt x="596" y="49"/>
                  </a:lnTo>
                  <a:lnTo>
                    <a:pt x="613" y="36"/>
                  </a:lnTo>
                  <a:lnTo>
                    <a:pt x="564" y="53"/>
                  </a:lnTo>
                  <a:lnTo>
                    <a:pt x="562" y="45"/>
                  </a:lnTo>
                  <a:lnTo>
                    <a:pt x="543" y="51"/>
                  </a:lnTo>
                  <a:lnTo>
                    <a:pt x="586" y="27"/>
                  </a:lnTo>
                  <a:lnTo>
                    <a:pt x="588" y="27"/>
                  </a:lnTo>
                  <a:lnTo>
                    <a:pt x="530" y="13"/>
                  </a:lnTo>
                  <a:lnTo>
                    <a:pt x="527" y="0"/>
                  </a:lnTo>
                  <a:lnTo>
                    <a:pt x="517" y="8"/>
                  </a:lnTo>
                  <a:lnTo>
                    <a:pt x="129" y="8"/>
                  </a:lnTo>
                  <a:lnTo>
                    <a:pt x="129" y="15"/>
                  </a:lnTo>
                  <a:lnTo>
                    <a:pt x="113" y="34"/>
                  </a:lnTo>
                  <a:lnTo>
                    <a:pt x="107" y="34"/>
                  </a:lnTo>
                  <a:lnTo>
                    <a:pt x="118" y="28"/>
                  </a:lnTo>
                  <a:lnTo>
                    <a:pt x="113" y="23"/>
                  </a:lnTo>
                  <a:lnTo>
                    <a:pt x="94" y="17"/>
                  </a:lnTo>
                  <a:lnTo>
                    <a:pt x="90" y="23"/>
                  </a:lnTo>
                  <a:lnTo>
                    <a:pt x="77" y="58"/>
                  </a:lnTo>
                  <a:lnTo>
                    <a:pt x="30" y="120"/>
                  </a:lnTo>
                  <a:lnTo>
                    <a:pt x="23" y="145"/>
                  </a:lnTo>
                  <a:lnTo>
                    <a:pt x="4" y="165"/>
                  </a:lnTo>
                  <a:lnTo>
                    <a:pt x="6" y="178"/>
                  </a:lnTo>
                  <a:lnTo>
                    <a:pt x="0" y="191"/>
                  </a:lnTo>
                  <a:lnTo>
                    <a:pt x="6" y="203"/>
                  </a:lnTo>
                  <a:lnTo>
                    <a:pt x="2" y="208"/>
                  </a:lnTo>
                  <a:lnTo>
                    <a:pt x="15" y="206"/>
                  </a:lnTo>
                  <a:lnTo>
                    <a:pt x="4" y="221"/>
                  </a:lnTo>
                  <a:lnTo>
                    <a:pt x="6" y="227"/>
                  </a:lnTo>
                  <a:lnTo>
                    <a:pt x="10" y="227"/>
                  </a:lnTo>
                  <a:lnTo>
                    <a:pt x="4" y="238"/>
                  </a:lnTo>
                  <a:lnTo>
                    <a:pt x="13" y="261"/>
                  </a:lnTo>
                  <a:lnTo>
                    <a:pt x="8" y="270"/>
                  </a:lnTo>
                  <a:lnTo>
                    <a:pt x="38" y="279"/>
                  </a:lnTo>
                  <a:lnTo>
                    <a:pt x="36" y="285"/>
                  </a:lnTo>
                  <a:lnTo>
                    <a:pt x="47" y="293"/>
                  </a:lnTo>
                  <a:lnTo>
                    <a:pt x="49" y="309"/>
                  </a:lnTo>
                  <a:lnTo>
                    <a:pt x="81" y="306"/>
                  </a:lnTo>
                  <a:lnTo>
                    <a:pt x="133" y="332"/>
                  </a:lnTo>
                  <a:lnTo>
                    <a:pt x="208" y="324"/>
                  </a:lnTo>
                  <a:lnTo>
                    <a:pt x="223" y="343"/>
                  </a:lnTo>
                  <a:lnTo>
                    <a:pt x="223" y="358"/>
                  </a:lnTo>
                  <a:lnTo>
                    <a:pt x="232" y="371"/>
                  </a:lnTo>
                  <a:lnTo>
                    <a:pt x="242" y="373"/>
                  </a:lnTo>
                  <a:lnTo>
                    <a:pt x="255" y="358"/>
                  </a:lnTo>
                  <a:lnTo>
                    <a:pt x="274" y="360"/>
                  </a:lnTo>
                  <a:lnTo>
                    <a:pt x="294" y="422"/>
                  </a:lnTo>
                  <a:lnTo>
                    <a:pt x="322" y="431"/>
                  </a:lnTo>
                  <a:lnTo>
                    <a:pt x="326" y="397"/>
                  </a:lnTo>
                  <a:lnTo>
                    <a:pt x="326" y="39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66" name="Freeform 5746"/>
            <p:cNvSpPr>
              <a:spLocks/>
            </p:cNvSpPr>
            <p:nvPr>
              <p:custDataLst>
                <p:tags r:id="rId112"/>
              </p:custDataLst>
            </p:nvPr>
          </p:nvSpPr>
          <p:spPr bwMode="gray">
            <a:xfrm>
              <a:off x="4690423" y="3934220"/>
              <a:ext cx="82118" cy="101480"/>
            </a:xfrm>
            <a:custGeom>
              <a:avLst/>
              <a:gdLst/>
              <a:ahLst/>
              <a:cxnLst>
                <a:cxn ang="0">
                  <a:pos x="45" y="64"/>
                </a:cxn>
                <a:cxn ang="0">
                  <a:pos x="34" y="77"/>
                </a:cxn>
                <a:cxn ang="0">
                  <a:pos x="34" y="79"/>
                </a:cxn>
                <a:cxn ang="0">
                  <a:pos x="4" y="68"/>
                </a:cxn>
                <a:cxn ang="0">
                  <a:pos x="0" y="62"/>
                </a:cxn>
                <a:cxn ang="0">
                  <a:pos x="15" y="34"/>
                </a:cxn>
                <a:cxn ang="0">
                  <a:pos x="32" y="30"/>
                </a:cxn>
                <a:cxn ang="0">
                  <a:pos x="23" y="12"/>
                </a:cxn>
                <a:cxn ang="0">
                  <a:pos x="32" y="2"/>
                </a:cxn>
                <a:cxn ang="0">
                  <a:pos x="56" y="0"/>
                </a:cxn>
                <a:cxn ang="0">
                  <a:pos x="51" y="32"/>
                </a:cxn>
                <a:cxn ang="0">
                  <a:pos x="55" y="36"/>
                </a:cxn>
                <a:cxn ang="0">
                  <a:pos x="64" y="42"/>
                </a:cxn>
                <a:cxn ang="0">
                  <a:pos x="45" y="64"/>
                </a:cxn>
                <a:cxn ang="0">
                  <a:pos x="45" y="64"/>
                </a:cxn>
              </a:cxnLst>
              <a:rect l="0" t="0" r="r" b="b"/>
              <a:pathLst>
                <a:path w="64" h="79">
                  <a:moveTo>
                    <a:pt x="45" y="64"/>
                  </a:moveTo>
                  <a:lnTo>
                    <a:pt x="34" y="77"/>
                  </a:lnTo>
                  <a:lnTo>
                    <a:pt x="34" y="79"/>
                  </a:lnTo>
                  <a:lnTo>
                    <a:pt x="4" y="68"/>
                  </a:lnTo>
                  <a:lnTo>
                    <a:pt x="0" y="62"/>
                  </a:lnTo>
                  <a:lnTo>
                    <a:pt x="15" y="34"/>
                  </a:lnTo>
                  <a:lnTo>
                    <a:pt x="32" y="30"/>
                  </a:lnTo>
                  <a:lnTo>
                    <a:pt x="23" y="12"/>
                  </a:lnTo>
                  <a:lnTo>
                    <a:pt x="32" y="2"/>
                  </a:lnTo>
                  <a:lnTo>
                    <a:pt x="56" y="0"/>
                  </a:lnTo>
                  <a:lnTo>
                    <a:pt x="51" y="32"/>
                  </a:lnTo>
                  <a:lnTo>
                    <a:pt x="55" y="36"/>
                  </a:lnTo>
                  <a:lnTo>
                    <a:pt x="64" y="42"/>
                  </a:lnTo>
                  <a:lnTo>
                    <a:pt x="45" y="64"/>
                  </a:lnTo>
                  <a:lnTo>
                    <a:pt x="45" y="6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67" name="Freeform 5747"/>
            <p:cNvSpPr>
              <a:spLocks/>
            </p:cNvSpPr>
            <p:nvPr>
              <p:custDataLst>
                <p:tags r:id="rId113"/>
              </p:custDataLst>
            </p:nvPr>
          </p:nvSpPr>
          <p:spPr bwMode="gray">
            <a:xfrm>
              <a:off x="4734049" y="4016432"/>
              <a:ext cx="46191" cy="30829"/>
            </a:xfrm>
            <a:custGeom>
              <a:avLst/>
              <a:gdLst/>
              <a:ahLst/>
              <a:cxnLst>
                <a:cxn ang="0">
                  <a:pos x="36" y="13"/>
                </a:cxn>
                <a:cxn ang="0">
                  <a:pos x="11" y="0"/>
                </a:cxn>
                <a:cxn ang="0">
                  <a:pos x="0" y="13"/>
                </a:cxn>
                <a:cxn ang="0">
                  <a:pos x="0" y="15"/>
                </a:cxn>
                <a:cxn ang="0">
                  <a:pos x="4" y="21"/>
                </a:cxn>
                <a:cxn ang="0">
                  <a:pos x="34" y="24"/>
                </a:cxn>
                <a:cxn ang="0">
                  <a:pos x="36" y="21"/>
                </a:cxn>
                <a:cxn ang="0">
                  <a:pos x="36" y="13"/>
                </a:cxn>
                <a:cxn ang="0">
                  <a:pos x="36" y="13"/>
                </a:cxn>
              </a:cxnLst>
              <a:rect l="0" t="0" r="r" b="b"/>
              <a:pathLst>
                <a:path w="36" h="24">
                  <a:moveTo>
                    <a:pt x="36" y="13"/>
                  </a:moveTo>
                  <a:lnTo>
                    <a:pt x="11" y="0"/>
                  </a:lnTo>
                  <a:lnTo>
                    <a:pt x="0" y="13"/>
                  </a:lnTo>
                  <a:lnTo>
                    <a:pt x="0" y="15"/>
                  </a:lnTo>
                  <a:lnTo>
                    <a:pt x="4" y="21"/>
                  </a:lnTo>
                  <a:lnTo>
                    <a:pt x="34" y="24"/>
                  </a:lnTo>
                  <a:lnTo>
                    <a:pt x="36" y="21"/>
                  </a:lnTo>
                  <a:lnTo>
                    <a:pt x="36" y="13"/>
                  </a:lnTo>
                  <a:lnTo>
                    <a:pt x="36" y="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68" name="Freeform 5748"/>
            <p:cNvSpPr>
              <a:spLocks/>
            </p:cNvSpPr>
            <p:nvPr>
              <p:custDataLst>
                <p:tags r:id="rId114"/>
              </p:custDataLst>
            </p:nvPr>
          </p:nvSpPr>
          <p:spPr bwMode="gray">
            <a:xfrm>
              <a:off x="4932928" y="4141035"/>
              <a:ext cx="10265" cy="12846"/>
            </a:xfrm>
            <a:custGeom>
              <a:avLst/>
              <a:gdLst/>
              <a:ahLst/>
              <a:cxnLst>
                <a:cxn ang="0">
                  <a:pos x="0" y="0"/>
                </a:cxn>
                <a:cxn ang="0">
                  <a:pos x="2" y="0"/>
                </a:cxn>
                <a:cxn ang="0">
                  <a:pos x="8" y="6"/>
                </a:cxn>
                <a:cxn ang="0">
                  <a:pos x="6" y="10"/>
                </a:cxn>
                <a:cxn ang="0">
                  <a:pos x="0" y="0"/>
                </a:cxn>
                <a:cxn ang="0">
                  <a:pos x="0" y="0"/>
                </a:cxn>
              </a:cxnLst>
              <a:rect l="0" t="0" r="r" b="b"/>
              <a:pathLst>
                <a:path w="8" h="10">
                  <a:moveTo>
                    <a:pt x="0" y="0"/>
                  </a:moveTo>
                  <a:lnTo>
                    <a:pt x="2" y="0"/>
                  </a:lnTo>
                  <a:lnTo>
                    <a:pt x="8" y="6"/>
                  </a:lnTo>
                  <a:lnTo>
                    <a:pt x="6" y="1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69" name="Freeform 5749"/>
            <p:cNvSpPr>
              <a:spLocks/>
            </p:cNvSpPr>
            <p:nvPr>
              <p:custDataLst>
                <p:tags r:id="rId115"/>
              </p:custDataLst>
            </p:nvPr>
          </p:nvSpPr>
          <p:spPr bwMode="gray">
            <a:xfrm>
              <a:off x="4935494" y="4134612"/>
              <a:ext cx="53890" cy="52667"/>
            </a:xfrm>
            <a:custGeom>
              <a:avLst/>
              <a:gdLst/>
              <a:ahLst/>
              <a:cxnLst>
                <a:cxn ang="0">
                  <a:pos x="40" y="17"/>
                </a:cxn>
                <a:cxn ang="0">
                  <a:pos x="27" y="4"/>
                </a:cxn>
                <a:cxn ang="0">
                  <a:pos x="13" y="0"/>
                </a:cxn>
                <a:cxn ang="0">
                  <a:pos x="0" y="5"/>
                </a:cxn>
                <a:cxn ang="0">
                  <a:pos x="6" y="11"/>
                </a:cxn>
                <a:cxn ang="0">
                  <a:pos x="27" y="22"/>
                </a:cxn>
                <a:cxn ang="0">
                  <a:pos x="23" y="28"/>
                </a:cxn>
                <a:cxn ang="0">
                  <a:pos x="30" y="41"/>
                </a:cxn>
                <a:cxn ang="0">
                  <a:pos x="42" y="28"/>
                </a:cxn>
                <a:cxn ang="0">
                  <a:pos x="40" y="17"/>
                </a:cxn>
                <a:cxn ang="0">
                  <a:pos x="40" y="17"/>
                </a:cxn>
              </a:cxnLst>
              <a:rect l="0" t="0" r="r" b="b"/>
              <a:pathLst>
                <a:path w="42" h="41">
                  <a:moveTo>
                    <a:pt x="40" y="17"/>
                  </a:moveTo>
                  <a:lnTo>
                    <a:pt x="27" y="4"/>
                  </a:lnTo>
                  <a:lnTo>
                    <a:pt x="13" y="0"/>
                  </a:lnTo>
                  <a:lnTo>
                    <a:pt x="0" y="5"/>
                  </a:lnTo>
                  <a:lnTo>
                    <a:pt x="6" y="11"/>
                  </a:lnTo>
                  <a:lnTo>
                    <a:pt x="27" y="22"/>
                  </a:lnTo>
                  <a:lnTo>
                    <a:pt x="23" y="28"/>
                  </a:lnTo>
                  <a:lnTo>
                    <a:pt x="30" y="41"/>
                  </a:lnTo>
                  <a:lnTo>
                    <a:pt x="42" y="28"/>
                  </a:lnTo>
                  <a:lnTo>
                    <a:pt x="40" y="17"/>
                  </a:lnTo>
                  <a:lnTo>
                    <a:pt x="40"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70" name="Freeform 5750"/>
            <p:cNvSpPr>
              <a:spLocks/>
            </p:cNvSpPr>
            <p:nvPr>
              <p:custDataLst>
                <p:tags r:id="rId116"/>
              </p:custDataLst>
            </p:nvPr>
          </p:nvSpPr>
          <p:spPr bwMode="gray">
            <a:xfrm>
              <a:off x="4871340" y="4134612"/>
              <a:ext cx="69287" cy="55236"/>
            </a:xfrm>
            <a:custGeom>
              <a:avLst/>
              <a:gdLst/>
              <a:ahLst/>
              <a:cxnLst>
                <a:cxn ang="0">
                  <a:pos x="2" y="0"/>
                </a:cxn>
                <a:cxn ang="0">
                  <a:pos x="7" y="0"/>
                </a:cxn>
                <a:cxn ang="0">
                  <a:pos x="13" y="9"/>
                </a:cxn>
                <a:cxn ang="0">
                  <a:pos x="24" y="13"/>
                </a:cxn>
                <a:cxn ang="0">
                  <a:pos x="48" y="5"/>
                </a:cxn>
                <a:cxn ang="0">
                  <a:pos x="54" y="15"/>
                </a:cxn>
                <a:cxn ang="0">
                  <a:pos x="39" y="24"/>
                </a:cxn>
                <a:cxn ang="0">
                  <a:pos x="47" y="37"/>
                </a:cxn>
                <a:cxn ang="0">
                  <a:pos x="32" y="43"/>
                </a:cxn>
                <a:cxn ang="0">
                  <a:pos x="30" y="32"/>
                </a:cxn>
                <a:cxn ang="0">
                  <a:pos x="0" y="22"/>
                </a:cxn>
                <a:cxn ang="0">
                  <a:pos x="2" y="0"/>
                </a:cxn>
                <a:cxn ang="0">
                  <a:pos x="2" y="0"/>
                </a:cxn>
              </a:cxnLst>
              <a:rect l="0" t="0" r="r" b="b"/>
              <a:pathLst>
                <a:path w="54" h="43">
                  <a:moveTo>
                    <a:pt x="2" y="0"/>
                  </a:moveTo>
                  <a:lnTo>
                    <a:pt x="7" y="0"/>
                  </a:lnTo>
                  <a:lnTo>
                    <a:pt x="13" y="9"/>
                  </a:lnTo>
                  <a:lnTo>
                    <a:pt x="24" y="13"/>
                  </a:lnTo>
                  <a:lnTo>
                    <a:pt x="48" y="5"/>
                  </a:lnTo>
                  <a:lnTo>
                    <a:pt x="54" y="15"/>
                  </a:lnTo>
                  <a:lnTo>
                    <a:pt x="39" y="24"/>
                  </a:lnTo>
                  <a:lnTo>
                    <a:pt x="47" y="37"/>
                  </a:lnTo>
                  <a:lnTo>
                    <a:pt x="32" y="43"/>
                  </a:lnTo>
                  <a:lnTo>
                    <a:pt x="30" y="32"/>
                  </a:lnTo>
                  <a:lnTo>
                    <a:pt x="0" y="22"/>
                  </a:lnTo>
                  <a:lnTo>
                    <a:pt x="2" y="0"/>
                  </a:lnTo>
                  <a:lnTo>
                    <a:pt x="2"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71" name="Freeform 5751"/>
            <p:cNvSpPr>
              <a:spLocks/>
            </p:cNvSpPr>
            <p:nvPr>
              <p:custDataLst>
                <p:tags r:id="rId117"/>
              </p:custDataLst>
            </p:nvPr>
          </p:nvSpPr>
          <p:spPr bwMode="gray">
            <a:xfrm>
              <a:off x="4816167" y="4098644"/>
              <a:ext cx="64155" cy="64228"/>
            </a:xfrm>
            <a:custGeom>
              <a:avLst/>
              <a:gdLst/>
              <a:ahLst/>
              <a:cxnLst>
                <a:cxn ang="0">
                  <a:pos x="45" y="28"/>
                </a:cxn>
                <a:cxn ang="0">
                  <a:pos x="50" y="28"/>
                </a:cxn>
                <a:cxn ang="0">
                  <a:pos x="41" y="18"/>
                </a:cxn>
                <a:cxn ang="0">
                  <a:pos x="33" y="2"/>
                </a:cxn>
                <a:cxn ang="0">
                  <a:pos x="2" y="0"/>
                </a:cxn>
                <a:cxn ang="0">
                  <a:pos x="0" y="20"/>
                </a:cxn>
                <a:cxn ang="0">
                  <a:pos x="7" y="26"/>
                </a:cxn>
                <a:cxn ang="0">
                  <a:pos x="13" y="18"/>
                </a:cxn>
                <a:cxn ang="0">
                  <a:pos x="32" y="37"/>
                </a:cxn>
                <a:cxn ang="0">
                  <a:pos x="30" y="47"/>
                </a:cxn>
                <a:cxn ang="0">
                  <a:pos x="43" y="50"/>
                </a:cxn>
                <a:cxn ang="0">
                  <a:pos x="45" y="28"/>
                </a:cxn>
                <a:cxn ang="0">
                  <a:pos x="45" y="28"/>
                </a:cxn>
              </a:cxnLst>
              <a:rect l="0" t="0" r="r" b="b"/>
              <a:pathLst>
                <a:path w="50" h="50">
                  <a:moveTo>
                    <a:pt x="45" y="28"/>
                  </a:moveTo>
                  <a:lnTo>
                    <a:pt x="50" y="28"/>
                  </a:lnTo>
                  <a:lnTo>
                    <a:pt x="41" y="18"/>
                  </a:lnTo>
                  <a:lnTo>
                    <a:pt x="33" y="2"/>
                  </a:lnTo>
                  <a:lnTo>
                    <a:pt x="2" y="0"/>
                  </a:lnTo>
                  <a:lnTo>
                    <a:pt x="0" y="20"/>
                  </a:lnTo>
                  <a:lnTo>
                    <a:pt x="7" y="26"/>
                  </a:lnTo>
                  <a:lnTo>
                    <a:pt x="13" y="18"/>
                  </a:lnTo>
                  <a:lnTo>
                    <a:pt x="32" y="37"/>
                  </a:lnTo>
                  <a:lnTo>
                    <a:pt x="30" y="47"/>
                  </a:lnTo>
                  <a:lnTo>
                    <a:pt x="43" y="50"/>
                  </a:lnTo>
                  <a:lnTo>
                    <a:pt x="45" y="28"/>
                  </a:lnTo>
                  <a:lnTo>
                    <a:pt x="45" y="28"/>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72" name="Freeform 5752"/>
            <p:cNvSpPr>
              <a:spLocks/>
            </p:cNvSpPr>
            <p:nvPr>
              <p:custDataLst>
                <p:tags r:id="rId118"/>
              </p:custDataLst>
            </p:nvPr>
          </p:nvSpPr>
          <p:spPr bwMode="gray">
            <a:xfrm>
              <a:off x="4748163" y="3983034"/>
              <a:ext cx="125743" cy="66797"/>
            </a:xfrm>
            <a:custGeom>
              <a:avLst/>
              <a:gdLst/>
              <a:ahLst/>
              <a:cxnLst>
                <a:cxn ang="0">
                  <a:pos x="19" y="4"/>
                </a:cxn>
                <a:cxn ang="0">
                  <a:pos x="75" y="0"/>
                </a:cxn>
                <a:cxn ang="0">
                  <a:pos x="98" y="15"/>
                </a:cxn>
                <a:cxn ang="0">
                  <a:pos x="73" y="22"/>
                </a:cxn>
                <a:cxn ang="0">
                  <a:pos x="30" y="52"/>
                </a:cxn>
                <a:cxn ang="0">
                  <a:pos x="25" y="47"/>
                </a:cxn>
                <a:cxn ang="0">
                  <a:pos x="25" y="39"/>
                </a:cxn>
                <a:cxn ang="0">
                  <a:pos x="0" y="26"/>
                </a:cxn>
                <a:cxn ang="0">
                  <a:pos x="19" y="4"/>
                </a:cxn>
                <a:cxn ang="0">
                  <a:pos x="19" y="4"/>
                </a:cxn>
              </a:cxnLst>
              <a:rect l="0" t="0" r="r" b="b"/>
              <a:pathLst>
                <a:path w="98" h="52">
                  <a:moveTo>
                    <a:pt x="19" y="4"/>
                  </a:moveTo>
                  <a:lnTo>
                    <a:pt x="75" y="0"/>
                  </a:lnTo>
                  <a:lnTo>
                    <a:pt x="98" y="15"/>
                  </a:lnTo>
                  <a:lnTo>
                    <a:pt x="73" y="22"/>
                  </a:lnTo>
                  <a:lnTo>
                    <a:pt x="30" y="52"/>
                  </a:lnTo>
                  <a:lnTo>
                    <a:pt x="25" y="47"/>
                  </a:lnTo>
                  <a:lnTo>
                    <a:pt x="25" y="39"/>
                  </a:lnTo>
                  <a:lnTo>
                    <a:pt x="0" y="26"/>
                  </a:lnTo>
                  <a:lnTo>
                    <a:pt x="19" y="4"/>
                  </a:lnTo>
                  <a:lnTo>
                    <a:pt x="19"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73" name="Freeform 5753"/>
            <p:cNvSpPr>
              <a:spLocks/>
            </p:cNvSpPr>
            <p:nvPr>
              <p:custDataLst>
                <p:tags r:id="rId119"/>
              </p:custDataLst>
            </p:nvPr>
          </p:nvSpPr>
          <p:spPr bwMode="gray">
            <a:xfrm>
              <a:off x="5450014" y="5074909"/>
              <a:ext cx="101364" cy="109188"/>
            </a:xfrm>
            <a:custGeom>
              <a:avLst/>
              <a:gdLst/>
              <a:ahLst/>
              <a:cxnLst>
                <a:cxn ang="0">
                  <a:pos x="4" y="72"/>
                </a:cxn>
                <a:cxn ang="0">
                  <a:pos x="0" y="0"/>
                </a:cxn>
                <a:cxn ang="0">
                  <a:pos x="15" y="0"/>
                </a:cxn>
                <a:cxn ang="0">
                  <a:pos x="30" y="15"/>
                </a:cxn>
                <a:cxn ang="0">
                  <a:pos x="36" y="12"/>
                </a:cxn>
                <a:cxn ang="0">
                  <a:pos x="68" y="32"/>
                </a:cxn>
                <a:cxn ang="0">
                  <a:pos x="79" y="47"/>
                </a:cxn>
                <a:cxn ang="0">
                  <a:pos x="79" y="66"/>
                </a:cxn>
                <a:cxn ang="0">
                  <a:pos x="73" y="79"/>
                </a:cxn>
                <a:cxn ang="0">
                  <a:pos x="40" y="85"/>
                </a:cxn>
                <a:cxn ang="0">
                  <a:pos x="4" y="72"/>
                </a:cxn>
                <a:cxn ang="0">
                  <a:pos x="4" y="72"/>
                </a:cxn>
                <a:cxn ang="0">
                  <a:pos x="4" y="72"/>
                </a:cxn>
              </a:cxnLst>
              <a:rect l="0" t="0" r="r" b="b"/>
              <a:pathLst>
                <a:path w="79" h="85">
                  <a:moveTo>
                    <a:pt x="4" y="72"/>
                  </a:moveTo>
                  <a:lnTo>
                    <a:pt x="0" y="0"/>
                  </a:lnTo>
                  <a:lnTo>
                    <a:pt x="15" y="0"/>
                  </a:lnTo>
                  <a:lnTo>
                    <a:pt x="30" y="15"/>
                  </a:lnTo>
                  <a:lnTo>
                    <a:pt x="36" y="12"/>
                  </a:lnTo>
                  <a:lnTo>
                    <a:pt x="68" y="32"/>
                  </a:lnTo>
                  <a:lnTo>
                    <a:pt x="79" y="47"/>
                  </a:lnTo>
                  <a:lnTo>
                    <a:pt x="79" y="66"/>
                  </a:lnTo>
                  <a:lnTo>
                    <a:pt x="73" y="79"/>
                  </a:lnTo>
                  <a:lnTo>
                    <a:pt x="40" y="85"/>
                  </a:lnTo>
                  <a:lnTo>
                    <a:pt x="4" y="72"/>
                  </a:lnTo>
                  <a:lnTo>
                    <a:pt x="4" y="72"/>
                  </a:lnTo>
                  <a:lnTo>
                    <a:pt x="4" y="7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74" name="Freeform 5754"/>
            <p:cNvSpPr>
              <a:spLocks/>
            </p:cNvSpPr>
            <p:nvPr>
              <p:custDataLst>
                <p:tags r:id="rId120"/>
              </p:custDataLst>
            </p:nvPr>
          </p:nvSpPr>
          <p:spPr bwMode="gray">
            <a:xfrm>
              <a:off x="5061237" y="4237376"/>
              <a:ext cx="812198" cy="922314"/>
            </a:xfrm>
            <a:custGeom>
              <a:avLst/>
              <a:gdLst/>
              <a:ahLst/>
              <a:cxnLst>
                <a:cxn ang="0">
                  <a:pos x="335" y="53"/>
                </a:cxn>
                <a:cxn ang="0">
                  <a:pos x="311" y="53"/>
                </a:cxn>
                <a:cxn ang="0">
                  <a:pos x="284" y="62"/>
                </a:cxn>
                <a:cxn ang="0">
                  <a:pos x="268" y="58"/>
                </a:cxn>
                <a:cxn ang="0">
                  <a:pos x="232" y="68"/>
                </a:cxn>
                <a:cxn ang="0">
                  <a:pos x="228" y="19"/>
                </a:cxn>
                <a:cxn ang="0">
                  <a:pos x="211" y="0"/>
                </a:cxn>
                <a:cxn ang="0">
                  <a:pos x="172" y="25"/>
                </a:cxn>
                <a:cxn ang="0">
                  <a:pos x="151" y="28"/>
                </a:cxn>
                <a:cxn ang="0">
                  <a:pos x="163" y="57"/>
                </a:cxn>
                <a:cxn ang="0">
                  <a:pos x="116" y="81"/>
                </a:cxn>
                <a:cxn ang="0">
                  <a:pos x="97" y="62"/>
                </a:cxn>
                <a:cxn ang="0">
                  <a:pos x="60" y="75"/>
                </a:cxn>
                <a:cxn ang="0">
                  <a:pos x="56" y="90"/>
                </a:cxn>
                <a:cxn ang="0">
                  <a:pos x="58" y="173"/>
                </a:cxn>
                <a:cxn ang="0">
                  <a:pos x="11" y="203"/>
                </a:cxn>
                <a:cxn ang="0">
                  <a:pos x="15" y="261"/>
                </a:cxn>
                <a:cxn ang="0">
                  <a:pos x="32" y="280"/>
                </a:cxn>
                <a:cxn ang="0">
                  <a:pos x="56" y="296"/>
                </a:cxn>
                <a:cxn ang="0">
                  <a:pos x="92" y="296"/>
                </a:cxn>
                <a:cxn ang="0">
                  <a:pos x="136" y="274"/>
                </a:cxn>
                <a:cxn ang="0">
                  <a:pos x="146" y="317"/>
                </a:cxn>
                <a:cxn ang="0">
                  <a:pos x="226" y="366"/>
                </a:cxn>
                <a:cxn ang="0">
                  <a:pos x="230" y="394"/>
                </a:cxn>
                <a:cxn ang="0">
                  <a:pos x="260" y="409"/>
                </a:cxn>
                <a:cxn ang="0">
                  <a:pos x="271" y="467"/>
                </a:cxn>
                <a:cxn ang="0">
                  <a:pos x="307" y="506"/>
                </a:cxn>
                <a:cxn ang="0">
                  <a:pos x="320" y="534"/>
                </a:cxn>
                <a:cxn ang="0">
                  <a:pos x="341" y="566"/>
                </a:cxn>
                <a:cxn ang="0">
                  <a:pos x="356" y="592"/>
                </a:cxn>
                <a:cxn ang="0">
                  <a:pos x="303" y="652"/>
                </a:cxn>
                <a:cxn ang="0">
                  <a:pos x="333" y="667"/>
                </a:cxn>
                <a:cxn ang="0">
                  <a:pos x="371" y="684"/>
                </a:cxn>
                <a:cxn ang="0">
                  <a:pos x="382" y="718"/>
                </a:cxn>
                <a:cxn ang="0">
                  <a:pos x="412" y="677"/>
                </a:cxn>
                <a:cxn ang="0">
                  <a:pos x="438" y="620"/>
                </a:cxn>
                <a:cxn ang="0">
                  <a:pos x="459" y="540"/>
                </a:cxn>
                <a:cxn ang="0">
                  <a:pos x="479" y="534"/>
                </a:cxn>
                <a:cxn ang="0">
                  <a:pos x="494" y="527"/>
                </a:cxn>
                <a:cxn ang="0">
                  <a:pos x="534" y="517"/>
                </a:cxn>
                <a:cxn ang="0">
                  <a:pos x="547" y="501"/>
                </a:cxn>
                <a:cxn ang="0">
                  <a:pos x="565" y="456"/>
                </a:cxn>
                <a:cxn ang="0">
                  <a:pos x="571" y="420"/>
                </a:cxn>
                <a:cxn ang="0">
                  <a:pos x="620" y="272"/>
                </a:cxn>
                <a:cxn ang="0">
                  <a:pos x="633" y="223"/>
                </a:cxn>
                <a:cxn ang="0">
                  <a:pos x="595" y="190"/>
                </a:cxn>
                <a:cxn ang="0">
                  <a:pos x="522" y="150"/>
                </a:cxn>
                <a:cxn ang="0">
                  <a:pos x="472" y="148"/>
                </a:cxn>
                <a:cxn ang="0">
                  <a:pos x="468" y="122"/>
                </a:cxn>
                <a:cxn ang="0">
                  <a:pos x="457" y="120"/>
                </a:cxn>
                <a:cxn ang="0">
                  <a:pos x="414" y="111"/>
                </a:cxn>
                <a:cxn ang="0">
                  <a:pos x="402" y="122"/>
                </a:cxn>
                <a:cxn ang="0">
                  <a:pos x="399" y="98"/>
                </a:cxn>
                <a:cxn ang="0">
                  <a:pos x="374" y="126"/>
                </a:cxn>
                <a:cxn ang="0">
                  <a:pos x="359" y="118"/>
                </a:cxn>
                <a:cxn ang="0">
                  <a:pos x="382" y="77"/>
                </a:cxn>
                <a:cxn ang="0">
                  <a:pos x="374" y="62"/>
                </a:cxn>
                <a:cxn ang="0">
                  <a:pos x="358" y="21"/>
                </a:cxn>
              </a:cxnLst>
              <a:rect l="0" t="0" r="r" b="b"/>
              <a:pathLst>
                <a:path w="633" h="718">
                  <a:moveTo>
                    <a:pt x="358" y="21"/>
                  </a:moveTo>
                  <a:lnTo>
                    <a:pt x="335" y="53"/>
                  </a:lnTo>
                  <a:lnTo>
                    <a:pt x="320" y="58"/>
                  </a:lnTo>
                  <a:lnTo>
                    <a:pt x="311" y="53"/>
                  </a:lnTo>
                  <a:lnTo>
                    <a:pt x="290" y="51"/>
                  </a:lnTo>
                  <a:lnTo>
                    <a:pt x="284" y="62"/>
                  </a:lnTo>
                  <a:lnTo>
                    <a:pt x="279" y="58"/>
                  </a:lnTo>
                  <a:lnTo>
                    <a:pt x="268" y="58"/>
                  </a:lnTo>
                  <a:lnTo>
                    <a:pt x="241" y="72"/>
                  </a:lnTo>
                  <a:lnTo>
                    <a:pt x="232" y="68"/>
                  </a:lnTo>
                  <a:lnTo>
                    <a:pt x="223" y="47"/>
                  </a:lnTo>
                  <a:lnTo>
                    <a:pt x="228" y="19"/>
                  </a:lnTo>
                  <a:lnTo>
                    <a:pt x="223" y="2"/>
                  </a:lnTo>
                  <a:lnTo>
                    <a:pt x="211" y="0"/>
                  </a:lnTo>
                  <a:lnTo>
                    <a:pt x="208" y="10"/>
                  </a:lnTo>
                  <a:lnTo>
                    <a:pt x="172" y="25"/>
                  </a:lnTo>
                  <a:lnTo>
                    <a:pt x="144" y="21"/>
                  </a:lnTo>
                  <a:lnTo>
                    <a:pt x="151" y="28"/>
                  </a:lnTo>
                  <a:lnTo>
                    <a:pt x="151" y="47"/>
                  </a:lnTo>
                  <a:lnTo>
                    <a:pt x="163" y="57"/>
                  </a:lnTo>
                  <a:lnTo>
                    <a:pt x="127" y="81"/>
                  </a:lnTo>
                  <a:lnTo>
                    <a:pt x="116" y="81"/>
                  </a:lnTo>
                  <a:lnTo>
                    <a:pt x="108" y="72"/>
                  </a:lnTo>
                  <a:lnTo>
                    <a:pt x="97" y="62"/>
                  </a:lnTo>
                  <a:lnTo>
                    <a:pt x="62" y="64"/>
                  </a:lnTo>
                  <a:lnTo>
                    <a:pt x="60" y="75"/>
                  </a:lnTo>
                  <a:lnTo>
                    <a:pt x="71" y="85"/>
                  </a:lnTo>
                  <a:lnTo>
                    <a:pt x="56" y="90"/>
                  </a:lnTo>
                  <a:lnTo>
                    <a:pt x="65" y="120"/>
                  </a:lnTo>
                  <a:lnTo>
                    <a:pt x="58" y="173"/>
                  </a:lnTo>
                  <a:lnTo>
                    <a:pt x="22" y="188"/>
                  </a:lnTo>
                  <a:lnTo>
                    <a:pt x="11" y="203"/>
                  </a:lnTo>
                  <a:lnTo>
                    <a:pt x="0" y="238"/>
                  </a:lnTo>
                  <a:lnTo>
                    <a:pt x="15" y="261"/>
                  </a:lnTo>
                  <a:lnTo>
                    <a:pt x="13" y="266"/>
                  </a:lnTo>
                  <a:lnTo>
                    <a:pt x="32" y="280"/>
                  </a:lnTo>
                  <a:lnTo>
                    <a:pt x="52" y="268"/>
                  </a:lnTo>
                  <a:lnTo>
                    <a:pt x="56" y="296"/>
                  </a:lnTo>
                  <a:lnTo>
                    <a:pt x="69" y="296"/>
                  </a:lnTo>
                  <a:lnTo>
                    <a:pt x="92" y="296"/>
                  </a:lnTo>
                  <a:lnTo>
                    <a:pt x="116" y="276"/>
                  </a:lnTo>
                  <a:lnTo>
                    <a:pt x="136" y="274"/>
                  </a:lnTo>
                  <a:lnTo>
                    <a:pt x="138" y="304"/>
                  </a:lnTo>
                  <a:lnTo>
                    <a:pt x="146" y="317"/>
                  </a:lnTo>
                  <a:lnTo>
                    <a:pt x="213" y="345"/>
                  </a:lnTo>
                  <a:lnTo>
                    <a:pt x="226" y="366"/>
                  </a:lnTo>
                  <a:lnTo>
                    <a:pt x="225" y="377"/>
                  </a:lnTo>
                  <a:lnTo>
                    <a:pt x="230" y="394"/>
                  </a:lnTo>
                  <a:lnTo>
                    <a:pt x="258" y="398"/>
                  </a:lnTo>
                  <a:lnTo>
                    <a:pt x="260" y="409"/>
                  </a:lnTo>
                  <a:lnTo>
                    <a:pt x="273" y="431"/>
                  </a:lnTo>
                  <a:lnTo>
                    <a:pt x="271" y="467"/>
                  </a:lnTo>
                  <a:lnTo>
                    <a:pt x="277" y="499"/>
                  </a:lnTo>
                  <a:lnTo>
                    <a:pt x="307" y="506"/>
                  </a:lnTo>
                  <a:lnTo>
                    <a:pt x="314" y="510"/>
                  </a:lnTo>
                  <a:lnTo>
                    <a:pt x="320" y="534"/>
                  </a:lnTo>
                  <a:lnTo>
                    <a:pt x="339" y="538"/>
                  </a:lnTo>
                  <a:lnTo>
                    <a:pt x="341" y="566"/>
                  </a:lnTo>
                  <a:lnTo>
                    <a:pt x="348" y="568"/>
                  </a:lnTo>
                  <a:lnTo>
                    <a:pt x="356" y="592"/>
                  </a:lnTo>
                  <a:lnTo>
                    <a:pt x="341" y="604"/>
                  </a:lnTo>
                  <a:lnTo>
                    <a:pt x="303" y="652"/>
                  </a:lnTo>
                  <a:lnTo>
                    <a:pt x="318" y="652"/>
                  </a:lnTo>
                  <a:lnTo>
                    <a:pt x="333" y="667"/>
                  </a:lnTo>
                  <a:lnTo>
                    <a:pt x="339" y="664"/>
                  </a:lnTo>
                  <a:lnTo>
                    <a:pt x="371" y="684"/>
                  </a:lnTo>
                  <a:lnTo>
                    <a:pt x="382" y="699"/>
                  </a:lnTo>
                  <a:lnTo>
                    <a:pt x="382" y="718"/>
                  </a:lnTo>
                  <a:lnTo>
                    <a:pt x="393" y="695"/>
                  </a:lnTo>
                  <a:lnTo>
                    <a:pt x="412" y="677"/>
                  </a:lnTo>
                  <a:lnTo>
                    <a:pt x="423" y="639"/>
                  </a:lnTo>
                  <a:lnTo>
                    <a:pt x="438" y="620"/>
                  </a:lnTo>
                  <a:lnTo>
                    <a:pt x="434" y="572"/>
                  </a:lnTo>
                  <a:lnTo>
                    <a:pt x="459" y="540"/>
                  </a:lnTo>
                  <a:lnTo>
                    <a:pt x="474" y="532"/>
                  </a:lnTo>
                  <a:lnTo>
                    <a:pt x="479" y="534"/>
                  </a:lnTo>
                  <a:lnTo>
                    <a:pt x="487" y="527"/>
                  </a:lnTo>
                  <a:lnTo>
                    <a:pt x="494" y="527"/>
                  </a:lnTo>
                  <a:lnTo>
                    <a:pt x="491" y="519"/>
                  </a:lnTo>
                  <a:lnTo>
                    <a:pt x="534" y="517"/>
                  </a:lnTo>
                  <a:lnTo>
                    <a:pt x="534" y="510"/>
                  </a:lnTo>
                  <a:lnTo>
                    <a:pt x="547" y="501"/>
                  </a:lnTo>
                  <a:lnTo>
                    <a:pt x="549" y="484"/>
                  </a:lnTo>
                  <a:lnTo>
                    <a:pt x="565" y="456"/>
                  </a:lnTo>
                  <a:lnTo>
                    <a:pt x="565" y="428"/>
                  </a:lnTo>
                  <a:lnTo>
                    <a:pt x="571" y="420"/>
                  </a:lnTo>
                  <a:lnTo>
                    <a:pt x="569" y="341"/>
                  </a:lnTo>
                  <a:lnTo>
                    <a:pt x="620" y="272"/>
                  </a:lnTo>
                  <a:lnTo>
                    <a:pt x="633" y="246"/>
                  </a:lnTo>
                  <a:lnTo>
                    <a:pt x="633" y="223"/>
                  </a:lnTo>
                  <a:lnTo>
                    <a:pt x="622" y="191"/>
                  </a:lnTo>
                  <a:lnTo>
                    <a:pt x="595" y="190"/>
                  </a:lnTo>
                  <a:lnTo>
                    <a:pt x="547" y="148"/>
                  </a:lnTo>
                  <a:lnTo>
                    <a:pt x="522" y="150"/>
                  </a:lnTo>
                  <a:lnTo>
                    <a:pt x="489" y="141"/>
                  </a:lnTo>
                  <a:lnTo>
                    <a:pt x="472" y="148"/>
                  </a:lnTo>
                  <a:lnTo>
                    <a:pt x="474" y="139"/>
                  </a:lnTo>
                  <a:lnTo>
                    <a:pt x="468" y="122"/>
                  </a:lnTo>
                  <a:lnTo>
                    <a:pt x="459" y="126"/>
                  </a:lnTo>
                  <a:lnTo>
                    <a:pt x="457" y="120"/>
                  </a:lnTo>
                  <a:lnTo>
                    <a:pt x="427" y="109"/>
                  </a:lnTo>
                  <a:lnTo>
                    <a:pt x="414" y="111"/>
                  </a:lnTo>
                  <a:lnTo>
                    <a:pt x="406" y="124"/>
                  </a:lnTo>
                  <a:lnTo>
                    <a:pt x="402" y="122"/>
                  </a:lnTo>
                  <a:lnTo>
                    <a:pt x="408" y="102"/>
                  </a:lnTo>
                  <a:lnTo>
                    <a:pt x="399" y="98"/>
                  </a:lnTo>
                  <a:lnTo>
                    <a:pt x="376" y="103"/>
                  </a:lnTo>
                  <a:lnTo>
                    <a:pt x="374" y="126"/>
                  </a:lnTo>
                  <a:lnTo>
                    <a:pt x="369" y="115"/>
                  </a:lnTo>
                  <a:lnTo>
                    <a:pt x="359" y="118"/>
                  </a:lnTo>
                  <a:lnTo>
                    <a:pt x="365" y="98"/>
                  </a:lnTo>
                  <a:lnTo>
                    <a:pt x="382" y="77"/>
                  </a:lnTo>
                  <a:lnTo>
                    <a:pt x="384" y="64"/>
                  </a:lnTo>
                  <a:lnTo>
                    <a:pt x="374" y="62"/>
                  </a:lnTo>
                  <a:lnTo>
                    <a:pt x="367" y="27"/>
                  </a:lnTo>
                  <a:lnTo>
                    <a:pt x="358" y="21"/>
                  </a:lnTo>
                  <a:lnTo>
                    <a:pt x="358" y="2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75" name="Freeform 5755"/>
            <p:cNvSpPr>
              <a:spLocks/>
            </p:cNvSpPr>
            <p:nvPr>
              <p:custDataLst>
                <p:tags r:id="rId121"/>
              </p:custDataLst>
            </p:nvPr>
          </p:nvSpPr>
          <p:spPr bwMode="gray">
            <a:xfrm>
              <a:off x="5408955" y="5600294"/>
              <a:ext cx="87250" cy="66797"/>
            </a:xfrm>
            <a:custGeom>
              <a:avLst/>
              <a:gdLst/>
              <a:ahLst/>
              <a:cxnLst>
                <a:cxn ang="0">
                  <a:pos x="0" y="0"/>
                </a:cxn>
                <a:cxn ang="0">
                  <a:pos x="19" y="17"/>
                </a:cxn>
                <a:cxn ang="0">
                  <a:pos x="68" y="35"/>
                </a:cxn>
                <a:cxn ang="0">
                  <a:pos x="62" y="41"/>
                </a:cxn>
                <a:cxn ang="0">
                  <a:pos x="30" y="47"/>
                </a:cxn>
                <a:cxn ang="0">
                  <a:pos x="36" y="52"/>
                </a:cxn>
                <a:cxn ang="0">
                  <a:pos x="25" y="50"/>
                </a:cxn>
                <a:cxn ang="0">
                  <a:pos x="0" y="0"/>
                </a:cxn>
                <a:cxn ang="0">
                  <a:pos x="0" y="0"/>
                </a:cxn>
              </a:cxnLst>
              <a:rect l="0" t="0" r="r" b="b"/>
              <a:pathLst>
                <a:path w="68" h="52">
                  <a:moveTo>
                    <a:pt x="0" y="0"/>
                  </a:moveTo>
                  <a:lnTo>
                    <a:pt x="19" y="17"/>
                  </a:lnTo>
                  <a:lnTo>
                    <a:pt x="68" y="35"/>
                  </a:lnTo>
                  <a:lnTo>
                    <a:pt x="62" y="41"/>
                  </a:lnTo>
                  <a:lnTo>
                    <a:pt x="30" y="47"/>
                  </a:lnTo>
                  <a:lnTo>
                    <a:pt x="36" y="52"/>
                  </a:lnTo>
                  <a:lnTo>
                    <a:pt x="25" y="5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76" name="Freeform 5756"/>
            <p:cNvSpPr>
              <a:spLocks/>
            </p:cNvSpPr>
            <p:nvPr>
              <p:custDataLst>
                <p:tags r:id="rId122"/>
              </p:custDataLst>
            </p:nvPr>
          </p:nvSpPr>
          <p:spPr bwMode="gray">
            <a:xfrm>
              <a:off x="5330687" y="5600294"/>
              <a:ext cx="110346" cy="64228"/>
            </a:xfrm>
            <a:custGeom>
              <a:avLst/>
              <a:gdLst/>
              <a:ahLst/>
              <a:cxnLst>
                <a:cxn ang="0">
                  <a:pos x="61" y="0"/>
                </a:cxn>
                <a:cxn ang="0">
                  <a:pos x="43" y="3"/>
                </a:cxn>
                <a:cxn ang="0">
                  <a:pos x="44" y="11"/>
                </a:cxn>
                <a:cxn ang="0">
                  <a:pos x="61" y="15"/>
                </a:cxn>
                <a:cxn ang="0">
                  <a:pos x="52" y="18"/>
                </a:cxn>
                <a:cxn ang="0">
                  <a:pos x="46" y="17"/>
                </a:cxn>
                <a:cxn ang="0">
                  <a:pos x="43" y="26"/>
                </a:cxn>
                <a:cxn ang="0">
                  <a:pos x="1" y="11"/>
                </a:cxn>
                <a:cxn ang="0">
                  <a:pos x="0" y="17"/>
                </a:cxn>
                <a:cxn ang="0">
                  <a:pos x="11" y="26"/>
                </a:cxn>
                <a:cxn ang="0">
                  <a:pos x="20" y="26"/>
                </a:cxn>
                <a:cxn ang="0">
                  <a:pos x="48" y="41"/>
                </a:cxn>
                <a:cxn ang="0">
                  <a:pos x="65" y="41"/>
                </a:cxn>
                <a:cxn ang="0">
                  <a:pos x="71" y="47"/>
                </a:cxn>
                <a:cxn ang="0">
                  <a:pos x="86" y="50"/>
                </a:cxn>
                <a:cxn ang="0">
                  <a:pos x="61" y="0"/>
                </a:cxn>
                <a:cxn ang="0">
                  <a:pos x="61" y="0"/>
                </a:cxn>
              </a:cxnLst>
              <a:rect l="0" t="0" r="r" b="b"/>
              <a:pathLst>
                <a:path w="86" h="50">
                  <a:moveTo>
                    <a:pt x="61" y="0"/>
                  </a:moveTo>
                  <a:lnTo>
                    <a:pt x="43" y="3"/>
                  </a:lnTo>
                  <a:lnTo>
                    <a:pt x="44" y="11"/>
                  </a:lnTo>
                  <a:lnTo>
                    <a:pt x="61" y="15"/>
                  </a:lnTo>
                  <a:lnTo>
                    <a:pt x="52" y="18"/>
                  </a:lnTo>
                  <a:lnTo>
                    <a:pt x="46" y="17"/>
                  </a:lnTo>
                  <a:lnTo>
                    <a:pt x="43" y="26"/>
                  </a:lnTo>
                  <a:lnTo>
                    <a:pt x="1" y="11"/>
                  </a:lnTo>
                  <a:lnTo>
                    <a:pt x="0" y="17"/>
                  </a:lnTo>
                  <a:lnTo>
                    <a:pt x="11" y="26"/>
                  </a:lnTo>
                  <a:lnTo>
                    <a:pt x="20" y="26"/>
                  </a:lnTo>
                  <a:lnTo>
                    <a:pt x="48" y="41"/>
                  </a:lnTo>
                  <a:lnTo>
                    <a:pt x="65" y="41"/>
                  </a:lnTo>
                  <a:lnTo>
                    <a:pt x="71" y="47"/>
                  </a:lnTo>
                  <a:lnTo>
                    <a:pt x="86" y="50"/>
                  </a:lnTo>
                  <a:lnTo>
                    <a:pt x="61" y="0"/>
                  </a:lnTo>
                  <a:lnTo>
                    <a:pt x="61"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77" name="Freeform 5757"/>
            <p:cNvSpPr>
              <a:spLocks/>
            </p:cNvSpPr>
            <p:nvPr>
              <p:custDataLst>
                <p:tags r:id="rId123"/>
              </p:custDataLst>
            </p:nvPr>
          </p:nvSpPr>
          <p:spPr bwMode="gray">
            <a:xfrm>
              <a:off x="4899568" y="4363263"/>
              <a:ext cx="274582" cy="427758"/>
            </a:xfrm>
            <a:custGeom>
              <a:avLst/>
              <a:gdLst/>
              <a:ahLst/>
              <a:cxnLst>
                <a:cxn ang="0">
                  <a:pos x="15" y="62"/>
                </a:cxn>
                <a:cxn ang="0">
                  <a:pos x="0" y="75"/>
                </a:cxn>
                <a:cxn ang="0">
                  <a:pos x="10" y="101"/>
                </a:cxn>
                <a:cxn ang="0">
                  <a:pos x="4" y="108"/>
                </a:cxn>
                <a:cxn ang="0">
                  <a:pos x="23" y="123"/>
                </a:cxn>
                <a:cxn ang="0">
                  <a:pos x="47" y="157"/>
                </a:cxn>
                <a:cxn ang="0">
                  <a:pos x="101" y="268"/>
                </a:cxn>
                <a:cxn ang="0">
                  <a:pos x="193" y="333"/>
                </a:cxn>
                <a:cxn ang="0">
                  <a:pos x="208" y="320"/>
                </a:cxn>
                <a:cxn ang="0">
                  <a:pos x="214" y="301"/>
                </a:cxn>
                <a:cxn ang="0">
                  <a:pos x="206" y="286"/>
                </a:cxn>
                <a:cxn ang="0">
                  <a:pos x="212" y="225"/>
                </a:cxn>
                <a:cxn ang="0">
                  <a:pos x="195" y="198"/>
                </a:cxn>
                <a:cxn ang="0">
                  <a:pos x="182" y="198"/>
                </a:cxn>
                <a:cxn ang="0">
                  <a:pos x="178" y="170"/>
                </a:cxn>
                <a:cxn ang="0">
                  <a:pos x="158" y="182"/>
                </a:cxn>
                <a:cxn ang="0">
                  <a:pos x="139" y="168"/>
                </a:cxn>
                <a:cxn ang="0">
                  <a:pos x="141" y="163"/>
                </a:cxn>
                <a:cxn ang="0">
                  <a:pos x="126" y="140"/>
                </a:cxn>
                <a:cxn ang="0">
                  <a:pos x="137" y="105"/>
                </a:cxn>
                <a:cxn ang="0">
                  <a:pos x="148" y="90"/>
                </a:cxn>
                <a:cxn ang="0">
                  <a:pos x="184" y="75"/>
                </a:cxn>
                <a:cxn ang="0">
                  <a:pos x="174" y="64"/>
                </a:cxn>
                <a:cxn ang="0">
                  <a:pos x="182" y="52"/>
                </a:cxn>
                <a:cxn ang="0">
                  <a:pos x="180" y="47"/>
                </a:cxn>
                <a:cxn ang="0">
                  <a:pos x="169" y="41"/>
                </a:cxn>
                <a:cxn ang="0">
                  <a:pos x="133" y="43"/>
                </a:cxn>
                <a:cxn ang="0">
                  <a:pos x="124" y="22"/>
                </a:cxn>
                <a:cxn ang="0">
                  <a:pos x="96" y="0"/>
                </a:cxn>
                <a:cxn ang="0">
                  <a:pos x="92" y="4"/>
                </a:cxn>
                <a:cxn ang="0">
                  <a:pos x="98" y="15"/>
                </a:cxn>
                <a:cxn ang="0">
                  <a:pos x="90" y="30"/>
                </a:cxn>
                <a:cxn ang="0">
                  <a:pos x="79" y="43"/>
                </a:cxn>
                <a:cxn ang="0">
                  <a:pos x="55" y="54"/>
                </a:cxn>
                <a:cxn ang="0">
                  <a:pos x="34" y="90"/>
                </a:cxn>
                <a:cxn ang="0">
                  <a:pos x="13" y="78"/>
                </a:cxn>
                <a:cxn ang="0">
                  <a:pos x="15" y="62"/>
                </a:cxn>
                <a:cxn ang="0">
                  <a:pos x="15" y="62"/>
                </a:cxn>
              </a:cxnLst>
              <a:rect l="0" t="0" r="r" b="b"/>
              <a:pathLst>
                <a:path w="214" h="333">
                  <a:moveTo>
                    <a:pt x="15" y="62"/>
                  </a:moveTo>
                  <a:lnTo>
                    <a:pt x="0" y="75"/>
                  </a:lnTo>
                  <a:lnTo>
                    <a:pt x="10" y="101"/>
                  </a:lnTo>
                  <a:lnTo>
                    <a:pt x="4" y="108"/>
                  </a:lnTo>
                  <a:lnTo>
                    <a:pt x="23" y="123"/>
                  </a:lnTo>
                  <a:lnTo>
                    <a:pt x="47" y="157"/>
                  </a:lnTo>
                  <a:lnTo>
                    <a:pt x="101" y="268"/>
                  </a:lnTo>
                  <a:lnTo>
                    <a:pt x="193" y="333"/>
                  </a:lnTo>
                  <a:lnTo>
                    <a:pt x="208" y="320"/>
                  </a:lnTo>
                  <a:lnTo>
                    <a:pt x="214" y="301"/>
                  </a:lnTo>
                  <a:lnTo>
                    <a:pt x="206" y="286"/>
                  </a:lnTo>
                  <a:lnTo>
                    <a:pt x="212" y="225"/>
                  </a:lnTo>
                  <a:lnTo>
                    <a:pt x="195" y="198"/>
                  </a:lnTo>
                  <a:lnTo>
                    <a:pt x="182" y="198"/>
                  </a:lnTo>
                  <a:lnTo>
                    <a:pt x="178" y="170"/>
                  </a:lnTo>
                  <a:lnTo>
                    <a:pt x="158" y="182"/>
                  </a:lnTo>
                  <a:lnTo>
                    <a:pt x="139" y="168"/>
                  </a:lnTo>
                  <a:lnTo>
                    <a:pt x="141" y="163"/>
                  </a:lnTo>
                  <a:lnTo>
                    <a:pt x="126" y="140"/>
                  </a:lnTo>
                  <a:lnTo>
                    <a:pt x="137" y="105"/>
                  </a:lnTo>
                  <a:lnTo>
                    <a:pt x="148" y="90"/>
                  </a:lnTo>
                  <a:lnTo>
                    <a:pt x="184" y="75"/>
                  </a:lnTo>
                  <a:lnTo>
                    <a:pt x="174" y="64"/>
                  </a:lnTo>
                  <a:lnTo>
                    <a:pt x="182" y="52"/>
                  </a:lnTo>
                  <a:lnTo>
                    <a:pt x="180" y="47"/>
                  </a:lnTo>
                  <a:lnTo>
                    <a:pt x="169" y="41"/>
                  </a:lnTo>
                  <a:lnTo>
                    <a:pt x="133" y="43"/>
                  </a:lnTo>
                  <a:lnTo>
                    <a:pt x="124" y="22"/>
                  </a:lnTo>
                  <a:lnTo>
                    <a:pt x="96" y="0"/>
                  </a:lnTo>
                  <a:lnTo>
                    <a:pt x="92" y="4"/>
                  </a:lnTo>
                  <a:lnTo>
                    <a:pt x="98" y="15"/>
                  </a:lnTo>
                  <a:lnTo>
                    <a:pt x="90" y="30"/>
                  </a:lnTo>
                  <a:lnTo>
                    <a:pt x="79" y="43"/>
                  </a:lnTo>
                  <a:lnTo>
                    <a:pt x="55" y="54"/>
                  </a:lnTo>
                  <a:lnTo>
                    <a:pt x="34" y="90"/>
                  </a:lnTo>
                  <a:lnTo>
                    <a:pt x="13" y="78"/>
                  </a:lnTo>
                  <a:lnTo>
                    <a:pt x="15" y="62"/>
                  </a:lnTo>
                  <a:lnTo>
                    <a:pt x="15" y="6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78" name="Freeform 5758"/>
            <p:cNvSpPr>
              <a:spLocks/>
            </p:cNvSpPr>
            <p:nvPr>
              <p:custDataLst>
                <p:tags r:id="rId124"/>
              </p:custDataLst>
            </p:nvPr>
          </p:nvSpPr>
          <p:spPr bwMode="gray">
            <a:xfrm>
              <a:off x="4907266" y="4329865"/>
              <a:ext cx="118045" cy="149009"/>
            </a:xfrm>
            <a:custGeom>
              <a:avLst/>
              <a:gdLst/>
              <a:ahLst/>
              <a:cxnLst>
                <a:cxn ang="0">
                  <a:pos x="9" y="88"/>
                </a:cxn>
                <a:cxn ang="0">
                  <a:pos x="7" y="104"/>
                </a:cxn>
                <a:cxn ang="0">
                  <a:pos x="28" y="116"/>
                </a:cxn>
                <a:cxn ang="0">
                  <a:pos x="49" y="80"/>
                </a:cxn>
                <a:cxn ang="0">
                  <a:pos x="73" y="69"/>
                </a:cxn>
                <a:cxn ang="0">
                  <a:pos x="84" y="56"/>
                </a:cxn>
                <a:cxn ang="0">
                  <a:pos x="92" y="41"/>
                </a:cxn>
                <a:cxn ang="0">
                  <a:pos x="86" y="30"/>
                </a:cxn>
                <a:cxn ang="0">
                  <a:pos x="90" y="26"/>
                </a:cxn>
                <a:cxn ang="0">
                  <a:pos x="80" y="20"/>
                </a:cxn>
                <a:cxn ang="0">
                  <a:pos x="60" y="22"/>
                </a:cxn>
                <a:cxn ang="0">
                  <a:pos x="34" y="0"/>
                </a:cxn>
                <a:cxn ang="0">
                  <a:pos x="15" y="11"/>
                </a:cxn>
                <a:cxn ang="0">
                  <a:pos x="13" y="24"/>
                </a:cxn>
                <a:cxn ang="0">
                  <a:pos x="5" y="30"/>
                </a:cxn>
                <a:cxn ang="0">
                  <a:pos x="5" y="39"/>
                </a:cxn>
                <a:cxn ang="0">
                  <a:pos x="0" y="43"/>
                </a:cxn>
                <a:cxn ang="0">
                  <a:pos x="0" y="67"/>
                </a:cxn>
                <a:cxn ang="0">
                  <a:pos x="13" y="78"/>
                </a:cxn>
                <a:cxn ang="0">
                  <a:pos x="13" y="69"/>
                </a:cxn>
                <a:cxn ang="0">
                  <a:pos x="20" y="69"/>
                </a:cxn>
                <a:cxn ang="0">
                  <a:pos x="15" y="86"/>
                </a:cxn>
                <a:cxn ang="0">
                  <a:pos x="9" y="88"/>
                </a:cxn>
                <a:cxn ang="0">
                  <a:pos x="9" y="88"/>
                </a:cxn>
              </a:cxnLst>
              <a:rect l="0" t="0" r="r" b="b"/>
              <a:pathLst>
                <a:path w="92" h="116">
                  <a:moveTo>
                    <a:pt x="9" y="88"/>
                  </a:moveTo>
                  <a:lnTo>
                    <a:pt x="7" y="104"/>
                  </a:lnTo>
                  <a:lnTo>
                    <a:pt x="28" y="116"/>
                  </a:lnTo>
                  <a:lnTo>
                    <a:pt x="49" y="80"/>
                  </a:lnTo>
                  <a:lnTo>
                    <a:pt x="73" y="69"/>
                  </a:lnTo>
                  <a:lnTo>
                    <a:pt x="84" y="56"/>
                  </a:lnTo>
                  <a:lnTo>
                    <a:pt x="92" y="41"/>
                  </a:lnTo>
                  <a:lnTo>
                    <a:pt x="86" y="30"/>
                  </a:lnTo>
                  <a:lnTo>
                    <a:pt x="90" y="26"/>
                  </a:lnTo>
                  <a:lnTo>
                    <a:pt x="80" y="20"/>
                  </a:lnTo>
                  <a:lnTo>
                    <a:pt x="60" y="22"/>
                  </a:lnTo>
                  <a:lnTo>
                    <a:pt x="34" y="0"/>
                  </a:lnTo>
                  <a:lnTo>
                    <a:pt x="15" y="11"/>
                  </a:lnTo>
                  <a:lnTo>
                    <a:pt x="13" y="24"/>
                  </a:lnTo>
                  <a:lnTo>
                    <a:pt x="5" y="30"/>
                  </a:lnTo>
                  <a:lnTo>
                    <a:pt x="5" y="39"/>
                  </a:lnTo>
                  <a:lnTo>
                    <a:pt x="0" y="43"/>
                  </a:lnTo>
                  <a:lnTo>
                    <a:pt x="0" y="67"/>
                  </a:lnTo>
                  <a:lnTo>
                    <a:pt x="13" y="78"/>
                  </a:lnTo>
                  <a:lnTo>
                    <a:pt x="13" y="69"/>
                  </a:lnTo>
                  <a:lnTo>
                    <a:pt x="20" y="69"/>
                  </a:lnTo>
                  <a:lnTo>
                    <a:pt x="15" y="86"/>
                  </a:lnTo>
                  <a:lnTo>
                    <a:pt x="9" y="88"/>
                  </a:lnTo>
                  <a:lnTo>
                    <a:pt x="9" y="88"/>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79" name="Freeform 5759"/>
            <p:cNvSpPr>
              <a:spLocks/>
            </p:cNvSpPr>
            <p:nvPr>
              <p:custDataLst>
                <p:tags r:id="rId125"/>
              </p:custDataLst>
            </p:nvPr>
          </p:nvSpPr>
          <p:spPr bwMode="gray">
            <a:xfrm>
              <a:off x="4948325" y="4066530"/>
              <a:ext cx="251486" cy="393075"/>
            </a:xfrm>
            <a:custGeom>
              <a:avLst/>
              <a:gdLst/>
              <a:ahLst/>
              <a:cxnLst>
                <a:cxn ang="0">
                  <a:pos x="2" y="205"/>
                </a:cxn>
                <a:cxn ang="0">
                  <a:pos x="0" y="197"/>
                </a:cxn>
                <a:cxn ang="0">
                  <a:pos x="5" y="197"/>
                </a:cxn>
                <a:cxn ang="0">
                  <a:pos x="9" y="178"/>
                </a:cxn>
                <a:cxn ang="0">
                  <a:pos x="20" y="178"/>
                </a:cxn>
                <a:cxn ang="0">
                  <a:pos x="30" y="161"/>
                </a:cxn>
                <a:cxn ang="0">
                  <a:pos x="24" y="154"/>
                </a:cxn>
                <a:cxn ang="0">
                  <a:pos x="28" y="107"/>
                </a:cxn>
                <a:cxn ang="0">
                  <a:pos x="20" y="94"/>
                </a:cxn>
                <a:cxn ang="0">
                  <a:pos x="32" y="81"/>
                </a:cxn>
                <a:cxn ang="0">
                  <a:pos x="30" y="70"/>
                </a:cxn>
                <a:cxn ang="0">
                  <a:pos x="39" y="85"/>
                </a:cxn>
                <a:cxn ang="0">
                  <a:pos x="41" y="70"/>
                </a:cxn>
                <a:cxn ang="0">
                  <a:pos x="60" y="53"/>
                </a:cxn>
                <a:cxn ang="0">
                  <a:pos x="67" y="28"/>
                </a:cxn>
                <a:cxn ang="0">
                  <a:pos x="80" y="27"/>
                </a:cxn>
                <a:cxn ang="0">
                  <a:pos x="86" y="21"/>
                </a:cxn>
                <a:cxn ang="0">
                  <a:pos x="95" y="23"/>
                </a:cxn>
                <a:cxn ang="0">
                  <a:pos x="127" y="0"/>
                </a:cxn>
                <a:cxn ang="0">
                  <a:pos x="135" y="6"/>
                </a:cxn>
                <a:cxn ang="0">
                  <a:pos x="121" y="15"/>
                </a:cxn>
                <a:cxn ang="0">
                  <a:pos x="121" y="17"/>
                </a:cxn>
                <a:cxn ang="0">
                  <a:pos x="112" y="27"/>
                </a:cxn>
                <a:cxn ang="0">
                  <a:pos x="99" y="55"/>
                </a:cxn>
                <a:cxn ang="0">
                  <a:pos x="110" y="79"/>
                </a:cxn>
                <a:cxn ang="0">
                  <a:pos x="110" y="92"/>
                </a:cxn>
                <a:cxn ang="0">
                  <a:pos x="120" y="98"/>
                </a:cxn>
                <a:cxn ang="0">
                  <a:pos x="146" y="100"/>
                </a:cxn>
                <a:cxn ang="0">
                  <a:pos x="161" y="117"/>
                </a:cxn>
                <a:cxn ang="0">
                  <a:pos x="189" y="115"/>
                </a:cxn>
                <a:cxn ang="0">
                  <a:pos x="181" y="143"/>
                </a:cxn>
                <a:cxn ang="0">
                  <a:pos x="189" y="167"/>
                </a:cxn>
                <a:cxn ang="0">
                  <a:pos x="181" y="176"/>
                </a:cxn>
                <a:cxn ang="0">
                  <a:pos x="196" y="205"/>
                </a:cxn>
                <a:cxn ang="0">
                  <a:pos x="196" y="205"/>
                </a:cxn>
                <a:cxn ang="0">
                  <a:pos x="185" y="195"/>
                </a:cxn>
                <a:cxn ang="0">
                  <a:pos x="150" y="197"/>
                </a:cxn>
                <a:cxn ang="0">
                  <a:pos x="148" y="208"/>
                </a:cxn>
                <a:cxn ang="0">
                  <a:pos x="159" y="218"/>
                </a:cxn>
                <a:cxn ang="0">
                  <a:pos x="144" y="223"/>
                </a:cxn>
                <a:cxn ang="0">
                  <a:pos x="153" y="253"/>
                </a:cxn>
                <a:cxn ang="0">
                  <a:pos x="146" y="306"/>
                </a:cxn>
                <a:cxn ang="0">
                  <a:pos x="136" y="295"/>
                </a:cxn>
                <a:cxn ang="0">
                  <a:pos x="144" y="283"/>
                </a:cxn>
                <a:cxn ang="0">
                  <a:pos x="142" y="278"/>
                </a:cxn>
                <a:cxn ang="0">
                  <a:pos x="131" y="272"/>
                </a:cxn>
                <a:cxn ang="0">
                  <a:pos x="95" y="274"/>
                </a:cxn>
                <a:cxn ang="0">
                  <a:pos x="86" y="253"/>
                </a:cxn>
                <a:cxn ang="0">
                  <a:pos x="58" y="231"/>
                </a:cxn>
                <a:cxn ang="0">
                  <a:pos x="48" y="225"/>
                </a:cxn>
                <a:cxn ang="0">
                  <a:pos x="28" y="227"/>
                </a:cxn>
                <a:cxn ang="0">
                  <a:pos x="2" y="205"/>
                </a:cxn>
                <a:cxn ang="0">
                  <a:pos x="2" y="205"/>
                </a:cxn>
              </a:cxnLst>
              <a:rect l="0" t="0" r="r" b="b"/>
              <a:pathLst>
                <a:path w="196" h="306">
                  <a:moveTo>
                    <a:pt x="2" y="205"/>
                  </a:moveTo>
                  <a:lnTo>
                    <a:pt x="0" y="197"/>
                  </a:lnTo>
                  <a:lnTo>
                    <a:pt x="5" y="197"/>
                  </a:lnTo>
                  <a:lnTo>
                    <a:pt x="9" y="178"/>
                  </a:lnTo>
                  <a:lnTo>
                    <a:pt x="20" y="178"/>
                  </a:lnTo>
                  <a:lnTo>
                    <a:pt x="30" y="161"/>
                  </a:lnTo>
                  <a:lnTo>
                    <a:pt x="24" y="154"/>
                  </a:lnTo>
                  <a:lnTo>
                    <a:pt x="28" y="107"/>
                  </a:lnTo>
                  <a:lnTo>
                    <a:pt x="20" y="94"/>
                  </a:lnTo>
                  <a:lnTo>
                    <a:pt x="32" y="81"/>
                  </a:lnTo>
                  <a:lnTo>
                    <a:pt x="30" y="70"/>
                  </a:lnTo>
                  <a:lnTo>
                    <a:pt x="39" y="85"/>
                  </a:lnTo>
                  <a:lnTo>
                    <a:pt x="41" y="70"/>
                  </a:lnTo>
                  <a:lnTo>
                    <a:pt x="60" y="53"/>
                  </a:lnTo>
                  <a:lnTo>
                    <a:pt x="67" y="28"/>
                  </a:lnTo>
                  <a:lnTo>
                    <a:pt x="80" y="27"/>
                  </a:lnTo>
                  <a:lnTo>
                    <a:pt x="86" y="21"/>
                  </a:lnTo>
                  <a:lnTo>
                    <a:pt x="95" y="23"/>
                  </a:lnTo>
                  <a:lnTo>
                    <a:pt x="127" y="0"/>
                  </a:lnTo>
                  <a:lnTo>
                    <a:pt x="135" y="6"/>
                  </a:lnTo>
                  <a:lnTo>
                    <a:pt x="121" y="15"/>
                  </a:lnTo>
                  <a:lnTo>
                    <a:pt x="121" y="17"/>
                  </a:lnTo>
                  <a:lnTo>
                    <a:pt x="112" y="27"/>
                  </a:lnTo>
                  <a:lnTo>
                    <a:pt x="99" y="55"/>
                  </a:lnTo>
                  <a:lnTo>
                    <a:pt x="110" y="79"/>
                  </a:lnTo>
                  <a:lnTo>
                    <a:pt x="110" y="92"/>
                  </a:lnTo>
                  <a:lnTo>
                    <a:pt x="120" y="98"/>
                  </a:lnTo>
                  <a:lnTo>
                    <a:pt x="146" y="100"/>
                  </a:lnTo>
                  <a:lnTo>
                    <a:pt x="161" y="117"/>
                  </a:lnTo>
                  <a:lnTo>
                    <a:pt x="189" y="115"/>
                  </a:lnTo>
                  <a:lnTo>
                    <a:pt x="181" y="143"/>
                  </a:lnTo>
                  <a:lnTo>
                    <a:pt x="189" y="167"/>
                  </a:lnTo>
                  <a:lnTo>
                    <a:pt x="181" y="176"/>
                  </a:lnTo>
                  <a:lnTo>
                    <a:pt x="196" y="205"/>
                  </a:lnTo>
                  <a:lnTo>
                    <a:pt x="196" y="205"/>
                  </a:lnTo>
                  <a:lnTo>
                    <a:pt x="185" y="195"/>
                  </a:lnTo>
                  <a:lnTo>
                    <a:pt x="150" y="197"/>
                  </a:lnTo>
                  <a:lnTo>
                    <a:pt x="148" y="208"/>
                  </a:lnTo>
                  <a:lnTo>
                    <a:pt x="159" y="218"/>
                  </a:lnTo>
                  <a:lnTo>
                    <a:pt x="144" y="223"/>
                  </a:lnTo>
                  <a:lnTo>
                    <a:pt x="153" y="253"/>
                  </a:lnTo>
                  <a:lnTo>
                    <a:pt x="146" y="306"/>
                  </a:lnTo>
                  <a:lnTo>
                    <a:pt x="136" y="295"/>
                  </a:lnTo>
                  <a:lnTo>
                    <a:pt x="144" y="283"/>
                  </a:lnTo>
                  <a:lnTo>
                    <a:pt x="142" y="278"/>
                  </a:lnTo>
                  <a:lnTo>
                    <a:pt x="131" y="272"/>
                  </a:lnTo>
                  <a:lnTo>
                    <a:pt x="95" y="274"/>
                  </a:lnTo>
                  <a:lnTo>
                    <a:pt x="86" y="253"/>
                  </a:lnTo>
                  <a:lnTo>
                    <a:pt x="58" y="231"/>
                  </a:lnTo>
                  <a:lnTo>
                    <a:pt x="48" y="225"/>
                  </a:lnTo>
                  <a:lnTo>
                    <a:pt x="28" y="227"/>
                  </a:lnTo>
                  <a:lnTo>
                    <a:pt x="2" y="205"/>
                  </a:lnTo>
                  <a:lnTo>
                    <a:pt x="2" y="20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80" name="Freeform 5760"/>
            <p:cNvSpPr>
              <a:spLocks/>
            </p:cNvSpPr>
            <p:nvPr>
              <p:custDataLst>
                <p:tags r:id="rId126"/>
              </p:custDataLst>
            </p:nvPr>
          </p:nvSpPr>
          <p:spPr bwMode="gray">
            <a:xfrm>
              <a:off x="5075351" y="4071668"/>
              <a:ext cx="275865" cy="269757"/>
            </a:xfrm>
            <a:custGeom>
              <a:avLst/>
              <a:gdLst/>
              <a:ahLst/>
              <a:cxnLst>
                <a:cxn ang="0">
                  <a:pos x="215" y="71"/>
                </a:cxn>
                <a:cxn ang="0">
                  <a:pos x="200" y="83"/>
                </a:cxn>
                <a:cxn ang="0">
                  <a:pos x="199" y="94"/>
                </a:cxn>
                <a:cxn ang="0">
                  <a:pos x="202" y="96"/>
                </a:cxn>
                <a:cxn ang="0">
                  <a:pos x="195" y="101"/>
                </a:cxn>
                <a:cxn ang="0">
                  <a:pos x="191" y="114"/>
                </a:cxn>
                <a:cxn ang="0">
                  <a:pos x="200" y="129"/>
                </a:cxn>
                <a:cxn ang="0">
                  <a:pos x="197" y="139"/>
                </a:cxn>
                <a:cxn ang="0">
                  <a:pos x="161" y="154"/>
                </a:cxn>
                <a:cxn ang="0">
                  <a:pos x="133" y="150"/>
                </a:cxn>
                <a:cxn ang="0">
                  <a:pos x="140" y="157"/>
                </a:cxn>
                <a:cxn ang="0">
                  <a:pos x="140" y="176"/>
                </a:cxn>
                <a:cxn ang="0">
                  <a:pos x="152" y="186"/>
                </a:cxn>
                <a:cxn ang="0">
                  <a:pos x="116" y="210"/>
                </a:cxn>
                <a:cxn ang="0">
                  <a:pos x="105" y="210"/>
                </a:cxn>
                <a:cxn ang="0">
                  <a:pos x="97" y="201"/>
                </a:cxn>
                <a:cxn ang="0">
                  <a:pos x="97" y="201"/>
                </a:cxn>
                <a:cxn ang="0">
                  <a:pos x="82" y="172"/>
                </a:cxn>
                <a:cxn ang="0">
                  <a:pos x="90" y="163"/>
                </a:cxn>
                <a:cxn ang="0">
                  <a:pos x="82" y="139"/>
                </a:cxn>
                <a:cxn ang="0">
                  <a:pos x="90" y="111"/>
                </a:cxn>
                <a:cxn ang="0">
                  <a:pos x="62" y="113"/>
                </a:cxn>
                <a:cxn ang="0">
                  <a:pos x="47" y="96"/>
                </a:cxn>
                <a:cxn ang="0">
                  <a:pos x="21" y="94"/>
                </a:cxn>
                <a:cxn ang="0">
                  <a:pos x="11" y="88"/>
                </a:cxn>
                <a:cxn ang="0">
                  <a:pos x="11" y="75"/>
                </a:cxn>
                <a:cxn ang="0">
                  <a:pos x="0" y="51"/>
                </a:cxn>
                <a:cxn ang="0">
                  <a:pos x="13" y="23"/>
                </a:cxn>
                <a:cxn ang="0">
                  <a:pos x="22" y="13"/>
                </a:cxn>
                <a:cxn ang="0">
                  <a:pos x="22" y="11"/>
                </a:cxn>
                <a:cxn ang="0">
                  <a:pos x="28" y="30"/>
                </a:cxn>
                <a:cxn ang="0">
                  <a:pos x="19" y="45"/>
                </a:cxn>
                <a:cxn ang="0">
                  <a:pos x="24" y="58"/>
                </a:cxn>
                <a:cxn ang="0">
                  <a:pos x="34" y="54"/>
                </a:cxn>
                <a:cxn ang="0">
                  <a:pos x="30" y="23"/>
                </a:cxn>
                <a:cxn ang="0">
                  <a:pos x="51" y="11"/>
                </a:cxn>
                <a:cxn ang="0">
                  <a:pos x="49" y="4"/>
                </a:cxn>
                <a:cxn ang="0">
                  <a:pos x="56" y="0"/>
                </a:cxn>
                <a:cxn ang="0">
                  <a:pos x="58" y="11"/>
                </a:cxn>
                <a:cxn ang="0">
                  <a:pos x="79" y="19"/>
                </a:cxn>
                <a:cxn ang="0">
                  <a:pos x="82" y="32"/>
                </a:cxn>
                <a:cxn ang="0">
                  <a:pos x="114" y="30"/>
                </a:cxn>
                <a:cxn ang="0">
                  <a:pos x="133" y="38"/>
                </a:cxn>
                <a:cxn ang="0">
                  <a:pos x="150" y="28"/>
                </a:cxn>
                <a:cxn ang="0">
                  <a:pos x="180" y="28"/>
                </a:cxn>
                <a:cxn ang="0">
                  <a:pos x="167" y="30"/>
                </a:cxn>
                <a:cxn ang="0">
                  <a:pos x="176" y="45"/>
                </a:cxn>
                <a:cxn ang="0">
                  <a:pos x="197" y="49"/>
                </a:cxn>
                <a:cxn ang="0">
                  <a:pos x="197" y="69"/>
                </a:cxn>
                <a:cxn ang="0">
                  <a:pos x="210" y="66"/>
                </a:cxn>
                <a:cxn ang="0">
                  <a:pos x="215" y="71"/>
                </a:cxn>
                <a:cxn ang="0">
                  <a:pos x="215" y="71"/>
                </a:cxn>
              </a:cxnLst>
              <a:rect l="0" t="0" r="r" b="b"/>
              <a:pathLst>
                <a:path w="215" h="210">
                  <a:moveTo>
                    <a:pt x="215" y="71"/>
                  </a:moveTo>
                  <a:lnTo>
                    <a:pt x="200" y="83"/>
                  </a:lnTo>
                  <a:lnTo>
                    <a:pt x="199" y="94"/>
                  </a:lnTo>
                  <a:lnTo>
                    <a:pt x="202" y="96"/>
                  </a:lnTo>
                  <a:lnTo>
                    <a:pt x="195" y="101"/>
                  </a:lnTo>
                  <a:lnTo>
                    <a:pt x="191" y="114"/>
                  </a:lnTo>
                  <a:lnTo>
                    <a:pt x="200" y="129"/>
                  </a:lnTo>
                  <a:lnTo>
                    <a:pt x="197" y="139"/>
                  </a:lnTo>
                  <a:lnTo>
                    <a:pt x="161" y="154"/>
                  </a:lnTo>
                  <a:lnTo>
                    <a:pt x="133" y="150"/>
                  </a:lnTo>
                  <a:lnTo>
                    <a:pt x="140" y="157"/>
                  </a:lnTo>
                  <a:lnTo>
                    <a:pt x="140" y="176"/>
                  </a:lnTo>
                  <a:lnTo>
                    <a:pt x="152" y="186"/>
                  </a:lnTo>
                  <a:lnTo>
                    <a:pt x="116" y="210"/>
                  </a:lnTo>
                  <a:lnTo>
                    <a:pt x="105" y="210"/>
                  </a:lnTo>
                  <a:lnTo>
                    <a:pt x="97" y="201"/>
                  </a:lnTo>
                  <a:lnTo>
                    <a:pt x="97" y="201"/>
                  </a:lnTo>
                  <a:lnTo>
                    <a:pt x="82" y="172"/>
                  </a:lnTo>
                  <a:lnTo>
                    <a:pt x="90" y="163"/>
                  </a:lnTo>
                  <a:lnTo>
                    <a:pt x="82" y="139"/>
                  </a:lnTo>
                  <a:lnTo>
                    <a:pt x="90" y="111"/>
                  </a:lnTo>
                  <a:lnTo>
                    <a:pt x="62" y="113"/>
                  </a:lnTo>
                  <a:lnTo>
                    <a:pt x="47" y="96"/>
                  </a:lnTo>
                  <a:lnTo>
                    <a:pt x="21" y="94"/>
                  </a:lnTo>
                  <a:lnTo>
                    <a:pt x="11" y="88"/>
                  </a:lnTo>
                  <a:lnTo>
                    <a:pt x="11" y="75"/>
                  </a:lnTo>
                  <a:lnTo>
                    <a:pt x="0" y="51"/>
                  </a:lnTo>
                  <a:lnTo>
                    <a:pt x="13" y="23"/>
                  </a:lnTo>
                  <a:lnTo>
                    <a:pt x="22" y="13"/>
                  </a:lnTo>
                  <a:lnTo>
                    <a:pt x="22" y="11"/>
                  </a:lnTo>
                  <a:lnTo>
                    <a:pt x="28" y="30"/>
                  </a:lnTo>
                  <a:lnTo>
                    <a:pt x="19" y="45"/>
                  </a:lnTo>
                  <a:lnTo>
                    <a:pt x="24" y="58"/>
                  </a:lnTo>
                  <a:lnTo>
                    <a:pt x="34" y="54"/>
                  </a:lnTo>
                  <a:lnTo>
                    <a:pt x="30" y="23"/>
                  </a:lnTo>
                  <a:lnTo>
                    <a:pt x="51" y="11"/>
                  </a:lnTo>
                  <a:lnTo>
                    <a:pt x="49" y="4"/>
                  </a:lnTo>
                  <a:lnTo>
                    <a:pt x="56" y="0"/>
                  </a:lnTo>
                  <a:lnTo>
                    <a:pt x="58" y="11"/>
                  </a:lnTo>
                  <a:lnTo>
                    <a:pt x="79" y="19"/>
                  </a:lnTo>
                  <a:lnTo>
                    <a:pt x="82" y="32"/>
                  </a:lnTo>
                  <a:lnTo>
                    <a:pt x="114" y="30"/>
                  </a:lnTo>
                  <a:lnTo>
                    <a:pt x="133" y="38"/>
                  </a:lnTo>
                  <a:lnTo>
                    <a:pt x="150" y="28"/>
                  </a:lnTo>
                  <a:lnTo>
                    <a:pt x="180" y="28"/>
                  </a:lnTo>
                  <a:lnTo>
                    <a:pt x="167" y="30"/>
                  </a:lnTo>
                  <a:lnTo>
                    <a:pt x="176" y="45"/>
                  </a:lnTo>
                  <a:lnTo>
                    <a:pt x="197" y="49"/>
                  </a:lnTo>
                  <a:lnTo>
                    <a:pt x="197" y="69"/>
                  </a:lnTo>
                  <a:lnTo>
                    <a:pt x="210" y="66"/>
                  </a:lnTo>
                  <a:lnTo>
                    <a:pt x="215" y="71"/>
                  </a:lnTo>
                  <a:lnTo>
                    <a:pt x="215" y="7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81" name="Freeform 5761"/>
            <p:cNvSpPr>
              <a:spLocks/>
            </p:cNvSpPr>
            <p:nvPr>
              <p:custDataLst>
                <p:tags r:id="rId127"/>
              </p:custDataLst>
            </p:nvPr>
          </p:nvSpPr>
          <p:spPr bwMode="gray">
            <a:xfrm>
              <a:off x="5147204" y="4774322"/>
              <a:ext cx="245071" cy="851663"/>
            </a:xfrm>
            <a:custGeom>
              <a:avLst/>
              <a:gdLst/>
              <a:ahLst/>
              <a:cxnLst>
                <a:cxn ang="0">
                  <a:pos x="15" y="0"/>
                </a:cxn>
                <a:cxn ang="0">
                  <a:pos x="32" y="47"/>
                </a:cxn>
                <a:cxn ang="0">
                  <a:pos x="64" y="99"/>
                </a:cxn>
                <a:cxn ang="0">
                  <a:pos x="49" y="131"/>
                </a:cxn>
                <a:cxn ang="0">
                  <a:pos x="43" y="199"/>
                </a:cxn>
                <a:cxn ang="0">
                  <a:pos x="62" y="304"/>
                </a:cxn>
                <a:cxn ang="0">
                  <a:pos x="64" y="343"/>
                </a:cxn>
                <a:cxn ang="0">
                  <a:pos x="69" y="390"/>
                </a:cxn>
                <a:cxn ang="0">
                  <a:pos x="81" y="452"/>
                </a:cxn>
                <a:cxn ang="0">
                  <a:pos x="96" y="495"/>
                </a:cxn>
                <a:cxn ang="0">
                  <a:pos x="99" y="502"/>
                </a:cxn>
                <a:cxn ang="0">
                  <a:pos x="116" y="592"/>
                </a:cxn>
                <a:cxn ang="0">
                  <a:pos x="137" y="607"/>
                </a:cxn>
                <a:cxn ang="0">
                  <a:pos x="189" y="635"/>
                </a:cxn>
                <a:cxn ang="0">
                  <a:pos x="191" y="641"/>
                </a:cxn>
                <a:cxn ang="0">
                  <a:pos x="184" y="661"/>
                </a:cxn>
                <a:cxn ang="0">
                  <a:pos x="163" y="656"/>
                </a:cxn>
                <a:cxn ang="0">
                  <a:pos x="174" y="646"/>
                </a:cxn>
                <a:cxn ang="0">
                  <a:pos x="159" y="656"/>
                </a:cxn>
                <a:cxn ang="0">
                  <a:pos x="122" y="639"/>
                </a:cxn>
                <a:cxn ang="0">
                  <a:pos x="109" y="628"/>
                </a:cxn>
                <a:cxn ang="0">
                  <a:pos x="118" y="622"/>
                </a:cxn>
                <a:cxn ang="0">
                  <a:pos x="113" y="620"/>
                </a:cxn>
                <a:cxn ang="0">
                  <a:pos x="101" y="607"/>
                </a:cxn>
                <a:cxn ang="0">
                  <a:pos x="101" y="596"/>
                </a:cxn>
                <a:cxn ang="0">
                  <a:pos x="92" y="594"/>
                </a:cxn>
                <a:cxn ang="0">
                  <a:pos x="71" y="562"/>
                </a:cxn>
                <a:cxn ang="0">
                  <a:pos x="77" y="555"/>
                </a:cxn>
                <a:cxn ang="0">
                  <a:pos x="83" y="538"/>
                </a:cxn>
                <a:cxn ang="0">
                  <a:pos x="62" y="540"/>
                </a:cxn>
                <a:cxn ang="0">
                  <a:pos x="66" y="527"/>
                </a:cxn>
                <a:cxn ang="0">
                  <a:pos x="68" y="521"/>
                </a:cxn>
                <a:cxn ang="0">
                  <a:pos x="62" y="485"/>
                </a:cxn>
                <a:cxn ang="0">
                  <a:pos x="71" y="506"/>
                </a:cxn>
                <a:cxn ang="0">
                  <a:pos x="77" y="484"/>
                </a:cxn>
                <a:cxn ang="0">
                  <a:pos x="58" y="442"/>
                </a:cxn>
                <a:cxn ang="0">
                  <a:pos x="53" y="448"/>
                </a:cxn>
                <a:cxn ang="0">
                  <a:pos x="41" y="405"/>
                </a:cxn>
                <a:cxn ang="0">
                  <a:pos x="23" y="362"/>
                </a:cxn>
                <a:cxn ang="0">
                  <a:pos x="34" y="298"/>
                </a:cxn>
                <a:cxn ang="0">
                  <a:pos x="19" y="244"/>
                </a:cxn>
                <a:cxn ang="0">
                  <a:pos x="15" y="212"/>
                </a:cxn>
                <a:cxn ang="0">
                  <a:pos x="13" y="101"/>
                </a:cxn>
                <a:cxn ang="0">
                  <a:pos x="0" y="13"/>
                </a:cxn>
              </a:cxnLst>
              <a:rect l="0" t="0" r="r" b="b"/>
              <a:pathLst>
                <a:path w="191" h="663">
                  <a:moveTo>
                    <a:pt x="0" y="13"/>
                  </a:moveTo>
                  <a:lnTo>
                    <a:pt x="15" y="0"/>
                  </a:lnTo>
                  <a:lnTo>
                    <a:pt x="34" y="32"/>
                  </a:lnTo>
                  <a:lnTo>
                    <a:pt x="32" y="47"/>
                  </a:lnTo>
                  <a:lnTo>
                    <a:pt x="53" y="98"/>
                  </a:lnTo>
                  <a:lnTo>
                    <a:pt x="64" y="99"/>
                  </a:lnTo>
                  <a:lnTo>
                    <a:pt x="64" y="120"/>
                  </a:lnTo>
                  <a:lnTo>
                    <a:pt x="49" y="131"/>
                  </a:lnTo>
                  <a:lnTo>
                    <a:pt x="56" y="169"/>
                  </a:lnTo>
                  <a:lnTo>
                    <a:pt x="43" y="199"/>
                  </a:lnTo>
                  <a:lnTo>
                    <a:pt x="40" y="255"/>
                  </a:lnTo>
                  <a:lnTo>
                    <a:pt x="62" y="304"/>
                  </a:lnTo>
                  <a:lnTo>
                    <a:pt x="58" y="328"/>
                  </a:lnTo>
                  <a:lnTo>
                    <a:pt x="64" y="343"/>
                  </a:lnTo>
                  <a:lnTo>
                    <a:pt x="58" y="356"/>
                  </a:lnTo>
                  <a:lnTo>
                    <a:pt x="69" y="390"/>
                  </a:lnTo>
                  <a:lnTo>
                    <a:pt x="71" y="435"/>
                  </a:lnTo>
                  <a:lnTo>
                    <a:pt x="81" y="452"/>
                  </a:lnTo>
                  <a:lnTo>
                    <a:pt x="81" y="467"/>
                  </a:lnTo>
                  <a:lnTo>
                    <a:pt x="96" y="495"/>
                  </a:lnTo>
                  <a:lnTo>
                    <a:pt x="105" y="502"/>
                  </a:lnTo>
                  <a:lnTo>
                    <a:pt x="99" y="502"/>
                  </a:lnTo>
                  <a:lnTo>
                    <a:pt x="114" y="536"/>
                  </a:lnTo>
                  <a:lnTo>
                    <a:pt x="116" y="592"/>
                  </a:lnTo>
                  <a:lnTo>
                    <a:pt x="124" y="609"/>
                  </a:lnTo>
                  <a:lnTo>
                    <a:pt x="137" y="607"/>
                  </a:lnTo>
                  <a:lnTo>
                    <a:pt x="156" y="632"/>
                  </a:lnTo>
                  <a:lnTo>
                    <a:pt x="189" y="635"/>
                  </a:lnTo>
                  <a:lnTo>
                    <a:pt x="189" y="635"/>
                  </a:lnTo>
                  <a:lnTo>
                    <a:pt x="191" y="641"/>
                  </a:lnTo>
                  <a:lnTo>
                    <a:pt x="178" y="645"/>
                  </a:lnTo>
                  <a:lnTo>
                    <a:pt x="184" y="661"/>
                  </a:lnTo>
                  <a:lnTo>
                    <a:pt x="180" y="663"/>
                  </a:lnTo>
                  <a:lnTo>
                    <a:pt x="163" y="656"/>
                  </a:lnTo>
                  <a:lnTo>
                    <a:pt x="173" y="652"/>
                  </a:lnTo>
                  <a:lnTo>
                    <a:pt x="174" y="646"/>
                  </a:lnTo>
                  <a:lnTo>
                    <a:pt x="167" y="645"/>
                  </a:lnTo>
                  <a:lnTo>
                    <a:pt x="159" y="656"/>
                  </a:lnTo>
                  <a:lnTo>
                    <a:pt x="126" y="633"/>
                  </a:lnTo>
                  <a:lnTo>
                    <a:pt x="122" y="639"/>
                  </a:lnTo>
                  <a:lnTo>
                    <a:pt x="113" y="635"/>
                  </a:lnTo>
                  <a:lnTo>
                    <a:pt x="109" y="628"/>
                  </a:lnTo>
                  <a:lnTo>
                    <a:pt x="118" y="628"/>
                  </a:lnTo>
                  <a:lnTo>
                    <a:pt x="118" y="622"/>
                  </a:lnTo>
                  <a:lnTo>
                    <a:pt x="113" y="613"/>
                  </a:lnTo>
                  <a:lnTo>
                    <a:pt x="113" y="620"/>
                  </a:lnTo>
                  <a:lnTo>
                    <a:pt x="103" y="624"/>
                  </a:lnTo>
                  <a:lnTo>
                    <a:pt x="101" y="607"/>
                  </a:lnTo>
                  <a:lnTo>
                    <a:pt x="107" y="609"/>
                  </a:lnTo>
                  <a:lnTo>
                    <a:pt x="101" y="596"/>
                  </a:lnTo>
                  <a:lnTo>
                    <a:pt x="96" y="609"/>
                  </a:lnTo>
                  <a:lnTo>
                    <a:pt x="92" y="594"/>
                  </a:lnTo>
                  <a:lnTo>
                    <a:pt x="84" y="594"/>
                  </a:lnTo>
                  <a:lnTo>
                    <a:pt x="71" y="562"/>
                  </a:lnTo>
                  <a:lnTo>
                    <a:pt x="71" y="557"/>
                  </a:lnTo>
                  <a:lnTo>
                    <a:pt x="77" y="555"/>
                  </a:lnTo>
                  <a:lnTo>
                    <a:pt x="86" y="566"/>
                  </a:lnTo>
                  <a:lnTo>
                    <a:pt x="83" y="538"/>
                  </a:lnTo>
                  <a:lnTo>
                    <a:pt x="66" y="536"/>
                  </a:lnTo>
                  <a:lnTo>
                    <a:pt x="62" y="540"/>
                  </a:lnTo>
                  <a:lnTo>
                    <a:pt x="58" y="534"/>
                  </a:lnTo>
                  <a:lnTo>
                    <a:pt x="66" y="527"/>
                  </a:lnTo>
                  <a:lnTo>
                    <a:pt x="60" y="523"/>
                  </a:lnTo>
                  <a:lnTo>
                    <a:pt x="68" y="521"/>
                  </a:lnTo>
                  <a:lnTo>
                    <a:pt x="58" y="491"/>
                  </a:lnTo>
                  <a:lnTo>
                    <a:pt x="62" y="485"/>
                  </a:lnTo>
                  <a:lnTo>
                    <a:pt x="69" y="491"/>
                  </a:lnTo>
                  <a:lnTo>
                    <a:pt x="71" y="506"/>
                  </a:lnTo>
                  <a:lnTo>
                    <a:pt x="79" y="515"/>
                  </a:lnTo>
                  <a:lnTo>
                    <a:pt x="77" y="484"/>
                  </a:lnTo>
                  <a:lnTo>
                    <a:pt x="66" y="446"/>
                  </a:lnTo>
                  <a:lnTo>
                    <a:pt x="58" y="442"/>
                  </a:lnTo>
                  <a:lnTo>
                    <a:pt x="58" y="448"/>
                  </a:lnTo>
                  <a:lnTo>
                    <a:pt x="53" y="448"/>
                  </a:lnTo>
                  <a:lnTo>
                    <a:pt x="43" y="433"/>
                  </a:lnTo>
                  <a:lnTo>
                    <a:pt x="41" y="405"/>
                  </a:lnTo>
                  <a:lnTo>
                    <a:pt x="25" y="373"/>
                  </a:lnTo>
                  <a:lnTo>
                    <a:pt x="23" y="362"/>
                  </a:lnTo>
                  <a:lnTo>
                    <a:pt x="30" y="362"/>
                  </a:lnTo>
                  <a:lnTo>
                    <a:pt x="34" y="298"/>
                  </a:lnTo>
                  <a:lnTo>
                    <a:pt x="34" y="277"/>
                  </a:lnTo>
                  <a:lnTo>
                    <a:pt x="19" y="244"/>
                  </a:lnTo>
                  <a:lnTo>
                    <a:pt x="23" y="231"/>
                  </a:lnTo>
                  <a:lnTo>
                    <a:pt x="15" y="212"/>
                  </a:lnTo>
                  <a:lnTo>
                    <a:pt x="21" y="163"/>
                  </a:lnTo>
                  <a:lnTo>
                    <a:pt x="13" y="101"/>
                  </a:lnTo>
                  <a:lnTo>
                    <a:pt x="15" y="73"/>
                  </a:lnTo>
                  <a:lnTo>
                    <a:pt x="0" y="13"/>
                  </a:lnTo>
                  <a:lnTo>
                    <a:pt x="0" y="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82" name="Freeform 5762"/>
            <p:cNvSpPr>
              <a:spLocks/>
            </p:cNvSpPr>
            <p:nvPr>
              <p:custDataLst>
                <p:tags r:id="rId128"/>
              </p:custDataLst>
            </p:nvPr>
          </p:nvSpPr>
          <p:spPr bwMode="gray">
            <a:xfrm>
              <a:off x="6798545" y="3236705"/>
              <a:ext cx="7699" cy="11561"/>
            </a:xfrm>
            <a:custGeom>
              <a:avLst/>
              <a:gdLst/>
              <a:ahLst/>
              <a:cxnLst>
                <a:cxn ang="0">
                  <a:pos x="0" y="0"/>
                </a:cxn>
                <a:cxn ang="0">
                  <a:pos x="4" y="9"/>
                </a:cxn>
                <a:cxn ang="0">
                  <a:pos x="4" y="9"/>
                </a:cxn>
                <a:cxn ang="0">
                  <a:pos x="6" y="6"/>
                </a:cxn>
                <a:cxn ang="0">
                  <a:pos x="4" y="2"/>
                </a:cxn>
                <a:cxn ang="0">
                  <a:pos x="0" y="0"/>
                </a:cxn>
                <a:cxn ang="0">
                  <a:pos x="0" y="0"/>
                </a:cxn>
              </a:cxnLst>
              <a:rect l="0" t="0" r="r" b="b"/>
              <a:pathLst>
                <a:path w="6" h="9">
                  <a:moveTo>
                    <a:pt x="0" y="0"/>
                  </a:moveTo>
                  <a:lnTo>
                    <a:pt x="4" y="9"/>
                  </a:lnTo>
                  <a:lnTo>
                    <a:pt x="4" y="9"/>
                  </a:lnTo>
                  <a:lnTo>
                    <a:pt x="6" y="6"/>
                  </a:lnTo>
                  <a:lnTo>
                    <a:pt x="4" y="2"/>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83" name="Freeform 5763"/>
            <p:cNvSpPr>
              <a:spLocks/>
            </p:cNvSpPr>
            <p:nvPr>
              <p:custDataLst>
                <p:tags r:id="rId129"/>
              </p:custDataLst>
            </p:nvPr>
          </p:nvSpPr>
          <p:spPr bwMode="gray">
            <a:xfrm>
              <a:off x="7029501" y="3126233"/>
              <a:ext cx="327189" cy="184977"/>
            </a:xfrm>
            <a:custGeom>
              <a:avLst/>
              <a:gdLst/>
              <a:ahLst/>
              <a:cxnLst>
                <a:cxn ang="0">
                  <a:pos x="95" y="120"/>
                </a:cxn>
                <a:cxn ang="0">
                  <a:pos x="97" y="125"/>
                </a:cxn>
                <a:cxn ang="0">
                  <a:pos x="114" y="125"/>
                </a:cxn>
                <a:cxn ang="0">
                  <a:pos x="112" y="120"/>
                </a:cxn>
                <a:cxn ang="0">
                  <a:pos x="122" y="116"/>
                </a:cxn>
                <a:cxn ang="0">
                  <a:pos x="129" y="103"/>
                </a:cxn>
                <a:cxn ang="0">
                  <a:pos x="148" y="103"/>
                </a:cxn>
                <a:cxn ang="0">
                  <a:pos x="144" y="109"/>
                </a:cxn>
                <a:cxn ang="0">
                  <a:pos x="172" y="116"/>
                </a:cxn>
                <a:cxn ang="0">
                  <a:pos x="157" y="125"/>
                </a:cxn>
                <a:cxn ang="0">
                  <a:pos x="172" y="133"/>
                </a:cxn>
                <a:cxn ang="0">
                  <a:pos x="170" y="139"/>
                </a:cxn>
                <a:cxn ang="0">
                  <a:pos x="176" y="144"/>
                </a:cxn>
                <a:cxn ang="0">
                  <a:pos x="200" y="131"/>
                </a:cxn>
                <a:cxn ang="0">
                  <a:pos x="213" y="131"/>
                </a:cxn>
                <a:cxn ang="0">
                  <a:pos x="213" y="127"/>
                </a:cxn>
                <a:cxn ang="0">
                  <a:pos x="200" y="127"/>
                </a:cxn>
                <a:cxn ang="0">
                  <a:pos x="182" y="116"/>
                </a:cxn>
                <a:cxn ang="0">
                  <a:pos x="225" y="94"/>
                </a:cxn>
                <a:cxn ang="0">
                  <a:pos x="234" y="94"/>
                </a:cxn>
                <a:cxn ang="0">
                  <a:pos x="234" y="84"/>
                </a:cxn>
                <a:cxn ang="0">
                  <a:pos x="241" y="79"/>
                </a:cxn>
                <a:cxn ang="0">
                  <a:pos x="253" y="80"/>
                </a:cxn>
                <a:cxn ang="0">
                  <a:pos x="251" y="64"/>
                </a:cxn>
                <a:cxn ang="0">
                  <a:pos x="255" y="62"/>
                </a:cxn>
                <a:cxn ang="0">
                  <a:pos x="249" y="60"/>
                </a:cxn>
                <a:cxn ang="0">
                  <a:pos x="255" y="50"/>
                </a:cxn>
                <a:cxn ang="0">
                  <a:pos x="223" y="41"/>
                </a:cxn>
                <a:cxn ang="0">
                  <a:pos x="213" y="34"/>
                </a:cxn>
                <a:cxn ang="0">
                  <a:pos x="187" y="34"/>
                </a:cxn>
                <a:cxn ang="0">
                  <a:pos x="178" y="19"/>
                </a:cxn>
                <a:cxn ang="0">
                  <a:pos x="167" y="17"/>
                </a:cxn>
                <a:cxn ang="0">
                  <a:pos x="168" y="9"/>
                </a:cxn>
                <a:cxn ang="0">
                  <a:pos x="157" y="0"/>
                </a:cxn>
                <a:cxn ang="0">
                  <a:pos x="131" y="4"/>
                </a:cxn>
                <a:cxn ang="0">
                  <a:pos x="120" y="5"/>
                </a:cxn>
                <a:cxn ang="0">
                  <a:pos x="112" y="19"/>
                </a:cxn>
                <a:cxn ang="0">
                  <a:pos x="93" y="13"/>
                </a:cxn>
                <a:cxn ang="0">
                  <a:pos x="75" y="17"/>
                </a:cxn>
                <a:cxn ang="0">
                  <a:pos x="49" y="7"/>
                </a:cxn>
                <a:cxn ang="0">
                  <a:pos x="17" y="13"/>
                </a:cxn>
                <a:cxn ang="0">
                  <a:pos x="24" y="34"/>
                </a:cxn>
                <a:cxn ang="0">
                  <a:pos x="4" y="58"/>
                </a:cxn>
                <a:cxn ang="0">
                  <a:pos x="0" y="69"/>
                </a:cxn>
                <a:cxn ang="0">
                  <a:pos x="2" y="71"/>
                </a:cxn>
                <a:cxn ang="0">
                  <a:pos x="11" y="79"/>
                </a:cxn>
                <a:cxn ang="0">
                  <a:pos x="41" y="80"/>
                </a:cxn>
                <a:cxn ang="0">
                  <a:pos x="64" y="73"/>
                </a:cxn>
                <a:cxn ang="0">
                  <a:pos x="77" y="69"/>
                </a:cxn>
                <a:cxn ang="0">
                  <a:pos x="101" y="77"/>
                </a:cxn>
                <a:cxn ang="0">
                  <a:pos x="103" y="86"/>
                </a:cxn>
                <a:cxn ang="0">
                  <a:pos x="114" y="99"/>
                </a:cxn>
                <a:cxn ang="0">
                  <a:pos x="116" y="107"/>
                </a:cxn>
                <a:cxn ang="0">
                  <a:pos x="103" y="107"/>
                </a:cxn>
                <a:cxn ang="0">
                  <a:pos x="95" y="120"/>
                </a:cxn>
                <a:cxn ang="0">
                  <a:pos x="95" y="120"/>
                </a:cxn>
              </a:cxnLst>
              <a:rect l="0" t="0" r="r" b="b"/>
              <a:pathLst>
                <a:path w="255" h="144">
                  <a:moveTo>
                    <a:pt x="95" y="120"/>
                  </a:moveTo>
                  <a:lnTo>
                    <a:pt x="97" y="125"/>
                  </a:lnTo>
                  <a:lnTo>
                    <a:pt x="114" y="125"/>
                  </a:lnTo>
                  <a:lnTo>
                    <a:pt x="112" y="120"/>
                  </a:lnTo>
                  <a:lnTo>
                    <a:pt x="122" y="116"/>
                  </a:lnTo>
                  <a:lnTo>
                    <a:pt x="129" y="103"/>
                  </a:lnTo>
                  <a:lnTo>
                    <a:pt x="148" y="103"/>
                  </a:lnTo>
                  <a:lnTo>
                    <a:pt x="144" y="109"/>
                  </a:lnTo>
                  <a:lnTo>
                    <a:pt x="172" y="116"/>
                  </a:lnTo>
                  <a:lnTo>
                    <a:pt x="157" y="125"/>
                  </a:lnTo>
                  <a:lnTo>
                    <a:pt x="172" y="133"/>
                  </a:lnTo>
                  <a:lnTo>
                    <a:pt x="170" y="139"/>
                  </a:lnTo>
                  <a:lnTo>
                    <a:pt x="176" y="144"/>
                  </a:lnTo>
                  <a:lnTo>
                    <a:pt x="200" y="131"/>
                  </a:lnTo>
                  <a:lnTo>
                    <a:pt x="213" y="131"/>
                  </a:lnTo>
                  <a:lnTo>
                    <a:pt x="213" y="127"/>
                  </a:lnTo>
                  <a:lnTo>
                    <a:pt x="200" y="127"/>
                  </a:lnTo>
                  <a:lnTo>
                    <a:pt x="182" y="116"/>
                  </a:lnTo>
                  <a:lnTo>
                    <a:pt x="225" y="94"/>
                  </a:lnTo>
                  <a:lnTo>
                    <a:pt x="234" y="94"/>
                  </a:lnTo>
                  <a:lnTo>
                    <a:pt x="234" y="84"/>
                  </a:lnTo>
                  <a:lnTo>
                    <a:pt x="241" y="79"/>
                  </a:lnTo>
                  <a:lnTo>
                    <a:pt x="253" y="80"/>
                  </a:lnTo>
                  <a:lnTo>
                    <a:pt x="251" y="64"/>
                  </a:lnTo>
                  <a:lnTo>
                    <a:pt x="255" y="62"/>
                  </a:lnTo>
                  <a:lnTo>
                    <a:pt x="249" y="60"/>
                  </a:lnTo>
                  <a:lnTo>
                    <a:pt x="255" y="50"/>
                  </a:lnTo>
                  <a:lnTo>
                    <a:pt x="223" y="41"/>
                  </a:lnTo>
                  <a:lnTo>
                    <a:pt x="213" y="34"/>
                  </a:lnTo>
                  <a:lnTo>
                    <a:pt x="187" y="34"/>
                  </a:lnTo>
                  <a:lnTo>
                    <a:pt x="178" y="19"/>
                  </a:lnTo>
                  <a:lnTo>
                    <a:pt x="167" y="17"/>
                  </a:lnTo>
                  <a:lnTo>
                    <a:pt x="168" y="9"/>
                  </a:lnTo>
                  <a:lnTo>
                    <a:pt x="157" y="0"/>
                  </a:lnTo>
                  <a:lnTo>
                    <a:pt x="131" y="4"/>
                  </a:lnTo>
                  <a:lnTo>
                    <a:pt x="120" y="5"/>
                  </a:lnTo>
                  <a:lnTo>
                    <a:pt x="112" y="19"/>
                  </a:lnTo>
                  <a:lnTo>
                    <a:pt x="93" y="13"/>
                  </a:lnTo>
                  <a:lnTo>
                    <a:pt x="75" y="17"/>
                  </a:lnTo>
                  <a:lnTo>
                    <a:pt x="49" y="7"/>
                  </a:lnTo>
                  <a:lnTo>
                    <a:pt x="17" y="13"/>
                  </a:lnTo>
                  <a:lnTo>
                    <a:pt x="24" y="34"/>
                  </a:lnTo>
                  <a:lnTo>
                    <a:pt x="4" y="58"/>
                  </a:lnTo>
                  <a:lnTo>
                    <a:pt x="0" y="69"/>
                  </a:lnTo>
                  <a:lnTo>
                    <a:pt x="2" y="71"/>
                  </a:lnTo>
                  <a:lnTo>
                    <a:pt x="11" y="79"/>
                  </a:lnTo>
                  <a:lnTo>
                    <a:pt x="41" y="80"/>
                  </a:lnTo>
                  <a:lnTo>
                    <a:pt x="64" y="73"/>
                  </a:lnTo>
                  <a:lnTo>
                    <a:pt x="77" y="69"/>
                  </a:lnTo>
                  <a:lnTo>
                    <a:pt x="101" y="77"/>
                  </a:lnTo>
                  <a:lnTo>
                    <a:pt x="103" y="86"/>
                  </a:lnTo>
                  <a:lnTo>
                    <a:pt x="114" y="99"/>
                  </a:lnTo>
                  <a:lnTo>
                    <a:pt x="116" y="107"/>
                  </a:lnTo>
                  <a:lnTo>
                    <a:pt x="103" y="107"/>
                  </a:lnTo>
                  <a:lnTo>
                    <a:pt x="95" y="120"/>
                  </a:lnTo>
                  <a:lnTo>
                    <a:pt x="95" y="12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84" name="Freeform 5764"/>
            <p:cNvSpPr>
              <a:spLocks/>
            </p:cNvSpPr>
            <p:nvPr>
              <p:custDataLst>
                <p:tags r:id="rId130"/>
              </p:custDataLst>
            </p:nvPr>
          </p:nvSpPr>
          <p:spPr bwMode="gray">
            <a:xfrm>
              <a:off x="7913552" y="3388283"/>
              <a:ext cx="159103" cy="101480"/>
            </a:xfrm>
            <a:custGeom>
              <a:avLst/>
              <a:gdLst/>
              <a:ahLst/>
              <a:cxnLst>
                <a:cxn ang="0">
                  <a:pos x="21" y="73"/>
                </a:cxn>
                <a:cxn ang="0">
                  <a:pos x="38" y="71"/>
                </a:cxn>
                <a:cxn ang="0">
                  <a:pos x="41" y="62"/>
                </a:cxn>
                <a:cxn ang="0">
                  <a:pos x="51" y="64"/>
                </a:cxn>
                <a:cxn ang="0">
                  <a:pos x="58" y="47"/>
                </a:cxn>
                <a:cxn ang="0">
                  <a:pos x="71" y="56"/>
                </a:cxn>
                <a:cxn ang="0">
                  <a:pos x="77" y="79"/>
                </a:cxn>
                <a:cxn ang="0">
                  <a:pos x="101" y="66"/>
                </a:cxn>
                <a:cxn ang="0">
                  <a:pos x="124" y="69"/>
                </a:cxn>
                <a:cxn ang="0">
                  <a:pos x="118" y="49"/>
                </a:cxn>
                <a:cxn ang="0">
                  <a:pos x="105" y="47"/>
                </a:cxn>
                <a:cxn ang="0">
                  <a:pos x="99" y="41"/>
                </a:cxn>
                <a:cxn ang="0">
                  <a:pos x="99" y="28"/>
                </a:cxn>
                <a:cxn ang="0">
                  <a:pos x="75" y="32"/>
                </a:cxn>
                <a:cxn ang="0">
                  <a:pos x="60" y="26"/>
                </a:cxn>
                <a:cxn ang="0">
                  <a:pos x="30" y="26"/>
                </a:cxn>
                <a:cxn ang="0">
                  <a:pos x="26" y="19"/>
                </a:cxn>
                <a:cxn ang="0">
                  <a:pos x="45" y="19"/>
                </a:cxn>
                <a:cxn ang="0">
                  <a:pos x="51" y="15"/>
                </a:cxn>
                <a:cxn ang="0">
                  <a:pos x="45" y="15"/>
                </a:cxn>
                <a:cxn ang="0">
                  <a:pos x="39" y="0"/>
                </a:cxn>
                <a:cxn ang="0">
                  <a:pos x="24" y="6"/>
                </a:cxn>
                <a:cxn ang="0">
                  <a:pos x="26" y="15"/>
                </a:cxn>
                <a:cxn ang="0">
                  <a:pos x="19" y="19"/>
                </a:cxn>
                <a:cxn ang="0">
                  <a:pos x="17" y="26"/>
                </a:cxn>
                <a:cxn ang="0">
                  <a:pos x="2" y="26"/>
                </a:cxn>
                <a:cxn ang="0">
                  <a:pos x="0" y="32"/>
                </a:cxn>
                <a:cxn ang="0">
                  <a:pos x="13" y="38"/>
                </a:cxn>
                <a:cxn ang="0">
                  <a:pos x="21" y="53"/>
                </a:cxn>
                <a:cxn ang="0">
                  <a:pos x="15" y="73"/>
                </a:cxn>
                <a:cxn ang="0">
                  <a:pos x="21" y="73"/>
                </a:cxn>
                <a:cxn ang="0">
                  <a:pos x="21" y="73"/>
                </a:cxn>
              </a:cxnLst>
              <a:rect l="0" t="0" r="r" b="b"/>
              <a:pathLst>
                <a:path w="124" h="79">
                  <a:moveTo>
                    <a:pt x="21" y="73"/>
                  </a:moveTo>
                  <a:lnTo>
                    <a:pt x="38" y="71"/>
                  </a:lnTo>
                  <a:lnTo>
                    <a:pt x="41" y="62"/>
                  </a:lnTo>
                  <a:lnTo>
                    <a:pt x="51" y="64"/>
                  </a:lnTo>
                  <a:lnTo>
                    <a:pt x="58" y="47"/>
                  </a:lnTo>
                  <a:lnTo>
                    <a:pt x="71" y="56"/>
                  </a:lnTo>
                  <a:lnTo>
                    <a:pt x="77" y="79"/>
                  </a:lnTo>
                  <a:lnTo>
                    <a:pt x="101" y="66"/>
                  </a:lnTo>
                  <a:lnTo>
                    <a:pt x="124" y="69"/>
                  </a:lnTo>
                  <a:lnTo>
                    <a:pt x="118" y="49"/>
                  </a:lnTo>
                  <a:lnTo>
                    <a:pt x="105" y="47"/>
                  </a:lnTo>
                  <a:lnTo>
                    <a:pt x="99" y="41"/>
                  </a:lnTo>
                  <a:lnTo>
                    <a:pt x="99" y="28"/>
                  </a:lnTo>
                  <a:lnTo>
                    <a:pt x="75" y="32"/>
                  </a:lnTo>
                  <a:lnTo>
                    <a:pt x="60" y="26"/>
                  </a:lnTo>
                  <a:lnTo>
                    <a:pt x="30" y="26"/>
                  </a:lnTo>
                  <a:lnTo>
                    <a:pt x="26" y="19"/>
                  </a:lnTo>
                  <a:lnTo>
                    <a:pt x="45" y="19"/>
                  </a:lnTo>
                  <a:lnTo>
                    <a:pt x="51" y="15"/>
                  </a:lnTo>
                  <a:lnTo>
                    <a:pt x="45" y="15"/>
                  </a:lnTo>
                  <a:lnTo>
                    <a:pt x="39" y="0"/>
                  </a:lnTo>
                  <a:lnTo>
                    <a:pt x="24" y="6"/>
                  </a:lnTo>
                  <a:lnTo>
                    <a:pt x="26" y="15"/>
                  </a:lnTo>
                  <a:lnTo>
                    <a:pt x="19" y="19"/>
                  </a:lnTo>
                  <a:lnTo>
                    <a:pt x="17" y="26"/>
                  </a:lnTo>
                  <a:lnTo>
                    <a:pt x="2" y="26"/>
                  </a:lnTo>
                  <a:lnTo>
                    <a:pt x="0" y="32"/>
                  </a:lnTo>
                  <a:lnTo>
                    <a:pt x="13" y="38"/>
                  </a:lnTo>
                  <a:lnTo>
                    <a:pt x="21" y="53"/>
                  </a:lnTo>
                  <a:lnTo>
                    <a:pt x="15" y="73"/>
                  </a:lnTo>
                  <a:lnTo>
                    <a:pt x="21" y="73"/>
                  </a:lnTo>
                  <a:lnTo>
                    <a:pt x="21" y="7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85" name="Freeform 5765"/>
            <p:cNvSpPr>
              <a:spLocks/>
            </p:cNvSpPr>
            <p:nvPr>
              <p:custDataLst>
                <p:tags r:id="rId131"/>
              </p:custDataLst>
            </p:nvPr>
          </p:nvSpPr>
          <p:spPr bwMode="gray">
            <a:xfrm>
              <a:off x="7946913" y="3338185"/>
              <a:ext cx="195030" cy="91204"/>
            </a:xfrm>
            <a:custGeom>
              <a:avLst/>
              <a:gdLst/>
              <a:ahLst/>
              <a:cxnLst>
                <a:cxn ang="0">
                  <a:pos x="25" y="54"/>
                </a:cxn>
                <a:cxn ang="0">
                  <a:pos x="19" y="58"/>
                </a:cxn>
                <a:cxn ang="0">
                  <a:pos x="0" y="58"/>
                </a:cxn>
                <a:cxn ang="0">
                  <a:pos x="4" y="65"/>
                </a:cxn>
                <a:cxn ang="0">
                  <a:pos x="34" y="65"/>
                </a:cxn>
                <a:cxn ang="0">
                  <a:pos x="49" y="71"/>
                </a:cxn>
                <a:cxn ang="0">
                  <a:pos x="73" y="67"/>
                </a:cxn>
                <a:cxn ang="0">
                  <a:pos x="73" y="58"/>
                </a:cxn>
                <a:cxn ang="0">
                  <a:pos x="83" y="48"/>
                </a:cxn>
                <a:cxn ang="0">
                  <a:pos x="109" y="48"/>
                </a:cxn>
                <a:cxn ang="0">
                  <a:pos x="111" y="41"/>
                </a:cxn>
                <a:cxn ang="0">
                  <a:pos x="128" y="39"/>
                </a:cxn>
                <a:cxn ang="0">
                  <a:pos x="152" y="22"/>
                </a:cxn>
                <a:cxn ang="0">
                  <a:pos x="152" y="17"/>
                </a:cxn>
                <a:cxn ang="0">
                  <a:pos x="135" y="7"/>
                </a:cxn>
                <a:cxn ang="0">
                  <a:pos x="77" y="5"/>
                </a:cxn>
                <a:cxn ang="0">
                  <a:pos x="57" y="0"/>
                </a:cxn>
                <a:cxn ang="0">
                  <a:pos x="49" y="3"/>
                </a:cxn>
                <a:cxn ang="0">
                  <a:pos x="49" y="13"/>
                </a:cxn>
                <a:cxn ang="0">
                  <a:pos x="15" y="9"/>
                </a:cxn>
                <a:cxn ang="0">
                  <a:pos x="13" y="15"/>
                </a:cxn>
                <a:cxn ang="0">
                  <a:pos x="19" y="18"/>
                </a:cxn>
                <a:cxn ang="0">
                  <a:pos x="8" y="32"/>
                </a:cxn>
                <a:cxn ang="0">
                  <a:pos x="27" y="37"/>
                </a:cxn>
                <a:cxn ang="0">
                  <a:pos x="28" y="30"/>
                </a:cxn>
                <a:cxn ang="0">
                  <a:pos x="55" y="43"/>
                </a:cxn>
                <a:cxn ang="0">
                  <a:pos x="40" y="52"/>
                </a:cxn>
                <a:cxn ang="0">
                  <a:pos x="25" y="54"/>
                </a:cxn>
                <a:cxn ang="0">
                  <a:pos x="25" y="54"/>
                </a:cxn>
              </a:cxnLst>
              <a:rect l="0" t="0" r="r" b="b"/>
              <a:pathLst>
                <a:path w="152" h="71">
                  <a:moveTo>
                    <a:pt x="25" y="54"/>
                  </a:moveTo>
                  <a:lnTo>
                    <a:pt x="19" y="58"/>
                  </a:lnTo>
                  <a:lnTo>
                    <a:pt x="0" y="58"/>
                  </a:lnTo>
                  <a:lnTo>
                    <a:pt x="4" y="65"/>
                  </a:lnTo>
                  <a:lnTo>
                    <a:pt x="34" y="65"/>
                  </a:lnTo>
                  <a:lnTo>
                    <a:pt x="49" y="71"/>
                  </a:lnTo>
                  <a:lnTo>
                    <a:pt x="73" y="67"/>
                  </a:lnTo>
                  <a:lnTo>
                    <a:pt x="73" y="58"/>
                  </a:lnTo>
                  <a:lnTo>
                    <a:pt x="83" y="48"/>
                  </a:lnTo>
                  <a:lnTo>
                    <a:pt x="109" y="48"/>
                  </a:lnTo>
                  <a:lnTo>
                    <a:pt x="111" y="41"/>
                  </a:lnTo>
                  <a:lnTo>
                    <a:pt x="128" y="39"/>
                  </a:lnTo>
                  <a:lnTo>
                    <a:pt x="152" y="22"/>
                  </a:lnTo>
                  <a:lnTo>
                    <a:pt x="152" y="17"/>
                  </a:lnTo>
                  <a:lnTo>
                    <a:pt x="135" y="7"/>
                  </a:lnTo>
                  <a:lnTo>
                    <a:pt x="77" y="5"/>
                  </a:lnTo>
                  <a:lnTo>
                    <a:pt x="57" y="0"/>
                  </a:lnTo>
                  <a:lnTo>
                    <a:pt x="49" y="3"/>
                  </a:lnTo>
                  <a:lnTo>
                    <a:pt x="49" y="13"/>
                  </a:lnTo>
                  <a:lnTo>
                    <a:pt x="15" y="9"/>
                  </a:lnTo>
                  <a:lnTo>
                    <a:pt x="13" y="15"/>
                  </a:lnTo>
                  <a:lnTo>
                    <a:pt x="19" y="18"/>
                  </a:lnTo>
                  <a:lnTo>
                    <a:pt x="8" y="32"/>
                  </a:lnTo>
                  <a:lnTo>
                    <a:pt x="27" y="37"/>
                  </a:lnTo>
                  <a:lnTo>
                    <a:pt x="28" y="30"/>
                  </a:lnTo>
                  <a:lnTo>
                    <a:pt x="55" y="43"/>
                  </a:lnTo>
                  <a:lnTo>
                    <a:pt x="40" y="52"/>
                  </a:lnTo>
                  <a:lnTo>
                    <a:pt x="25" y="54"/>
                  </a:lnTo>
                  <a:lnTo>
                    <a:pt x="25" y="5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86" name="Freeform 5766"/>
            <p:cNvSpPr>
              <a:spLocks/>
            </p:cNvSpPr>
            <p:nvPr>
              <p:custDataLst>
                <p:tags r:id="rId132"/>
              </p:custDataLst>
            </p:nvPr>
          </p:nvSpPr>
          <p:spPr bwMode="gray">
            <a:xfrm>
              <a:off x="7615875" y="3347177"/>
              <a:ext cx="292545" cy="170846"/>
            </a:xfrm>
            <a:custGeom>
              <a:avLst/>
              <a:gdLst/>
              <a:ahLst/>
              <a:cxnLst>
                <a:cxn ang="0">
                  <a:pos x="56" y="28"/>
                </a:cxn>
                <a:cxn ang="0">
                  <a:pos x="69" y="28"/>
                </a:cxn>
                <a:cxn ang="0">
                  <a:pos x="67" y="15"/>
                </a:cxn>
                <a:cxn ang="0">
                  <a:pos x="80" y="6"/>
                </a:cxn>
                <a:cxn ang="0">
                  <a:pos x="82" y="4"/>
                </a:cxn>
                <a:cxn ang="0">
                  <a:pos x="88" y="0"/>
                </a:cxn>
                <a:cxn ang="0">
                  <a:pos x="110" y="10"/>
                </a:cxn>
                <a:cxn ang="0">
                  <a:pos x="116" y="26"/>
                </a:cxn>
                <a:cxn ang="0">
                  <a:pos x="144" y="30"/>
                </a:cxn>
                <a:cxn ang="0">
                  <a:pos x="159" y="55"/>
                </a:cxn>
                <a:cxn ang="0">
                  <a:pos x="210" y="83"/>
                </a:cxn>
                <a:cxn ang="0">
                  <a:pos x="225" y="86"/>
                </a:cxn>
                <a:cxn ang="0">
                  <a:pos x="228" y="100"/>
                </a:cxn>
                <a:cxn ang="0">
                  <a:pos x="215" y="96"/>
                </a:cxn>
                <a:cxn ang="0">
                  <a:pos x="213" y="101"/>
                </a:cxn>
                <a:cxn ang="0">
                  <a:pos x="206" y="101"/>
                </a:cxn>
                <a:cxn ang="0">
                  <a:pos x="202" y="118"/>
                </a:cxn>
                <a:cxn ang="0">
                  <a:pos x="185" y="128"/>
                </a:cxn>
                <a:cxn ang="0">
                  <a:pos x="178" y="133"/>
                </a:cxn>
                <a:cxn ang="0">
                  <a:pos x="155" y="128"/>
                </a:cxn>
                <a:cxn ang="0">
                  <a:pos x="155" y="128"/>
                </a:cxn>
                <a:cxn ang="0">
                  <a:pos x="153" y="116"/>
                </a:cxn>
                <a:cxn ang="0">
                  <a:pos x="82" y="83"/>
                </a:cxn>
                <a:cxn ang="0">
                  <a:pos x="58" y="85"/>
                </a:cxn>
                <a:cxn ang="0">
                  <a:pos x="37" y="98"/>
                </a:cxn>
                <a:cxn ang="0">
                  <a:pos x="34" y="68"/>
                </a:cxn>
                <a:cxn ang="0">
                  <a:pos x="28" y="66"/>
                </a:cxn>
                <a:cxn ang="0">
                  <a:pos x="22" y="51"/>
                </a:cxn>
                <a:cxn ang="0">
                  <a:pos x="11" y="51"/>
                </a:cxn>
                <a:cxn ang="0">
                  <a:pos x="9" y="45"/>
                </a:cxn>
                <a:cxn ang="0">
                  <a:pos x="11" y="36"/>
                </a:cxn>
                <a:cxn ang="0">
                  <a:pos x="32" y="40"/>
                </a:cxn>
                <a:cxn ang="0">
                  <a:pos x="39" y="32"/>
                </a:cxn>
                <a:cxn ang="0">
                  <a:pos x="19" y="13"/>
                </a:cxn>
                <a:cxn ang="0">
                  <a:pos x="9" y="15"/>
                </a:cxn>
                <a:cxn ang="0">
                  <a:pos x="7" y="28"/>
                </a:cxn>
                <a:cxn ang="0">
                  <a:pos x="0" y="15"/>
                </a:cxn>
                <a:cxn ang="0">
                  <a:pos x="9" y="10"/>
                </a:cxn>
                <a:cxn ang="0">
                  <a:pos x="22" y="8"/>
                </a:cxn>
                <a:cxn ang="0">
                  <a:pos x="47" y="28"/>
                </a:cxn>
                <a:cxn ang="0">
                  <a:pos x="56" y="28"/>
                </a:cxn>
                <a:cxn ang="0">
                  <a:pos x="56" y="28"/>
                </a:cxn>
              </a:cxnLst>
              <a:rect l="0" t="0" r="r" b="b"/>
              <a:pathLst>
                <a:path w="228" h="133">
                  <a:moveTo>
                    <a:pt x="56" y="28"/>
                  </a:moveTo>
                  <a:lnTo>
                    <a:pt x="69" y="28"/>
                  </a:lnTo>
                  <a:lnTo>
                    <a:pt x="67" y="15"/>
                  </a:lnTo>
                  <a:lnTo>
                    <a:pt x="80" y="6"/>
                  </a:lnTo>
                  <a:lnTo>
                    <a:pt x="82" y="4"/>
                  </a:lnTo>
                  <a:lnTo>
                    <a:pt x="88" y="0"/>
                  </a:lnTo>
                  <a:lnTo>
                    <a:pt x="110" y="10"/>
                  </a:lnTo>
                  <a:lnTo>
                    <a:pt x="116" y="26"/>
                  </a:lnTo>
                  <a:lnTo>
                    <a:pt x="144" y="30"/>
                  </a:lnTo>
                  <a:lnTo>
                    <a:pt x="159" y="55"/>
                  </a:lnTo>
                  <a:lnTo>
                    <a:pt x="210" y="83"/>
                  </a:lnTo>
                  <a:lnTo>
                    <a:pt x="225" y="86"/>
                  </a:lnTo>
                  <a:lnTo>
                    <a:pt x="228" y="100"/>
                  </a:lnTo>
                  <a:lnTo>
                    <a:pt x="215" y="96"/>
                  </a:lnTo>
                  <a:lnTo>
                    <a:pt x="213" y="101"/>
                  </a:lnTo>
                  <a:lnTo>
                    <a:pt x="206" y="101"/>
                  </a:lnTo>
                  <a:lnTo>
                    <a:pt x="202" y="118"/>
                  </a:lnTo>
                  <a:lnTo>
                    <a:pt x="185" y="128"/>
                  </a:lnTo>
                  <a:lnTo>
                    <a:pt x="178" y="133"/>
                  </a:lnTo>
                  <a:lnTo>
                    <a:pt x="155" y="128"/>
                  </a:lnTo>
                  <a:lnTo>
                    <a:pt x="155" y="128"/>
                  </a:lnTo>
                  <a:lnTo>
                    <a:pt x="153" y="116"/>
                  </a:lnTo>
                  <a:lnTo>
                    <a:pt x="82" y="83"/>
                  </a:lnTo>
                  <a:lnTo>
                    <a:pt x="58" y="85"/>
                  </a:lnTo>
                  <a:lnTo>
                    <a:pt x="37" y="98"/>
                  </a:lnTo>
                  <a:lnTo>
                    <a:pt x="34" y="68"/>
                  </a:lnTo>
                  <a:lnTo>
                    <a:pt x="28" y="66"/>
                  </a:lnTo>
                  <a:lnTo>
                    <a:pt x="22" y="51"/>
                  </a:lnTo>
                  <a:lnTo>
                    <a:pt x="11" y="51"/>
                  </a:lnTo>
                  <a:lnTo>
                    <a:pt x="9" y="45"/>
                  </a:lnTo>
                  <a:lnTo>
                    <a:pt x="11" y="36"/>
                  </a:lnTo>
                  <a:lnTo>
                    <a:pt x="32" y="40"/>
                  </a:lnTo>
                  <a:lnTo>
                    <a:pt x="39" y="32"/>
                  </a:lnTo>
                  <a:lnTo>
                    <a:pt x="19" y="13"/>
                  </a:lnTo>
                  <a:lnTo>
                    <a:pt x="9" y="15"/>
                  </a:lnTo>
                  <a:lnTo>
                    <a:pt x="7" y="28"/>
                  </a:lnTo>
                  <a:lnTo>
                    <a:pt x="0" y="15"/>
                  </a:lnTo>
                  <a:lnTo>
                    <a:pt x="9" y="10"/>
                  </a:lnTo>
                  <a:lnTo>
                    <a:pt x="22" y="8"/>
                  </a:lnTo>
                  <a:lnTo>
                    <a:pt x="47" y="28"/>
                  </a:lnTo>
                  <a:lnTo>
                    <a:pt x="56" y="28"/>
                  </a:lnTo>
                  <a:lnTo>
                    <a:pt x="56" y="2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87" name="Freeform 5767"/>
            <p:cNvSpPr>
              <a:spLocks/>
            </p:cNvSpPr>
            <p:nvPr>
              <p:custDataLst>
                <p:tags r:id="rId133"/>
              </p:custDataLst>
            </p:nvPr>
          </p:nvSpPr>
          <p:spPr bwMode="gray">
            <a:xfrm>
              <a:off x="7046182" y="3038883"/>
              <a:ext cx="162953" cy="111757"/>
            </a:xfrm>
            <a:custGeom>
              <a:avLst/>
              <a:gdLst/>
              <a:ahLst/>
              <a:cxnLst>
                <a:cxn ang="0">
                  <a:pos x="6" y="59"/>
                </a:cxn>
                <a:cxn ang="0">
                  <a:pos x="0" y="72"/>
                </a:cxn>
                <a:cxn ang="0">
                  <a:pos x="4" y="81"/>
                </a:cxn>
                <a:cxn ang="0">
                  <a:pos x="36" y="75"/>
                </a:cxn>
                <a:cxn ang="0">
                  <a:pos x="62" y="85"/>
                </a:cxn>
                <a:cxn ang="0">
                  <a:pos x="80" y="81"/>
                </a:cxn>
                <a:cxn ang="0">
                  <a:pos x="99" y="87"/>
                </a:cxn>
                <a:cxn ang="0">
                  <a:pos x="107" y="73"/>
                </a:cxn>
                <a:cxn ang="0">
                  <a:pos x="118" y="72"/>
                </a:cxn>
                <a:cxn ang="0">
                  <a:pos x="109" y="55"/>
                </a:cxn>
                <a:cxn ang="0">
                  <a:pos x="122" y="55"/>
                </a:cxn>
                <a:cxn ang="0">
                  <a:pos x="127" y="47"/>
                </a:cxn>
                <a:cxn ang="0">
                  <a:pos x="114" y="42"/>
                </a:cxn>
                <a:cxn ang="0">
                  <a:pos x="99" y="25"/>
                </a:cxn>
                <a:cxn ang="0">
                  <a:pos x="97" y="12"/>
                </a:cxn>
                <a:cxn ang="0">
                  <a:pos x="60" y="0"/>
                </a:cxn>
                <a:cxn ang="0">
                  <a:pos x="41" y="10"/>
                </a:cxn>
                <a:cxn ang="0">
                  <a:pos x="41" y="19"/>
                </a:cxn>
                <a:cxn ang="0">
                  <a:pos x="30" y="23"/>
                </a:cxn>
                <a:cxn ang="0">
                  <a:pos x="30" y="36"/>
                </a:cxn>
                <a:cxn ang="0">
                  <a:pos x="0" y="38"/>
                </a:cxn>
                <a:cxn ang="0">
                  <a:pos x="6" y="59"/>
                </a:cxn>
                <a:cxn ang="0">
                  <a:pos x="6" y="59"/>
                </a:cxn>
              </a:cxnLst>
              <a:rect l="0" t="0" r="r" b="b"/>
              <a:pathLst>
                <a:path w="127" h="87">
                  <a:moveTo>
                    <a:pt x="6" y="59"/>
                  </a:moveTo>
                  <a:lnTo>
                    <a:pt x="0" y="72"/>
                  </a:lnTo>
                  <a:lnTo>
                    <a:pt x="4" y="81"/>
                  </a:lnTo>
                  <a:lnTo>
                    <a:pt x="36" y="75"/>
                  </a:lnTo>
                  <a:lnTo>
                    <a:pt x="62" y="85"/>
                  </a:lnTo>
                  <a:lnTo>
                    <a:pt x="80" y="81"/>
                  </a:lnTo>
                  <a:lnTo>
                    <a:pt x="99" y="87"/>
                  </a:lnTo>
                  <a:lnTo>
                    <a:pt x="107" y="73"/>
                  </a:lnTo>
                  <a:lnTo>
                    <a:pt x="118" y="72"/>
                  </a:lnTo>
                  <a:lnTo>
                    <a:pt x="109" y="55"/>
                  </a:lnTo>
                  <a:lnTo>
                    <a:pt x="122" y="55"/>
                  </a:lnTo>
                  <a:lnTo>
                    <a:pt x="127" y="47"/>
                  </a:lnTo>
                  <a:lnTo>
                    <a:pt x="114" y="42"/>
                  </a:lnTo>
                  <a:lnTo>
                    <a:pt x="99" y="25"/>
                  </a:lnTo>
                  <a:lnTo>
                    <a:pt x="97" y="12"/>
                  </a:lnTo>
                  <a:lnTo>
                    <a:pt x="60" y="0"/>
                  </a:lnTo>
                  <a:lnTo>
                    <a:pt x="41" y="10"/>
                  </a:lnTo>
                  <a:lnTo>
                    <a:pt x="41" y="19"/>
                  </a:lnTo>
                  <a:lnTo>
                    <a:pt x="30" y="23"/>
                  </a:lnTo>
                  <a:lnTo>
                    <a:pt x="30" y="36"/>
                  </a:lnTo>
                  <a:lnTo>
                    <a:pt x="0" y="38"/>
                  </a:lnTo>
                  <a:lnTo>
                    <a:pt x="6" y="59"/>
                  </a:lnTo>
                  <a:lnTo>
                    <a:pt x="6" y="5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88" name="Freeform 5768"/>
            <p:cNvSpPr>
              <a:spLocks/>
            </p:cNvSpPr>
            <p:nvPr>
              <p:custDataLst>
                <p:tags r:id="rId134"/>
              </p:custDataLst>
            </p:nvPr>
          </p:nvSpPr>
          <p:spPr bwMode="gray">
            <a:xfrm>
              <a:off x="7035917" y="2964378"/>
              <a:ext cx="75702" cy="43675"/>
            </a:xfrm>
            <a:custGeom>
              <a:avLst/>
              <a:gdLst/>
              <a:ahLst/>
              <a:cxnLst>
                <a:cxn ang="0">
                  <a:pos x="14" y="30"/>
                </a:cxn>
                <a:cxn ang="0">
                  <a:pos x="14" y="23"/>
                </a:cxn>
                <a:cxn ang="0">
                  <a:pos x="6" y="23"/>
                </a:cxn>
                <a:cxn ang="0">
                  <a:pos x="0" y="8"/>
                </a:cxn>
                <a:cxn ang="0">
                  <a:pos x="32" y="0"/>
                </a:cxn>
                <a:cxn ang="0">
                  <a:pos x="59" y="4"/>
                </a:cxn>
                <a:cxn ang="0">
                  <a:pos x="57" y="10"/>
                </a:cxn>
                <a:cxn ang="0">
                  <a:pos x="45" y="13"/>
                </a:cxn>
                <a:cxn ang="0">
                  <a:pos x="57" y="27"/>
                </a:cxn>
                <a:cxn ang="0">
                  <a:pos x="55" y="34"/>
                </a:cxn>
                <a:cxn ang="0">
                  <a:pos x="25" y="27"/>
                </a:cxn>
                <a:cxn ang="0">
                  <a:pos x="14" y="30"/>
                </a:cxn>
                <a:cxn ang="0">
                  <a:pos x="14" y="30"/>
                </a:cxn>
              </a:cxnLst>
              <a:rect l="0" t="0" r="r" b="b"/>
              <a:pathLst>
                <a:path w="59" h="34">
                  <a:moveTo>
                    <a:pt x="14" y="30"/>
                  </a:moveTo>
                  <a:lnTo>
                    <a:pt x="14" y="23"/>
                  </a:lnTo>
                  <a:lnTo>
                    <a:pt x="6" y="23"/>
                  </a:lnTo>
                  <a:lnTo>
                    <a:pt x="0" y="8"/>
                  </a:lnTo>
                  <a:lnTo>
                    <a:pt x="32" y="0"/>
                  </a:lnTo>
                  <a:lnTo>
                    <a:pt x="59" y="4"/>
                  </a:lnTo>
                  <a:lnTo>
                    <a:pt x="57" y="10"/>
                  </a:lnTo>
                  <a:lnTo>
                    <a:pt x="45" y="13"/>
                  </a:lnTo>
                  <a:lnTo>
                    <a:pt x="57" y="27"/>
                  </a:lnTo>
                  <a:lnTo>
                    <a:pt x="55" y="34"/>
                  </a:lnTo>
                  <a:lnTo>
                    <a:pt x="25" y="27"/>
                  </a:lnTo>
                  <a:lnTo>
                    <a:pt x="14" y="30"/>
                  </a:lnTo>
                  <a:lnTo>
                    <a:pt x="14" y="3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89" name="Freeform 5769"/>
            <p:cNvSpPr>
              <a:spLocks/>
            </p:cNvSpPr>
            <p:nvPr>
              <p:custDataLst>
                <p:tags r:id="rId135"/>
              </p:custDataLst>
            </p:nvPr>
          </p:nvSpPr>
          <p:spPr bwMode="gray">
            <a:xfrm>
              <a:off x="6997424" y="2999061"/>
              <a:ext cx="125743" cy="52667"/>
            </a:xfrm>
            <a:custGeom>
              <a:avLst/>
              <a:gdLst/>
              <a:ahLst/>
              <a:cxnLst>
                <a:cxn ang="0">
                  <a:pos x="0" y="33"/>
                </a:cxn>
                <a:cxn ang="0">
                  <a:pos x="2" y="22"/>
                </a:cxn>
                <a:cxn ang="0">
                  <a:pos x="10" y="9"/>
                </a:cxn>
                <a:cxn ang="0">
                  <a:pos x="19" y="7"/>
                </a:cxn>
                <a:cxn ang="0">
                  <a:pos x="38" y="18"/>
                </a:cxn>
                <a:cxn ang="0">
                  <a:pos x="45" y="15"/>
                </a:cxn>
                <a:cxn ang="0">
                  <a:pos x="44" y="3"/>
                </a:cxn>
                <a:cxn ang="0">
                  <a:pos x="55" y="0"/>
                </a:cxn>
                <a:cxn ang="0">
                  <a:pos x="85" y="7"/>
                </a:cxn>
                <a:cxn ang="0">
                  <a:pos x="98" y="31"/>
                </a:cxn>
                <a:cxn ang="0">
                  <a:pos x="79" y="41"/>
                </a:cxn>
                <a:cxn ang="0">
                  <a:pos x="53" y="28"/>
                </a:cxn>
                <a:cxn ang="0">
                  <a:pos x="15" y="28"/>
                </a:cxn>
                <a:cxn ang="0">
                  <a:pos x="0" y="33"/>
                </a:cxn>
                <a:cxn ang="0">
                  <a:pos x="0" y="33"/>
                </a:cxn>
                <a:cxn ang="0">
                  <a:pos x="0" y="33"/>
                </a:cxn>
              </a:cxnLst>
              <a:rect l="0" t="0" r="r" b="b"/>
              <a:pathLst>
                <a:path w="98" h="41">
                  <a:moveTo>
                    <a:pt x="0" y="33"/>
                  </a:moveTo>
                  <a:lnTo>
                    <a:pt x="2" y="22"/>
                  </a:lnTo>
                  <a:lnTo>
                    <a:pt x="10" y="9"/>
                  </a:lnTo>
                  <a:lnTo>
                    <a:pt x="19" y="7"/>
                  </a:lnTo>
                  <a:lnTo>
                    <a:pt x="38" y="18"/>
                  </a:lnTo>
                  <a:lnTo>
                    <a:pt x="45" y="15"/>
                  </a:lnTo>
                  <a:lnTo>
                    <a:pt x="44" y="3"/>
                  </a:lnTo>
                  <a:lnTo>
                    <a:pt x="55" y="0"/>
                  </a:lnTo>
                  <a:lnTo>
                    <a:pt x="85" y="7"/>
                  </a:lnTo>
                  <a:lnTo>
                    <a:pt x="98" y="31"/>
                  </a:lnTo>
                  <a:lnTo>
                    <a:pt x="79" y="41"/>
                  </a:lnTo>
                  <a:lnTo>
                    <a:pt x="53" y="28"/>
                  </a:lnTo>
                  <a:lnTo>
                    <a:pt x="15" y="28"/>
                  </a:lnTo>
                  <a:lnTo>
                    <a:pt x="0" y="33"/>
                  </a:lnTo>
                  <a:lnTo>
                    <a:pt x="0" y="33"/>
                  </a:lnTo>
                  <a:lnTo>
                    <a:pt x="0" y="3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90" name="Freeform 5770"/>
            <p:cNvSpPr>
              <a:spLocks/>
            </p:cNvSpPr>
            <p:nvPr>
              <p:custDataLst>
                <p:tags r:id="rId136"/>
              </p:custDataLst>
            </p:nvPr>
          </p:nvSpPr>
          <p:spPr bwMode="gray">
            <a:xfrm>
              <a:off x="6997424" y="3035029"/>
              <a:ext cx="101364" cy="52667"/>
            </a:xfrm>
            <a:custGeom>
              <a:avLst/>
              <a:gdLst/>
              <a:ahLst/>
              <a:cxnLst>
                <a:cxn ang="0">
                  <a:pos x="38" y="41"/>
                </a:cxn>
                <a:cxn ang="0">
                  <a:pos x="29" y="35"/>
                </a:cxn>
                <a:cxn ang="0">
                  <a:pos x="25" y="24"/>
                </a:cxn>
                <a:cxn ang="0">
                  <a:pos x="0" y="22"/>
                </a:cxn>
                <a:cxn ang="0">
                  <a:pos x="0" y="5"/>
                </a:cxn>
                <a:cxn ang="0">
                  <a:pos x="0" y="5"/>
                </a:cxn>
                <a:cxn ang="0">
                  <a:pos x="15" y="0"/>
                </a:cxn>
                <a:cxn ang="0">
                  <a:pos x="53" y="0"/>
                </a:cxn>
                <a:cxn ang="0">
                  <a:pos x="79" y="13"/>
                </a:cxn>
                <a:cxn ang="0">
                  <a:pos x="79" y="22"/>
                </a:cxn>
                <a:cxn ang="0">
                  <a:pos x="68" y="26"/>
                </a:cxn>
                <a:cxn ang="0">
                  <a:pos x="68" y="39"/>
                </a:cxn>
                <a:cxn ang="0">
                  <a:pos x="38" y="41"/>
                </a:cxn>
                <a:cxn ang="0">
                  <a:pos x="38" y="41"/>
                </a:cxn>
              </a:cxnLst>
              <a:rect l="0" t="0" r="r" b="b"/>
              <a:pathLst>
                <a:path w="79" h="41">
                  <a:moveTo>
                    <a:pt x="38" y="41"/>
                  </a:moveTo>
                  <a:lnTo>
                    <a:pt x="29" y="35"/>
                  </a:lnTo>
                  <a:lnTo>
                    <a:pt x="25" y="24"/>
                  </a:lnTo>
                  <a:lnTo>
                    <a:pt x="0" y="22"/>
                  </a:lnTo>
                  <a:lnTo>
                    <a:pt x="0" y="5"/>
                  </a:lnTo>
                  <a:lnTo>
                    <a:pt x="0" y="5"/>
                  </a:lnTo>
                  <a:lnTo>
                    <a:pt x="15" y="0"/>
                  </a:lnTo>
                  <a:lnTo>
                    <a:pt x="53" y="0"/>
                  </a:lnTo>
                  <a:lnTo>
                    <a:pt x="79" y="13"/>
                  </a:lnTo>
                  <a:lnTo>
                    <a:pt x="79" y="22"/>
                  </a:lnTo>
                  <a:lnTo>
                    <a:pt x="68" y="26"/>
                  </a:lnTo>
                  <a:lnTo>
                    <a:pt x="68" y="39"/>
                  </a:lnTo>
                  <a:lnTo>
                    <a:pt x="38" y="41"/>
                  </a:lnTo>
                  <a:lnTo>
                    <a:pt x="38" y="4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91" name="Freeform 5771"/>
            <p:cNvSpPr>
              <a:spLocks/>
            </p:cNvSpPr>
            <p:nvPr>
              <p:custDataLst>
                <p:tags r:id="rId137"/>
              </p:custDataLst>
            </p:nvPr>
          </p:nvSpPr>
          <p:spPr bwMode="gray">
            <a:xfrm>
              <a:off x="6976895" y="3063289"/>
              <a:ext cx="57739" cy="16699"/>
            </a:xfrm>
            <a:custGeom>
              <a:avLst/>
              <a:gdLst/>
              <a:ahLst/>
              <a:cxnLst>
                <a:cxn ang="0">
                  <a:pos x="0" y="11"/>
                </a:cxn>
                <a:cxn ang="0">
                  <a:pos x="45" y="13"/>
                </a:cxn>
                <a:cxn ang="0">
                  <a:pos x="41" y="2"/>
                </a:cxn>
                <a:cxn ang="0">
                  <a:pos x="16" y="0"/>
                </a:cxn>
                <a:cxn ang="0">
                  <a:pos x="0" y="11"/>
                </a:cxn>
                <a:cxn ang="0">
                  <a:pos x="0" y="11"/>
                </a:cxn>
              </a:cxnLst>
              <a:rect l="0" t="0" r="r" b="b"/>
              <a:pathLst>
                <a:path w="45" h="13">
                  <a:moveTo>
                    <a:pt x="0" y="11"/>
                  </a:moveTo>
                  <a:lnTo>
                    <a:pt x="45" y="13"/>
                  </a:lnTo>
                  <a:lnTo>
                    <a:pt x="41" y="2"/>
                  </a:lnTo>
                  <a:lnTo>
                    <a:pt x="16" y="0"/>
                  </a:lnTo>
                  <a:lnTo>
                    <a:pt x="0" y="11"/>
                  </a:lnTo>
                  <a:lnTo>
                    <a:pt x="0"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92" name="Freeform 5772"/>
            <p:cNvSpPr>
              <a:spLocks/>
            </p:cNvSpPr>
            <p:nvPr>
              <p:custDataLst>
                <p:tags r:id="rId138"/>
              </p:custDataLst>
            </p:nvPr>
          </p:nvSpPr>
          <p:spPr bwMode="gray">
            <a:xfrm>
              <a:off x="7111619" y="3214867"/>
              <a:ext cx="66721" cy="65513"/>
            </a:xfrm>
            <a:custGeom>
              <a:avLst/>
              <a:gdLst/>
              <a:ahLst/>
              <a:cxnLst>
                <a:cxn ang="0">
                  <a:pos x="31" y="51"/>
                </a:cxn>
                <a:cxn ang="0">
                  <a:pos x="24" y="30"/>
                </a:cxn>
                <a:cxn ang="0">
                  <a:pos x="7" y="6"/>
                </a:cxn>
                <a:cxn ang="0">
                  <a:pos x="0" y="4"/>
                </a:cxn>
                <a:cxn ang="0">
                  <a:pos x="13" y="0"/>
                </a:cxn>
                <a:cxn ang="0">
                  <a:pos x="37" y="8"/>
                </a:cxn>
                <a:cxn ang="0">
                  <a:pos x="39" y="17"/>
                </a:cxn>
                <a:cxn ang="0">
                  <a:pos x="50" y="30"/>
                </a:cxn>
                <a:cxn ang="0">
                  <a:pos x="52" y="38"/>
                </a:cxn>
                <a:cxn ang="0">
                  <a:pos x="39" y="38"/>
                </a:cxn>
                <a:cxn ang="0">
                  <a:pos x="31" y="51"/>
                </a:cxn>
                <a:cxn ang="0">
                  <a:pos x="31" y="51"/>
                </a:cxn>
              </a:cxnLst>
              <a:rect l="0" t="0" r="r" b="b"/>
              <a:pathLst>
                <a:path w="52" h="51">
                  <a:moveTo>
                    <a:pt x="31" y="51"/>
                  </a:moveTo>
                  <a:lnTo>
                    <a:pt x="24" y="30"/>
                  </a:lnTo>
                  <a:lnTo>
                    <a:pt x="7" y="6"/>
                  </a:lnTo>
                  <a:lnTo>
                    <a:pt x="0" y="4"/>
                  </a:lnTo>
                  <a:lnTo>
                    <a:pt x="13" y="0"/>
                  </a:lnTo>
                  <a:lnTo>
                    <a:pt x="37" y="8"/>
                  </a:lnTo>
                  <a:lnTo>
                    <a:pt x="39" y="17"/>
                  </a:lnTo>
                  <a:lnTo>
                    <a:pt x="50" y="30"/>
                  </a:lnTo>
                  <a:lnTo>
                    <a:pt x="52" y="38"/>
                  </a:lnTo>
                  <a:lnTo>
                    <a:pt x="39" y="38"/>
                  </a:lnTo>
                  <a:lnTo>
                    <a:pt x="31" y="51"/>
                  </a:lnTo>
                  <a:lnTo>
                    <a:pt x="31" y="5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93" name="Freeform 5773"/>
            <p:cNvSpPr>
              <a:spLocks/>
            </p:cNvSpPr>
            <p:nvPr>
              <p:custDataLst>
                <p:tags r:id="rId139"/>
              </p:custDataLst>
            </p:nvPr>
          </p:nvSpPr>
          <p:spPr bwMode="gray">
            <a:xfrm>
              <a:off x="7375936" y="3330478"/>
              <a:ext cx="129592" cy="57805"/>
            </a:xfrm>
            <a:custGeom>
              <a:avLst/>
              <a:gdLst/>
              <a:ahLst/>
              <a:cxnLst>
                <a:cxn ang="0">
                  <a:pos x="76" y="39"/>
                </a:cxn>
                <a:cxn ang="0">
                  <a:pos x="82" y="38"/>
                </a:cxn>
                <a:cxn ang="0">
                  <a:pos x="101" y="43"/>
                </a:cxn>
                <a:cxn ang="0">
                  <a:pos x="95" y="34"/>
                </a:cxn>
                <a:cxn ang="0">
                  <a:pos x="97" y="28"/>
                </a:cxn>
                <a:cxn ang="0">
                  <a:pos x="97" y="28"/>
                </a:cxn>
                <a:cxn ang="0">
                  <a:pos x="76" y="15"/>
                </a:cxn>
                <a:cxn ang="0">
                  <a:pos x="58" y="17"/>
                </a:cxn>
                <a:cxn ang="0">
                  <a:pos x="41" y="6"/>
                </a:cxn>
                <a:cxn ang="0">
                  <a:pos x="0" y="0"/>
                </a:cxn>
                <a:cxn ang="0">
                  <a:pos x="15" y="9"/>
                </a:cxn>
                <a:cxn ang="0">
                  <a:pos x="28" y="28"/>
                </a:cxn>
                <a:cxn ang="0">
                  <a:pos x="28" y="34"/>
                </a:cxn>
                <a:cxn ang="0">
                  <a:pos x="28" y="34"/>
                </a:cxn>
                <a:cxn ang="0">
                  <a:pos x="48" y="36"/>
                </a:cxn>
                <a:cxn ang="0">
                  <a:pos x="54" y="45"/>
                </a:cxn>
                <a:cxn ang="0">
                  <a:pos x="56" y="43"/>
                </a:cxn>
                <a:cxn ang="0">
                  <a:pos x="76" y="39"/>
                </a:cxn>
                <a:cxn ang="0">
                  <a:pos x="76" y="39"/>
                </a:cxn>
              </a:cxnLst>
              <a:rect l="0" t="0" r="r" b="b"/>
              <a:pathLst>
                <a:path w="101" h="45">
                  <a:moveTo>
                    <a:pt x="76" y="39"/>
                  </a:moveTo>
                  <a:lnTo>
                    <a:pt x="82" y="38"/>
                  </a:lnTo>
                  <a:lnTo>
                    <a:pt x="101" y="43"/>
                  </a:lnTo>
                  <a:lnTo>
                    <a:pt x="95" y="34"/>
                  </a:lnTo>
                  <a:lnTo>
                    <a:pt x="97" y="28"/>
                  </a:lnTo>
                  <a:lnTo>
                    <a:pt x="97" y="28"/>
                  </a:lnTo>
                  <a:lnTo>
                    <a:pt x="76" y="15"/>
                  </a:lnTo>
                  <a:lnTo>
                    <a:pt x="58" y="17"/>
                  </a:lnTo>
                  <a:lnTo>
                    <a:pt x="41" y="6"/>
                  </a:lnTo>
                  <a:lnTo>
                    <a:pt x="0" y="0"/>
                  </a:lnTo>
                  <a:lnTo>
                    <a:pt x="15" y="9"/>
                  </a:lnTo>
                  <a:lnTo>
                    <a:pt x="28" y="28"/>
                  </a:lnTo>
                  <a:lnTo>
                    <a:pt x="28" y="34"/>
                  </a:lnTo>
                  <a:lnTo>
                    <a:pt x="28" y="34"/>
                  </a:lnTo>
                  <a:lnTo>
                    <a:pt x="48" y="36"/>
                  </a:lnTo>
                  <a:lnTo>
                    <a:pt x="54" y="45"/>
                  </a:lnTo>
                  <a:lnTo>
                    <a:pt x="56" y="43"/>
                  </a:lnTo>
                  <a:lnTo>
                    <a:pt x="76" y="39"/>
                  </a:lnTo>
                  <a:lnTo>
                    <a:pt x="76" y="3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94" name="Freeform 5774"/>
            <p:cNvSpPr>
              <a:spLocks/>
            </p:cNvSpPr>
            <p:nvPr>
              <p:custDataLst>
                <p:tags r:id="rId140"/>
              </p:custDataLst>
            </p:nvPr>
          </p:nvSpPr>
          <p:spPr bwMode="gray">
            <a:xfrm>
              <a:off x="7445223" y="3380575"/>
              <a:ext cx="66721" cy="56521"/>
            </a:xfrm>
            <a:custGeom>
              <a:avLst/>
              <a:gdLst/>
              <a:ahLst/>
              <a:cxnLst>
                <a:cxn ang="0">
                  <a:pos x="22" y="27"/>
                </a:cxn>
                <a:cxn ang="0">
                  <a:pos x="11" y="19"/>
                </a:cxn>
                <a:cxn ang="0">
                  <a:pos x="0" y="6"/>
                </a:cxn>
                <a:cxn ang="0">
                  <a:pos x="2" y="4"/>
                </a:cxn>
                <a:cxn ang="0">
                  <a:pos x="22" y="0"/>
                </a:cxn>
                <a:cxn ang="0">
                  <a:pos x="39" y="15"/>
                </a:cxn>
                <a:cxn ang="0">
                  <a:pos x="39" y="23"/>
                </a:cxn>
                <a:cxn ang="0">
                  <a:pos x="50" y="29"/>
                </a:cxn>
                <a:cxn ang="0">
                  <a:pos x="52" y="44"/>
                </a:cxn>
                <a:cxn ang="0">
                  <a:pos x="47" y="44"/>
                </a:cxn>
                <a:cxn ang="0">
                  <a:pos x="39" y="30"/>
                </a:cxn>
                <a:cxn ang="0">
                  <a:pos x="22" y="27"/>
                </a:cxn>
                <a:cxn ang="0">
                  <a:pos x="22" y="27"/>
                </a:cxn>
              </a:cxnLst>
              <a:rect l="0" t="0" r="r" b="b"/>
              <a:pathLst>
                <a:path w="52" h="44">
                  <a:moveTo>
                    <a:pt x="22" y="27"/>
                  </a:moveTo>
                  <a:lnTo>
                    <a:pt x="11" y="19"/>
                  </a:lnTo>
                  <a:lnTo>
                    <a:pt x="0" y="6"/>
                  </a:lnTo>
                  <a:lnTo>
                    <a:pt x="2" y="4"/>
                  </a:lnTo>
                  <a:lnTo>
                    <a:pt x="22" y="0"/>
                  </a:lnTo>
                  <a:lnTo>
                    <a:pt x="39" y="15"/>
                  </a:lnTo>
                  <a:lnTo>
                    <a:pt x="39" y="23"/>
                  </a:lnTo>
                  <a:lnTo>
                    <a:pt x="50" y="29"/>
                  </a:lnTo>
                  <a:lnTo>
                    <a:pt x="52" y="44"/>
                  </a:lnTo>
                  <a:lnTo>
                    <a:pt x="47" y="44"/>
                  </a:lnTo>
                  <a:lnTo>
                    <a:pt x="39" y="30"/>
                  </a:lnTo>
                  <a:lnTo>
                    <a:pt x="22" y="27"/>
                  </a:lnTo>
                  <a:lnTo>
                    <a:pt x="22" y="2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95" name="Freeform 5775"/>
            <p:cNvSpPr>
              <a:spLocks/>
            </p:cNvSpPr>
            <p:nvPr>
              <p:custDataLst>
                <p:tags r:id="rId141"/>
              </p:custDataLst>
            </p:nvPr>
          </p:nvSpPr>
          <p:spPr bwMode="gray">
            <a:xfrm>
              <a:off x="7473451" y="3415258"/>
              <a:ext cx="32077" cy="21838"/>
            </a:xfrm>
            <a:custGeom>
              <a:avLst/>
              <a:gdLst/>
              <a:ahLst/>
              <a:cxnLst>
                <a:cxn ang="0">
                  <a:pos x="25" y="17"/>
                </a:cxn>
                <a:cxn ang="0">
                  <a:pos x="15" y="17"/>
                </a:cxn>
                <a:cxn ang="0">
                  <a:pos x="0" y="0"/>
                </a:cxn>
                <a:cxn ang="0">
                  <a:pos x="17" y="3"/>
                </a:cxn>
                <a:cxn ang="0">
                  <a:pos x="25" y="17"/>
                </a:cxn>
                <a:cxn ang="0">
                  <a:pos x="25" y="17"/>
                </a:cxn>
              </a:cxnLst>
              <a:rect l="0" t="0" r="r" b="b"/>
              <a:pathLst>
                <a:path w="25" h="17">
                  <a:moveTo>
                    <a:pt x="25" y="17"/>
                  </a:moveTo>
                  <a:lnTo>
                    <a:pt x="15" y="17"/>
                  </a:lnTo>
                  <a:lnTo>
                    <a:pt x="0" y="0"/>
                  </a:lnTo>
                  <a:lnTo>
                    <a:pt x="17" y="3"/>
                  </a:lnTo>
                  <a:lnTo>
                    <a:pt x="25" y="17"/>
                  </a:lnTo>
                  <a:lnTo>
                    <a:pt x="25"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96" name="Freeform 5776"/>
            <p:cNvSpPr>
              <a:spLocks/>
            </p:cNvSpPr>
            <p:nvPr>
              <p:custDataLst>
                <p:tags r:id="rId142"/>
              </p:custDataLst>
            </p:nvPr>
          </p:nvSpPr>
          <p:spPr bwMode="gray">
            <a:xfrm>
              <a:off x="7473451" y="3366445"/>
              <a:ext cx="109063" cy="82212"/>
            </a:xfrm>
            <a:custGeom>
              <a:avLst/>
              <a:gdLst/>
              <a:ahLst/>
              <a:cxnLst>
                <a:cxn ang="0">
                  <a:pos x="53" y="2"/>
                </a:cxn>
                <a:cxn ang="0">
                  <a:pos x="66" y="17"/>
                </a:cxn>
                <a:cxn ang="0">
                  <a:pos x="85" y="28"/>
                </a:cxn>
                <a:cxn ang="0">
                  <a:pos x="73" y="36"/>
                </a:cxn>
                <a:cxn ang="0">
                  <a:pos x="72" y="51"/>
                </a:cxn>
                <a:cxn ang="0">
                  <a:pos x="66" y="51"/>
                </a:cxn>
                <a:cxn ang="0">
                  <a:pos x="68" y="64"/>
                </a:cxn>
                <a:cxn ang="0">
                  <a:pos x="68" y="64"/>
                </a:cxn>
                <a:cxn ang="0">
                  <a:pos x="55" y="55"/>
                </a:cxn>
                <a:cxn ang="0">
                  <a:pos x="55" y="43"/>
                </a:cxn>
                <a:cxn ang="0">
                  <a:pos x="51" y="41"/>
                </a:cxn>
                <a:cxn ang="0">
                  <a:pos x="34" y="55"/>
                </a:cxn>
                <a:cxn ang="0">
                  <a:pos x="30" y="55"/>
                </a:cxn>
                <a:cxn ang="0">
                  <a:pos x="28" y="40"/>
                </a:cxn>
                <a:cxn ang="0">
                  <a:pos x="17" y="34"/>
                </a:cxn>
                <a:cxn ang="0">
                  <a:pos x="17" y="26"/>
                </a:cxn>
                <a:cxn ang="0">
                  <a:pos x="0" y="11"/>
                </a:cxn>
                <a:cxn ang="0">
                  <a:pos x="6" y="10"/>
                </a:cxn>
                <a:cxn ang="0">
                  <a:pos x="25" y="15"/>
                </a:cxn>
                <a:cxn ang="0">
                  <a:pos x="19" y="6"/>
                </a:cxn>
                <a:cxn ang="0">
                  <a:pos x="21" y="0"/>
                </a:cxn>
                <a:cxn ang="0">
                  <a:pos x="21" y="0"/>
                </a:cxn>
                <a:cxn ang="0">
                  <a:pos x="36" y="13"/>
                </a:cxn>
                <a:cxn ang="0">
                  <a:pos x="45" y="13"/>
                </a:cxn>
                <a:cxn ang="0">
                  <a:pos x="53" y="2"/>
                </a:cxn>
                <a:cxn ang="0">
                  <a:pos x="53" y="2"/>
                </a:cxn>
              </a:cxnLst>
              <a:rect l="0" t="0" r="r" b="b"/>
              <a:pathLst>
                <a:path w="85" h="64">
                  <a:moveTo>
                    <a:pt x="53" y="2"/>
                  </a:moveTo>
                  <a:lnTo>
                    <a:pt x="66" y="17"/>
                  </a:lnTo>
                  <a:lnTo>
                    <a:pt x="85" y="28"/>
                  </a:lnTo>
                  <a:lnTo>
                    <a:pt x="73" y="36"/>
                  </a:lnTo>
                  <a:lnTo>
                    <a:pt x="72" y="51"/>
                  </a:lnTo>
                  <a:lnTo>
                    <a:pt x="66" y="51"/>
                  </a:lnTo>
                  <a:lnTo>
                    <a:pt x="68" y="64"/>
                  </a:lnTo>
                  <a:lnTo>
                    <a:pt x="68" y="64"/>
                  </a:lnTo>
                  <a:lnTo>
                    <a:pt x="55" y="55"/>
                  </a:lnTo>
                  <a:lnTo>
                    <a:pt x="55" y="43"/>
                  </a:lnTo>
                  <a:lnTo>
                    <a:pt x="51" y="41"/>
                  </a:lnTo>
                  <a:lnTo>
                    <a:pt x="34" y="55"/>
                  </a:lnTo>
                  <a:lnTo>
                    <a:pt x="30" y="55"/>
                  </a:lnTo>
                  <a:lnTo>
                    <a:pt x="28" y="40"/>
                  </a:lnTo>
                  <a:lnTo>
                    <a:pt x="17" y="34"/>
                  </a:lnTo>
                  <a:lnTo>
                    <a:pt x="17" y="26"/>
                  </a:lnTo>
                  <a:lnTo>
                    <a:pt x="0" y="11"/>
                  </a:lnTo>
                  <a:lnTo>
                    <a:pt x="6" y="10"/>
                  </a:lnTo>
                  <a:lnTo>
                    <a:pt x="25" y="15"/>
                  </a:lnTo>
                  <a:lnTo>
                    <a:pt x="19" y="6"/>
                  </a:lnTo>
                  <a:lnTo>
                    <a:pt x="21" y="0"/>
                  </a:lnTo>
                  <a:lnTo>
                    <a:pt x="21" y="0"/>
                  </a:lnTo>
                  <a:lnTo>
                    <a:pt x="36" y="13"/>
                  </a:lnTo>
                  <a:lnTo>
                    <a:pt x="45" y="13"/>
                  </a:lnTo>
                  <a:lnTo>
                    <a:pt x="53" y="2"/>
                  </a:lnTo>
                  <a:lnTo>
                    <a:pt x="53"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97" name="Freeform 5777"/>
            <p:cNvSpPr>
              <a:spLocks/>
            </p:cNvSpPr>
            <p:nvPr>
              <p:custDataLst>
                <p:tags r:id="rId143"/>
              </p:custDataLst>
            </p:nvPr>
          </p:nvSpPr>
          <p:spPr bwMode="gray">
            <a:xfrm>
              <a:off x="5149771" y="4589346"/>
              <a:ext cx="261751" cy="312148"/>
            </a:xfrm>
            <a:custGeom>
              <a:avLst/>
              <a:gdLst/>
              <a:ahLst/>
              <a:cxnLst>
                <a:cxn ang="0">
                  <a:pos x="0" y="22"/>
                </a:cxn>
                <a:cxn ang="0">
                  <a:pos x="23" y="22"/>
                </a:cxn>
                <a:cxn ang="0">
                  <a:pos x="47" y="2"/>
                </a:cxn>
                <a:cxn ang="0">
                  <a:pos x="67" y="0"/>
                </a:cxn>
                <a:cxn ang="0">
                  <a:pos x="69" y="30"/>
                </a:cxn>
                <a:cxn ang="0">
                  <a:pos x="77" y="43"/>
                </a:cxn>
                <a:cxn ang="0">
                  <a:pos x="144" y="71"/>
                </a:cxn>
                <a:cxn ang="0">
                  <a:pos x="157" y="92"/>
                </a:cxn>
                <a:cxn ang="0">
                  <a:pos x="156" y="103"/>
                </a:cxn>
                <a:cxn ang="0">
                  <a:pos x="161" y="120"/>
                </a:cxn>
                <a:cxn ang="0">
                  <a:pos x="189" y="124"/>
                </a:cxn>
                <a:cxn ang="0">
                  <a:pos x="191" y="135"/>
                </a:cxn>
                <a:cxn ang="0">
                  <a:pos x="204" y="157"/>
                </a:cxn>
                <a:cxn ang="0">
                  <a:pos x="202" y="193"/>
                </a:cxn>
                <a:cxn ang="0">
                  <a:pos x="184" y="176"/>
                </a:cxn>
                <a:cxn ang="0">
                  <a:pos x="141" y="187"/>
                </a:cxn>
                <a:cxn ang="0">
                  <a:pos x="133" y="232"/>
                </a:cxn>
                <a:cxn ang="0">
                  <a:pos x="133" y="232"/>
                </a:cxn>
                <a:cxn ang="0">
                  <a:pos x="112" y="228"/>
                </a:cxn>
                <a:cxn ang="0">
                  <a:pos x="109" y="236"/>
                </a:cxn>
                <a:cxn ang="0">
                  <a:pos x="77" y="223"/>
                </a:cxn>
                <a:cxn ang="0">
                  <a:pos x="62" y="243"/>
                </a:cxn>
                <a:cxn ang="0">
                  <a:pos x="51" y="242"/>
                </a:cxn>
                <a:cxn ang="0">
                  <a:pos x="30" y="191"/>
                </a:cxn>
                <a:cxn ang="0">
                  <a:pos x="32" y="176"/>
                </a:cxn>
                <a:cxn ang="0">
                  <a:pos x="13" y="144"/>
                </a:cxn>
                <a:cxn ang="0">
                  <a:pos x="19" y="125"/>
                </a:cxn>
                <a:cxn ang="0">
                  <a:pos x="11" y="110"/>
                </a:cxn>
                <a:cxn ang="0">
                  <a:pos x="17" y="49"/>
                </a:cxn>
                <a:cxn ang="0">
                  <a:pos x="0" y="22"/>
                </a:cxn>
                <a:cxn ang="0">
                  <a:pos x="0" y="22"/>
                </a:cxn>
              </a:cxnLst>
              <a:rect l="0" t="0" r="r" b="b"/>
              <a:pathLst>
                <a:path w="204" h="243">
                  <a:moveTo>
                    <a:pt x="0" y="22"/>
                  </a:moveTo>
                  <a:lnTo>
                    <a:pt x="23" y="22"/>
                  </a:lnTo>
                  <a:lnTo>
                    <a:pt x="47" y="2"/>
                  </a:lnTo>
                  <a:lnTo>
                    <a:pt x="67" y="0"/>
                  </a:lnTo>
                  <a:lnTo>
                    <a:pt x="69" y="30"/>
                  </a:lnTo>
                  <a:lnTo>
                    <a:pt x="77" y="43"/>
                  </a:lnTo>
                  <a:lnTo>
                    <a:pt x="144" y="71"/>
                  </a:lnTo>
                  <a:lnTo>
                    <a:pt x="157" y="92"/>
                  </a:lnTo>
                  <a:lnTo>
                    <a:pt x="156" y="103"/>
                  </a:lnTo>
                  <a:lnTo>
                    <a:pt x="161" y="120"/>
                  </a:lnTo>
                  <a:lnTo>
                    <a:pt x="189" y="124"/>
                  </a:lnTo>
                  <a:lnTo>
                    <a:pt x="191" y="135"/>
                  </a:lnTo>
                  <a:lnTo>
                    <a:pt x="204" y="157"/>
                  </a:lnTo>
                  <a:lnTo>
                    <a:pt x="202" y="193"/>
                  </a:lnTo>
                  <a:lnTo>
                    <a:pt x="184" y="176"/>
                  </a:lnTo>
                  <a:lnTo>
                    <a:pt x="141" y="187"/>
                  </a:lnTo>
                  <a:lnTo>
                    <a:pt x="133" y="232"/>
                  </a:lnTo>
                  <a:lnTo>
                    <a:pt x="133" y="232"/>
                  </a:lnTo>
                  <a:lnTo>
                    <a:pt x="112" y="228"/>
                  </a:lnTo>
                  <a:lnTo>
                    <a:pt x="109" y="236"/>
                  </a:lnTo>
                  <a:lnTo>
                    <a:pt x="77" y="223"/>
                  </a:lnTo>
                  <a:lnTo>
                    <a:pt x="62" y="243"/>
                  </a:lnTo>
                  <a:lnTo>
                    <a:pt x="51" y="242"/>
                  </a:lnTo>
                  <a:lnTo>
                    <a:pt x="30" y="191"/>
                  </a:lnTo>
                  <a:lnTo>
                    <a:pt x="32" y="176"/>
                  </a:lnTo>
                  <a:lnTo>
                    <a:pt x="13" y="144"/>
                  </a:lnTo>
                  <a:lnTo>
                    <a:pt x="19" y="125"/>
                  </a:lnTo>
                  <a:lnTo>
                    <a:pt x="11" y="110"/>
                  </a:lnTo>
                  <a:lnTo>
                    <a:pt x="17" y="49"/>
                  </a:lnTo>
                  <a:lnTo>
                    <a:pt x="0" y="22"/>
                  </a:lnTo>
                  <a:lnTo>
                    <a:pt x="0" y="2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98" name="Freeform 5778"/>
            <p:cNvSpPr>
              <a:spLocks/>
            </p:cNvSpPr>
            <p:nvPr>
              <p:custDataLst>
                <p:tags r:id="rId144"/>
              </p:custDataLst>
            </p:nvPr>
          </p:nvSpPr>
          <p:spPr bwMode="gray">
            <a:xfrm>
              <a:off x="5320422" y="4815428"/>
              <a:ext cx="178350" cy="195253"/>
            </a:xfrm>
            <a:custGeom>
              <a:avLst/>
              <a:gdLst/>
              <a:ahLst/>
              <a:cxnLst>
                <a:cxn ang="0">
                  <a:pos x="139" y="116"/>
                </a:cxn>
                <a:cxn ang="0">
                  <a:pos x="137" y="88"/>
                </a:cxn>
                <a:cxn ang="0">
                  <a:pos x="118" y="84"/>
                </a:cxn>
                <a:cxn ang="0">
                  <a:pos x="112" y="60"/>
                </a:cxn>
                <a:cxn ang="0">
                  <a:pos x="105" y="56"/>
                </a:cxn>
                <a:cxn ang="0">
                  <a:pos x="75" y="49"/>
                </a:cxn>
                <a:cxn ang="0">
                  <a:pos x="69" y="17"/>
                </a:cxn>
                <a:cxn ang="0">
                  <a:pos x="51" y="0"/>
                </a:cxn>
                <a:cxn ang="0">
                  <a:pos x="8" y="11"/>
                </a:cxn>
                <a:cxn ang="0">
                  <a:pos x="0" y="56"/>
                </a:cxn>
                <a:cxn ang="0">
                  <a:pos x="0" y="56"/>
                </a:cxn>
                <a:cxn ang="0">
                  <a:pos x="34" y="88"/>
                </a:cxn>
                <a:cxn ang="0">
                  <a:pos x="54" y="92"/>
                </a:cxn>
                <a:cxn ang="0">
                  <a:pos x="81" y="109"/>
                </a:cxn>
                <a:cxn ang="0">
                  <a:pos x="86" y="122"/>
                </a:cxn>
                <a:cxn ang="0">
                  <a:pos x="79" y="146"/>
                </a:cxn>
                <a:cxn ang="0">
                  <a:pos x="111" y="152"/>
                </a:cxn>
                <a:cxn ang="0">
                  <a:pos x="122" y="150"/>
                </a:cxn>
                <a:cxn ang="0">
                  <a:pos x="135" y="137"/>
                </a:cxn>
                <a:cxn ang="0">
                  <a:pos x="139" y="116"/>
                </a:cxn>
                <a:cxn ang="0">
                  <a:pos x="139" y="116"/>
                </a:cxn>
              </a:cxnLst>
              <a:rect l="0" t="0" r="r" b="b"/>
              <a:pathLst>
                <a:path w="139" h="152">
                  <a:moveTo>
                    <a:pt x="139" y="116"/>
                  </a:moveTo>
                  <a:lnTo>
                    <a:pt x="137" y="88"/>
                  </a:lnTo>
                  <a:lnTo>
                    <a:pt x="118" y="84"/>
                  </a:lnTo>
                  <a:lnTo>
                    <a:pt x="112" y="60"/>
                  </a:lnTo>
                  <a:lnTo>
                    <a:pt x="105" y="56"/>
                  </a:lnTo>
                  <a:lnTo>
                    <a:pt x="75" y="49"/>
                  </a:lnTo>
                  <a:lnTo>
                    <a:pt x="69" y="17"/>
                  </a:lnTo>
                  <a:lnTo>
                    <a:pt x="51" y="0"/>
                  </a:lnTo>
                  <a:lnTo>
                    <a:pt x="8" y="11"/>
                  </a:lnTo>
                  <a:lnTo>
                    <a:pt x="0" y="56"/>
                  </a:lnTo>
                  <a:lnTo>
                    <a:pt x="0" y="56"/>
                  </a:lnTo>
                  <a:lnTo>
                    <a:pt x="34" y="88"/>
                  </a:lnTo>
                  <a:lnTo>
                    <a:pt x="54" y="92"/>
                  </a:lnTo>
                  <a:lnTo>
                    <a:pt x="81" y="109"/>
                  </a:lnTo>
                  <a:lnTo>
                    <a:pt x="86" y="122"/>
                  </a:lnTo>
                  <a:lnTo>
                    <a:pt x="79" y="146"/>
                  </a:lnTo>
                  <a:lnTo>
                    <a:pt x="111" y="152"/>
                  </a:lnTo>
                  <a:lnTo>
                    <a:pt x="122" y="150"/>
                  </a:lnTo>
                  <a:lnTo>
                    <a:pt x="135" y="137"/>
                  </a:lnTo>
                  <a:lnTo>
                    <a:pt x="139" y="116"/>
                  </a:lnTo>
                  <a:lnTo>
                    <a:pt x="139" y="11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499" name="Freeform 5779"/>
            <p:cNvSpPr>
              <a:spLocks/>
            </p:cNvSpPr>
            <p:nvPr>
              <p:custDataLst>
                <p:tags r:id="rId145"/>
              </p:custDataLst>
            </p:nvPr>
          </p:nvSpPr>
          <p:spPr bwMode="gray">
            <a:xfrm>
              <a:off x="5198528" y="4875802"/>
              <a:ext cx="319490" cy="716784"/>
            </a:xfrm>
            <a:custGeom>
              <a:avLst/>
              <a:gdLst/>
              <a:ahLst/>
              <a:cxnLst>
                <a:cxn ang="0">
                  <a:pos x="200" y="227"/>
                </a:cxn>
                <a:cxn ang="0">
                  <a:pos x="204" y="238"/>
                </a:cxn>
                <a:cxn ang="0">
                  <a:pos x="222" y="258"/>
                </a:cxn>
                <a:cxn ang="0">
                  <a:pos x="239" y="277"/>
                </a:cxn>
                <a:cxn ang="0">
                  <a:pos x="191" y="315"/>
                </a:cxn>
                <a:cxn ang="0">
                  <a:pos x="162" y="313"/>
                </a:cxn>
                <a:cxn ang="0">
                  <a:pos x="174" y="352"/>
                </a:cxn>
                <a:cxn ang="0">
                  <a:pos x="136" y="350"/>
                </a:cxn>
                <a:cxn ang="0">
                  <a:pos x="142" y="375"/>
                </a:cxn>
                <a:cxn ang="0">
                  <a:pos x="161" y="375"/>
                </a:cxn>
                <a:cxn ang="0">
                  <a:pos x="166" y="388"/>
                </a:cxn>
                <a:cxn ang="0">
                  <a:pos x="151" y="382"/>
                </a:cxn>
                <a:cxn ang="0">
                  <a:pos x="157" y="391"/>
                </a:cxn>
                <a:cxn ang="0">
                  <a:pos x="153" y="418"/>
                </a:cxn>
                <a:cxn ang="0">
                  <a:pos x="151" y="427"/>
                </a:cxn>
                <a:cxn ang="0">
                  <a:pos x="131" y="446"/>
                </a:cxn>
                <a:cxn ang="0">
                  <a:pos x="153" y="466"/>
                </a:cxn>
                <a:cxn ang="0">
                  <a:pos x="168" y="472"/>
                </a:cxn>
                <a:cxn ang="0">
                  <a:pos x="151" y="498"/>
                </a:cxn>
                <a:cxn ang="0">
                  <a:pos x="142" y="526"/>
                </a:cxn>
                <a:cxn ang="0">
                  <a:pos x="166" y="558"/>
                </a:cxn>
                <a:cxn ang="0">
                  <a:pos x="149" y="556"/>
                </a:cxn>
                <a:cxn ang="0">
                  <a:pos x="97" y="528"/>
                </a:cxn>
                <a:cxn ang="0">
                  <a:pos x="76" y="513"/>
                </a:cxn>
                <a:cxn ang="0">
                  <a:pos x="59" y="423"/>
                </a:cxn>
                <a:cxn ang="0">
                  <a:pos x="56" y="416"/>
                </a:cxn>
                <a:cxn ang="0">
                  <a:pos x="41" y="373"/>
                </a:cxn>
                <a:cxn ang="0">
                  <a:pos x="29" y="311"/>
                </a:cxn>
                <a:cxn ang="0">
                  <a:pos x="24" y="264"/>
                </a:cxn>
                <a:cxn ang="0">
                  <a:pos x="22" y="225"/>
                </a:cxn>
                <a:cxn ang="0">
                  <a:pos x="3" y="120"/>
                </a:cxn>
                <a:cxn ang="0">
                  <a:pos x="9" y="52"/>
                </a:cxn>
                <a:cxn ang="0">
                  <a:pos x="24" y="20"/>
                </a:cxn>
                <a:cxn ang="0">
                  <a:pos x="71" y="13"/>
                </a:cxn>
                <a:cxn ang="0">
                  <a:pos x="95" y="9"/>
                </a:cxn>
                <a:cxn ang="0">
                  <a:pos x="149" y="45"/>
                </a:cxn>
                <a:cxn ang="0">
                  <a:pos x="181" y="75"/>
                </a:cxn>
                <a:cxn ang="0">
                  <a:pos x="206" y="105"/>
                </a:cxn>
                <a:cxn ang="0">
                  <a:pos x="230" y="90"/>
                </a:cxn>
                <a:cxn ang="0">
                  <a:pos x="241" y="71"/>
                </a:cxn>
                <a:cxn ang="0">
                  <a:pos x="234" y="107"/>
                </a:cxn>
                <a:cxn ang="0">
                  <a:pos x="196" y="155"/>
                </a:cxn>
              </a:cxnLst>
              <a:rect l="0" t="0" r="r" b="b"/>
              <a:pathLst>
                <a:path w="249" h="558">
                  <a:moveTo>
                    <a:pt x="196" y="155"/>
                  </a:moveTo>
                  <a:lnTo>
                    <a:pt x="200" y="227"/>
                  </a:lnTo>
                  <a:lnTo>
                    <a:pt x="200" y="227"/>
                  </a:lnTo>
                  <a:lnTo>
                    <a:pt x="204" y="238"/>
                  </a:lnTo>
                  <a:lnTo>
                    <a:pt x="224" y="251"/>
                  </a:lnTo>
                  <a:lnTo>
                    <a:pt x="222" y="258"/>
                  </a:lnTo>
                  <a:lnTo>
                    <a:pt x="236" y="270"/>
                  </a:lnTo>
                  <a:lnTo>
                    <a:pt x="239" y="277"/>
                  </a:lnTo>
                  <a:lnTo>
                    <a:pt x="232" y="301"/>
                  </a:lnTo>
                  <a:lnTo>
                    <a:pt x="191" y="315"/>
                  </a:lnTo>
                  <a:lnTo>
                    <a:pt x="168" y="318"/>
                  </a:lnTo>
                  <a:lnTo>
                    <a:pt x="162" y="313"/>
                  </a:lnTo>
                  <a:lnTo>
                    <a:pt x="170" y="326"/>
                  </a:lnTo>
                  <a:lnTo>
                    <a:pt x="174" y="352"/>
                  </a:lnTo>
                  <a:lnTo>
                    <a:pt x="153" y="358"/>
                  </a:lnTo>
                  <a:lnTo>
                    <a:pt x="136" y="350"/>
                  </a:lnTo>
                  <a:lnTo>
                    <a:pt x="131" y="354"/>
                  </a:lnTo>
                  <a:lnTo>
                    <a:pt x="142" y="375"/>
                  </a:lnTo>
                  <a:lnTo>
                    <a:pt x="149" y="378"/>
                  </a:lnTo>
                  <a:lnTo>
                    <a:pt x="161" y="375"/>
                  </a:lnTo>
                  <a:lnTo>
                    <a:pt x="166" y="382"/>
                  </a:lnTo>
                  <a:lnTo>
                    <a:pt x="166" y="388"/>
                  </a:lnTo>
                  <a:lnTo>
                    <a:pt x="159" y="388"/>
                  </a:lnTo>
                  <a:lnTo>
                    <a:pt x="151" y="382"/>
                  </a:lnTo>
                  <a:lnTo>
                    <a:pt x="146" y="388"/>
                  </a:lnTo>
                  <a:lnTo>
                    <a:pt x="157" y="391"/>
                  </a:lnTo>
                  <a:lnTo>
                    <a:pt x="147" y="403"/>
                  </a:lnTo>
                  <a:lnTo>
                    <a:pt x="153" y="418"/>
                  </a:lnTo>
                  <a:lnTo>
                    <a:pt x="149" y="421"/>
                  </a:lnTo>
                  <a:lnTo>
                    <a:pt x="151" y="427"/>
                  </a:lnTo>
                  <a:lnTo>
                    <a:pt x="136" y="431"/>
                  </a:lnTo>
                  <a:lnTo>
                    <a:pt x="131" y="446"/>
                  </a:lnTo>
                  <a:lnTo>
                    <a:pt x="136" y="453"/>
                  </a:lnTo>
                  <a:lnTo>
                    <a:pt x="153" y="466"/>
                  </a:lnTo>
                  <a:lnTo>
                    <a:pt x="164" y="466"/>
                  </a:lnTo>
                  <a:lnTo>
                    <a:pt x="168" y="472"/>
                  </a:lnTo>
                  <a:lnTo>
                    <a:pt x="168" y="481"/>
                  </a:lnTo>
                  <a:lnTo>
                    <a:pt x="151" y="498"/>
                  </a:lnTo>
                  <a:lnTo>
                    <a:pt x="155" y="517"/>
                  </a:lnTo>
                  <a:lnTo>
                    <a:pt x="142" y="526"/>
                  </a:lnTo>
                  <a:lnTo>
                    <a:pt x="144" y="534"/>
                  </a:lnTo>
                  <a:lnTo>
                    <a:pt x="166" y="558"/>
                  </a:lnTo>
                  <a:lnTo>
                    <a:pt x="149" y="556"/>
                  </a:lnTo>
                  <a:lnTo>
                    <a:pt x="149" y="556"/>
                  </a:lnTo>
                  <a:lnTo>
                    <a:pt x="116" y="553"/>
                  </a:lnTo>
                  <a:lnTo>
                    <a:pt x="97" y="528"/>
                  </a:lnTo>
                  <a:lnTo>
                    <a:pt x="84" y="530"/>
                  </a:lnTo>
                  <a:lnTo>
                    <a:pt x="76" y="513"/>
                  </a:lnTo>
                  <a:lnTo>
                    <a:pt x="74" y="457"/>
                  </a:lnTo>
                  <a:lnTo>
                    <a:pt x="59" y="423"/>
                  </a:lnTo>
                  <a:lnTo>
                    <a:pt x="65" y="423"/>
                  </a:lnTo>
                  <a:lnTo>
                    <a:pt x="56" y="416"/>
                  </a:lnTo>
                  <a:lnTo>
                    <a:pt x="41" y="388"/>
                  </a:lnTo>
                  <a:lnTo>
                    <a:pt x="41" y="373"/>
                  </a:lnTo>
                  <a:lnTo>
                    <a:pt x="31" y="356"/>
                  </a:lnTo>
                  <a:lnTo>
                    <a:pt x="29" y="311"/>
                  </a:lnTo>
                  <a:lnTo>
                    <a:pt x="18" y="277"/>
                  </a:lnTo>
                  <a:lnTo>
                    <a:pt x="24" y="264"/>
                  </a:lnTo>
                  <a:lnTo>
                    <a:pt x="18" y="249"/>
                  </a:lnTo>
                  <a:lnTo>
                    <a:pt x="22" y="225"/>
                  </a:lnTo>
                  <a:lnTo>
                    <a:pt x="0" y="176"/>
                  </a:lnTo>
                  <a:lnTo>
                    <a:pt x="3" y="120"/>
                  </a:lnTo>
                  <a:lnTo>
                    <a:pt x="16" y="90"/>
                  </a:lnTo>
                  <a:lnTo>
                    <a:pt x="9" y="52"/>
                  </a:lnTo>
                  <a:lnTo>
                    <a:pt x="24" y="41"/>
                  </a:lnTo>
                  <a:lnTo>
                    <a:pt x="24" y="20"/>
                  </a:lnTo>
                  <a:lnTo>
                    <a:pt x="39" y="0"/>
                  </a:lnTo>
                  <a:lnTo>
                    <a:pt x="71" y="13"/>
                  </a:lnTo>
                  <a:lnTo>
                    <a:pt x="74" y="5"/>
                  </a:lnTo>
                  <a:lnTo>
                    <a:pt x="95" y="9"/>
                  </a:lnTo>
                  <a:lnTo>
                    <a:pt x="129" y="41"/>
                  </a:lnTo>
                  <a:lnTo>
                    <a:pt x="149" y="45"/>
                  </a:lnTo>
                  <a:lnTo>
                    <a:pt x="176" y="62"/>
                  </a:lnTo>
                  <a:lnTo>
                    <a:pt x="181" y="75"/>
                  </a:lnTo>
                  <a:lnTo>
                    <a:pt x="174" y="99"/>
                  </a:lnTo>
                  <a:lnTo>
                    <a:pt x="206" y="105"/>
                  </a:lnTo>
                  <a:lnTo>
                    <a:pt x="217" y="103"/>
                  </a:lnTo>
                  <a:lnTo>
                    <a:pt x="230" y="90"/>
                  </a:lnTo>
                  <a:lnTo>
                    <a:pt x="234" y="69"/>
                  </a:lnTo>
                  <a:lnTo>
                    <a:pt x="241" y="71"/>
                  </a:lnTo>
                  <a:lnTo>
                    <a:pt x="249" y="95"/>
                  </a:lnTo>
                  <a:lnTo>
                    <a:pt x="234" y="107"/>
                  </a:lnTo>
                  <a:lnTo>
                    <a:pt x="196" y="155"/>
                  </a:lnTo>
                  <a:lnTo>
                    <a:pt x="196" y="15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00" name="Freeform 5780"/>
            <p:cNvSpPr>
              <a:spLocks/>
            </p:cNvSpPr>
            <p:nvPr>
              <p:custDataLst>
                <p:tags r:id="rId146"/>
              </p:custDataLst>
            </p:nvPr>
          </p:nvSpPr>
          <p:spPr bwMode="gray">
            <a:xfrm>
              <a:off x="6495735" y="3065858"/>
              <a:ext cx="38493" cy="24407"/>
            </a:xfrm>
            <a:custGeom>
              <a:avLst/>
              <a:gdLst/>
              <a:ahLst/>
              <a:cxnLst>
                <a:cxn ang="0">
                  <a:pos x="6" y="0"/>
                </a:cxn>
                <a:cxn ang="0">
                  <a:pos x="0" y="9"/>
                </a:cxn>
                <a:cxn ang="0">
                  <a:pos x="7" y="17"/>
                </a:cxn>
                <a:cxn ang="0">
                  <a:pos x="21" y="11"/>
                </a:cxn>
                <a:cxn ang="0">
                  <a:pos x="24" y="19"/>
                </a:cxn>
                <a:cxn ang="0">
                  <a:pos x="30" y="13"/>
                </a:cxn>
                <a:cxn ang="0">
                  <a:pos x="26" y="0"/>
                </a:cxn>
                <a:cxn ang="0">
                  <a:pos x="6" y="0"/>
                </a:cxn>
                <a:cxn ang="0">
                  <a:pos x="6" y="0"/>
                </a:cxn>
              </a:cxnLst>
              <a:rect l="0" t="0" r="r" b="b"/>
              <a:pathLst>
                <a:path w="30" h="19">
                  <a:moveTo>
                    <a:pt x="6" y="0"/>
                  </a:moveTo>
                  <a:lnTo>
                    <a:pt x="0" y="9"/>
                  </a:lnTo>
                  <a:lnTo>
                    <a:pt x="7" y="17"/>
                  </a:lnTo>
                  <a:lnTo>
                    <a:pt x="21" y="11"/>
                  </a:lnTo>
                  <a:lnTo>
                    <a:pt x="24" y="19"/>
                  </a:lnTo>
                  <a:lnTo>
                    <a:pt x="30" y="13"/>
                  </a:lnTo>
                  <a:lnTo>
                    <a:pt x="26" y="0"/>
                  </a:lnTo>
                  <a:lnTo>
                    <a:pt x="6" y="0"/>
                  </a:lnTo>
                  <a:lnTo>
                    <a:pt x="6"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01" name="Freeform 5781"/>
            <p:cNvSpPr>
              <a:spLocks/>
            </p:cNvSpPr>
            <p:nvPr>
              <p:custDataLst>
                <p:tags r:id="rId147"/>
              </p:custDataLst>
            </p:nvPr>
          </p:nvSpPr>
          <p:spPr bwMode="gray">
            <a:xfrm>
              <a:off x="6776732" y="3010622"/>
              <a:ext cx="48758" cy="60374"/>
            </a:xfrm>
            <a:custGeom>
              <a:avLst/>
              <a:gdLst/>
              <a:ahLst/>
              <a:cxnLst>
                <a:cxn ang="0">
                  <a:pos x="10" y="47"/>
                </a:cxn>
                <a:cxn ang="0">
                  <a:pos x="19" y="47"/>
                </a:cxn>
                <a:cxn ang="0">
                  <a:pos x="19" y="47"/>
                </a:cxn>
                <a:cxn ang="0">
                  <a:pos x="28" y="26"/>
                </a:cxn>
                <a:cxn ang="0">
                  <a:pos x="38" y="24"/>
                </a:cxn>
                <a:cxn ang="0">
                  <a:pos x="38" y="19"/>
                </a:cxn>
                <a:cxn ang="0">
                  <a:pos x="30" y="19"/>
                </a:cxn>
                <a:cxn ang="0">
                  <a:pos x="32" y="0"/>
                </a:cxn>
                <a:cxn ang="0">
                  <a:pos x="8" y="7"/>
                </a:cxn>
                <a:cxn ang="0">
                  <a:pos x="0" y="19"/>
                </a:cxn>
                <a:cxn ang="0">
                  <a:pos x="2" y="34"/>
                </a:cxn>
                <a:cxn ang="0">
                  <a:pos x="8" y="37"/>
                </a:cxn>
                <a:cxn ang="0">
                  <a:pos x="10" y="47"/>
                </a:cxn>
                <a:cxn ang="0">
                  <a:pos x="10" y="47"/>
                </a:cxn>
                <a:cxn ang="0">
                  <a:pos x="10" y="47"/>
                </a:cxn>
              </a:cxnLst>
              <a:rect l="0" t="0" r="r" b="b"/>
              <a:pathLst>
                <a:path w="38" h="47">
                  <a:moveTo>
                    <a:pt x="10" y="47"/>
                  </a:moveTo>
                  <a:lnTo>
                    <a:pt x="19" y="47"/>
                  </a:lnTo>
                  <a:lnTo>
                    <a:pt x="19" y="47"/>
                  </a:lnTo>
                  <a:lnTo>
                    <a:pt x="28" y="26"/>
                  </a:lnTo>
                  <a:lnTo>
                    <a:pt x="38" y="24"/>
                  </a:lnTo>
                  <a:lnTo>
                    <a:pt x="38" y="19"/>
                  </a:lnTo>
                  <a:lnTo>
                    <a:pt x="30" y="19"/>
                  </a:lnTo>
                  <a:lnTo>
                    <a:pt x="32" y="0"/>
                  </a:lnTo>
                  <a:lnTo>
                    <a:pt x="8" y="7"/>
                  </a:lnTo>
                  <a:lnTo>
                    <a:pt x="0" y="19"/>
                  </a:lnTo>
                  <a:lnTo>
                    <a:pt x="2" y="34"/>
                  </a:lnTo>
                  <a:lnTo>
                    <a:pt x="8" y="37"/>
                  </a:lnTo>
                  <a:lnTo>
                    <a:pt x="10" y="47"/>
                  </a:lnTo>
                  <a:lnTo>
                    <a:pt x="10" y="47"/>
                  </a:lnTo>
                  <a:lnTo>
                    <a:pt x="10" y="4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02" name="Freeform 5782"/>
            <p:cNvSpPr>
              <a:spLocks/>
            </p:cNvSpPr>
            <p:nvPr>
              <p:custDataLst>
                <p:tags r:id="rId148"/>
              </p:custDataLst>
            </p:nvPr>
          </p:nvSpPr>
          <p:spPr bwMode="gray">
            <a:xfrm>
              <a:off x="6731824" y="3176330"/>
              <a:ext cx="8982" cy="14130"/>
            </a:xfrm>
            <a:custGeom>
              <a:avLst/>
              <a:gdLst/>
              <a:ahLst/>
              <a:cxnLst>
                <a:cxn ang="0">
                  <a:pos x="0" y="10"/>
                </a:cxn>
                <a:cxn ang="0">
                  <a:pos x="3" y="0"/>
                </a:cxn>
                <a:cxn ang="0">
                  <a:pos x="7" y="11"/>
                </a:cxn>
                <a:cxn ang="0">
                  <a:pos x="7" y="11"/>
                </a:cxn>
                <a:cxn ang="0">
                  <a:pos x="0" y="10"/>
                </a:cxn>
                <a:cxn ang="0">
                  <a:pos x="0" y="10"/>
                </a:cxn>
              </a:cxnLst>
              <a:rect l="0" t="0" r="r" b="b"/>
              <a:pathLst>
                <a:path w="7" h="11">
                  <a:moveTo>
                    <a:pt x="0" y="10"/>
                  </a:moveTo>
                  <a:lnTo>
                    <a:pt x="3" y="0"/>
                  </a:lnTo>
                  <a:lnTo>
                    <a:pt x="7" y="11"/>
                  </a:lnTo>
                  <a:lnTo>
                    <a:pt x="7" y="11"/>
                  </a:lnTo>
                  <a:lnTo>
                    <a:pt x="0" y="10"/>
                  </a:lnTo>
                  <a:lnTo>
                    <a:pt x="0" y="1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03" name="Freeform 5783"/>
            <p:cNvSpPr>
              <a:spLocks/>
            </p:cNvSpPr>
            <p:nvPr>
              <p:custDataLst>
                <p:tags r:id="rId149"/>
              </p:custDataLst>
            </p:nvPr>
          </p:nvSpPr>
          <p:spPr bwMode="gray">
            <a:xfrm>
              <a:off x="6798545" y="3203306"/>
              <a:ext cx="142423" cy="57805"/>
            </a:xfrm>
            <a:custGeom>
              <a:avLst/>
              <a:gdLst/>
              <a:ahLst/>
              <a:cxnLst>
                <a:cxn ang="0">
                  <a:pos x="0" y="26"/>
                </a:cxn>
                <a:cxn ang="0">
                  <a:pos x="4" y="28"/>
                </a:cxn>
                <a:cxn ang="0">
                  <a:pos x="6" y="32"/>
                </a:cxn>
                <a:cxn ang="0">
                  <a:pos x="4" y="35"/>
                </a:cxn>
                <a:cxn ang="0">
                  <a:pos x="4" y="35"/>
                </a:cxn>
                <a:cxn ang="0">
                  <a:pos x="13" y="39"/>
                </a:cxn>
                <a:cxn ang="0">
                  <a:pos x="15" y="39"/>
                </a:cxn>
                <a:cxn ang="0">
                  <a:pos x="37" y="34"/>
                </a:cxn>
                <a:cxn ang="0">
                  <a:pos x="39" y="39"/>
                </a:cxn>
                <a:cxn ang="0">
                  <a:pos x="60" y="45"/>
                </a:cxn>
                <a:cxn ang="0">
                  <a:pos x="96" y="37"/>
                </a:cxn>
                <a:cxn ang="0">
                  <a:pos x="111" y="17"/>
                </a:cxn>
                <a:cxn ang="0">
                  <a:pos x="105" y="4"/>
                </a:cxn>
                <a:cxn ang="0">
                  <a:pos x="81" y="0"/>
                </a:cxn>
                <a:cxn ang="0">
                  <a:pos x="75" y="5"/>
                </a:cxn>
                <a:cxn ang="0">
                  <a:pos x="62" y="4"/>
                </a:cxn>
                <a:cxn ang="0">
                  <a:pos x="47" y="17"/>
                </a:cxn>
                <a:cxn ang="0">
                  <a:pos x="49" y="22"/>
                </a:cxn>
                <a:cxn ang="0">
                  <a:pos x="0" y="26"/>
                </a:cxn>
                <a:cxn ang="0">
                  <a:pos x="0" y="26"/>
                </a:cxn>
              </a:cxnLst>
              <a:rect l="0" t="0" r="r" b="b"/>
              <a:pathLst>
                <a:path w="111" h="45">
                  <a:moveTo>
                    <a:pt x="0" y="26"/>
                  </a:moveTo>
                  <a:lnTo>
                    <a:pt x="4" y="28"/>
                  </a:lnTo>
                  <a:lnTo>
                    <a:pt x="6" y="32"/>
                  </a:lnTo>
                  <a:lnTo>
                    <a:pt x="4" y="35"/>
                  </a:lnTo>
                  <a:lnTo>
                    <a:pt x="4" y="35"/>
                  </a:lnTo>
                  <a:lnTo>
                    <a:pt x="13" y="39"/>
                  </a:lnTo>
                  <a:lnTo>
                    <a:pt x="15" y="39"/>
                  </a:lnTo>
                  <a:lnTo>
                    <a:pt x="37" y="34"/>
                  </a:lnTo>
                  <a:lnTo>
                    <a:pt x="39" y="39"/>
                  </a:lnTo>
                  <a:lnTo>
                    <a:pt x="60" y="45"/>
                  </a:lnTo>
                  <a:lnTo>
                    <a:pt x="96" y="37"/>
                  </a:lnTo>
                  <a:lnTo>
                    <a:pt x="111" y="17"/>
                  </a:lnTo>
                  <a:lnTo>
                    <a:pt x="105" y="4"/>
                  </a:lnTo>
                  <a:lnTo>
                    <a:pt x="81" y="0"/>
                  </a:lnTo>
                  <a:lnTo>
                    <a:pt x="75" y="5"/>
                  </a:lnTo>
                  <a:lnTo>
                    <a:pt x="62" y="4"/>
                  </a:lnTo>
                  <a:lnTo>
                    <a:pt x="47" y="17"/>
                  </a:lnTo>
                  <a:lnTo>
                    <a:pt x="49" y="22"/>
                  </a:lnTo>
                  <a:lnTo>
                    <a:pt x="0" y="26"/>
                  </a:lnTo>
                  <a:lnTo>
                    <a:pt x="0" y="2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04" name="Freeform 5784"/>
            <p:cNvSpPr>
              <a:spLocks/>
            </p:cNvSpPr>
            <p:nvPr>
              <p:custDataLst>
                <p:tags r:id="rId150"/>
              </p:custDataLst>
            </p:nvPr>
          </p:nvSpPr>
          <p:spPr bwMode="gray">
            <a:xfrm>
              <a:off x="6733107" y="3234136"/>
              <a:ext cx="82118" cy="41106"/>
            </a:xfrm>
            <a:custGeom>
              <a:avLst/>
              <a:gdLst/>
              <a:ahLst/>
              <a:cxnLst>
                <a:cxn ang="0">
                  <a:pos x="15" y="32"/>
                </a:cxn>
                <a:cxn ang="0">
                  <a:pos x="12" y="23"/>
                </a:cxn>
                <a:cxn ang="0">
                  <a:pos x="2" y="26"/>
                </a:cxn>
                <a:cxn ang="0">
                  <a:pos x="0" y="21"/>
                </a:cxn>
                <a:cxn ang="0">
                  <a:pos x="15" y="2"/>
                </a:cxn>
                <a:cxn ang="0">
                  <a:pos x="23" y="0"/>
                </a:cxn>
                <a:cxn ang="0">
                  <a:pos x="51" y="2"/>
                </a:cxn>
                <a:cxn ang="0">
                  <a:pos x="55" y="11"/>
                </a:cxn>
                <a:cxn ang="0">
                  <a:pos x="64" y="15"/>
                </a:cxn>
                <a:cxn ang="0">
                  <a:pos x="60" y="25"/>
                </a:cxn>
                <a:cxn ang="0">
                  <a:pos x="49" y="23"/>
                </a:cxn>
                <a:cxn ang="0">
                  <a:pos x="44" y="30"/>
                </a:cxn>
                <a:cxn ang="0">
                  <a:pos x="36" y="23"/>
                </a:cxn>
                <a:cxn ang="0">
                  <a:pos x="15" y="32"/>
                </a:cxn>
                <a:cxn ang="0">
                  <a:pos x="15" y="32"/>
                </a:cxn>
                <a:cxn ang="0">
                  <a:pos x="15" y="32"/>
                </a:cxn>
              </a:cxnLst>
              <a:rect l="0" t="0" r="r" b="b"/>
              <a:pathLst>
                <a:path w="64" h="32">
                  <a:moveTo>
                    <a:pt x="15" y="32"/>
                  </a:moveTo>
                  <a:lnTo>
                    <a:pt x="12" y="23"/>
                  </a:lnTo>
                  <a:lnTo>
                    <a:pt x="2" y="26"/>
                  </a:lnTo>
                  <a:lnTo>
                    <a:pt x="0" y="21"/>
                  </a:lnTo>
                  <a:lnTo>
                    <a:pt x="15" y="2"/>
                  </a:lnTo>
                  <a:lnTo>
                    <a:pt x="23" y="0"/>
                  </a:lnTo>
                  <a:lnTo>
                    <a:pt x="51" y="2"/>
                  </a:lnTo>
                  <a:lnTo>
                    <a:pt x="55" y="11"/>
                  </a:lnTo>
                  <a:lnTo>
                    <a:pt x="64" y="15"/>
                  </a:lnTo>
                  <a:lnTo>
                    <a:pt x="60" y="25"/>
                  </a:lnTo>
                  <a:lnTo>
                    <a:pt x="49" y="23"/>
                  </a:lnTo>
                  <a:lnTo>
                    <a:pt x="44" y="30"/>
                  </a:lnTo>
                  <a:lnTo>
                    <a:pt x="36" y="23"/>
                  </a:lnTo>
                  <a:lnTo>
                    <a:pt x="15" y="32"/>
                  </a:lnTo>
                  <a:lnTo>
                    <a:pt x="15" y="32"/>
                  </a:lnTo>
                  <a:lnTo>
                    <a:pt x="15" y="3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05" name="Freeform 5785"/>
            <p:cNvSpPr>
              <a:spLocks/>
            </p:cNvSpPr>
            <p:nvPr>
              <p:custDataLst>
                <p:tags r:id="rId151"/>
              </p:custDataLst>
            </p:nvPr>
          </p:nvSpPr>
          <p:spPr bwMode="gray">
            <a:xfrm>
              <a:off x="6985876" y="3349746"/>
              <a:ext cx="33360" cy="71935"/>
            </a:xfrm>
            <a:custGeom>
              <a:avLst/>
              <a:gdLst/>
              <a:ahLst/>
              <a:cxnLst>
                <a:cxn ang="0">
                  <a:pos x="19" y="19"/>
                </a:cxn>
                <a:cxn ang="0">
                  <a:pos x="26" y="34"/>
                </a:cxn>
                <a:cxn ang="0">
                  <a:pos x="26" y="39"/>
                </a:cxn>
                <a:cxn ang="0">
                  <a:pos x="13" y="54"/>
                </a:cxn>
                <a:cxn ang="0">
                  <a:pos x="13" y="56"/>
                </a:cxn>
                <a:cxn ang="0">
                  <a:pos x="0" y="43"/>
                </a:cxn>
                <a:cxn ang="0">
                  <a:pos x="0" y="15"/>
                </a:cxn>
                <a:cxn ang="0">
                  <a:pos x="0" y="15"/>
                </a:cxn>
                <a:cxn ang="0">
                  <a:pos x="4" y="0"/>
                </a:cxn>
                <a:cxn ang="0">
                  <a:pos x="11" y="4"/>
                </a:cxn>
                <a:cxn ang="0">
                  <a:pos x="19" y="19"/>
                </a:cxn>
                <a:cxn ang="0">
                  <a:pos x="19" y="19"/>
                </a:cxn>
              </a:cxnLst>
              <a:rect l="0" t="0" r="r" b="b"/>
              <a:pathLst>
                <a:path w="26" h="56">
                  <a:moveTo>
                    <a:pt x="19" y="19"/>
                  </a:moveTo>
                  <a:lnTo>
                    <a:pt x="26" y="34"/>
                  </a:lnTo>
                  <a:lnTo>
                    <a:pt x="26" y="39"/>
                  </a:lnTo>
                  <a:lnTo>
                    <a:pt x="13" y="54"/>
                  </a:lnTo>
                  <a:lnTo>
                    <a:pt x="13" y="56"/>
                  </a:lnTo>
                  <a:lnTo>
                    <a:pt x="0" y="43"/>
                  </a:lnTo>
                  <a:lnTo>
                    <a:pt x="0" y="15"/>
                  </a:lnTo>
                  <a:lnTo>
                    <a:pt x="0" y="15"/>
                  </a:lnTo>
                  <a:lnTo>
                    <a:pt x="4" y="0"/>
                  </a:lnTo>
                  <a:lnTo>
                    <a:pt x="11" y="4"/>
                  </a:lnTo>
                  <a:lnTo>
                    <a:pt x="19" y="19"/>
                  </a:lnTo>
                  <a:lnTo>
                    <a:pt x="19" y="1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06" name="Freeform 5786"/>
            <p:cNvSpPr>
              <a:spLocks/>
            </p:cNvSpPr>
            <p:nvPr>
              <p:custDataLst>
                <p:tags r:id="rId152"/>
              </p:custDataLst>
            </p:nvPr>
          </p:nvSpPr>
          <p:spPr bwMode="gray">
            <a:xfrm>
              <a:off x="6921722" y="3212298"/>
              <a:ext cx="121894" cy="65513"/>
            </a:xfrm>
            <a:custGeom>
              <a:avLst/>
              <a:gdLst/>
              <a:ahLst/>
              <a:cxnLst>
                <a:cxn ang="0">
                  <a:pos x="3" y="32"/>
                </a:cxn>
                <a:cxn ang="0">
                  <a:pos x="26" y="51"/>
                </a:cxn>
                <a:cxn ang="0">
                  <a:pos x="59" y="43"/>
                </a:cxn>
                <a:cxn ang="0">
                  <a:pos x="73" y="40"/>
                </a:cxn>
                <a:cxn ang="0">
                  <a:pos x="86" y="15"/>
                </a:cxn>
                <a:cxn ang="0">
                  <a:pos x="95" y="12"/>
                </a:cxn>
                <a:cxn ang="0">
                  <a:pos x="86" y="4"/>
                </a:cxn>
                <a:cxn ang="0">
                  <a:pos x="84" y="2"/>
                </a:cxn>
                <a:cxn ang="0">
                  <a:pos x="65" y="0"/>
                </a:cxn>
                <a:cxn ang="0">
                  <a:pos x="30" y="15"/>
                </a:cxn>
                <a:cxn ang="0">
                  <a:pos x="15" y="10"/>
                </a:cxn>
                <a:cxn ang="0">
                  <a:pos x="0" y="30"/>
                </a:cxn>
                <a:cxn ang="0">
                  <a:pos x="3" y="32"/>
                </a:cxn>
                <a:cxn ang="0">
                  <a:pos x="3" y="32"/>
                </a:cxn>
              </a:cxnLst>
              <a:rect l="0" t="0" r="r" b="b"/>
              <a:pathLst>
                <a:path w="95" h="51">
                  <a:moveTo>
                    <a:pt x="3" y="32"/>
                  </a:moveTo>
                  <a:lnTo>
                    <a:pt x="26" y="51"/>
                  </a:lnTo>
                  <a:lnTo>
                    <a:pt x="59" y="43"/>
                  </a:lnTo>
                  <a:lnTo>
                    <a:pt x="73" y="40"/>
                  </a:lnTo>
                  <a:lnTo>
                    <a:pt x="86" y="15"/>
                  </a:lnTo>
                  <a:lnTo>
                    <a:pt x="95" y="12"/>
                  </a:lnTo>
                  <a:lnTo>
                    <a:pt x="86" y="4"/>
                  </a:lnTo>
                  <a:lnTo>
                    <a:pt x="84" y="2"/>
                  </a:lnTo>
                  <a:lnTo>
                    <a:pt x="65" y="0"/>
                  </a:lnTo>
                  <a:lnTo>
                    <a:pt x="30" y="15"/>
                  </a:lnTo>
                  <a:lnTo>
                    <a:pt x="15" y="10"/>
                  </a:lnTo>
                  <a:lnTo>
                    <a:pt x="0" y="30"/>
                  </a:lnTo>
                  <a:lnTo>
                    <a:pt x="3" y="32"/>
                  </a:lnTo>
                  <a:lnTo>
                    <a:pt x="3" y="3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07" name="Freeform 5787"/>
            <p:cNvSpPr>
              <a:spLocks/>
            </p:cNvSpPr>
            <p:nvPr>
              <p:custDataLst>
                <p:tags r:id="rId153"/>
              </p:custDataLst>
            </p:nvPr>
          </p:nvSpPr>
          <p:spPr bwMode="gray">
            <a:xfrm>
              <a:off x="7544021" y="3650333"/>
              <a:ext cx="35927" cy="34683"/>
            </a:xfrm>
            <a:custGeom>
              <a:avLst/>
              <a:gdLst/>
              <a:ahLst/>
              <a:cxnLst>
                <a:cxn ang="0">
                  <a:pos x="0" y="15"/>
                </a:cxn>
                <a:cxn ang="0">
                  <a:pos x="11" y="0"/>
                </a:cxn>
                <a:cxn ang="0">
                  <a:pos x="28" y="0"/>
                </a:cxn>
                <a:cxn ang="0">
                  <a:pos x="28" y="0"/>
                </a:cxn>
                <a:cxn ang="0">
                  <a:pos x="26" y="8"/>
                </a:cxn>
                <a:cxn ang="0">
                  <a:pos x="17" y="10"/>
                </a:cxn>
                <a:cxn ang="0">
                  <a:pos x="28" y="27"/>
                </a:cxn>
                <a:cxn ang="0">
                  <a:pos x="28" y="25"/>
                </a:cxn>
                <a:cxn ang="0">
                  <a:pos x="0" y="15"/>
                </a:cxn>
                <a:cxn ang="0">
                  <a:pos x="0" y="15"/>
                </a:cxn>
                <a:cxn ang="0">
                  <a:pos x="0" y="15"/>
                </a:cxn>
              </a:cxnLst>
              <a:rect l="0" t="0" r="r" b="b"/>
              <a:pathLst>
                <a:path w="28" h="27">
                  <a:moveTo>
                    <a:pt x="0" y="15"/>
                  </a:moveTo>
                  <a:lnTo>
                    <a:pt x="11" y="0"/>
                  </a:lnTo>
                  <a:lnTo>
                    <a:pt x="28" y="0"/>
                  </a:lnTo>
                  <a:lnTo>
                    <a:pt x="28" y="0"/>
                  </a:lnTo>
                  <a:lnTo>
                    <a:pt x="26" y="8"/>
                  </a:lnTo>
                  <a:lnTo>
                    <a:pt x="17" y="10"/>
                  </a:lnTo>
                  <a:lnTo>
                    <a:pt x="28" y="27"/>
                  </a:lnTo>
                  <a:lnTo>
                    <a:pt x="28" y="25"/>
                  </a:lnTo>
                  <a:lnTo>
                    <a:pt x="0" y="15"/>
                  </a:lnTo>
                  <a:lnTo>
                    <a:pt x="0" y="15"/>
                  </a:lnTo>
                  <a:lnTo>
                    <a:pt x="0"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08" name="Freeform 5788"/>
            <p:cNvSpPr>
              <a:spLocks/>
            </p:cNvSpPr>
            <p:nvPr>
              <p:custDataLst>
                <p:tags r:id="rId154"/>
              </p:custDataLst>
            </p:nvPr>
          </p:nvSpPr>
          <p:spPr bwMode="gray">
            <a:xfrm>
              <a:off x="7508095" y="3663178"/>
              <a:ext cx="35927" cy="14130"/>
            </a:xfrm>
            <a:custGeom>
              <a:avLst/>
              <a:gdLst/>
              <a:ahLst/>
              <a:cxnLst>
                <a:cxn ang="0">
                  <a:pos x="0" y="3"/>
                </a:cxn>
                <a:cxn ang="0">
                  <a:pos x="9" y="0"/>
                </a:cxn>
                <a:cxn ang="0">
                  <a:pos x="28" y="5"/>
                </a:cxn>
                <a:cxn ang="0">
                  <a:pos x="28" y="5"/>
                </a:cxn>
                <a:cxn ang="0">
                  <a:pos x="11" y="11"/>
                </a:cxn>
                <a:cxn ang="0">
                  <a:pos x="0" y="3"/>
                </a:cxn>
                <a:cxn ang="0">
                  <a:pos x="0" y="3"/>
                </a:cxn>
              </a:cxnLst>
              <a:rect l="0" t="0" r="r" b="b"/>
              <a:pathLst>
                <a:path w="28" h="11">
                  <a:moveTo>
                    <a:pt x="0" y="3"/>
                  </a:moveTo>
                  <a:lnTo>
                    <a:pt x="9" y="0"/>
                  </a:lnTo>
                  <a:lnTo>
                    <a:pt x="28" y="5"/>
                  </a:lnTo>
                  <a:lnTo>
                    <a:pt x="28" y="5"/>
                  </a:lnTo>
                  <a:lnTo>
                    <a:pt x="11" y="11"/>
                  </a:lnTo>
                  <a:lnTo>
                    <a:pt x="0" y="3"/>
                  </a:lnTo>
                  <a:lnTo>
                    <a:pt x="0" y="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09" name="Freeform 5789"/>
            <p:cNvSpPr>
              <a:spLocks/>
            </p:cNvSpPr>
            <p:nvPr>
              <p:custDataLst>
                <p:tags r:id="rId155"/>
              </p:custDataLst>
            </p:nvPr>
          </p:nvSpPr>
          <p:spPr bwMode="gray">
            <a:xfrm>
              <a:off x="6344330" y="3511600"/>
              <a:ext cx="239938" cy="191399"/>
            </a:xfrm>
            <a:custGeom>
              <a:avLst/>
              <a:gdLst/>
              <a:ahLst/>
              <a:cxnLst>
                <a:cxn ang="0">
                  <a:pos x="182" y="18"/>
                </a:cxn>
                <a:cxn ang="0">
                  <a:pos x="187" y="63"/>
                </a:cxn>
                <a:cxn ang="0">
                  <a:pos x="148" y="75"/>
                </a:cxn>
                <a:cxn ang="0">
                  <a:pos x="148" y="86"/>
                </a:cxn>
                <a:cxn ang="0">
                  <a:pos x="120" y="106"/>
                </a:cxn>
                <a:cxn ang="0">
                  <a:pos x="79" y="121"/>
                </a:cxn>
                <a:cxn ang="0">
                  <a:pos x="71" y="127"/>
                </a:cxn>
                <a:cxn ang="0">
                  <a:pos x="69" y="149"/>
                </a:cxn>
                <a:cxn ang="0">
                  <a:pos x="0" y="149"/>
                </a:cxn>
                <a:cxn ang="0">
                  <a:pos x="22" y="140"/>
                </a:cxn>
                <a:cxn ang="0">
                  <a:pos x="51" y="112"/>
                </a:cxn>
                <a:cxn ang="0">
                  <a:pos x="54" y="101"/>
                </a:cxn>
                <a:cxn ang="0">
                  <a:pos x="52" y="80"/>
                </a:cxn>
                <a:cxn ang="0">
                  <a:pos x="62" y="61"/>
                </a:cxn>
                <a:cxn ang="0">
                  <a:pos x="75" y="48"/>
                </a:cxn>
                <a:cxn ang="0">
                  <a:pos x="101" y="33"/>
                </a:cxn>
                <a:cxn ang="0">
                  <a:pos x="118" y="1"/>
                </a:cxn>
                <a:cxn ang="0">
                  <a:pos x="125" y="0"/>
                </a:cxn>
                <a:cxn ang="0">
                  <a:pos x="139" y="11"/>
                </a:cxn>
                <a:cxn ang="0">
                  <a:pos x="161" y="9"/>
                </a:cxn>
                <a:cxn ang="0">
                  <a:pos x="176" y="11"/>
                </a:cxn>
                <a:cxn ang="0">
                  <a:pos x="182" y="18"/>
                </a:cxn>
                <a:cxn ang="0">
                  <a:pos x="182" y="18"/>
                </a:cxn>
              </a:cxnLst>
              <a:rect l="0" t="0" r="r" b="b"/>
              <a:pathLst>
                <a:path w="187" h="149">
                  <a:moveTo>
                    <a:pt x="182" y="18"/>
                  </a:moveTo>
                  <a:lnTo>
                    <a:pt x="187" y="63"/>
                  </a:lnTo>
                  <a:lnTo>
                    <a:pt x="148" y="75"/>
                  </a:lnTo>
                  <a:lnTo>
                    <a:pt x="148" y="86"/>
                  </a:lnTo>
                  <a:lnTo>
                    <a:pt x="120" y="106"/>
                  </a:lnTo>
                  <a:lnTo>
                    <a:pt x="79" y="121"/>
                  </a:lnTo>
                  <a:lnTo>
                    <a:pt x="71" y="127"/>
                  </a:lnTo>
                  <a:lnTo>
                    <a:pt x="69" y="149"/>
                  </a:lnTo>
                  <a:lnTo>
                    <a:pt x="0" y="149"/>
                  </a:lnTo>
                  <a:lnTo>
                    <a:pt x="22" y="140"/>
                  </a:lnTo>
                  <a:lnTo>
                    <a:pt x="51" y="112"/>
                  </a:lnTo>
                  <a:lnTo>
                    <a:pt x="54" y="101"/>
                  </a:lnTo>
                  <a:lnTo>
                    <a:pt x="52" y="80"/>
                  </a:lnTo>
                  <a:lnTo>
                    <a:pt x="62" y="61"/>
                  </a:lnTo>
                  <a:lnTo>
                    <a:pt x="75" y="48"/>
                  </a:lnTo>
                  <a:lnTo>
                    <a:pt x="101" y="33"/>
                  </a:lnTo>
                  <a:lnTo>
                    <a:pt x="118" y="1"/>
                  </a:lnTo>
                  <a:lnTo>
                    <a:pt x="125" y="0"/>
                  </a:lnTo>
                  <a:lnTo>
                    <a:pt x="139" y="11"/>
                  </a:lnTo>
                  <a:lnTo>
                    <a:pt x="161" y="9"/>
                  </a:lnTo>
                  <a:lnTo>
                    <a:pt x="176" y="11"/>
                  </a:lnTo>
                  <a:lnTo>
                    <a:pt x="182" y="18"/>
                  </a:lnTo>
                  <a:lnTo>
                    <a:pt x="182" y="1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10" name="Freeform 5790"/>
            <p:cNvSpPr>
              <a:spLocks/>
            </p:cNvSpPr>
            <p:nvPr>
              <p:custDataLst>
                <p:tags r:id="rId156"/>
              </p:custDataLst>
            </p:nvPr>
          </p:nvSpPr>
          <p:spPr bwMode="gray">
            <a:xfrm>
              <a:off x="7453727" y="4037083"/>
              <a:ext cx="30794" cy="44960"/>
            </a:xfrm>
            <a:custGeom>
              <a:avLst/>
              <a:gdLst/>
              <a:ahLst/>
              <a:cxnLst>
                <a:cxn ang="0">
                  <a:pos x="22" y="24"/>
                </a:cxn>
                <a:cxn ang="0">
                  <a:pos x="15" y="20"/>
                </a:cxn>
                <a:cxn ang="0">
                  <a:pos x="24" y="15"/>
                </a:cxn>
                <a:cxn ang="0">
                  <a:pos x="22" y="7"/>
                </a:cxn>
                <a:cxn ang="0">
                  <a:pos x="15" y="0"/>
                </a:cxn>
                <a:cxn ang="0">
                  <a:pos x="15" y="2"/>
                </a:cxn>
                <a:cxn ang="0">
                  <a:pos x="5" y="9"/>
                </a:cxn>
                <a:cxn ang="0">
                  <a:pos x="0" y="28"/>
                </a:cxn>
                <a:cxn ang="0">
                  <a:pos x="0" y="34"/>
                </a:cxn>
                <a:cxn ang="0">
                  <a:pos x="16" y="34"/>
                </a:cxn>
                <a:cxn ang="0">
                  <a:pos x="16" y="35"/>
                </a:cxn>
                <a:cxn ang="0">
                  <a:pos x="22" y="24"/>
                </a:cxn>
                <a:cxn ang="0">
                  <a:pos x="22" y="24"/>
                </a:cxn>
                <a:cxn ang="0">
                  <a:pos x="22" y="24"/>
                </a:cxn>
              </a:cxnLst>
              <a:rect l="0" t="0" r="r" b="b"/>
              <a:pathLst>
                <a:path w="24" h="35">
                  <a:moveTo>
                    <a:pt x="22" y="24"/>
                  </a:moveTo>
                  <a:lnTo>
                    <a:pt x="15" y="20"/>
                  </a:lnTo>
                  <a:lnTo>
                    <a:pt x="24" y="15"/>
                  </a:lnTo>
                  <a:lnTo>
                    <a:pt x="22" y="7"/>
                  </a:lnTo>
                  <a:lnTo>
                    <a:pt x="15" y="0"/>
                  </a:lnTo>
                  <a:lnTo>
                    <a:pt x="15" y="2"/>
                  </a:lnTo>
                  <a:lnTo>
                    <a:pt x="5" y="9"/>
                  </a:lnTo>
                  <a:lnTo>
                    <a:pt x="0" y="28"/>
                  </a:lnTo>
                  <a:lnTo>
                    <a:pt x="0" y="34"/>
                  </a:lnTo>
                  <a:lnTo>
                    <a:pt x="16" y="34"/>
                  </a:lnTo>
                  <a:lnTo>
                    <a:pt x="16" y="35"/>
                  </a:lnTo>
                  <a:lnTo>
                    <a:pt x="22" y="24"/>
                  </a:lnTo>
                  <a:lnTo>
                    <a:pt x="22" y="24"/>
                  </a:lnTo>
                  <a:lnTo>
                    <a:pt x="22" y="2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11" name="Freeform 5791"/>
            <p:cNvSpPr>
              <a:spLocks/>
            </p:cNvSpPr>
            <p:nvPr>
              <p:custDataLst>
                <p:tags r:id="rId157"/>
              </p:custDataLst>
            </p:nvPr>
          </p:nvSpPr>
          <p:spPr bwMode="gray">
            <a:xfrm>
              <a:off x="6254036" y="4015246"/>
              <a:ext cx="62872" cy="21838"/>
            </a:xfrm>
            <a:custGeom>
              <a:avLst/>
              <a:gdLst/>
              <a:ahLst/>
              <a:cxnLst>
                <a:cxn ang="0">
                  <a:pos x="2" y="17"/>
                </a:cxn>
                <a:cxn ang="0">
                  <a:pos x="26" y="10"/>
                </a:cxn>
                <a:cxn ang="0">
                  <a:pos x="47" y="12"/>
                </a:cxn>
                <a:cxn ang="0">
                  <a:pos x="49" y="8"/>
                </a:cxn>
                <a:cxn ang="0">
                  <a:pos x="26" y="0"/>
                </a:cxn>
                <a:cxn ang="0">
                  <a:pos x="2" y="6"/>
                </a:cxn>
                <a:cxn ang="0">
                  <a:pos x="2" y="6"/>
                </a:cxn>
                <a:cxn ang="0">
                  <a:pos x="0" y="15"/>
                </a:cxn>
                <a:cxn ang="0">
                  <a:pos x="2" y="17"/>
                </a:cxn>
                <a:cxn ang="0">
                  <a:pos x="2" y="17"/>
                </a:cxn>
              </a:cxnLst>
              <a:rect l="0" t="0" r="r" b="b"/>
              <a:pathLst>
                <a:path w="49" h="17">
                  <a:moveTo>
                    <a:pt x="2" y="17"/>
                  </a:moveTo>
                  <a:lnTo>
                    <a:pt x="26" y="10"/>
                  </a:lnTo>
                  <a:lnTo>
                    <a:pt x="47" y="12"/>
                  </a:lnTo>
                  <a:lnTo>
                    <a:pt x="49" y="8"/>
                  </a:lnTo>
                  <a:lnTo>
                    <a:pt x="26" y="0"/>
                  </a:lnTo>
                  <a:lnTo>
                    <a:pt x="2" y="6"/>
                  </a:lnTo>
                  <a:lnTo>
                    <a:pt x="2" y="6"/>
                  </a:lnTo>
                  <a:lnTo>
                    <a:pt x="0" y="15"/>
                  </a:lnTo>
                  <a:lnTo>
                    <a:pt x="2" y="17"/>
                  </a:lnTo>
                  <a:lnTo>
                    <a:pt x="2"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12" name="Freeform 5792"/>
            <p:cNvSpPr>
              <a:spLocks/>
            </p:cNvSpPr>
            <p:nvPr>
              <p:custDataLst>
                <p:tags r:id="rId158"/>
              </p:custDataLst>
            </p:nvPr>
          </p:nvSpPr>
          <p:spPr bwMode="gray">
            <a:xfrm>
              <a:off x="7190693" y="4395475"/>
              <a:ext cx="32077" cy="47529"/>
            </a:xfrm>
            <a:custGeom>
              <a:avLst/>
              <a:gdLst/>
              <a:ahLst/>
              <a:cxnLst>
                <a:cxn ang="0">
                  <a:pos x="0" y="6"/>
                </a:cxn>
                <a:cxn ang="0">
                  <a:pos x="25" y="0"/>
                </a:cxn>
                <a:cxn ang="0">
                  <a:pos x="25" y="19"/>
                </a:cxn>
                <a:cxn ang="0">
                  <a:pos x="10" y="37"/>
                </a:cxn>
                <a:cxn ang="0">
                  <a:pos x="6" y="37"/>
                </a:cxn>
                <a:cxn ang="0">
                  <a:pos x="2" y="19"/>
                </a:cxn>
                <a:cxn ang="0">
                  <a:pos x="0" y="6"/>
                </a:cxn>
                <a:cxn ang="0">
                  <a:pos x="0" y="6"/>
                </a:cxn>
              </a:cxnLst>
              <a:rect l="0" t="0" r="r" b="b"/>
              <a:pathLst>
                <a:path w="25" h="37">
                  <a:moveTo>
                    <a:pt x="0" y="6"/>
                  </a:moveTo>
                  <a:lnTo>
                    <a:pt x="25" y="0"/>
                  </a:lnTo>
                  <a:lnTo>
                    <a:pt x="25" y="19"/>
                  </a:lnTo>
                  <a:lnTo>
                    <a:pt x="10" y="37"/>
                  </a:lnTo>
                  <a:lnTo>
                    <a:pt x="6" y="37"/>
                  </a:lnTo>
                  <a:lnTo>
                    <a:pt x="2" y="19"/>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13" name="Freeform 5793"/>
            <p:cNvSpPr>
              <a:spLocks/>
            </p:cNvSpPr>
            <p:nvPr>
              <p:custDataLst>
                <p:tags r:id="rId159"/>
              </p:custDataLst>
            </p:nvPr>
          </p:nvSpPr>
          <p:spPr bwMode="gray">
            <a:xfrm>
              <a:off x="7189410" y="4364646"/>
              <a:ext cx="38493" cy="38537"/>
            </a:xfrm>
            <a:custGeom>
              <a:avLst/>
              <a:gdLst/>
              <a:ahLst/>
              <a:cxnLst>
                <a:cxn ang="0">
                  <a:pos x="26" y="24"/>
                </a:cxn>
                <a:cxn ang="0">
                  <a:pos x="1" y="30"/>
                </a:cxn>
                <a:cxn ang="0">
                  <a:pos x="0" y="24"/>
                </a:cxn>
                <a:cxn ang="0">
                  <a:pos x="11" y="3"/>
                </a:cxn>
                <a:cxn ang="0">
                  <a:pos x="22" y="0"/>
                </a:cxn>
                <a:cxn ang="0">
                  <a:pos x="22" y="0"/>
                </a:cxn>
                <a:cxn ang="0">
                  <a:pos x="30" y="13"/>
                </a:cxn>
                <a:cxn ang="0">
                  <a:pos x="26" y="24"/>
                </a:cxn>
                <a:cxn ang="0">
                  <a:pos x="26" y="24"/>
                </a:cxn>
              </a:cxnLst>
              <a:rect l="0" t="0" r="r" b="b"/>
              <a:pathLst>
                <a:path w="30" h="30">
                  <a:moveTo>
                    <a:pt x="26" y="24"/>
                  </a:moveTo>
                  <a:lnTo>
                    <a:pt x="1" y="30"/>
                  </a:lnTo>
                  <a:lnTo>
                    <a:pt x="0" y="24"/>
                  </a:lnTo>
                  <a:lnTo>
                    <a:pt x="11" y="3"/>
                  </a:lnTo>
                  <a:lnTo>
                    <a:pt x="22" y="0"/>
                  </a:lnTo>
                  <a:lnTo>
                    <a:pt x="22" y="0"/>
                  </a:lnTo>
                  <a:lnTo>
                    <a:pt x="30" y="13"/>
                  </a:lnTo>
                  <a:lnTo>
                    <a:pt x="26" y="24"/>
                  </a:lnTo>
                  <a:lnTo>
                    <a:pt x="26" y="2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14" name="Freeform 5794"/>
            <p:cNvSpPr>
              <a:spLocks/>
            </p:cNvSpPr>
            <p:nvPr>
              <p:custDataLst>
                <p:tags r:id="rId160"/>
              </p:custDataLst>
            </p:nvPr>
          </p:nvSpPr>
          <p:spPr bwMode="gray">
            <a:xfrm>
              <a:off x="7212506" y="4951689"/>
              <a:ext cx="24379" cy="30829"/>
            </a:xfrm>
            <a:custGeom>
              <a:avLst/>
              <a:gdLst/>
              <a:ahLst/>
              <a:cxnLst>
                <a:cxn ang="0">
                  <a:pos x="19" y="17"/>
                </a:cxn>
                <a:cxn ang="0">
                  <a:pos x="19" y="0"/>
                </a:cxn>
                <a:cxn ang="0">
                  <a:pos x="6" y="0"/>
                </a:cxn>
                <a:cxn ang="0">
                  <a:pos x="0" y="17"/>
                </a:cxn>
                <a:cxn ang="0">
                  <a:pos x="10" y="24"/>
                </a:cxn>
                <a:cxn ang="0">
                  <a:pos x="19" y="17"/>
                </a:cxn>
                <a:cxn ang="0">
                  <a:pos x="19" y="17"/>
                </a:cxn>
              </a:cxnLst>
              <a:rect l="0" t="0" r="r" b="b"/>
              <a:pathLst>
                <a:path w="19" h="24">
                  <a:moveTo>
                    <a:pt x="19" y="17"/>
                  </a:moveTo>
                  <a:lnTo>
                    <a:pt x="19" y="0"/>
                  </a:lnTo>
                  <a:lnTo>
                    <a:pt x="6" y="0"/>
                  </a:lnTo>
                  <a:lnTo>
                    <a:pt x="0" y="17"/>
                  </a:lnTo>
                  <a:lnTo>
                    <a:pt x="10" y="24"/>
                  </a:lnTo>
                  <a:lnTo>
                    <a:pt x="19" y="17"/>
                  </a:lnTo>
                  <a:lnTo>
                    <a:pt x="19"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15" name="Freeform 5795"/>
            <p:cNvSpPr>
              <a:spLocks/>
            </p:cNvSpPr>
            <p:nvPr>
              <p:custDataLst>
                <p:tags r:id="rId161"/>
              </p:custDataLst>
            </p:nvPr>
          </p:nvSpPr>
          <p:spPr bwMode="gray">
            <a:xfrm>
              <a:off x="6991814" y="4761575"/>
              <a:ext cx="192464" cy="211952"/>
            </a:xfrm>
            <a:custGeom>
              <a:avLst/>
              <a:gdLst/>
              <a:ahLst/>
              <a:cxnLst>
                <a:cxn ang="0">
                  <a:pos x="86" y="0"/>
                </a:cxn>
                <a:cxn ang="0">
                  <a:pos x="99" y="30"/>
                </a:cxn>
                <a:cxn ang="0">
                  <a:pos x="125" y="52"/>
                </a:cxn>
                <a:cxn ang="0">
                  <a:pos x="131" y="71"/>
                </a:cxn>
                <a:cxn ang="0">
                  <a:pos x="150" y="78"/>
                </a:cxn>
                <a:cxn ang="0">
                  <a:pos x="122" y="99"/>
                </a:cxn>
                <a:cxn ang="0">
                  <a:pos x="86" y="142"/>
                </a:cxn>
                <a:cxn ang="0">
                  <a:pos x="71" y="144"/>
                </a:cxn>
                <a:cxn ang="0">
                  <a:pos x="56" y="138"/>
                </a:cxn>
                <a:cxn ang="0">
                  <a:pos x="34" y="163"/>
                </a:cxn>
                <a:cxn ang="0">
                  <a:pos x="19" y="165"/>
                </a:cxn>
                <a:cxn ang="0">
                  <a:pos x="11" y="161"/>
                </a:cxn>
                <a:cxn ang="0">
                  <a:pos x="11" y="140"/>
                </a:cxn>
                <a:cxn ang="0">
                  <a:pos x="0" y="127"/>
                </a:cxn>
                <a:cxn ang="0">
                  <a:pos x="0" y="127"/>
                </a:cxn>
                <a:cxn ang="0">
                  <a:pos x="0" y="80"/>
                </a:cxn>
                <a:cxn ang="0">
                  <a:pos x="17" y="73"/>
                </a:cxn>
                <a:cxn ang="0">
                  <a:pos x="19" y="11"/>
                </a:cxn>
                <a:cxn ang="0">
                  <a:pos x="51" y="5"/>
                </a:cxn>
                <a:cxn ang="0">
                  <a:pos x="56" y="5"/>
                </a:cxn>
                <a:cxn ang="0">
                  <a:pos x="60" y="15"/>
                </a:cxn>
                <a:cxn ang="0">
                  <a:pos x="69" y="5"/>
                </a:cxn>
                <a:cxn ang="0">
                  <a:pos x="86" y="0"/>
                </a:cxn>
                <a:cxn ang="0">
                  <a:pos x="86" y="0"/>
                </a:cxn>
              </a:cxnLst>
              <a:rect l="0" t="0" r="r" b="b"/>
              <a:pathLst>
                <a:path w="150" h="165">
                  <a:moveTo>
                    <a:pt x="86" y="0"/>
                  </a:moveTo>
                  <a:lnTo>
                    <a:pt x="99" y="30"/>
                  </a:lnTo>
                  <a:lnTo>
                    <a:pt x="125" y="52"/>
                  </a:lnTo>
                  <a:lnTo>
                    <a:pt x="131" y="71"/>
                  </a:lnTo>
                  <a:lnTo>
                    <a:pt x="150" y="78"/>
                  </a:lnTo>
                  <a:lnTo>
                    <a:pt x="122" y="99"/>
                  </a:lnTo>
                  <a:lnTo>
                    <a:pt x="86" y="142"/>
                  </a:lnTo>
                  <a:lnTo>
                    <a:pt x="71" y="144"/>
                  </a:lnTo>
                  <a:lnTo>
                    <a:pt x="56" y="138"/>
                  </a:lnTo>
                  <a:lnTo>
                    <a:pt x="34" y="163"/>
                  </a:lnTo>
                  <a:lnTo>
                    <a:pt x="19" y="165"/>
                  </a:lnTo>
                  <a:lnTo>
                    <a:pt x="11" y="161"/>
                  </a:lnTo>
                  <a:lnTo>
                    <a:pt x="11" y="140"/>
                  </a:lnTo>
                  <a:lnTo>
                    <a:pt x="0" y="127"/>
                  </a:lnTo>
                  <a:lnTo>
                    <a:pt x="0" y="127"/>
                  </a:lnTo>
                  <a:lnTo>
                    <a:pt x="0" y="80"/>
                  </a:lnTo>
                  <a:lnTo>
                    <a:pt x="17" y="73"/>
                  </a:lnTo>
                  <a:lnTo>
                    <a:pt x="19" y="11"/>
                  </a:lnTo>
                  <a:lnTo>
                    <a:pt x="51" y="5"/>
                  </a:lnTo>
                  <a:lnTo>
                    <a:pt x="56" y="5"/>
                  </a:lnTo>
                  <a:lnTo>
                    <a:pt x="60" y="15"/>
                  </a:lnTo>
                  <a:lnTo>
                    <a:pt x="69" y="5"/>
                  </a:lnTo>
                  <a:lnTo>
                    <a:pt x="86" y="0"/>
                  </a:lnTo>
                  <a:lnTo>
                    <a:pt x="86"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16" name="Freeform 5798"/>
            <p:cNvSpPr>
              <a:spLocks/>
            </p:cNvSpPr>
            <p:nvPr>
              <p:custDataLst>
                <p:tags r:id="rId162"/>
              </p:custDataLst>
            </p:nvPr>
          </p:nvSpPr>
          <p:spPr bwMode="gray">
            <a:xfrm>
              <a:off x="4986818" y="498370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17" name="Freeform 5799"/>
            <p:cNvSpPr>
              <a:spLocks/>
            </p:cNvSpPr>
            <p:nvPr>
              <p:custDataLst>
                <p:tags r:id="rId163"/>
              </p:custDataLst>
            </p:nvPr>
          </p:nvSpPr>
          <p:spPr bwMode="gray">
            <a:xfrm>
              <a:off x="5009914" y="515969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18" name="Freeform 5800"/>
            <p:cNvSpPr>
              <a:spLocks/>
            </p:cNvSpPr>
            <p:nvPr>
              <p:custDataLst>
                <p:tags r:id="rId164"/>
              </p:custDataLst>
            </p:nvPr>
          </p:nvSpPr>
          <p:spPr bwMode="gray">
            <a:xfrm>
              <a:off x="5047123" y="515712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19" name="Freeform 5801"/>
            <p:cNvSpPr>
              <a:spLocks/>
            </p:cNvSpPr>
            <p:nvPr>
              <p:custDataLst>
                <p:tags r:id="rId165"/>
              </p:custDataLst>
            </p:nvPr>
          </p:nvSpPr>
          <p:spPr bwMode="gray">
            <a:xfrm>
              <a:off x="5204944" y="5349805"/>
              <a:ext cx="19246" cy="38537"/>
            </a:xfrm>
            <a:custGeom>
              <a:avLst/>
              <a:gdLst/>
              <a:ahLst/>
              <a:cxnLst>
                <a:cxn ang="0">
                  <a:pos x="0" y="0"/>
                </a:cxn>
                <a:cxn ang="0">
                  <a:pos x="8" y="28"/>
                </a:cxn>
                <a:cxn ang="0">
                  <a:pos x="15" y="30"/>
                </a:cxn>
                <a:cxn ang="0">
                  <a:pos x="15" y="9"/>
                </a:cxn>
                <a:cxn ang="0">
                  <a:pos x="0" y="0"/>
                </a:cxn>
                <a:cxn ang="0">
                  <a:pos x="0" y="0"/>
                </a:cxn>
              </a:cxnLst>
              <a:rect l="0" t="0" r="r" b="b"/>
              <a:pathLst>
                <a:path w="15" h="30">
                  <a:moveTo>
                    <a:pt x="0" y="0"/>
                  </a:moveTo>
                  <a:lnTo>
                    <a:pt x="8" y="28"/>
                  </a:lnTo>
                  <a:lnTo>
                    <a:pt x="15" y="30"/>
                  </a:lnTo>
                  <a:lnTo>
                    <a:pt x="15" y="9"/>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20" name="Freeform 5802"/>
            <p:cNvSpPr>
              <a:spLocks/>
            </p:cNvSpPr>
            <p:nvPr>
              <p:custDataLst>
                <p:tags r:id="rId166"/>
              </p:custDataLst>
            </p:nvPr>
          </p:nvSpPr>
          <p:spPr bwMode="gray">
            <a:xfrm>
              <a:off x="5537265" y="5570749"/>
              <a:ext cx="59022" cy="21838"/>
            </a:xfrm>
            <a:custGeom>
              <a:avLst/>
              <a:gdLst/>
              <a:ahLst/>
              <a:cxnLst>
                <a:cxn ang="0">
                  <a:pos x="0" y="8"/>
                </a:cxn>
                <a:cxn ang="0">
                  <a:pos x="26" y="17"/>
                </a:cxn>
                <a:cxn ang="0">
                  <a:pos x="46" y="8"/>
                </a:cxn>
                <a:cxn ang="0">
                  <a:pos x="35" y="0"/>
                </a:cxn>
                <a:cxn ang="0">
                  <a:pos x="16" y="0"/>
                </a:cxn>
                <a:cxn ang="0">
                  <a:pos x="5" y="2"/>
                </a:cxn>
                <a:cxn ang="0">
                  <a:pos x="11" y="8"/>
                </a:cxn>
                <a:cxn ang="0">
                  <a:pos x="9" y="12"/>
                </a:cxn>
                <a:cxn ang="0">
                  <a:pos x="0" y="8"/>
                </a:cxn>
                <a:cxn ang="0">
                  <a:pos x="0" y="8"/>
                </a:cxn>
              </a:cxnLst>
              <a:rect l="0" t="0" r="r" b="b"/>
              <a:pathLst>
                <a:path w="46" h="17">
                  <a:moveTo>
                    <a:pt x="0" y="8"/>
                  </a:moveTo>
                  <a:lnTo>
                    <a:pt x="26" y="17"/>
                  </a:lnTo>
                  <a:lnTo>
                    <a:pt x="46" y="8"/>
                  </a:lnTo>
                  <a:lnTo>
                    <a:pt x="35" y="0"/>
                  </a:lnTo>
                  <a:lnTo>
                    <a:pt x="16" y="0"/>
                  </a:lnTo>
                  <a:lnTo>
                    <a:pt x="5" y="2"/>
                  </a:lnTo>
                  <a:lnTo>
                    <a:pt x="11" y="8"/>
                  </a:lnTo>
                  <a:lnTo>
                    <a:pt x="9" y="12"/>
                  </a:lnTo>
                  <a:lnTo>
                    <a:pt x="0" y="8"/>
                  </a:lnTo>
                  <a:lnTo>
                    <a:pt x="0" y="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21" name="Freeform 5803"/>
            <p:cNvSpPr>
              <a:spLocks/>
            </p:cNvSpPr>
            <p:nvPr>
              <p:custDataLst>
                <p:tags r:id="rId167"/>
              </p:custDataLst>
            </p:nvPr>
          </p:nvSpPr>
          <p:spPr bwMode="gray">
            <a:xfrm>
              <a:off x="5312723" y="4105067"/>
              <a:ext cx="17963" cy="16699"/>
            </a:xfrm>
            <a:custGeom>
              <a:avLst/>
              <a:gdLst/>
              <a:ahLst/>
              <a:cxnLst>
                <a:cxn ang="0">
                  <a:pos x="0" y="13"/>
                </a:cxn>
                <a:cxn ang="0">
                  <a:pos x="10" y="13"/>
                </a:cxn>
                <a:cxn ang="0">
                  <a:pos x="14" y="0"/>
                </a:cxn>
                <a:cxn ang="0">
                  <a:pos x="2" y="2"/>
                </a:cxn>
                <a:cxn ang="0">
                  <a:pos x="6" y="12"/>
                </a:cxn>
                <a:cxn ang="0">
                  <a:pos x="0" y="13"/>
                </a:cxn>
                <a:cxn ang="0">
                  <a:pos x="0" y="13"/>
                </a:cxn>
              </a:cxnLst>
              <a:rect l="0" t="0" r="r" b="b"/>
              <a:pathLst>
                <a:path w="14" h="13">
                  <a:moveTo>
                    <a:pt x="0" y="13"/>
                  </a:moveTo>
                  <a:lnTo>
                    <a:pt x="10" y="13"/>
                  </a:lnTo>
                  <a:lnTo>
                    <a:pt x="14" y="0"/>
                  </a:lnTo>
                  <a:lnTo>
                    <a:pt x="2" y="2"/>
                  </a:lnTo>
                  <a:lnTo>
                    <a:pt x="6" y="12"/>
                  </a:lnTo>
                  <a:lnTo>
                    <a:pt x="0" y="13"/>
                  </a:lnTo>
                  <a:lnTo>
                    <a:pt x="0" y="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22" name="Freeform 5804"/>
            <p:cNvSpPr>
              <a:spLocks/>
            </p:cNvSpPr>
            <p:nvPr>
              <p:custDataLst>
                <p:tags r:id="rId168"/>
              </p:custDataLst>
            </p:nvPr>
          </p:nvSpPr>
          <p:spPr bwMode="gray">
            <a:xfrm>
              <a:off x="5180565" y="407166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23" name="Freeform 5805"/>
            <p:cNvSpPr>
              <a:spLocks/>
            </p:cNvSpPr>
            <p:nvPr>
              <p:custDataLst>
                <p:tags r:id="rId169"/>
              </p:custDataLst>
            </p:nvPr>
          </p:nvSpPr>
          <p:spPr bwMode="gray">
            <a:xfrm>
              <a:off x="5163885" y="4066530"/>
              <a:ext cx="5132" cy="7707"/>
            </a:xfrm>
            <a:custGeom>
              <a:avLst/>
              <a:gdLst/>
              <a:ahLst/>
              <a:cxnLst>
                <a:cxn ang="0">
                  <a:pos x="0" y="0"/>
                </a:cxn>
                <a:cxn ang="0">
                  <a:pos x="4" y="6"/>
                </a:cxn>
                <a:cxn ang="0">
                  <a:pos x="0" y="0"/>
                </a:cxn>
              </a:cxnLst>
              <a:rect l="0" t="0" r="r" b="b"/>
              <a:pathLst>
                <a:path w="4" h="6">
                  <a:moveTo>
                    <a:pt x="0" y="0"/>
                  </a:moveTo>
                  <a:lnTo>
                    <a:pt x="4" y="6"/>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24" name="Line 5806"/>
            <p:cNvSpPr>
              <a:spLocks noChangeShapeType="1"/>
            </p:cNvSpPr>
            <p:nvPr>
              <p:custDataLst>
                <p:tags r:id="rId170"/>
              </p:custDataLst>
            </p:nvPr>
          </p:nvSpPr>
          <p:spPr bwMode="gray">
            <a:xfrm>
              <a:off x="5163885" y="4066530"/>
              <a:ext cx="5132" cy="7707"/>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25" name="Freeform 5807"/>
            <p:cNvSpPr>
              <a:spLocks/>
            </p:cNvSpPr>
            <p:nvPr>
              <p:custDataLst>
                <p:tags r:id="rId171"/>
              </p:custDataLst>
            </p:nvPr>
          </p:nvSpPr>
          <p:spPr bwMode="gray">
            <a:xfrm>
              <a:off x="5147204" y="40626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26" name="Freeform 5809"/>
            <p:cNvSpPr>
              <a:spLocks/>
            </p:cNvSpPr>
            <p:nvPr>
              <p:custDataLst>
                <p:tags r:id="rId172"/>
              </p:custDataLst>
            </p:nvPr>
          </p:nvSpPr>
          <p:spPr bwMode="gray">
            <a:xfrm>
              <a:off x="4902134" y="3837878"/>
              <a:ext cx="11548" cy="15415"/>
            </a:xfrm>
            <a:custGeom>
              <a:avLst/>
              <a:gdLst/>
              <a:ahLst/>
              <a:cxnLst>
                <a:cxn ang="0">
                  <a:pos x="0" y="4"/>
                </a:cxn>
                <a:cxn ang="0">
                  <a:pos x="0" y="12"/>
                </a:cxn>
                <a:cxn ang="0">
                  <a:pos x="9" y="10"/>
                </a:cxn>
                <a:cxn ang="0">
                  <a:pos x="4" y="0"/>
                </a:cxn>
                <a:cxn ang="0">
                  <a:pos x="0" y="4"/>
                </a:cxn>
                <a:cxn ang="0">
                  <a:pos x="0" y="4"/>
                </a:cxn>
              </a:cxnLst>
              <a:rect l="0" t="0" r="r" b="b"/>
              <a:pathLst>
                <a:path w="9" h="12">
                  <a:moveTo>
                    <a:pt x="0" y="4"/>
                  </a:moveTo>
                  <a:lnTo>
                    <a:pt x="0" y="12"/>
                  </a:lnTo>
                  <a:lnTo>
                    <a:pt x="9" y="10"/>
                  </a:lnTo>
                  <a:lnTo>
                    <a:pt x="4" y="0"/>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27" name="Freeform 5821"/>
            <p:cNvSpPr>
              <a:spLocks/>
            </p:cNvSpPr>
            <p:nvPr>
              <p:custDataLst>
                <p:tags r:id="rId173"/>
              </p:custDataLst>
            </p:nvPr>
          </p:nvSpPr>
          <p:spPr bwMode="gray">
            <a:xfrm>
              <a:off x="5334536" y="403056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28" name="Freeform 5822"/>
            <p:cNvSpPr>
              <a:spLocks/>
            </p:cNvSpPr>
            <p:nvPr>
              <p:custDataLst>
                <p:tags r:id="rId174"/>
              </p:custDataLst>
            </p:nvPr>
          </p:nvSpPr>
          <p:spPr bwMode="gray">
            <a:xfrm>
              <a:off x="5330687" y="404597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29" name="Freeform 5823"/>
            <p:cNvSpPr>
              <a:spLocks/>
            </p:cNvSpPr>
            <p:nvPr>
              <p:custDataLst>
                <p:tags r:id="rId175"/>
              </p:custDataLst>
            </p:nvPr>
          </p:nvSpPr>
          <p:spPr bwMode="gray">
            <a:xfrm>
              <a:off x="5317856" y="407423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30" name="Freeform 5824"/>
            <p:cNvSpPr>
              <a:spLocks/>
            </p:cNvSpPr>
            <p:nvPr>
              <p:custDataLst>
                <p:tags r:id="rId176"/>
              </p:custDataLst>
            </p:nvPr>
          </p:nvSpPr>
          <p:spPr bwMode="gray">
            <a:xfrm>
              <a:off x="5364047" y="404726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31" name="Freeform 5825"/>
            <p:cNvSpPr>
              <a:spLocks/>
            </p:cNvSpPr>
            <p:nvPr>
              <p:custDataLst>
                <p:tags r:id="rId177"/>
              </p:custDataLst>
            </p:nvPr>
          </p:nvSpPr>
          <p:spPr bwMode="gray">
            <a:xfrm>
              <a:off x="5339668" y="409350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32" name="Freeform 5826"/>
            <p:cNvSpPr>
              <a:spLocks/>
            </p:cNvSpPr>
            <p:nvPr>
              <p:custDataLst>
                <p:tags r:id="rId178"/>
              </p:custDataLst>
            </p:nvPr>
          </p:nvSpPr>
          <p:spPr bwMode="gray">
            <a:xfrm>
              <a:off x="5008630" y="3763374"/>
              <a:ext cx="11548" cy="35968"/>
            </a:xfrm>
            <a:custGeom>
              <a:avLst/>
              <a:gdLst/>
              <a:ahLst/>
              <a:cxnLst>
                <a:cxn ang="0">
                  <a:pos x="3" y="0"/>
                </a:cxn>
                <a:cxn ang="0">
                  <a:pos x="0" y="12"/>
                </a:cxn>
                <a:cxn ang="0">
                  <a:pos x="9" y="28"/>
                </a:cxn>
                <a:cxn ang="0">
                  <a:pos x="9" y="10"/>
                </a:cxn>
                <a:cxn ang="0">
                  <a:pos x="3" y="0"/>
                </a:cxn>
                <a:cxn ang="0">
                  <a:pos x="3" y="0"/>
                </a:cxn>
              </a:cxnLst>
              <a:rect l="0" t="0" r="r" b="b"/>
              <a:pathLst>
                <a:path w="9" h="28">
                  <a:moveTo>
                    <a:pt x="3" y="0"/>
                  </a:moveTo>
                  <a:lnTo>
                    <a:pt x="0" y="12"/>
                  </a:lnTo>
                  <a:lnTo>
                    <a:pt x="9" y="28"/>
                  </a:lnTo>
                  <a:lnTo>
                    <a:pt x="9" y="10"/>
                  </a:lnTo>
                  <a:lnTo>
                    <a:pt x="3" y="0"/>
                  </a:lnTo>
                  <a:lnTo>
                    <a:pt x="3"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33" name="Freeform 5828"/>
            <p:cNvSpPr>
              <a:spLocks/>
            </p:cNvSpPr>
            <p:nvPr>
              <p:custDataLst>
                <p:tags r:id="rId179"/>
              </p:custDataLst>
            </p:nvPr>
          </p:nvSpPr>
          <p:spPr bwMode="gray">
            <a:xfrm>
              <a:off x="5006064" y="3727406"/>
              <a:ext cx="21813" cy="5138"/>
            </a:xfrm>
            <a:custGeom>
              <a:avLst/>
              <a:gdLst/>
              <a:ahLst/>
              <a:cxnLst>
                <a:cxn ang="0">
                  <a:pos x="0" y="0"/>
                </a:cxn>
                <a:cxn ang="0">
                  <a:pos x="17" y="4"/>
                </a:cxn>
                <a:cxn ang="0">
                  <a:pos x="0" y="0"/>
                </a:cxn>
              </a:cxnLst>
              <a:rect l="0" t="0" r="r" b="b"/>
              <a:pathLst>
                <a:path w="17" h="4">
                  <a:moveTo>
                    <a:pt x="0" y="0"/>
                  </a:moveTo>
                  <a:lnTo>
                    <a:pt x="17" y="4"/>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34" name="Line 5829"/>
            <p:cNvSpPr>
              <a:spLocks noChangeShapeType="1"/>
            </p:cNvSpPr>
            <p:nvPr>
              <p:custDataLst>
                <p:tags r:id="rId180"/>
              </p:custDataLst>
            </p:nvPr>
          </p:nvSpPr>
          <p:spPr bwMode="gray">
            <a:xfrm>
              <a:off x="5006064" y="3727406"/>
              <a:ext cx="21813" cy="5138"/>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35" name="Freeform 5834"/>
            <p:cNvSpPr>
              <a:spLocks/>
            </p:cNvSpPr>
            <p:nvPr>
              <p:custDataLst>
                <p:tags r:id="rId181"/>
              </p:custDataLst>
            </p:nvPr>
          </p:nvSpPr>
          <p:spPr bwMode="gray">
            <a:xfrm>
              <a:off x="5029160" y="376594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36" name="Freeform 5856"/>
            <p:cNvSpPr>
              <a:spLocks/>
            </p:cNvSpPr>
            <p:nvPr>
              <p:custDataLst>
                <p:tags r:id="rId182"/>
              </p:custDataLst>
            </p:nvPr>
          </p:nvSpPr>
          <p:spPr bwMode="gray">
            <a:xfrm>
              <a:off x="4938060" y="3776220"/>
              <a:ext cx="10265" cy="2569"/>
            </a:xfrm>
            <a:custGeom>
              <a:avLst/>
              <a:gdLst/>
              <a:ahLst/>
              <a:cxnLst>
                <a:cxn ang="0">
                  <a:pos x="0" y="2"/>
                </a:cxn>
                <a:cxn ang="0">
                  <a:pos x="8" y="0"/>
                </a:cxn>
                <a:cxn ang="0">
                  <a:pos x="0" y="2"/>
                </a:cxn>
              </a:cxnLst>
              <a:rect l="0" t="0" r="r" b="b"/>
              <a:pathLst>
                <a:path w="8" h="2">
                  <a:moveTo>
                    <a:pt x="0" y="2"/>
                  </a:moveTo>
                  <a:lnTo>
                    <a:pt x="8" y="0"/>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37" name="Line 5857"/>
            <p:cNvSpPr>
              <a:spLocks noChangeShapeType="1"/>
            </p:cNvSpPr>
            <p:nvPr>
              <p:custDataLst>
                <p:tags r:id="rId183"/>
              </p:custDataLst>
            </p:nvPr>
          </p:nvSpPr>
          <p:spPr bwMode="gray">
            <a:xfrm flipV="1">
              <a:off x="4938060" y="3776220"/>
              <a:ext cx="10265" cy="2569"/>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38" name="Freeform 5858"/>
            <p:cNvSpPr>
              <a:spLocks/>
            </p:cNvSpPr>
            <p:nvPr>
              <p:custDataLst>
                <p:tags r:id="rId184"/>
              </p:custDataLst>
            </p:nvPr>
          </p:nvSpPr>
          <p:spPr bwMode="gray">
            <a:xfrm>
              <a:off x="5195962" y="3385714"/>
              <a:ext cx="39776" cy="12846"/>
            </a:xfrm>
            <a:custGeom>
              <a:avLst/>
              <a:gdLst/>
              <a:ahLst/>
              <a:cxnLst>
                <a:cxn ang="0">
                  <a:pos x="0" y="10"/>
                </a:cxn>
                <a:cxn ang="0">
                  <a:pos x="31" y="2"/>
                </a:cxn>
                <a:cxn ang="0">
                  <a:pos x="28" y="0"/>
                </a:cxn>
                <a:cxn ang="0">
                  <a:pos x="0" y="10"/>
                </a:cxn>
                <a:cxn ang="0">
                  <a:pos x="0" y="10"/>
                </a:cxn>
              </a:cxnLst>
              <a:rect l="0" t="0" r="r" b="b"/>
              <a:pathLst>
                <a:path w="31" h="10">
                  <a:moveTo>
                    <a:pt x="0" y="10"/>
                  </a:moveTo>
                  <a:lnTo>
                    <a:pt x="31" y="2"/>
                  </a:lnTo>
                  <a:lnTo>
                    <a:pt x="28" y="0"/>
                  </a:lnTo>
                  <a:lnTo>
                    <a:pt x="0" y="10"/>
                  </a:lnTo>
                  <a:lnTo>
                    <a:pt x="0" y="1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39" name="Freeform 5859"/>
            <p:cNvSpPr>
              <a:spLocks/>
            </p:cNvSpPr>
            <p:nvPr>
              <p:custDataLst>
                <p:tags r:id="rId185"/>
              </p:custDataLst>
            </p:nvPr>
          </p:nvSpPr>
          <p:spPr bwMode="gray">
            <a:xfrm>
              <a:off x="5457713" y="3184038"/>
              <a:ext cx="43625" cy="16699"/>
            </a:xfrm>
            <a:custGeom>
              <a:avLst/>
              <a:gdLst/>
              <a:ahLst/>
              <a:cxnLst>
                <a:cxn ang="0">
                  <a:pos x="0" y="0"/>
                </a:cxn>
                <a:cxn ang="0">
                  <a:pos x="17" y="13"/>
                </a:cxn>
                <a:cxn ang="0">
                  <a:pos x="34" y="13"/>
                </a:cxn>
                <a:cxn ang="0">
                  <a:pos x="19" y="2"/>
                </a:cxn>
                <a:cxn ang="0">
                  <a:pos x="0" y="0"/>
                </a:cxn>
                <a:cxn ang="0">
                  <a:pos x="0" y="0"/>
                </a:cxn>
              </a:cxnLst>
              <a:rect l="0" t="0" r="r" b="b"/>
              <a:pathLst>
                <a:path w="34" h="13">
                  <a:moveTo>
                    <a:pt x="0" y="0"/>
                  </a:moveTo>
                  <a:lnTo>
                    <a:pt x="17" y="13"/>
                  </a:lnTo>
                  <a:lnTo>
                    <a:pt x="34" y="13"/>
                  </a:lnTo>
                  <a:lnTo>
                    <a:pt x="19" y="2"/>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40" name="Freeform 5860"/>
            <p:cNvSpPr>
              <a:spLocks/>
            </p:cNvSpPr>
            <p:nvPr>
              <p:custDataLst>
                <p:tags r:id="rId186"/>
              </p:custDataLst>
            </p:nvPr>
          </p:nvSpPr>
          <p:spPr bwMode="gray">
            <a:xfrm>
              <a:off x="5433334" y="3250835"/>
              <a:ext cx="38493" cy="24407"/>
            </a:xfrm>
            <a:custGeom>
              <a:avLst/>
              <a:gdLst/>
              <a:ahLst/>
              <a:cxnLst>
                <a:cxn ang="0">
                  <a:pos x="0" y="6"/>
                </a:cxn>
                <a:cxn ang="0">
                  <a:pos x="19" y="19"/>
                </a:cxn>
                <a:cxn ang="0">
                  <a:pos x="30" y="8"/>
                </a:cxn>
                <a:cxn ang="0">
                  <a:pos x="11" y="10"/>
                </a:cxn>
                <a:cxn ang="0">
                  <a:pos x="4" y="6"/>
                </a:cxn>
                <a:cxn ang="0">
                  <a:pos x="4" y="0"/>
                </a:cxn>
                <a:cxn ang="0">
                  <a:pos x="0" y="6"/>
                </a:cxn>
                <a:cxn ang="0">
                  <a:pos x="0" y="6"/>
                </a:cxn>
              </a:cxnLst>
              <a:rect l="0" t="0" r="r" b="b"/>
              <a:pathLst>
                <a:path w="30" h="19">
                  <a:moveTo>
                    <a:pt x="0" y="6"/>
                  </a:moveTo>
                  <a:lnTo>
                    <a:pt x="19" y="19"/>
                  </a:lnTo>
                  <a:lnTo>
                    <a:pt x="30" y="8"/>
                  </a:lnTo>
                  <a:lnTo>
                    <a:pt x="11" y="10"/>
                  </a:lnTo>
                  <a:lnTo>
                    <a:pt x="4" y="6"/>
                  </a:lnTo>
                  <a:lnTo>
                    <a:pt x="4"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41" name="Freeform 5861"/>
            <p:cNvSpPr>
              <a:spLocks/>
            </p:cNvSpPr>
            <p:nvPr>
              <p:custDataLst>
                <p:tags r:id="rId187"/>
              </p:custDataLst>
            </p:nvPr>
          </p:nvSpPr>
          <p:spPr bwMode="gray">
            <a:xfrm>
              <a:off x="5279363" y="2897581"/>
              <a:ext cx="38493" cy="14130"/>
            </a:xfrm>
            <a:custGeom>
              <a:avLst/>
              <a:gdLst/>
              <a:ahLst/>
              <a:cxnLst>
                <a:cxn ang="0">
                  <a:pos x="0" y="11"/>
                </a:cxn>
                <a:cxn ang="0">
                  <a:pos x="30" y="0"/>
                </a:cxn>
                <a:cxn ang="0">
                  <a:pos x="10" y="2"/>
                </a:cxn>
                <a:cxn ang="0">
                  <a:pos x="0" y="11"/>
                </a:cxn>
                <a:cxn ang="0">
                  <a:pos x="0" y="11"/>
                </a:cxn>
              </a:cxnLst>
              <a:rect l="0" t="0" r="r" b="b"/>
              <a:pathLst>
                <a:path w="30" h="11">
                  <a:moveTo>
                    <a:pt x="0" y="11"/>
                  </a:moveTo>
                  <a:lnTo>
                    <a:pt x="30" y="0"/>
                  </a:lnTo>
                  <a:lnTo>
                    <a:pt x="10" y="2"/>
                  </a:lnTo>
                  <a:lnTo>
                    <a:pt x="0" y="11"/>
                  </a:lnTo>
                  <a:lnTo>
                    <a:pt x="0"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42" name="Freeform 5862"/>
            <p:cNvSpPr>
              <a:spLocks/>
            </p:cNvSpPr>
            <p:nvPr>
              <p:custDataLst>
                <p:tags r:id="rId188"/>
              </p:custDataLst>
            </p:nvPr>
          </p:nvSpPr>
          <p:spPr bwMode="gray">
            <a:xfrm>
              <a:off x="5330687" y="2906573"/>
              <a:ext cx="23096" cy="17984"/>
            </a:xfrm>
            <a:custGeom>
              <a:avLst/>
              <a:gdLst/>
              <a:ahLst/>
              <a:cxnLst>
                <a:cxn ang="0">
                  <a:pos x="9" y="0"/>
                </a:cxn>
                <a:cxn ang="0">
                  <a:pos x="0" y="10"/>
                </a:cxn>
                <a:cxn ang="0">
                  <a:pos x="3" y="14"/>
                </a:cxn>
                <a:cxn ang="0">
                  <a:pos x="18" y="0"/>
                </a:cxn>
                <a:cxn ang="0">
                  <a:pos x="9" y="0"/>
                </a:cxn>
                <a:cxn ang="0">
                  <a:pos x="9" y="0"/>
                </a:cxn>
              </a:cxnLst>
              <a:rect l="0" t="0" r="r" b="b"/>
              <a:pathLst>
                <a:path w="18" h="14">
                  <a:moveTo>
                    <a:pt x="9" y="0"/>
                  </a:moveTo>
                  <a:lnTo>
                    <a:pt x="0" y="10"/>
                  </a:lnTo>
                  <a:lnTo>
                    <a:pt x="3" y="14"/>
                  </a:lnTo>
                  <a:lnTo>
                    <a:pt x="18" y="0"/>
                  </a:lnTo>
                  <a:lnTo>
                    <a:pt x="9" y="0"/>
                  </a:lnTo>
                  <a:lnTo>
                    <a:pt x="9"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43" name="Freeform 5863"/>
            <p:cNvSpPr>
              <a:spLocks/>
            </p:cNvSpPr>
            <p:nvPr>
              <p:custDataLst>
                <p:tags r:id="rId189"/>
              </p:custDataLst>
            </p:nvPr>
          </p:nvSpPr>
          <p:spPr bwMode="gray">
            <a:xfrm>
              <a:off x="5534698" y="3142932"/>
              <a:ext cx="119328" cy="115610"/>
            </a:xfrm>
            <a:custGeom>
              <a:avLst/>
              <a:gdLst/>
              <a:ahLst/>
              <a:cxnLst>
                <a:cxn ang="0">
                  <a:pos x="0" y="67"/>
                </a:cxn>
                <a:cxn ang="0">
                  <a:pos x="0" y="73"/>
                </a:cxn>
                <a:cxn ang="0">
                  <a:pos x="52" y="73"/>
                </a:cxn>
                <a:cxn ang="0">
                  <a:pos x="43" y="84"/>
                </a:cxn>
                <a:cxn ang="0">
                  <a:pos x="50" y="86"/>
                </a:cxn>
                <a:cxn ang="0">
                  <a:pos x="60" y="77"/>
                </a:cxn>
                <a:cxn ang="0">
                  <a:pos x="73" y="77"/>
                </a:cxn>
                <a:cxn ang="0">
                  <a:pos x="67" y="86"/>
                </a:cxn>
                <a:cxn ang="0">
                  <a:pos x="75" y="81"/>
                </a:cxn>
                <a:cxn ang="0">
                  <a:pos x="73" y="90"/>
                </a:cxn>
                <a:cxn ang="0">
                  <a:pos x="82" y="90"/>
                </a:cxn>
                <a:cxn ang="0">
                  <a:pos x="92" y="71"/>
                </a:cxn>
                <a:cxn ang="0">
                  <a:pos x="84" y="73"/>
                </a:cxn>
                <a:cxn ang="0">
                  <a:pos x="92" y="64"/>
                </a:cxn>
                <a:cxn ang="0">
                  <a:pos x="78" y="73"/>
                </a:cxn>
                <a:cxn ang="0">
                  <a:pos x="77" y="69"/>
                </a:cxn>
                <a:cxn ang="0">
                  <a:pos x="93" y="54"/>
                </a:cxn>
                <a:cxn ang="0">
                  <a:pos x="82" y="56"/>
                </a:cxn>
                <a:cxn ang="0">
                  <a:pos x="80" y="51"/>
                </a:cxn>
                <a:cxn ang="0">
                  <a:pos x="92" y="43"/>
                </a:cxn>
                <a:cxn ang="0">
                  <a:pos x="65" y="41"/>
                </a:cxn>
                <a:cxn ang="0">
                  <a:pos x="60" y="34"/>
                </a:cxn>
                <a:cxn ang="0">
                  <a:pos x="67" y="30"/>
                </a:cxn>
                <a:cxn ang="0">
                  <a:pos x="60" y="28"/>
                </a:cxn>
                <a:cxn ang="0">
                  <a:pos x="47" y="34"/>
                </a:cxn>
                <a:cxn ang="0">
                  <a:pos x="78" y="0"/>
                </a:cxn>
                <a:cxn ang="0">
                  <a:pos x="60" y="6"/>
                </a:cxn>
                <a:cxn ang="0">
                  <a:pos x="11" y="54"/>
                </a:cxn>
                <a:cxn ang="0">
                  <a:pos x="15" y="56"/>
                </a:cxn>
                <a:cxn ang="0">
                  <a:pos x="0" y="67"/>
                </a:cxn>
                <a:cxn ang="0">
                  <a:pos x="0" y="67"/>
                </a:cxn>
              </a:cxnLst>
              <a:rect l="0" t="0" r="r" b="b"/>
              <a:pathLst>
                <a:path w="93" h="90">
                  <a:moveTo>
                    <a:pt x="0" y="67"/>
                  </a:moveTo>
                  <a:lnTo>
                    <a:pt x="0" y="73"/>
                  </a:lnTo>
                  <a:lnTo>
                    <a:pt x="52" y="73"/>
                  </a:lnTo>
                  <a:lnTo>
                    <a:pt x="43" y="84"/>
                  </a:lnTo>
                  <a:lnTo>
                    <a:pt x="50" y="86"/>
                  </a:lnTo>
                  <a:lnTo>
                    <a:pt x="60" y="77"/>
                  </a:lnTo>
                  <a:lnTo>
                    <a:pt x="73" y="77"/>
                  </a:lnTo>
                  <a:lnTo>
                    <a:pt x="67" y="86"/>
                  </a:lnTo>
                  <a:lnTo>
                    <a:pt x="75" y="81"/>
                  </a:lnTo>
                  <a:lnTo>
                    <a:pt x="73" y="90"/>
                  </a:lnTo>
                  <a:lnTo>
                    <a:pt x="82" y="90"/>
                  </a:lnTo>
                  <a:lnTo>
                    <a:pt x="92" y="71"/>
                  </a:lnTo>
                  <a:lnTo>
                    <a:pt x="84" y="73"/>
                  </a:lnTo>
                  <a:lnTo>
                    <a:pt x="92" y="64"/>
                  </a:lnTo>
                  <a:lnTo>
                    <a:pt x="78" y="73"/>
                  </a:lnTo>
                  <a:lnTo>
                    <a:pt x="77" y="69"/>
                  </a:lnTo>
                  <a:lnTo>
                    <a:pt x="93" y="54"/>
                  </a:lnTo>
                  <a:lnTo>
                    <a:pt x="82" y="56"/>
                  </a:lnTo>
                  <a:lnTo>
                    <a:pt x="80" y="51"/>
                  </a:lnTo>
                  <a:lnTo>
                    <a:pt x="92" y="43"/>
                  </a:lnTo>
                  <a:lnTo>
                    <a:pt x="65" y="41"/>
                  </a:lnTo>
                  <a:lnTo>
                    <a:pt x="60" y="34"/>
                  </a:lnTo>
                  <a:lnTo>
                    <a:pt x="67" y="30"/>
                  </a:lnTo>
                  <a:lnTo>
                    <a:pt x="60" y="28"/>
                  </a:lnTo>
                  <a:lnTo>
                    <a:pt x="47" y="34"/>
                  </a:lnTo>
                  <a:lnTo>
                    <a:pt x="78" y="0"/>
                  </a:lnTo>
                  <a:lnTo>
                    <a:pt x="60" y="6"/>
                  </a:lnTo>
                  <a:lnTo>
                    <a:pt x="11" y="54"/>
                  </a:lnTo>
                  <a:lnTo>
                    <a:pt x="15" y="56"/>
                  </a:lnTo>
                  <a:lnTo>
                    <a:pt x="0" y="67"/>
                  </a:lnTo>
                  <a:lnTo>
                    <a:pt x="0" y="6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44" name="Freeform 5864"/>
            <p:cNvSpPr>
              <a:spLocks/>
            </p:cNvSpPr>
            <p:nvPr>
              <p:custDataLst>
                <p:tags r:id="rId190"/>
              </p:custDataLst>
            </p:nvPr>
          </p:nvSpPr>
          <p:spPr bwMode="gray">
            <a:xfrm>
              <a:off x="5248569" y="2828215"/>
              <a:ext cx="112912" cy="59090"/>
            </a:xfrm>
            <a:custGeom>
              <a:avLst/>
              <a:gdLst/>
              <a:ahLst/>
              <a:cxnLst>
                <a:cxn ang="0">
                  <a:pos x="0" y="39"/>
                </a:cxn>
                <a:cxn ang="0">
                  <a:pos x="15" y="39"/>
                </a:cxn>
                <a:cxn ang="0">
                  <a:pos x="11" y="46"/>
                </a:cxn>
                <a:cxn ang="0">
                  <a:pos x="49" y="33"/>
                </a:cxn>
                <a:cxn ang="0">
                  <a:pos x="58" y="33"/>
                </a:cxn>
                <a:cxn ang="0">
                  <a:pos x="71" y="43"/>
                </a:cxn>
                <a:cxn ang="0">
                  <a:pos x="88" y="35"/>
                </a:cxn>
                <a:cxn ang="0">
                  <a:pos x="54" y="7"/>
                </a:cxn>
                <a:cxn ang="0">
                  <a:pos x="56" y="0"/>
                </a:cxn>
                <a:cxn ang="0">
                  <a:pos x="30" y="15"/>
                </a:cxn>
                <a:cxn ang="0">
                  <a:pos x="17" y="31"/>
                </a:cxn>
                <a:cxn ang="0">
                  <a:pos x="0" y="39"/>
                </a:cxn>
                <a:cxn ang="0">
                  <a:pos x="0" y="39"/>
                </a:cxn>
              </a:cxnLst>
              <a:rect l="0" t="0" r="r" b="b"/>
              <a:pathLst>
                <a:path w="88" h="46">
                  <a:moveTo>
                    <a:pt x="0" y="39"/>
                  </a:moveTo>
                  <a:lnTo>
                    <a:pt x="15" y="39"/>
                  </a:lnTo>
                  <a:lnTo>
                    <a:pt x="11" y="46"/>
                  </a:lnTo>
                  <a:lnTo>
                    <a:pt x="49" y="33"/>
                  </a:lnTo>
                  <a:lnTo>
                    <a:pt x="58" y="33"/>
                  </a:lnTo>
                  <a:lnTo>
                    <a:pt x="71" y="43"/>
                  </a:lnTo>
                  <a:lnTo>
                    <a:pt x="88" y="35"/>
                  </a:lnTo>
                  <a:lnTo>
                    <a:pt x="54" y="7"/>
                  </a:lnTo>
                  <a:lnTo>
                    <a:pt x="56" y="0"/>
                  </a:lnTo>
                  <a:lnTo>
                    <a:pt x="30" y="15"/>
                  </a:lnTo>
                  <a:lnTo>
                    <a:pt x="17" y="31"/>
                  </a:lnTo>
                  <a:lnTo>
                    <a:pt x="0" y="39"/>
                  </a:lnTo>
                  <a:lnTo>
                    <a:pt x="0" y="3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45" name="Freeform 5865"/>
            <p:cNvSpPr>
              <a:spLocks/>
            </p:cNvSpPr>
            <p:nvPr>
              <p:custDataLst>
                <p:tags r:id="rId191"/>
              </p:custDataLst>
            </p:nvPr>
          </p:nvSpPr>
          <p:spPr bwMode="gray">
            <a:xfrm>
              <a:off x="5464128" y="2784540"/>
              <a:ext cx="43625" cy="21838"/>
            </a:xfrm>
            <a:custGeom>
              <a:avLst/>
              <a:gdLst/>
              <a:ahLst/>
              <a:cxnLst>
                <a:cxn ang="0">
                  <a:pos x="2" y="9"/>
                </a:cxn>
                <a:cxn ang="0">
                  <a:pos x="0" y="17"/>
                </a:cxn>
                <a:cxn ang="0">
                  <a:pos x="15" y="15"/>
                </a:cxn>
                <a:cxn ang="0">
                  <a:pos x="34" y="5"/>
                </a:cxn>
                <a:cxn ang="0">
                  <a:pos x="32" y="0"/>
                </a:cxn>
                <a:cxn ang="0">
                  <a:pos x="17" y="0"/>
                </a:cxn>
                <a:cxn ang="0">
                  <a:pos x="2" y="9"/>
                </a:cxn>
                <a:cxn ang="0">
                  <a:pos x="2" y="9"/>
                </a:cxn>
              </a:cxnLst>
              <a:rect l="0" t="0" r="r" b="b"/>
              <a:pathLst>
                <a:path w="34" h="17">
                  <a:moveTo>
                    <a:pt x="2" y="9"/>
                  </a:moveTo>
                  <a:lnTo>
                    <a:pt x="0" y="17"/>
                  </a:lnTo>
                  <a:lnTo>
                    <a:pt x="15" y="15"/>
                  </a:lnTo>
                  <a:lnTo>
                    <a:pt x="34" y="5"/>
                  </a:lnTo>
                  <a:lnTo>
                    <a:pt x="32" y="0"/>
                  </a:lnTo>
                  <a:lnTo>
                    <a:pt x="17" y="0"/>
                  </a:lnTo>
                  <a:lnTo>
                    <a:pt x="2" y="9"/>
                  </a:lnTo>
                  <a:lnTo>
                    <a:pt x="2" y="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46" name="Freeform 5866"/>
            <p:cNvSpPr>
              <a:spLocks/>
            </p:cNvSpPr>
            <p:nvPr>
              <p:custDataLst>
                <p:tags r:id="rId192"/>
              </p:custDataLst>
            </p:nvPr>
          </p:nvSpPr>
          <p:spPr bwMode="gray">
            <a:xfrm>
              <a:off x="5342235" y="2674068"/>
              <a:ext cx="355417" cy="242782"/>
            </a:xfrm>
            <a:custGeom>
              <a:avLst/>
              <a:gdLst/>
              <a:ahLst/>
              <a:cxnLst>
                <a:cxn ang="0">
                  <a:pos x="0" y="32"/>
                </a:cxn>
                <a:cxn ang="0">
                  <a:pos x="11" y="52"/>
                </a:cxn>
                <a:cxn ang="0">
                  <a:pos x="26" y="56"/>
                </a:cxn>
                <a:cxn ang="0">
                  <a:pos x="77" y="58"/>
                </a:cxn>
                <a:cxn ang="0">
                  <a:pos x="88" y="65"/>
                </a:cxn>
                <a:cxn ang="0">
                  <a:pos x="118" y="54"/>
                </a:cxn>
                <a:cxn ang="0">
                  <a:pos x="120" y="61"/>
                </a:cxn>
                <a:cxn ang="0">
                  <a:pos x="133" y="69"/>
                </a:cxn>
                <a:cxn ang="0">
                  <a:pos x="122" y="78"/>
                </a:cxn>
                <a:cxn ang="0">
                  <a:pos x="139" y="73"/>
                </a:cxn>
                <a:cxn ang="0">
                  <a:pos x="142" y="80"/>
                </a:cxn>
                <a:cxn ang="0">
                  <a:pos x="154" y="88"/>
                </a:cxn>
                <a:cxn ang="0">
                  <a:pos x="152" y="101"/>
                </a:cxn>
                <a:cxn ang="0">
                  <a:pos x="110" y="118"/>
                </a:cxn>
                <a:cxn ang="0">
                  <a:pos x="116" y="127"/>
                </a:cxn>
                <a:cxn ang="0">
                  <a:pos x="101" y="131"/>
                </a:cxn>
                <a:cxn ang="0">
                  <a:pos x="67" y="129"/>
                </a:cxn>
                <a:cxn ang="0">
                  <a:pos x="45" y="142"/>
                </a:cxn>
                <a:cxn ang="0">
                  <a:pos x="49" y="150"/>
                </a:cxn>
                <a:cxn ang="0">
                  <a:pos x="79" y="146"/>
                </a:cxn>
                <a:cxn ang="0">
                  <a:pos x="110" y="153"/>
                </a:cxn>
                <a:cxn ang="0">
                  <a:pos x="118" y="159"/>
                </a:cxn>
                <a:cxn ang="0">
                  <a:pos x="112" y="165"/>
                </a:cxn>
                <a:cxn ang="0">
                  <a:pos x="122" y="170"/>
                </a:cxn>
                <a:cxn ang="0">
                  <a:pos x="150" y="185"/>
                </a:cxn>
                <a:cxn ang="0">
                  <a:pos x="172" y="189"/>
                </a:cxn>
                <a:cxn ang="0">
                  <a:pos x="176" y="181"/>
                </a:cxn>
                <a:cxn ang="0">
                  <a:pos x="157" y="163"/>
                </a:cxn>
                <a:cxn ang="0">
                  <a:pos x="155" y="155"/>
                </a:cxn>
                <a:cxn ang="0">
                  <a:pos x="187" y="172"/>
                </a:cxn>
                <a:cxn ang="0">
                  <a:pos x="202" y="172"/>
                </a:cxn>
                <a:cxn ang="0">
                  <a:pos x="212" y="161"/>
                </a:cxn>
                <a:cxn ang="0">
                  <a:pos x="206" y="153"/>
                </a:cxn>
                <a:cxn ang="0">
                  <a:pos x="210" y="146"/>
                </a:cxn>
                <a:cxn ang="0">
                  <a:pos x="195" y="125"/>
                </a:cxn>
                <a:cxn ang="0">
                  <a:pos x="204" y="114"/>
                </a:cxn>
                <a:cxn ang="0">
                  <a:pos x="221" y="123"/>
                </a:cxn>
                <a:cxn ang="0">
                  <a:pos x="221" y="131"/>
                </a:cxn>
                <a:cxn ang="0">
                  <a:pos x="232" y="138"/>
                </a:cxn>
                <a:cxn ang="0">
                  <a:pos x="277" y="110"/>
                </a:cxn>
                <a:cxn ang="0">
                  <a:pos x="245" y="88"/>
                </a:cxn>
                <a:cxn ang="0">
                  <a:pos x="227" y="88"/>
                </a:cxn>
                <a:cxn ang="0">
                  <a:pos x="215" y="80"/>
                </a:cxn>
                <a:cxn ang="0">
                  <a:pos x="221" y="73"/>
                </a:cxn>
                <a:cxn ang="0">
                  <a:pos x="238" y="71"/>
                </a:cxn>
                <a:cxn ang="0">
                  <a:pos x="228" y="65"/>
                </a:cxn>
                <a:cxn ang="0">
                  <a:pos x="238" y="58"/>
                </a:cxn>
                <a:cxn ang="0">
                  <a:pos x="212" y="37"/>
                </a:cxn>
                <a:cxn ang="0">
                  <a:pos x="183" y="32"/>
                </a:cxn>
                <a:cxn ang="0">
                  <a:pos x="189" y="18"/>
                </a:cxn>
                <a:cxn ang="0">
                  <a:pos x="154" y="17"/>
                </a:cxn>
                <a:cxn ang="0">
                  <a:pos x="107" y="26"/>
                </a:cxn>
                <a:cxn ang="0">
                  <a:pos x="127" y="3"/>
                </a:cxn>
                <a:cxn ang="0">
                  <a:pos x="109" y="2"/>
                </a:cxn>
                <a:cxn ang="0">
                  <a:pos x="71" y="13"/>
                </a:cxn>
                <a:cxn ang="0">
                  <a:pos x="52" y="32"/>
                </a:cxn>
                <a:cxn ang="0">
                  <a:pos x="47" y="28"/>
                </a:cxn>
                <a:cxn ang="0">
                  <a:pos x="56" y="17"/>
                </a:cxn>
                <a:cxn ang="0">
                  <a:pos x="99" y="2"/>
                </a:cxn>
                <a:cxn ang="0">
                  <a:pos x="65" y="0"/>
                </a:cxn>
                <a:cxn ang="0">
                  <a:pos x="32" y="11"/>
                </a:cxn>
                <a:cxn ang="0">
                  <a:pos x="0" y="32"/>
                </a:cxn>
                <a:cxn ang="0">
                  <a:pos x="0" y="32"/>
                </a:cxn>
              </a:cxnLst>
              <a:rect l="0" t="0" r="r" b="b"/>
              <a:pathLst>
                <a:path w="277" h="189">
                  <a:moveTo>
                    <a:pt x="0" y="32"/>
                  </a:moveTo>
                  <a:lnTo>
                    <a:pt x="11" y="52"/>
                  </a:lnTo>
                  <a:lnTo>
                    <a:pt x="26" y="56"/>
                  </a:lnTo>
                  <a:lnTo>
                    <a:pt x="77" y="58"/>
                  </a:lnTo>
                  <a:lnTo>
                    <a:pt x="88" y="65"/>
                  </a:lnTo>
                  <a:lnTo>
                    <a:pt x="118" y="54"/>
                  </a:lnTo>
                  <a:lnTo>
                    <a:pt x="120" y="61"/>
                  </a:lnTo>
                  <a:lnTo>
                    <a:pt x="133" y="69"/>
                  </a:lnTo>
                  <a:lnTo>
                    <a:pt x="122" y="78"/>
                  </a:lnTo>
                  <a:lnTo>
                    <a:pt x="139" y="73"/>
                  </a:lnTo>
                  <a:lnTo>
                    <a:pt x="142" y="80"/>
                  </a:lnTo>
                  <a:lnTo>
                    <a:pt x="154" y="88"/>
                  </a:lnTo>
                  <a:lnTo>
                    <a:pt x="152" y="101"/>
                  </a:lnTo>
                  <a:lnTo>
                    <a:pt x="110" y="118"/>
                  </a:lnTo>
                  <a:lnTo>
                    <a:pt x="116" y="127"/>
                  </a:lnTo>
                  <a:lnTo>
                    <a:pt x="101" y="131"/>
                  </a:lnTo>
                  <a:lnTo>
                    <a:pt x="67" y="129"/>
                  </a:lnTo>
                  <a:lnTo>
                    <a:pt x="45" y="142"/>
                  </a:lnTo>
                  <a:lnTo>
                    <a:pt x="49" y="150"/>
                  </a:lnTo>
                  <a:lnTo>
                    <a:pt x="79" y="146"/>
                  </a:lnTo>
                  <a:lnTo>
                    <a:pt x="110" y="153"/>
                  </a:lnTo>
                  <a:lnTo>
                    <a:pt x="118" y="159"/>
                  </a:lnTo>
                  <a:lnTo>
                    <a:pt x="112" y="165"/>
                  </a:lnTo>
                  <a:lnTo>
                    <a:pt x="122" y="170"/>
                  </a:lnTo>
                  <a:lnTo>
                    <a:pt x="150" y="185"/>
                  </a:lnTo>
                  <a:lnTo>
                    <a:pt x="172" y="189"/>
                  </a:lnTo>
                  <a:lnTo>
                    <a:pt x="176" y="181"/>
                  </a:lnTo>
                  <a:lnTo>
                    <a:pt x="157" y="163"/>
                  </a:lnTo>
                  <a:lnTo>
                    <a:pt x="155" y="155"/>
                  </a:lnTo>
                  <a:lnTo>
                    <a:pt x="187" y="172"/>
                  </a:lnTo>
                  <a:lnTo>
                    <a:pt x="202" y="172"/>
                  </a:lnTo>
                  <a:lnTo>
                    <a:pt x="212" y="161"/>
                  </a:lnTo>
                  <a:lnTo>
                    <a:pt x="206" y="153"/>
                  </a:lnTo>
                  <a:lnTo>
                    <a:pt x="210" y="146"/>
                  </a:lnTo>
                  <a:lnTo>
                    <a:pt x="195" y="125"/>
                  </a:lnTo>
                  <a:lnTo>
                    <a:pt x="204" y="114"/>
                  </a:lnTo>
                  <a:lnTo>
                    <a:pt x="221" y="123"/>
                  </a:lnTo>
                  <a:lnTo>
                    <a:pt x="221" y="131"/>
                  </a:lnTo>
                  <a:lnTo>
                    <a:pt x="232" y="138"/>
                  </a:lnTo>
                  <a:lnTo>
                    <a:pt x="277" y="110"/>
                  </a:lnTo>
                  <a:lnTo>
                    <a:pt x="245" y="88"/>
                  </a:lnTo>
                  <a:lnTo>
                    <a:pt x="227" y="88"/>
                  </a:lnTo>
                  <a:lnTo>
                    <a:pt x="215" y="80"/>
                  </a:lnTo>
                  <a:lnTo>
                    <a:pt x="221" y="73"/>
                  </a:lnTo>
                  <a:lnTo>
                    <a:pt x="238" y="71"/>
                  </a:lnTo>
                  <a:lnTo>
                    <a:pt x="228" y="65"/>
                  </a:lnTo>
                  <a:lnTo>
                    <a:pt x="238" y="58"/>
                  </a:lnTo>
                  <a:lnTo>
                    <a:pt x="212" y="37"/>
                  </a:lnTo>
                  <a:lnTo>
                    <a:pt x="183" y="32"/>
                  </a:lnTo>
                  <a:lnTo>
                    <a:pt x="189" y="18"/>
                  </a:lnTo>
                  <a:lnTo>
                    <a:pt x="154" y="17"/>
                  </a:lnTo>
                  <a:lnTo>
                    <a:pt x="107" y="26"/>
                  </a:lnTo>
                  <a:lnTo>
                    <a:pt x="127" y="3"/>
                  </a:lnTo>
                  <a:lnTo>
                    <a:pt x="109" y="2"/>
                  </a:lnTo>
                  <a:lnTo>
                    <a:pt x="71" y="13"/>
                  </a:lnTo>
                  <a:lnTo>
                    <a:pt x="52" y="32"/>
                  </a:lnTo>
                  <a:lnTo>
                    <a:pt x="47" y="28"/>
                  </a:lnTo>
                  <a:lnTo>
                    <a:pt x="56" y="17"/>
                  </a:lnTo>
                  <a:lnTo>
                    <a:pt x="99" y="2"/>
                  </a:lnTo>
                  <a:lnTo>
                    <a:pt x="65" y="0"/>
                  </a:lnTo>
                  <a:lnTo>
                    <a:pt x="32" y="11"/>
                  </a:lnTo>
                  <a:lnTo>
                    <a:pt x="0" y="32"/>
                  </a:lnTo>
                  <a:lnTo>
                    <a:pt x="0" y="3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47" name="Freeform 5867"/>
            <p:cNvSpPr>
              <a:spLocks/>
            </p:cNvSpPr>
            <p:nvPr>
              <p:custDataLst>
                <p:tags r:id="rId193"/>
              </p:custDataLst>
            </p:nvPr>
          </p:nvSpPr>
          <p:spPr bwMode="gray">
            <a:xfrm>
              <a:off x="5502621" y="2676637"/>
              <a:ext cx="65438" cy="19268"/>
            </a:xfrm>
            <a:custGeom>
              <a:avLst/>
              <a:gdLst/>
              <a:ahLst/>
              <a:cxnLst>
                <a:cxn ang="0">
                  <a:pos x="12" y="0"/>
                </a:cxn>
                <a:cxn ang="0">
                  <a:pos x="0" y="11"/>
                </a:cxn>
                <a:cxn ang="0">
                  <a:pos x="14" y="15"/>
                </a:cxn>
                <a:cxn ang="0">
                  <a:pos x="43" y="13"/>
                </a:cxn>
                <a:cxn ang="0">
                  <a:pos x="51" y="1"/>
                </a:cxn>
                <a:cxn ang="0">
                  <a:pos x="12" y="0"/>
                </a:cxn>
                <a:cxn ang="0">
                  <a:pos x="12" y="0"/>
                </a:cxn>
              </a:cxnLst>
              <a:rect l="0" t="0" r="r" b="b"/>
              <a:pathLst>
                <a:path w="51" h="15">
                  <a:moveTo>
                    <a:pt x="12" y="0"/>
                  </a:moveTo>
                  <a:lnTo>
                    <a:pt x="0" y="11"/>
                  </a:lnTo>
                  <a:lnTo>
                    <a:pt x="14" y="15"/>
                  </a:lnTo>
                  <a:lnTo>
                    <a:pt x="43" y="13"/>
                  </a:lnTo>
                  <a:lnTo>
                    <a:pt x="51" y="1"/>
                  </a:lnTo>
                  <a:lnTo>
                    <a:pt x="12" y="0"/>
                  </a:lnTo>
                  <a:lnTo>
                    <a:pt x="12"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48" name="Freeform 5868"/>
            <p:cNvSpPr>
              <a:spLocks/>
            </p:cNvSpPr>
            <p:nvPr>
              <p:custDataLst>
                <p:tags r:id="rId194"/>
              </p:custDataLst>
            </p:nvPr>
          </p:nvSpPr>
          <p:spPr bwMode="gray">
            <a:xfrm>
              <a:off x="5243436" y="2603417"/>
              <a:ext cx="21813" cy="12846"/>
            </a:xfrm>
            <a:custGeom>
              <a:avLst/>
              <a:gdLst/>
              <a:ahLst/>
              <a:cxnLst>
                <a:cxn ang="0">
                  <a:pos x="6" y="2"/>
                </a:cxn>
                <a:cxn ang="0">
                  <a:pos x="0" y="8"/>
                </a:cxn>
                <a:cxn ang="0">
                  <a:pos x="13" y="10"/>
                </a:cxn>
                <a:cxn ang="0">
                  <a:pos x="17" y="0"/>
                </a:cxn>
                <a:cxn ang="0">
                  <a:pos x="6" y="2"/>
                </a:cxn>
                <a:cxn ang="0">
                  <a:pos x="6" y="2"/>
                </a:cxn>
              </a:cxnLst>
              <a:rect l="0" t="0" r="r" b="b"/>
              <a:pathLst>
                <a:path w="17" h="10">
                  <a:moveTo>
                    <a:pt x="6" y="2"/>
                  </a:moveTo>
                  <a:lnTo>
                    <a:pt x="0" y="8"/>
                  </a:lnTo>
                  <a:lnTo>
                    <a:pt x="13" y="10"/>
                  </a:lnTo>
                  <a:lnTo>
                    <a:pt x="17" y="0"/>
                  </a:lnTo>
                  <a:lnTo>
                    <a:pt x="6" y="2"/>
                  </a:lnTo>
                  <a:lnTo>
                    <a:pt x="6"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49" name="Freeform 5869"/>
            <p:cNvSpPr>
              <a:spLocks/>
            </p:cNvSpPr>
            <p:nvPr>
              <p:custDataLst>
                <p:tags r:id="rId195"/>
              </p:custDataLst>
            </p:nvPr>
          </p:nvSpPr>
          <p:spPr bwMode="gray">
            <a:xfrm>
              <a:off x="5234455" y="2620116"/>
              <a:ext cx="91100" cy="32114"/>
            </a:xfrm>
            <a:custGeom>
              <a:avLst/>
              <a:gdLst/>
              <a:ahLst/>
              <a:cxnLst>
                <a:cxn ang="0">
                  <a:pos x="0" y="2"/>
                </a:cxn>
                <a:cxn ang="0">
                  <a:pos x="0" y="19"/>
                </a:cxn>
                <a:cxn ang="0">
                  <a:pos x="18" y="17"/>
                </a:cxn>
                <a:cxn ang="0">
                  <a:pos x="18" y="25"/>
                </a:cxn>
                <a:cxn ang="0">
                  <a:pos x="45" y="25"/>
                </a:cxn>
                <a:cxn ang="0">
                  <a:pos x="71" y="6"/>
                </a:cxn>
                <a:cxn ang="0">
                  <a:pos x="41" y="0"/>
                </a:cxn>
                <a:cxn ang="0">
                  <a:pos x="20" y="12"/>
                </a:cxn>
                <a:cxn ang="0">
                  <a:pos x="11" y="2"/>
                </a:cxn>
                <a:cxn ang="0">
                  <a:pos x="0" y="2"/>
                </a:cxn>
                <a:cxn ang="0">
                  <a:pos x="0" y="2"/>
                </a:cxn>
              </a:cxnLst>
              <a:rect l="0" t="0" r="r" b="b"/>
              <a:pathLst>
                <a:path w="71" h="25">
                  <a:moveTo>
                    <a:pt x="0" y="2"/>
                  </a:moveTo>
                  <a:lnTo>
                    <a:pt x="0" y="19"/>
                  </a:lnTo>
                  <a:lnTo>
                    <a:pt x="18" y="17"/>
                  </a:lnTo>
                  <a:lnTo>
                    <a:pt x="18" y="25"/>
                  </a:lnTo>
                  <a:lnTo>
                    <a:pt x="45" y="25"/>
                  </a:lnTo>
                  <a:lnTo>
                    <a:pt x="71" y="6"/>
                  </a:lnTo>
                  <a:lnTo>
                    <a:pt x="41" y="0"/>
                  </a:lnTo>
                  <a:lnTo>
                    <a:pt x="20" y="12"/>
                  </a:lnTo>
                  <a:lnTo>
                    <a:pt x="11" y="2"/>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50" name="Freeform 5870"/>
            <p:cNvSpPr>
              <a:spLocks/>
            </p:cNvSpPr>
            <p:nvPr>
              <p:custDataLst>
                <p:tags r:id="rId196"/>
              </p:custDataLst>
            </p:nvPr>
          </p:nvSpPr>
          <p:spPr bwMode="gray">
            <a:xfrm>
              <a:off x="5199811" y="2644523"/>
              <a:ext cx="19246" cy="5138"/>
            </a:xfrm>
            <a:custGeom>
              <a:avLst/>
              <a:gdLst/>
              <a:ahLst/>
              <a:cxnLst>
                <a:cxn ang="0">
                  <a:pos x="0" y="4"/>
                </a:cxn>
                <a:cxn ang="0">
                  <a:pos x="15" y="4"/>
                </a:cxn>
                <a:cxn ang="0">
                  <a:pos x="14" y="0"/>
                </a:cxn>
                <a:cxn ang="0">
                  <a:pos x="0" y="4"/>
                </a:cxn>
                <a:cxn ang="0">
                  <a:pos x="0" y="4"/>
                </a:cxn>
              </a:cxnLst>
              <a:rect l="0" t="0" r="r" b="b"/>
              <a:pathLst>
                <a:path w="15" h="4">
                  <a:moveTo>
                    <a:pt x="0" y="4"/>
                  </a:moveTo>
                  <a:lnTo>
                    <a:pt x="15" y="4"/>
                  </a:lnTo>
                  <a:lnTo>
                    <a:pt x="14" y="0"/>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51" name="Freeform 5871"/>
            <p:cNvSpPr>
              <a:spLocks/>
            </p:cNvSpPr>
            <p:nvPr>
              <p:custDataLst>
                <p:tags r:id="rId197"/>
              </p:custDataLst>
            </p:nvPr>
          </p:nvSpPr>
          <p:spPr bwMode="gray">
            <a:xfrm>
              <a:off x="5176716" y="2668929"/>
              <a:ext cx="102647" cy="55236"/>
            </a:xfrm>
            <a:custGeom>
              <a:avLst/>
              <a:gdLst/>
              <a:ahLst/>
              <a:cxnLst>
                <a:cxn ang="0">
                  <a:pos x="2" y="19"/>
                </a:cxn>
                <a:cxn ang="0">
                  <a:pos x="0" y="28"/>
                </a:cxn>
                <a:cxn ang="0">
                  <a:pos x="13" y="28"/>
                </a:cxn>
                <a:cxn ang="0">
                  <a:pos x="20" y="43"/>
                </a:cxn>
                <a:cxn ang="0">
                  <a:pos x="58" y="34"/>
                </a:cxn>
                <a:cxn ang="0">
                  <a:pos x="73" y="17"/>
                </a:cxn>
                <a:cxn ang="0">
                  <a:pos x="60" y="15"/>
                </a:cxn>
                <a:cxn ang="0">
                  <a:pos x="78" y="7"/>
                </a:cxn>
                <a:cxn ang="0">
                  <a:pos x="80" y="0"/>
                </a:cxn>
                <a:cxn ang="0">
                  <a:pos x="35" y="4"/>
                </a:cxn>
                <a:cxn ang="0">
                  <a:pos x="28" y="9"/>
                </a:cxn>
                <a:cxn ang="0">
                  <a:pos x="32" y="17"/>
                </a:cxn>
                <a:cxn ang="0">
                  <a:pos x="2" y="19"/>
                </a:cxn>
                <a:cxn ang="0">
                  <a:pos x="2" y="19"/>
                </a:cxn>
              </a:cxnLst>
              <a:rect l="0" t="0" r="r" b="b"/>
              <a:pathLst>
                <a:path w="80" h="43">
                  <a:moveTo>
                    <a:pt x="2" y="19"/>
                  </a:moveTo>
                  <a:lnTo>
                    <a:pt x="0" y="28"/>
                  </a:lnTo>
                  <a:lnTo>
                    <a:pt x="13" y="28"/>
                  </a:lnTo>
                  <a:lnTo>
                    <a:pt x="20" y="43"/>
                  </a:lnTo>
                  <a:lnTo>
                    <a:pt x="58" y="34"/>
                  </a:lnTo>
                  <a:lnTo>
                    <a:pt x="73" y="17"/>
                  </a:lnTo>
                  <a:lnTo>
                    <a:pt x="60" y="15"/>
                  </a:lnTo>
                  <a:lnTo>
                    <a:pt x="78" y="7"/>
                  </a:lnTo>
                  <a:lnTo>
                    <a:pt x="80" y="0"/>
                  </a:lnTo>
                  <a:lnTo>
                    <a:pt x="35" y="4"/>
                  </a:lnTo>
                  <a:lnTo>
                    <a:pt x="28" y="9"/>
                  </a:lnTo>
                  <a:lnTo>
                    <a:pt x="32" y="17"/>
                  </a:lnTo>
                  <a:lnTo>
                    <a:pt x="2" y="19"/>
                  </a:lnTo>
                  <a:lnTo>
                    <a:pt x="2" y="1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52" name="Freeform 5872"/>
            <p:cNvSpPr>
              <a:spLocks/>
            </p:cNvSpPr>
            <p:nvPr>
              <p:custDataLst>
                <p:tags r:id="rId198"/>
              </p:custDataLst>
            </p:nvPr>
          </p:nvSpPr>
          <p:spPr bwMode="gray">
            <a:xfrm>
              <a:off x="5160035" y="2591856"/>
              <a:ext cx="66721" cy="5138"/>
            </a:xfrm>
            <a:custGeom>
              <a:avLst/>
              <a:gdLst/>
              <a:ahLst/>
              <a:cxnLst>
                <a:cxn ang="0">
                  <a:pos x="0" y="4"/>
                </a:cxn>
                <a:cxn ang="0">
                  <a:pos x="52" y="0"/>
                </a:cxn>
                <a:cxn ang="0">
                  <a:pos x="0" y="4"/>
                </a:cxn>
                <a:cxn ang="0">
                  <a:pos x="0" y="4"/>
                </a:cxn>
              </a:cxnLst>
              <a:rect l="0" t="0" r="r" b="b"/>
              <a:pathLst>
                <a:path w="52" h="4">
                  <a:moveTo>
                    <a:pt x="0" y="4"/>
                  </a:moveTo>
                  <a:lnTo>
                    <a:pt x="52" y="0"/>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53" name="Freeform 5873"/>
            <p:cNvSpPr>
              <a:spLocks/>
            </p:cNvSpPr>
            <p:nvPr>
              <p:custDataLst>
                <p:tags r:id="rId199"/>
              </p:custDataLst>
            </p:nvPr>
          </p:nvSpPr>
          <p:spPr bwMode="gray">
            <a:xfrm>
              <a:off x="5125392" y="2599563"/>
              <a:ext cx="21813" cy="3854"/>
            </a:xfrm>
            <a:custGeom>
              <a:avLst/>
              <a:gdLst/>
              <a:ahLst/>
              <a:cxnLst>
                <a:cxn ang="0">
                  <a:pos x="0" y="1"/>
                </a:cxn>
                <a:cxn ang="0">
                  <a:pos x="12" y="3"/>
                </a:cxn>
                <a:cxn ang="0">
                  <a:pos x="17" y="0"/>
                </a:cxn>
                <a:cxn ang="0">
                  <a:pos x="0" y="1"/>
                </a:cxn>
                <a:cxn ang="0">
                  <a:pos x="0" y="1"/>
                </a:cxn>
              </a:cxnLst>
              <a:rect l="0" t="0" r="r" b="b"/>
              <a:pathLst>
                <a:path w="17" h="3">
                  <a:moveTo>
                    <a:pt x="0" y="1"/>
                  </a:moveTo>
                  <a:lnTo>
                    <a:pt x="12" y="3"/>
                  </a:lnTo>
                  <a:lnTo>
                    <a:pt x="17" y="0"/>
                  </a:lnTo>
                  <a:lnTo>
                    <a:pt x="0" y="1"/>
                  </a:lnTo>
                  <a:lnTo>
                    <a:pt x="0" y="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54" name="Freeform 5874"/>
            <p:cNvSpPr>
              <a:spLocks/>
            </p:cNvSpPr>
            <p:nvPr>
              <p:custDataLst>
                <p:tags r:id="rId200"/>
              </p:custDataLst>
            </p:nvPr>
          </p:nvSpPr>
          <p:spPr bwMode="gray">
            <a:xfrm>
              <a:off x="5142072" y="2599563"/>
              <a:ext cx="60305" cy="11561"/>
            </a:xfrm>
            <a:custGeom>
              <a:avLst/>
              <a:gdLst/>
              <a:ahLst/>
              <a:cxnLst>
                <a:cxn ang="0">
                  <a:pos x="4" y="3"/>
                </a:cxn>
                <a:cxn ang="0">
                  <a:pos x="0" y="7"/>
                </a:cxn>
                <a:cxn ang="0">
                  <a:pos x="14" y="9"/>
                </a:cxn>
                <a:cxn ang="0">
                  <a:pos x="47" y="0"/>
                </a:cxn>
                <a:cxn ang="0">
                  <a:pos x="4" y="3"/>
                </a:cxn>
                <a:cxn ang="0">
                  <a:pos x="4" y="3"/>
                </a:cxn>
              </a:cxnLst>
              <a:rect l="0" t="0" r="r" b="b"/>
              <a:pathLst>
                <a:path w="47" h="9">
                  <a:moveTo>
                    <a:pt x="4" y="3"/>
                  </a:moveTo>
                  <a:lnTo>
                    <a:pt x="0" y="7"/>
                  </a:lnTo>
                  <a:lnTo>
                    <a:pt x="14" y="9"/>
                  </a:lnTo>
                  <a:lnTo>
                    <a:pt x="47" y="0"/>
                  </a:lnTo>
                  <a:lnTo>
                    <a:pt x="4" y="3"/>
                  </a:lnTo>
                  <a:lnTo>
                    <a:pt x="4" y="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55" name="Freeform 5875"/>
            <p:cNvSpPr>
              <a:spLocks/>
            </p:cNvSpPr>
            <p:nvPr>
              <p:custDataLst>
                <p:tags r:id="rId201"/>
              </p:custDataLst>
            </p:nvPr>
          </p:nvSpPr>
          <p:spPr bwMode="gray">
            <a:xfrm>
              <a:off x="5008630" y="2632962"/>
              <a:ext cx="38493" cy="11561"/>
            </a:xfrm>
            <a:custGeom>
              <a:avLst/>
              <a:gdLst/>
              <a:ahLst/>
              <a:cxnLst>
                <a:cxn ang="0">
                  <a:pos x="0" y="7"/>
                </a:cxn>
                <a:cxn ang="0">
                  <a:pos x="7" y="9"/>
                </a:cxn>
                <a:cxn ang="0">
                  <a:pos x="30" y="0"/>
                </a:cxn>
                <a:cxn ang="0">
                  <a:pos x="0" y="7"/>
                </a:cxn>
                <a:cxn ang="0">
                  <a:pos x="0" y="7"/>
                </a:cxn>
              </a:cxnLst>
              <a:rect l="0" t="0" r="r" b="b"/>
              <a:pathLst>
                <a:path w="30" h="9">
                  <a:moveTo>
                    <a:pt x="0" y="7"/>
                  </a:moveTo>
                  <a:lnTo>
                    <a:pt x="7" y="9"/>
                  </a:lnTo>
                  <a:lnTo>
                    <a:pt x="30" y="0"/>
                  </a:lnTo>
                  <a:lnTo>
                    <a:pt x="0" y="7"/>
                  </a:lnTo>
                  <a:lnTo>
                    <a:pt x="0" y="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56" name="Freeform 5876"/>
            <p:cNvSpPr>
              <a:spLocks/>
            </p:cNvSpPr>
            <p:nvPr>
              <p:custDataLst>
                <p:tags r:id="rId202"/>
              </p:custDataLst>
            </p:nvPr>
          </p:nvSpPr>
          <p:spPr bwMode="gray">
            <a:xfrm>
              <a:off x="4959873" y="2611124"/>
              <a:ext cx="148839" cy="26976"/>
            </a:xfrm>
            <a:custGeom>
              <a:avLst/>
              <a:gdLst/>
              <a:ahLst/>
              <a:cxnLst>
                <a:cxn ang="0">
                  <a:pos x="0" y="15"/>
                </a:cxn>
                <a:cxn ang="0">
                  <a:pos x="4" y="21"/>
                </a:cxn>
                <a:cxn ang="0">
                  <a:pos x="30" y="21"/>
                </a:cxn>
                <a:cxn ang="0">
                  <a:pos x="62" y="11"/>
                </a:cxn>
                <a:cxn ang="0">
                  <a:pos x="73" y="15"/>
                </a:cxn>
                <a:cxn ang="0">
                  <a:pos x="116" y="0"/>
                </a:cxn>
                <a:cxn ang="0">
                  <a:pos x="77" y="0"/>
                </a:cxn>
                <a:cxn ang="0">
                  <a:pos x="0" y="15"/>
                </a:cxn>
                <a:cxn ang="0">
                  <a:pos x="0" y="15"/>
                </a:cxn>
              </a:cxnLst>
              <a:rect l="0" t="0" r="r" b="b"/>
              <a:pathLst>
                <a:path w="116" h="21">
                  <a:moveTo>
                    <a:pt x="0" y="15"/>
                  </a:moveTo>
                  <a:lnTo>
                    <a:pt x="4" y="21"/>
                  </a:lnTo>
                  <a:lnTo>
                    <a:pt x="30" y="21"/>
                  </a:lnTo>
                  <a:lnTo>
                    <a:pt x="62" y="11"/>
                  </a:lnTo>
                  <a:lnTo>
                    <a:pt x="73" y="15"/>
                  </a:lnTo>
                  <a:lnTo>
                    <a:pt x="116" y="0"/>
                  </a:lnTo>
                  <a:lnTo>
                    <a:pt x="77" y="0"/>
                  </a:lnTo>
                  <a:lnTo>
                    <a:pt x="0" y="15"/>
                  </a:lnTo>
                  <a:lnTo>
                    <a:pt x="0"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57" name="Freeform 5877"/>
            <p:cNvSpPr>
              <a:spLocks/>
            </p:cNvSpPr>
            <p:nvPr>
              <p:custDataLst>
                <p:tags r:id="rId203"/>
              </p:custDataLst>
            </p:nvPr>
          </p:nvSpPr>
          <p:spPr bwMode="gray">
            <a:xfrm>
              <a:off x="5022744" y="2620116"/>
              <a:ext cx="182199" cy="43675"/>
            </a:xfrm>
            <a:custGeom>
              <a:avLst/>
              <a:gdLst/>
              <a:ahLst/>
              <a:cxnLst>
                <a:cxn ang="0">
                  <a:pos x="0" y="21"/>
                </a:cxn>
                <a:cxn ang="0">
                  <a:pos x="20" y="25"/>
                </a:cxn>
                <a:cxn ang="0">
                  <a:pos x="37" y="21"/>
                </a:cxn>
                <a:cxn ang="0">
                  <a:pos x="43" y="27"/>
                </a:cxn>
                <a:cxn ang="0">
                  <a:pos x="24" y="30"/>
                </a:cxn>
                <a:cxn ang="0">
                  <a:pos x="39" y="34"/>
                </a:cxn>
                <a:cxn ang="0">
                  <a:pos x="122" y="25"/>
                </a:cxn>
                <a:cxn ang="0">
                  <a:pos x="142" y="14"/>
                </a:cxn>
                <a:cxn ang="0">
                  <a:pos x="120" y="8"/>
                </a:cxn>
                <a:cxn ang="0">
                  <a:pos x="123" y="0"/>
                </a:cxn>
                <a:cxn ang="0">
                  <a:pos x="95" y="8"/>
                </a:cxn>
                <a:cxn ang="0">
                  <a:pos x="103" y="10"/>
                </a:cxn>
                <a:cxn ang="0">
                  <a:pos x="95" y="14"/>
                </a:cxn>
                <a:cxn ang="0">
                  <a:pos x="95" y="19"/>
                </a:cxn>
                <a:cxn ang="0">
                  <a:pos x="75" y="17"/>
                </a:cxn>
                <a:cxn ang="0">
                  <a:pos x="73" y="10"/>
                </a:cxn>
                <a:cxn ang="0">
                  <a:pos x="47" y="6"/>
                </a:cxn>
                <a:cxn ang="0">
                  <a:pos x="0" y="21"/>
                </a:cxn>
                <a:cxn ang="0">
                  <a:pos x="0" y="21"/>
                </a:cxn>
              </a:cxnLst>
              <a:rect l="0" t="0" r="r" b="b"/>
              <a:pathLst>
                <a:path w="142" h="34">
                  <a:moveTo>
                    <a:pt x="0" y="21"/>
                  </a:moveTo>
                  <a:lnTo>
                    <a:pt x="20" y="25"/>
                  </a:lnTo>
                  <a:lnTo>
                    <a:pt x="37" y="21"/>
                  </a:lnTo>
                  <a:lnTo>
                    <a:pt x="43" y="27"/>
                  </a:lnTo>
                  <a:lnTo>
                    <a:pt x="24" y="30"/>
                  </a:lnTo>
                  <a:lnTo>
                    <a:pt x="39" y="34"/>
                  </a:lnTo>
                  <a:lnTo>
                    <a:pt x="122" y="25"/>
                  </a:lnTo>
                  <a:lnTo>
                    <a:pt x="142" y="14"/>
                  </a:lnTo>
                  <a:lnTo>
                    <a:pt x="120" y="8"/>
                  </a:lnTo>
                  <a:lnTo>
                    <a:pt x="123" y="0"/>
                  </a:lnTo>
                  <a:lnTo>
                    <a:pt x="95" y="8"/>
                  </a:lnTo>
                  <a:lnTo>
                    <a:pt x="103" y="10"/>
                  </a:lnTo>
                  <a:lnTo>
                    <a:pt x="95" y="14"/>
                  </a:lnTo>
                  <a:lnTo>
                    <a:pt x="95" y="19"/>
                  </a:lnTo>
                  <a:lnTo>
                    <a:pt x="75" y="17"/>
                  </a:lnTo>
                  <a:lnTo>
                    <a:pt x="73" y="10"/>
                  </a:lnTo>
                  <a:lnTo>
                    <a:pt x="47" y="6"/>
                  </a:lnTo>
                  <a:lnTo>
                    <a:pt x="0" y="21"/>
                  </a:lnTo>
                  <a:lnTo>
                    <a:pt x="0" y="2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58" name="Freeform 5878"/>
            <p:cNvSpPr>
              <a:spLocks/>
            </p:cNvSpPr>
            <p:nvPr>
              <p:custDataLst>
                <p:tags r:id="rId204"/>
              </p:custDataLst>
            </p:nvPr>
          </p:nvSpPr>
          <p:spPr bwMode="gray">
            <a:xfrm>
              <a:off x="4902134" y="2677921"/>
              <a:ext cx="269449" cy="98911"/>
            </a:xfrm>
            <a:custGeom>
              <a:avLst/>
              <a:gdLst/>
              <a:ahLst/>
              <a:cxnLst>
                <a:cxn ang="0">
                  <a:pos x="9" y="30"/>
                </a:cxn>
                <a:cxn ang="0">
                  <a:pos x="19" y="34"/>
                </a:cxn>
                <a:cxn ang="0">
                  <a:pos x="9" y="40"/>
                </a:cxn>
                <a:cxn ang="0">
                  <a:pos x="15" y="44"/>
                </a:cxn>
                <a:cxn ang="0">
                  <a:pos x="60" y="49"/>
                </a:cxn>
                <a:cxn ang="0">
                  <a:pos x="8" y="53"/>
                </a:cxn>
                <a:cxn ang="0">
                  <a:pos x="0" y="62"/>
                </a:cxn>
                <a:cxn ang="0">
                  <a:pos x="28" y="66"/>
                </a:cxn>
                <a:cxn ang="0">
                  <a:pos x="24" y="77"/>
                </a:cxn>
                <a:cxn ang="0">
                  <a:pos x="124" y="62"/>
                </a:cxn>
                <a:cxn ang="0">
                  <a:pos x="139" y="72"/>
                </a:cxn>
                <a:cxn ang="0">
                  <a:pos x="156" y="70"/>
                </a:cxn>
                <a:cxn ang="0">
                  <a:pos x="197" y="51"/>
                </a:cxn>
                <a:cxn ang="0">
                  <a:pos x="167" y="45"/>
                </a:cxn>
                <a:cxn ang="0">
                  <a:pos x="163" y="40"/>
                </a:cxn>
                <a:cxn ang="0">
                  <a:pos x="174" y="30"/>
                </a:cxn>
                <a:cxn ang="0">
                  <a:pos x="180" y="15"/>
                </a:cxn>
                <a:cxn ang="0">
                  <a:pos x="210" y="4"/>
                </a:cxn>
                <a:cxn ang="0">
                  <a:pos x="187" y="0"/>
                </a:cxn>
                <a:cxn ang="0">
                  <a:pos x="154" y="15"/>
                </a:cxn>
                <a:cxn ang="0">
                  <a:pos x="116" y="10"/>
                </a:cxn>
                <a:cxn ang="0">
                  <a:pos x="94" y="14"/>
                </a:cxn>
                <a:cxn ang="0">
                  <a:pos x="101" y="4"/>
                </a:cxn>
                <a:cxn ang="0">
                  <a:pos x="88" y="4"/>
                </a:cxn>
                <a:cxn ang="0">
                  <a:pos x="39" y="15"/>
                </a:cxn>
                <a:cxn ang="0">
                  <a:pos x="9" y="30"/>
                </a:cxn>
                <a:cxn ang="0">
                  <a:pos x="9" y="30"/>
                </a:cxn>
              </a:cxnLst>
              <a:rect l="0" t="0" r="r" b="b"/>
              <a:pathLst>
                <a:path w="210" h="77">
                  <a:moveTo>
                    <a:pt x="9" y="30"/>
                  </a:moveTo>
                  <a:lnTo>
                    <a:pt x="19" y="34"/>
                  </a:lnTo>
                  <a:lnTo>
                    <a:pt x="9" y="40"/>
                  </a:lnTo>
                  <a:lnTo>
                    <a:pt x="15" y="44"/>
                  </a:lnTo>
                  <a:lnTo>
                    <a:pt x="60" y="49"/>
                  </a:lnTo>
                  <a:lnTo>
                    <a:pt x="8" y="53"/>
                  </a:lnTo>
                  <a:lnTo>
                    <a:pt x="0" y="62"/>
                  </a:lnTo>
                  <a:lnTo>
                    <a:pt x="28" y="66"/>
                  </a:lnTo>
                  <a:lnTo>
                    <a:pt x="24" y="77"/>
                  </a:lnTo>
                  <a:lnTo>
                    <a:pt x="124" y="62"/>
                  </a:lnTo>
                  <a:lnTo>
                    <a:pt x="139" y="72"/>
                  </a:lnTo>
                  <a:lnTo>
                    <a:pt x="156" y="70"/>
                  </a:lnTo>
                  <a:lnTo>
                    <a:pt x="197" y="51"/>
                  </a:lnTo>
                  <a:lnTo>
                    <a:pt x="167" y="45"/>
                  </a:lnTo>
                  <a:lnTo>
                    <a:pt x="163" y="40"/>
                  </a:lnTo>
                  <a:lnTo>
                    <a:pt x="174" y="30"/>
                  </a:lnTo>
                  <a:lnTo>
                    <a:pt x="180" y="15"/>
                  </a:lnTo>
                  <a:lnTo>
                    <a:pt x="210" y="4"/>
                  </a:lnTo>
                  <a:lnTo>
                    <a:pt x="187" y="0"/>
                  </a:lnTo>
                  <a:lnTo>
                    <a:pt x="154" y="15"/>
                  </a:lnTo>
                  <a:lnTo>
                    <a:pt x="116" y="10"/>
                  </a:lnTo>
                  <a:lnTo>
                    <a:pt x="94" y="14"/>
                  </a:lnTo>
                  <a:lnTo>
                    <a:pt x="101" y="4"/>
                  </a:lnTo>
                  <a:lnTo>
                    <a:pt x="88" y="4"/>
                  </a:lnTo>
                  <a:lnTo>
                    <a:pt x="39" y="15"/>
                  </a:lnTo>
                  <a:lnTo>
                    <a:pt x="9" y="30"/>
                  </a:lnTo>
                  <a:lnTo>
                    <a:pt x="9" y="3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59" name="Freeform 5879"/>
            <p:cNvSpPr>
              <a:spLocks/>
            </p:cNvSpPr>
            <p:nvPr>
              <p:custDataLst>
                <p:tags r:id="rId205"/>
              </p:custDataLst>
            </p:nvPr>
          </p:nvSpPr>
          <p:spPr bwMode="gray">
            <a:xfrm>
              <a:off x="4832847" y="2661222"/>
              <a:ext cx="182199" cy="68082"/>
            </a:xfrm>
            <a:custGeom>
              <a:avLst/>
              <a:gdLst/>
              <a:ahLst/>
              <a:cxnLst>
                <a:cxn ang="0">
                  <a:pos x="0" y="36"/>
                </a:cxn>
                <a:cxn ang="0">
                  <a:pos x="9" y="42"/>
                </a:cxn>
                <a:cxn ang="0">
                  <a:pos x="5" y="53"/>
                </a:cxn>
                <a:cxn ang="0">
                  <a:pos x="41" y="47"/>
                </a:cxn>
                <a:cxn ang="0">
                  <a:pos x="78" y="28"/>
                </a:cxn>
                <a:cxn ang="0">
                  <a:pos x="142" y="15"/>
                </a:cxn>
                <a:cxn ang="0">
                  <a:pos x="131" y="4"/>
                </a:cxn>
                <a:cxn ang="0">
                  <a:pos x="95" y="0"/>
                </a:cxn>
                <a:cxn ang="0">
                  <a:pos x="50" y="8"/>
                </a:cxn>
                <a:cxn ang="0">
                  <a:pos x="47" y="15"/>
                </a:cxn>
                <a:cxn ang="0">
                  <a:pos x="0" y="36"/>
                </a:cxn>
                <a:cxn ang="0">
                  <a:pos x="0" y="36"/>
                </a:cxn>
              </a:cxnLst>
              <a:rect l="0" t="0" r="r" b="b"/>
              <a:pathLst>
                <a:path w="142" h="53">
                  <a:moveTo>
                    <a:pt x="0" y="36"/>
                  </a:moveTo>
                  <a:lnTo>
                    <a:pt x="9" y="42"/>
                  </a:lnTo>
                  <a:lnTo>
                    <a:pt x="5" y="53"/>
                  </a:lnTo>
                  <a:lnTo>
                    <a:pt x="41" y="47"/>
                  </a:lnTo>
                  <a:lnTo>
                    <a:pt x="78" y="28"/>
                  </a:lnTo>
                  <a:lnTo>
                    <a:pt x="142" y="15"/>
                  </a:lnTo>
                  <a:lnTo>
                    <a:pt x="131" y="4"/>
                  </a:lnTo>
                  <a:lnTo>
                    <a:pt x="95" y="0"/>
                  </a:lnTo>
                  <a:lnTo>
                    <a:pt x="50" y="8"/>
                  </a:lnTo>
                  <a:lnTo>
                    <a:pt x="47" y="15"/>
                  </a:lnTo>
                  <a:lnTo>
                    <a:pt x="0" y="36"/>
                  </a:lnTo>
                  <a:lnTo>
                    <a:pt x="0" y="3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60" name="Freeform 5885"/>
            <p:cNvSpPr>
              <a:spLocks/>
            </p:cNvSpPr>
            <p:nvPr>
              <p:custDataLst>
                <p:tags r:id="rId206"/>
              </p:custDataLst>
            </p:nvPr>
          </p:nvSpPr>
          <p:spPr bwMode="gray">
            <a:xfrm>
              <a:off x="9680371" y="2878313"/>
              <a:ext cx="55173" cy="11561"/>
            </a:xfrm>
            <a:custGeom>
              <a:avLst/>
              <a:gdLst/>
              <a:ahLst/>
              <a:cxnLst>
                <a:cxn ang="0">
                  <a:pos x="0" y="0"/>
                </a:cxn>
                <a:cxn ang="0">
                  <a:pos x="7" y="6"/>
                </a:cxn>
                <a:cxn ang="0">
                  <a:pos x="37" y="9"/>
                </a:cxn>
                <a:cxn ang="0">
                  <a:pos x="43" y="6"/>
                </a:cxn>
                <a:cxn ang="0">
                  <a:pos x="0" y="0"/>
                </a:cxn>
              </a:cxnLst>
              <a:rect l="0" t="0" r="r" b="b"/>
              <a:pathLst>
                <a:path w="43" h="9">
                  <a:moveTo>
                    <a:pt x="0" y="0"/>
                  </a:moveTo>
                  <a:lnTo>
                    <a:pt x="7" y="6"/>
                  </a:lnTo>
                  <a:lnTo>
                    <a:pt x="37" y="9"/>
                  </a:lnTo>
                  <a:lnTo>
                    <a:pt x="43" y="6"/>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61" name="Freeform 5886"/>
            <p:cNvSpPr>
              <a:spLocks/>
            </p:cNvSpPr>
            <p:nvPr>
              <p:custDataLst>
                <p:tags r:id="rId207"/>
              </p:custDataLst>
            </p:nvPr>
          </p:nvSpPr>
          <p:spPr bwMode="gray">
            <a:xfrm>
              <a:off x="9680371" y="2878313"/>
              <a:ext cx="55173" cy="11561"/>
            </a:xfrm>
            <a:custGeom>
              <a:avLst/>
              <a:gdLst/>
              <a:ahLst/>
              <a:cxnLst>
                <a:cxn ang="0">
                  <a:pos x="0" y="0"/>
                </a:cxn>
                <a:cxn ang="0">
                  <a:pos x="7" y="6"/>
                </a:cxn>
                <a:cxn ang="0">
                  <a:pos x="37" y="9"/>
                </a:cxn>
                <a:cxn ang="0">
                  <a:pos x="43" y="6"/>
                </a:cxn>
              </a:cxnLst>
              <a:rect l="0" t="0" r="r" b="b"/>
              <a:pathLst>
                <a:path w="43" h="9">
                  <a:moveTo>
                    <a:pt x="0" y="0"/>
                  </a:moveTo>
                  <a:lnTo>
                    <a:pt x="7" y="6"/>
                  </a:lnTo>
                  <a:lnTo>
                    <a:pt x="37" y="9"/>
                  </a:lnTo>
                  <a:lnTo>
                    <a:pt x="43" y="6"/>
                  </a:lnTo>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62" name="Freeform 5889"/>
            <p:cNvSpPr>
              <a:spLocks/>
            </p:cNvSpPr>
            <p:nvPr>
              <p:custDataLst>
                <p:tags r:id="rId208"/>
              </p:custDataLst>
            </p:nvPr>
          </p:nvSpPr>
          <p:spPr bwMode="gray">
            <a:xfrm>
              <a:off x="9680371" y="2878313"/>
              <a:ext cx="52607" cy="7707"/>
            </a:xfrm>
            <a:custGeom>
              <a:avLst/>
              <a:gdLst/>
              <a:ahLst/>
              <a:cxnLst>
                <a:cxn ang="0">
                  <a:pos x="41" y="6"/>
                </a:cxn>
                <a:cxn ang="0">
                  <a:pos x="0" y="0"/>
                </a:cxn>
                <a:cxn ang="0">
                  <a:pos x="41" y="6"/>
                </a:cxn>
              </a:cxnLst>
              <a:rect l="0" t="0" r="r" b="b"/>
              <a:pathLst>
                <a:path w="41" h="6">
                  <a:moveTo>
                    <a:pt x="41" y="6"/>
                  </a:moveTo>
                  <a:lnTo>
                    <a:pt x="0" y="0"/>
                  </a:lnTo>
                  <a:lnTo>
                    <a:pt x="41"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63" name="Line 5890"/>
            <p:cNvSpPr>
              <a:spLocks noChangeShapeType="1"/>
            </p:cNvSpPr>
            <p:nvPr>
              <p:custDataLst>
                <p:tags r:id="rId209"/>
              </p:custDataLst>
            </p:nvPr>
          </p:nvSpPr>
          <p:spPr bwMode="gray">
            <a:xfrm flipH="1" flipV="1">
              <a:off x="9680371" y="2878313"/>
              <a:ext cx="52607" cy="7707"/>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64" name="Freeform 5892"/>
            <p:cNvSpPr>
              <a:spLocks/>
            </p:cNvSpPr>
            <p:nvPr>
              <p:custDataLst>
                <p:tags r:id="rId210"/>
              </p:custDataLst>
            </p:nvPr>
          </p:nvSpPr>
          <p:spPr bwMode="gray">
            <a:xfrm>
              <a:off x="3988572" y="2991354"/>
              <a:ext cx="70570" cy="35968"/>
            </a:xfrm>
            <a:custGeom>
              <a:avLst/>
              <a:gdLst/>
              <a:ahLst/>
              <a:cxnLst>
                <a:cxn ang="0">
                  <a:pos x="0" y="21"/>
                </a:cxn>
                <a:cxn ang="0">
                  <a:pos x="0" y="28"/>
                </a:cxn>
                <a:cxn ang="0">
                  <a:pos x="40" y="15"/>
                </a:cxn>
                <a:cxn ang="0">
                  <a:pos x="43" y="11"/>
                </a:cxn>
                <a:cxn ang="0">
                  <a:pos x="38" y="9"/>
                </a:cxn>
                <a:cxn ang="0">
                  <a:pos x="55" y="4"/>
                </a:cxn>
                <a:cxn ang="0">
                  <a:pos x="55" y="0"/>
                </a:cxn>
                <a:cxn ang="0">
                  <a:pos x="0" y="21"/>
                </a:cxn>
                <a:cxn ang="0">
                  <a:pos x="0" y="21"/>
                </a:cxn>
              </a:cxnLst>
              <a:rect l="0" t="0" r="r" b="b"/>
              <a:pathLst>
                <a:path w="55" h="28">
                  <a:moveTo>
                    <a:pt x="0" y="21"/>
                  </a:moveTo>
                  <a:lnTo>
                    <a:pt x="0" y="28"/>
                  </a:lnTo>
                  <a:lnTo>
                    <a:pt x="40" y="15"/>
                  </a:lnTo>
                  <a:lnTo>
                    <a:pt x="43" y="11"/>
                  </a:lnTo>
                  <a:lnTo>
                    <a:pt x="38" y="9"/>
                  </a:lnTo>
                  <a:lnTo>
                    <a:pt x="55" y="4"/>
                  </a:lnTo>
                  <a:lnTo>
                    <a:pt x="55" y="0"/>
                  </a:lnTo>
                  <a:lnTo>
                    <a:pt x="0" y="21"/>
                  </a:lnTo>
                  <a:lnTo>
                    <a:pt x="0" y="2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65" name="Freeform 5893"/>
            <p:cNvSpPr>
              <a:spLocks/>
            </p:cNvSpPr>
            <p:nvPr>
              <p:custDataLst>
                <p:tags r:id="rId211"/>
              </p:custDataLst>
            </p:nvPr>
          </p:nvSpPr>
          <p:spPr bwMode="gray">
            <a:xfrm>
              <a:off x="4282400" y="3085127"/>
              <a:ext cx="35927" cy="50098"/>
            </a:xfrm>
            <a:custGeom>
              <a:avLst/>
              <a:gdLst/>
              <a:ahLst/>
              <a:cxnLst>
                <a:cxn ang="0">
                  <a:pos x="9" y="0"/>
                </a:cxn>
                <a:cxn ang="0">
                  <a:pos x="2" y="11"/>
                </a:cxn>
                <a:cxn ang="0">
                  <a:pos x="0" y="30"/>
                </a:cxn>
                <a:cxn ang="0">
                  <a:pos x="5" y="39"/>
                </a:cxn>
                <a:cxn ang="0">
                  <a:pos x="5" y="24"/>
                </a:cxn>
                <a:cxn ang="0">
                  <a:pos x="28" y="2"/>
                </a:cxn>
                <a:cxn ang="0">
                  <a:pos x="9" y="0"/>
                </a:cxn>
                <a:cxn ang="0">
                  <a:pos x="9" y="0"/>
                </a:cxn>
              </a:cxnLst>
              <a:rect l="0" t="0" r="r" b="b"/>
              <a:pathLst>
                <a:path w="28" h="39">
                  <a:moveTo>
                    <a:pt x="9" y="0"/>
                  </a:moveTo>
                  <a:lnTo>
                    <a:pt x="2" y="11"/>
                  </a:lnTo>
                  <a:lnTo>
                    <a:pt x="0" y="30"/>
                  </a:lnTo>
                  <a:lnTo>
                    <a:pt x="5" y="39"/>
                  </a:lnTo>
                  <a:lnTo>
                    <a:pt x="5" y="24"/>
                  </a:lnTo>
                  <a:lnTo>
                    <a:pt x="28" y="2"/>
                  </a:lnTo>
                  <a:lnTo>
                    <a:pt x="9" y="0"/>
                  </a:lnTo>
                  <a:lnTo>
                    <a:pt x="9"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66" name="Freeform 5894"/>
            <p:cNvSpPr>
              <a:spLocks/>
            </p:cNvSpPr>
            <p:nvPr>
              <p:custDataLst>
                <p:tags r:id="rId212"/>
              </p:custDataLst>
            </p:nvPr>
          </p:nvSpPr>
          <p:spPr bwMode="gray">
            <a:xfrm>
              <a:off x="4313194" y="3162200"/>
              <a:ext cx="55173" cy="55236"/>
            </a:xfrm>
            <a:custGeom>
              <a:avLst/>
              <a:gdLst/>
              <a:ahLst/>
              <a:cxnLst>
                <a:cxn ang="0">
                  <a:pos x="0" y="2"/>
                </a:cxn>
                <a:cxn ang="0">
                  <a:pos x="0" y="11"/>
                </a:cxn>
                <a:cxn ang="0">
                  <a:pos x="11" y="19"/>
                </a:cxn>
                <a:cxn ang="0">
                  <a:pos x="8" y="24"/>
                </a:cxn>
                <a:cxn ang="0">
                  <a:pos x="25" y="32"/>
                </a:cxn>
                <a:cxn ang="0">
                  <a:pos x="21" y="36"/>
                </a:cxn>
                <a:cxn ang="0">
                  <a:pos x="34" y="43"/>
                </a:cxn>
                <a:cxn ang="0">
                  <a:pos x="43" y="41"/>
                </a:cxn>
                <a:cxn ang="0">
                  <a:pos x="34" y="9"/>
                </a:cxn>
                <a:cxn ang="0">
                  <a:pos x="8" y="0"/>
                </a:cxn>
                <a:cxn ang="0">
                  <a:pos x="0" y="2"/>
                </a:cxn>
                <a:cxn ang="0">
                  <a:pos x="0" y="2"/>
                </a:cxn>
              </a:cxnLst>
              <a:rect l="0" t="0" r="r" b="b"/>
              <a:pathLst>
                <a:path w="43" h="43">
                  <a:moveTo>
                    <a:pt x="0" y="2"/>
                  </a:moveTo>
                  <a:lnTo>
                    <a:pt x="0" y="11"/>
                  </a:lnTo>
                  <a:lnTo>
                    <a:pt x="11" y="19"/>
                  </a:lnTo>
                  <a:lnTo>
                    <a:pt x="8" y="24"/>
                  </a:lnTo>
                  <a:lnTo>
                    <a:pt x="25" y="32"/>
                  </a:lnTo>
                  <a:lnTo>
                    <a:pt x="21" y="36"/>
                  </a:lnTo>
                  <a:lnTo>
                    <a:pt x="34" y="43"/>
                  </a:lnTo>
                  <a:lnTo>
                    <a:pt x="43" y="41"/>
                  </a:lnTo>
                  <a:lnTo>
                    <a:pt x="34" y="9"/>
                  </a:lnTo>
                  <a:lnTo>
                    <a:pt x="8"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67" name="Freeform 5895"/>
            <p:cNvSpPr>
              <a:spLocks/>
            </p:cNvSpPr>
            <p:nvPr>
              <p:custDataLst>
                <p:tags r:id="rId213"/>
              </p:custDataLst>
            </p:nvPr>
          </p:nvSpPr>
          <p:spPr bwMode="gray">
            <a:xfrm>
              <a:off x="6269911" y="2820507"/>
              <a:ext cx="168085" cy="62943"/>
            </a:xfrm>
            <a:custGeom>
              <a:avLst/>
              <a:gdLst/>
              <a:ahLst/>
              <a:cxnLst>
                <a:cxn ang="0">
                  <a:pos x="0" y="15"/>
                </a:cxn>
                <a:cxn ang="0">
                  <a:pos x="26" y="17"/>
                </a:cxn>
                <a:cxn ang="0">
                  <a:pos x="0" y="28"/>
                </a:cxn>
                <a:cxn ang="0">
                  <a:pos x="17" y="28"/>
                </a:cxn>
                <a:cxn ang="0">
                  <a:pos x="22" y="36"/>
                </a:cxn>
                <a:cxn ang="0">
                  <a:pos x="11" y="41"/>
                </a:cxn>
                <a:cxn ang="0">
                  <a:pos x="60" y="49"/>
                </a:cxn>
                <a:cxn ang="0">
                  <a:pos x="116" y="32"/>
                </a:cxn>
                <a:cxn ang="0">
                  <a:pos x="129" y="24"/>
                </a:cxn>
                <a:cxn ang="0">
                  <a:pos x="131" y="15"/>
                </a:cxn>
                <a:cxn ang="0">
                  <a:pos x="120" y="11"/>
                </a:cxn>
                <a:cxn ang="0">
                  <a:pos x="120" y="2"/>
                </a:cxn>
                <a:cxn ang="0">
                  <a:pos x="103" y="0"/>
                </a:cxn>
                <a:cxn ang="0">
                  <a:pos x="84" y="7"/>
                </a:cxn>
                <a:cxn ang="0">
                  <a:pos x="58" y="9"/>
                </a:cxn>
                <a:cxn ang="0">
                  <a:pos x="52" y="6"/>
                </a:cxn>
                <a:cxn ang="0">
                  <a:pos x="49" y="13"/>
                </a:cxn>
                <a:cxn ang="0">
                  <a:pos x="36" y="17"/>
                </a:cxn>
                <a:cxn ang="0">
                  <a:pos x="37" y="7"/>
                </a:cxn>
                <a:cxn ang="0">
                  <a:pos x="21" y="0"/>
                </a:cxn>
                <a:cxn ang="0">
                  <a:pos x="0" y="15"/>
                </a:cxn>
                <a:cxn ang="0">
                  <a:pos x="0" y="15"/>
                </a:cxn>
              </a:cxnLst>
              <a:rect l="0" t="0" r="r" b="b"/>
              <a:pathLst>
                <a:path w="131" h="49">
                  <a:moveTo>
                    <a:pt x="0" y="15"/>
                  </a:moveTo>
                  <a:lnTo>
                    <a:pt x="26" y="17"/>
                  </a:lnTo>
                  <a:lnTo>
                    <a:pt x="0" y="28"/>
                  </a:lnTo>
                  <a:lnTo>
                    <a:pt x="17" y="28"/>
                  </a:lnTo>
                  <a:lnTo>
                    <a:pt x="22" y="36"/>
                  </a:lnTo>
                  <a:lnTo>
                    <a:pt x="11" y="41"/>
                  </a:lnTo>
                  <a:lnTo>
                    <a:pt x="60" y="49"/>
                  </a:lnTo>
                  <a:lnTo>
                    <a:pt x="116" y="32"/>
                  </a:lnTo>
                  <a:lnTo>
                    <a:pt x="129" y="24"/>
                  </a:lnTo>
                  <a:lnTo>
                    <a:pt x="131" y="15"/>
                  </a:lnTo>
                  <a:lnTo>
                    <a:pt x="120" y="11"/>
                  </a:lnTo>
                  <a:lnTo>
                    <a:pt x="120" y="2"/>
                  </a:lnTo>
                  <a:lnTo>
                    <a:pt x="103" y="0"/>
                  </a:lnTo>
                  <a:lnTo>
                    <a:pt x="84" y="7"/>
                  </a:lnTo>
                  <a:lnTo>
                    <a:pt x="58" y="9"/>
                  </a:lnTo>
                  <a:lnTo>
                    <a:pt x="52" y="6"/>
                  </a:lnTo>
                  <a:lnTo>
                    <a:pt x="49" y="13"/>
                  </a:lnTo>
                  <a:lnTo>
                    <a:pt x="36" y="17"/>
                  </a:lnTo>
                  <a:lnTo>
                    <a:pt x="37" y="7"/>
                  </a:lnTo>
                  <a:lnTo>
                    <a:pt x="21" y="0"/>
                  </a:lnTo>
                  <a:lnTo>
                    <a:pt x="0" y="15"/>
                  </a:lnTo>
                  <a:lnTo>
                    <a:pt x="0"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68" name="Freeform 5896"/>
            <p:cNvSpPr>
              <a:spLocks/>
            </p:cNvSpPr>
            <p:nvPr>
              <p:custDataLst>
                <p:tags r:id="rId214"/>
              </p:custDataLst>
            </p:nvPr>
          </p:nvSpPr>
          <p:spPr bwMode="gray">
            <a:xfrm>
              <a:off x="6529095" y="2726735"/>
              <a:ext cx="16680" cy="5138"/>
            </a:xfrm>
            <a:custGeom>
              <a:avLst/>
              <a:gdLst/>
              <a:ahLst/>
              <a:cxnLst>
                <a:cxn ang="0">
                  <a:pos x="0" y="4"/>
                </a:cxn>
                <a:cxn ang="0">
                  <a:pos x="13" y="0"/>
                </a:cxn>
                <a:cxn ang="0">
                  <a:pos x="0" y="4"/>
                </a:cxn>
              </a:cxnLst>
              <a:rect l="0" t="0" r="r" b="b"/>
              <a:pathLst>
                <a:path w="13" h="4">
                  <a:moveTo>
                    <a:pt x="0" y="4"/>
                  </a:moveTo>
                  <a:lnTo>
                    <a:pt x="13" y="0"/>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69" name="Line 5897"/>
            <p:cNvSpPr>
              <a:spLocks noChangeShapeType="1"/>
            </p:cNvSpPr>
            <p:nvPr>
              <p:custDataLst>
                <p:tags r:id="rId215"/>
              </p:custDataLst>
            </p:nvPr>
          </p:nvSpPr>
          <p:spPr bwMode="gray">
            <a:xfrm flipV="1">
              <a:off x="6529095" y="2726735"/>
              <a:ext cx="16680" cy="5138"/>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70" name="Freeform 5898"/>
            <p:cNvSpPr>
              <a:spLocks/>
            </p:cNvSpPr>
            <p:nvPr>
              <p:custDataLst>
                <p:tags r:id="rId216"/>
              </p:custDataLst>
            </p:nvPr>
          </p:nvSpPr>
          <p:spPr bwMode="gray">
            <a:xfrm>
              <a:off x="6407201" y="2644523"/>
              <a:ext cx="14114" cy="7707"/>
            </a:xfrm>
            <a:custGeom>
              <a:avLst/>
              <a:gdLst/>
              <a:ahLst/>
              <a:cxnLst>
                <a:cxn ang="0">
                  <a:pos x="2" y="0"/>
                </a:cxn>
                <a:cxn ang="0">
                  <a:pos x="0" y="6"/>
                </a:cxn>
                <a:cxn ang="0">
                  <a:pos x="11" y="6"/>
                </a:cxn>
                <a:cxn ang="0">
                  <a:pos x="2" y="0"/>
                </a:cxn>
                <a:cxn ang="0">
                  <a:pos x="2" y="0"/>
                </a:cxn>
              </a:cxnLst>
              <a:rect l="0" t="0" r="r" b="b"/>
              <a:pathLst>
                <a:path w="11" h="6">
                  <a:moveTo>
                    <a:pt x="2" y="0"/>
                  </a:moveTo>
                  <a:lnTo>
                    <a:pt x="0" y="6"/>
                  </a:lnTo>
                  <a:lnTo>
                    <a:pt x="11" y="6"/>
                  </a:lnTo>
                  <a:lnTo>
                    <a:pt x="2" y="0"/>
                  </a:lnTo>
                  <a:lnTo>
                    <a:pt x="2"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71" name="Freeform 5899"/>
            <p:cNvSpPr>
              <a:spLocks/>
            </p:cNvSpPr>
            <p:nvPr>
              <p:custDataLst>
                <p:tags r:id="rId217"/>
              </p:custDataLst>
            </p:nvPr>
          </p:nvSpPr>
          <p:spPr bwMode="gray">
            <a:xfrm>
              <a:off x="7470407" y="4624127"/>
              <a:ext cx="155254" cy="319855"/>
            </a:xfrm>
            <a:custGeom>
              <a:avLst/>
              <a:gdLst/>
              <a:ahLst/>
              <a:cxnLst>
                <a:cxn ang="0">
                  <a:pos x="0" y="184"/>
                </a:cxn>
                <a:cxn ang="0">
                  <a:pos x="5" y="230"/>
                </a:cxn>
                <a:cxn ang="0">
                  <a:pos x="18" y="245"/>
                </a:cxn>
                <a:cxn ang="0">
                  <a:pos x="24" y="249"/>
                </a:cxn>
                <a:cxn ang="0">
                  <a:pos x="54" y="242"/>
                </a:cxn>
                <a:cxn ang="0">
                  <a:pos x="60" y="234"/>
                </a:cxn>
                <a:cxn ang="0">
                  <a:pos x="99" y="120"/>
                </a:cxn>
                <a:cxn ang="0">
                  <a:pos x="110" y="64"/>
                </a:cxn>
                <a:cxn ang="0">
                  <a:pos x="116" y="71"/>
                </a:cxn>
                <a:cxn ang="0">
                  <a:pos x="121" y="64"/>
                </a:cxn>
                <a:cxn ang="0">
                  <a:pos x="114" y="19"/>
                </a:cxn>
                <a:cxn ang="0">
                  <a:pos x="105" y="0"/>
                </a:cxn>
                <a:cxn ang="0">
                  <a:pos x="97" y="7"/>
                </a:cxn>
                <a:cxn ang="0">
                  <a:pos x="95" y="24"/>
                </a:cxn>
                <a:cxn ang="0">
                  <a:pos x="82" y="28"/>
                </a:cxn>
                <a:cxn ang="0">
                  <a:pos x="77" y="51"/>
                </a:cxn>
                <a:cxn ang="0">
                  <a:pos x="26" y="77"/>
                </a:cxn>
                <a:cxn ang="0">
                  <a:pos x="15" y="99"/>
                </a:cxn>
                <a:cxn ang="0">
                  <a:pos x="20" y="148"/>
                </a:cxn>
                <a:cxn ang="0">
                  <a:pos x="0" y="184"/>
                </a:cxn>
                <a:cxn ang="0">
                  <a:pos x="0" y="184"/>
                </a:cxn>
              </a:cxnLst>
              <a:rect l="0" t="0" r="r" b="b"/>
              <a:pathLst>
                <a:path w="121" h="249">
                  <a:moveTo>
                    <a:pt x="0" y="184"/>
                  </a:moveTo>
                  <a:lnTo>
                    <a:pt x="5" y="230"/>
                  </a:lnTo>
                  <a:lnTo>
                    <a:pt x="18" y="245"/>
                  </a:lnTo>
                  <a:lnTo>
                    <a:pt x="24" y="249"/>
                  </a:lnTo>
                  <a:lnTo>
                    <a:pt x="54" y="242"/>
                  </a:lnTo>
                  <a:lnTo>
                    <a:pt x="60" y="234"/>
                  </a:lnTo>
                  <a:lnTo>
                    <a:pt x="99" y="120"/>
                  </a:lnTo>
                  <a:lnTo>
                    <a:pt x="110" y="64"/>
                  </a:lnTo>
                  <a:lnTo>
                    <a:pt x="116" y="71"/>
                  </a:lnTo>
                  <a:lnTo>
                    <a:pt x="121" y="64"/>
                  </a:lnTo>
                  <a:lnTo>
                    <a:pt x="114" y="19"/>
                  </a:lnTo>
                  <a:lnTo>
                    <a:pt x="105" y="0"/>
                  </a:lnTo>
                  <a:lnTo>
                    <a:pt x="97" y="7"/>
                  </a:lnTo>
                  <a:lnTo>
                    <a:pt x="95" y="24"/>
                  </a:lnTo>
                  <a:lnTo>
                    <a:pt x="82" y="28"/>
                  </a:lnTo>
                  <a:lnTo>
                    <a:pt x="77" y="51"/>
                  </a:lnTo>
                  <a:lnTo>
                    <a:pt x="26" y="77"/>
                  </a:lnTo>
                  <a:lnTo>
                    <a:pt x="15" y="99"/>
                  </a:lnTo>
                  <a:lnTo>
                    <a:pt x="20" y="148"/>
                  </a:lnTo>
                  <a:lnTo>
                    <a:pt x="0" y="184"/>
                  </a:lnTo>
                  <a:lnTo>
                    <a:pt x="0" y="18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72" name="Freeform 5903"/>
            <p:cNvSpPr>
              <a:spLocks/>
            </p:cNvSpPr>
            <p:nvPr>
              <p:custDataLst>
                <p:tags r:id="rId218"/>
              </p:custDataLst>
            </p:nvPr>
          </p:nvSpPr>
          <p:spPr bwMode="gray">
            <a:xfrm>
              <a:off x="7688533" y="4039652"/>
              <a:ext cx="26945" cy="8992"/>
            </a:xfrm>
            <a:custGeom>
              <a:avLst/>
              <a:gdLst/>
              <a:ahLst/>
              <a:cxnLst>
                <a:cxn ang="0">
                  <a:pos x="0" y="5"/>
                </a:cxn>
                <a:cxn ang="0">
                  <a:pos x="13" y="7"/>
                </a:cxn>
                <a:cxn ang="0">
                  <a:pos x="21" y="2"/>
                </a:cxn>
                <a:cxn ang="0">
                  <a:pos x="6" y="0"/>
                </a:cxn>
                <a:cxn ang="0">
                  <a:pos x="0" y="5"/>
                </a:cxn>
                <a:cxn ang="0">
                  <a:pos x="0" y="5"/>
                </a:cxn>
              </a:cxnLst>
              <a:rect l="0" t="0" r="r" b="b"/>
              <a:pathLst>
                <a:path w="21" h="7">
                  <a:moveTo>
                    <a:pt x="0" y="5"/>
                  </a:moveTo>
                  <a:lnTo>
                    <a:pt x="13" y="7"/>
                  </a:lnTo>
                  <a:lnTo>
                    <a:pt x="21" y="2"/>
                  </a:lnTo>
                  <a:lnTo>
                    <a:pt x="6" y="0"/>
                  </a:lnTo>
                  <a:lnTo>
                    <a:pt x="0" y="5"/>
                  </a:lnTo>
                  <a:lnTo>
                    <a:pt x="0"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73" name="Freeform 5904"/>
            <p:cNvSpPr>
              <a:spLocks/>
            </p:cNvSpPr>
            <p:nvPr>
              <p:custDataLst>
                <p:tags r:id="rId219"/>
              </p:custDataLst>
            </p:nvPr>
          </p:nvSpPr>
          <p:spPr bwMode="gray">
            <a:xfrm>
              <a:off x="8521738" y="4045977"/>
              <a:ext cx="5132" cy="33399"/>
            </a:xfrm>
            <a:custGeom>
              <a:avLst/>
              <a:gdLst/>
              <a:ahLst/>
              <a:cxnLst>
                <a:cxn ang="0">
                  <a:pos x="4" y="0"/>
                </a:cxn>
                <a:cxn ang="0">
                  <a:pos x="0" y="26"/>
                </a:cxn>
                <a:cxn ang="0">
                  <a:pos x="4" y="0"/>
                </a:cxn>
              </a:cxnLst>
              <a:rect l="0" t="0" r="r" b="b"/>
              <a:pathLst>
                <a:path w="4" h="26">
                  <a:moveTo>
                    <a:pt x="4" y="0"/>
                  </a:moveTo>
                  <a:lnTo>
                    <a:pt x="0" y="26"/>
                  </a:lnTo>
                  <a:lnTo>
                    <a:pt x="4"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74" name="Line 5905"/>
            <p:cNvSpPr>
              <a:spLocks noChangeShapeType="1"/>
            </p:cNvSpPr>
            <p:nvPr>
              <p:custDataLst>
                <p:tags r:id="rId220"/>
              </p:custDataLst>
            </p:nvPr>
          </p:nvSpPr>
          <p:spPr bwMode="gray">
            <a:xfrm flipH="1">
              <a:off x="8521738" y="4045977"/>
              <a:ext cx="5132" cy="33399"/>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75" name="Freeform 5906"/>
            <p:cNvSpPr>
              <a:spLocks/>
            </p:cNvSpPr>
            <p:nvPr>
              <p:custDataLst>
                <p:tags r:id="rId221"/>
              </p:custDataLst>
            </p:nvPr>
          </p:nvSpPr>
          <p:spPr bwMode="gray">
            <a:xfrm>
              <a:off x="8521738" y="410763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76" name="Freeform 5907"/>
            <p:cNvSpPr>
              <a:spLocks/>
            </p:cNvSpPr>
            <p:nvPr>
              <p:custDataLst>
                <p:tags r:id="rId222"/>
              </p:custDataLst>
            </p:nvPr>
          </p:nvSpPr>
          <p:spPr bwMode="gray">
            <a:xfrm>
              <a:off x="8551249" y="419241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77" name="Freeform 5911"/>
            <p:cNvSpPr>
              <a:spLocks/>
            </p:cNvSpPr>
            <p:nvPr>
              <p:custDataLst>
                <p:tags r:id="rId223"/>
              </p:custDataLst>
            </p:nvPr>
          </p:nvSpPr>
          <p:spPr bwMode="gray">
            <a:xfrm>
              <a:off x="8661595" y="4382532"/>
              <a:ext cx="11548" cy="19268"/>
            </a:xfrm>
            <a:custGeom>
              <a:avLst/>
              <a:gdLst/>
              <a:ahLst/>
              <a:cxnLst>
                <a:cxn ang="0">
                  <a:pos x="0" y="2"/>
                </a:cxn>
                <a:cxn ang="0">
                  <a:pos x="3" y="15"/>
                </a:cxn>
                <a:cxn ang="0">
                  <a:pos x="9" y="13"/>
                </a:cxn>
                <a:cxn ang="0">
                  <a:pos x="3" y="0"/>
                </a:cxn>
                <a:cxn ang="0">
                  <a:pos x="0" y="2"/>
                </a:cxn>
                <a:cxn ang="0">
                  <a:pos x="0" y="2"/>
                </a:cxn>
              </a:cxnLst>
              <a:rect l="0" t="0" r="r" b="b"/>
              <a:pathLst>
                <a:path w="9" h="15">
                  <a:moveTo>
                    <a:pt x="0" y="2"/>
                  </a:moveTo>
                  <a:lnTo>
                    <a:pt x="3" y="15"/>
                  </a:lnTo>
                  <a:lnTo>
                    <a:pt x="9" y="13"/>
                  </a:lnTo>
                  <a:lnTo>
                    <a:pt x="3"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78" name="Freeform 5912"/>
            <p:cNvSpPr>
              <a:spLocks/>
            </p:cNvSpPr>
            <p:nvPr>
              <p:custDataLst>
                <p:tags r:id="rId224"/>
              </p:custDataLst>
            </p:nvPr>
          </p:nvSpPr>
          <p:spPr bwMode="gray">
            <a:xfrm>
              <a:off x="8733448" y="448786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79" name="Freeform 5913"/>
            <p:cNvSpPr>
              <a:spLocks/>
            </p:cNvSpPr>
            <p:nvPr>
              <p:custDataLst>
                <p:tags r:id="rId225"/>
              </p:custDataLst>
            </p:nvPr>
          </p:nvSpPr>
          <p:spPr bwMode="gray">
            <a:xfrm>
              <a:off x="8796320" y="460604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80" name="Freeform 5914"/>
            <p:cNvSpPr>
              <a:spLocks/>
            </p:cNvSpPr>
            <p:nvPr>
              <p:custDataLst>
                <p:tags r:id="rId226"/>
              </p:custDataLst>
            </p:nvPr>
          </p:nvSpPr>
          <p:spPr bwMode="gray">
            <a:xfrm>
              <a:off x="8259987" y="4126904"/>
              <a:ext cx="43625" cy="89919"/>
            </a:xfrm>
            <a:custGeom>
              <a:avLst/>
              <a:gdLst/>
              <a:ahLst/>
              <a:cxnLst>
                <a:cxn ang="0">
                  <a:pos x="0" y="32"/>
                </a:cxn>
                <a:cxn ang="0">
                  <a:pos x="9" y="70"/>
                </a:cxn>
                <a:cxn ang="0">
                  <a:pos x="24" y="68"/>
                </a:cxn>
                <a:cxn ang="0">
                  <a:pos x="32" y="62"/>
                </a:cxn>
                <a:cxn ang="0">
                  <a:pos x="34" y="41"/>
                </a:cxn>
                <a:cxn ang="0">
                  <a:pos x="11" y="6"/>
                </a:cxn>
                <a:cxn ang="0">
                  <a:pos x="2" y="0"/>
                </a:cxn>
                <a:cxn ang="0">
                  <a:pos x="5" y="8"/>
                </a:cxn>
                <a:cxn ang="0">
                  <a:pos x="0" y="32"/>
                </a:cxn>
                <a:cxn ang="0">
                  <a:pos x="0" y="32"/>
                </a:cxn>
              </a:cxnLst>
              <a:rect l="0" t="0" r="r" b="b"/>
              <a:pathLst>
                <a:path w="34" h="70">
                  <a:moveTo>
                    <a:pt x="0" y="32"/>
                  </a:moveTo>
                  <a:lnTo>
                    <a:pt x="9" y="70"/>
                  </a:lnTo>
                  <a:lnTo>
                    <a:pt x="24" y="68"/>
                  </a:lnTo>
                  <a:lnTo>
                    <a:pt x="32" y="62"/>
                  </a:lnTo>
                  <a:lnTo>
                    <a:pt x="34" y="41"/>
                  </a:lnTo>
                  <a:lnTo>
                    <a:pt x="11" y="6"/>
                  </a:lnTo>
                  <a:lnTo>
                    <a:pt x="2" y="0"/>
                  </a:lnTo>
                  <a:lnTo>
                    <a:pt x="5" y="8"/>
                  </a:lnTo>
                  <a:lnTo>
                    <a:pt x="0" y="32"/>
                  </a:lnTo>
                  <a:lnTo>
                    <a:pt x="0" y="3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81" name="Freeform 5915"/>
            <p:cNvSpPr>
              <a:spLocks/>
            </p:cNvSpPr>
            <p:nvPr>
              <p:custDataLst>
                <p:tags r:id="rId227"/>
              </p:custDataLst>
            </p:nvPr>
          </p:nvSpPr>
          <p:spPr bwMode="gray">
            <a:xfrm>
              <a:off x="8834813" y="3886692"/>
              <a:ext cx="44908" cy="41106"/>
            </a:xfrm>
            <a:custGeom>
              <a:avLst/>
              <a:gdLst/>
              <a:ahLst/>
              <a:cxnLst>
                <a:cxn ang="0">
                  <a:pos x="0" y="11"/>
                </a:cxn>
                <a:cxn ang="0">
                  <a:pos x="3" y="28"/>
                </a:cxn>
                <a:cxn ang="0">
                  <a:pos x="18" y="32"/>
                </a:cxn>
                <a:cxn ang="0">
                  <a:pos x="30" y="22"/>
                </a:cxn>
                <a:cxn ang="0">
                  <a:pos x="35" y="0"/>
                </a:cxn>
                <a:cxn ang="0">
                  <a:pos x="13" y="2"/>
                </a:cxn>
                <a:cxn ang="0">
                  <a:pos x="0" y="11"/>
                </a:cxn>
                <a:cxn ang="0">
                  <a:pos x="0" y="11"/>
                </a:cxn>
              </a:cxnLst>
              <a:rect l="0" t="0" r="r" b="b"/>
              <a:pathLst>
                <a:path w="35" h="32">
                  <a:moveTo>
                    <a:pt x="0" y="11"/>
                  </a:moveTo>
                  <a:lnTo>
                    <a:pt x="3" y="28"/>
                  </a:lnTo>
                  <a:lnTo>
                    <a:pt x="18" y="32"/>
                  </a:lnTo>
                  <a:lnTo>
                    <a:pt x="30" y="22"/>
                  </a:lnTo>
                  <a:lnTo>
                    <a:pt x="35" y="0"/>
                  </a:lnTo>
                  <a:lnTo>
                    <a:pt x="13" y="2"/>
                  </a:lnTo>
                  <a:lnTo>
                    <a:pt x="0" y="11"/>
                  </a:lnTo>
                  <a:lnTo>
                    <a:pt x="0"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82" name="Freeform 5916"/>
            <p:cNvSpPr>
              <a:spLocks/>
            </p:cNvSpPr>
            <p:nvPr>
              <p:custDataLst>
                <p:tags r:id="rId228"/>
              </p:custDataLst>
            </p:nvPr>
          </p:nvSpPr>
          <p:spPr bwMode="gray">
            <a:xfrm>
              <a:off x="9052938" y="3760805"/>
              <a:ext cx="28228" cy="77074"/>
            </a:xfrm>
            <a:custGeom>
              <a:avLst/>
              <a:gdLst/>
              <a:ahLst/>
              <a:cxnLst>
                <a:cxn ang="0">
                  <a:pos x="0" y="30"/>
                </a:cxn>
                <a:cxn ang="0">
                  <a:pos x="6" y="49"/>
                </a:cxn>
                <a:cxn ang="0">
                  <a:pos x="15" y="60"/>
                </a:cxn>
                <a:cxn ang="0">
                  <a:pos x="22" y="4"/>
                </a:cxn>
                <a:cxn ang="0">
                  <a:pos x="17" y="0"/>
                </a:cxn>
                <a:cxn ang="0">
                  <a:pos x="9" y="6"/>
                </a:cxn>
                <a:cxn ang="0">
                  <a:pos x="0" y="30"/>
                </a:cxn>
                <a:cxn ang="0">
                  <a:pos x="0" y="30"/>
                </a:cxn>
              </a:cxnLst>
              <a:rect l="0" t="0" r="r" b="b"/>
              <a:pathLst>
                <a:path w="22" h="60">
                  <a:moveTo>
                    <a:pt x="0" y="30"/>
                  </a:moveTo>
                  <a:lnTo>
                    <a:pt x="6" y="49"/>
                  </a:lnTo>
                  <a:lnTo>
                    <a:pt x="15" y="60"/>
                  </a:lnTo>
                  <a:lnTo>
                    <a:pt x="22" y="4"/>
                  </a:lnTo>
                  <a:lnTo>
                    <a:pt x="17" y="0"/>
                  </a:lnTo>
                  <a:lnTo>
                    <a:pt x="9" y="6"/>
                  </a:lnTo>
                  <a:lnTo>
                    <a:pt x="0" y="30"/>
                  </a:lnTo>
                  <a:lnTo>
                    <a:pt x="0" y="3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83" name="Freeform 5917"/>
            <p:cNvSpPr>
              <a:spLocks/>
            </p:cNvSpPr>
            <p:nvPr>
              <p:custDataLst>
                <p:tags r:id="rId229"/>
              </p:custDataLst>
            </p:nvPr>
          </p:nvSpPr>
          <p:spPr bwMode="gray">
            <a:xfrm>
              <a:off x="9177398" y="3559129"/>
              <a:ext cx="51324" cy="65513"/>
            </a:xfrm>
            <a:custGeom>
              <a:avLst/>
              <a:gdLst/>
              <a:ahLst/>
              <a:cxnLst>
                <a:cxn ang="0">
                  <a:pos x="0" y="11"/>
                </a:cxn>
                <a:cxn ang="0">
                  <a:pos x="8" y="19"/>
                </a:cxn>
                <a:cxn ang="0">
                  <a:pos x="14" y="19"/>
                </a:cxn>
                <a:cxn ang="0">
                  <a:pos x="14" y="13"/>
                </a:cxn>
                <a:cxn ang="0">
                  <a:pos x="19" y="19"/>
                </a:cxn>
                <a:cxn ang="0">
                  <a:pos x="23" y="47"/>
                </a:cxn>
                <a:cxn ang="0">
                  <a:pos x="34" y="51"/>
                </a:cxn>
                <a:cxn ang="0">
                  <a:pos x="40" y="43"/>
                </a:cxn>
                <a:cxn ang="0">
                  <a:pos x="40" y="17"/>
                </a:cxn>
                <a:cxn ang="0">
                  <a:pos x="30" y="2"/>
                </a:cxn>
                <a:cxn ang="0">
                  <a:pos x="10" y="0"/>
                </a:cxn>
                <a:cxn ang="0">
                  <a:pos x="0" y="11"/>
                </a:cxn>
                <a:cxn ang="0">
                  <a:pos x="0" y="11"/>
                </a:cxn>
              </a:cxnLst>
              <a:rect l="0" t="0" r="r" b="b"/>
              <a:pathLst>
                <a:path w="40" h="51">
                  <a:moveTo>
                    <a:pt x="0" y="11"/>
                  </a:moveTo>
                  <a:lnTo>
                    <a:pt x="8" y="19"/>
                  </a:lnTo>
                  <a:lnTo>
                    <a:pt x="14" y="19"/>
                  </a:lnTo>
                  <a:lnTo>
                    <a:pt x="14" y="13"/>
                  </a:lnTo>
                  <a:lnTo>
                    <a:pt x="19" y="19"/>
                  </a:lnTo>
                  <a:lnTo>
                    <a:pt x="23" y="47"/>
                  </a:lnTo>
                  <a:lnTo>
                    <a:pt x="34" y="51"/>
                  </a:lnTo>
                  <a:lnTo>
                    <a:pt x="40" y="43"/>
                  </a:lnTo>
                  <a:lnTo>
                    <a:pt x="40" y="17"/>
                  </a:lnTo>
                  <a:lnTo>
                    <a:pt x="30" y="2"/>
                  </a:lnTo>
                  <a:lnTo>
                    <a:pt x="10" y="0"/>
                  </a:lnTo>
                  <a:lnTo>
                    <a:pt x="0" y="11"/>
                  </a:lnTo>
                  <a:lnTo>
                    <a:pt x="0"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84" name="Freeform 5918"/>
            <p:cNvSpPr>
              <a:spLocks/>
            </p:cNvSpPr>
            <p:nvPr>
              <p:custDataLst>
                <p:tags r:id="rId230"/>
              </p:custDataLst>
            </p:nvPr>
          </p:nvSpPr>
          <p:spPr bwMode="gray">
            <a:xfrm>
              <a:off x="9231288" y="3550137"/>
              <a:ext cx="42342" cy="33399"/>
            </a:xfrm>
            <a:custGeom>
              <a:avLst/>
              <a:gdLst/>
              <a:ahLst/>
              <a:cxnLst>
                <a:cxn ang="0">
                  <a:pos x="0" y="15"/>
                </a:cxn>
                <a:cxn ang="0">
                  <a:pos x="15" y="26"/>
                </a:cxn>
                <a:cxn ang="0">
                  <a:pos x="16" y="16"/>
                </a:cxn>
                <a:cxn ang="0">
                  <a:pos x="22" y="13"/>
                </a:cxn>
                <a:cxn ang="0">
                  <a:pos x="28" y="18"/>
                </a:cxn>
                <a:cxn ang="0">
                  <a:pos x="33" y="7"/>
                </a:cxn>
                <a:cxn ang="0">
                  <a:pos x="30" y="0"/>
                </a:cxn>
                <a:cxn ang="0">
                  <a:pos x="15" y="0"/>
                </a:cxn>
                <a:cxn ang="0">
                  <a:pos x="13" y="5"/>
                </a:cxn>
                <a:cxn ang="0">
                  <a:pos x="3" y="3"/>
                </a:cxn>
                <a:cxn ang="0">
                  <a:pos x="0" y="15"/>
                </a:cxn>
                <a:cxn ang="0">
                  <a:pos x="0" y="15"/>
                </a:cxn>
              </a:cxnLst>
              <a:rect l="0" t="0" r="r" b="b"/>
              <a:pathLst>
                <a:path w="33" h="26">
                  <a:moveTo>
                    <a:pt x="0" y="15"/>
                  </a:moveTo>
                  <a:lnTo>
                    <a:pt x="15" y="26"/>
                  </a:lnTo>
                  <a:lnTo>
                    <a:pt x="16" y="16"/>
                  </a:lnTo>
                  <a:lnTo>
                    <a:pt x="22" y="13"/>
                  </a:lnTo>
                  <a:lnTo>
                    <a:pt x="28" y="18"/>
                  </a:lnTo>
                  <a:lnTo>
                    <a:pt x="33" y="7"/>
                  </a:lnTo>
                  <a:lnTo>
                    <a:pt x="30" y="0"/>
                  </a:lnTo>
                  <a:lnTo>
                    <a:pt x="15" y="0"/>
                  </a:lnTo>
                  <a:lnTo>
                    <a:pt x="13" y="5"/>
                  </a:lnTo>
                  <a:lnTo>
                    <a:pt x="3" y="3"/>
                  </a:lnTo>
                  <a:lnTo>
                    <a:pt x="0" y="15"/>
                  </a:lnTo>
                  <a:lnTo>
                    <a:pt x="0"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85" name="Freeform 5919"/>
            <p:cNvSpPr>
              <a:spLocks/>
            </p:cNvSpPr>
            <p:nvPr>
              <p:custDataLst>
                <p:tags r:id="rId231"/>
              </p:custDataLst>
            </p:nvPr>
          </p:nvSpPr>
          <p:spPr bwMode="gray">
            <a:xfrm>
              <a:off x="9195362" y="3379291"/>
              <a:ext cx="179633" cy="190115"/>
            </a:xfrm>
            <a:custGeom>
              <a:avLst/>
              <a:gdLst/>
              <a:ahLst/>
              <a:cxnLst>
                <a:cxn ang="0">
                  <a:pos x="0" y="131"/>
                </a:cxn>
                <a:cxn ang="0">
                  <a:pos x="3" y="138"/>
                </a:cxn>
                <a:cxn ang="0">
                  <a:pos x="20" y="138"/>
                </a:cxn>
                <a:cxn ang="0">
                  <a:pos x="22" y="133"/>
                </a:cxn>
                <a:cxn ang="0">
                  <a:pos x="52" y="121"/>
                </a:cxn>
                <a:cxn ang="0">
                  <a:pos x="67" y="123"/>
                </a:cxn>
                <a:cxn ang="0">
                  <a:pos x="69" y="138"/>
                </a:cxn>
                <a:cxn ang="0">
                  <a:pos x="82" y="148"/>
                </a:cxn>
                <a:cxn ang="0">
                  <a:pos x="89" y="131"/>
                </a:cxn>
                <a:cxn ang="0">
                  <a:pos x="84" y="125"/>
                </a:cxn>
                <a:cxn ang="0">
                  <a:pos x="84" y="118"/>
                </a:cxn>
                <a:cxn ang="0">
                  <a:pos x="95" y="125"/>
                </a:cxn>
                <a:cxn ang="0">
                  <a:pos x="108" y="125"/>
                </a:cxn>
                <a:cxn ang="0">
                  <a:pos x="114" y="116"/>
                </a:cxn>
                <a:cxn ang="0">
                  <a:pos x="119" y="125"/>
                </a:cxn>
                <a:cxn ang="0">
                  <a:pos x="119" y="114"/>
                </a:cxn>
                <a:cxn ang="0">
                  <a:pos x="127" y="108"/>
                </a:cxn>
                <a:cxn ang="0">
                  <a:pos x="131" y="119"/>
                </a:cxn>
                <a:cxn ang="0">
                  <a:pos x="138" y="114"/>
                </a:cxn>
                <a:cxn ang="0">
                  <a:pos x="140" y="104"/>
                </a:cxn>
                <a:cxn ang="0">
                  <a:pos x="121" y="61"/>
                </a:cxn>
                <a:cxn ang="0">
                  <a:pos x="123" y="58"/>
                </a:cxn>
                <a:cxn ang="0">
                  <a:pos x="129" y="58"/>
                </a:cxn>
                <a:cxn ang="0">
                  <a:pos x="127" y="43"/>
                </a:cxn>
                <a:cxn ang="0">
                  <a:pos x="99" y="1"/>
                </a:cxn>
                <a:cxn ang="0">
                  <a:pos x="88" y="0"/>
                </a:cxn>
                <a:cxn ang="0">
                  <a:pos x="97" y="9"/>
                </a:cxn>
                <a:cxn ang="0">
                  <a:pos x="84" y="5"/>
                </a:cxn>
                <a:cxn ang="0">
                  <a:pos x="97" y="45"/>
                </a:cxn>
                <a:cxn ang="0">
                  <a:pos x="93" y="75"/>
                </a:cxn>
                <a:cxn ang="0">
                  <a:pos x="74" y="86"/>
                </a:cxn>
                <a:cxn ang="0">
                  <a:pos x="71" y="73"/>
                </a:cxn>
                <a:cxn ang="0">
                  <a:pos x="67" y="76"/>
                </a:cxn>
                <a:cxn ang="0">
                  <a:pos x="69" y="106"/>
                </a:cxn>
                <a:cxn ang="0">
                  <a:pos x="65" y="108"/>
                </a:cxn>
                <a:cxn ang="0">
                  <a:pos x="56" y="104"/>
                </a:cxn>
                <a:cxn ang="0">
                  <a:pos x="20" y="108"/>
                </a:cxn>
                <a:cxn ang="0">
                  <a:pos x="0" y="131"/>
                </a:cxn>
                <a:cxn ang="0">
                  <a:pos x="0" y="131"/>
                </a:cxn>
              </a:cxnLst>
              <a:rect l="0" t="0" r="r" b="b"/>
              <a:pathLst>
                <a:path w="140" h="148">
                  <a:moveTo>
                    <a:pt x="0" y="131"/>
                  </a:moveTo>
                  <a:lnTo>
                    <a:pt x="3" y="138"/>
                  </a:lnTo>
                  <a:lnTo>
                    <a:pt x="20" y="138"/>
                  </a:lnTo>
                  <a:lnTo>
                    <a:pt x="22" y="133"/>
                  </a:lnTo>
                  <a:lnTo>
                    <a:pt x="52" y="121"/>
                  </a:lnTo>
                  <a:lnTo>
                    <a:pt x="67" y="123"/>
                  </a:lnTo>
                  <a:lnTo>
                    <a:pt x="69" y="138"/>
                  </a:lnTo>
                  <a:lnTo>
                    <a:pt x="82" y="148"/>
                  </a:lnTo>
                  <a:lnTo>
                    <a:pt x="89" y="131"/>
                  </a:lnTo>
                  <a:lnTo>
                    <a:pt x="84" y="125"/>
                  </a:lnTo>
                  <a:lnTo>
                    <a:pt x="84" y="118"/>
                  </a:lnTo>
                  <a:lnTo>
                    <a:pt x="95" y="125"/>
                  </a:lnTo>
                  <a:lnTo>
                    <a:pt x="108" y="125"/>
                  </a:lnTo>
                  <a:lnTo>
                    <a:pt x="114" y="116"/>
                  </a:lnTo>
                  <a:lnTo>
                    <a:pt x="119" y="125"/>
                  </a:lnTo>
                  <a:lnTo>
                    <a:pt x="119" y="114"/>
                  </a:lnTo>
                  <a:lnTo>
                    <a:pt x="127" y="108"/>
                  </a:lnTo>
                  <a:lnTo>
                    <a:pt x="131" y="119"/>
                  </a:lnTo>
                  <a:lnTo>
                    <a:pt x="138" y="114"/>
                  </a:lnTo>
                  <a:lnTo>
                    <a:pt x="140" y="104"/>
                  </a:lnTo>
                  <a:lnTo>
                    <a:pt x="121" y="61"/>
                  </a:lnTo>
                  <a:lnTo>
                    <a:pt x="123" y="58"/>
                  </a:lnTo>
                  <a:lnTo>
                    <a:pt x="129" y="58"/>
                  </a:lnTo>
                  <a:lnTo>
                    <a:pt x="127" y="43"/>
                  </a:lnTo>
                  <a:lnTo>
                    <a:pt x="99" y="1"/>
                  </a:lnTo>
                  <a:lnTo>
                    <a:pt x="88" y="0"/>
                  </a:lnTo>
                  <a:lnTo>
                    <a:pt x="97" y="9"/>
                  </a:lnTo>
                  <a:lnTo>
                    <a:pt x="84" y="5"/>
                  </a:lnTo>
                  <a:lnTo>
                    <a:pt x="97" y="45"/>
                  </a:lnTo>
                  <a:lnTo>
                    <a:pt x="93" y="75"/>
                  </a:lnTo>
                  <a:lnTo>
                    <a:pt x="74" y="86"/>
                  </a:lnTo>
                  <a:lnTo>
                    <a:pt x="71" y="73"/>
                  </a:lnTo>
                  <a:lnTo>
                    <a:pt x="67" y="76"/>
                  </a:lnTo>
                  <a:lnTo>
                    <a:pt x="69" y="106"/>
                  </a:lnTo>
                  <a:lnTo>
                    <a:pt x="65" y="108"/>
                  </a:lnTo>
                  <a:lnTo>
                    <a:pt x="56" y="104"/>
                  </a:lnTo>
                  <a:lnTo>
                    <a:pt x="20" y="108"/>
                  </a:lnTo>
                  <a:lnTo>
                    <a:pt x="0" y="131"/>
                  </a:lnTo>
                  <a:lnTo>
                    <a:pt x="0" y="13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86" name="Freeform 5920"/>
            <p:cNvSpPr>
              <a:spLocks/>
            </p:cNvSpPr>
            <p:nvPr>
              <p:custDataLst>
                <p:tags r:id="rId232"/>
              </p:custDataLst>
            </p:nvPr>
          </p:nvSpPr>
          <p:spPr bwMode="gray">
            <a:xfrm>
              <a:off x="9267215" y="3285518"/>
              <a:ext cx="110346" cy="95057"/>
            </a:xfrm>
            <a:custGeom>
              <a:avLst/>
              <a:gdLst/>
              <a:ahLst/>
              <a:cxnLst>
                <a:cxn ang="0">
                  <a:pos x="5" y="52"/>
                </a:cxn>
                <a:cxn ang="0">
                  <a:pos x="20" y="74"/>
                </a:cxn>
                <a:cxn ang="0">
                  <a:pos x="32" y="65"/>
                </a:cxn>
                <a:cxn ang="0">
                  <a:pos x="15" y="54"/>
                </a:cxn>
                <a:cxn ang="0">
                  <a:pos x="24" y="56"/>
                </a:cxn>
                <a:cxn ang="0">
                  <a:pos x="35" y="52"/>
                </a:cxn>
                <a:cxn ang="0">
                  <a:pos x="62" y="63"/>
                </a:cxn>
                <a:cxn ang="0">
                  <a:pos x="65" y="44"/>
                </a:cxn>
                <a:cxn ang="0">
                  <a:pos x="75" y="44"/>
                </a:cxn>
                <a:cxn ang="0">
                  <a:pos x="86" y="37"/>
                </a:cxn>
                <a:cxn ang="0">
                  <a:pos x="77" y="39"/>
                </a:cxn>
                <a:cxn ang="0">
                  <a:pos x="69" y="31"/>
                </a:cxn>
                <a:cxn ang="0">
                  <a:pos x="67" y="22"/>
                </a:cxn>
                <a:cxn ang="0">
                  <a:pos x="62" y="28"/>
                </a:cxn>
                <a:cxn ang="0">
                  <a:pos x="43" y="24"/>
                </a:cxn>
                <a:cxn ang="0">
                  <a:pos x="3" y="0"/>
                </a:cxn>
                <a:cxn ang="0">
                  <a:pos x="0" y="3"/>
                </a:cxn>
                <a:cxn ang="0">
                  <a:pos x="9" y="13"/>
                </a:cxn>
                <a:cxn ang="0">
                  <a:pos x="20" y="41"/>
                </a:cxn>
                <a:cxn ang="0">
                  <a:pos x="5" y="39"/>
                </a:cxn>
                <a:cxn ang="0">
                  <a:pos x="11" y="44"/>
                </a:cxn>
                <a:cxn ang="0">
                  <a:pos x="5" y="52"/>
                </a:cxn>
                <a:cxn ang="0">
                  <a:pos x="5" y="52"/>
                </a:cxn>
              </a:cxnLst>
              <a:rect l="0" t="0" r="r" b="b"/>
              <a:pathLst>
                <a:path w="86" h="74">
                  <a:moveTo>
                    <a:pt x="5" y="52"/>
                  </a:moveTo>
                  <a:lnTo>
                    <a:pt x="20" y="74"/>
                  </a:lnTo>
                  <a:lnTo>
                    <a:pt x="32" y="65"/>
                  </a:lnTo>
                  <a:lnTo>
                    <a:pt x="15" y="54"/>
                  </a:lnTo>
                  <a:lnTo>
                    <a:pt x="24" y="56"/>
                  </a:lnTo>
                  <a:lnTo>
                    <a:pt x="35" y="52"/>
                  </a:lnTo>
                  <a:lnTo>
                    <a:pt x="62" y="63"/>
                  </a:lnTo>
                  <a:lnTo>
                    <a:pt x="65" y="44"/>
                  </a:lnTo>
                  <a:lnTo>
                    <a:pt x="75" y="44"/>
                  </a:lnTo>
                  <a:lnTo>
                    <a:pt x="86" y="37"/>
                  </a:lnTo>
                  <a:lnTo>
                    <a:pt x="77" y="39"/>
                  </a:lnTo>
                  <a:lnTo>
                    <a:pt x="69" y="31"/>
                  </a:lnTo>
                  <a:lnTo>
                    <a:pt x="67" y="22"/>
                  </a:lnTo>
                  <a:lnTo>
                    <a:pt x="62" y="28"/>
                  </a:lnTo>
                  <a:lnTo>
                    <a:pt x="43" y="24"/>
                  </a:lnTo>
                  <a:lnTo>
                    <a:pt x="3" y="0"/>
                  </a:lnTo>
                  <a:lnTo>
                    <a:pt x="0" y="3"/>
                  </a:lnTo>
                  <a:lnTo>
                    <a:pt x="9" y="13"/>
                  </a:lnTo>
                  <a:lnTo>
                    <a:pt x="20" y="41"/>
                  </a:lnTo>
                  <a:lnTo>
                    <a:pt x="5" y="39"/>
                  </a:lnTo>
                  <a:lnTo>
                    <a:pt x="11" y="44"/>
                  </a:lnTo>
                  <a:lnTo>
                    <a:pt x="5" y="52"/>
                  </a:lnTo>
                  <a:lnTo>
                    <a:pt x="5" y="5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87" name="Freeform 5921"/>
            <p:cNvSpPr>
              <a:spLocks/>
            </p:cNvSpPr>
            <p:nvPr>
              <p:custDataLst>
                <p:tags r:id="rId233"/>
              </p:custDataLst>
            </p:nvPr>
          </p:nvSpPr>
          <p:spPr bwMode="gray">
            <a:xfrm>
              <a:off x="9124792" y="37852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88" name="Freeform 5922"/>
            <p:cNvSpPr>
              <a:spLocks/>
            </p:cNvSpPr>
            <p:nvPr>
              <p:custDataLst>
                <p:tags r:id="rId234"/>
              </p:custDataLst>
            </p:nvPr>
          </p:nvSpPr>
          <p:spPr bwMode="gray">
            <a:xfrm>
              <a:off x="9156869" y="377365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89" name="Freeform 5923"/>
            <p:cNvSpPr>
              <a:spLocks/>
            </p:cNvSpPr>
            <p:nvPr>
              <p:custDataLst>
                <p:tags r:id="rId235"/>
              </p:custDataLst>
            </p:nvPr>
          </p:nvSpPr>
          <p:spPr bwMode="gray">
            <a:xfrm>
              <a:off x="9195362" y="3724837"/>
              <a:ext cx="3849" cy="16699"/>
            </a:xfrm>
            <a:custGeom>
              <a:avLst/>
              <a:gdLst/>
              <a:ahLst/>
              <a:cxnLst>
                <a:cxn ang="0">
                  <a:pos x="0" y="13"/>
                </a:cxn>
                <a:cxn ang="0">
                  <a:pos x="3" y="0"/>
                </a:cxn>
                <a:cxn ang="0">
                  <a:pos x="0" y="13"/>
                </a:cxn>
              </a:cxnLst>
              <a:rect l="0" t="0" r="r" b="b"/>
              <a:pathLst>
                <a:path w="3" h="13">
                  <a:moveTo>
                    <a:pt x="0" y="13"/>
                  </a:moveTo>
                  <a:lnTo>
                    <a:pt x="3" y="0"/>
                  </a:lnTo>
                  <a:lnTo>
                    <a:pt x="0" y="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90" name="Line 5924"/>
            <p:cNvSpPr>
              <a:spLocks noChangeShapeType="1"/>
            </p:cNvSpPr>
            <p:nvPr>
              <p:custDataLst>
                <p:tags r:id="rId236"/>
              </p:custDataLst>
            </p:nvPr>
          </p:nvSpPr>
          <p:spPr bwMode="gray">
            <a:xfrm flipV="1">
              <a:off x="9195362" y="3724837"/>
              <a:ext cx="3849" cy="16699"/>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91" name="Freeform 5925"/>
            <p:cNvSpPr>
              <a:spLocks/>
            </p:cNvSpPr>
            <p:nvPr>
              <p:custDataLst>
                <p:tags r:id="rId237"/>
              </p:custDataLst>
            </p:nvPr>
          </p:nvSpPr>
          <p:spPr bwMode="gray">
            <a:xfrm>
              <a:off x="9214608" y="3686300"/>
              <a:ext cx="3849" cy="7707"/>
            </a:xfrm>
            <a:custGeom>
              <a:avLst/>
              <a:gdLst/>
              <a:ahLst/>
              <a:cxnLst>
                <a:cxn ang="0">
                  <a:pos x="0" y="6"/>
                </a:cxn>
                <a:cxn ang="0">
                  <a:pos x="3" y="0"/>
                </a:cxn>
                <a:cxn ang="0">
                  <a:pos x="0" y="6"/>
                </a:cxn>
              </a:cxnLst>
              <a:rect l="0" t="0" r="r" b="b"/>
              <a:pathLst>
                <a:path w="3" h="6">
                  <a:moveTo>
                    <a:pt x="0" y="6"/>
                  </a:moveTo>
                  <a:lnTo>
                    <a:pt x="3" y="0"/>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92" name="Line 5926"/>
            <p:cNvSpPr>
              <a:spLocks noChangeShapeType="1"/>
            </p:cNvSpPr>
            <p:nvPr>
              <p:custDataLst>
                <p:tags r:id="rId238"/>
              </p:custDataLst>
            </p:nvPr>
          </p:nvSpPr>
          <p:spPr bwMode="gray">
            <a:xfrm flipV="1">
              <a:off x="9214608" y="3686300"/>
              <a:ext cx="3849" cy="7707"/>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93" name="Freeform 5927"/>
            <p:cNvSpPr>
              <a:spLocks/>
            </p:cNvSpPr>
            <p:nvPr>
              <p:custDataLst>
                <p:tags r:id="rId239"/>
              </p:custDataLst>
            </p:nvPr>
          </p:nvSpPr>
          <p:spPr bwMode="gray">
            <a:xfrm>
              <a:off x="9221024" y="364134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94" name="Freeform 5928"/>
            <p:cNvSpPr>
              <a:spLocks/>
            </p:cNvSpPr>
            <p:nvPr>
              <p:custDataLst>
                <p:tags r:id="rId240"/>
              </p:custDataLst>
            </p:nvPr>
          </p:nvSpPr>
          <p:spPr bwMode="gray">
            <a:xfrm>
              <a:off x="9385259" y="357582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95" name="Freeform 5929"/>
            <p:cNvSpPr>
              <a:spLocks/>
            </p:cNvSpPr>
            <p:nvPr>
              <p:custDataLst>
                <p:tags r:id="rId241"/>
              </p:custDataLst>
            </p:nvPr>
          </p:nvSpPr>
          <p:spPr bwMode="gray">
            <a:xfrm>
              <a:off x="9389109" y="358995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96" name="Freeform 5930"/>
            <p:cNvSpPr>
              <a:spLocks/>
            </p:cNvSpPr>
            <p:nvPr>
              <p:custDataLst>
                <p:tags r:id="rId242"/>
              </p:custDataLst>
            </p:nvPr>
          </p:nvSpPr>
          <p:spPr bwMode="gray">
            <a:xfrm>
              <a:off x="9416054" y="363877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97" name="Freeform 5931"/>
            <p:cNvSpPr>
              <a:spLocks/>
            </p:cNvSpPr>
            <p:nvPr>
              <p:custDataLst>
                <p:tags r:id="rId243"/>
              </p:custDataLst>
            </p:nvPr>
          </p:nvSpPr>
          <p:spPr bwMode="gray">
            <a:xfrm>
              <a:off x="9480208" y="371841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98" name="Freeform 5932"/>
            <p:cNvSpPr>
              <a:spLocks/>
            </p:cNvSpPr>
            <p:nvPr>
              <p:custDataLst>
                <p:tags r:id="rId244"/>
              </p:custDataLst>
            </p:nvPr>
          </p:nvSpPr>
          <p:spPr bwMode="gray">
            <a:xfrm>
              <a:off x="9482774" y="37299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99" name="Freeform 5933"/>
            <p:cNvSpPr>
              <a:spLocks/>
            </p:cNvSpPr>
            <p:nvPr>
              <p:custDataLst>
                <p:tags r:id="rId245"/>
              </p:custDataLst>
            </p:nvPr>
          </p:nvSpPr>
          <p:spPr bwMode="gray">
            <a:xfrm>
              <a:off x="9478925" y="377365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00" name="Freeform 5934"/>
            <p:cNvSpPr>
              <a:spLocks/>
            </p:cNvSpPr>
            <p:nvPr>
              <p:custDataLst>
                <p:tags r:id="rId246"/>
              </p:custDataLst>
            </p:nvPr>
          </p:nvSpPr>
          <p:spPr bwMode="gray">
            <a:xfrm>
              <a:off x="9363447" y="3311209"/>
              <a:ext cx="6415" cy="11561"/>
            </a:xfrm>
            <a:custGeom>
              <a:avLst/>
              <a:gdLst/>
              <a:ahLst/>
              <a:cxnLst>
                <a:cxn ang="0">
                  <a:pos x="0" y="9"/>
                </a:cxn>
                <a:cxn ang="0">
                  <a:pos x="5" y="0"/>
                </a:cxn>
                <a:cxn ang="0">
                  <a:pos x="0" y="9"/>
                </a:cxn>
              </a:cxnLst>
              <a:rect l="0" t="0" r="r" b="b"/>
              <a:pathLst>
                <a:path w="5" h="9">
                  <a:moveTo>
                    <a:pt x="0" y="9"/>
                  </a:moveTo>
                  <a:lnTo>
                    <a:pt x="5" y="0"/>
                  </a:lnTo>
                  <a:lnTo>
                    <a:pt x="0" y="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01" name="Line 5935"/>
            <p:cNvSpPr>
              <a:spLocks noChangeShapeType="1"/>
            </p:cNvSpPr>
            <p:nvPr>
              <p:custDataLst>
                <p:tags r:id="rId247"/>
              </p:custDataLst>
            </p:nvPr>
          </p:nvSpPr>
          <p:spPr bwMode="gray">
            <a:xfrm flipV="1">
              <a:off x="9363447" y="3311209"/>
              <a:ext cx="6415" cy="11561"/>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02" name="Freeform 5936"/>
            <p:cNvSpPr>
              <a:spLocks/>
            </p:cNvSpPr>
            <p:nvPr>
              <p:custDataLst>
                <p:tags r:id="rId248"/>
              </p:custDataLst>
            </p:nvPr>
          </p:nvSpPr>
          <p:spPr bwMode="gray">
            <a:xfrm>
              <a:off x="9382693" y="3285518"/>
              <a:ext cx="19246" cy="23122"/>
            </a:xfrm>
            <a:custGeom>
              <a:avLst/>
              <a:gdLst/>
              <a:ahLst/>
              <a:cxnLst>
                <a:cxn ang="0">
                  <a:pos x="0" y="18"/>
                </a:cxn>
                <a:cxn ang="0">
                  <a:pos x="15" y="0"/>
                </a:cxn>
                <a:cxn ang="0">
                  <a:pos x="3" y="1"/>
                </a:cxn>
                <a:cxn ang="0">
                  <a:pos x="0" y="18"/>
                </a:cxn>
                <a:cxn ang="0">
                  <a:pos x="0" y="18"/>
                </a:cxn>
              </a:cxnLst>
              <a:rect l="0" t="0" r="r" b="b"/>
              <a:pathLst>
                <a:path w="15" h="18">
                  <a:moveTo>
                    <a:pt x="0" y="18"/>
                  </a:moveTo>
                  <a:lnTo>
                    <a:pt x="15" y="0"/>
                  </a:lnTo>
                  <a:lnTo>
                    <a:pt x="3" y="1"/>
                  </a:lnTo>
                  <a:lnTo>
                    <a:pt x="0" y="18"/>
                  </a:lnTo>
                  <a:lnTo>
                    <a:pt x="0" y="1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03" name="Freeform 5937"/>
            <p:cNvSpPr>
              <a:spLocks/>
            </p:cNvSpPr>
            <p:nvPr>
              <p:custDataLst>
                <p:tags r:id="rId249"/>
              </p:custDataLst>
            </p:nvPr>
          </p:nvSpPr>
          <p:spPr bwMode="gray">
            <a:xfrm>
              <a:off x="9410921" y="3266250"/>
              <a:ext cx="7699" cy="14130"/>
            </a:xfrm>
            <a:custGeom>
              <a:avLst/>
              <a:gdLst/>
              <a:ahLst/>
              <a:cxnLst>
                <a:cxn ang="0">
                  <a:pos x="0" y="11"/>
                </a:cxn>
                <a:cxn ang="0">
                  <a:pos x="6" y="0"/>
                </a:cxn>
                <a:cxn ang="0">
                  <a:pos x="0" y="11"/>
                </a:cxn>
                <a:cxn ang="0">
                  <a:pos x="0" y="11"/>
                </a:cxn>
              </a:cxnLst>
              <a:rect l="0" t="0" r="r" b="b"/>
              <a:pathLst>
                <a:path w="6" h="11">
                  <a:moveTo>
                    <a:pt x="0" y="11"/>
                  </a:moveTo>
                  <a:lnTo>
                    <a:pt x="6" y="0"/>
                  </a:lnTo>
                  <a:lnTo>
                    <a:pt x="0" y="11"/>
                  </a:lnTo>
                  <a:lnTo>
                    <a:pt x="0"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04" name="Freeform 5938"/>
            <p:cNvSpPr>
              <a:spLocks/>
            </p:cNvSpPr>
            <p:nvPr>
              <p:custDataLst>
                <p:tags r:id="rId250"/>
              </p:custDataLst>
            </p:nvPr>
          </p:nvSpPr>
          <p:spPr bwMode="gray">
            <a:xfrm>
              <a:off x="9432734" y="3246981"/>
              <a:ext cx="2566" cy="6423"/>
            </a:xfrm>
            <a:custGeom>
              <a:avLst/>
              <a:gdLst/>
              <a:ahLst/>
              <a:cxnLst>
                <a:cxn ang="0">
                  <a:pos x="0" y="5"/>
                </a:cxn>
                <a:cxn ang="0">
                  <a:pos x="2" y="0"/>
                </a:cxn>
                <a:cxn ang="0">
                  <a:pos x="0" y="5"/>
                </a:cxn>
              </a:cxnLst>
              <a:rect l="0" t="0" r="r" b="b"/>
              <a:pathLst>
                <a:path w="2" h="5">
                  <a:moveTo>
                    <a:pt x="0" y="5"/>
                  </a:moveTo>
                  <a:lnTo>
                    <a:pt x="2" y="0"/>
                  </a:lnTo>
                  <a:lnTo>
                    <a:pt x="0"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05" name="Line 5939"/>
            <p:cNvSpPr>
              <a:spLocks noChangeShapeType="1"/>
            </p:cNvSpPr>
            <p:nvPr>
              <p:custDataLst>
                <p:tags r:id="rId251"/>
              </p:custDataLst>
            </p:nvPr>
          </p:nvSpPr>
          <p:spPr bwMode="gray">
            <a:xfrm flipV="1">
              <a:off x="9432734" y="3246981"/>
              <a:ext cx="2566" cy="6423"/>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06" name="Freeform 5940"/>
            <p:cNvSpPr>
              <a:spLocks/>
            </p:cNvSpPr>
            <p:nvPr>
              <p:custDataLst>
                <p:tags r:id="rId252"/>
              </p:custDataLst>
            </p:nvPr>
          </p:nvSpPr>
          <p:spPr bwMode="gray">
            <a:xfrm>
              <a:off x="9437866" y="322514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07" name="Freeform 5941"/>
            <p:cNvSpPr>
              <a:spLocks/>
            </p:cNvSpPr>
            <p:nvPr>
              <p:custDataLst>
                <p:tags r:id="rId253"/>
              </p:custDataLst>
            </p:nvPr>
          </p:nvSpPr>
          <p:spPr bwMode="gray">
            <a:xfrm>
              <a:off x="9437866" y="3164769"/>
              <a:ext cx="11548" cy="14130"/>
            </a:xfrm>
            <a:custGeom>
              <a:avLst/>
              <a:gdLst/>
              <a:ahLst/>
              <a:cxnLst>
                <a:cxn ang="0">
                  <a:pos x="0" y="7"/>
                </a:cxn>
                <a:cxn ang="0">
                  <a:pos x="3" y="11"/>
                </a:cxn>
                <a:cxn ang="0">
                  <a:pos x="9" y="9"/>
                </a:cxn>
                <a:cxn ang="0">
                  <a:pos x="5" y="0"/>
                </a:cxn>
                <a:cxn ang="0">
                  <a:pos x="0" y="7"/>
                </a:cxn>
                <a:cxn ang="0">
                  <a:pos x="0" y="7"/>
                </a:cxn>
              </a:cxnLst>
              <a:rect l="0" t="0" r="r" b="b"/>
              <a:pathLst>
                <a:path w="9" h="11">
                  <a:moveTo>
                    <a:pt x="0" y="7"/>
                  </a:moveTo>
                  <a:lnTo>
                    <a:pt x="3" y="11"/>
                  </a:lnTo>
                  <a:lnTo>
                    <a:pt x="9" y="9"/>
                  </a:lnTo>
                  <a:lnTo>
                    <a:pt x="5" y="0"/>
                  </a:lnTo>
                  <a:lnTo>
                    <a:pt x="0" y="7"/>
                  </a:lnTo>
                  <a:lnTo>
                    <a:pt x="0" y="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08" name="Freeform 5942"/>
            <p:cNvSpPr>
              <a:spLocks/>
            </p:cNvSpPr>
            <p:nvPr>
              <p:custDataLst>
                <p:tags r:id="rId254"/>
              </p:custDataLst>
            </p:nvPr>
          </p:nvSpPr>
          <p:spPr bwMode="gray">
            <a:xfrm>
              <a:off x="9399373" y="2974655"/>
              <a:ext cx="14114" cy="14130"/>
            </a:xfrm>
            <a:custGeom>
              <a:avLst/>
              <a:gdLst/>
              <a:ahLst/>
              <a:cxnLst>
                <a:cxn ang="0">
                  <a:pos x="5" y="11"/>
                </a:cxn>
                <a:cxn ang="0">
                  <a:pos x="11" y="5"/>
                </a:cxn>
                <a:cxn ang="0">
                  <a:pos x="3" y="0"/>
                </a:cxn>
                <a:cxn ang="0">
                  <a:pos x="0" y="4"/>
                </a:cxn>
                <a:cxn ang="0">
                  <a:pos x="5" y="11"/>
                </a:cxn>
                <a:cxn ang="0">
                  <a:pos x="5" y="11"/>
                </a:cxn>
              </a:cxnLst>
              <a:rect l="0" t="0" r="r" b="b"/>
              <a:pathLst>
                <a:path w="11" h="11">
                  <a:moveTo>
                    <a:pt x="5" y="11"/>
                  </a:moveTo>
                  <a:lnTo>
                    <a:pt x="11" y="5"/>
                  </a:lnTo>
                  <a:lnTo>
                    <a:pt x="3" y="0"/>
                  </a:lnTo>
                  <a:lnTo>
                    <a:pt x="0" y="4"/>
                  </a:lnTo>
                  <a:lnTo>
                    <a:pt x="5" y="11"/>
                  </a:lnTo>
                  <a:lnTo>
                    <a:pt x="5"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09" name="Freeform 5943"/>
            <p:cNvSpPr>
              <a:spLocks/>
            </p:cNvSpPr>
            <p:nvPr>
              <p:custDataLst>
                <p:tags r:id="rId255"/>
              </p:custDataLst>
            </p:nvPr>
          </p:nvSpPr>
          <p:spPr bwMode="gray">
            <a:xfrm>
              <a:off x="9309557" y="2719027"/>
              <a:ext cx="24379" cy="10276"/>
            </a:xfrm>
            <a:custGeom>
              <a:avLst/>
              <a:gdLst/>
              <a:ahLst/>
              <a:cxnLst>
                <a:cxn ang="0">
                  <a:pos x="6" y="0"/>
                </a:cxn>
                <a:cxn ang="0">
                  <a:pos x="0" y="6"/>
                </a:cxn>
                <a:cxn ang="0">
                  <a:pos x="19" y="8"/>
                </a:cxn>
                <a:cxn ang="0">
                  <a:pos x="6" y="0"/>
                </a:cxn>
              </a:cxnLst>
              <a:rect l="0" t="0" r="r" b="b"/>
              <a:pathLst>
                <a:path w="19" h="8">
                  <a:moveTo>
                    <a:pt x="6" y="0"/>
                  </a:moveTo>
                  <a:lnTo>
                    <a:pt x="0" y="6"/>
                  </a:lnTo>
                  <a:lnTo>
                    <a:pt x="19" y="8"/>
                  </a:lnTo>
                  <a:lnTo>
                    <a:pt x="6"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10" name="Freeform 5944"/>
            <p:cNvSpPr>
              <a:spLocks/>
            </p:cNvSpPr>
            <p:nvPr>
              <p:custDataLst>
                <p:tags r:id="rId256"/>
              </p:custDataLst>
            </p:nvPr>
          </p:nvSpPr>
          <p:spPr bwMode="gray">
            <a:xfrm>
              <a:off x="9309557" y="2719027"/>
              <a:ext cx="24379" cy="10276"/>
            </a:xfrm>
            <a:custGeom>
              <a:avLst/>
              <a:gdLst/>
              <a:ahLst/>
              <a:cxnLst>
                <a:cxn ang="0">
                  <a:pos x="6" y="0"/>
                </a:cxn>
                <a:cxn ang="0">
                  <a:pos x="0" y="6"/>
                </a:cxn>
                <a:cxn ang="0">
                  <a:pos x="19" y="8"/>
                </a:cxn>
              </a:cxnLst>
              <a:rect l="0" t="0" r="r" b="b"/>
              <a:pathLst>
                <a:path w="19" h="8">
                  <a:moveTo>
                    <a:pt x="6" y="0"/>
                  </a:moveTo>
                  <a:lnTo>
                    <a:pt x="0" y="6"/>
                  </a:lnTo>
                  <a:lnTo>
                    <a:pt x="19" y="8"/>
                  </a:lnTo>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11" name="Freeform 5945"/>
            <p:cNvSpPr>
              <a:spLocks/>
            </p:cNvSpPr>
            <p:nvPr>
              <p:custDataLst>
                <p:tags r:id="rId257"/>
              </p:custDataLst>
            </p:nvPr>
          </p:nvSpPr>
          <p:spPr bwMode="gray">
            <a:xfrm>
              <a:off x="9317255" y="2719027"/>
              <a:ext cx="48758" cy="10276"/>
            </a:xfrm>
            <a:custGeom>
              <a:avLst/>
              <a:gdLst/>
              <a:ahLst/>
              <a:cxnLst>
                <a:cxn ang="0">
                  <a:pos x="13" y="8"/>
                </a:cxn>
                <a:cxn ang="0">
                  <a:pos x="38" y="6"/>
                </a:cxn>
                <a:cxn ang="0">
                  <a:pos x="0" y="0"/>
                </a:cxn>
                <a:cxn ang="0">
                  <a:pos x="13" y="8"/>
                </a:cxn>
              </a:cxnLst>
              <a:rect l="0" t="0" r="r" b="b"/>
              <a:pathLst>
                <a:path w="38" h="8">
                  <a:moveTo>
                    <a:pt x="13" y="8"/>
                  </a:moveTo>
                  <a:lnTo>
                    <a:pt x="38" y="6"/>
                  </a:lnTo>
                  <a:lnTo>
                    <a:pt x="0" y="0"/>
                  </a:lnTo>
                  <a:lnTo>
                    <a:pt x="13" y="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12" name="Freeform 5946"/>
            <p:cNvSpPr>
              <a:spLocks/>
            </p:cNvSpPr>
            <p:nvPr>
              <p:custDataLst>
                <p:tags r:id="rId258"/>
              </p:custDataLst>
            </p:nvPr>
          </p:nvSpPr>
          <p:spPr bwMode="gray">
            <a:xfrm>
              <a:off x="9317255" y="2719027"/>
              <a:ext cx="48758" cy="10276"/>
            </a:xfrm>
            <a:custGeom>
              <a:avLst/>
              <a:gdLst/>
              <a:ahLst/>
              <a:cxnLst>
                <a:cxn ang="0">
                  <a:pos x="13" y="8"/>
                </a:cxn>
                <a:cxn ang="0">
                  <a:pos x="38" y="6"/>
                </a:cxn>
                <a:cxn ang="0">
                  <a:pos x="0" y="0"/>
                </a:cxn>
              </a:cxnLst>
              <a:rect l="0" t="0" r="r" b="b"/>
              <a:pathLst>
                <a:path w="38" h="8">
                  <a:moveTo>
                    <a:pt x="13" y="8"/>
                  </a:moveTo>
                  <a:lnTo>
                    <a:pt x="38" y="6"/>
                  </a:lnTo>
                  <a:lnTo>
                    <a:pt x="0" y="0"/>
                  </a:lnTo>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13" name="Freeform 5947"/>
            <p:cNvSpPr>
              <a:spLocks/>
            </p:cNvSpPr>
            <p:nvPr>
              <p:custDataLst>
                <p:tags r:id="rId259"/>
              </p:custDataLst>
            </p:nvPr>
          </p:nvSpPr>
          <p:spPr bwMode="gray">
            <a:xfrm>
              <a:off x="8684691" y="2674068"/>
              <a:ext cx="53890" cy="14130"/>
            </a:xfrm>
            <a:custGeom>
              <a:avLst/>
              <a:gdLst/>
              <a:ahLst/>
              <a:cxnLst>
                <a:cxn ang="0">
                  <a:pos x="2" y="5"/>
                </a:cxn>
                <a:cxn ang="0">
                  <a:pos x="42" y="11"/>
                </a:cxn>
                <a:cxn ang="0">
                  <a:pos x="14" y="0"/>
                </a:cxn>
                <a:cxn ang="0">
                  <a:pos x="0" y="0"/>
                </a:cxn>
                <a:cxn ang="0">
                  <a:pos x="2" y="5"/>
                </a:cxn>
                <a:cxn ang="0">
                  <a:pos x="2" y="5"/>
                </a:cxn>
              </a:cxnLst>
              <a:rect l="0" t="0" r="r" b="b"/>
              <a:pathLst>
                <a:path w="42" h="11">
                  <a:moveTo>
                    <a:pt x="2" y="5"/>
                  </a:moveTo>
                  <a:lnTo>
                    <a:pt x="42" y="11"/>
                  </a:lnTo>
                  <a:lnTo>
                    <a:pt x="14" y="0"/>
                  </a:lnTo>
                  <a:lnTo>
                    <a:pt x="0" y="0"/>
                  </a:lnTo>
                  <a:lnTo>
                    <a:pt x="2" y="5"/>
                  </a:lnTo>
                  <a:lnTo>
                    <a:pt x="2"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14" name="Freeform 5948"/>
            <p:cNvSpPr>
              <a:spLocks/>
            </p:cNvSpPr>
            <p:nvPr>
              <p:custDataLst>
                <p:tags r:id="rId260"/>
              </p:custDataLst>
            </p:nvPr>
          </p:nvSpPr>
          <p:spPr bwMode="gray">
            <a:xfrm>
              <a:off x="8664161" y="2666360"/>
              <a:ext cx="19246" cy="5138"/>
            </a:xfrm>
            <a:custGeom>
              <a:avLst/>
              <a:gdLst/>
              <a:ahLst/>
              <a:cxnLst>
                <a:cxn ang="0">
                  <a:pos x="0" y="0"/>
                </a:cxn>
                <a:cxn ang="0">
                  <a:pos x="15" y="4"/>
                </a:cxn>
                <a:cxn ang="0">
                  <a:pos x="0" y="0"/>
                </a:cxn>
                <a:cxn ang="0">
                  <a:pos x="0" y="0"/>
                </a:cxn>
              </a:cxnLst>
              <a:rect l="0" t="0" r="r" b="b"/>
              <a:pathLst>
                <a:path w="15" h="4">
                  <a:moveTo>
                    <a:pt x="0" y="0"/>
                  </a:moveTo>
                  <a:lnTo>
                    <a:pt x="15" y="4"/>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15" name="Freeform 5949"/>
            <p:cNvSpPr>
              <a:spLocks/>
            </p:cNvSpPr>
            <p:nvPr>
              <p:custDataLst>
                <p:tags r:id="rId261"/>
              </p:custDataLst>
            </p:nvPr>
          </p:nvSpPr>
          <p:spPr bwMode="gray">
            <a:xfrm>
              <a:off x="8716768" y="2641954"/>
              <a:ext cx="79552" cy="16699"/>
            </a:xfrm>
            <a:custGeom>
              <a:avLst/>
              <a:gdLst/>
              <a:ahLst/>
              <a:cxnLst>
                <a:cxn ang="0">
                  <a:pos x="0" y="0"/>
                </a:cxn>
                <a:cxn ang="0">
                  <a:pos x="62" y="13"/>
                </a:cxn>
                <a:cxn ang="0">
                  <a:pos x="58" y="6"/>
                </a:cxn>
                <a:cxn ang="0">
                  <a:pos x="0" y="0"/>
                </a:cxn>
                <a:cxn ang="0">
                  <a:pos x="0" y="0"/>
                </a:cxn>
              </a:cxnLst>
              <a:rect l="0" t="0" r="r" b="b"/>
              <a:pathLst>
                <a:path w="62" h="13">
                  <a:moveTo>
                    <a:pt x="0" y="0"/>
                  </a:moveTo>
                  <a:lnTo>
                    <a:pt x="62" y="13"/>
                  </a:lnTo>
                  <a:lnTo>
                    <a:pt x="58" y="6"/>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16" name="Freeform 5950"/>
            <p:cNvSpPr>
              <a:spLocks/>
            </p:cNvSpPr>
            <p:nvPr>
              <p:custDataLst>
                <p:tags r:id="rId262"/>
              </p:custDataLst>
            </p:nvPr>
          </p:nvSpPr>
          <p:spPr bwMode="gray">
            <a:xfrm>
              <a:off x="8582043" y="2632962"/>
              <a:ext cx="118045" cy="25691"/>
            </a:xfrm>
            <a:custGeom>
              <a:avLst/>
              <a:gdLst/>
              <a:ahLst/>
              <a:cxnLst>
                <a:cxn ang="0">
                  <a:pos x="11" y="11"/>
                </a:cxn>
                <a:cxn ang="0">
                  <a:pos x="45" y="20"/>
                </a:cxn>
                <a:cxn ang="0">
                  <a:pos x="80" y="19"/>
                </a:cxn>
                <a:cxn ang="0">
                  <a:pos x="92" y="9"/>
                </a:cxn>
                <a:cxn ang="0">
                  <a:pos x="43" y="0"/>
                </a:cxn>
                <a:cxn ang="0">
                  <a:pos x="41" y="5"/>
                </a:cxn>
                <a:cxn ang="0">
                  <a:pos x="11" y="0"/>
                </a:cxn>
                <a:cxn ang="0">
                  <a:pos x="0" y="4"/>
                </a:cxn>
                <a:cxn ang="0">
                  <a:pos x="11" y="11"/>
                </a:cxn>
                <a:cxn ang="0">
                  <a:pos x="11" y="11"/>
                </a:cxn>
              </a:cxnLst>
              <a:rect l="0" t="0" r="r" b="b"/>
              <a:pathLst>
                <a:path w="92" h="20">
                  <a:moveTo>
                    <a:pt x="11" y="11"/>
                  </a:moveTo>
                  <a:lnTo>
                    <a:pt x="45" y="20"/>
                  </a:lnTo>
                  <a:lnTo>
                    <a:pt x="80" y="19"/>
                  </a:lnTo>
                  <a:lnTo>
                    <a:pt x="92" y="9"/>
                  </a:lnTo>
                  <a:lnTo>
                    <a:pt x="43" y="0"/>
                  </a:lnTo>
                  <a:lnTo>
                    <a:pt x="41" y="5"/>
                  </a:lnTo>
                  <a:lnTo>
                    <a:pt x="11" y="0"/>
                  </a:lnTo>
                  <a:lnTo>
                    <a:pt x="0" y="4"/>
                  </a:lnTo>
                  <a:lnTo>
                    <a:pt x="11" y="11"/>
                  </a:lnTo>
                  <a:lnTo>
                    <a:pt x="11"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17" name="Freeform 5951"/>
            <p:cNvSpPr>
              <a:spLocks/>
            </p:cNvSpPr>
            <p:nvPr>
              <p:custDataLst>
                <p:tags r:id="rId263"/>
              </p:custDataLst>
            </p:nvPr>
          </p:nvSpPr>
          <p:spPr bwMode="gray">
            <a:xfrm>
              <a:off x="8014916" y="2575157"/>
              <a:ext cx="66721" cy="25691"/>
            </a:xfrm>
            <a:custGeom>
              <a:avLst/>
              <a:gdLst/>
              <a:ahLst/>
              <a:cxnLst>
                <a:cxn ang="0">
                  <a:pos x="0" y="20"/>
                </a:cxn>
                <a:cxn ang="0">
                  <a:pos x="52" y="15"/>
                </a:cxn>
                <a:cxn ang="0">
                  <a:pos x="45" y="7"/>
                </a:cxn>
                <a:cxn ang="0">
                  <a:pos x="7" y="0"/>
                </a:cxn>
                <a:cxn ang="0">
                  <a:pos x="0" y="2"/>
                </a:cxn>
                <a:cxn ang="0">
                  <a:pos x="0" y="20"/>
                </a:cxn>
                <a:cxn ang="0">
                  <a:pos x="0" y="20"/>
                </a:cxn>
              </a:cxnLst>
              <a:rect l="0" t="0" r="r" b="b"/>
              <a:pathLst>
                <a:path w="52" h="20">
                  <a:moveTo>
                    <a:pt x="0" y="20"/>
                  </a:moveTo>
                  <a:lnTo>
                    <a:pt x="52" y="15"/>
                  </a:lnTo>
                  <a:lnTo>
                    <a:pt x="45" y="7"/>
                  </a:lnTo>
                  <a:lnTo>
                    <a:pt x="7" y="0"/>
                  </a:lnTo>
                  <a:lnTo>
                    <a:pt x="0" y="2"/>
                  </a:lnTo>
                  <a:lnTo>
                    <a:pt x="0" y="20"/>
                  </a:lnTo>
                  <a:lnTo>
                    <a:pt x="0" y="2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18" name="Freeform 5952"/>
            <p:cNvSpPr>
              <a:spLocks/>
            </p:cNvSpPr>
            <p:nvPr>
              <p:custDataLst>
                <p:tags r:id="rId264"/>
              </p:custDataLst>
            </p:nvPr>
          </p:nvSpPr>
          <p:spPr bwMode="gray">
            <a:xfrm>
              <a:off x="7866078" y="2545612"/>
              <a:ext cx="138574" cy="38537"/>
            </a:xfrm>
            <a:custGeom>
              <a:avLst/>
              <a:gdLst/>
              <a:ahLst/>
              <a:cxnLst>
                <a:cxn ang="0">
                  <a:pos x="0" y="15"/>
                </a:cxn>
                <a:cxn ang="0">
                  <a:pos x="50" y="27"/>
                </a:cxn>
                <a:cxn ang="0">
                  <a:pos x="108" y="30"/>
                </a:cxn>
                <a:cxn ang="0">
                  <a:pos x="97" y="25"/>
                </a:cxn>
                <a:cxn ang="0">
                  <a:pos x="97" y="19"/>
                </a:cxn>
                <a:cxn ang="0">
                  <a:pos x="30" y="0"/>
                </a:cxn>
                <a:cxn ang="0">
                  <a:pos x="9" y="4"/>
                </a:cxn>
                <a:cxn ang="0">
                  <a:pos x="11" y="10"/>
                </a:cxn>
                <a:cxn ang="0">
                  <a:pos x="0" y="15"/>
                </a:cxn>
                <a:cxn ang="0">
                  <a:pos x="0" y="15"/>
                </a:cxn>
              </a:cxnLst>
              <a:rect l="0" t="0" r="r" b="b"/>
              <a:pathLst>
                <a:path w="108" h="30">
                  <a:moveTo>
                    <a:pt x="0" y="15"/>
                  </a:moveTo>
                  <a:lnTo>
                    <a:pt x="50" y="27"/>
                  </a:lnTo>
                  <a:lnTo>
                    <a:pt x="108" y="30"/>
                  </a:lnTo>
                  <a:lnTo>
                    <a:pt x="97" y="25"/>
                  </a:lnTo>
                  <a:lnTo>
                    <a:pt x="97" y="19"/>
                  </a:lnTo>
                  <a:lnTo>
                    <a:pt x="30" y="0"/>
                  </a:lnTo>
                  <a:lnTo>
                    <a:pt x="9" y="4"/>
                  </a:lnTo>
                  <a:lnTo>
                    <a:pt x="11" y="10"/>
                  </a:lnTo>
                  <a:lnTo>
                    <a:pt x="0" y="15"/>
                  </a:lnTo>
                  <a:lnTo>
                    <a:pt x="0"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19" name="Freeform 5953"/>
            <p:cNvSpPr>
              <a:spLocks/>
            </p:cNvSpPr>
            <p:nvPr>
              <p:custDataLst>
                <p:tags r:id="rId265"/>
              </p:custDataLst>
            </p:nvPr>
          </p:nvSpPr>
          <p:spPr bwMode="gray">
            <a:xfrm>
              <a:off x="7420845" y="2616263"/>
              <a:ext cx="204012" cy="118179"/>
            </a:xfrm>
            <a:custGeom>
              <a:avLst/>
              <a:gdLst/>
              <a:ahLst/>
              <a:cxnLst>
                <a:cxn ang="0">
                  <a:pos x="4" y="78"/>
                </a:cxn>
                <a:cxn ang="0">
                  <a:pos x="34" y="90"/>
                </a:cxn>
                <a:cxn ang="0">
                  <a:pos x="79" y="92"/>
                </a:cxn>
                <a:cxn ang="0">
                  <a:pos x="51" y="80"/>
                </a:cxn>
                <a:cxn ang="0">
                  <a:pos x="43" y="65"/>
                </a:cxn>
                <a:cxn ang="0">
                  <a:pos x="47" y="60"/>
                </a:cxn>
                <a:cxn ang="0">
                  <a:pos x="83" y="28"/>
                </a:cxn>
                <a:cxn ang="0">
                  <a:pos x="159" y="11"/>
                </a:cxn>
                <a:cxn ang="0">
                  <a:pos x="158" y="3"/>
                </a:cxn>
                <a:cxn ang="0">
                  <a:pos x="141" y="0"/>
                </a:cxn>
                <a:cxn ang="0">
                  <a:pos x="118" y="9"/>
                </a:cxn>
                <a:cxn ang="0">
                  <a:pos x="77" y="11"/>
                </a:cxn>
                <a:cxn ang="0">
                  <a:pos x="26" y="28"/>
                </a:cxn>
                <a:cxn ang="0">
                  <a:pos x="25" y="41"/>
                </a:cxn>
                <a:cxn ang="0">
                  <a:pos x="15" y="47"/>
                </a:cxn>
                <a:cxn ang="0">
                  <a:pos x="23" y="52"/>
                </a:cxn>
                <a:cxn ang="0">
                  <a:pos x="6" y="63"/>
                </a:cxn>
                <a:cxn ang="0">
                  <a:pos x="11" y="67"/>
                </a:cxn>
                <a:cxn ang="0">
                  <a:pos x="0" y="71"/>
                </a:cxn>
                <a:cxn ang="0">
                  <a:pos x="4" y="78"/>
                </a:cxn>
                <a:cxn ang="0">
                  <a:pos x="4" y="78"/>
                </a:cxn>
              </a:cxnLst>
              <a:rect l="0" t="0" r="r" b="b"/>
              <a:pathLst>
                <a:path w="159" h="92">
                  <a:moveTo>
                    <a:pt x="4" y="78"/>
                  </a:moveTo>
                  <a:lnTo>
                    <a:pt x="34" y="90"/>
                  </a:lnTo>
                  <a:lnTo>
                    <a:pt x="79" y="92"/>
                  </a:lnTo>
                  <a:lnTo>
                    <a:pt x="51" y="80"/>
                  </a:lnTo>
                  <a:lnTo>
                    <a:pt x="43" y="65"/>
                  </a:lnTo>
                  <a:lnTo>
                    <a:pt x="47" y="60"/>
                  </a:lnTo>
                  <a:lnTo>
                    <a:pt x="83" y="28"/>
                  </a:lnTo>
                  <a:lnTo>
                    <a:pt x="159" y="11"/>
                  </a:lnTo>
                  <a:lnTo>
                    <a:pt x="158" y="3"/>
                  </a:lnTo>
                  <a:lnTo>
                    <a:pt x="141" y="0"/>
                  </a:lnTo>
                  <a:lnTo>
                    <a:pt x="118" y="9"/>
                  </a:lnTo>
                  <a:lnTo>
                    <a:pt x="77" y="11"/>
                  </a:lnTo>
                  <a:lnTo>
                    <a:pt x="26" y="28"/>
                  </a:lnTo>
                  <a:lnTo>
                    <a:pt x="25" y="41"/>
                  </a:lnTo>
                  <a:lnTo>
                    <a:pt x="15" y="47"/>
                  </a:lnTo>
                  <a:lnTo>
                    <a:pt x="23" y="52"/>
                  </a:lnTo>
                  <a:lnTo>
                    <a:pt x="6" y="63"/>
                  </a:lnTo>
                  <a:lnTo>
                    <a:pt x="11" y="67"/>
                  </a:lnTo>
                  <a:lnTo>
                    <a:pt x="0" y="71"/>
                  </a:lnTo>
                  <a:lnTo>
                    <a:pt x="4" y="78"/>
                  </a:lnTo>
                  <a:lnTo>
                    <a:pt x="4" y="7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20" name="Freeform 5954"/>
            <p:cNvSpPr>
              <a:spLocks/>
            </p:cNvSpPr>
            <p:nvPr>
              <p:custDataLst>
                <p:tags r:id="rId266"/>
              </p:custDataLst>
            </p:nvPr>
          </p:nvSpPr>
          <p:spPr bwMode="gray">
            <a:xfrm>
              <a:off x="7395183" y="2757564"/>
              <a:ext cx="28228" cy="14130"/>
            </a:xfrm>
            <a:custGeom>
              <a:avLst/>
              <a:gdLst/>
              <a:ahLst/>
              <a:cxnLst>
                <a:cxn ang="0">
                  <a:pos x="5" y="11"/>
                </a:cxn>
                <a:cxn ang="0">
                  <a:pos x="18" y="10"/>
                </a:cxn>
                <a:cxn ang="0">
                  <a:pos x="22" y="4"/>
                </a:cxn>
                <a:cxn ang="0">
                  <a:pos x="7" y="0"/>
                </a:cxn>
                <a:cxn ang="0">
                  <a:pos x="0" y="4"/>
                </a:cxn>
                <a:cxn ang="0">
                  <a:pos x="5" y="11"/>
                </a:cxn>
                <a:cxn ang="0">
                  <a:pos x="5" y="11"/>
                </a:cxn>
              </a:cxnLst>
              <a:rect l="0" t="0" r="r" b="b"/>
              <a:pathLst>
                <a:path w="22" h="11">
                  <a:moveTo>
                    <a:pt x="5" y="11"/>
                  </a:moveTo>
                  <a:lnTo>
                    <a:pt x="18" y="10"/>
                  </a:lnTo>
                  <a:lnTo>
                    <a:pt x="22" y="4"/>
                  </a:lnTo>
                  <a:lnTo>
                    <a:pt x="7" y="0"/>
                  </a:lnTo>
                  <a:lnTo>
                    <a:pt x="0" y="4"/>
                  </a:lnTo>
                  <a:lnTo>
                    <a:pt x="5" y="11"/>
                  </a:lnTo>
                  <a:lnTo>
                    <a:pt x="5"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21" name="Freeform 5955"/>
            <p:cNvSpPr>
              <a:spLocks/>
            </p:cNvSpPr>
            <p:nvPr>
              <p:custDataLst>
                <p:tags r:id="rId267"/>
              </p:custDataLst>
            </p:nvPr>
          </p:nvSpPr>
          <p:spPr bwMode="gray">
            <a:xfrm>
              <a:off x="7411863" y="2544327"/>
              <a:ext cx="107780" cy="20553"/>
            </a:xfrm>
            <a:custGeom>
              <a:avLst/>
              <a:gdLst/>
              <a:ahLst/>
              <a:cxnLst>
                <a:cxn ang="0">
                  <a:pos x="0" y="16"/>
                </a:cxn>
                <a:cxn ang="0">
                  <a:pos x="52" y="13"/>
                </a:cxn>
                <a:cxn ang="0">
                  <a:pos x="60" y="11"/>
                </a:cxn>
                <a:cxn ang="0">
                  <a:pos x="56" y="5"/>
                </a:cxn>
                <a:cxn ang="0">
                  <a:pos x="84" y="5"/>
                </a:cxn>
                <a:cxn ang="0">
                  <a:pos x="75" y="0"/>
                </a:cxn>
                <a:cxn ang="0">
                  <a:pos x="0" y="16"/>
                </a:cxn>
                <a:cxn ang="0">
                  <a:pos x="0" y="16"/>
                </a:cxn>
              </a:cxnLst>
              <a:rect l="0" t="0" r="r" b="b"/>
              <a:pathLst>
                <a:path w="84" h="16">
                  <a:moveTo>
                    <a:pt x="0" y="16"/>
                  </a:moveTo>
                  <a:lnTo>
                    <a:pt x="52" y="13"/>
                  </a:lnTo>
                  <a:lnTo>
                    <a:pt x="60" y="11"/>
                  </a:lnTo>
                  <a:lnTo>
                    <a:pt x="56" y="5"/>
                  </a:lnTo>
                  <a:lnTo>
                    <a:pt x="84" y="5"/>
                  </a:lnTo>
                  <a:lnTo>
                    <a:pt x="75" y="0"/>
                  </a:lnTo>
                  <a:lnTo>
                    <a:pt x="0" y="16"/>
                  </a:lnTo>
                  <a:lnTo>
                    <a:pt x="0" y="1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22" name="Freeform 5956"/>
            <p:cNvSpPr>
              <a:spLocks/>
            </p:cNvSpPr>
            <p:nvPr>
              <p:custDataLst>
                <p:tags r:id="rId268"/>
              </p:custDataLst>
            </p:nvPr>
          </p:nvSpPr>
          <p:spPr bwMode="gray">
            <a:xfrm>
              <a:off x="7382352" y="2539189"/>
              <a:ext cx="52607" cy="14130"/>
            </a:xfrm>
            <a:custGeom>
              <a:avLst/>
              <a:gdLst/>
              <a:ahLst/>
              <a:cxnLst>
                <a:cxn ang="0">
                  <a:pos x="0" y="11"/>
                </a:cxn>
                <a:cxn ang="0">
                  <a:pos x="41" y="11"/>
                </a:cxn>
                <a:cxn ang="0">
                  <a:pos x="32" y="9"/>
                </a:cxn>
                <a:cxn ang="0">
                  <a:pos x="41" y="5"/>
                </a:cxn>
                <a:cxn ang="0">
                  <a:pos x="34" y="0"/>
                </a:cxn>
                <a:cxn ang="0">
                  <a:pos x="17" y="4"/>
                </a:cxn>
                <a:cxn ang="0">
                  <a:pos x="21" y="7"/>
                </a:cxn>
                <a:cxn ang="0">
                  <a:pos x="0" y="11"/>
                </a:cxn>
                <a:cxn ang="0">
                  <a:pos x="0" y="11"/>
                </a:cxn>
              </a:cxnLst>
              <a:rect l="0" t="0" r="r" b="b"/>
              <a:pathLst>
                <a:path w="41" h="11">
                  <a:moveTo>
                    <a:pt x="0" y="11"/>
                  </a:moveTo>
                  <a:lnTo>
                    <a:pt x="41" y="11"/>
                  </a:lnTo>
                  <a:lnTo>
                    <a:pt x="32" y="9"/>
                  </a:lnTo>
                  <a:lnTo>
                    <a:pt x="41" y="5"/>
                  </a:lnTo>
                  <a:lnTo>
                    <a:pt x="34" y="0"/>
                  </a:lnTo>
                  <a:lnTo>
                    <a:pt x="17" y="4"/>
                  </a:lnTo>
                  <a:lnTo>
                    <a:pt x="21" y="7"/>
                  </a:lnTo>
                  <a:lnTo>
                    <a:pt x="0" y="11"/>
                  </a:lnTo>
                  <a:lnTo>
                    <a:pt x="0"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23" name="Freeform 5957"/>
            <p:cNvSpPr>
              <a:spLocks/>
            </p:cNvSpPr>
            <p:nvPr>
              <p:custDataLst>
                <p:tags r:id="rId269"/>
              </p:custDataLst>
            </p:nvPr>
          </p:nvSpPr>
          <p:spPr bwMode="gray">
            <a:xfrm>
              <a:off x="7373370" y="2561027"/>
              <a:ext cx="21813" cy="0"/>
            </a:xfrm>
            <a:custGeom>
              <a:avLst/>
              <a:gdLst/>
              <a:ahLst/>
              <a:cxnLst>
                <a:cxn ang="0">
                  <a:pos x="0" y="0"/>
                </a:cxn>
                <a:cxn ang="0">
                  <a:pos x="17" y="0"/>
                </a:cxn>
                <a:cxn ang="0">
                  <a:pos x="0" y="0"/>
                </a:cxn>
                <a:cxn ang="0">
                  <a:pos x="0" y="0"/>
                </a:cxn>
              </a:cxnLst>
              <a:rect l="0" t="0" r="r" b="b"/>
              <a:pathLst>
                <a:path w="17">
                  <a:moveTo>
                    <a:pt x="0" y="0"/>
                  </a:moveTo>
                  <a:lnTo>
                    <a:pt x="17" y="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24" name="Freeform 5958"/>
            <p:cNvSpPr>
              <a:spLocks/>
            </p:cNvSpPr>
            <p:nvPr>
              <p:custDataLst>
                <p:tags r:id="rId270"/>
              </p:custDataLst>
            </p:nvPr>
          </p:nvSpPr>
          <p:spPr bwMode="gray">
            <a:xfrm>
              <a:off x="7257892" y="2550750"/>
              <a:ext cx="85967" cy="14130"/>
            </a:xfrm>
            <a:custGeom>
              <a:avLst/>
              <a:gdLst/>
              <a:ahLst/>
              <a:cxnLst>
                <a:cxn ang="0">
                  <a:pos x="0" y="4"/>
                </a:cxn>
                <a:cxn ang="0">
                  <a:pos x="43" y="11"/>
                </a:cxn>
                <a:cxn ang="0">
                  <a:pos x="58" y="11"/>
                </a:cxn>
                <a:cxn ang="0">
                  <a:pos x="56" y="6"/>
                </a:cxn>
                <a:cxn ang="0">
                  <a:pos x="67" y="4"/>
                </a:cxn>
                <a:cxn ang="0">
                  <a:pos x="22" y="0"/>
                </a:cxn>
                <a:cxn ang="0">
                  <a:pos x="0" y="4"/>
                </a:cxn>
                <a:cxn ang="0">
                  <a:pos x="0" y="4"/>
                </a:cxn>
              </a:cxnLst>
              <a:rect l="0" t="0" r="r" b="b"/>
              <a:pathLst>
                <a:path w="67" h="11">
                  <a:moveTo>
                    <a:pt x="0" y="4"/>
                  </a:moveTo>
                  <a:lnTo>
                    <a:pt x="43" y="11"/>
                  </a:lnTo>
                  <a:lnTo>
                    <a:pt x="58" y="11"/>
                  </a:lnTo>
                  <a:lnTo>
                    <a:pt x="56" y="6"/>
                  </a:lnTo>
                  <a:lnTo>
                    <a:pt x="67" y="4"/>
                  </a:lnTo>
                  <a:lnTo>
                    <a:pt x="22" y="0"/>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25" name="Freeform 5959"/>
            <p:cNvSpPr>
              <a:spLocks/>
            </p:cNvSpPr>
            <p:nvPr>
              <p:custDataLst>
                <p:tags r:id="rId271"/>
              </p:custDataLst>
            </p:nvPr>
          </p:nvSpPr>
          <p:spPr bwMode="gray">
            <a:xfrm>
              <a:off x="6826773" y="2558457"/>
              <a:ext cx="209144" cy="66797"/>
            </a:xfrm>
            <a:custGeom>
              <a:avLst/>
              <a:gdLst/>
              <a:ahLst/>
              <a:cxnLst>
                <a:cxn ang="0">
                  <a:pos x="0" y="9"/>
                </a:cxn>
                <a:cxn ang="0">
                  <a:pos x="6" y="22"/>
                </a:cxn>
                <a:cxn ang="0">
                  <a:pos x="23" y="30"/>
                </a:cxn>
                <a:cxn ang="0">
                  <a:pos x="44" y="30"/>
                </a:cxn>
                <a:cxn ang="0">
                  <a:pos x="29" y="33"/>
                </a:cxn>
                <a:cxn ang="0">
                  <a:pos x="30" y="39"/>
                </a:cxn>
                <a:cxn ang="0">
                  <a:pos x="64" y="52"/>
                </a:cxn>
                <a:cxn ang="0">
                  <a:pos x="83" y="26"/>
                </a:cxn>
                <a:cxn ang="0">
                  <a:pos x="96" y="22"/>
                </a:cxn>
                <a:cxn ang="0">
                  <a:pos x="113" y="33"/>
                </a:cxn>
                <a:cxn ang="0">
                  <a:pos x="104" y="39"/>
                </a:cxn>
                <a:cxn ang="0">
                  <a:pos x="124" y="43"/>
                </a:cxn>
                <a:cxn ang="0">
                  <a:pos x="145" y="35"/>
                </a:cxn>
                <a:cxn ang="0">
                  <a:pos x="83" y="17"/>
                </a:cxn>
                <a:cxn ang="0">
                  <a:pos x="79" y="9"/>
                </a:cxn>
                <a:cxn ang="0">
                  <a:pos x="132" y="17"/>
                </a:cxn>
                <a:cxn ang="0">
                  <a:pos x="163" y="7"/>
                </a:cxn>
                <a:cxn ang="0">
                  <a:pos x="162" y="3"/>
                </a:cxn>
                <a:cxn ang="0">
                  <a:pos x="90" y="0"/>
                </a:cxn>
                <a:cxn ang="0">
                  <a:pos x="45" y="9"/>
                </a:cxn>
                <a:cxn ang="0">
                  <a:pos x="0" y="9"/>
                </a:cxn>
                <a:cxn ang="0">
                  <a:pos x="0" y="9"/>
                </a:cxn>
              </a:cxnLst>
              <a:rect l="0" t="0" r="r" b="b"/>
              <a:pathLst>
                <a:path w="163" h="52">
                  <a:moveTo>
                    <a:pt x="0" y="9"/>
                  </a:moveTo>
                  <a:lnTo>
                    <a:pt x="6" y="22"/>
                  </a:lnTo>
                  <a:lnTo>
                    <a:pt x="23" y="30"/>
                  </a:lnTo>
                  <a:lnTo>
                    <a:pt x="44" y="30"/>
                  </a:lnTo>
                  <a:lnTo>
                    <a:pt x="29" y="33"/>
                  </a:lnTo>
                  <a:lnTo>
                    <a:pt x="30" y="39"/>
                  </a:lnTo>
                  <a:lnTo>
                    <a:pt x="64" y="52"/>
                  </a:lnTo>
                  <a:lnTo>
                    <a:pt x="83" y="26"/>
                  </a:lnTo>
                  <a:lnTo>
                    <a:pt x="96" y="22"/>
                  </a:lnTo>
                  <a:lnTo>
                    <a:pt x="113" y="33"/>
                  </a:lnTo>
                  <a:lnTo>
                    <a:pt x="104" y="39"/>
                  </a:lnTo>
                  <a:lnTo>
                    <a:pt x="124" y="43"/>
                  </a:lnTo>
                  <a:lnTo>
                    <a:pt x="145" y="35"/>
                  </a:lnTo>
                  <a:lnTo>
                    <a:pt x="83" y="17"/>
                  </a:lnTo>
                  <a:lnTo>
                    <a:pt x="79" y="9"/>
                  </a:lnTo>
                  <a:lnTo>
                    <a:pt x="132" y="17"/>
                  </a:lnTo>
                  <a:lnTo>
                    <a:pt x="163" y="7"/>
                  </a:lnTo>
                  <a:lnTo>
                    <a:pt x="162" y="3"/>
                  </a:lnTo>
                  <a:lnTo>
                    <a:pt x="90" y="0"/>
                  </a:lnTo>
                  <a:lnTo>
                    <a:pt x="45" y="9"/>
                  </a:lnTo>
                  <a:lnTo>
                    <a:pt x="0" y="9"/>
                  </a:lnTo>
                  <a:lnTo>
                    <a:pt x="0" y="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26" name="Freeform 5960"/>
            <p:cNvSpPr>
              <a:spLocks/>
            </p:cNvSpPr>
            <p:nvPr>
              <p:custDataLst>
                <p:tags r:id="rId272"/>
              </p:custDataLst>
            </p:nvPr>
          </p:nvSpPr>
          <p:spPr bwMode="gray">
            <a:xfrm>
              <a:off x="6526529" y="2905288"/>
              <a:ext cx="16680" cy="6423"/>
            </a:xfrm>
            <a:custGeom>
              <a:avLst/>
              <a:gdLst/>
              <a:ahLst/>
              <a:cxnLst>
                <a:cxn ang="0">
                  <a:pos x="0" y="5"/>
                </a:cxn>
                <a:cxn ang="0">
                  <a:pos x="13" y="0"/>
                </a:cxn>
                <a:cxn ang="0">
                  <a:pos x="0" y="5"/>
                </a:cxn>
                <a:cxn ang="0">
                  <a:pos x="0" y="5"/>
                </a:cxn>
              </a:cxnLst>
              <a:rect l="0" t="0" r="r" b="b"/>
              <a:pathLst>
                <a:path w="13" h="5">
                  <a:moveTo>
                    <a:pt x="0" y="5"/>
                  </a:moveTo>
                  <a:lnTo>
                    <a:pt x="13" y="0"/>
                  </a:lnTo>
                  <a:lnTo>
                    <a:pt x="0" y="5"/>
                  </a:lnTo>
                  <a:lnTo>
                    <a:pt x="0"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27" name="Freeform 5961"/>
            <p:cNvSpPr>
              <a:spLocks/>
            </p:cNvSpPr>
            <p:nvPr>
              <p:custDataLst>
                <p:tags r:id="rId273"/>
              </p:custDataLst>
            </p:nvPr>
          </p:nvSpPr>
          <p:spPr bwMode="gray">
            <a:xfrm>
              <a:off x="6534228" y="291941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28" name="Freeform 5962"/>
            <p:cNvSpPr>
              <a:spLocks/>
            </p:cNvSpPr>
            <p:nvPr>
              <p:custDataLst>
                <p:tags r:id="rId274"/>
              </p:custDataLst>
            </p:nvPr>
          </p:nvSpPr>
          <p:spPr bwMode="gray">
            <a:xfrm>
              <a:off x="6531661" y="292455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29" name="Freeform 5963"/>
            <p:cNvSpPr>
              <a:spLocks/>
            </p:cNvSpPr>
            <p:nvPr>
              <p:custDataLst>
                <p:tags r:id="rId275"/>
              </p:custDataLst>
            </p:nvPr>
          </p:nvSpPr>
          <p:spPr bwMode="gray">
            <a:xfrm>
              <a:off x="6618912" y="2947679"/>
              <a:ext cx="3849" cy="10276"/>
            </a:xfrm>
            <a:custGeom>
              <a:avLst/>
              <a:gdLst/>
              <a:ahLst/>
              <a:cxnLst>
                <a:cxn ang="0">
                  <a:pos x="0" y="4"/>
                </a:cxn>
                <a:cxn ang="0">
                  <a:pos x="3" y="0"/>
                </a:cxn>
                <a:cxn ang="0">
                  <a:pos x="3" y="8"/>
                </a:cxn>
                <a:cxn ang="0">
                  <a:pos x="0" y="4"/>
                </a:cxn>
                <a:cxn ang="0">
                  <a:pos x="0" y="4"/>
                </a:cxn>
              </a:cxnLst>
              <a:rect l="0" t="0" r="r" b="b"/>
              <a:pathLst>
                <a:path w="3" h="8">
                  <a:moveTo>
                    <a:pt x="0" y="4"/>
                  </a:moveTo>
                  <a:lnTo>
                    <a:pt x="3" y="0"/>
                  </a:lnTo>
                  <a:lnTo>
                    <a:pt x="3" y="8"/>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30" name="Freeform 5964"/>
            <p:cNvSpPr>
              <a:spLocks/>
            </p:cNvSpPr>
            <p:nvPr>
              <p:custDataLst>
                <p:tags r:id="rId276"/>
              </p:custDataLst>
            </p:nvPr>
          </p:nvSpPr>
          <p:spPr bwMode="gray">
            <a:xfrm>
              <a:off x="6620195" y="294511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31" name="Freeform 5965"/>
            <p:cNvSpPr>
              <a:spLocks/>
            </p:cNvSpPr>
            <p:nvPr>
              <p:custDataLst>
                <p:tags r:id="rId277"/>
              </p:custDataLst>
            </p:nvPr>
          </p:nvSpPr>
          <p:spPr bwMode="gray">
            <a:xfrm>
              <a:off x="6627893" y="294254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32" name="Freeform 5966"/>
            <p:cNvSpPr>
              <a:spLocks/>
            </p:cNvSpPr>
            <p:nvPr>
              <p:custDataLst>
                <p:tags r:id="rId278"/>
              </p:custDataLst>
            </p:nvPr>
          </p:nvSpPr>
          <p:spPr bwMode="gray">
            <a:xfrm>
              <a:off x="6586834" y="2974655"/>
              <a:ext cx="10265" cy="5138"/>
            </a:xfrm>
            <a:custGeom>
              <a:avLst/>
              <a:gdLst/>
              <a:ahLst/>
              <a:cxnLst>
                <a:cxn ang="0">
                  <a:pos x="0" y="0"/>
                </a:cxn>
                <a:cxn ang="0">
                  <a:pos x="8" y="4"/>
                </a:cxn>
                <a:cxn ang="0">
                  <a:pos x="0" y="0"/>
                </a:cxn>
              </a:cxnLst>
              <a:rect l="0" t="0" r="r" b="b"/>
              <a:pathLst>
                <a:path w="8" h="4">
                  <a:moveTo>
                    <a:pt x="0" y="0"/>
                  </a:moveTo>
                  <a:lnTo>
                    <a:pt x="8" y="4"/>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33" name="Line 5967"/>
            <p:cNvSpPr>
              <a:spLocks noChangeShapeType="1"/>
            </p:cNvSpPr>
            <p:nvPr>
              <p:custDataLst>
                <p:tags r:id="rId279"/>
              </p:custDataLst>
            </p:nvPr>
          </p:nvSpPr>
          <p:spPr bwMode="gray">
            <a:xfrm>
              <a:off x="6586834" y="2974655"/>
              <a:ext cx="10265" cy="5138"/>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34" name="Freeform 5968"/>
            <p:cNvSpPr>
              <a:spLocks/>
            </p:cNvSpPr>
            <p:nvPr>
              <p:custDataLst>
                <p:tags r:id="rId280"/>
              </p:custDataLst>
            </p:nvPr>
          </p:nvSpPr>
          <p:spPr bwMode="gray">
            <a:xfrm>
              <a:off x="6597099" y="297465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35" name="Freeform 5969"/>
            <p:cNvSpPr>
              <a:spLocks/>
            </p:cNvSpPr>
            <p:nvPr>
              <p:custDataLst>
                <p:tags r:id="rId281"/>
              </p:custDataLst>
            </p:nvPr>
          </p:nvSpPr>
          <p:spPr bwMode="gray">
            <a:xfrm>
              <a:off x="6514981" y="2988785"/>
              <a:ext cx="21813" cy="21838"/>
            </a:xfrm>
            <a:custGeom>
              <a:avLst/>
              <a:gdLst/>
              <a:ahLst/>
              <a:cxnLst>
                <a:cxn ang="0">
                  <a:pos x="0" y="17"/>
                </a:cxn>
                <a:cxn ang="0">
                  <a:pos x="7" y="15"/>
                </a:cxn>
                <a:cxn ang="0">
                  <a:pos x="17" y="0"/>
                </a:cxn>
                <a:cxn ang="0">
                  <a:pos x="6" y="6"/>
                </a:cxn>
                <a:cxn ang="0">
                  <a:pos x="0" y="17"/>
                </a:cxn>
                <a:cxn ang="0">
                  <a:pos x="0" y="17"/>
                </a:cxn>
              </a:cxnLst>
              <a:rect l="0" t="0" r="r" b="b"/>
              <a:pathLst>
                <a:path w="17" h="17">
                  <a:moveTo>
                    <a:pt x="0" y="17"/>
                  </a:moveTo>
                  <a:lnTo>
                    <a:pt x="7" y="15"/>
                  </a:lnTo>
                  <a:lnTo>
                    <a:pt x="17" y="0"/>
                  </a:lnTo>
                  <a:lnTo>
                    <a:pt x="6" y="6"/>
                  </a:lnTo>
                  <a:lnTo>
                    <a:pt x="0" y="17"/>
                  </a:lnTo>
                  <a:lnTo>
                    <a:pt x="0"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36" name="Freeform 5970"/>
            <p:cNvSpPr>
              <a:spLocks/>
            </p:cNvSpPr>
            <p:nvPr>
              <p:custDataLst>
                <p:tags r:id="rId282"/>
              </p:custDataLst>
            </p:nvPr>
          </p:nvSpPr>
          <p:spPr bwMode="gray">
            <a:xfrm>
              <a:off x="6512415" y="301833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37" name="Freeform 5971"/>
            <p:cNvSpPr>
              <a:spLocks/>
            </p:cNvSpPr>
            <p:nvPr>
              <p:custDataLst>
                <p:tags r:id="rId283"/>
              </p:custDataLst>
            </p:nvPr>
          </p:nvSpPr>
          <p:spPr bwMode="gray">
            <a:xfrm>
              <a:off x="6947383" y="3002915"/>
              <a:ext cx="19246" cy="16699"/>
            </a:xfrm>
            <a:custGeom>
              <a:avLst/>
              <a:gdLst/>
              <a:ahLst/>
              <a:cxnLst>
                <a:cxn ang="0">
                  <a:pos x="0" y="6"/>
                </a:cxn>
                <a:cxn ang="0">
                  <a:pos x="2" y="13"/>
                </a:cxn>
                <a:cxn ang="0">
                  <a:pos x="10" y="10"/>
                </a:cxn>
                <a:cxn ang="0">
                  <a:pos x="15" y="0"/>
                </a:cxn>
                <a:cxn ang="0">
                  <a:pos x="0" y="6"/>
                </a:cxn>
                <a:cxn ang="0">
                  <a:pos x="0" y="6"/>
                </a:cxn>
              </a:cxnLst>
              <a:rect l="0" t="0" r="r" b="b"/>
              <a:pathLst>
                <a:path w="15" h="13">
                  <a:moveTo>
                    <a:pt x="0" y="6"/>
                  </a:moveTo>
                  <a:lnTo>
                    <a:pt x="2" y="13"/>
                  </a:lnTo>
                  <a:lnTo>
                    <a:pt x="10" y="10"/>
                  </a:lnTo>
                  <a:lnTo>
                    <a:pt x="15"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38" name="Freeform 5972"/>
            <p:cNvSpPr>
              <a:spLocks/>
            </p:cNvSpPr>
            <p:nvPr>
              <p:custDataLst>
                <p:tags r:id="rId284"/>
              </p:custDataLst>
            </p:nvPr>
          </p:nvSpPr>
          <p:spPr bwMode="gray">
            <a:xfrm>
              <a:off x="6974328" y="295024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39" name="Freeform 5973"/>
            <p:cNvSpPr>
              <a:spLocks/>
            </p:cNvSpPr>
            <p:nvPr>
              <p:custDataLst>
                <p:tags r:id="rId285"/>
              </p:custDataLst>
            </p:nvPr>
          </p:nvSpPr>
          <p:spPr bwMode="gray">
            <a:xfrm>
              <a:off x="7010255" y="2986216"/>
              <a:ext cx="24379" cy="12846"/>
            </a:xfrm>
            <a:custGeom>
              <a:avLst/>
              <a:gdLst/>
              <a:ahLst/>
              <a:cxnLst>
                <a:cxn ang="0">
                  <a:pos x="0" y="6"/>
                </a:cxn>
                <a:cxn ang="0">
                  <a:pos x="5" y="10"/>
                </a:cxn>
                <a:cxn ang="0">
                  <a:pos x="19" y="2"/>
                </a:cxn>
                <a:cxn ang="0">
                  <a:pos x="5" y="0"/>
                </a:cxn>
                <a:cxn ang="0">
                  <a:pos x="0" y="6"/>
                </a:cxn>
                <a:cxn ang="0">
                  <a:pos x="0" y="6"/>
                </a:cxn>
              </a:cxnLst>
              <a:rect l="0" t="0" r="r" b="b"/>
              <a:pathLst>
                <a:path w="19" h="10">
                  <a:moveTo>
                    <a:pt x="0" y="6"/>
                  </a:moveTo>
                  <a:lnTo>
                    <a:pt x="5" y="10"/>
                  </a:lnTo>
                  <a:lnTo>
                    <a:pt x="19" y="2"/>
                  </a:lnTo>
                  <a:lnTo>
                    <a:pt x="5"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40" name="Freeform 5974"/>
            <p:cNvSpPr>
              <a:spLocks/>
            </p:cNvSpPr>
            <p:nvPr>
              <p:custDataLst>
                <p:tags r:id="rId286"/>
              </p:custDataLst>
            </p:nvPr>
          </p:nvSpPr>
          <p:spPr bwMode="gray">
            <a:xfrm>
              <a:off x="7016670" y="2977224"/>
              <a:ext cx="12831" cy="3854"/>
            </a:xfrm>
            <a:custGeom>
              <a:avLst/>
              <a:gdLst/>
              <a:ahLst/>
              <a:cxnLst>
                <a:cxn ang="0">
                  <a:pos x="0" y="3"/>
                </a:cxn>
                <a:cxn ang="0">
                  <a:pos x="10" y="3"/>
                </a:cxn>
                <a:cxn ang="0">
                  <a:pos x="2" y="0"/>
                </a:cxn>
                <a:cxn ang="0">
                  <a:pos x="0" y="3"/>
                </a:cxn>
                <a:cxn ang="0">
                  <a:pos x="0" y="3"/>
                </a:cxn>
              </a:cxnLst>
              <a:rect l="0" t="0" r="r" b="b"/>
              <a:pathLst>
                <a:path w="10" h="3">
                  <a:moveTo>
                    <a:pt x="0" y="3"/>
                  </a:moveTo>
                  <a:lnTo>
                    <a:pt x="10" y="3"/>
                  </a:lnTo>
                  <a:lnTo>
                    <a:pt x="2" y="0"/>
                  </a:lnTo>
                  <a:lnTo>
                    <a:pt x="0" y="3"/>
                  </a:lnTo>
                  <a:lnTo>
                    <a:pt x="0" y="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41" name="Freeform 5975"/>
            <p:cNvSpPr>
              <a:spLocks/>
            </p:cNvSpPr>
            <p:nvPr>
              <p:custDataLst>
                <p:tags r:id="rId287"/>
              </p:custDataLst>
            </p:nvPr>
          </p:nvSpPr>
          <p:spPr bwMode="gray">
            <a:xfrm>
              <a:off x="6526529" y="2986216"/>
              <a:ext cx="137291" cy="192684"/>
            </a:xfrm>
            <a:custGeom>
              <a:avLst/>
              <a:gdLst/>
              <a:ahLst/>
              <a:cxnLst>
                <a:cxn ang="0">
                  <a:pos x="0" y="150"/>
                </a:cxn>
                <a:cxn ang="0">
                  <a:pos x="15" y="144"/>
                </a:cxn>
                <a:cxn ang="0">
                  <a:pos x="27" y="148"/>
                </a:cxn>
                <a:cxn ang="0">
                  <a:pos x="30" y="141"/>
                </a:cxn>
                <a:cxn ang="0">
                  <a:pos x="40" y="139"/>
                </a:cxn>
                <a:cxn ang="0">
                  <a:pos x="51" y="143"/>
                </a:cxn>
                <a:cxn ang="0">
                  <a:pos x="92" y="137"/>
                </a:cxn>
                <a:cxn ang="0">
                  <a:pos x="100" y="128"/>
                </a:cxn>
                <a:cxn ang="0">
                  <a:pos x="88" y="128"/>
                </a:cxn>
                <a:cxn ang="0">
                  <a:pos x="107" y="107"/>
                </a:cxn>
                <a:cxn ang="0">
                  <a:pos x="96" y="100"/>
                </a:cxn>
                <a:cxn ang="0">
                  <a:pos x="83" y="101"/>
                </a:cxn>
                <a:cxn ang="0">
                  <a:pos x="87" y="96"/>
                </a:cxn>
                <a:cxn ang="0">
                  <a:pos x="77" y="73"/>
                </a:cxn>
                <a:cxn ang="0">
                  <a:pos x="68" y="70"/>
                </a:cxn>
                <a:cxn ang="0">
                  <a:pos x="58" y="49"/>
                </a:cxn>
                <a:cxn ang="0">
                  <a:pos x="42" y="45"/>
                </a:cxn>
                <a:cxn ang="0">
                  <a:pos x="62" y="23"/>
                </a:cxn>
                <a:cxn ang="0">
                  <a:pos x="62" y="17"/>
                </a:cxn>
                <a:cxn ang="0">
                  <a:pos x="32" y="19"/>
                </a:cxn>
                <a:cxn ang="0">
                  <a:pos x="49" y="6"/>
                </a:cxn>
                <a:cxn ang="0">
                  <a:pos x="47" y="0"/>
                </a:cxn>
                <a:cxn ang="0">
                  <a:pos x="23" y="2"/>
                </a:cxn>
                <a:cxn ang="0">
                  <a:pos x="10" y="21"/>
                </a:cxn>
                <a:cxn ang="0">
                  <a:pos x="13" y="25"/>
                </a:cxn>
                <a:cxn ang="0">
                  <a:pos x="6" y="40"/>
                </a:cxn>
                <a:cxn ang="0">
                  <a:pos x="13" y="38"/>
                </a:cxn>
                <a:cxn ang="0">
                  <a:pos x="12" y="45"/>
                </a:cxn>
                <a:cxn ang="0">
                  <a:pos x="2" y="49"/>
                </a:cxn>
                <a:cxn ang="0">
                  <a:pos x="10" y="49"/>
                </a:cxn>
                <a:cxn ang="0">
                  <a:pos x="10" y="55"/>
                </a:cxn>
                <a:cxn ang="0">
                  <a:pos x="17" y="49"/>
                </a:cxn>
                <a:cxn ang="0">
                  <a:pos x="21" y="55"/>
                </a:cxn>
                <a:cxn ang="0">
                  <a:pos x="15" y="64"/>
                </a:cxn>
                <a:cxn ang="0">
                  <a:pos x="19" y="70"/>
                </a:cxn>
                <a:cxn ang="0">
                  <a:pos x="40" y="64"/>
                </a:cxn>
                <a:cxn ang="0">
                  <a:pos x="36" y="71"/>
                </a:cxn>
                <a:cxn ang="0">
                  <a:pos x="47" y="77"/>
                </a:cxn>
                <a:cxn ang="0">
                  <a:pos x="42" y="92"/>
                </a:cxn>
                <a:cxn ang="0">
                  <a:pos x="21" y="92"/>
                </a:cxn>
                <a:cxn ang="0">
                  <a:pos x="17" y="101"/>
                </a:cxn>
                <a:cxn ang="0">
                  <a:pos x="27" y="101"/>
                </a:cxn>
                <a:cxn ang="0">
                  <a:pos x="25" y="111"/>
                </a:cxn>
                <a:cxn ang="0">
                  <a:pos x="8" y="118"/>
                </a:cxn>
                <a:cxn ang="0">
                  <a:pos x="12" y="122"/>
                </a:cxn>
                <a:cxn ang="0">
                  <a:pos x="34" y="128"/>
                </a:cxn>
                <a:cxn ang="0">
                  <a:pos x="43" y="122"/>
                </a:cxn>
                <a:cxn ang="0">
                  <a:pos x="38" y="129"/>
                </a:cxn>
                <a:cxn ang="0">
                  <a:pos x="23" y="129"/>
                </a:cxn>
                <a:cxn ang="0">
                  <a:pos x="0" y="150"/>
                </a:cxn>
                <a:cxn ang="0">
                  <a:pos x="0" y="150"/>
                </a:cxn>
              </a:cxnLst>
              <a:rect l="0" t="0" r="r" b="b"/>
              <a:pathLst>
                <a:path w="107" h="150">
                  <a:moveTo>
                    <a:pt x="0" y="150"/>
                  </a:moveTo>
                  <a:lnTo>
                    <a:pt x="15" y="144"/>
                  </a:lnTo>
                  <a:lnTo>
                    <a:pt x="27" y="148"/>
                  </a:lnTo>
                  <a:lnTo>
                    <a:pt x="30" y="141"/>
                  </a:lnTo>
                  <a:lnTo>
                    <a:pt x="40" y="139"/>
                  </a:lnTo>
                  <a:lnTo>
                    <a:pt x="51" y="143"/>
                  </a:lnTo>
                  <a:lnTo>
                    <a:pt x="92" y="137"/>
                  </a:lnTo>
                  <a:lnTo>
                    <a:pt x="100" y="128"/>
                  </a:lnTo>
                  <a:lnTo>
                    <a:pt x="88" y="128"/>
                  </a:lnTo>
                  <a:lnTo>
                    <a:pt x="107" y="107"/>
                  </a:lnTo>
                  <a:lnTo>
                    <a:pt x="96" y="100"/>
                  </a:lnTo>
                  <a:lnTo>
                    <a:pt x="83" y="101"/>
                  </a:lnTo>
                  <a:lnTo>
                    <a:pt x="87" y="96"/>
                  </a:lnTo>
                  <a:lnTo>
                    <a:pt x="77" y="73"/>
                  </a:lnTo>
                  <a:lnTo>
                    <a:pt x="68" y="70"/>
                  </a:lnTo>
                  <a:lnTo>
                    <a:pt x="58" y="49"/>
                  </a:lnTo>
                  <a:lnTo>
                    <a:pt x="42" y="45"/>
                  </a:lnTo>
                  <a:lnTo>
                    <a:pt x="62" y="23"/>
                  </a:lnTo>
                  <a:lnTo>
                    <a:pt x="62" y="17"/>
                  </a:lnTo>
                  <a:lnTo>
                    <a:pt x="32" y="19"/>
                  </a:lnTo>
                  <a:lnTo>
                    <a:pt x="49" y="6"/>
                  </a:lnTo>
                  <a:lnTo>
                    <a:pt x="47" y="0"/>
                  </a:lnTo>
                  <a:lnTo>
                    <a:pt x="23" y="2"/>
                  </a:lnTo>
                  <a:lnTo>
                    <a:pt x="10" y="21"/>
                  </a:lnTo>
                  <a:lnTo>
                    <a:pt x="13" y="25"/>
                  </a:lnTo>
                  <a:lnTo>
                    <a:pt x="6" y="40"/>
                  </a:lnTo>
                  <a:lnTo>
                    <a:pt x="13" y="38"/>
                  </a:lnTo>
                  <a:lnTo>
                    <a:pt x="12" y="45"/>
                  </a:lnTo>
                  <a:lnTo>
                    <a:pt x="2" y="49"/>
                  </a:lnTo>
                  <a:lnTo>
                    <a:pt x="10" y="49"/>
                  </a:lnTo>
                  <a:lnTo>
                    <a:pt x="10" y="55"/>
                  </a:lnTo>
                  <a:lnTo>
                    <a:pt x="17" y="49"/>
                  </a:lnTo>
                  <a:lnTo>
                    <a:pt x="21" y="55"/>
                  </a:lnTo>
                  <a:lnTo>
                    <a:pt x="15" y="64"/>
                  </a:lnTo>
                  <a:lnTo>
                    <a:pt x="19" y="70"/>
                  </a:lnTo>
                  <a:lnTo>
                    <a:pt x="40" y="64"/>
                  </a:lnTo>
                  <a:lnTo>
                    <a:pt x="36" y="71"/>
                  </a:lnTo>
                  <a:lnTo>
                    <a:pt x="47" y="77"/>
                  </a:lnTo>
                  <a:lnTo>
                    <a:pt x="42" y="92"/>
                  </a:lnTo>
                  <a:lnTo>
                    <a:pt x="21" y="92"/>
                  </a:lnTo>
                  <a:lnTo>
                    <a:pt x="17" y="101"/>
                  </a:lnTo>
                  <a:lnTo>
                    <a:pt x="27" y="101"/>
                  </a:lnTo>
                  <a:lnTo>
                    <a:pt x="25" y="111"/>
                  </a:lnTo>
                  <a:lnTo>
                    <a:pt x="8" y="118"/>
                  </a:lnTo>
                  <a:lnTo>
                    <a:pt x="12" y="122"/>
                  </a:lnTo>
                  <a:lnTo>
                    <a:pt x="34" y="128"/>
                  </a:lnTo>
                  <a:lnTo>
                    <a:pt x="43" y="122"/>
                  </a:lnTo>
                  <a:lnTo>
                    <a:pt x="38" y="129"/>
                  </a:lnTo>
                  <a:lnTo>
                    <a:pt x="23" y="129"/>
                  </a:lnTo>
                  <a:lnTo>
                    <a:pt x="0" y="150"/>
                  </a:lnTo>
                  <a:lnTo>
                    <a:pt x="0" y="15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42" name="Freeform 5976"/>
            <p:cNvSpPr>
              <a:spLocks/>
            </p:cNvSpPr>
            <p:nvPr>
              <p:custDataLst>
                <p:tags r:id="rId288"/>
              </p:custDataLst>
            </p:nvPr>
          </p:nvSpPr>
          <p:spPr bwMode="gray">
            <a:xfrm>
              <a:off x="6781864" y="3342039"/>
              <a:ext cx="14114" cy="38537"/>
            </a:xfrm>
            <a:custGeom>
              <a:avLst/>
              <a:gdLst/>
              <a:ahLst/>
              <a:cxnLst>
                <a:cxn ang="0">
                  <a:pos x="0" y="10"/>
                </a:cxn>
                <a:cxn ang="0">
                  <a:pos x="0" y="23"/>
                </a:cxn>
                <a:cxn ang="0">
                  <a:pos x="7" y="30"/>
                </a:cxn>
                <a:cxn ang="0">
                  <a:pos x="11" y="0"/>
                </a:cxn>
                <a:cxn ang="0">
                  <a:pos x="0" y="10"/>
                </a:cxn>
                <a:cxn ang="0">
                  <a:pos x="0" y="10"/>
                </a:cxn>
              </a:cxnLst>
              <a:rect l="0" t="0" r="r" b="b"/>
              <a:pathLst>
                <a:path w="11" h="30">
                  <a:moveTo>
                    <a:pt x="0" y="10"/>
                  </a:moveTo>
                  <a:lnTo>
                    <a:pt x="0" y="23"/>
                  </a:lnTo>
                  <a:lnTo>
                    <a:pt x="7" y="30"/>
                  </a:lnTo>
                  <a:lnTo>
                    <a:pt x="11" y="0"/>
                  </a:lnTo>
                  <a:lnTo>
                    <a:pt x="0" y="10"/>
                  </a:lnTo>
                  <a:lnTo>
                    <a:pt x="0" y="1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43" name="Freeform 5977"/>
            <p:cNvSpPr>
              <a:spLocks/>
            </p:cNvSpPr>
            <p:nvPr>
              <p:custDataLst>
                <p:tags r:id="rId289"/>
              </p:custDataLst>
            </p:nvPr>
          </p:nvSpPr>
          <p:spPr bwMode="gray">
            <a:xfrm>
              <a:off x="6771600" y="3383144"/>
              <a:ext cx="29511" cy="57805"/>
            </a:xfrm>
            <a:custGeom>
              <a:avLst/>
              <a:gdLst/>
              <a:ahLst/>
              <a:cxnLst>
                <a:cxn ang="0">
                  <a:pos x="0" y="6"/>
                </a:cxn>
                <a:cxn ang="0">
                  <a:pos x="4" y="38"/>
                </a:cxn>
                <a:cxn ang="0">
                  <a:pos x="10" y="45"/>
                </a:cxn>
                <a:cxn ang="0">
                  <a:pos x="21" y="38"/>
                </a:cxn>
                <a:cxn ang="0">
                  <a:pos x="23" y="8"/>
                </a:cxn>
                <a:cxn ang="0">
                  <a:pos x="17" y="0"/>
                </a:cxn>
                <a:cxn ang="0">
                  <a:pos x="0" y="6"/>
                </a:cxn>
                <a:cxn ang="0">
                  <a:pos x="0" y="6"/>
                </a:cxn>
              </a:cxnLst>
              <a:rect l="0" t="0" r="r" b="b"/>
              <a:pathLst>
                <a:path w="23" h="45">
                  <a:moveTo>
                    <a:pt x="0" y="6"/>
                  </a:moveTo>
                  <a:lnTo>
                    <a:pt x="4" y="38"/>
                  </a:lnTo>
                  <a:lnTo>
                    <a:pt x="10" y="45"/>
                  </a:lnTo>
                  <a:lnTo>
                    <a:pt x="21" y="38"/>
                  </a:lnTo>
                  <a:lnTo>
                    <a:pt x="23" y="8"/>
                  </a:lnTo>
                  <a:lnTo>
                    <a:pt x="17"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44" name="Freeform 5978"/>
            <p:cNvSpPr>
              <a:spLocks/>
            </p:cNvSpPr>
            <p:nvPr>
              <p:custDataLst>
                <p:tags r:id="rId290"/>
              </p:custDataLst>
            </p:nvPr>
          </p:nvSpPr>
          <p:spPr bwMode="gray">
            <a:xfrm>
              <a:off x="6853718" y="3453795"/>
              <a:ext cx="62872" cy="38537"/>
            </a:xfrm>
            <a:custGeom>
              <a:avLst/>
              <a:gdLst/>
              <a:ahLst/>
              <a:cxnLst>
                <a:cxn ang="0">
                  <a:pos x="0" y="5"/>
                </a:cxn>
                <a:cxn ang="0">
                  <a:pos x="4" y="15"/>
                </a:cxn>
                <a:cxn ang="0">
                  <a:pos x="43" y="30"/>
                </a:cxn>
                <a:cxn ang="0">
                  <a:pos x="49" y="0"/>
                </a:cxn>
                <a:cxn ang="0">
                  <a:pos x="28" y="5"/>
                </a:cxn>
                <a:cxn ang="0">
                  <a:pos x="6" y="2"/>
                </a:cxn>
                <a:cxn ang="0">
                  <a:pos x="0" y="5"/>
                </a:cxn>
                <a:cxn ang="0">
                  <a:pos x="0" y="5"/>
                </a:cxn>
              </a:cxnLst>
              <a:rect l="0" t="0" r="r" b="b"/>
              <a:pathLst>
                <a:path w="49" h="30">
                  <a:moveTo>
                    <a:pt x="0" y="5"/>
                  </a:moveTo>
                  <a:lnTo>
                    <a:pt x="4" y="15"/>
                  </a:lnTo>
                  <a:lnTo>
                    <a:pt x="43" y="30"/>
                  </a:lnTo>
                  <a:lnTo>
                    <a:pt x="49" y="0"/>
                  </a:lnTo>
                  <a:lnTo>
                    <a:pt x="28" y="5"/>
                  </a:lnTo>
                  <a:lnTo>
                    <a:pt x="6" y="2"/>
                  </a:lnTo>
                  <a:lnTo>
                    <a:pt x="0" y="5"/>
                  </a:lnTo>
                  <a:lnTo>
                    <a:pt x="0"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45" name="Freeform 5979"/>
            <p:cNvSpPr>
              <a:spLocks/>
            </p:cNvSpPr>
            <p:nvPr>
              <p:custDataLst>
                <p:tags r:id="rId291"/>
              </p:custDataLst>
            </p:nvPr>
          </p:nvSpPr>
          <p:spPr bwMode="gray">
            <a:xfrm>
              <a:off x="7021803" y="3453795"/>
              <a:ext cx="43625" cy="42390"/>
            </a:xfrm>
            <a:custGeom>
              <a:avLst/>
              <a:gdLst/>
              <a:ahLst/>
              <a:cxnLst>
                <a:cxn ang="0">
                  <a:pos x="0" y="9"/>
                </a:cxn>
                <a:cxn ang="0">
                  <a:pos x="10" y="17"/>
                </a:cxn>
                <a:cxn ang="0">
                  <a:pos x="11" y="28"/>
                </a:cxn>
                <a:cxn ang="0">
                  <a:pos x="21" y="33"/>
                </a:cxn>
                <a:cxn ang="0">
                  <a:pos x="25" y="28"/>
                </a:cxn>
                <a:cxn ang="0">
                  <a:pos x="32" y="33"/>
                </a:cxn>
                <a:cxn ang="0">
                  <a:pos x="25" y="17"/>
                </a:cxn>
                <a:cxn ang="0">
                  <a:pos x="34" y="18"/>
                </a:cxn>
                <a:cxn ang="0">
                  <a:pos x="28" y="7"/>
                </a:cxn>
                <a:cxn ang="0">
                  <a:pos x="11" y="0"/>
                </a:cxn>
                <a:cxn ang="0">
                  <a:pos x="0" y="9"/>
                </a:cxn>
                <a:cxn ang="0">
                  <a:pos x="0" y="9"/>
                </a:cxn>
              </a:cxnLst>
              <a:rect l="0" t="0" r="r" b="b"/>
              <a:pathLst>
                <a:path w="34" h="33">
                  <a:moveTo>
                    <a:pt x="0" y="9"/>
                  </a:moveTo>
                  <a:lnTo>
                    <a:pt x="10" y="17"/>
                  </a:lnTo>
                  <a:lnTo>
                    <a:pt x="11" y="28"/>
                  </a:lnTo>
                  <a:lnTo>
                    <a:pt x="21" y="33"/>
                  </a:lnTo>
                  <a:lnTo>
                    <a:pt x="25" y="28"/>
                  </a:lnTo>
                  <a:lnTo>
                    <a:pt x="32" y="33"/>
                  </a:lnTo>
                  <a:lnTo>
                    <a:pt x="25" y="17"/>
                  </a:lnTo>
                  <a:lnTo>
                    <a:pt x="34" y="18"/>
                  </a:lnTo>
                  <a:lnTo>
                    <a:pt x="28" y="7"/>
                  </a:lnTo>
                  <a:lnTo>
                    <a:pt x="11" y="0"/>
                  </a:lnTo>
                  <a:lnTo>
                    <a:pt x="0" y="9"/>
                  </a:lnTo>
                  <a:lnTo>
                    <a:pt x="0" y="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46" name="Freeform 5980"/>
            <p:cNvSpPr>
              <a:spLocks/>
            </p:cNvSpPr>
            <p:nvPr>
              <p:custDataLst>
                <p:tags r:id="rId292"/>
              </p:custDataLst>
            </p:nvPr>
          </p:nvSpPr>
          <p:spPr bwMode="gray">
            <a:xfrm>
              <a:off x="7073126" y="3515454"/>
              <a:ext cx="55173" cy="16699"/>
            </a:xfrm>
            <a:custGeom>
              <a:avLst/>
              <a:gdLst/>
              <a:ahLst/>
              <a:cxnLst>
                <a:cxn ang="0">
                  <a:pos x="0" y="8"/>
                </a:cxn>
                <a:cxn ang="0">
                  <a:pos x="20" y="13"/>
                </a:cxn>
                <a:cxn ang="0">
                  <a:pos x="41" y="12"/>
                </a:cxn>
                <a:cxn ang="0">
                  <a:pos x="43" y="8"/>
                </a:cxn>
                <a:cxn ang="0">
                  <a:pos x="33" y="10"/>
                </a:cxn>
                <a:cxn ang="0">
                  <a:pos x="33" y="6"/>
                </a:cxn>
                <a:cxn ang="0">
                  <a:pos x="1" y="0"/>
                </a:cxn>
                <a:cxn ang="0">
                  <a:pos x="0" y="8"/>
                </a:cxn>
                <a:cxn ang="0">
                  <a:pos x="0" y="8"/>
                </a:cxn>
              </a:cxnLst>
              <a:rect l="0" t="0" r="r" b="b"/>
              <a:pathLst>
                <a:path w="43" h="13">
                  <a:moveTo>
                    <a:pt x="0" y="8"/>
                  </a:moveTo>
                  <a:lnTo>
                    <a:pt x="20" y="13"/>
                  </a:lnTo>
                  <a:lnTo>
                    <a:pt x="41" y="12"/>
                  </a:lnTo>
                  <a:lnTo>
                    <a:pt x="43" y="8"/>
                  </a:lnTo>
                  <a:lnTo>
                    <a:pt x="33" y="10"/>
                  </a:lnTo>
                  <a:lnTo>
                    <a:pt x="33" y="6"/>
                  </a:lnTo>
                  <a:lnTo>
                    <a:pt x="1" y="0"/>
                  </a:lnTo>
                  <a:lnTo>
                    <a:pt x="0" y="8"/>
                  </a:lnTo>
                  <a:lnTo>
                    <a:pt x="0" y="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47" name="Freeform 5981"/>
            <p:cNvSpPr>
              <a:spLocks/>
            </p:cNvSpPr>
            <p:nvPr>
              <p:custDataLst>
                <p:tags r:id="rId293"/>
              </p:custDataLst>
            </p:nvPr>
          </p:nvSpPr>
          <p:spPr bwMode="gray">
            <a:xfrm>
              <a:off x="7245061" y="3515454"/>
              <a:ext cx="43625" cy="24407"/>
            </a:xfrm>
            <a:custGeom>
              <a:avLst/>
              <a:gdLst/>
              <a:ahLst/>
              <a:cxnLst>
                <a:cxn ang="0">
                  <a:pos x="0" y="12"/>
                </a:cxn>
                <a:cxn ang="0">
                  <a:pos x="4" y="19"/>
                </a:cxn>
                <a:cxn ang="0">
                  <a:pos x="19" y="17"/>
                </a:cxn>
                <a:cxn ang="0">
                  <a:pos x="29" y="13"/>
                </a:cxn>
                <a:cxn ang="0">
                  <a:pos x="27" y="8"/>
                </a:cxn>
                <a:cxn ang="0">
                  <a:pos x="34" y="0"/>
                </a:cxn>
                <a:cxn ang="0">
                  <a:pos x="0" y="12"/>
                </a:cxn>
                <a:cxn ang="0">
                  <a:pos x="0" y="12"/>
                </a:cxn>
              </a:cxnLst>
              <a:rect l="0" t="0" r="r" b="b"/>
              <a:pathLst>
                <a:path w="34" h="19">
                  <a:moveTo>
                    <a:pt x="0" y="12"/>
                  </a:moveTo>
                  <a:lnTo>
                    <a:pt x="4" y="19"/>
                  </a:lnTo>
                  <a:lnTo>
                    <a:pt x="19" y="17"/>
                  </a:lnTo>
                  <a:lnTo>
                    <a:pt x="29" y="13"/>
                  </a:lnTo>
                  <a:lnTo>
                    <a:pt x="27" y="8"/>
                  </a:lnTo>
                  <a:lnTo>
                    <a:pt x="34" y="0"/>
                  </a:lnTo>
                  <a:lnTo>
                    <a:pt x="0" y="12"/>
                  </a:lnTo>
                  <a:lnTo>
                    <a:pt x="0" y="1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48" name="Freeform 5982"/>
            <p:cNvSpPr>
              <a:spLocks/>
            </p:cNvSpPr>
            <p:nvPr>
              <p:custDataLst>
                <p:tags r:id="rId294"/>
              </p:custDataLst>
            </p:nvPr>
          </p:nvSpPr>
          <p:spPr bwMode="gray">
            <a:xfrm>
              <a:off x="6639441" y="343709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49" name="Freeform 5983"/>
            <p:cNvSpPr>
              <a:spLocks/>
            </p:cNvSpPr>
            <p:nvPr>
              <p:custDataLst>
                <p:tags r:id="rId295"/>
              </p:custDataLst>
            </p:nvPr>
          </p:nvSpPr>
          <p:spPr bwMode="gray">
            <a:xfrm>
              <a:off x="6658688" y="3415258"/>
              <a:ext cx="21813" cy="14130"/>
            </a:xfrm>
            <a:custGeom>
              <a:avLst/>
              <a:gdLst/>
              <a:ahLst/>
              <a:cxnLst>
                <a:cxn ang="0">
                  <a:pos x="0" y="5"/>
                </a:cxn>
                <a:cxn ang="0">
                  <a:pos x="12" y="11"/>
                </a:cxn>
                <a:cxn ang="0">
                  <a:pos x="17" y="5"/>
                </a:cxn>
                <a:cxn ang="0">
                  <a:pos x="10" y="0"/>
                </a:cxn>
                <a:cxn ang="0">
                  <a:pos x="0" y="5"/>
                </a:cxn>
                <a:cxn ang="0">
                  <a:pos x="0" y="5"/>
                </a:cxn>
              </a:cxnLst>
              <a:rect l="0" t="0" r="r" b="b"/>
              <a:pathLst>
                <a:path w="17" h="11">
                  <a:moveTo>
                    <a:pt x="0" y="5"/>
                  </a:moveTo>
                  <a:lnTo>
                    <a:pt x="12" y="11"/>
                  </a:lnTo>
                  <a:lnTo>
                    <a:pt x="17" y="5"/>
                  </a:lnTo>
                  <a:lnTo>
                    <a:pt x="10" y="0"/>
                  </a:lnTo>
                  <a:lnTo>
                    <a:pt x="0" y="5"/>
                  </a:lnTo>
                  <a:lnTo>
                    <a:pt x="0"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50" name="Freeform 5984"/>
            <p:cNvSpPr>
              <a:spLocks/>
            </p:cNvSpPr>
            <p:nvPr>
              <p:custDataLst>
                <p:tags r:id="rId296"/>
              </p:custDataLst>
            </p:nvPr>
          </p:nvSpPr>
          <p:spPr bwMode="gray">
            <a:xfrm>
              <a:off x="6693331" y="341525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51" name="Freeform 5985"/>
            <p:cNvSpPr>
              <a:spLocks/>
            </p:cNvSpPr>
            <p:nvPr>
              <p:custDataLst>
                <p:tags r:id="rId297"/>
              </p:custDataLst>
            </p:nvPr>
          </p:nvSpPr>
          <p:spPr bwMode="gray">
            <a:xfrm>
              <a:off x="6846019" y="348976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52" name="Freeform 5986"/>
            <p:cNvSpPr>
              <a:spLocks/>
            </p:cNvSpPr>
            <p:nvPr>
              <p:custDataLst>
                <p:tags r:id="rId298"/>
              </p:custDataLst>
            </p:nvPr>
          </p:nvSpPr>
          <p:spPr bwMode="gray">
            <a:xfrm>
              <a:off x="6894777" y="351160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53" name="Freeform 5987"/>
            <p:cNvSpPr>
              <a:spLocks/>
            </p:cNvSpPr>
            <p:nvPr>
              <p:custDataLst>
                <p:tags r:id="rId299"/>
              </p:custDataLst>
            </p:nvPr>
          </p:nvSpPr>
          <p:spPr bwMode="gray">
            <a:xfrm>
              <a:off x="7012821" y="345636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54" name="Freeform 5988"/>
            <p:cNvSpPr>
              <a:spLocks/>
            </p:cNvSpPr>
            <p:nvPr>
              <p:custDataLst>
                <p:tags r:id="rId300"/>
              </p:custDataLst>
            </p:nvPr>
          </p:nvSpPr>
          <p:spPr bwMode="gray">
            <a:xfrm>
              <a:off x="7016670" y="346535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55" name="Freeform 5989"/>
            <p:cNvSpPr>
              <a:spLocks/>
            </p:cNvSpPr>
            <p:nvPr>
              <p:custDataLst>
                <p:tags r:id="rId301"/>
              </p:custDataLst>
            </p:nvPr>
          </p:nvSpPr>
          <p:spPr bwMode="gray">
            <a:xfrm>
              <a:off x="7109053" y="349875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56" name="Freeform 5990"/>
            <p:cNvSpPr>
              <a:spLocks/>
            </p:cNvSpPr>
            <p:nvPr>
              <p:custDataLst>
                <p:tags r:id="rId302"/>
              </p:custDataLst>
            </p:nvPr>
          </p:nvSpPr>
          <p:spPr bwMode="gray">
            <a:xfrm>
              <a:off x="7098788" y="341782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57" name="Freeform 5991"/>
            <p:cNvSpPr>
              <a:spLocks/>
            </p:cNvSpPr>
            <p:nvPr>
              <p:custDataLst>
                <p:tags r:id="rId303"/>
              </p:custDataLst>
            </p:nvPr>
          </p:nvSpPr>
          <p:spPr bwMode="gray">
            <a:xfrm>
              <a:off x="6245532" y="367987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58" name="Freeform 5992"/>
            <p:cNvSpPr>
              <a:spLocks/>
            </p:cNvSpPr>
            <p:nvPr>
              <p:custDataLst>
                <p:tags r:id="rId304"/>
              </p:custDataLst>
            </p:nvPr>
          </p:nvSpPr>
          <p:spPr bwMode="gray">
            <a:xfrm>
              <a:off x="6264778" y="3682447"/>
              <a:ext cx="14114" cy="14130"/>
            </a:xfrm>
            <a:custGeom>
              <a:avLst/>
              <a:gdLst/>
              <a:ahLst/>
              <a:cxnLst>
                <a:cxn ang="0">
                  <a:pos x="0" y="5"/>
                </a:cxn>
                <a:cxn ang="0">
                  <a:pos x="4" y="11"/>
                </a:cxn>
                <a:cxn ang="0">
                  <a:pos x="11" y="0"/>
                </a:cxn>
                <a:cxn ang="0">
                  <a:pos x="0" y="5"/>
                </a:cxn>
                <a:cxn ang="0">
                  <a:pos x="0" y="5"/>
                </a:cxn>
              </a:cxnLst>
              <a:rect l="0" t="0" r="r" b="b"/>
              <a:pathLst>
                <a:path w="11" h="11">
                  <a:moveTo>
                    <a:pt x="0" y="5"/>
                  </a:moveTo>
                  <a:lnTo>
                    <a:pt x="4" y="11"/>
                  </a:lnTo>
                  <a:lnTo>
                    <a:pt x="11" y="0"/>
                  </a:lnTo>
                  <a:lnTo>
                    <a:pt x="0" y="5"/>
                  </a:lnTo>
                  <a:lnTo>
                    <a:pt x="0"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59" name="Freeform 5993"/>
            <p:cNvSpPr>
              <a:spLocks/>
            </p:cNvSpPr>
            <p:nvPr>
              <p:custDataLst>
                <p:tags r:id="rId305"/>
              </p:custDataLst>
            </p:nvPr>
          </p:nvSpPr>
          <p:spPr bwMode="gray">
            <a:xfrm>
              <a:off x="6286591" y="3694008"/>
              <a:ext cx="10265" cy="8992"/>
            </a:xfrm>
            <a:custGeom>
              <a:avLst/>
              <a:gdLst/>
              <a:ahLst/>
              <a:cxnLst>
                <a:cxn ang="0">
                  <a:pos x="0" y="2"/>
                </a:cxn>
                <a:cxn ang="0">
                  <a:pos x="2" y="7"/>
                </a:cxn>
                <a:cxn ang="0">
                  <a:pos x="8" y="6"/>
                </a:cxn>
                <a:cxn ang="0">
                  <a:pos x="6" y="0"/>
                </a:cxn>
                <a:cxn ang="0">
                  <a:pos x="0" y="2"/>
                </a:cxn>
                <a:cxn ang="0">
                  <a:pos x="0" y="2"/>
                </a:cxn>
              </a:cxnLst>
              <a:rect l="0" t="0" r="r" b="b"/>
              <a:pathLst>
                <a:path w="8" h="7">
                  <a:moveTo>
                    <a:pt x="0" y="2"/>
                  </a:moveTo>
                  <a:lnTo>
                    <a:pt x="2" y="7"/>
                  </a:lnTo>
                  <a:lnTo>
                    <a:pt x="8" y="6"/>
                  </a:lnTo>
                  <a:lnTo>
                    <a:pt x="6"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60" name="Freeform 5994"/>
            <p:cNvSpPr>
              <a:spLocks/>
            </p:cNvSpPr>
            <p:nvPr>
              <p:custDataLst>
                <p:tags r:id="rId306"/>
              </p:custDataLst>
            </p:nvPr>
          </p:nvSpPr>
          <p:spPr bwMode="gray">
            <a:xfrm>
              <a:off x="6317385" y="3669601"/>
              <a:ext cx="17963" cy="24407"/>
            </a:xfrm>
            <a:custGeom>
              <a:avLst/>
              <a:gdLst/>
              <a:ahLst/>
              <a:cxnLst>
                <a:cxn ang="0">
                  <a:pos x="0" y="19"/>
                </a:cxn>
                <a:cxn ang="0">
                  <a:pos x="6" y="17"/>
                </a:cxn>
                <a:cxn ang="0">
                  <a:pos x="8" y="6"/>
                </a:cxn>
                <a:cxn ang="0">
                  <a:pos x="14" y="0"/>
                </a:cxn>
                <a:cxn ang="0">
                  <a:pos x="0" y="19"/>
                </a:cxn>
                <a:cxn ang="0">
                  <a:pos x="0" y="19"/>
                </a:cxn>
              </a:cxnLst>
              <a:rect l="0" t="0" r="r" b="b"/>
              <a:pathLst>
                <a:path w="14" h="19">
                  <a:moveTo>
                    <a:pt x="0" y="19"/>
                  </a:moveTo>
                  <a:lnTo>
                    <a:pt x="6" y="17"/>
                  </a:lnTo>
                  <a:lnTo>
                    <a:pt x="8" y="6"/>
                  </a:lnTo>
                  <a:lnTo>
                    <a:pt x="14" y="0"/>
                  </a:lnTo>
                  <a:lnTo>
                    <a:pt x="0" y="19"/>
                  </a:lnTo>
                  <a:lnTo>
                    <a:pt x="0" y="1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61" name="Freeform 5998"/>
            <p:cNvSpPr>
              <a:spLocks/>
            </p:cNvSpPr>
            <p:nvPr>
              <p:custDataLst>
                <p:tags r:id="rId307"/>
              </p:custDataLst>
            </p:nvPr>
          </p:nvSpPr>
          <p:spPr bwMode="gray">
            <a:xfrm>
              <a:off x="8884853" y="4616321"/>
              <a:ext cx="823745" cy="670540"/>
            </a:xfrm>
            <a:custGeom>
              <a:avLst/>
              <a:gdLst/>
              <a:ahLst/>
              <a:cxnLst>
                <a:cxn ang="0">
                  <a:pos x="19" y="445"/>
                </a:cxn>
                <a:cxn ang="0">
                  <a:pos x="79" y="427"/>
                </a:cxn>
                <a:cxn ang="0">
                  <a:pos x="146" y="410"/>
                </a:cxn>
                <a:cxn ang="0">
                  <a:pos x="268" y="384"/>
                </a:cxn>
                <a:cxn ang="0">
                  <a:pos x="301" y="410"/>
                </a:cxn>
                <a:cxn ang="0">
                  <a:pos x="311" y="445"/>
                </a:cxn>
                <a:cxn ang="0">
                  <a:pos x="356" y="419"/>
                </a:cxn>
                <a:cxn ang="0">
                  <a:pos x="341" y="449"/>
                </a:cxn>
                <a:cxn ang="0">
                  <a:pos x="356" y="445"/>
                </a:cxn>
                <a:cxn ang="0">
                  <a:pos x="354" y="457"/>
                </a:cxn>
                <a:cxn ang="0">
                  <a:pos x="361" y="479"/>
                </a:cxn>
                <a:cxn ang="0">
                  <a:pos x="369" y="509"/>
                </a:cxn>
                <a:cxn ang="0">
                  <a:pos x="395" y="517"/>
                </a:cxn>
                <a:cxn ang="0">
                  <a:pos x="423" y="509"/>
                </a:cxn>
                <a:cxn ang="0">
                  <a:pos x="429" y="513"/>
                </a:cxn>
                <a:cxn ang="0">
                  <a:pos x="476" y="500"/>
                </a:cxn>
                <a:cxn ang="0">
                  <a:pos x="528" y="460"/>
                </a:cxn>
                <a:cxn ang="0">
                  <a:pos x="635" y="329"/>
                </a:cxn>
                <a:cxn ang="0">
                  <a:pos x="631" y="245"/>
                </a:cxn>
                <a:cxn ang="0">
                  <a:pos x="622" y="219"/>
                </a:cxn>
                <a:cxn ang="0">
                  <a:pos x="607" y="213"/>
                </a:cxn>
                <a:cxn ang="0">
                  <a:pos x="582" y="159"/>
                </a:cxn>
                <a:cxn ang="0">
                  <a:pos x="566" y="119"/>
                </a:cxn>
                <a:cxn ang="0">
                  <a:pos x="562" y="76"/>
                </a:cxn>
                <a:cxn ang="0">
                  <a:pos x="537" y="65"/>
                </a:cxn>
                <a:cxn ang="0">
                  <a:pos x="526" y="0"/>
                </a:cxn>
                <a:cxn ang="0">
                  <a:pos x="496" y="97"/>
                </a:cxn>
                <a:cxn ang="0">
                  <a:pos x="476" y="127"/>
                </a:cxn>
                <a:cxn ang="0">
                  <a:pos x="457" y="114"/>
                </a:cxn>
                <a:cxn ang="0">
                  <a:pos x="418" y="95"/>
                </a:cxn>
                <a:cxn ang="0">
                  <a:pos x="404" y="76"/>
                </a:cxn>
                <a:cxn ang="0">
                  <a:pos x="416" y="46"/>
                </a:cxn>
                <a:cxn ang="0">
                  <a:pos x="434" y="29"/>
                </a:cxn>
                <a:cxn ang="0">
                  <a:pos x="418" y="33"/>
                </a:cxn>
                <a:cxn ang="0">
                  <a:pos x="406" y="28"/>
                </a:cxn>
                <a:cxn ang="0">
                  <a:pos x="365" y="18"/>
                </a:cxn>
                <a:cxn ang="0">
                  <a:pos x="339" y="28"/>
                </a:cxn>
                <a:cxn ang="0">
                  <a:pos x="324" y="50"/>
                </a:cxn>
                <a:cxn ang="0">
                  <a:pos x="305" y="67"/>
                </a:cxn>
                <a:cxn ang="0">
                  <a:pos x="309" y="82"/>
                </a:cxn>
                <a:cxn ang="0">
                  <a:pos x="285" y="82"/>
                </a:cxn>
                <a:cxn ang="0">
                  <a:pos x="275" y="59"/>
                </a:cxn>
                <a:cxn ang="0">
                  <a:pos x="249" y="71"/>
                </a:cxn>
                <a:cxn ang="0">
                  <a:pos x="219" y="103"/>
                </a:cxn>
                <a:cxn ang="0">
                  <a:pos x="208" y="108"/>
                </a:cxn>
                <a:cxn ang="0">
                  <a:pos x="202" y="123"/>
                </a:cxn>
                <a:cxn ang="0">
                  <a:pos x="183" y="121"/>
                </a:cxn>
                <a:cxn ang="0">
                  <a:pos x="155" y="164"/>
                </a:cxn>
                <a:cxn ang="0">
                  <a:pos x="43" y="213"/>
                </a:cxn>
                <a:cxn ang="0">
                  <a:pos x="30" y="219"/>
                </a:cxn>
                <a:cxn ang="0">
                  <a:pos x="22" y="241"/>
                </a:cxn>
                <a:cxn ang="0">
                  <a:pos x="19" y="273"/>
                </a:cxn>
                <a:cxn ang="0">
                  <a:pos x="13" y="282"/>
                </a:cxn>
                <a:cxn ang="0">
                  <a:pos x="26" y="385"/>
                </a:cxn>
                <a:cxn ang="0">
                  <a:pos x="4" y="419"/>
                </a:cxn>
                <a:cxn ang="0">
                  <a:pos x="0" y="430"/>
                </a:cxn>
              </a:cxnLst>
              <a:rect l="0" t="0" r="r" b="b"/>
              <a:pathLst>
                <a:path w="642" h="522">
                  <a:moveTo>
                    <a:pt x="0" y="430"/>
                  </a:moveTo>
                  <a:lnTo>
                    <a:pt x="19" y="445"/>
                  </a:lnTo>
                  <a:lnTo>
                    <a:pt x="45" y="445"/>
                  </a:lnTo>
                  <a:lnTo>
                    <a:pt x="79" y="427"/>
                  </a:lnTo>
                  <a:lnTo>
                    <a:pt x="133" y="425"/>
                  </a:lnTo>
                  <a:lnTo>
                    <a:pt x="146" y="410"/>
                  </a:lnTo>
                  <a:lnTo>
                    <a:pt x="185" y="393"/>
                  </a:lnTo>
                  <a:lnTo>
                    <a:pt x="268" y="384"/>
                  </a:lnTo>
                  <a:lnTo>
                    <a:pt x="307" y="402"/>
                  </a:lnTo>
                  <a:lnTo>
                    <a:pt x="301" y="410"/>
                  </a:lnTo>
                  <a:lnTo>
                    <a:pt x="311" y="414"/>
                  </a:lnTo>
                  <a:lnTo>
                    <a:pt x="311" y="445"/>
                  </a:lnTo>
                  <a:lnTo>
                    <a:pt x="360" y="406"/>
                  </a:lnTo>
                  <a:lnTo>
                    <a:pt x="356" y="419"/>
                  </a:lnTo>
                  <a:lnTo>
                    <a:pt x="328" y="451"/>
                  </a:lnTo>
                  <a:lnTo>
                    <a:pt x="341" y="449"/>
                  </a:lnTo>
                  <a:lnTo>
                    <a:pt x="354" y="432"/>
                  </a:lnTo>
                  <a:lnTo>
                    <a:pt x="356" y="445"/>
                  </a:lnTo>
                  <a:lnTo>
                    <a:pt x="343" y="459"/>
                  </a:lnTo>
                  <a:lnTo>
                    <a:pt x="354" y="457"/>
                  </a:lnTo>
                  <a:lnTo>
                    <a:pt x="360" y="462"/>
                  </a:lnTo>
                  <a:lnTo>
                    <a:pt x="361" y="479"/>
                  </a:lnTo>
                  <a:lnTo>
                    <a:pt x="356" y="488"/>
                  </a:lnTo>
                  <a:lnTo>
                    <a:pt x="369" y="509"/>
                  </a:lnTo>
                  <a:lnTo>
                    <a:pt x="388" y="509"/>
                  </a:lnTo>
                  <a:lnTo>
                    <a:pt x="395" y="517"/>
                  </a:lnTo>
                  <a:lnTo>
                    <a:pt x="427" y="498"/>
                  </a:lnTo>
                  <a:lnTo>
                    <a:pt x="423" y="509"/>
                  </a:lnTo>
                  <a:lnTo>
                    <a:pt x="433" y="505"/>
                  </a:lnTo>
                  <a:lnTo>
                    <a:pt x="429" y="513"/>
                  </a:lnTo>
                  <a:lnTo>
                    <a:pt x="436" y="522"/>
                  </a:lnTo>
                  <a:lnTo>
                    <a:pt x="476" y="500"/>
                  </a:lnTo>
                  <a:lnTo>
                    <a:pt x="506" y="492"/>
                  </a:lnTo>
                  <a:lnTo>
                    <a:pt x="528" y="460"/>
                  </a:lnTo>
                  <a:lnTo>
                    <a:pt x="611" y="372"/>
                  </a:lnTo>
                  <a:lnTo>
                    <a:pt x="635" y="329"/>
                  </a:lnTo>
                  <a:lnTo>
                    <a:pt x="642" y="282"/>
                  </a:lnTo>
                  <a:lnTo>
                    <a:pt x="631" y="245"/>
                  </a:lnTo>
                  <a:lnTo>
                    <a:pt x="622" y="236"/>
                  </a:lnTo>
                  <a:lnTo>
                    <a:pt x="622" y="219"/>
                  </a:lnTo>
                  <a:lnTo>
                    <a:pt x="611" y="207"/>
                  </a:lnTo>
                  <a:lnTo>
                    <a:pt x="607" y="213"/>
                  </a:lnTo>
                  <a:lnTo>
                    <a:pt x="599" y="176"/>
                  </a:lnTo>
                  <a:lnTo>
                    <a:pt x="582" y="159"/>
                  </a:lnTo>
                  <a:lnTo>
                    <a:pt x="566" y="151"/>
                  </a:lnTo>
                  <a:lnTo>
                    <a:pt x="566" y="119"/>
                  </a:lnTo>
                  <a:lnTo>
                    <a:pt x="560" y="106"/>
                  </a:lnTo>
                  <a:lnTo>
                    <a:pt x="562" y="76"/>
                  </a:lnTo>
                  <a:lnTo>
                    <a:pt x="552" y="65"/>
                  </a:lnTo>
                  <a:lnTo>
                    <a:pt x="537" y="65"/>
                  </a:lnTo>
                  <a:lnTo>
                    <a:pt x="532" y="5"/>
                  </a:lnTo>
                  <a:lnTo>
                    <a:pt x="526" y="0"/>
                  </a:lnTo>
                  <a:lnTo>
                    <a:pt x="519" y="9"/>
                  </a:lnTo>
                  <a:lnTo>
                    <a:pt x="496" y="97"/>
                  </a:lnTo>
                  <a:lnTo>
                    <a:pt x="485" y="123"/>
                  </a:lnTo>
                  <a:lnTo>
                    <a:pt x="476" y="127"/>
                  </a:lnTo>
                  <a:lnTo>
                    <a:pt x="466" y="131"/>
                  </a:lnTo>
                  <a:lnTo>
                    <a:pt x="457" y="114"/>
                  </a:lnTo>
                  <a:lnTo>
                    <a:pt x="431" y="95"/>
                  </a:lnTo>
                  <a:lnTo>
                    <a:pt x="418" y="95"/>
                  </a:lnTo>
                  <a:lnTo>
                    <a:pt x="416" y="86"/>
                  </a:lnTo>
                  <a:lnTo>
                    <a:pt x="404" y="76"/>
                  </a:lnTo>
                  <a:lnTo>
                    <a:pt x="414" y="63"/>
                  </a:lnTo>
                  <a:lnTo>
                    <a:pt x="416" y="46"/>
                  </a:lnTo>
                  <a:lnTo>
                    <a:pt x="425" y="46"/>
                  </a:lnTo>
                  <a:lnTo>
                    <a:pt x="434" y="29"/>
                  </a:lnTo>
                  <a:lnTo>
                    <a:pt x="427" y="24"/>
                  </a:lnTo>
                  <a:lnTo>
                    <a:pt x="418" y="33"/>
                  </a:lnTo>
                  <a:lnTo>
                    <a:pt x="416" y="24"/>
                  </a:lnTo>
                  <a:lnTo>
                    <a:pt x="406" y="28"/>
                  </a:lnTo>
                  <a:lnTo>
                    <a:pt x="361" y="11"/>
                  </a:lnTo>
                  <a:lnTo>
                    <a:pt x="365" y="18"/>
                  </a:lnTo>
                  <a:lnTo>
                    <a:pt x="360" y="28"/>
                  </a:lnTo>
                  <a:lnTo>
                    <a:pt x="339" y="28"/>
                  </a:lnTo>
                  <a:lnTo>
                    <a:pt x="328" y="35"/>
                  </a:lnTo>
                  <a:lnTo>
                    <a:pt x="324" y="50"/>
                  </a:lnTo>
                  <a:lnTo>
                    <a:pt x="316" y="52"/>
                  </a:lnTo>
                  <a:lnTo>
                    <a:pt x="305" y="67"/>
                  </a:lnTo>
                  <a:lnTo>
                    <a:pt x="313" y="74"/>
                  </a:lnTo>
                  <a:lnTo>
                    <a:pt x="309" y="82"/>
                  </a:lnTo>
                  <a:lnTo>
                    <a:pt x="294" y="74"/>
                  </a:lnTo>
                  <a:lnTo>
                    <a:pt x="285" y="82"/>
                  </a:lnTo>
                  <a:lnTo>
                    <a:pt x="281" y="67"/>
                  </a:lnTo>
                  <a:lnTo>
                    <a:pt x="275" y="59"/>
                  </a:lnTo>
                  <a:lnTo>
                    <a:pt x="266" y="58"/>
                  </a:lnTo>
                  <a:lnTo>
                    <a:pt x="249" y="71"/>
                  </a:lnTo>
                  <a:lnTo>
                    <a:pt x="240" y="71"/>
                  </a:lnTo>
                  <a:lnTo>
                    <a:pt x="219" y="103"/>
                  </a:lnTo>
                  <a:lnTo>
                    <a:pt x="212" y="99"/>
                  </a:lnTo>
                  <a:lnTo>
                    <a:pt x="208" y="108"/>
                  </a:lnTo>
                  <a:lnTo>
                    <a:pt x="212" y="114"/>
                  </a:lnTo>
                  <a:lnTo>
                    <a:pt x="202" y="123"/>
                  </a:lnTo>
                  <a:lnTo>
                    <a:pt x="198" y="104"/>
                  </a:lnTo>
                  <a:lnTo>
                    <a:pt x="183" y="121"/>
                  </a:lnTo>
                  <a:lnTo>
                    <a:pt x="183" y="136"/>
                  </a:lnTo>
                  <a:lnTo>
                    <a:pt x="155" y="164"/>
                  </a:lnTo>
                  <a:lnTo>
                    <a:pt x="77" y="185"/>
                  </a:lnTo>
                  <a:lnTo>
                    <a:pt x="43" y="213"/>
                  </a:lnTo>
                  <a:lnTo>
                    <a:pt x="39" y="204"/>
                  </a:lnTo>
                  <a:lnTo>
                    <a:pt x="30" y="219"/>
                  </a:lnTo>
                  <a:lnTo>
                    <a:pt x="30" y="234"/>
                  </a:lnTo>
                  <a:lnTo>
                    <a:pt x="22" y="241"/>
                  </a:lnTo>
                  <a:lnTo>
                    <a:pt x="26" y="288"/>
                  </a:lnTo>
                  <a:lnTo>
                    <a:pt x="19" y="273"/>
                  </a:lnTo>
                  <a:lnTo>
                    <a:pt x="19" y="290"/>
                  </a:lnTo>
                  <a:lnTo>
                    <a:pt x="13" y="282"/>
                  </a:lnTo>
                  <a:lnTo>
                    <a:pt x="26" y="337"/>
                  </a:lnTo>
                  <a:lnTo>
                    <a:pt x="26" y="385"/>
                  </a:lnTo>
                  <a:lnTo>
                    <a:pt x="17" y="414"/>
                  </a:lnTo>
                  <a:lnTo>
                    <a:pt x="4" y="419"/>
                  </a:lnTo>
                  <a:lnTo>
                    <a:pt x="0" y="430"/>
                  </a:lnTo>
                  <a:lnTo>
                    <a:pt x="0" y="43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62" name="Freeform 5999"/>
            <p:cNvSpPr>
              <a:spLocks/>
            </p:cNvSpPr>
            <p:nvPr>
              <p:custDataLst>
                <p:tags r:id="rId308"/>
              </p:custDataLst>
            </p:nvPr>
          </p:nvSpPr>
          <p:spPr bwMode="gray">
            <a:xfrm>
              <a:off x="9290311" y="5205934"/>
              <a:ext cx="29511" cy="8992"/>
            </a:xfrm>
            <a:custGeom>
              <a:avLst/>
              <a:gdLst/>
              <a:ahLst/>
              <a:cxnLst>
                <a:cxn ang="0">
                  <a:pos x="0" y="3"/>
                </a:cxn>
                <a:cxn ang="0">
                  <a:pos x="2" y="7"/>
                </a:cxn>
                <a:cxn ang="0">
                  <a:pos x="14" y="7"/>
                </a:cxn>
                <a:cxn ang="0">
                  <a:pos x="23" y="3"/>
                </a:cxn>
                <a:cxn ang="0">
                  <a:pos x="15" y="0"/>
                </a:cxn>
                <a:cxn ang="0">
                  <a:pos x="0" y="3"/>
                </a:cxn>
                <a:cxn ang="0">
                  <a:pos x="0" y="3"/>
                </a:cxn>
              </a:cxnLst>
              <a:rect l="0" t="0" r="r" b="b"/>
              <a:pathLst>
                <a:path w="23" h="7">
                  <a:moveTo>
                    <a:pt x="0" y="3"/>
                  </a:moveTo>
                  <a:lnTo>
                    <a:pt x="2" y="7"/>
                  </a:lnTo>
                  <a:lnTo>
                    <a:pt x="14" y="7"/>
                  </a:lnTo>
                  <a:lnTo>
                    <a:pt x="23" y="3"/>
                  </a:lnTo>
                  <a:lnTo>
                    <a:pt x="15" y="0"/>
                  </a:lnTo>
                  <a:lnTo>
                    <a:pt x="0" y="3"/>
                  </a:lnTo>
                  <a:lnTo>
                    <a:pt x="0" y="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63" name="Freeform 6000"/>
            <p:cNvSpPr>
              <a:spLocks/>
            </p:cNvSpPr>
            <p:nvPr>
              <p:custDataLst>
                <p:tags r:id="rId309"/>
              </p:custDataLst>
            </p:nvPr>
          </p:nvSpPr>
          <p:spPr bwMode="gray">
            <a:xfrm>
              <a:off x="9377561" y="5322829"/>
              <a:ext cx="79552" cy="68082"/>
            </a:xfrm>
            <a:custGeom>
              <a:avLst/>
              <a:gdLst/>
              <a:ahLst/>
              <a:cxnLst>
                <a:cxn ang="0">
                  <a:pos x="13" y="0"/>
                </a:cxn>
                <a:cxn ang="0">
                  <a:pos x="0" y="42"/>
                </a:cxn>
                <a:cxn ang="0">
                  <a:pos x="4" y="51"/>
                </a:cxn>
                <a:cxn ang="0">
                  <a:pos x="11" y="53"/>
                </a:cxn>
                <a:cxn ang="0">
                  <a:pos x="30" y="40"/>
                </a:cxn>
                <a:cxn ang="0">
                  <a:pos x="34" y="45"/>
                </a:cxn>
                <a:cxn ang="0">
                  <a:pos x="62" y="6"/>
                </a:cxn>
                <a:cxn ang="0">
                  <a:pos x="28" y="10"/>
                </a:cxn>
                <a:cxn ang="0">
                  <a:pos x="13" y="0"/>
                </a:cxn>
                <a:cxn ang="0">
                  <a:pos x="13" y="0"/>
                </a:cxn>
              </a:cxnLst>
              <a:rect l="0" t="0" r="r" b="b"/>
              <a:pathLst>
                <a:path w="62" h="53">
                  <a:moveTo>
                    <a:pt x="13" y="0"/>
                  </a:moveTo>
                  <a:lnTo>
                    <a:pt x="0" y="42"/>
                  </a:lnTo>
                  <a:lnTo>
                    <a:pt x="4" y="51"/>
                  </a:lnTo>
                  <a:lnTo>
                    <a:pt x="11" y="53"/>
                  </a:lnTo>
                  <a:lnTo>
                    <a:pt x="30" y="40"/>
                  </a:lnTo>
                  <a:lnTo>
                    <a:pt x="34" y="45"/>
                  </a:lnTo>
                  <a:lnTo>
                    <a:pt x="62" y="6"/>
                  </a:lnTo>
                  <a:lnTo>
                    <a:pt x="28" y="10"/>
                  </a:lnTo>
                  <a:lnTo>
                    <a:pt x="13" y="0"/>
                  </a:lnTo>
                  <a:lnTo>
                    <a:pt x="13"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64" name="Freeform 6001"/>
            <p:cNvSpPr>
              <a:spLocks/>
            </p:cNvSpPr>
            <p:nvPr>
              <p:custDataLst>
                <p:tags r:id="rId310"/>
              </p:custDataLst>
            </p:nvPr>
          </p:nvSpPr>
          <p:spPr bwMode="gray">
            <a:xfrm>
              <a:off x="9958802" y="5176389"/>
              <a:ext cx="129592" cy="165708"/>
            </a:xfrm>
            <a:custGeom>
              <a:avLst/>
              <a:gdLst/>
              <a:ahLst/>
              <a:cxnLst>
                <a:cxn ang="0">
                  <a:pos x="10" y="90"/>
                </a:cxn>
                <a:cxn ang="0">
                  <a:pos x="21" y="101"/>
                </a:cxn>
                <a:cxn ang="0">
                  <a:pos x="0" y="126"/>
                </a:cxn>
                <a:cxn ang="0">
                  <a:pos x="4" y="129"/>
                </a:cxn>
                <a:cxn ang="0">
                  <a:pos x="15" y="127"/>
                </a:cxn>
                <a:cxn ang="0">
                  <a:pos x="62" y="88"/>
                </a:cxn>
                <a:cxn ang="0">
                  <a:pos x="88" y="75"/>
                </a:cxn>
                <a:cxn ang="0">
                  <a:pos x="101" y="60"/>
                </a:cxn>
                <a:cxn ang="0">
                  <a:pos x="96" y="56"/>
                </a:cxn>
                <a:cxn ang="0">
                  <a:pos x="79" y="66"/>
                </a:cxn>
                <a:cxn ang="0">
                  <a:pos x="64" y="60"/>
                </a:cxn>
                <a:cxn ang="0">
                  <a:pos x="71" y="43"/>
                </a:cxn>
                <a:cxn ang="0">
                  <a:pos x="66" y="39"/>
                </a:cxn>
                <a:cxn ang="0">
                  <a:pos x="60" y="51"/>
                </a:cxn>
                <a:cxn ang="0">
                  <a:pos x="54" y="47"/>
                </a:cxn>
                <a:cxn ang="0">
                  <a:pos x="62" y="17"/>
                </a:cxn>
                <a:cxn ang="0">
                  <a:pos x="60" y="11"/>
                </a:cxn>
                <a:cxn ang="0">
                  <a:pos x="53" y="9"/>
                </a:cxn>
                <a:cxn ang="0">
                  <a:pos x="49" y="0"/>
                </a:cxn>
                <a:cxn ang="0">
                  <a:pos x="47" y="45"/>
                </a:cxn>
                <a:cxn ang="0">
                  <a:pos x="54" y="47"/>
                </a:cxn>
                <a:cxn ang="0">
                  <a:pos x="28" y="81"/>
                </a:cxn>
                <a:cxn ang="0">
                  <a:pos x="10" y="90"/>
                </a:cxn>
                <a:cxn ang="0">
                  <a:pos x="10" y="90"/>
                </a:cxn>
              </a:cxnLst>
              <a:rect l="0" t="0" r="r" b="b"/>
              <a:pathLst>
                <a:path w="101" h="129">
                  <a:moveTo>
                    <a:pt x="10" y="90"/>
                  </a:moveTo>
                  <a:lnTo>
                    <a:pt x="21" y="101"/>
                  </a:lnTo>
                  <a:lnTo>
                    <a:pt x="0" y="126"/>
                  </a:lnTo>
                  <a:lnTo>
                    <a:pt x="4" y="129"/>
                  </a:lnTo>
                  <a:lnTo>
                    <a:pt x="15" y="127"/>
                  </a:lnTo>
                  <a:lnTo>
                    <a:pt x="62" y="88"/>
                  </a:lnTo>
                  <a:lnTo>
                    <a:pt x="88" y="75"/>
                  </a:lnTo>
                  <a:lnTo>
                    <a:pt x="101" y="60"/>
                  </a:lnTo>
                  <a:lnTo>
                    <a:pt x="96" y="56"/>
                  </a:lnTo>
                  <a:lnTo>
                    <a:pt x="79" y="66"/>
                  </a:lnTo>
                  <a:lnTo>
                    <a:pt x="64" y="60"/>
                  </a:lnTo>
                  <a:lnTo>
                    <a:pt x="71" y="43"/>
                  </a:lnTo>
                  <a:lnTo>
                    <a:pt x="66" y="39"/>
                  </a:lnTo>
                  <a:lnTo>
                    <a:pt x="60" y="51"/>
                  </a:lnTo>
                  <a:lnTo>
                    <a:pt x="54" y="47"/>
                  </a:lnTo>
                  <a:lnTo>
                    <a:pt x="62" y="17"/>
                  </a:lnTo>
                  <a:lnTo>
                    <a:pt x="60" y="11"/>
                  </a:lnTo>
                  <a:lnTo>
                    <a:pt x="53" y="9"/>
                  </a:lnTo>
                  <a:lnTo>
                    <a:pt x="49" y="0"/>
                  </a:lnTo>
                  <a:lnTo>
                    <a:pt x="47" y="45"/>
                  </a:lnTo>
                  <a:lnTo>
                    <a:pt x="54" y="47"/>
                  </a:lnTo>
                  <a:lnTo>
                    <a:pt x="28" y="81"/>
                  </a:lnTo>
                  <a:lnTo>
                    <a:pt x="10" y="90"/>
                  </a:lnTo>
                  <a:lnTo>
                    <a:pt x="10" y="9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65" name="Freeform 6002"/>
            <p:cNvSpPr>
              <a:spLocks/>
            </p:cNvSpPr>
            <p:nvPr>
              <p:custDataLst>
                <p:tags r:id="rId311"/>
              </p:custDataLst>
            </p:nvPr>
          </p:nvSpPr>
          <p:spPr bwMode="gray">
            <a:xfrm>
              <a:off x="9723996" y="5322829"/>
              <a:ext cx="225824" cy="140017"/>
            </a:xfrm>
            <a:custGeom>
              <a:avLst/>
              <a:gdLst/>
              <a:ahLst/>
              <a:cxnLst>
                <a:cxn ang="0">
                  <a:pos x="0" y="96"/>
                </a:cxn>
                <a:cxn ang="0">
                  <a:pos x="0" y="100"/>
                </a:cxn>
                <a:cxn ang="0">
                  <a:pos x="11" y="100"/>
                </a:cxn>
                <a:cxn ang="0">
                  <a:pos x="11" y="105"/>
                </a:cxn>
                <a:cxn ang="0">
                  <a:pos x="24" y="109"/>
                </a:cxn>
                <a:cxn ang="0">
                  <a:pos x="48" y="101"/>
                </a:cxn>
                <a:cxn ang="0">
                  <a:pos x="93" y="68"/>
                </a:cxn>
                <a:cxn ang="0">
                  <a:pos x="125" y="57"/>
                </a:cxn>
                <a:cxn ang="0">
                  <a:pos x="129" y="45"/>
                </a:cxn>
                <a:cxn ang="0">
                  <a:pos x="170" y="21"/>
                </a:cxn>
                <a:cxn ang="0">
                  <a:pos x="176" y="12"/>
                </a:cxn>
                <a:cxn ang="0">
                  <a:pos x="172" y="10"/>
                </a:cxn>
                <a:cxn ang="0">
                  <a:pos x="174" y="4"/>
                </a:cxn>
                <a:cxn ang="0">
                  <a:pos x="159" y="12"/>
                </a:cxn>
                <a:cxn ang="0">
                  <a:pos x="164" y="4"/>
                </a:cxn>
                <a:cxn ang="0">
                  <a:pos x="159" y="0"/>
                </a:cxn>
                <a:cxn ang="0">
                  <a:pos x="149" y="4"/>
                </a:cxn>
                <a:cxn ang="0">
                  <a:pos x="110" y="36"/>
                </a:cxn>
                <a:cxn ang="0">
                  <a:pos x="52" y="62"/>
                </a:cxn>
                <a:cxn ang="0">
                  <a:pos x="0" y="96"/>
                </a:cxn>
                <a:cxn ang="0">
                  <a:pos x="0" y="96"/>
                </a:cxn>
              </a:cxnLst>
              <a:rect l="0" t="0" r="r" b="b"/>
              <a:pathLst>
                <a:path w="176" h="109">
                  <a:moveTo>
                    <a:pt x="0" y="96"/>
                  </a:moveTo>
                  <a:lnTo>
                    <a:pt x="0" y="100"/>
                  </a:lnTo>
                  <a:lnTo>
                    <a:pt x="11" y="100"/>
                  </a:lnTo>
                  <a:lnTo>
                    <a:pt x="11" y="105"/>
                  </a:lnTo>
                  <a:lnTo>
                    <a:pt x="24" y="109"/>
                  </a:lnTo>
                  <a:lnTo>
                    <a:pt x="48" y="101"/>
                  </a:lnTo>
                  <a:lnTo>
                    <a:pt x="93" y="68"/>
                  </a:lnTo>
                  <a:lnTo>
                    <a:pt x="125" y="57"/>
                  </a:lnTo>
                  <a:lnTo>
                    <a:pt x="129" y="45"/>
                  </a:lnTo>
                  <a:lnTo>
                    <a:pt x="170" y="21"/>
                  </a:lnTo>
                  <a:lnTo>
                    <a:pt x="176" y="12"/>
                  </a:lnTo>
                  <a:lnTo>
                    <a:pt x="172" y="10"/>
                  </a:lnTo>
                  <a:lnTo>
                    <a:pt x="174" y="4"/>
                  </a:lnTo>
                  <a:lnTo>
                    <a:pt x="159" y="12"/>
                  </a:lnTo>
                  <a:lnTo>
                    <a:pt x="164" y="4"/>
                  </a:lnTo>
                  <a:lnTo>
                    <a:pt x="159" y="0"/>
                  </a:lnTo>
                  <a:lnTo>
                    <a:pt x="149" y="4"/>
                  </a:lnTo>
                  <a:lnTo>
                    <a:pt x="110" y="36"/>
                  </a:lnTo>
                  <a:lnTo>
                    <a:pt x="52" y="62"/>
                  </a:lnTo>
                  <a:lnTo>
                    <a:pt x="0" y="96"/>
                  </a:lnTo>
                  <a:lnTo>
                    <a:pt x="0" y="9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66" name="Freeform 6003"/>
            <p:cNvSpPr>
              <a:spLocks/>
            </p:cNvSpPr>
            <p:nvPr>
              <p:custDataLst>
                <p:tags r:id="rId312"/>
              </p:custDataLst>
            </p:nvPr>
          </p:nvSpPr>
          <p:spPr bwMode="gray">
            <a:xfrm>
              <a:off x="9718863" y="5462846"/>
              <a:ext cx="19246" cy="16699"/>
            </a:xfrm>
            <a:custGeom>
              <a:avLst/>
              <a:gdLst/>
              <a:ahLst/>
              <a:cxnLst>
                <a:cxn ang="0">
                  <a:pos x="0" y="13"/>
                </a:cxn>
                <a:cxn ang="0">
                  <a:pos x="13" y="7"/>
                </a:cxn>
                <a:cxn ang="0">
                  <a:pos x="15" y="0"/>
                </a:cxn>
                <a:cxn ang="0">
                  <a:pos x="0" y="13"/>
                </a:cxn>
                <a:cxn ang="0">
                  <a:pos x="0" y="13"/>
                </a:cxn>
              </a:cxnLst>
              <a:rect l="0" t="0" r="r" b="b"/>
              <a:pathLst>
                <a:path w="15" h="13">
                  <a:moveTo>
                    <a:pt x="0" y="13"/>
                  </a:moveTo>
                  <a:lnTo>
                    <a:pt x="13" y="7"/>
                  </a:lnTo>
                  <a:lnTo>
                    <a:pt x="15" y="0"/>
                  </a:lnTo>
                  <a:lnTo>
                    <a:pt x="0" y="13"/>
                  </a:lnTo>
                  <a:lnTo>
                    <a:pt x="0" y="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67" name="Freeform 6004"/>
            <p:cNvSpPr>
              <a:spLocks/>
            </p:cNvSpPr>
            <p:nvPr>
              <p:custDataLst>
                <p:tags r:id="rId313"/>
              </p:custDataLst>
            </p:nvPr>
          </p:nvSpPr>
          <p:spPr bwMode="gray">
            <a:xfrm>
              <a:off x="8587176" y="4225815"/>
              <a:ext cx="228390" cy="269757"/>
            </a:xfrm>
            <a:custGeom>
              <a:avLst/>
              <a:gdLst/>
              <a:ahLst/>
              <a:cxnLst>
                <a:cxn ang="0">
                  <a:pos x="0" y="0"/>
                </a:cxn>
                <a:cxn ang="0">
                  <a:pos x="5" y="17"/>
                </a:cxn>
                <a:cxn ang="0">
                  <a:pos x="26" y="36"/>
                </a:cxn>
                <a:cxn ang="0">
                  <a:pos x="41" y="60"/>
                </a:cxn>
                <a:cxn ang="0">
                  <a:pos x="58" y="71"/>
                </a:cxn>
                <a:cxn ang="0">
                  <a:pos x="65" y="99"/>
                </a:cxn>
                <a:cxn ang="0">
                  <a:pos x="84" y="118"/>
                </a:cxn>
                <a:cxn ang="0">
                  <a:pos x="91" y="142"/>
                </a:cxn>
                <a:cxn ang="0">
                  <a:pos x="105" y="163"/>
                </a:cxn>
                <a:cxn ang="0">
                  <a:pos x="148" y="208"/>
                </a:cxn>
                <a:cxn ang="0">
                  <a:pos x="153" y="210"/>
                </a:cxn>
                <a:cxn ang="0">
                  <a:pos x="163" y="206"/>
                </a:cxn>
                <a:cxn ang="0">
                  <a:pos x="168" y="210"/>
                </a:cxn>
                <a:cxn ang="0">
                  <a:pos x="178" y="159"/>
                </a:cxn>
                <a:cxn ang="0">
                  <a:pos x="168" y="148"/>
                </a:cxn>
                <a:cxn ang="0">
                  <a:pos x="159" y="148"/>
                </a:cxn>
                <a:cxn ang="0">
                  <a:pos x="149" y="124"/>
                </a:cxn>
                <a:cxn ang="0">
                  <a:pos x="140" y="124"/>
                </a:cxn>
                <a:cxn ang="0">
                  <a:pos x="134" y="118"/>
                </a:cxn>
                <a:cxn ang="0">
                  <a:pos x="140" y="101"/>
                </a:cxn>
                <a:cxn ang="0">
                  <a:pos x="127" y="94"/>
                </a:cxn>
                <a:cxn ang="0">
                  <a:pos x="127" y="84"/>
                </a:cxn>
                <a:cxn ang="0">
                  <a:pos x="97" y="62"/>
                </a:cxn>
                <a:cxn ang="0">
                  <a:pos x="90" y="64"/>
                </a:cxn>
                <a:cxn ang="0">
                  <a:pos x="35" y="8"/>
                </a:cxn>
                <a:cxn ang="0">
                  <a:pos x="0" y="0"/>
                </a:cxn>
                <a:cxn ang="0">
                  <a:pos x="0" y="0"/>
                </a:cxn>
              </a:cxnLst>
              <a:rect l="0" t="0" r="r" b="b"/>
              <a:pathLst>
                <a:path w="178" h="210">
                  <a:moveTo>
                    <a:pt x="0" y="0"/>
                  </a:moveTo>
                  <a:lnTo>
                    <a:pt x="5" y="17"/>
                  </a:lnTo>
                  <a:lnTo>
                    <a:pt x="26" y="36"/>
                  </a:lnTo>
                  <a:lnTo>
                    <a:pt x="41" y="60"/>
                  </a:lnTo>
                  <a:lnTo>
                    <a:pt x="58" y="71"/>
                  </a:lnTo>
                  <a:lnTo>
                    <a:pt x="65" y="99"/>
                  </a:lnTo>
                  <a:lnTo>
                    <a:pt x="84" y="118"/>
                  </a:lnTo>
                  <a:lnTo>
                    <a:pt x="91" y="142"/>
                  </a:lnTo>
                  <a:lnTo>
                    <a:pt x="105" y="163"/>
                  </a:lnTo>
                  <a:lnTo>
                    <a:pt x="148" y="208"/>
                  </a:lnTo>
                  <a:lnTo>
                    <a:pt x="153" y="210"/>
                  </a:lnTo>
                  <a:lnTo>
                    <a:pt x="163" y="206"/>
                  </a:lnTo>
                  <a:lnTo>
                    <a:pt x="168" y="210"/>
                  </a:lnTo>
                  <a:lnTo>
                    <a:pt x="178" y="159"/>
                  </a:lnTo>
                  <a:lnTo>
                    <a:pt x="168" y="148"/>
                  </a:lnTo>
                  <a:lnTo>
                    <a:pt x="159" y="148"/>
                  </a:lnTo>
                  <a:lnTo>
                    <a:pt x="149" y="124"/>
                  </a:lnTo>
                  <a:lnTo>
                    <a:pt x="140" y="124"/>
                  </a:lnTo>
                  <a:lnTo>
                    <a:pt x="134" y="118"/>
                  </a:lnTo>
                  <a:lnTo>
                    <a:pt x="140" y="101"/>
                  </a:lnTo>
                  <a:lnTo>
                    <a:pt x="127" y="94"/>
                  </a:lnTo>
                  <a:lnTo>
                    <a:pt x="127" y="84"/>
                  </a:lnTo>
                  <a:lnTo>
                    <a:pt x="97" y="62"/>
                  </a:lnTo>
                  <a:lnTo>
                    <a:pt x="90" y="64"/>
                  </a:lnTo>
                  <a:lnTo>
                    <a:pt x="35" y="8"/>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68" name="Freeform 6005"/>
            <p:cNvSpPr>
              <a:spLocks/>
            </p:cNvSpPr>
            <p:nvPr>
              <p:custDataLst>
                <p:tags r:id="rId314"/>
              </p:custDataLst>
            </p:nvPr>
          </p:nvSpPr>
          <p:spPr bwMode="gray">
            <a:xfrm>
              <a:off x="8796320" y="4498142"/>
              <a:ext cx="184765" cy="64228"/>
            </a:xfrm>
            <a:custGeom>
              <a:avLst/>
              <a:gdLst/>
              <a:ahLst/>
              <a:cxnLst>
                <a:cxn ang="0">
                  <a:pos x="0" y="15"/>
                </a:cxn>
                <a:cxn ang="0">
                  <a:pos x="41" y="33"/>
                </a:cxn>
                <a:cxn ang="0">
                  <a:pos x="67" y="33"/>
                </a:cxn>
                <a:cxn ang="0">
                  <a:pos x="112" y="47"/>
                </a:cxn>
                <a:cxn ang="0">
                  <a:pos x="121" y="43"/>
                </a:cxn>
                <a:cxn ang="0">
                  <a:pos x="144" y="50"/>
                </a:cxn>
                <a:cxn ang="0">
                  <a:pos x="144" y="33"/>
                </a:cxn>
                <a:cxn ang="0">
                  <a:pos x="119" y="32"/>
                </a:cxn>
                <a:cxn ang="0">
                  <a:pos x="114" y="18"/>
                </a:cxn>
                <a:cxn ang="0">
                  <a:pos x="88" y="9"/>
                </a:cxn>
                <a:cxn ang="0">
                  <a:pos x="82" y="18"/>
                </a:cxn>
                <a:cxn ang="0">
                  <a:pos x="60" y="17"/>
                </a:cxn>
                <a:cxn ang="0">
                  <a:pos x="33" y="2"/>
                </a:cxn>
                <a:cxn ang="0">
                  <a:pos x="11" y="0"/>
                </a:cxn>
                <a:cxn ang="0">
                  <a:pos x="0" y="15"/>
                </a:cxn>
                <a:cxn ang="0">
                  <a:pos x="0" y="15"/>
                </a:cxn>
              </a:cxnLst>
              <a:rect l="0" t="0" r="r" b="b"/>
              <a:pathLst>
                <a:path w="144" h="50">
                  <a:moveTo>
                    <a:pt x="0" y="15"/>
                  </a:moveTo>
                  <a:lnTo>
                    <a:pt x="41" y="33"/>
                  </a:lnTo>
                  <a:lnTo>
                    <a:pt x="67" y="33"/>
                  </a:lnTo>
                  <a:lnTo>
                    <a:pt x="112" y="47"/>
                  </a:lnTo>
                  <a:lnTo>
                    <a:pt x="121" y="43"/>
                  </a:lnTo>
                  <a:lnTo>
                    <a:pt x="144" y="50"/>
                  </a:lnTo>
                  <a:lnTo>
                    <a:pt x="144" y="33"/>
                  </a:lnTo>
                  <a:lnTo>
                    <a:pt x="119" y="32"/>
                  </a:lnTo>
                  <a:lnTo>
                    <a:pt x="114" y="18"/>
                  </a:lnTo>
                  <a:lnTo>
                    <a:pt x="88" y="9"/>
                  </a:lnTo>
                  <a:lnTo>
                    <a:pt x="82" y="18"/>
                  </a:lnTo>
                  <a:lnTo>
                    <a:pt x="60" y="17"/>
                  </a:lnTo>
                  <a:lnTo>
                    <a:pt x="33" y="2"/>
                  </a:lnTo>
                  <a:lnTo>
                    <a:pt x="11" y="0"/>
                  </a:lnTo>
                  <a:lnTo>
                    <a:pt x="0" y="15"/>
                  </a:lnTo>
                  <a:lnTo>
                    <a:pt x="0"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69" name="Freeform 6006"/>
            <p:cNvSpPr>
              <a:spLocks/>
            </p:cNvSpPr>
            <p:nvPr>
              <p:custDataLst>
                <p:tags r:id="rId315"/>
              </p:custDataLst>
            </p:nvPr>
          </p:nvSpPr>
          <p:spPr bwMode="gray">
            <a:xfrm>
              <a:off x="8981085" y="4548240"/>
              <a:ext cx="25662" cy="16699"/>
            </a:xfrm>
            <a:custGeom>
              <a:avLst/>
              <a:gdLst/>
              <a:ahLst/>
              <a:cxnLst>
                <a:cxn ang="0">
                  <a:pos x="0" y="4"/>
                </a:cxn>
                <a:cxn ang="0">
                  <a:pos x="11" y="13"/>
                </a:cxn>
                <a:cxn ang="0">
                  <a:pos x="20" y="6"/>
                </a:cxn>
                <a:cxn ang="0">
                  <a:pos x="15" y="0"/>
                </a:cxn>
                <a:cxn ang="0">
                  <a:pos x="0" y="4"/>
                </a:cxn>
                <a:cxn ang="0">
                  <a:pos x="0" y="4"/>
                </a:cxn>
              </a:cxnLst>
              <a:rect l="0" t="0" r="r" b="b"/>
              <a:pathLst>
                <a:path w="20" h="13">
                  <a:moveTo>
                    <a:pt x="0" y="4"/>
                  </a:moveTo>
                  <a:lnTo>
                    <a:pt x="11" y="13"/>
                  </a:lnTo>
                  <a:lnTo>
                    <a:pt x="20" y="6"/>
                  </a:lnTo>
                  <a:lnTo>
                    <a:pt x="15" y="0"/>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70" name="Freeform 6007"/>
            <p:cNvSpPr>
              <a:spLocks/>
            </p:cNvSpPr>
            <p:nvPr>
              <p:custDataLst>
                <p:tags r:id="rId316"/>
              </p:custDataLst>
            </p:nvPr>
          </p:nvSpPr>
          <p:spPr bwMode="gray">
            <a:xfrm>
              <a:off x="9011879" y="4550809"/>
              <a:ext cx="161670" cy="24407"/>
            </a:xfrm>
            <a:custGeom>
              <a:avLst/>
              <a:gdLst/>
              <a:ahLst/>
              <a:cxnLst>
                <a:cxn ang="0">
                  <a:pos x="0" y="17"/>
                </a:cxn>
                <a:cxn ang="0">
                  <a:pos x="19" y="19"/>
                </a:cxn>
                <a:cxn ang="0">
                  <a:pos x="58" y="9"/>
                </a:cxn>
                <a:cxn ang="0">
                  <a:pos x="98" y="15"/>
                </a:cxn>
                <a:cxn ang="0">
                  <a:pos x="126" y="6"/>
                </a:cxn>
                <a:cxn ang="0">
                  <a:pos x="114" y="2"/>
                </a:cxn>
                <a:cxn ang="0">
                  <a:pos x="105" y="11"/>
                </a:cxn>
                <a:cxn ang="0">
                  <a:pos x="75" y="2"/>
                </a:cxn>
                <a:cxn ang="0">
                  <a:pos x="58" y="9"/>
                </a:cxn>
                <a:cxn ang="0">
                  <a:pos x="30" y="0"/>
                </a:cxn>
                <a:cxn ang="0">
                  <a:pos x="34" y="7"/>
                </a:cxn>
                <a:cxn ang="0">
                  <a:pos x="10" y="4"/>
                </a:cxn>
                <a:cxn ang="0">
                  <a:pos x="2" y="6"/>
                </a:cxn>
                <a:cxn ang="0">
                  <a:pos x="0" y="17"/>
                </a:cxn>
                <a:cxn ang="0">
                  <a:pos x="0" y="17"/>
                </a:cxn>
              </a:cxnLst>
              <a:rect l="0" t="0" r="r" b="b"/>
              <a:pathLst>
                <a:path w="126" h="19">
                  <a:moveTo>
                    <a:pt x="0" y="17"/>
                  </a:moveTo>
                  <a:lnTo>
                    <a:pt x="19" y="19"/>
                  </a:lnTo>
                  <a:lnTo>
                    <a:pt x="58" y="9"/>
                  </a:lnTo>
                  <a:lnTo>
                    <a:pt x="98" y="15"/>
                  </a:lnTo>
                  <a:lnTo>
                    <a:pt x="126" y="6"/>
                  </a:lnTo>
                  <a:lnTo>
                    <a:pt x="114" y="2"/>
                  </a:lnTo>
                  <a:lnTo>
                    <a:pt x="105" y="11"/>
                  </a:lnTo>
                  <a:lnTo>
                    <a:pt x="75" y="2"/>
                  </a:lnTo>
                  <a:lnTo>
                    <a:pt x="58" y="9"/>
                  </a:lnTo>
                  <a:lnTo>
                    <a:pt x="30" y="0"/>
                  </a:lnTo>
                  <a:lnTo>
                    <a:pt x="34" y="7"/>
                  </a:lnTo>
                  <a:lnTo>
                    <a:pt x="10" y="4"/>
                  </a:lnTo>
                  <a:lnTo>
                    <a:pt x="2" y="6"/>
                  </a:lnTo>
                  <a:lnTo>
                    <a:pt x="0" y="17"/>
                  </a:lnTo>
                  <a:lnTo>
                    <a:pt x="0"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71" name="Freeform 6008"/>
            <p:cNvSpPr>
              <a:spLocks/>
            </p:cNvSpPr>
            <p:nvPr>
              <p:custDataLst>
                <p:tags r:id="rId317"/>
              </p:custDataLst>
            </p:nvPr>
          </p:nvSpPr>
          <p:spPr bwMode="gray">
            <a:xfrm>
              <a:off x="9187663" y="4550809"/>
              <a:ext cx="16680" cy="7707"/>
            </a:xfrm>
            <a:custGeom>
              <a:avLst/>
              <a:gdLst/>
              <a:ahLst/>
              <a:cxnLst>
                <a:cxn ang="0">
                  <a:pos x="0" y="6"/>
                </a:cxn>
                <a:cxn ang="0">
                  <a:pos x="13" y="4"/>
                </a:cxn>
                <a:cxn ang="0">
                  <a:pos x="4" y="0"/>
                </a:cxn>
                <a:cxn ang="0">
                  <a:pos x="0" y="6"/>
                </a:cxn>
                <a:cxn ang="0">
                  <a:pos x="0" y="6"/>
                </a:cxn>
              </a:cxnLst>
              <a:rect l="0" t="0" r="r" b="b"/>
              <a:pathLst>
                <a:path w="13" h="6">
                  <a:moveTo>
                    <a:pt x="0" y="6"/>
                  </a:moveTo>
                  <a:lnTo>
                    <a:pt x="13" y="4"/>
                  </a:lnTo>
                  <a:lnTo>
                    <a:pt x="4"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72" name="Freeform 6009"/>
            <p:cNvSpPr>
              <a:spLocks/>
            </p:cNvSpPr>
            <p:nvPr>
              <p:custDataLst>
                <p:tags r:id="rId318"/>
              </p:custDataLst>
            </p:nvPr>
          </p:nvSpPr>
          <p:spPr bwMode="gray">
            <a:xfrm>
              <a:off x="9218457" y="4539248"/>
              <a:ext cx="16680" cy="8992"/>
            </a:xfrm>
            <a:custGeom>
              <a:avLst/>
              <a:gdLst/>
              <a:ahLst/>
              <a:cxnLst>
                <a:cxn ang="0">
                  <a:pos x="0" y="7"/>
                </a:cxn>
                <a:cxn ang="0">
                  <a:pos x="10" y="7"/>
                </a:cxn>
                <a:cxn ang="0">
                  <a:pos x="13" y="0"/>
                </a:cxn>
                <a:cxn ang="0">
                  <a:pos x="4" y="1"/>
                </a:cxn>
                <a:cxn ang="0">
                  <a:pos x="0" y="7"/>
                </a:cxn>
                <a:cxn ang="0">
                  <a:pos x="0" y="7"/>
                </a:cxn>
              </a:cxnLst>
              <a:rect l="0" t="0" r="r" b="b"/>
              <a:pathLst>
                <a:path w="13" h="7">
                  <a:moveTo>
                    <a:pt x="0" y="7"/>
                  </a:moveTo>
                  <a:lnTo>
                    <a:pt x="10" y="7"/>
                  </a:lnTo>
                  <a:lnTo>
                    <a:pt x="13" y="0"/>
                  </a:lnTo>
                  <a:lnTo>
                    <a:pt x="4" y="1"/>
                  </a:lnTo>
                  <a:lnTo>
                    <a:pt x="0" y="7"/>
                  </a:lnTo>
                  <a:lnTo>
                    <a:pt x="0" y="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73" name="Freeform 6010"/>
            <p:cNvSpPr>
              <a:spLocks/>
            </p:cNvSpPr>
            <p:nvPr>
              <p:custDataLst>
                <p:tags r:id="rId319"/>
              </p:custDataLst>
            </p:nvPr>
          </p:nvSpPr>
          <p:spPr bwMode="gray">
            <a:xfrm>
              <a:off x="9074751" y="4581638"/>
              <a:ext cx="38493" cy="21838"/>
            </a:xfrm>
            <a:custGeom>
              <a:avLst/>
              <a:gdLst/>
              <a:ahLst/>
              <a:cxnLst>
                <a:cxn ang="0">
                  <a:pos x="0" y="0"/>
                </a:cxn>
                <a:cxn ang="0">
                  <a:pos x="2" y="6"/>
                </a:cxn>
                <a:cxn ang="0">
                  <a:pos x="22" y="17"/>
                </a:cxn>
                <a:cxn ang="0">
                  <a:pos x="30" y="12"/>
                </a:cxn>
                <a:cxn ang="0">
                  <a:pos x="17" y="0"/>
                </a:cxn>
                <a:cxn ang="0">
                  <a:pos x="0" y="0"/>
                </a:cxn>
                <a:cxn ang="0">
                  <a:pos x="0" y="0"/>
                </a:cxn>
              </a:cxnLst>
              <a:rect l="0" t="0" r="r" b="b"/>
              <a:pathLst>
                <a:path w="30" h="17">
                  <a:moveTo>
                    <a:pt x="0" y="0"/>
                  </a:moveTo>
                  <a:lnTo>
                    <a:pt x="2" y="6"/>
                  </a:lnTo>
                  <a:lnTo>
                    <a:pt x="22" y="17"/>
                  </a:lnTo>
                  <a:lnTo>
                    <a:pt x="30" y="12"/>
                  </a:lnTo>
                  <a:lnTo>
                    <a:pt x="17" y="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74" name="Freeform 6011"/>
            <p:cNvSpPr>
              <a:spLocks/>
            </p:cNvSpPr>
            <p:nvPr>
              <p:custDataLst>
                <p:tags r:id="rId320"/>
              </p:custDataLst>
            </p:nvPr>
          </p:nvSpPr>
          <p:spPr bwMode="gray">
            <a:xfrm>
              <a:off x="9328803" y="4526402"/>
              <a:ext cx="12831" cy="21838"/>
            </a:xfrm>
            <a:custGeom>
              <a:avLst/>
              <a:gdLst/>
              <a:ahLst/>
              <a:cxnLst>
                <a:cxn ang="0">
                  <a:pos x="0" y="17"/>
                </a:cxn>
                <a:cxn ang="0">
                  <a:pos x="8" y="11"/>
                </a:cxn>
                <a:cxn ang="0">
                  <a:pos x="10" y="0"/>
                </a:cxn>
                <a:cxn ang="0">
                  <a:pos x="0" y="17"/>
                </a:cxn>
                <a:cxn ang="0">
                  <a:pos x="0" y="17"/>
                </a:cxn>
              </a:cxnLst>
              <a:rect l="0" t="0" r="r" b="b"/>
              <a:pathLst>
                <a:path w="10" h="17">
                  <a:moveTo>
                    <a:pt x="0" y="17"/>
                  </a:moveTo>
                  <a:lnTo>
                    <a:pt x="8" y="11"/>
                  </a:lnTo>
                  <a:lnTo>
                    <a:pt x="10" y="0"/>
                  </a:lnTo>
                  <a:lnTo>
                    <a:pt x="0" y="17"/>
                  </a:lnTo>
                  <a:lnTo>
                    <a:pt x="0"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75" name="Freeform 6012"/>
            <p:cNvSpPr>
              <a:spLocks/>
            </p:cNvSpPr>
            <p:nvPr>
              <p:custDataLst>
                <p:tags r:id="rId321"/>
              </p:custDataLst>
            </p:nvPr>
          </p:nvSpPr>
          <p:spPr bwMode="gray">
            <a:xfrm>
              <a:off x="9391675" y="4487866"/>
              <a:ext cx="14114" cy="35968"/>
            </a:xfrm>
            <a:custGeom>
              <a:avLst/>
              <a:gdLst/>
              <a:ahLst/>
              <a:cxnLst>
                <a:cxn ang="0">
                  <a:pos x="0" y="28"/>
                </a:cxn>
                <a:cxn ang="0">
                  <a:pos x="11" y="10"/>
                </a:cxn>
                <a:cxn ang="0">
                  <a:pos x="9" y="0"/>
                </a:cxn>
                <a:cxn ang="0">
                  <a:pos x="0" y="28"/>
                </a:cxn>
                <a:cxn ang="0">
                  <a:pos x="0" y="28"/>
                </a:cxn>
              </a:cxnLst>
              <a:rect l="0" t="0" r="r" b="b"/>
              <a:pathLst>
                <a:path w="11" h="28">
                  <a:moveTo>
                    <a:pt x="0" y="28"/>
                  </a:moveTo>
                  <a:lnTo>
                    <a:pt x="11" y="10"/>
                  </a:lnTo>
                  <a:lnTo>
                    <a:pt x="9" y="0"/>
                  </a:lnTo>
                  <a:lnTo>
                    <a:pt x="0" y="28"/>
                  </a:lnTo>
                  <a:lnTo>
                    <a:pt x="0" y="2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76" name="Freeform 6013"/>
            <p:cNvSpPr>
              <a:spLocks/>
            </p:cNvSpPr>
            <p:nvPr>
              <p:custDataLst>
                <p:tags r:id="rId322"/>
              </p:custDataLst>
            </p:nvPr>
          </p:nvSpPr>
          <p:spPr bwMode="gray">
            <a:xfrm>
              <a:off x="8855342" y="426435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77" name="Freeform 6014"/>
            <p:cNvSpPr>
              <a:spLocks/>
            </p:cNvSpPr>
            <p:nvPr>
              <p:custDataLst>
                <p:tags r:id="rId323"/>
              </p:custDataLst>
            </p:nvPr>
          </p:nvSpPr>
          <p:spPr bwMode="gray">
            <a:xfrm>
              <a:off x="8780923" y="433114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78" name="Freeform 6015"/>
            <p:cNvSpPr>
              <a:spLocks/>
            </p:cNvSpPr>
            <p:nvPr>
              <p:custDataLst>
                <p:tags r:id="rId324"/>
              </p:custDataLst>
            </p:nvPr>
          </p:nvSpPr>
          <p:spPr bwMode="gray">
            <a:xfrm>
              <a:off x="8796320" y="4394093"/>
              <a:ext cx="30794" cy="35968"/>
            </a:xfrm>
            <a:custGeom>
              <a:avLst/>
              <a:gdLst/>
              <a:ahLst/>
              <a:cxnLst>
                <a:cxn ang="0">
                  <a:pos x="0" y="8"/>
                </a:cxn>
                <a:cxn ang="0">
                  <a:pos x="9" y="11"/>
                </a:cxn>
                <a:cxn ang="0">
                  <a:pos x="11" y="23"/>
                </a:cxn>
                <a:cxn ang="0">
                  <a:pos x="22" y="28"/>
                </a:cxn>
                <a:cxn ang="0">
                  <a:pos x="24" y="19"/>
                </a:cxn>
                <a:cxn ang="0">
                  <a:pos x="18" y="19"/>
                </a:cxn>
                <a:cxn ang="0">
                  <a:pos x="13" y="0"/>
                </a:cxn>
                <a:cxn ang="0">
                  <a:pos x="0" y="8"/>
                </a:cxn>
                <a:cxn ang="0">
                  <a:pos x="0" y="8"/>
                </a:cxn>
              </a:cxnLst>
              <a:rect l="0" t="0" r="r" b="b"/>
              <a:pathLst>
                <a:path w="24" h="28">
                  <a:moveTo>
                    <a:pt x="0" y="8"/>
                  </a:moveTo>
                  <a:lnTo>
                    <a:pt x="9" y="11"/>
                  </a:lnTo>
                  <a:lnTo>
                    <a:pt x="11" y="23"/>
                  </a:lnTo>
                  <a:lnTo>
                    <a:pt x="22" y="28"/>
                  </a:lnTo>
                  <a:lnTo>
                    <a:pt x="24" y="19"/>
                  </a:lnTo>
                  <a:lnTo>
                    <a:pt x="18" y="19"/>
                  </a:lnTo>
                  <a:lnTo>
                    <a:pt x="13" y="0"/>
                  </a:lnTo>
                  <a:lnTo>
                    <a:pt x="0" y="8"/>
                  </a:lnTo>
                  <a:lnTo>
                    <a:pt x="0" y="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79" name="Freeform 6016"/>
            <p:cNvSpPr>
              <a:spLocks/>
            </p:cNvSpPr>
            <p:nvPr>
              <p:custDataLst>
                <p:tags r:id="rId325"/>
              </p:custDataLst>
            </p:nvPr>
          </p:nvSpPr>
          <p:spPr bwMode="gray">
            <a:xfrm>
              <a:off x="8846360" y="4418499"/>
              <a:ext cx="11548" cy="16699"/>
            </a:xfrm>
            <a:custGeom>
              <a:avLst/>
              <a:gdLst/>
              <a:ahLst/>
              <a:cxnLst>
                <a:cxn ang="0">
                  <a:pos x="0" y="11"/>
                </a:cxn>
                <a:cxn ang="0">
                  <a:pos x="6" y="13"/>
                </a:cxn>
                <a:cxn ang="0">
                  <a:pos x="9" y="4"/>
                </a:cxn>
                <a:cxn ang="0">
                  <a:pos x="2" y="0"/>
                </a:cxn>
                <a:cxn ang="0">
                  <a:pos x="0" y="11"/>
                </a:cxn>
                <a:cxn ang="0">
                  <a:pos x="0" y="11"/>
                </a:cxn>
              </a:cxnLst>
              <a:rect l="0" t="0" r="r" b="b"/>
              <a:pathLst>
                <a:path w="9" h="13">
                  <a:moveTo>
                    <a:pt x="0" y="11"/>
                  </a:moveTo>
                  <a:lnTo>
                    <a:pt x="6" y="13"/>
                  </a:lnTo>
                  <a:lnTo>
                    <a:pt x="9" y="4"/>
                  </a:lnTo>
                  <a:lnTo>
                    <a:pt x="2" y="0"/>
                  </a:lnTo>
                  <a:lnTo>
                    <a:pt x="0" y="11"/>
                  </a:lnTo>
                  <a:lnTo>
                    <a:pt x="0"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80" name="Freeform 6017"/>
            <p:cNvSpPr>
              <a:spLocks/>
            </p:cNvSpPr>
            <p:nvPr>
              <p:custDataLst>
                <p:tags r:id="rId326"/>
              </p:custDataLst>
            </p:nvPr>
          </p:nvSpPr>
          <p:spPr bwMode="gray">
            <a:xfrm>
              <a:off x="8951574" y="4523833"/>
              <a:ext cx="21813" cy="0"/>
            </a:xfrm>
            <a:custGeom>
              <a:avLst/>
              <a:gdLst/>
              <a:ahLst/>
              <a:cxnLst>
                <a:cxn ang="0">
                  <a:pos x="0" y="0"/>
                </a:cxn>
                <a:cxn ang="0">
                  <a:pos x="17" y="0"/>
                </a:cxn>
                <a:cxn ang="0">
                  <a:pos x="0" y="0"/>
                </a:cxn>
              </a:cxnLst>
              <a:rect l="0" t="0" r="r" b="b"/>
              <a:pathLst>
                <a:path w="17">
                  <a:moveTo>
                    <a:pt x="0" y="0"/>
                  </a:moveTo>
                  <a:lnTo>
                    <a:pt x="17"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81" name="Line 6018"/>
            <p:cNvSpPr>
              <a:spLocks noChangeShapeType="1"/>
            </p:cNvSpPr>
            <p:nvPr>
              <p:custDataLst>
                <p:tags r:id="rId327"/>
              </p:custDataLst>
            </p:nvPr>
          </p:nvSpPr>
          <p:spPr bwMode="gray">
            <a:xfrm>
              <a:off x="8951574" y="4523833"/>
              <a:ext cx="21813" cy="0"/>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82" name="Freeform 6019"/>
            <p:cNvSpPr>
              <a:spLocks/>
            </p:cNvSpPr>
            <p:nvPr>
              <p:custDataLst>
                <p:tags r:id="rId328"/>
              </p:custDataLst>
            </p:nvPr>
          </p:nvSpPr>
          <p:spPr bwMode="gray">
            <a:xfrm>
              <a:off x="9079883" y="4319588"/>
              <a:ext cx="134725" cy="173416"/>
            </a:xfrm>
            <a:custGeom>
              <a:avLst/>
              <a:gdLst/>
              <a:ahLst/>
              <a:cxnLst>
                <a:cxn ang="0">
                  <a:pos x="0" y="84"/>
                </a:cxn>
                <a:cxn ang="0">
                  <a:pos x="1" y="96"/>
                </a:cxn>
                <a:cxn ang="0">
                  <a:pos x="11" y="96"/>
                </a:cxn>
                <a:cxn ang="0">
                  <a:pos x="13" y="105"/>
                </a:cxn>
                <a:cxn ang="0">
                  <a:pos x="9" y="135"/>
                </a:cxn>
                <a:cxn ang="0">
                  <a:pos x="22" y="133"/>
                </a:cxn>
                <a:cxn ang="0">
                  <a:pos x="22" y="86"/>
                </a:cxn>
                <a:cxn ang="0">
                  <a:pos x="30" y="81"/>
                </a:cxn>
                <a:cxn ang="0">
                  <a:pos x="37" y="81"/>
                </a:cxn>
                <a:cxn ang="0">
                  <a:pos x="33" y="96"/>
                </a:cxn>
                <a:cxn ang="0">
                  <a:pos x="45" y="107"/>
                </a:cxn>
                <a:cxn ang="0">
                  <a:pos x="43" y="118"/>
                </a:cxn>
                <a:cxn ang="0">
                  <a:pos x="48" y="122"/>
                </a:cxn>
                <a:cxn ang="0">
                  <a:pos x="56" y="116"/>
                </a:cxn>
                <a:cxn ang="0">
                  <a:pos x="54" y="129"/>
                </a:cxn>
                <a:cxn ang="0">
                  <a:pos x="60" y="135"/>
                </a:cxn>
                <a:cxn ang="0">
                  <a:pos x="67" y="129"/>
                </a:cxn>
                <a:cxn ang="0">
                  <a:pos x="69" y="120"/>
                </a:cxn>
                <a:cxn ang="0">
                  <a:pos x="52" y="96"/>
                </a:cxn>
                <a:cxn ang="0">
                  <a:pos x="58" y="90"/>
                </a:cxn>
                <a:cxn ang="0">
                  <a:pos x="43" y="66"/>
                </a:cxn>
                <a:cxn ang="0">
                  <a:pos x="67" y="49"/>
                </a:cxn>
                <a:cxn ang="0">
                  <a:pos x="76" y="49"/>
                </a:cxn>
                <a:cxn ang="0">
                  <a:pos x="71" y="41"/>
                </a:cxn>
                <a:cxn ang="0">
                  <a:pos x="30" y="56"/>
                </a:cxn>
                <a:cxn ang="0">
                  <a:pos x="28" y="49"/>
                </a:cxn>
                <a:cxn ang="0">
                  <a:pos x="20" y="45"/>
                </a:cxn>
                <a:cxn ang="0">
                  <a:pos x="20" y="34"/>
                </a:cxn>
                <a:cxn ang="0">
                  <a:pos x="31" y="23"/>
                </a:cxn>
                <a:cxn ang="0">
                  <a:pos x="76" y="26"/>
                </a:cxn>
                <a:cxn ang="0">
                  <a:pos x="93" y="21"/>
                </a:cxn>
                <a:cxn ang="0">
                  <a:pos x="105" y="4"/>
                </a:cxn>
                <a:cxn ang="0">
                  <a:pos x="101" y="0"/>
                </a:cxn>
                <a:cxn ang="0">
                  <a:pos x="84" y="15"/>
                </a:cxn>
                <a:cxn ang="0">
                  <a:pos x="67" y="15"/>
                </a:cxn>
                <a:cxn ang="0">
                  <a:pos x="33" y="8"/>
                </a:cxn>
                <a:cxn ang="0">
                  <a:pos x="30" y="17"/>
                </a:cxn>
                <a:cxn ang="0">
                  <a:pos x="18" y="17"/>
                </a:cxn>
                <a:cxn ang="0">
                  <a:pos x="16" y="41"/>
                </a:cxn>
                <a:cxn ang="0">
                  <a:pos x="0" y="84"/>
                </a:cxn>
                <a:cxn ang="0">
                  <a:pos x="0" y="84"/>
                </a:cxn>
              </a:cxnLst>
              <a:rect l="0" t="0" r="r" b="b"/>
              <a:pathLst>
                <a:path w="105" h="135">
                  <a:moveTo>
                    <a:pt x="0" y="84"/>
                  </a:moveTo>
                  <a:lnTo>
                    <a:pt x="1" y="96"/>
                  </a:lnTo>
                  <a:lnTo>
                    <a:pt x="11" y="96"/>
                  </a:lnTo>
                  <a:lnTo>
                    <a:pt x="13" y="105"/>
                  </a:lnTo>
                  <a:lnTo>
                    <a:pt x="9" y="135"/>
                  </a:lnTo>
                  <a:lnTo>
                    <a:pt x="22" y="133"/>
                  </a:lnTo>
                  <a:lnTo>
                    <a:pt x="22" y="86"/>
                  </a:lnTo>
                  <a:lnTo>
                    <a:pt x="30" y="81"/>
                  </a:lnTo>
                  <a:lnTo>
                    <a:pt x="37" y="81"/>
                  </a:lnTo>
                  <a:lnTo>
                    <a:pt x="33" y="96"/>
                  </a:lnTo>
                  <a:lnTo>
                    <a:pt x="45" y="107"/>
                  </a:lnTo>
                  <a:lnTo>
                    <a:pt x="43" y="118"/>
                  </a:lnTo>
                  <a:lnTo>
                    <a:pt x="48" y="122"/>
                  </a:lnTo>
                  <a:lnTo>
                    <a:pt x="56" y="116"/>
                  </a:lnTo>
                  <a:lnTo>
                    <a:pt x="54" y="129"/>
                  </a:lnTo>
                  <a:lnTo>
                    <a:pt x="60" y="135"/>
                  </a:lnTo>
                  <a:lnTo>
                    <a:pt x="67" y="129"/>
                  </a:lnTo>
                  <a:lnTo>
                    <a:pt x="69" y="120"/>
                  </a:lnTo>
                  <a:lnTo>
                    <a:pt x="52" y="96"/>
                  </a:lnTo>
                  <a:lnTo>
                    <a:pt x="58" y="90"/>
                  </a:lnTo>
                  <a:lnTo>
                    <a:pt x="43" y="66"/>
                  </a:lnTo>
                  <a:lnTo>
                    <a:pt x="67" y="49"/>
                  </a:lnTo>
                  <a:lnTo>
                    <a:pt x="76" y="49"/>
                  </a:lnTo>
                  <a:lnTo>
                    <a:pt x="71" y="41"/>
                  </a:lnTo>
                  <a:lnTo>
                    <a:pt x="30" y="56"/>
                  </a:lnTo>
                  <a:lnTo>
                    <a:pt x="28" y="49"/>
                  </a:lnTo>
                  <a:lnTo>
                    <a:pt x="20" y="45"/>
                  </a:lnTo>
                  <a:lnTo>
                    <a:pt x="20" y="34"/>
                  </a:lnTo>
                  <a:lnTo>
                    <a:pt x="31" y="23"/>
                  </a:lnTo>
                  <a:lnTo>
                    <a:pt x="76" y="26"/>
                  </a:lnTo>
                  <a:lnTo>
                    <a:pt x="93" y="21"/>
                  </a:lnTo>
                  <a:lnTo>
                    <a:pt x="105" y="4"/>
                  </a:lnTo>
                  <a:lnTo>
                    <a:pt x="101" y="0"/>
                  </a:lnTo>
                  <a:lnTo>
                    <a:pt x="84" y="15"/>
                  </a:lnTo>
                  <a:lnTo>
                    <a:pt x="67" y="15"/>
                  </a:lnTo>
                  <a:lnTo>
                    <a:pt x="33" y="8"/>
                  </a:lnTo>
                  <a:lnTo>
                    <a:pt x="30" y="17"/>
                  </a:lnTo>
                  <a:lnTo>
                    <a:pt x="18" y="17"/>
                  </a:lnTo>
                  <a:lnTo>
                    <a:pt x="16" y="41"/>
                  </a:lnTo>
                  <a:lnTo>
                    <a:pt x="0" y="84"/>
                  </a:lnTo>
                  <a:lnTo>
                    <a:pt x="0" y="8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83" name="Freeform 6020"/>
            <p:cNvSpPr>
              <a:spLocks/>
            </p:cNvSpPr>
            <p:nvPr>
              <p:custDataLst>
                <p:tags r:id="rId329"/>
              </p:custDataLst>
            </p:nvPr>
          </p:nvSpPr>
          <p:spPr bwMode="gray">
            <a:xfrm>
              <a:off x="9256950" y="4308027"/>
              <a:ext cx="29511" cy="74504"/>
            </a:xfrm>
            <a:custGeom>
              <a:avLst/>
              <a:gdLst/>
              <a:ahLst/>
              <a:cxnLst>
                <a:cxn ang="0">
                  <a:pos x="0" y="20"/>
                </a:cxn>
                <a:cxn ang="0">
                  <a:pos x="4" y="43"/>
                </a:cxn>
                <a:cxn ang="0">
                  <a:pos x="19" y="58"/>
                </a:cxn>
                <a:cxn ang="0">
                  <a:pos x="10" y="41"/>
                </a:cxn>
                <a:cxn ang="0">
                  <a:pos x="11" y="32"/>
                </a:cxn>
                <a:cxn ang="0">
                  <a:pos x="19" y="32"/>
                </a:cxn>
                <a:cxn ang="0">
                  <a:pos x="15" y="24"/>
                </a:cxn>
                <a:cxn ang="0">
                  <a:pos x="23" y="20"/>
                </a:cxn>
                <a:cxn ang="0">
                  <a:pos x="23" y="11"/>
                </a:cxn>
                <a:cxn ang="0">
                  <a:pos x="11" y="17"/>
                </a:cxn>
                <a:cxn ang="0">
                  <a:pos x="10" y="0"/>
                </a:cxn>
                <a:cxn ang="0">
                  <a:pos x="4" y="5"/>
                </a:cxn>
                <a:cxn ang="0">
                  <a:pos x="0" y="20"/>
                </a:cxn>
                <a:cxn ang="0">
                  <a:pos x="0" y="20"/>
                </a:cxn>
              </a:cxnLst>
              <a:rect l="0" t="0" r="r" b="b"/>
              <a:pathLst>
                <a:path w="23" h="58">
                  <a:moveTo>
                    <a:pt x="0" y="20"/>
                  </a:moveTo>
                  <a:lnTo>
                    <a:pt x="4" y="43"/>
                  </a:lnTo>
                  <a:lnTo>
                    <a:pt x="19" y="58"/>
                  </a:lnTo>
                  <a:lnTo>
                    <a:pt x="10" y="41"/>
                  </a:lnTo>
                  <a:lnTo>
                    <a:pt x="11" y="32"/>
                  </a:lnTo>
                  <a:lnTo>
                    <a:pt x="19" y="32"/>
                  </a:lnTo>
                  <a:lnTo>
                    <a:pt x="15" y="24"/>
                  </a:lnTo>
                  <a:lnTo>
                    <a:pt x="23" y="20"/>
                  </a:lnTo>
                  <a:lnTo>
                    <a:pt x="23" y="11"/>
                  </a:lnTo>
                  <a:lnTo>
                    <a:pt x="11" y="17"/>
                  </a:lnTo>
                  <a:lnTo>
                    <a:pt x="10" y="0"/>
                  </a:lnTo>
                  <a:lnTo>
                    <a:pt x="4" y="5"/>
                  </a:lnTo>
                  <a:lnTo>
                    <a:pt x="0" y="20"/>
                  </a:lnTo>
                  <a:lnTo>
                    <a:pt x="0" y="2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84" name="Freeform 6021"/>
            <p:cNvSpPr>
              <a:spLocks/>
            </p:cNvSpPr>
            <p:nvPr>
              <p:custDataLst>
                <p:tags r:id="rId330"/>
              </p:custDataLst>
            </p:nvPr>
          </p:nvSpPr>
          <p:spPr bwMode="gray">
            <a:xfrm>
              <a:off x="9228722" y="4435199"/>
              <a:ext cx="23096" cy="16699"/>
            </a:xfrm>
            <a:custGeom>
              <a:avLst/>
              <a:gdLst/>
              <a:ahLst/>
              <a:cxnLst>
                <a:cxn ang="0">
                  <a:pos x="0" y="2"/>
                </a:cxn>
                <a:cxn ang="0">
                  <a:pos x="13" y="13"/>
                </a:cxn>
                <a:cxn ang="0">
                  <a:pos x="18" y="8"/>
                </a:cxn>
                <a:cxn ang="0">
                  <a:pos x="17" y="0"/>
                </a:cxn>
                <a:cxn ang="0">
                  <a:pos x="0" y="2"/>
                </a:cxn>
                <a:cxn ang="0">
                  <a:pos x="0" y="2"/>
                </a:cxn>
              </a:cxnLst>
              <a:rect l="0" t="0" r="r" b="b"/>
              <a:pathLst>
                <a:path w="18" h="13">
                  <a:moveTo>
                    <a:pt x="0" y="2"/>
                  </a:moveTo>
                  <a:lnTo>
                    <a:pt x="13" y="13"/>
                  </a:lnTo>
                  <a:lnTo>
                    <a:pt x="18" y="8"/>
                  </a:lnTo>
                  <a:lnTo>
                    <a:pt x="17"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85" name="Freeform 6022"/>
            <p:cNvSpPr>
              <a:spLocks/>
            </p:cNvSpPr>
            <p:nvPr>
              <p:custDataLst>
                <p:tags r:id="rId331"/>
              </p:custDataLst>
            </p:nvPr>
          </p:nvSpPr>
          <p:spPr bwMode="gray">
            <a:xfrm>
              <a:off x="9269781" y="4426207"/>
              <a:ext cx="57739" cy="25691"/>
            </a:xfrm>
            <a:custGeom>
              <a:avLst/>
              <a:gdLst/>
              <a:ahLst/>
              <a:cxnLst>
                <a:cxn ang="0">
                  <a:pos x="0" y="7"/>
                </a:cxn>
                <a:cxn ang="0">
                  <a:pos x="45" y="20"/>
                </a:cxn>
                <a:cxn ang="0">
                  <a:pos x="39" y="3"/>
                </a:cxn>
                <a:cxn ang="0">
                  <a:pos x="24" y="0"/>
                </a:cxn>
                <a:cxn ang="0">
                  <a:pos x="5" y="1"/>
                </a:cxn>
                <a:cxn ang="0">
                  <a:pos x="0" y="7"/>
                </a:cxn>
                <a:cxn ang="0">
                  <a:pos x="0" y="7"/>
                </a:cxn>
              </a:cxnLst>
              <a:rect l="0" t="0" r="r" b="b"/>
              <a:pathLst>
                <a:path w="45" h="20">
                  <a:moveTo>
                    <a:pt x="0" y="7"/>
                  </a:moveTo>
                  <a:lnTo>
                    <a:pt x="45" y="20"/>
                  </a:lnTo>
                  <a:lnTo>
                    <a:pt x="39" y="3"/>
                  </a:lnTo>
                  <a:lnTo>
                    <a:pt x="24" y="0"/>
                  </a:lnTo>
                  <a:lnTo>
                    <a:pt x="5" y="1"/>
                  </a:lnTo>
                  <a:lnTo>
                    <a:pt x="0" y="7"/>
                  </a:lnTo>
                  <a:lnTo>
                    <a:pt x="0" y="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86" name="Freeform 6023"/>
            <p:cNvSpPr>
              <a:spLocks/>
            </p:cNvSpPr>
            <p:nvPr>
              <p:custDataLst>
                <p:tags r:id="rId332"/>
              </p:custDataLst>
            </p:nvPr>
          </p:nvSpPr>
          <p:spPr bwMode="gray">
            <a:xfrm>
              <a:off x="9196645" y="4401800"/>
              <a:ext cx="17963" cy="0"/>
            </a:xfrm>
            <a:custGeom>
              <a:avLst/>
              <a:gdLst/>
              <a:ahLst/>
              <a:cxnLst>
                <a:cxn ang="0">
                  <a:pos x="0" y="0"/>
                </a:cxn>
                <a:cxn ang="0">
                  <a:pos x="14" y="0"/>
                </a:cxn>
                <a:cxn ang="0">
                  <a:pos x="0" y="0"/>
                </a:cxn>
              </a:cxnLst>
              <a:rect l="0" t="0" r="r" b="b"/>
              <a:pathLst>
                <a:path w="14">
                  <a:moveTo>
                    <a:pt x="0" y="0"/>
                  </a:moveTo>
                  <a:lnTo>
                    <a:pt x="14"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87" name="Line 6024"/>
            <p:cNvSpPr>
              <a:spLocks noChangeShapeType="1"/>
            </p:cNvSpPr>
            <p:nvPr>
              <p:custDataLst>
                <p:tags r:id="rId333"/>
              </p:custDataLst>
            </p:nvPr>
          </p:nvSpPr>
          <p:spPr bwMode="gray">
            <a:xfrm>
              <a:off x="9196645" y="4401800"/>
              <a:ext cx="17963" cy="0"/>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88" name="Freeform 6025"/>
            <p:cNvSpPr>
              <a:spLocks/>
            </p:cNvSpPr>
            <p:nvPr>
              <p:custDataLst>
                <p:tags r:id="rId334"/>
              </p:custDataLst>
            </p:nvPr>
          </p:nvSpPr>
          <p:spPr bwMode="gray">
            <a:xfrm>
              <a:off x="9256950" y="4391524"/>
              <a:ext cx="16680" cy="7707"/>
            </a:xfrm>
            <a:custGeom>
              <a:avLst/>
              <a:gdLst/>
              <a:ahLst/>
              <a:cxnLst>
                <a:cxn ang="0">
                  <a:pos x="0" y="6"/>
                </a:cxn>
                <a:cxn ang="0">
                  <a:pos x="13" y="6"/>
                </a:cxn>
                <a:cxn ang="0">
                  <a:pos x="4" y="0"/>
                </a:cxn>
                <a:cxn ang="0">
                  <a:pos x="0" y="6"/>
                </a:cxn>
                <a:cxn ang="0">
                  <a:pos x="0" y="6"/>
                </a:cxn>
              </a:cxnLst>
              <a:rect l="0" t="0" r="r" b="b"/>
              <a:pathLst>
                <a:path w="13" h="6">
                  <a:moveTo>
                    <a:pt x="0" y="6"/>
                  </a:moveTo>
                  <a:lnTo>
                    <a:pt x="13" y="6"/>
                  </a:lnTo>
                  <a:lnTo>
                    <a:pt x="4"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89" name="Freeform 6026"/>
            <p:cNvSpPr>
              <a:spLocks/>
            </p:cNvSpPr>
            <p:nvPr>
              <p:custDataLst>
                <p:tags r:id="rId335"/>
              </p:custDataLst>
            </p:nvPr>
          </p:nvSpPr>
          <p:spPr bwMode="gray">
            <a:xfrm>
              <a:off x="9317255" y="440436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90" name="Freeform 6027"/>
            <p:cNvSpPr>
              <a:spLocks/>
            </p:cNvSpPr>
            <p:nvPr>
              <p:custDataLst>
                <p:tags r:id="rId336"/>
              </p:custDataLst>
            </p:nvPr>
          </p:nvSpPr>
          <p:spPr bwMode="gray">
            <a:xfrm>
              <a:off x="9319822" y="4360694"/>
              <a:ext cx="19246" cy="8992"/>
            </a:xfrm>
            <a:custGeom>
              <a:avLst/>
              <a:gdLst/>
              <a:ahLst/>
              <a:cxnLst>
                <a:cxn ang="0">
                  <a:pos x="0" y="2"/>
                </a:cxn>
                <a:cxn ang="0">
                  <a:pos x="7" y="7"/>
                </a:cxn>
                <a:cxn ang="0">
                  <a:pos x="15" y="4"/>
                </a:cxn>
                <a:cxn ang="0">
                  <a:pos x="7" y="0"/>
                </a:cxn>
                <a:cxn ang="0">
                  <a:pos x="0" y="2"/>
                </a:cxn>
                <a:cxn ang="0">
                  <a:pos x="0" y="2"/>
                </a:cxn>
              </a:cxnLst>
              <a:rect l="0" t="0" r="r" b="b"/>
              <a:pathLst>
                <a:path w="15" h="7">
                  <a:moveTo>
                    <a:pt x="0" y="2"/>
                  </a:moveTo>
                  <a:lnTo>
                    <a:pt x="7" y="7"/>
                  </a:lnTo>
                  <a:lnTo>
                    <a:pt x="15" y="4"/>
                  </a:lnTo>
                  <a:lnTo>
                    <a:pt x="7"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91" name="Freeform 6028"/>
            <p:cNvSpPr>
              <a:spLocks/>
            </p:cNvSpPr>
            <p:nvPr>
              <p:custDataLst>
                <p:tags r:id="rId337"/>
              </p:custDataLst>
            </p:nvPr>
          </p:nvSpPr>
          <p:spPr bwMode="gray">
            <a:xfrm>
              <a:off x="9425035" y="4377393"/>
              <a:ext cx="19246" cy="10276"/>
            </a:xfrm>
            <a:custGeom>
              <a:avLst/>
              <a:gdLst/>
              <a:ahLst/>
              <a:cxnLst>
                <a:cxn ang="0">
                  <a:pos x="0" y="0"/>
                </a:cxn>
                <a:cxn ang="0">
                  <a:pos x="8" y="8"/>
                </a:cxn>
                <a:cxn ang="0">
                  <a:pos x="15" y="8"/>
                </a:cxn>
                <a:cxn ang="0">
                  <a:pos x="10" y="0"/>
                </a:cxn>
                <a:cxn ang="0">
                  <a:pos x="0" y="0"/>
                </a:cxn>
                <a:cxn ang="0">
                  <a:pos x="0" y="0"/>
                </a:cxn>
              </a:cxnLst>
              <a:rect l="0" t="0" r="r" b="b"/>
              <a:pathLst>
                <a:path w="15" h="8">
                  <a:moveTo>
                    <a:pt x="0" y="0"/>
                  </a:moveTo>
                  <a:lnTo>
                    <a:pt x="8" y="8"/>
                  </a:lnTo>
                  <a:lnTo>
                    <a:pt x="15" y="8"/>
                  </a:lnTo>
                  <a:lnTo>
                    <a:pt x="10" y="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92" name="Freeform 6029"/>
            <p:cNvSpPr>
              <a:spLocks/>
            </p:cNvSpPr>
            <p:nvPr>
              <p:custDataLst>
                <p:tags r:id="rId338"/>
              </p:custDataLst>
            </p:nvPr>
          </p:nvSpPr>
          <p:spPr bwMode="gray">
            <a:xfrm>
              <a:off x="9074751" y="3922659"/>
              <a:ext cx="98798" cy="132310"/>
            </a:xfrm>
            <a:custGeom>
              <a:avLst/>
              <a:gdLst/>
              <a:ahLst/>
              <a:cxnLst>
                <a:cxn ang="0">
                  <a:pos x="0" y="41"/>
                </a:cxn>
                <a:cxn ang="0">
                  <a:pos x="7" y="69"/>
                </a:cxn>
                <a:cxn ang="0">
                  <a:pos x="22" y="73"/>
                </a:cxn>
                <a:cxn ang="0">
                  <a:pos x="19" y="88"/>
                </a:cxn>
                <a:cxn ang="0">
                  <a:pos x="28" y="90"/>
                </a:cxn>
                <a:cxn ang="0">
                  <a:pos x="37" y="84"/>
                </a:cxn>
                <a:cxn ang="0">
                  <a:pos x="52" y="99"/>
                </a:cxn>
                <a:cxn ang="0">
                  <a:pos x="50" y="84"/>
                </a:cxn>
                <a:cxn ang="0">
                  <a:pos x="65" y="101"/>
                </a:cxn>
                <a:cxn ang="0">
                  <a:pos x="77" y="103"/>
                </a:cxn>
                <a:cxn ang="0">
                  <a:pos x="67" y="88"/>
                </a:cxn>
                <a:cxn ang="0">
                  <a:pos x="71" y="88"/>
                </a:cxn>
                <a:cxn ang="0">
                  <a:pos x="54" y="79"/>
                </a:cxn>
                <a:cxn ang="0">
                  <a:pos x="45" y="84"/>
                </a:cxn>
                <a:cxn ang="0">
                  <a:pos x="37" y="81"/>
                </a:cxn>
                <a:cxn ang="0">
                  <a:pos x="28" y="58"/>
                </a:cxn>
                <a:cxn ang="0">
                  <a:pos x="41" y="26"/>
                </a:cxn>
                <a:cxn ang="0">
                  <a:pos x="35" y="19"/>
                </a:cxn>
                <a:cxn ang="0">
                  <a:pos x="34" y="0"/>
                </a:cxn>
                <a:cxn ang="0">
                  <a:pos x="28" y="4"/>
                </a:cxn>
                <a:cxn ang="0">
                  <a:pos x="7" y="0"/>
                </a:cxn>
                <a:cxn ang="0">
                  <a:pos x="7" y="45"/>
                </a:cxn>
                <a:cxn ang="0">
                  <a:pos x="0" y="41"/>
                </a:cxn>
                <a:cxn ang="0">
                  <a:pos x="0" y="41"/>
                </a:cxn>
              </a:cxnLst>
              <a:rect l="0" t="0" r="r" b="b"/>
              <a:pathLst>
                <a:path w="77" h="103">
                  <a:moveTo>
                    <a:pt x="0" y="41"/>
                  </a:moveTo>
                  <a:lnTo>
                    <a:pt x="7" y="69"/>
                  </a:lnTo>
                  <a:lnTo>
                    <a:pt x="22" y="73"/>
                  </a:lnTo>
                  <a:lnTo>
                    <a:pt x="19" y="88"/>
                  </a:lnTo>
                  <a:lnTo>
                    <a:pt x="28" y="90"/>
                  </a:lnTo>
                  <a:lnTo>
                    <a:pt x="37" y="84"/>
                  </a:lnTo>
                  <a:lnTo>
                    <a:pt x="52" y="99"/>
                  </a:lnTo>
                  <a:lnTo>
                    <a:pt x="50" y="84"/>
                  </a:lnTo>
                  <a:lnTo>
                    <a:pt x="65" y="101"/>
                  </a:lnTo>
                  <a:lnTo>
                    <a:pt x="77" y="103"/>
                  </a:lnTo>
                  <a:lnTo>
                    <a:pt x="67" y="88"/>
                  </a:lnTo>
                  <a:lnTo>
                    <a:pt x="71" y="88"/>
                  </a:lnTo>
                  <a:lnTo>
                    <a:pt x="54" y="79"/>
                  </a:lnTo>
                  <a:lnTo>
                    <a:pt x="45" y="84"/>
                  </a:lnTo>
                  <a:lnTo>
                    <a:pt x="37" y="81"/>
                  </a:lnTo>
                  <a:lnTo>
                    <a:pt x="28" y="58"/>
                  </a:lnTo>
                  <a:lnTo>
                    <a:pt x="41" y="26"/>
                  </a:lnTo>
                  <a:lnTo>
                    <a:pt x="35" y="19"/>
                  </a:lnTo>
                  <a:lnTo>
                    <a:pt x="34" y="0"/>
                  </a:lnTo>
                  <a:lnTo>
                    <a:pt x="28" y="4"/>
                  </a:lnTo>
                  <a:lnTo>
                    <a:pt x="7" y="0"/>
                  </a:lnTo>
                  <a:lnTo>
                    <a:pt x="7" y="45"/>
                  </a:lnTo>
                  <a:lnTo>
                    <a:pt x="0" y="41"/>
                  </a:lnTo>
                  <a:lnTo>
                    <a:pt x="0" y="4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93" name="Freeform 6030"/>
            <p:cNvSpPr>
              <a:spLocks/>
            </p:cNvSpPr>
            <p:nvPr>
              <p:custDataLst>
                <p:tags r:id="rId339"/>
              </p:custDataLst>
            </p:nvPr>
          </p:nvSpPr>
          <p:spPr bwMode="gray">
            <a:xfrm>
              <a:off x="9038824" y="4093506"/>
              <a:ext cx="47474" cy="66797"/>
            </a:xfrm>
            <a:custGeom>
              <a:avLst/>
              <a:gdLst/>
              <a:ahLst/>
              <a:cxnLst>
                <a:cxn ang="0">
                  <a:pos x="0" y="52"/>
                </a:cxn>
                <a:cxn ang="0">
                  <a:pos x="37" y="13"/>
                </a:cxn>
                <a:cxn ang="0">
                  <a:pos x="33" y="0"/>
                </a:cxn>
                <a:cxn ang="0">
                  <a:pos x="28" y="13"/>
                </a:cxn>
                <a:cxn ang="0">
                  <a:pos x="0" y="52"/>
                </a:cxn>
                <a:cxn ang="0">
                  <a:pos x="0" y="52"/>
                </a:cxn>
              </a:cxnLst>
              <a:rect l="0" t="0" r="r" b="b"/>
              <a:pathLst>
                <a:path w="37" h="52">
                  <a:moveTo>
                    <a:pt x="0" y="52"/>
                  </a:moveTo>
                  <a:lnTo>
                    <a:pt x="37" y="13"/>
                  </a:lnTo>
                  <a:lnTo>
                    <a:pt x="33" y="0"/>
                  </a:lnTo>
                  <a:lnTo>
                    <a:pt x="28" y="13"/>
                  </a:lnTo>
                  <a:lnTo>
                    <a:pt x="0" y="52"/>
                  </a:lnTo>
                  <a:lnTo>
                    <a:pt x="0" y="5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94" name="Freeform 6031"/>
            <p:cNvSpPr>
              <a:spLocks/>
            </p:cNvSpPr>
            <p:nvPr>
              <p:custDataLst>
                <p:tags r:id="rId340"/>
              </p:custDataLst>
            </p:nvPr>
          </p:nvSpPr>
          <p:spPr bwMode="gray">
            <a:xfrm>
              <a:off x="9096564" y="4043408"/>
              <a:ext cx="25662" cy="28260"/>
            </a:xfrm>
            <a:custGeom>
              <a:avLst/>
              <a:gdLst/>
              <a:ahLst/>
              <a:cxnLst>
                <a:cxn ang="0">
                  <a:pos x="0" y="0"/>
                </a:cxn>
                <a:cxn ang="0">
                  <a:pos x="13" y="22"/>
                </a:cxn>
                <a:cxn ang="0">
                  <a:pos x="20" y="15"/>
                </a:cxn>
                <a:cxn ang="0">
                  <a:pos x="18" y="7"/>
                </a:cxn>
                <a:cxn ang="0">
                  <a:pos x="13" y="2"/>
                </a:cxn>
                <a:cxn ang="0">
                  <a:pos x="0" y="0"/>
                </a:cxn>
                <a:cxn ang="0">
                  <a:pos x="0" y="0"/>
                </a:cxn>
              </a:cxnLst>
              <a:rect l="0" t="0" r="r" b="b"/>
              <a:pathLst>
                <a:path w="20" h="22">
                  <a:moveTo>
                    <a:pt x="0" y="0"/>
                  </a:moveTo>
                  <a:lnTo>
                    <a:pt x="13" y="22"/>
                  </a:lnTo>
                  <a:lnTo>
                    <a:pt x="20" y="15"/>
                  </a:lnTo>
                  <a:lnTo>
                    <a:pt x="18" y="7"/>
                  </a:lnTo>
                  <a:lnTo>
                    <a:pt x="13" y="2"/>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95" name="Freeform 6032"/>
            <p:cNvSpPr>
              <a:spLocks/>
            </p:cNvSpPr>
            <p:nvPr>
              <p:custDataLst>
                <p:tags r:id="rId341"/>
              </p:custDataLst>
            </p:nvPr>
          </p:nvSpPr>
          <p:spPr bwMode="gray">
            <a:xfrm>
              <a:off x="9177398" y="4062676"/>
              <a:ext cx="32077" cy="57805"/>
            </a:xfrm>
            <a:custGeom>
              <a:avLst/>
              <a:gdLst/>
              <a:ahLst/>
              <a:cxnLst>
                <a:cxn ang="0">
                  <a:pos x="0" y="0"/>
                </a:cxn>
                <a:cxn ang="0">
                  <a:pos x="14" y="15"/>
                </a:cxn>
                <a:cxn ang="0">
                  <a:pos x="12" y="22"/>
                </a:cxn>
                <a:cxn ang="0">
                  <a:pos x="4" y="20"/>
                </a:cxn>
                <a:cxn ang="0">
                  <a:pos x="6" y="31"/>
                </a:cxn>
                <a:cxn ang="0">
                  <a:pos x="12" y="33"/>
                </a:cxn>
                <a:cxn ang="0">
                  <a:pos x="12" y="45"/>
                </a:cxn>
                <a:cxn ang="0">
                  <a:pos x="19" y="43"/>
                </a:cxn>
                <a:cxn ang="0">
                  <a:pos x="14" y="28"/>
                </a:cxn>
                <a:cxn ang="0">
                  <a:pos x="25" y="28"/>
                </a:cxn>
                <a:cxn ang="0">
                  <a:pos x="21" y="9"/>
                </a:cxn>
                <a:cxn ang="0">
                  <a:pos x="15" y="0"/>
                </a:cxn>
                <a:cxn ang="0">
                  <a:pos x="0" y="0"/>
                </a:cxn>
                <a:cxn ang="0">
                  <a:pos x="0" y="0"/>
                </a:cxn>
              </a:cxnLst>
              <a:rect l="0" t="0" r="r" b="b"/>
              <a:pathLst>
                <a:path w="25" h="45">
                  <a:moveTo>
                    <a:pt x="0" y="0"/>
                  </a:moveTo>
                  <a:lnTo>
                    <a:pt x="14" y="15"/>
                  </a:lnTo>
                  <a:lnTo>
                    <a:pt x="12" y="22"/>
                  </a:lnTo>
                  <a:lnTo>
                    <a:pt x="4" y="20"/>
                  </a:lnTo>
                  <a:lnTo>
                    <a:pt x="6" y="31"/>
                  </a:lnTo>
                  <a:lnTo>
                    <a:pt x="12" y="33"/>
                  </a:lnTo>
                  <a:lnTo>
                    <a:pt x="12" y="45"/>
                  </a:lnTo>
                  <a:lnTo>
                    <a:pt x="19" y="43"/>
                  </a:lnTo>
                  <a:lnTo>
                    <a:pt x="14" y="28"/>
                  </a:lnTo>
                  <a:lnTo>
                    <a:pt x="25" y="28"/>
                  </a:lnTo>
                  <a:lnTo>
                    <a:pt x="21" y="9"/>
                  </a:lnTo>
                  <a:lnTo>
                    <a:pt x="15" y="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96" name="Freeform 6033"/>
            <p:cNvSpPr>
              <a:spLocks/>
            </p:cNvSpPr>
            <p:nvPr>
              <p:custDataLst>
                <p:tags r:id="rId342"/>
              </p:custDataLst>
            </p:nvPr>
          </p:nvSpPr>
          <p:spPr bwMode="gray">
            <a:xfrm>
              <a:off x="9129924" y="4079376"/>
              <a:ext cx="60305" cy="66797"/>
            </a:xfrm>
            <a:custGeom>
              <a:avLst/>
              <a:gdLst/>
              <a:ahLst/>
              <a:cxnLst>
                <a:cxn ang="0">
                  <a:pos x="2" y="24"/>
                </a:cxn>
                <a:cxn ang="0">
                  <a:pos x="17" y="26"/>
                </a:cxn>
                <a:cxn ang="0">
                  <a:pos x="19" y="33"/>
                </a:cxn>
                <a:cxn ang="0">
                  <a:pos x="11" y="39"/>
                </a:cxn>
                <a:cxn ang="0">
                  <a:pos x="22" y="52"/>
                </a:cxn>
                <a:cxn ang="0">
                  <a:pos x="28" y="48"/>
                </a:cxn>
                <a:cxn ang="0">
                  <a:pos x="24" y="39"/>
                </a:cxn>
                <a:cxn ang="0">
                  <a:pos x="30" y="43"/>
                </a:cxn>
                <a:cxn ang="0">
                  <a:pos x="34" y="35"/>
                </a:cxn>
                <a:cxn ang="0">
                  <a:pos x="37" y="43"/>
                </a:cxn>
                <a:cxn ang="0">
                  <a:pos x="47" y="41"/>
                </a:cxn>
                <a:cxn ang="0">
                  <a:pos x="45" y="32"/>
                </a:cxn>
                <a:cxn ang="0">
                  <a:pos x="36" y="32"/>
                </a:cxn>
                <a:cxn ang="0">
                  <a:pos x="36" y="15"/>
                </a:cxn>
                <a:cxn ang="0">
                  <a:pos x="26" y="26"/>
                </a:cxn>
                <a:cxn ang="0">
                  <a:pos x="21" y="5"/>
                </a:cxn>
                <a:cxn ang="0">
                  <a:pos x="11" y="5"/>
                </a:cxn>
                <a:cxn ang="0">
                  <a:pos x="9" y="2"/>
                </a:cxn>
                <a:cxn ang="0">
                  <a:pos x="0" y="0"/>
                </a:cxn>
                <a:cxn ang="0">
                  <a:pos x="2" y="24"/>
                </a:cxn>
                <a:cxn ang="0">
                  <a:pos x="2" y="24"/>
                </a:cxn>
              </a:cxnLst>
              <a:rect l="0" t="0" r="r" b="b"/>
              <a:pathLst>
                <a:path w="47" h="52">
                  <a:moveTo>
                    <a:pt x="2" y="24"/>
                  </a:moveTo>
                  <a:lnTo>
                    <a:pt x="17" y="26"/>
                  </a:lnTo>
                  <a:lnTo>
                    <a:pt x="19" y="33"/>
                  </a:lnTo>
                  <a:lnTo>
                    <a:pt x="11" y="39"/>
                  </a:lnTo>
                  <a:lnTo>
                    <a:pt x="22" y="52"/>
                  </a:lnTo>
                  <a:lnTo>
                    <a:pt x="28" y="48"/>
                  </a:lnTo>
                  <a:lnTo>
                    <a:pt x="24" y="39"/>
                  </a:lnTo>
                  <a:lnTo>
                    <a:pt x="30" y="43"/>
                  </a:lnTo>
                  <a:lnTo>
                    <a:pt x="34" y="35"/>
                  </a:lnTo>
                  <a:lnTo>
                    <a:pt x="37" y="43"/>
                  </a:lnTo>
                  <a:lnTo>
                    <a:pt x="47" y="41"/>
                  </a:lnTo>
                  <a:lnTo>
                    <a:pt x="45" y="32"/>
                  </a:lnTo>
                  <a:lnTo>
                    <a:pt x="36" y="32"/>
                  </a:lnTo>
                  <a:lnTo>
                    <a:pt x="36" y="15"/>
                  </a:lnTo>
                  <a:lnTo>
                    <a:pt x="26" y="26"/>
                  </a:lnTo>
                  <a:lnTo>
                    <a:pt x="21" y="5"/>
                  </a:lnTo>
                  <a:lnTo>
                    <a:pt x="11" y="5"/>
                  </a:lnTo>
                  <a:lnTo>
                    <a:pt x="9" y="2"/>
                  </a:lnTo>
                  <a:lnTo>
                    <a:pt x="0" y="0"/>
                  </a:lnTo>
                  <a:lnTo>
                    <a:pt x="2" y="24"/>
                  </a:lnTo>
                  <a:lnTo>
                    <a:pt x="2" y="2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97" name="Freeform 6034"/>
            <p:cNvSpPr>
              <a:spLocks/>
            </p:cNvSpPr>
            <p:nvPr>
              <p:custDataLst>
                <p:tags r:id="rId343"/>
              </p:custDataLst>
            </p:nvPr>
          </p:nvSpPr>
          <p:spPr bwMode="gray">
            <a:xfrm>
              <a:off x="9138906" y="4129473"/>
              <a:ext cx="96232" cy="98911"/>
            </a:xfrm>
            <a:custGeom>
              <a:avLst/>
              <a:gdLst/>
              <a:ahLst/>
              <a:cxnLst>
                <a:cxn ang="0">
                  <a:pos x="0" y="47"/>
                </a:cxn>
                <a:cxn ang="0">
                  <a:pos x="2" y="54"/>
                </a:cxn>
                <a:cxn ang="0">
                  <a:pos x="10" y="38"/>
                </a:cxn>
                <a:cxn ang="0">
                  <a:pos x="14" y="36"/>
                </a:cxn>
                <a:cxn ang="0">
                  <a:pos x="15" y="43"/>
                </a:cxn>
                <a:cxn ang="0">
                  <a:pos x="27" y="36"/>
                </a:cxn>
                <a:cxn ang="0">
                  <a:pos x="34" y="39"/>
                </a:cxn>
                <a:cxn ang="0">
                  <a:pos x="38" y="43"/>
                </a:cxn>
                <a:cxn ang="0">
                  <a:pos x="34" y="60"/>
                </a:cxn>
                <a:cxn ang="0">
                  <a:pos x="59" y="77"/>
                </a:cxn>
                <a:cxn ang="0">
                  <a:pos x="64" y="68"/>
                </a:cxn>
                <a:cxn ang="0">
                  <a:pos x="55" y="54"/>
                </a:cxn>
                <a:cxn ang="0">
                  <a:pos x="59" y="51"/>
                </a:cxn>
                <a:cxn ang="0">
                  <a:pos x="62" y="43"/>
                </a:cxn>
                <a:cxn ang="0">
                  <a:pos x="70" y="62"/>
                </a:cxn>
                <a:cxn ang="0">
                  <a:pos x="75" y="45"/>
                </a:cxn>
                <a:cxn ang="0">
                  <a:pos x="70" y="17"/>
                </a:cxn>
                <a:cxn ang="0">
                  <a:pos x="53" y="0"/>
                </a:cxn>
                <a:cxn ang="0">
                  <a:pos x="55" y="11"/>
                </a:cxn>
                <a:cxn ang="0">
                  <a:pos x="51" y="17"/>
                </a:cxn>
                <a:cxn ang="0">
                  <a:pos x="45" y="13"/>
                </a:cxn>
                <a:cxn ang="0">
                  <a:pos x="44" y="23"/>
                </a:cxn>
                <a:cxn ang="0">
                  <a:pos x="30" y="30"/>
                </a:cxn>
                <a:cxn ang="0">
                  <a:pos x="29" y="23"/>
                </a:cxn>
                <a:cxn ang="0">
                  <a:pos x="17" y="23"/>
                </a:cxn>
                <a:cxn ang="0">
                  <a:pos x="2" y="36"/>
                </a:cxn>
                <a:cxn ang="0">
                  <a:pos x="0" y="47"/>
                </a:cxn>
                <a:cxn ang="0">
                  <a:pos x="0" y="47"/>
                </a:cxn>
              </a:cxnLst>
              <a:rect l="0" t="0" r="r" b="b"/>
              <a:pathLst>
                <a:path w="75" h="77">
                  <a:moveTo>
                    <a:pt x="0" y="47"/>
                  </a:moveTo>
                  <a:lnTo>
                    <a:pt x="2" y="54"/>
                  </a:lnTo>
                  <a:lnTo>
                    <a:pt x="10" y="38"/>
                  </a:lnTo>
                  <a:lnTo>
                    <a:pt x="14" y="36"/>
                  </a:lnTo>
                  <a:lnTo>
                    <a:pt x="15" y="43"/>
                  </a:lnTo>
                  <a:lnTo>
                    <a:pt x="27" y="36"/>
                  </a:lnTo>
                  <a:lnTo>
                    <a:pt x="34" y="39"/>
                  </a:lnTo>
                  <a:lnTo>
                    <a:pt x="38" y="43"/>
                  </a:lnTo>
                  <a:lnTo>
                    <a:pt x="34" y="60"/>
                  </a:lnTo>
                  <a:lnTo>
                    <a:pt x="59" y="77"/>
                  </a:lnTo>
                  <a:lnTo>
                    <a:pt x="64" y="68"/>
                  </a:lnTo>
                  <a:lnTo>
                    <a:pt x="55" y="54"/>
                  </a:lnTo>
                  <a:lnTo>
                    <a:pt x="59" y="51"/>
                  </a:lnTo>
                  <a:lnTo>
                    <a:pt x="62" y="43"/>
                  </a:lnTo>
                  <a:lnTo>
                    <a:pt x="70" y="62"/>
                  </a:lnTo>
                  <a:lnTo>
                    <a:pt x="75" y="45"/>
                  </a:lnTo>
                  <a:lnTo>
                    <a:pt x="70" y="17"/>
                  </a:lnTo>
                  <a:lnTo>
                    <a:pt x="53" y="0"/>
                  </a:lnTo>
                  <a:lnTo>
                    <a:pt x="55" y="11"/>
                  </a:lnTo>
                  <a:lnTo>
                    <a:pt x="51" y="17"/>
                  </a:lnTo>
                  <a:lnTo>
                    <a:pt x="45" y="13"/>
                  </a:lnTo>
                  <a:lnTo>
                    <a:pt x="44" y="23"/>
                  </a:lnTo>
                  <a:lnTo>
                    <a:pt x="30" y="30"/>
                  </a:lnTo>
                  <a:lnTo>
                    <a:pt x="29" y="23"/>
                  </a:lnTo>
                  <a:lnTo>
                    <a:pt x="17" y="23"/>
                  </a:lnTo>
                  <a:lnTo>
                    <a:pt x="2" y="36"/>
                  </a:lnTo>
                  <a:lnTo>
                    <a:pt x="0" y="47"/>
                  </a:lnTo>
                  <a:lnTo>
                    <a:pt x="0" y="4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98" name="Freeform 6035"/>
            <p:cNvSpPr>
              <a:spLocks/>
            </p:cNvSpPr>
            <p:nvPr>
              <p:custDataLst>
                <p:tags r:id="rId344"/>
              </p:custDataLst>
            </p:nvPr>
          </p:nvSpPr>
          <p:spPr bwMode="gray">
            <a:xfrm>
              <a:off x="9689352" y="4459605"/>
              <a:ext cx="89816" cy="47529"/>
            </a:xfrm>
            <a:custGeom>
              <a:avLst/>
              <a:gdLst/>
              <a:ahLst/>
              <a:cxnLst>
                <a:cxn ang="0">
                  <a:pos x="0" y="24"/>
                </a:cxn>
                <a:cxn ang="0">
                  <a:pos x="15" y="37"/>
                </a:cxn>
                <a:cxn ang="0">
                  <a:pos x="38" y="37"/>
                </a:cxn>
                <a:cxn ang="0">
                  <a:pos x="62" y="26"/>
                </a:cxn>
                <a:cxn ang="0">
                  <a:pos x="70" y="9"/>
                </a:cxn>
                <a:cxn ang="0">
                  <a:pos x="68" y="0"/>
                </a:cxn>
                <a:cxn ang="0">
                  <a:pos x="55" y="0"/>
                </a:cxn>
                <a:cxn ang="0">
                  <a:pos x="57" y="13"/>
                </a:cxn>
                <a:cxn ang="0">
                  <a:pos x="51" y="13"/>
                </a:cxn>
                <a:cxn ang="0">
                  <a:pos x="43" y="24"/>
                </a:cxn>
                <a:cxn ang="0">
                  <a:pos x="0" y="24"/>
                </a:cxn>
                <a:cxn ang="0">
                  <a:pos x="0" y="24"/>
                </a:cxn>
              </a:cxnLst>
              <a:rect l="0" t="0" r="r" b="b"/>
              <a:pathLst>
                <a:path w="70" h="37">
                  <a:moveTo>
                    <a:pt x="0" y="24"/>
                  </a:moveTo>
                  <a:lnTo>
                    <a:pt x="15" y="37"/>
                  </a:lnTo>
                  <a:lnTo>
                    <a:pt x="38" y="37"/>
                  </a:lnTo>
                  <a:lnTo>
                    <a:pt x="62" y="26"/>
                  </a:lnTo>
                  <a:lnTo>
                    <a:pt x="70" y="9"/>
                  </a:lnTo>
                  <a:lnTo>
                    <a:pt x="68" y="0"/>
                  </a:lnTo>
                  <a:lnTo>
                    <a:pt x="55" y="0"/>
                  </a:lnTo>
                  <a:lnTo>
                    <a:pt x="57" y="13"/>
                  </a:lnTo>
                  <a:lnTo>
                    <a:pt x="51" y="13"/>
                  </a:lnTo>
                  <a:lnTo>
                    <a:pt x="43" y="24"/>
                  </a:lnTo>
                  <a:lnTo>
                    <a:pt x="0" y="24"/>
                  </a:lnTo>
                  <a:lnTo>
                    <a:pt x="0" y="2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699" name="Freeform 6036"/>
            <p:cNvSpPr>
              <a:spLocks/>
            </p:cNvSpPr>
            <p:nvPr>
              <p:custDataLst>
                <p:tags r:id="rId345"/>
              </p:custDataLst>
            </p:nvPr>
          </p:nvSpPr>
          <p:spPr bwMode="gray">
            <a:xfrm>
              <a:off x="9661124" y="4408223"/>
              <a:ext cx="8982" cy="0"/>
            </a:xfrm>
            <a:custGeom>
              <a:avLst/>
              <a:gdLst/>
              <a:ahLst/>
              <a:cxnLst>
                <a:cxn ang="0">
                  <a:pos x="0" y="0"/>
                </a:cxn>
                <a:cxn ang="0">
                  <a:pos x="7" y="0"/>
                </a:cxn>
                <a:cxn ang="0">
                  <a:pos x="0" y="0"/>
                </a:cxn>
              </a:cxnLst>
              <a:rect l="0" t="0" r="r" b="b"/>
              <a:pathLst>
                <a:path w="7">
                  <a:moveTo>
                    <a:pt x="0" y="0"/>
                  </a:moveTo>
                  <a:lnTo>
                    <a:pt x="7"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00" name="Line 6037"/>
            <p:cNvSpPr>
              <a:spLocks noChangeShapeType="1"/>
            </p:cNvSpPr>
            <p:nvPr>
              <p:custDataLst>
                <p:tags r:id="rId346"/>
              </p:custDataLst>
            </p:nvPr>
          </p:nvSpPr>
          <p:spPr bwMode="gray">
            <a:xfrm>
              <a:off x="9661124" y="4408223"/>
              <a:ext cx="8982" cy="0"/>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01" name="Freeform 6038"/>
            <p:cNvSpPr>
              <a:spLocks/>
            </p:cNvSpPr>
            <p:nvPr>
              <p:custDataLst>
                <p:tags r:id="rId347"/>
              </p:custDataLst>
            </p:nvPr>
          </p:nvSpPr>
          <p:spPr bwMode="gray">
            <a:xfrm>
              <a:off x="9747091" y="4421068"/>
              <a:ext cx="43625" cy="55236"/>
            </a:xfrm>
            <a:custGeom>
              <a:avLst/>
              <a:gdLst/>
              <a:ahLst/>
              <a:cxnLst>
                <a:cxn ang="0">
                  <a:pos x="0" y="0"/>
                </a:cxn>
                <a:cxn ang="0">
                  <a:pos x="23" y="20"/>
                </a:cxn>
                <a:cxn ang="0">
                  <a:pos x="32" y="43"/>
                </a:cxn>
                <a:cxn ang="0">
                  <a:pos x="34" y="24"/>
                </a:cxn>
                <a:cxn ang="0">
                  <a:pos x="12" y="5"/>
                </a:cxn>
                <a:cxn ang="0">
                  <a:pos x="0" y="0"/>
                </a:cxn>
                <a:cxn ang="0">
                  <a:pos x="0" y="0"/>
                </a:cxn>
              </a:cxnLst>
              <a:rect l="0" t="0" r="r" b="b"/>
              <a:pathLst>
                <a:path w="34" h="43">
                  <a:moveTo>
                    <a:pt x="0" y="0"/>
                  </a:moveTo>
                  <a:lnTo>
                    <a:pt x="23" y="20"/>
                  </a:lnTo>
                  <a:lnTo>
                    <a:pt x="32" y="43"/>
                  </a:lnTo>
                  <a:lnTo>
                    <a:pt x="34" y="24"/>
                  </a:lnTo>
                  <a:lnTo>
                    <a:pt x="12" y="5"/>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02" name="Freeform 6059"/>
            <p:cNvSpPr>
              <a:spLocks/>
            </p:cNvSpPr>
            <p:nvPr>
              <p:custDataLst>
                <p:tags r:id="rId348"/>
              </p:custDataLst>
            </p:nvPr>
          </p:nvSpPr>
          <p:spPr bwMode="gray">
            <a:xfrm>
              <a:off x="9783018" y="510702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03" name="Freeform 6060"/>
            <p:cNvSpPr>
              <a:spLocks/>
            </p:cNvSpPr>
            <p:nvPr>
              <p:custDataLst>
                <p:tags r:id="rId349"/>
              </p:custDataLst>
            </p:nvPr>
          </p:nvSpPr>
          <p:spPr bwMode="gray">
            <a:xfrm>
              <a:off x="10071714" y="5396049"/>
              <a:ext cx="16680" cy="8992"/>
            </a:xfrm>
            <a:custGeom>
              <a:avLst/>
              <a:gdLst/>
              <a:ahLst/>
              <a:cxnLst>
                <a:cxn ang="0">
                  <a:pos x="2" y="0"/>
                </a:cxn>
                <a:cxn ang="0">
                  <a:pos x="6" y="1"/>
                </a:cxn>
                <a:cxn ang="0">
                  <a:pos x="0" y="7"/>
                </a:cxn>
                <a:cxn ang="0">
                  <a:pos x="13" y="0"/>
                </a:cxn>
                <a:cxn ang="0">
                  <a:pos x="2" y="0"/>
                </a:cxn>
                <a:cxn ang="0">
                  <a:pos x="2" y="0"/>
                </a:cxn>
              </a:cxnLst>
              <a:rect l="0" t="0" r="r" b="b"/>
              <a:pathLst>
                <a:path w="13" h="7">
                  <a:moveTo>
                    <a:pt x="2" y="0"/>
                  </a:moveTo>
                  <a:lnTo>
                    <a:pt x="6" y="1"/>
                  </a:lnTo>
                  <a:lnTo>
                    <a:pt x="0" y="7"/>
                  </a:lnTo>
                  <a:lnTo>
                    <a:pt x="13" y="0"/>
                  </a:lnTo>
                  <a:lnTo>
                    <a:pt x="2" y="0"/>
                  </a:lnTo>
                  <a:lnTo>
                    <a:pt x="2"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04" name="Freeform 6062"/>
            <p:cNvSpPr>
              <a:spLocks/>
            </p:cNvSpPr>
            <p:nvPr>
              <p:custDataLst>
                <p:tags r:id="rId350"/>
              </p:custDataLst>
            </p:nvPr>
          </p:nvSpPr>
          <p:spPr bwMode="gray">
            <a:xfrm>
              <a:off x="9876684" y="55322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05" name="Freeform 6073"/>
            <p:cNvSpPr>
              <a:spLocks/>
            </p:cNvSpPr>
            <p:nvPr>
              <p:custDataLst>
                <p:tags r:id="rId351"/>
              </p:custDataLst>
            </p:nvPr>
          </p:nvSpPr>
          <p:spPr bwMode="gray">
            <a:xfrm>
              <a:off x="9336502" y="428875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06" name="Freeform 6074"/>
            <p:cNvSpPr>
              <a:spLocks/>
            </p:cNvSpPr>
            <p:nvPr>
              <p:custDataLst>
                <p:tags r:id="rId352"/>
              </p:custDataLst>
            </p:nvPr>
          </p:nvSpPr>
          <p:spPr bwMode="gray">
            <a:xfrm>
              <a:off x="9358314" y="425664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07" name="Freeform 6075"/>
            <p:cNvSpPr>
              <a:spLocks/>
            </p:cNvSpPr>
            <p:nvPr>
              <p:custDataLst>
                <p:tags r:id="rId353"/>
              </p:custDataLst>
            </p:nvPr>
          </p:nvSpPr>
          <p:spPr bwMode="gray">
            <a:xfrm>
              <a:off x="9355748" y="423352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08" name="Freeform 6076"/>
            <p:cNvSpPr>
              <a:spLocks/>
            </p:cNvSpPr>
            <p:nvPr>
              <p:custDataLst>
                <p:tags r:id="rId354"/>
              </p:custDataLst>
            </p:nvPr>
          </p:nvSpPr>
          <p:spPr bwMode="gray">
            <a:xfrm>
              <a:off x="9394241" y="419755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09" name="Freeform 6077"/>
            <p:cNvSpPr>
              <a:spLocks/>
            </p:cNvSpPr>
            <p:nvPr>
              <p:custDataLst>
                <p:tags r:id="rId355"/>
              </p:custDataLst>
            </p:nvPr>
          </p:nvSpPr>
          <p:spPr bwMode="gray">
            <a:xfrm>
              <a:off x="9396807" y="419498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10" name="Freeform 6078"/>
            <p:cNvSpPr>
              <a:spLocks/>
            </p:cNvSpPr>
            <p:nvPr>
              <p:custDataLst>
                <p:tags r:id="rId356"/>
              </p:custDataLst>
            </p:nvPr>
          </p:nvSpPr>
          <p:spPr bwMode="gray">
            <a:xfrm>
              <a:off x="9401940" y="418214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11" name="Freeform 6079"/>
            <p:cNvSpPr>
              <a:spLocks/>
            </p:cNvSpPr>
            <p:nvPr>
              <p:custDataLst>
                <p:tags r:id="rId357"/>
              </p:custDataLst>
            </p:nvPr>
          </p:nvSpPr>
          <p:spPr bwMode="gray">
            <a:xfrm>
              <a:off x="9473793" y="41346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12" name="Freeform 6080"/>
            <p:cNvSpPr>
              <a:spLocks/>
            </p:cNvSpPr>
            <p:nvPr>
              <p:custDataLst>
                <p:tags r:id="rId358"/>
              </p:custDataLst>
            </p:nvPr>
          </p:nvSpPr>
          <p:spPr bwMode="gray">
            <a:xfrm>
              <a:off x="9502021" y="412176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13" name="Freeform 6095"/>
            <p:cNvSpPr>
              <a:spLocks/>
            </p:cNvSpPr>
            <p:nvPr>
              <p:custDataLst>
                <p:tags r:id="rId359"/>
              </p:custDataLst>
            </p:nvPr>
          </p:nvSpPr>
          <p:spPr bwMode="gray">
            <a:xfrm>
              <a:off x="5251135" y="3032460"/>
              <a:ext cx="23096" cy="16699"/>
            </a:xfrm>
            <a:custGeom>
              <a:avLst/>
              <a:gdLst/>
              <a:ahLst/>
              <a:cxnLst>
                <a:cxn ang="0">
                  <a:pos x="3" y="5"/>
                </a:cxn>
                <a:cxn ang="0">
                  <a:pos x="13" y="4"/>
                </a:cxn>
                <a:cxn ang="0">
                  <a:pos x="0" y="11"/>
                </a:cxn>
                <a:cxn ang="0">
                  <a:pos x="13" y="7"/>
                </a:cxn>
                <a:cxn ang="0">
                  <a:pos x="9" y="13"/>
                </a:cxn>
                <a:cxn ang="0">
                  <a:pos x="18" y="0"/>
                </a:cxn>
                <a:cxn ang="0">
                  <a:pos x="3" y="5"/>
                </a:cxn>
                <a:cxn ang="0">
                  <a:pos x="3" y="5"/>
                </a:cxn>
              </a:cxnLst>
              <a:rect l="0" t="0" r="r" b="b"/>
              <a:pathLst>
                <a:path w="18" h="13">
                  <a:moveTo>
                    <a:pt x="3" y="5"/>
                  </a:moveTo>
                  <a:lnTo>
                    <a:pt x="13" y="4"/>
                  </a:lnTo>
                  <a:lnTo>
                    <a:pt x="0" y="11"/>
                  </a:lnTo>
                  <a:lnTo>
                    <a:pt x="13" y="7"/>
                  </a:lnTo>
                  <a:lnTo>
                    <a:pt x="9" y="13"/>
                  </a:lnTo>
                  <a:lnTo>
                    <a:pt x="18" y="0"/>
                  </a:lnTo>
                  <a:lnTo>
                    <a:pt x="3" y="5"/>
                  </a:lnTo>
                  <a:lnTo>
                    <a:pt x="3"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14" name="Freeform 6096"/>
            <p:cNvSpPr>
              <a:spLocks/>
            </p:cNvSpPr>
            <p:nvPr>
              <p:custDataLst>
                <p:tags r:id="rId360"/>
              </p:custDataLst>
            </p:nvPr>
          </p:nvSpPr>
          <p:spPr bwMode="gray">
            <a:xfrm>
              <a:off x="5176716" y="3109533"/>
              <a:ext cx="19246" cy="8992"/>
            </a:xfrm>
            <a:custGeom>
              <a:avLst/>
              <a:gdLst/>
              <a:ahLst/>
              <a:cxnLst>
                <a:cxn ang="0">
                  <a:pos x="0" y="2"/>
                </a:cxn>
                <a:cxn ang="0">
                  <a:pos x="15" y="7"/>
                </a:cxn>
                <a:cxn ang="0">
                  <a:pos x="15" y="0"/>
                </a:cxn>
                <a:cxn ang="0">
                  <a:pos x="0" y="2"/>
                </a:cxn>
                <a:cxn ang="0">
                  <a:pos x="0" y="2"/>
                </a:cxn>
              </a:cxnLst>
              <a:rect l="0" t="0" r="r" b="b"/>
              <a:pathLst>
                <a:path w="15" h="7">
                  <a:moveTo>
                    <a:pt x="0" y="2"/>
                  </a:moveTo>
                  <a:lnTo>
                    <a:pt x="15" y="7"/>
                  </a:lnTo>
                  <a:lnTo>
                    <a:pt x="15"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15" name="Freeform 6099"/>
            <p:cNvSpPr>
              <a:spLocks/>
            </p:cNvSpPr>
            <p:nvPr>
              <p:custDataLst>
                <p:tags r:id="rId361"/>
              </p:custDataLst>
            </p:nvPr>
          </p:nvSpPr>
          <p:spPr bwMode="gray">
            <a:xfrm>
              <a:off x="9441715" y="319046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16" name="Freeform 6100"/>
            <p:cNvSpPr>
              <a:spLocks/>
            </p:cNvSpPr>
            <p:nvPr>
              <p:custDataLst>
                <p:tags r:id="rId362"/>
              </p:custDataLst>
            </p:nvPr>
          </p:nvSpPr>
          <p:spPr bwMode="gray">
            <a:xfrm>
              <a:off x="9132490" y="3082558"/>
              <a:ext cx="156537" cy="192684"/>
            </a:xfrm>
            <a:custGeom>
              <a:avLst/>
              <a:gdLst/>
              <a:ahLst/>
              <a:cxnLst>
                <a:cxn ang="0">
                  <a:pos x="5" y="17"/>
                </a:cxn>
                <a:cxn ang="0">
                  <a:pos x="82" y="113"/>
                </a:cxn>
                <a:cxn ang="0">
                  <a:pos x="93" y="137"/>
                </a:cxn>
                <a:cxn ang="0">
                  <a:pos x="105" y="150"/>
                </a:cxn>
                <a:cxn ang="0">
                  <a:pos x="105" y="137"/>
                </a:cxn>
                <a:cxn ang="0">
                  <a:pos x="122" y="143"/>
                </a:cxn>
                <a:cxn ang="0">
                  <a:pos x="84" y="105"/>
                </a:cxn>
                <a:cxn ang="0">
                  <a:pos x="80" y="88"/>
                </a:cxn>
                <a:cxn ang="0">
                  <a:pos x="99" y="92"/>
                </a:cxn>
                <a:cxn ang="0">
                  <a:pos x="11" y="6"/>
                </a:cxn>
                <a:cxn ang="0">
                  <a:pos x="0" y="0"/>
                </a:cxn>
                <a:cxn ang="0">
                  <a:pos x="9" y="8"/>
                </a:cxn>
                <a:cxn ang="0">
                  <a:pos x="5" y="17"/>
                </a:cxn>
                <a:cxn ang="0">
                  <a:pos x="5" y="17"/>
                </a:cxn>
              </a:cxnLst>
              <a:rect l="0" t="0" r="r" b="b"/>
              <a:pathLst>
                <a:path w="122" h="150">
                  <a:moveTo>
                    <a:pt x="5" y="17"/>
                  </a:moveTo>
                  <a:lnTo>
                    <a:pt x="82" y="113"/>
                  </a:lnTo>
                  <a:lnTo>
                    <a:pt x="93" y="137"/>
                  </a:lnTo>
                  <a:lnTo>
                    <a:pt x="105" y="150"/>
                  </a:lnTo>
                  <a:lnTo>
                    <a:pt x="105" y="137"/>
                  </a:lnTo>
                  <a:lnTo>
                    <a:pt x="122" y="143"/>
                  </a:lnTo>
                  <a:lnTo>
                    <a:pt x="84" y="105"/>
                  </a:lnTo>
                  <a:lnTo>
                    <a:pt x="80" y="88"/>
                  </a:lnTo>
                  <a:lnTo>
                    <a:pt x="99" y="92"/>
                  </a:lnTo>
                  <a:lnTo>
                    <a:pt x="11" y="6"/>
                  </a:lnTo>
                  <a:lnTo>
                    <a:pt x="0" y="0"/>
                  </a:lnTo>
                  <a:lnTo>
                    <a:pt x="9" y="8"/>
                  </a:lnTo>
                  <a:lnTo>
                    <a:pt x="5" y="17"/>
                  </a:lnTo>
                  <a:lnTo>
                    <a:pt x="5"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17" name="Freeform 6101"/>
            <p:cNvSpPr>
              <a:spLocks/>
            </p:cNvSpPr>
            <p:nvPr>
              <p:custDataLst>
                <p:tags r:id="rId363"/>
              </p:custDataLst>
            </p:nvPr>
          </p:nvSpPr>
          <p:spPr bwMode="gray">
            <a:xfrm>
              <a:off x="6815225" y="334974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18" name="Freeform 6102"/>
            <p:cNvSpPr>
              <a:spLocks/>
            </p:cNvSpPr>
            <p:nvPr>
              <p:custDataLst>
                <p:tags r:id="rId364"/>
              </p:custDataLst>
            </p:nvPr>
          </p:nvSpPr>
          <p:spPr bwMode="gray">
            <a:xfrm>
              <a:off x="7144980" y="351802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19" name="Freeform 6103"/>
            <p:cNvSpPr>
              <a:spLocks/>
            </p:cNvSpPr>
            <p:nvPr>
              <p:custDataLst>
                <p:tags r:id="rId365"/>
              </p:custDataLst>
            </p:nvPr>
          </p:nvSpPr>
          <p:spPr bwMode="gray">
            <a:xfrm>
              <a:off x="7153961" y="3496186"/>
              <a:ext cx="10265" cy="15415"/>
            </a:xfrm>
            <a:custGeom>
              <a:avLst/>
              <a:gdLst/>
              <a:ahLst/>
              <a:cxnLst>
                <a:cxn ang="0">
                  <a:pos x="0" y="6"/>
                </a:cxn>
                <a:cxn ang="0">
                  <a:pos x="2" y="12"/>
                </a:cxn>
                <a:cxn ang="0">
                  <a:pos x="8" y="0"/>
                </a:cxn>
                <a:cxn ang="0">
                  <a:pos x="0" y="6"/>
                </a:cxn>
                <a:cxn ang="0">
                  <a:pos x="0" y="6"/>
                </a:cxn>
              </a:cxnLst>
              <a:rect l="0" t="0" r="r" b="b"/>
              <a:pathLst>
                <a:path w="8" h="12">
                  <a:moveTo>
                    <a:pt x="0" y="6"/>
                  </a:moveTo>
                  <a:lnTo>
                    <a:pt x="2" y="12"/>
                  </a:lnTo>
                  <a:lnTo>
                    <a:pt x="8"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20" name="Freeform 6104"/>
            <p:cNvSpPr>
              <a:spLocks/>
            </p:cNvSpPr>
            <p:nvPr>
              <p:custDataLst>
                <p:tags r:id="rId366"/>
              </p:custDataLst>
            </p:nvPr>
          </p:nvSpPr>
          <p:spPr bwMode="gray">
            <a:xfrm>
              <a:off x="7092373" y="349233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21" name="Freeform 6105"/>
            <p:cNvSpPr>
              <a:spLocks/>
            </p:cNvSpPr>
            <p:nvPr>
              <p:custDataLst>
                <p:tags r:id="rId367"/>
              </p:custDataLst>
            </p:nvPr>
          </p:nvSpPr>
          <p:spPr bwMode="gray">
            <a:xfrm>
              <a:off x="7109053" y="348462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22" name="Freeform 6106"/>
            <p:cNvSpPr>
              <a:spLocks/>
            </p:cNvSpPr>
            <p:nvPr>
              <p:custDataLst>
                <p:tags r:id="rId368"/>
              </p:custDataLst>
            </p:nvPr>
          </p:nvSpPr>
          <p:spPr bwMode="gray">
            <a:xfrm>
              <a:off x="7101355" y="347049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23" name="Freeform 6107"/>
            <p:cNvSpPr>
              <a:spLocks/>
            </p:cNvSpPr>
            <p:nvPr>
              <p:custDataLst>
                <p:tags r:id="rId369"/>
              </p:custDataLst>
            </p:nvPr>
          </p:nvSpPr>
          <p:spPr bwMode="gray">
            <a:xfrm>
              <a:off x="7115469" y="3431958"/>
              <a:ext cx="7699" cy="2569"/>
            </a:xfrm>
            <a:custGeom>
              <a:avLst/>
              <a:gdLst/>
              <a:ahLst/>
              <a:cxnLst>
                <a:cxn ang="0">
                  <a:pos x="0" y="0"/>
                </a:cxn>
                <a:cxn ang="0">
                  <a:pos x="6" y="2"/>
                </a:cxn>
                <a:cxn ang="0">
                  <a:pos x="0" y="0"/>
                </a:cxn>
              </a:cxnLst>
              <a:rect l="0" t="0" r="r" b="b"/>
              <a:pathLst>
                <a:path w="6" h="2">
                  <a:moveTo>
                    <a:pt x="0" y="0"/>
                  </a:moveTo>
                  <a:lnTo>
                    <a:pt x="6" y="2"/>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24" name="Line 6108"/>
            <p:cNvSpPr>
              <a:spLocks noChangeShapeType="1"/>
            </p:cNvSpPr>
            <p:nvPr>
              <p:custDataLst>
                <p:tags r:id="rId370"/>
              </p:custDataLst>
            </p:nvPr>
          </p:nvSpPr>
          <p:spPr bwMode="gray">
            <a:xfrm>
              <a:off x="7115469" y="3431958"/>
              <a:ext cx="7699" cy="2569"/>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25" name="Freeform 6109"/>
            <p:cNvSpPr>
              <a:spLocks/>
            </p:cNvSpPr>
            <p:nvPr>
              <p:custDataLst>
                <p:tags r:id="rId371"/>
              </p:custDataLst>
            </p:nvPr>
          </p:nvSpPr>
          <p:spPr bwMode="gray">
            <a:xfrm>
              <a:off x="7118035" y="3448657"/>
              <a:ext cx="0" cy="5138"/>
            </a:xfrm>
            <a:custGeom>
              <a:avLst/>
              <a:gdLst/>
              <a:ahLst/>
              <a:cxnLst>
                <a:cxn ang="0">
                  <a:pos x="0" y="0"/>
                </a:cxn>
                <a:cxn ang="0">
                  <a:pos x="0" y="4"/>
                </a:cxn>
                <a:cxn ang="0">
                  <a:pos x="0" y="0"/>
                </a:cxn>
              </a:cxnLst>
              <a:rect l="0" t="0" r="r" b="b"/>
              <a:pathLst>
                <a:path h="4">
                  <a:moveTo>
                    <a:pt x="0" y="0"/>
                  </a:moveTo>
                  <a:lnTo>
                    <a:pt x="0" y="4"/>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26" name="Line 6110"/>
            <p:cNvSpPr>
              <a:spLocks noChangeShapeType="1"/>
            </p:cNvSpPr>
            <p:nvPr>
              <p:custDataLst>
                <p:tags r:id="rId372"/>
              </p:custDataLst>
            </p:nvPr>
          </p:nvSpPr>
          <p:spPr bwMode="gray">
            <a:xfrm>
              <a:off x="7118035" y="3448657"/>
              <a:ext cx="0" cy="5138"/>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27" name="Freeform 6111"/>
            <p:cNvSpPr>
              <a:spLocks/>
            </p:cNvSpPr>
            <p:nvPr>
              <p:custDataLst>
                <p:tags r:id="rId373"/>
              </p:custDataLst>
            </p:nvPr>
          </p:nvSpPr>
          <p:spPr bwMode="gray">
            <a:xfrm>
              <a:off x="7132149" y="346535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28" name="Freeform 6112"/>
            <p:cNvSpPr>
              <a:spLocks/>
            </p:cNvSpPr>
            <p:nvPr>
              <p:custDataLst>
                <p:tags r:id="rId374"/>
              </p:custDataLst>
            </p:nvPr>
          </p:nvSpPr>
          <p:spPr bwMode="gray">
            <a:xfrm>
              <a:off x="6717232" y="43351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29" name="Freeform 6113"/>
            <p:cNvSpPr>
              <a:spLocks/>
            </p:cNvSpPr>
            <p:nvPr>
              <p:custDataLst>
                <p:tags r:id="rId375"/>
              </p:custDataLst>
            </p:nvPr>
          </p:nvSpPr>
          <p:spPr bwMode="gray">
            <a:xfrm>
              <a:off x="6758291" y="4251605"/>
              <a:ext cx="10265" cy="8992"/>
            </a:xfrm>
            <a:custGeom>
              <a:avLst/>
              <a:gdLst/>
              <a:ahLst/>
              <a:cxnLst>
                <a:cxn ang="0">
                  <a:pos x="0" y="7"/>
                </a:cxn>
                <a:cxn ang="0">
                  <a:pos x="4" y="7"/>
                </a:cxn>
                <a:cxn ang="0">
                  <a:pos x="8" y="1"/>
                </a:cxn>
                <a:cxn ang="0">
                  <a:pos x="4" y="0"/>
                </a:cxn>
                <a:cxn ang="0">
                  <a:pos x="0" y="7"/>
                </a:cxn>
                <a:cxn ang="0">
                  <a:pos x="0" y="7"/>
                </a:cxn>
              </a:cxnLst>
              <a:rect l="0" t="0" r="r" b="b"/>
              <a:pathLst>
                <a:path w="8" h="7">
                  <a:moveTo>
                    <a:pt x="0" y="7"/>
                  </a:moveTo>
                  <a:lnTo>
                    <a:pt x="4" y="7"/>
                  </a:lnTo>
                  <a:lnTo>
                    <a:pt x="8" y="1"/>
                  </a:lnTo>
                  <a:lnTo>
                    <a:pt x="4" y="0"/>
                  </a:lnTo>
                  <a:lnTo>
                    <a:pt x="0" y="7"/>
                  </a:lnTo>
                  <a:lnTo>
                    <a:pt x="0" y="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30" name="Freeform 6114"/>
            <p:cNvSpPr>
              <a:spLocks/>
            </p:cNvSpPr>
            <p:nvPr>
              <p:custDataLst>
                <p:tags r:id="rId376"/>
              </p:custDataLst>
            </p:nvPr>
          </p:nvSpPr>
          <p:spPr bwMode="gray">
            <a:xfrm>
              <a:off x="9298009" y="4627882"/>
              <a:ext cx="30794" cy="16699"/>
            </a:xfrm>
            <a:custGeom>
              <a:avLst/>
              <a:gdLst/>
              <a:ahLst/>
              <a:cxnLst>
                <a:cxn ang="0">
                  <a:pos x="0" y="9"/>
                </a:cxn>
                <a:cxn ang="0">
                  <a:pos x="15" y="13"/>
                </a:cxn>
                <a:cxn ang="0">
                  <a:pos x="24" y="6"/>
                </a:cxn>
                <a:cxn ang="0">
                  <a:pos x="23" y="0"/>
                </a:cxn>
                <a:cxn ang="0">
                  <a:pos x="8" y="0"/>
                </a:cxn>
                <a:cxn ang="0">
                  <a:pos x="0" y="9"/>
                </a:cxn>
                <a:cxn ang="0">
                  <a:pos x="0" y="9"/>
                </a:cxn>
              </a:cxnLst>
              <a:rect l="0" t="0" r="r" b="b"/>
              <a:pathLst>
                <a:path w="24" h="13">
                  <a:moveTo>
                    <a:pt x="0" y="9"/>
                  </a:moveTo>
                  <a:lnTo>
                    <a:pt x="15" y="13"/>
                  </a:lnTo>
                  <a:lnTo>
                    <a:pt x="24" y="6"/>
                  </a:lnTo>
                  <a:lnTo>
                    <a:pt x="23" y="0"/>
                  </a:lnTo>
                  <a:lnTo>
                    <a:pt x="8" y="0"/>
                  </a:lnTo>
                  <a:lnTo>
                    <a:pt x="0" y="9"/>
                  </a:lnTo>
                  <a:lnTo>
                    <a:pt x="0" y="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31" name="Freeform 6115"/>
            <p:cNvSpPr>
              <a:spLocks/>
            </p:cNvSpPr>
            <p:nvPr>
              <p:custDataLst>
                <p:tags r:id="rId377"/>
              </p:custDataLst>
            </p:nvPr>
          </p:nvSpPr>
          <p:spPr bwMode="gray">
            <a:xfrm>
              <a:off x="9165851" y="4558516"/>
              <a:ext cx="82118" cy="47529"/>
            </a:xfrm>
            <a:custGeom>
              <a:avLst/>
              <a:gdLst/>
              <a:ahLst/>
              <a:cxnLst>
                <a:cxn ang="0">
                  <a:pos x="0" y="37"/>
                </a:cxn>
                <a:cxn ang="0">
                  <a:pos x="17" y="31"/>
                </a:cxn>
                <a:cxn ang="0">
                  <a:pos x="32" y="16"/>
                </a:cxn>
                <a:cxn ang="0">
                  <a:pos x="64" y="0"/>
                </a:cxn>
                <a:cxn ang="0">
                  <a:pos x="28" y="5"/>
                </a:cxn>
                <a:cxn ang="0">
                  <a:pos x="8" y="18"/>
                </a:cxn>
                <a:cxn ang="0">
                  <a:pos x="0" y="37"/>
                </a:cxn>
                <a:cxn ang="0">
                  <a:pos x="0" y="37"/>
                </a:cxn>
              </a:cxnLst>
              <a:rect l="0" t="0" r="r" b="b"/>
              <a:pathLst>
                <a:path w="64" h="37">
                  <a:moveTo>
                    <a:pt x="0" y="37"/>
                  </a:moveTo>
                  <a:lnTo>
                    <a:pt x="17" y="31"/>
                  </a:lnTo>
                  <a:lnTo>
                    <a:pt x="32" y="16"/>
                  </a:lnTo>
                  <a:lnTo>
                    <a:pt x="64" y="0"/>
                  </a:lnTo>
                  <a:lnTo>
                    <a:pt x="28" y="5"/>
                  </a:lnTo>
                  <a:lnTo>
                    <a:pt x="8" y="18"/>
                  </a:lnTo>
                  <a:lnTo>
                    <a:pt x="0" y="37"/>
                  </a:lnTo>
                  <a:lnTo>
                    <a:pt x="0" y="3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32" name="Freeform 6116"/>
            <p:cNvSpPr>
              <a:spLocks/>
            </p:cNvSpPr>
            <p:nvPr>
              <p:custDataLst>
                <p:tags r:id="rId378"/>
              </p:custDataLst>
            </p:nvPr>
          </p:nvSpPr>
          <p:spPr bwMode="gray">
            <a:xfrm>
              <a:off x="9100413" y="42373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33" name="Freeform 6117"/>
            <p:cNvSpPr>
              <a:spLocks/>
            </p:cNvSpPr>
            <p:nvPr>
              <p:custDataLst>
                <p:tags r:id="rId379"/>
              </p:custDataLst>
            </p:nvPr>
          </p:nvSpPr>
          <p:spPr bwMode="gray">
            <a:xfrm>
              <a:off x="9122225" y="421810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34" name="Freeform 6118"/>
            <p:cNvSpPr>
              <a:spLocks/>
            </p:cNvSpPr>
            <p:nvPr>
              <p:custDataLst>
                <p:tags r:id="rId380"/>
              </p:custDataLst>
            </p:nvPr>
          </p:nvSpPr>
          <p:spPr bwMode="gray">
            <a:xfrm>
              <a:off x="5072785" y="3275242"/>
              <a:ext cx="26945" cy="10276"/>
            </a:xfrm>
            <a:custGeom>
              <a:avLst/>
              <a:gdLst/>
              <a:ahLst/>
              <a:cxnLst>
                <a:cxn ang="0">
                  <a:pos x="0" y="0"/>
                </a:cxn>
                <a:cxn ang="0">
                  <a:pos x="15" y="8"/>
                </a:cxn>
                <a:cxn ang="0">
                  <a:pos x="21" y="0"/>
                </a:cxn>
                <a:cxn ang="0">
                  <a:pos x="0" y="0"/>
                </a:cxn>
                <a:cxn ang="0">
                  <a:pos x="0" y="0"/>
                </a:cxn>
              </a:cxnLst>
              <a:rect l="0" t="0" r="r" b="b"/>
              <a:pathLst>
                <a:path w="21" h="8">
                  <a:moveTo>
                    <a:pt x="0" y="0"/>
                  </a:moveTo>
                  <a:lnTo>
                    <a:pt x="15" y="8"/>
                  </a:lnTo>
                  <a:lnTo>
                    <a:pt x="21" y="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35" name="Freeform 6119"/>
            <p:cNvSpPr>
              <a:spLocks/>
            </p:cNvSpPr>
            <p:nvPr>
              <p:custDataLst>
                <p:tags r:id="rId381"/>
              </p:custDataLst>
            </p:nvPr>
          </p:nvSpPr>
          <p:spPr bwMode="gray">
            <a:xfrm>
              <a:off x="7402403" y="448667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36" name="Freeform 6120"/>
            <p:cNvSpPr>
              <a:spLocks/>
            </p:cNvSpPr>
            <p:nvPr>
              <p:custDataLst>
                <p:tags r:id="rId382"/>
              </p:custDataLst>
            </p:nvPr>
          </p:nvSpPr>
          <p:spPr bwMode="gray">
            <a:xfrm>
              <a:off x="9031126" y="3063289"/>
              <a:ext cx="12831" cy="12846"/>
            </a:xfrm>
            <a:custGeom>
              <a:avLst/>
              <a:gdLst/>
              <a:ahLst/>
              <a:cxnLst>
                <a:cxn ang="0">
                  <a:pos x="2" y="6"/>
                </a:cxn>
                <a:cxn ang="0">
                  <a:pos x="10" y="10"/>
                </a:cxn>
                <a:cxn ang="0">
                  <a:pos x="10" y="4"/>
                </a:cxn>
                <a:cxn ang="0">
                  <a:pos x="0" y="0"/>
                </a:cxn>
                <a:cxn ang="0">
                  <a:pos x="2" y="6"/>
                </a:cxn>
                <a:cxn ang="0">
                  <a:pos x="2" y="6"/>
                </a:cxn>
              </a:cxnLst>
              <a:rect l="0" t="0" r="r" b="b"/>
              <a:pathLst>
                <a:path w="10" h="10">
                  <a:moveTo>
                    <a:pt x="2" y="6"/>
                  </a:moveTo>
                  <a:lnTo>
                    <a:pt x="10" y="10"/>
                  </a:lnTo>
                  <a:lnTo>
                    <a:pt x="10" y="4"/>
                  </a:lnTo>
                  <a:lnTo>
                    <a:pt x="0" y="0"/>
                  </a:lnTo>
                  <a:lnTo>
                    <a:pt x="2" y="6"/>
                  </a:lnTo>
                  <a:lnTo>
                    <a:pt x="2"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37" name="Freeform 6121"/>
            <p:cNvSpPr>
              <a:spLocks/>
            </p:cNvSpPr>
            <p:nvPr>
              <p:custDataLst>
                <p:tags r:id="rId383"/>
              </p:custDataLst>
            </p:nvPr>
          </p:nvSpPr>
          <p:spPr bwMode="gray">
            <a:xfrm>
              <a:off x="6584268" y="298107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38" name="Freeform 6122"/>
            <p:cNvSpPr>
              <a:spLocks/>
            </p:cNvSpPr>
            <p:nvPr>
              <p:custDataLst>
                <p:tags r:id="rId384"/>
              </p:custDataLst>
            </p:nvPr>
          </p:nvSpPr>
          <p:spPr bwMode="gray">
            <a:xfrm>
              <a:off x="6810092" y="3054297"/>
              <a:ext cx="12831" cy="11561"/>
            </a:xfrm>
            <a:custGeom>
              <a:avLst/>
              <a:gdLst/>
              <a:ahLst/>
              <a:cxnLst>
                <a:cxn ang="0">
                  <a:pos x="0" y="2"/>
                </a:cxn>
                <a:cxn ang="0">
                  <a:pos x="0" y="9"/>
                </a:cxn>
                <a:cxn ang="0">
                  <a:pos x="10" y="9"/>
                </a:cxn>
                <a:cxn ang="0">
                  <a:pos x="4" y="0"/>
                </a:cxn>
                <a:cxn ang="0">
                  <a:pos x="0" y="2"/>
                </a:cxn>
                <a:cxn ang="0">
                  <a:pos x="0" y="2"/>
                </a:cxn>
              </a:cxnLst>
              <a:rect l="0" t="0" r="r" b="b"/>
              <a:pathLst>
                <a:path w="10" h="9">
                  <a:moveTo>
                    <a:pt x="0" y="2"/>
                  </a:moveTo>
                  <a:lnTo>
                    <a:pt x="0" y="9"/>
                  </a:lnTo>
                  <a:lnTo>
                    <a:pt x="10" y="9"/>
                  </a:lnTo>
                  <a:lnTo>
                    <a:pt x="4"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39" name="Freeform 6123"/>
            <p:cNvSpPr>
              <a:spLocks/>
            </p:cNvSpPr>
            <p:nvPr>
              <p:custDataLst>
                <p:tags r:id="rId385"/>
              </p:custDataLst>
            </p:nvPr>
          </p:nvSpPr>
          <p:spPr bwMode="gray">
            <a:xfrm>
              <a:off x="6826773" y="3041452"/>
              <a:ext cx="26945" cy="21838"/>
            </a:xfrm>
            <a:custGeom>
              <a:avLst/>
              <a:gdLst/>
              <a:ahLst/>
              <a:cxnLst>
                <a:cxn ang="0">
                  <a:pos x="0" y="8"/>
                </a:cxn>
                <a:cxn ang="0">
                  <a:pos x="4" y="15"/>
                </a:cxn>
                <a:cxn ang="0">
                  <a:pos x="12" y="17"/>
                </a:cxn>
                <a:cxn ang="0">
                  <a:pos x="19" y="15"/>
                </a:cxn>
                <a:cxn ang="0">
                  <a:pos x="15" y="12"/>
                </a:cxn>
                <a:cxn ang="0">
                  <a:pos x="21" y="8"/>
                </a:cxn>
                <a:cxn ang="0">
                  <a:pos x="19" y="0"/>
                </a:cxn>
                <a:cxn ang="0">
                  <a:pos x="0" y="8"/>
                </a:cxn>
                <a:cxn ang="0">
                  <a:pos x="0" y="8"/>
                </a:cxn>
              </a:cxnLst>
              <a:rect l="0" t="0" r="r" b="b"/>
              <a:pathLst>
                <a:path w="21" h="17">
                  <a:moveTo>
                    <a:pt x="0" y="8"/>
                  </a:moveTo>
                  <a:lnTo>
                    <a:pt x="4" y="15"/>
                  </a:lnTo>
                  <a:lnTo>
                    <a:pt x="12" y="17"/>
                  </a:lnTo>
                  <a:lnTo>
                    <a:pt x="19" y="15"/>
                  </a:lnTo>
                  <a:lnTo>
                    <a:pt x="15" y="12"/>
                  </a:lnTo>
                  <a:lnTo>
                    <a:pt x="21" y="8"/>
                  </a:lnTo>
                  <a:lnTo>
                    <a:pt x="19" y="0"/>
                  </a:lnTo>
                  <a:lnTo>
                    <a:pt x="0" y="8"/>
                  </a:lnTo>
                  <a:lnTo>
                    <a:pt x="0" y="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40" name="Freeform 6124"/>
            <p:cNvSpPr>
              <a:spLocks/>
            </p:cNvSpPr>
            <p:nvPr>
              <p:custDataLst>
                <p:tags r:id="rId386"/>
              </p:custDataLst>
            </p:nvPr>
          </p:nvSpPr>
          <p:spPr bwMode="gray">
            <a:xfrm>
              <a:off x="6826773" y="3070997"/>
              <a:ext cx="19246" cy="5138"/>
            </a:xfrm>
            <a:custGeom>
              <a:avLst/>
              <a:gdLst/>
              <a:ahLst/>
              <a:cxnLst>
                <a:cxn ang="0">
                  <a:pos x="0" y="0"/>
                </a:cxn>
                <a:cxn ang="0">
                  <a:pos x="4" y="4"/>
                </a:cxn>
                <a:cxn ang="0">
                  <a:pos x="15" y="0"/>
                </a:cxn>
                <a:cxn ang="0">
                  <a:pos x="0" y="0"/>
                </a:cxn>
                <a:cxn ang="0">
                  <a:pos x="0" y="0"/>
                </a:cxn>
              </a:cxnLst>
              <a:rect l="0" t="0" r="r" b="b"/>
              <a:pathLst>
                <a:path w="15" h="4">
                  <a:moveTo>
                    <a:pt x="0" y="0"/>
                  </a:moveTo>
                  <a:lnTo>
                    <a:pt x="4" y="4"/>
                  </a:lnTo>
                  <a:lnTo>
                    <a:pt x="15" y="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41" name="Freeform 6125"/>
            <p:cNvSpPr>
              <a:spLocks/>
            </p:cNvSpPr>
            <p:nvPr>
              <p:custDataLst>
                <p:tags r:id="rId387"/>
              </p:custDataLst>
            </p:nvPr>
          </p:nvSpPr>
          <p:spPr bwMode="gray">
            <a:xfrm>
              <a:off x="6894777" y="306585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42" name="Freeform 6126"/>
            <p:cNvSpPr>
              <a:spLocks/>
            </p:cNvSpPr>
            <p:nvPr>
              <p:custDataLst>
                <p:tags r:id="rId388"/>
              </p:custDataLst>
            </p:nvPr>
          </p:nvSpPr>
          <p:spPr bwMode="gray">
            <a:xfrm>
              <a:off x="7132954" y="5013348"/>
              <a:ext cx="48758" cy="48813"/>
            </a:xfrm>
            <a:custGeom>
              <a:avLst/>
              <a:gdLst/>
              <a:ahLst/>
              <a:cxnLst>
                <a:cxn ang="0">
                  <a:pos x="38" y="15"/>
                </a:cxn>
                <a:cxn ang="0">
                  <a:pos x="32" y="27"/>
                </a:cxn>
                <a:cxn ang="0">
                  <a:pos x="12" y="38"/>
                </a:cxn>
                <a:cxn ang="0">
                  <a:pos x="0" y="21"/>
                </a:cxn>
                <a:cxn ang="0">
                  <a:pos x="21" y="0"/>
                </a:cxn>
                <a:cxn ang="0">
                  <a:pos x="30" y="2"/>
                </a:cxn>
                <a:cxn ang="0">
                  <a:pos x="38" y="15"/>
                </a:cxn>
                <a:cxn ang="0">
                  <a:pos x="38" y="15"/>
                </a:cxn>
              </a:cxnLst>
              <a:rect l="0" t="0" r="r" b="b"/>
              <a:pathLst>
                <a:path w="38" h="38">
                  <a:moveTo>
                    <a:pt x="38" y="15"/>
                  </a:moveTo>
                  <a:lnTo>
                    <a:pt x="32" y="27"/>
                  </a:lnTo>
                  <a:lnTo>
                    <a:pt x="12" y="38"/>
                  </a:lnTo>
                  <a:lnTo>
                    <a:pt x="0" y="21"/>
                  </a:lnTo>
                  <a:lnTo>
                    <a:pt x="21" y="0"/>
                  </a:lnTo>
                  <a:lnTo>
                    <a:pt x="30" y="2"/>
                  </a:lnTo>
                  <a:lnTo>
                    <a:pt x="38" y="15"/>
                  </a:lnTo>
                  <a:lnTo>
                    <a:pt x="38"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43" name="Freeform 6127"/>
            <p:cNvSpPr>
              <a:spLocks/>
            </p:cNvSpPr>
            <p:nvPr>
              <p:custDataLst>
                <p:tags r:id="rId389"/>
              </p:custDataLst>
            </p:nvPr>
          </p:nvSpPr>
          <p:spPr bwMode="gray">
            <a:xfrm>
              <a:off x="5113844" y="3515454"/>
              <a:ext cx="14114" cy="12846"/>
            </a:xfrm>
            <a:custGeom>
              <a:avLst/>
              <a:gdLst/>
              <a:ahLst/>
              <a:cxnLst>
                <a:cxn ang="0">
                  <a:pos x="0" y="10"/>
                </a:cxn>
                <a:cxn ang="0">
                  <a:pos x="11" y="0"/>
                </a:cxn>
                <a:cxn ang="0">
                  <a:pos x="0" y="10"/>
                </a:cxn>
              </a:cxnLst>
              <a:rect l="0" t="0" r="r" b="b"/>
              <a:pathLst>
                <a:path w="11" h="10">
                  <a:moveTo>
                    <a:pt x="0" y="10"/>
                  </a:moveTo>
                  <a:lnTo>
                    <a:pt x="11" y="0"/>
                  </a:lnTo>
                  <a:lnTo>
                    <a:pt x="0" y="1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44" name="Line 6128"/>
            <p:cNvSpPr>
              <a:spLocks noChangeShapeType="1"/>
            </p:cNvSpPr>
            <p:nvPr>
              <p:custDataLst>
                <p:tags r:id="rId390"/>
              </p:custDataLst>
            </p:nvPr>
          </p:nvSpPr>
          <p:spPr bwMode="gray">
            <a:xfrm flipV="1">
              <a:off x="5113844" y="3515454"/>
              <a:ext cx="14114" cy="12846"/>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45" name="Freeform 6129"/>
            <p:cNvSpPr>
              <a:spLocks/>
            </p:cNvSpPr>
            <p:nvPr>
              <p:custDataLst>
                <p:tags r:id="rId391"/>
              </p:custDataLst>
            </p:nvPr>
          </p:nvSpPr>
          <p:spPr bwMode="gray">
            <a:xfrm>
              <a:off x="8928478" y="3828887"/>
              <a:ext cx="14114" cy="7707"/>
            </a:xfrm>
            <a:custGeom>
              <a:avLst/>
              <a:gdLst/>
              <a:ahLst/>
              <a:cxnLst>
                <a:cxn ang="0">
                  <a:pos x="0" y="0"/>
                </a:cxn>
                <a:cxn ang="0">
                  <a:pos x="1" y="6"/>
                </a:cxn>
                <a:cxn ang="0">
                  <a:pos x="11" y="6"/>
                </a:cxn>
                <a:cxn ang="0">
                  <a:pos x="11" y="0"/>
                </a:cxn>
                <a:cxn ang="0">
                  <a:pos x="0" y="0"/>
                </a:cxn>
              </a:cxnLst>
              <a:rect l="0" t="0" r="r" b="b"/>
              <a:pathLst>
                <a:path w="11" h="6">
                  <a:moveTo>
                    <a:pt x="0" y="0"/>
                  </a:moveTo>
                  <a:lnTo>
                    <a:pt x="1" y="6"/>
                  </a:lnTo>
                  <a:lnTo>
                    <a:pt x="11" y="6"/>
                  </a:lnTo>
                  <a:lnTo>
                    <a:pt x="11"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46" name="Freeform 6130"/>
            <p:cNvSpPr>
              <a:spLocks/>
            </p:cNvSpPr>
            <p:nvPr>
              <p:custDataLst>
                <p:tags r:id="rId392"/>
              </p:custDataLst>
            </p:nvPr>
          </p:nvSpPr>
          <p:spPr bwMode="gray">
            <a:xfrm>
              <a:off x="8928478" y="3828887"/>
              <a:ext cx="14114" cy="7707"/>
            </a:xfrm>
            <a:custGeom>
              <a:avLst/>
              <a:gdLst/>
              <a:ahLst/>
              <a:cxnLst>
                <a:cxn ang="0">
                  <a:pos x="0" y="0"/>
                </a:cxn>
                <a:cxn ang="0">
                  <a:pos x="1" y="6"/>
                </a:cxn>
                <a:cxn ang="0">
                  <a:pos x="11" y="6"/>
                </a:cxn>
                <a:cxn ang="0">
                  <a:pos x="11" y="0"/>
                </a:cxn>
              </a:cxnLst>
              <a:rect l="0" t="0" r="r" b="b"/>
              <a:pathLst>
                <a:path w="11" h="6">
                  <a:moveTo>
                    <a:pt x="0" y="0"/>
                  </a:moveTo>
                  <a:lnTo>
                    <a:pt x="1" y="6"/>
                  </a:lnTo>
                  <a:lnTo>
                    <a:pt x="11" y="6"/>
                  </a:lnTo>
                  <a:lnTo>
                    <a:pt x="11" y="0"/>
                  </a:lnTo>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47" name="Freeform 6131"/>
            <p:cNvSpPr>
              <a:spLocks/>
            </p:cNvSpPr>
            <p:nvPr>
              <p:custDataLst>
                <p:tags r:id="rId393"/>
              </p:custDataLst>
            </p:nvPr>
          </p:nvSpPr>
          <p:spPr bwMode="gray">
            <a:xfrm>
              <a:off x="8928478" y="3828887"/>
              <a:ext cx="14114" cy="0"/>
            </a:xfrm>
            <a:custGeom>
              <a:avLst/>
              <a:gdLst/>
              <a:ahLst/>
              <a:cxnLst>
                <a:cxn ang="0">
                  <a:pos x="11" y="0"/>
                </a:cxn>
                <a:cxn ang="0">
                  <a:pos x="0" y="0"/>
                </a:cxn>
                <a:cxn ang="0">
                  <a:pos x="11" y="0"/>
                </a:cxn>
              </a:cxnLst>
              <a:rect l="0" t="0" r="r" b="b"/>
              <a:pathLst>
                <a:path w="11">
                  <a:moveTo>
                    <a:pt x="11" y="0"/>
                  </a:moveTo>
                  <a:lnTo>
                    <a:pt x="0" y="0"/>
                  </a:lnTo>
                  <a:lnTo>
                    <a:pt x="11"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48" name="Line 6132"/>
            <p:cNvSpPr>
              <a:spLocks noChangeShapeType="1"/>
            </p:cNvSpPr>
            <p:nvPr>
              <p:custDataLst>
                <p:tags r:id="rId394"/>
              </p:custDataLst>
            </p:nvPr>
          </p:nvSpPr>
          <p:spPr bwMode="gray">
            <a:xfrm flipH="1">
              <a:off x="8928478" y="3828887"/>
              <a:ext cx="14114" cy="0"/>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49" name="Freeform 6133"/>
            <p:cNvSpPr>
              <a:spLocks/>
            </p:cNvSpPr>
            <p:nvPr>
              <p:custDataLst>
                <p:tags r:id="rId395"/>
              </p:custDataLst>
            </p:nvPr>
          </p:nvSpPr>
          <p:spPr bwMode="gray">
            <a:xfrm>
              <a:off x="6445694" y="3065858"/>
              <a:ext cx="80835" cy="79643"/>
            </a:xfrm>
            <a:custGeom>
              <a:avLst/>
              <a:gdLst/>
              <a:ahLst/>
              <a:cxnLst>
                <a:cxn ang="0">
                  <a:pos x="39" y="9"/>
                </a:cxn>
                <a:cxn ang="0">
                  <a:pos x="46" y="17"/>
                </a:cxn>
                <a:cxn ang="0">
                  <a:pos x="60" y="11"/>
                </a:cxn>
                <a:cxn ang="0">
                  <a:pos x="63" y="19"/>
                </a:cxn>
                <a:cxn ang="0">
                  <a:pos x="63" y="36"/>
                </a:cxn>
                <a:cxn ang="0">
                  <a:pos x="56" y="51"/>
                </a:cxn>
                <a:cxn ang="0">
                  <a:pos x="9" y="62"/>
                </a:cxn>
                <a:cxn ang="0">
                  <a:pos x="0" y="51"/>
                </a:cxn>
                <a:cxn ang="0">
                  <a:pos x="9" y="51"/>
                </a:cxn>
                <a:cxn ang="0">
                  <a:pos x="22" y="34"/>
                </a:cxn>
                <a:cxn ang="0">
                  <a:pos x="7" y="28"/>
                </a:cxn>
                <a:cxn ang="0">
                  <a:pos x="17" y="23"/>
                </a:cxn>
                <a:cxn ang="0">
                  <a:pos x="9" y="19"/>
                </a:cxn>
                <a:cxn ang="0">
                  <a:pos x="13" y="13"/>
                </a:cxn>
                <a:cxn ang="0">
                  <a:pos x="30" y="13"/>
                </a:cxn>
                <a:cxn ang="0">
                  <a:pos x="35" y="9"/>
                </a:cxn>
                <a:cxn ang="0">
                  <a:pos x="30" y="8"/>
                </a:cxn>
                <a:cxn ang="0">
                  <a:pos x="35" y="0"/>
                </a:cxn>
                <a:cxn ang="0">
                  <a:pos x="45" y="0"/>
                </a:cxn>
                <a:cxn ang="0">
                  <a:pos x="39" y="9"/>
                </a:cxn>
                <a:cxn ang="0">
                  <a:pos x="39" y="9"/>
                </a:cxn>
              </a:cxnLst>
              <a:rect l="0" t="0" r="r" b="b"/>
              <a:pathLst>
                <a:path w="63" h="62">
                  <a:moveTo>
                    <a:pt x="39" y="9"/>
                  </a:moveTo>
                  <a:lnTo>
                    <a:pt x="46" y="17"/>
                  </a:lnTo>
                  <a:lnTo>
                    <a:pt x="60" y="11"/>
                  </a:lnTo>
                  <a:lnTo>
                    <a:pt x="63" y="19"/>
                  </a:lnTo>
                  <a:lnTo>
                    <a:pt x="63" y="36"/>
                  </a:lnTo>
                  <a:lnTo>
                    <a:pt x="56" y="51"/>
                  </a:lnTo>
                  <a:lnTo>
                    <a:pt x="9" y="62"/>
                  </a:lnTo>
                  <a:lnTo>
                    <a:pt x="0" y="51"/>
                  </a:lnTo>
                  <a:lnTo>
                    <a:pt x="9" y="51"/>
                  </a:lnTo>
                  <a:lnTo>
                    <a:pt x="22" y="34"/>
                  </a:lnTo>
                  <a:lnTo>
                    <a:pt x="7" y="28"/>
                  </a:lnTo>
                  <a:lnTo>
                    <a:pt x="17" y="23"/>
                  </a:lnTo>
                  <a:lnTo>
                    <a:pt x="9" y="19"/>
                  </a:lnTo>
                  <a:lnTo>
                    <a:pt x="13" y="13"/>
                  </a:lnTo>
                  <a:lnTo>
                    <a:pt x="30" y="13"/>
                  </a:lnTo>
                  <a:lnTo>
                    <a:pt x="35" y="9"/>
                  </a:lnTo>
                  <a:lnTo>
                    <a:pt x="30" y="8"/>
                  </a:lnTo>
                  <a:lnTo>
                    <a:pt x="35" y="0"/>
                  </a:lnTo>
                  <a:lnTo>
                    <a:pt x="45" y="0"/>
                  </a:lnTo>
                  <a:lnTo>
                    <a:pt x="39" y="9"/>
                  </a:lnTo>
                  <a:lnTo>
                    <a:pt x="39" y="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50" name="Freeform 6134"/>
            <p:cNvSpPr>
              <a:spLocks/>
            </p:cNvSpPr>
            <p:nvPr>
              <p:custDataLst>
                <p:tags r:id="rId396"/>
              </p:custDataLst>
            </p:nvPr>
          </p:nvSpPr>
          <p:spPr bwMode="gray">
            <a:xfrm>
              <a:off x="6694614" y="3096688"/>
              <a:ext cx="68004" cy="65513"/>
            </a:xfrm>
            <a:custGeom>
              <a:avLst/>
              <a:gdLst/>
              <a:ahLst/>
              <a:cxnLst>
                <a:cxn ang="0">
                  <a:pos x="0" y="40"/>
                </a:cxn>
                <a:cxn ang="0">
                  <a:pos x="17" y="15"/>
                </a:cxn>
                <a:cxn ang="0">
                  <a:pos x="21" y="14"/>
                </a:cxn>
                <a:cxn ang="0">
                  <a:pos x="21" y="21"/>
                </a:cxn>
                <a:cxn ang="0">
                  <a:pos x="27" y="25"/>
                </a:cxn>
                <a:cxn ang="0">
                  <a:pos x="32" y="21"/>
                </a:cxn>
                <a:cxn ang="0">
                  <a:pos x="27" y="8"/>
                </a:cxn>
                <a:cxn ang="0">
                  <a:pos x="53" y="0"/>
                </a:cxn>
                <a:cxn ang="0">
                  <a:pos x="44" y="19"/>
                </a:cxn>
                <a:cxn ang="0">
                  <a:pos x="47" y="25"/>
                </a:cxn>
                <a:cxn ang="0">
                  <a:pos x="32" y="32"/>
                </a:cxn>
                <a:cxn ang="0">
                  <a:pos x="32" y="51"/>
                </a:cxn>
                <a:cxn ang="0">
                  <a:pos x="21" y="40"/>
                </a:cxn>
                <a:cxn ang="0">
                  <a:pos x="21" y="40"/>
                </a:cxn>
                <a:cxn ang="0">
                  <a:pos x="0" y="40"/>
                </a:cxn>
                <a:cxn ang="0">
                  <a:pos x="0" y="40"/>
                </a:cxn>
                <a:cxn ang="0">
                  <a:pos x="0" y="40"/>
                </a:cxn>
              </a:cxnLst>
              <a:rect l="0" t="0" r="r" b="b"/>
              <a:pathLst>
                <a:path w="53" h="51">
                  <a:moveTo>
                    <a:pt x="0" y="40"/>
                  </a:moveTo>
                  <a:lnTo>
                    <a:pt x="17" y="15"/>
                  </a:lnTo>
                  <a:lnTo>
                    <a:pt x="21" y="14"/>
                  </a:lnTo>
                  <a:lnTo>
                    <a:pt x="21" y="21"/>
                  </a:lnTo>
                  <a:lnTo>
                    <a:pt x="27" y="25"/>
                  </a:lnTo>
                  <a:lnTo>
                    <a:pt x="32" y="21"/>
                  </a:lnTo>
                  <a:lnTo>
                    <a:pt x="27" y="8"/>
                  </a:lnTo>
                  <a:lnTo>
                    <a:pt x="53" y="0"/>
                  </a:lnTo>
                  <a:lnTo>
                    <a:pt x="44" y="19"/>
                  </a:lnTo>
                  <a:lnTo>
                    <a:pt x="47" y="25"/>
                  </a:lnTo>
                  <a:lnTo>
                    <a:pt x="32" y="32"/>
                  </a:lnTo>
                  <a:lnTo>
                    <a:pt x="32" y="51"/>
                  </a:lnTo>
                  <a:lnTo>
                    <a:pt x="21" y="40"/>
                  </a:lnTo>
                  <a:lnTo>
                    <a:pt x="21" y="40"/>
                  </a:lnTo>
                  <a:lnTo>
                    <a:pt x="0" y="40"/>
                  </a:lnTo>
                  <a:lnTo>
                    <a:pt x="0" y="40"/>
                  </a:lnTo>
                  <a:lnTo>
                    <a:pt x="0" y="4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51" name="Freeform 6135"/>
            <p:cNvSpPr>
              <a:spLocks/>
            </p:cNvSpPr>
            <p:nvPr>
              <p:custDataLst>
                <p:tags r:id="rId397"/>
              </p:custDataLst>
            </p:nvPr>
          </p:nvSpPr>
          <p:spPr bwMode="gray">
            <a:xfrm>
              <a:off x="6933269" y="3178900"/>
              <a:ext cx="101364" cy="52667"/>
            </a:xfrm>
            <a:custGeom>
              <a:avLst/>
              <a:gdLst/>
              <a:ahLst/>
              <a:cxnLst>
                <a:cxn ang="0">
                  <a:pos x="0" y="23"/>
                </a:cxn>
                <a:cxn ang="0">
                  <a:pos x="6" y="36"/>
                </a:cxn>
                <a:cxn ang="0">
                  <a:pos x="21" y="41"/>
                </a:cxn>
                <a:cxn ang="0">
                  <a:pos x="56" y="26"/>
                </a:cxn>
                <a:cxn ang="0">
                  <a:pos x="75" y="28"/>
                </a:cxn>
                <a:cxn ang="0">
                  <a:pos x="79" y="17"/>
                </a:cxn>
                <a:cxn ang="0">
                  <a:pos x="65" y="11"/>
                </a:cxn>
                <a:cxn ang="0">
                  <a:pos x="45" y="15"/>
                </a:cxn>
                <a:cxn ang="0">
                  <a:pos x="17" y="0"/>
                </a:cxn>
                <a:cxn ang="0">
                  <a:pos x="0" y="23"/>
                </a:cxn>
                <a:cxn ang="0">
                  <a:pos x="0" y="23"/>
                </a:cxn>
              </a:cxnLst>
              <a:rect l="0" t="0" r="r" b="b"/>
              <a:pathLst>
                <a:path w="79" h="41">
                  <a:moveTo>
                    <a:pt x="0" y="23"/>
                  </a:moveTo>
                  <a:lnTo>
                    <a:pt x="6" y="36"/>
                  </a:lnTo>
                  <a:lnTo>
                    <a:pt x="21" y="41"/>
                  </a:lnTo>
                  <a:lnTo>
                    <a:pt x="56" y="26"/>
                  </a:lnTo>
                  <a:lnTo>
                    <a:pt x="75" y="28"/>
                  </a:lnTo>
                  <a:lnTo>
                    <a:pt x="79" y="17"/>
                  </a:lnTo>
                  <a:lnTo>
                    <a:pt x="65" y="11"/>
                  </a:lnTo>
                  <a:lnTo>
                    <a:pt x="45" y="15"/>
                  </a:lnTo>
                  <a:lnTo>
                    <a:pt x="17" y="0"/>
                  </a:lnTo>
                  <a:lnTo>
                    <a:pt x="0" y="23"/>
                  </a:lnTo>
                  <a:lnTo>
                    <a:pt x="0" y="2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52" name="Freeform 6136"/>
            <p:cNvSpPr>
              <a:spLocks/>
            </p:cNvSpPr>
            <p:nvPr>
              <p:custDataLst>
                <p:tags r:id="rId398"/>
              </p:custDataLst>
            </p:nvPr>
          </p:nvSpPr>
          <p:spPr bwMode="gray">
            <a:xfrm>
              <a:off x="6844736" y="3151924"/>
              <a:ext cx="110346" cy="57805"/>
            </a:xfrm>
            <a:custGeom>
              <a:avLst/>
              <a:gdLst/>
              <a:ahLst/>
              <a:cxnLst>
                <a:cxn ang="0">
                  <a:pos x="86" y="21"/>
                </a:cxn>
                <a:cxn ang="0">
                  <a:pos x="69" y="14"/>
                </a:cxn>
                <a:cxn ang="0">
                  <a:pos x="67" y="19"/>
                </a:cxn>
                <a:cxn ang="0">
                  <a:pos x="52" y="8"/>
                </a:cxn>
                <a:cxn ang="0">
                  <a:pos x="37" y="6"/>
                </a:cxn>
                <a:cxn ang="0">
                  <a:pos x="31" y="0"/>
                </a:cxn>
                <a:cxn ang="0">
                  <a:pos x="0" y="15"/>
                </a:cxn>
                <a:cxn ang="0">
                  <a:pos x="7" y="30"/>
                </a:cxn>
                <a:cxn ang="0">
                  <a:pos x="26" y="44"/>
                </a:cxn>
                <a:cxn ang="0">
                  <a:pos x="39" y="45"/>
                </a:cxn>
                <a:cxn ang="0">
                  <a:pos x="45" y="40"/>
                </a:cxn>
                <a:cxn ang="0">
                  <a:pos x="69" y="44"/>
                </a:cxn>
                <a:cxn ang="0">
                  <a:pos x="86" y="21"/>
                </a:cxn>
                <a:cxn ang="0">
                  <a:pos x="86" y="21"/>
                </a:cxn>
              </a:cxnLst>
              <a:rect l="0" t="0" r="r" b="b"/>
              <a:pathLst>
                <a:path w="86" h="45">
                  <a:moveTo>
                    <a:pt x="86" y="21"/>
                  </a:moveTo>
                  <a:lnTo>
                    <a:pt x="69" y="14"/>
                  </a:lnTo>
                  <a:lnTo>
                    <a:pt x="67" y="19"/>
                  </a:lnTo>
                  <a:lnTo>
                    <a:pt x="52" y="8"/>
                  </a:lnTo>
                  <a:lnTo>
                    <a:pt x="37" y="6"/>
                  </a:lnTo>
                  <a:lnTo>
                    <a:pt x="31" y="0"/>
                  </a:lnTo>
                  <a:lnTo>
                    <a:pt x="0" y="15"/>
                  </a:lnTo>
                  <a:lnTo>
                    <a:pt x="7" y="30"/>
                  </a:lnTo>
                  <a:lnTo>
                    <a:pt x="26" y="44"/>
                  </a:lnTo>
                  <a:lnTo>
                    <a:pt x="39" y="45"/>
                  </a:lnTo>
                  <a:lnTo>
                    <a:pt x="45" y="40"/>
                  </a:lnTo>
                  <a:lnTo>
                    <a:pt x="69" y="44"/>
                  </a:lnTo>
                  <a:lnTo>
                    <a:pt x="86" y="21"/>
                  </a:lnTo>
                  <a:lnTo>
                    <a:pt x="86" y="2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53" name="Freeform 6137"/>
            <p:cNvSpPr>
              <a:spLocks noEditPoints="1"/>
            </p:cNvSpPr>
            <p:nvPr>
              <p:custDataLst>
                <p:tags r:id="rId399"/>
              </p:custDataLst>
            </p:nvPr>
          </p:nvSpPr>
          <p:spPr bwMode="gray">
            <a:xfrm>
              <a:off x="4299080" y="2668929"/>
              <a:ext cx="1343398" cy="700085"/>
            </a:xfrm>
            <a:custGeom>
              <a:avLst/>
              <a:gdLst/>
              <a:ahLst/>
              <a:cxnLst>
                <a:cxn ang="0">
                  <a:pos x="1041" y="333"/>
                </a:cxn>
                <a:cxn ang="0">
                  <a:pos x="1017" y="313"/>
                </a:cxn>
                <a:cxn ang="0">
                  <a:pos x="1004" y="273"/>
                </a:cxn>
                <a:cxn ang="0">
                  <a:pos x="927" y="255"/>
                </a:cxn>
                <a:cxn ang="0">
                  <a:pos x="895" y="184"/>
                </a:cxn>
                <a:cxn ang="0">
                  <a:pos x="820" y="212"/>
                </a:cxn>
                <a:cxn ang="0">
                  <a:pos x="787" y="292"/>
                </a:cxn>
                <a:cxn ang="0">
                  <a:pos x="680" y="347"/>
                </a:cxn>
                <a:cxn ang="0">
                  <a:pos x="599" y="247"/>
                </a:cxn>
                <a:cxn ang="0">
                  <a:pos x="657" y="180"/>
                </a:cxn>
                <a:cxn ang="0">
                  <a:pos x="785" y="122"/>
                </a:cxn>
                <a:cxn ang="0">
                  <a:pos x="862" y="99"/>
                </a:cxn>
                <a:cxn ang="0">
                  <a:pos x="839" y="65"/>
                </a:cxn>
                <a:cxn ang="0">
                  <a:pos x="790" y="73"/>
                </a:cxn>
                <a:cxn ang="0">
                  <a:pos x="768" y="34"/>
                </a:cxn>
                <a:cxn ang="0">
                  <a:pos x="815" y="0"/>
                </a:cxn>
                <a:cxn ang="0">
                  <a:pos x="732" y="71"/>
                </a:cxn>
                <a:cxn ang="0">
                  <a:pos x="684" y="86"/>
                </a:cxn>
                <a:cxn ang="0">
                  <a:pos x="674" y="84"/>
                </a:cxn>
                <a:cxn ang="0">
                  <a:pos x="538" y="90"/>
                </a:cxn>
                <a:cxn ang="0">
                  <a:pos x="455" y="95"/>
                </a:cxn>
                <a:cxn ang="0">
                  <a:pos x="399" y="65"/>
                </a:cxn>
                <a:cxn ang="0">
                  <a:pos x="358" y="69"/>
                </a:cxn>
                <a:cxn ang="0">
                  <a:pos x="268" y="71"/>
                </a:cxn>
                <a:cxn ang="0">
                  <a:pos x="0" y="221"/>
                </a:cxn>
                <a:cxn ang="0">
                  <a:pos x="58" y="243"/>
                </a:cxn>
                <a:cxn ang="0">
                  <a:pos x="24" y="328"/>
                </a:cxn>
                <a:cxn ang="0">
                  <a:pos x="67" y="416"/>
                </a:cxn>
                <a:cxn ang="0">
                  <a:pos x="524" y="435"/>
                </a:cxn>
                <a:cxn ang="0">
                  <a:pos x="588" y="461"/>
                </a:cxn>
                <a:cxn ang="0">
                  <a:pos x="637" y="496"/>
                </a:cxn>
                <a:cxn ang="0">
                  <a:pos x="569" y="545"/>
                </a:cxn>
                <a:cxn ang="0">
                  <a:pos x="641" y="511"/>
                </a:cxn>
                <a:cxn ang="0">
                  <a:pos x="781" y="483"/>
                </a:cxn>
                <a:cxn ang="0">
                  <a:pos x="867" y="476"/>
                </a:cxn>
                <a:cxn ang="0">
                  <a:pos x="869" y="496"/>
                </a:cxn>
                <a:cxn ang="0">
                  <a:pos x="918" y="474"/>
                </a:cxn>
                <a:cxn ang="0">
                  <a:pos x="869" y="442"/>
                </a:cxn>
                <a:cxn ang="0">
                  <a:pos x="832" y="425"/>
                </a:cxn>
                <a:cxn ang="0">
                  <a:pos x="871" y="397"/>
                </a:cxn>
                <a:cxn ang="0">
                  <a:pos x="1047" y="343"/>
                </a:cxn>
                <a:cxn ang="0">
                  <a:pos x="395" y="110"/>
                </a:cxn>
                <a:cxn ang="0">
                  <a:pos x="363" y="135"/>
                </a:cxn>
                <a:cxn ang="0">
                  <a:pos x="354" y="125"/>
                </a:cxn>
                <a:cxn ang="0">
                  <a:pos x="365" y="184"/>
                </a:cxn>
                <a:cxn ang="0">
                  <a:pos x="435" y="184"/>
                </a:cxn>
                <a:cxn ang="0">
                  <a:pos x="397" y="228"/>
                </a:cxn>
                <a:cxn ang="0">
                  <a:pos x="431" y="375"/>
                </a:cxn>
                <a:cxn ang="0">
                  <a:pos x="431" y="352"/>
                </a:cxn>
                <a:cxn ang="0">
                  <a:pos x="438" y="348"/>
                </a:cxn>
                <a:cxn ang="0">
                  <a:pos x="463" y="369"/>
                </a:cxn>
                <a:cxn ang="0">
                  <a:pos x="459" y="332"/>
                </a:cxn>
                <a:cxn ang="0">
                  <a:pos x="451" y="283"/>
                </a:cxn>
              </a:cxnLst>
              <a:rect l="0" t="0" r="r" b="b"/>
              <a:pathLst>
                <a:path w="1047" h="545">
                  <a:moveTo>
                    <a:pt x="834" y="485"/>
                  </a:moveTo>
                  <a:lnTo>
                    <a:pt x="834" y="485"/>
                  </a:lnTo>
                  <a:lnTo>
                    <a:pt x="832" y="485"/>
                  </a:lnTo>
                  <a:lnTo>
                    <a:pt x="834" y="485"/>
                  </a:lnTo>
                  <a:close/>
                  <a:moveTo>
                    <a:pt x="1041" y="333"/>
                  </a:moveTo>
                  <a:lnTo>
                    <a:pt x="1032" y="333"/>
                  </a:lnTo>
                  <a:lnTo>
                    <a:pt x="1034" y="326"/>
                  </a:lnTo>
                  <a:lnTo>
                    <a:pt x="1021" y="324"/>
                  </a:lnTo>
                  <a:lnTo>
                    <a:pt x="1036" y="318"/>
                  </a:lnTo>
                  <a:lnTo>
                    <a:pt x="1017" y="313"/>
                  </a:lnTo>
                  <a:lnTo>
                    <a:pt x="1017" y="307"/>
                  </a:lnTo>
                  <a:lnTo>
                    <a:pt x="1002" y="305"/>
                  </a:lnTo>
                  <a:lnTo>
                    <a:pt x="1002" y="298"/>
                  </a:lnTo>
                  <a:lnTo>
                    <a:pt x="991" y="288"/>
                  </a:lnTo>
                  <a:lnTo>
                    <a:pt x="1004" y="273"/>
                  </a:lnTo>
                  <a:lnTo>
                    <a:pt x="989" y="219"/>
                  </a:lnTo>
                  <a:lnTo>
                    <a:pt x="972" y="228"/>
                  </a:lnTo>
                  <a:lnTo>
                    <a:pt x="972" y="234"/>
                  </a:lnTo>
                  <a:lnTo>
                    <a:pt x="965" y="242"/>
                  </a:lnTo>
                  <a:lnTo>
                    <a:pt x="927" y="255"/>
                  </a:lnTo>
                  <a:lnTo>
                    <a:pt x="916" y="238"/>
                  </a:lnTo>
                  <a:lnTo>
                    <a:pt x="933" y="208"/>
                  </a:lnTo>
                  <a:lnTo>
                    <a:pt x="907" y="202"/>
                  </a:lnTo>
                  <a:lnTo>
                    <a:pt x="914" y="197"/>
                  </a:lnTo>
                  <a:lnTo>
                    <a:pt x="895" y="184"/>
                  </a:lnTo>
                  <a:lnTo>
                    <a:pt x="848" y="182"/>
                  </a:lnTo>
                  <a:lnTo>
                    <a:pt x="837" y="187"/>
                  </a:lnTo>
                  <a:lnTo>
                    <a:pt x="832" y="193"/>
                  </a:lnTo>
                  <a:lnTo>
                    <a:pt x="837" y="197"/>
                  </a:lnTo>
                  <a:lnTo>
                    <a:pt x="820" y="212"/>
                  </a:lnTo>
                  <a:lnTo>
                    <a:pt x="824" y="215"/>
                  </a:lnTo>
                  <a:lnTo>
                    <a:pt x="817" y="230"/>
                  </a:lnTo>
                  <a:lnTo>
                    <a:pt x="790" y="245"/>
                  </a:lnTo>
                  <a:lnTo>
                    <a:pt x="800" y="253"/>
                  </a:lnTo>
                  <a:lnTo>
                    <a:pt x="787" y="292"/>
                  </a:lnTo>
                  <a:lnTo>
                    <a:pt x="734" y="317"/>
                  </a:lnTo>
                  <a:lnTo>
                    <a:pt x="727" y="360"/>
                  </a:lnTo>
                  <a:lnTo>
                    <a:pt x="699" y="375"/>
                  </a:lnTo>
                  <a:lnTo>
                    <a:pt x="697" y="380"/>
                  </a:lnTo>
                  <a:lnTo>
                    <a:pt x="680" y="347"/>
                  </a:lnTo>
                  <a:lnTo>
                    <a:pt x="702" y="311"/>
                  </a:lnTo>
                  <a:lnTo>
                    <a:pt x="667" y="305"/>
                  </a:lnTo>
                  <a:lnTo>
                    <a:pt x="609" y="272"/>
                  </a:lnTo>
                  <a:lnTo>
                    <a:pt x="588" y="277"/>
                  </a:lnTo>
                  <a:lnTo>
                    <a:pt x="599" y="247"/>
                  </a:lnTo>
                  <a:lnTo>
                    <a:pt x="583" y="247"/>
                  </a:lnTo>
                  <a:lnTo>
                    <a:pt x="583" y="240"/>
                  </a:lnTo>
                  <a:lnTo>
                    <a:pt x="616" y="206"/>
                  </a:lnTo>
                  <a:lnTo>
                    <a:pt x="652" y="189"/>
                  </a:lnTo>
                  <a:lnTo>
                    <a:pt x="657" y="180"/>
                  </a:lnTo>
                  <a:lnTo>
                    <a:pt x="686" y="176"/>
                  </a:lnTo>
                  <a:lnTo>
                    <a:pt x="708" y="157"/>
                  </a:lnTo>
                  <a:lnTo>
                    <a:pt x="727" y="157"/>
                  </a:lnTo>
                  <a:lnTo>
                    <a:pt x="757" y="142"/>
                  </a:lnTo>
                  <a:lnTo>
                    <a:pt x="785" y="122"/>
                  </a:lnTo>
                  <a:lnTo>
                    <a:pt x="779" y="118"/>
                  </a:lnTo>
                  <a:lnTo>
                    <a:pt x="796" y="116"/>
                  </a:lnTo>
                  <a:lnTo>
                    <a:pt x="813" y="122"/>
                  </a:lnTo>
                  <a:lnTo>
                    <a:pt x="850" y="109"/>
                  </a:lnTo>
                  <a:lnTo>
                    <a:pt x="862" y="99"/>
                  </a:lnTo>
                  <a:lnTo>
                    <a:pt x="848" y="95"/>
                  </a:lnTo>
                  <a:lnTo>
                    <a:pt x="878" y="75"/>
                  </a:lnTo>
                  <a:lnTo>
                    <a:pt x="865" y="73"/>
                  </a:lnTo>
                  <a:lnTo>
                    <a:pt x="867" y="67"/>
                  </a:lnTo>
                  <a:lnTo>
                    <a:pt x="839" y="65"/>
                  </a:lnTo>
                  <a:lnTo>
                    <a:pt x="819" y="92"/>
                  </a:lnTo>
                  <a:lnTo>
                    <a:pt x="783" y="105"/>
                  </a:lnTo>
                  <a:lnTo>
                    <a:pt x="781" y="95"/>
                  </a:lnTo>
                  <a:lnTo>
                    <a:pt x="794" y="80"/>
                  </a:lnTo>
                  <a:lnTo>
                    <a:pt x="790" y="73"/>
                  </a:lnTo>
                  <a:lnTo>
                    <a:pt x="770" y="84"/>
                  </a:lnTo>
                  <a:lnTo>
                    <a:pt x="766" y="69"/>
                  </a:lnTo>
                  <a:lnTo>
                    <a:pt x="757" y="65"/>
                  </a:lnTo>
                  <a:lnTo>
                    <a:pt x="775" y="60"/>
                  </a:lnTo>
                  <a:lnTo>
                    <a:pt x="768" y="34"/>
                  </a:lnTo>
                  <a:lnTo>
                    <a:pt x="781" y="28"/>
                  </a:lnTo>
                  <a:lnTo>
                    <a:pt x="781" y="22"/>
                  </a:lnTo>
                  <a:lnTo>
                    <a:pt x="807" y="21"/>
                  </a:lnTo>
                  <a:lnTo>
                    <a:pt x="843" y="4"/>
                  </a:lnTo>
                  <a:lnTo>
                    <a:pt x="815" y="0"/>
                  </a:lnTo>
                  <a:lnTo>
                    <a:pt x="779" y="7"/>
                  </a:lnTo>
                  <a:lnTo>
                    <a:pt x="757" y="36"/>
                  </a:lnTo>
                  <a:lnTo>
                    <a:pt x="716" y="56"/>
                  </a:lnTo>
                  <a:lnTo>
                    <a:pt x="719" y="65"/>
                  </a:lnTo>
                  <a:lnTo>
                    <a:pt x="732" y="71"/>
                  </a:lnTo>
                  <a:lnTo>
                    <a:pt x="719" y="77"/>
                  </a:lnTo>
                  <a:lnTo>
                    <a:pt x="717" y="84"/>
                  </a:lnTo>
                  <a:lnTo>
                    <a:pt x="684" y="101"/>
                  </a:lnTo>
                  <a:lnTo>
                    <a:pt x="676" y="95"/>
                  </a:lnTo>
                  <a:lnTo>
                    <a:pt x="684" y="86"/>
                  </a:lnTo>
                  <a:lnTo>
                    <a:pt x="704" y="80"/>
                  </a:lnTo>
                  <a:lnTo>
                    <a:pt x="702" y="73"/>
                  </a:lnTo>
                  <a:lnTo>
                    <a:pt x="693" y="65"/>
                  </a:lnTo>
                  <a:lnTo>
                    <a:pt x="661" y="77"/>
                  </a:lnTo>
                  <a:lnTo>
                    <a:pt x="674" y="84"/>
                  </a:lnTo>
                  <a:lnTo>
                    <a:pt x="652" y="99"/>
                  </a:lnTo>
                  <a:lnTo>
                    <a:pt x="616" y="97"/>
                  </a:lnTo>
                  <a:lnTo>
                    <a:pt x="592" y="88"/>
                  </a:lnTo>
                  <a:lnTo>
                    <a:pt x="586" y="79"/>
                  </a:lnTo>
                  <a:lnTo>
                    <a:pt x="538" y="90"/>
                  </a:lnTo>
                  <a:lnTo>
                    <a:pt x="547" y="94"/>
                  </a:lnTo>
                  <a:lnTo>
                    <a:pt x="536" y="99"/>
                  </a:lnTo>
                  <a:lnTo>
                    <a:pt x="519" y="94"/>
                  </a:lnTo>
                  <a:lnTo>
                    <a:pt x="479" y="99"/>
                  </a:lnTo>
                  <a:lnTo>
                    <a:pt x="455" y="95"/>
                  </a:lnTo>
                  <a:lnTo>
                    <a:pt x="478" y="90"/>
                  </a:lnTo>
                  <a:lnTo>
                    <a:pt x="478" y="82"/>
                  </a:lnTo>
                  <a:lnTo>
                    <a:pt x="436" y="75"/>
                  </a:lnTo>
                  <a:lnTo>
                    <a:pt x="418" y="65"/>
                  </a:lnTo>
                  <a:lnTo>
                    <a:pt x="399" y="65"/>
                  </a:lnTo>
                  <a:lnTo>
                    <a:pt x="384" y="71"/>
                  </a:lnTo>
                  <a:lnTo>
                    <a:pt x="376" y="71"/>
                  </a:lnTo>
                  <a:lnTo>
                    <a:pt x="386" y="62"/>
                  </a:lnTo>
                  <a:lnTo>
                    <a:pt x="363" y="71"/>
                  </a:lnTo>
                  <a:lnTo>
                    <a:pt x="358" y="69"/>
                  </a:lnTo>
                  <a:lnTo>
                    <a:pt x="361" y="60"/>
                  </a:lnTo>
                  <a:lnTo>
                    <a:pt x="356" y="52"/>
                  </a:lnTo>
                  <a:lnTo>
                    <a:pt x="324" y="65"/>
                  </a:lnTo>
                  <a:lnTo>
                    <a:pt x="328" y="58"/>
                  </a:lnTo>
                  <a:lnTo>
                    <a:pt x="268" y="71"/>
                  </a:lnTo>
                  <a:lnTo>
                    <a:pt x="251" y="69"/>
                  </a:lnTo>
                  <a:lnTo>
                    <a:pt x="225" y="80"/>
                  </a:lnTo>
                  <a:lnTo>
                    <a:pt x="185" y="67"/>
                  </a:lnTo>
                  <a:lnTo>
                    <a:pt x="2" y="217"/>
                  </a:lnTo>
                  <a:lnTo>
                    <a:pt x="0" y="221"/>
                  </a:lnTo>
                  <a:lnTo>
                    <a:pt x="22" y="219"/>
                  </a:lnTo>
                  <a:lnTo>
                    <a:pt x="17" y="223"/>
                  </a:lnTo>
                  <a:lnTo>
                    <a:pt x="22" y="242"/>
                  </a:lnTo>
                  <a:lnTo>
                    <a:pt x="62" y="228"/>
                  </a:lnTo>
                  <a:lnTo>
                    <a:pt x="58" y="243"/>
                  </a:lnTo>
                  <a:lnTo>
                    <a:pt x="64" y="247"/>
                  </a:lnTo>
                  <a:lnTo>
                    <a:pt x="52" y="281"/>
                  </a:lnTo>
                  <a:lnTo>
                    <a:pt x="67" y="294"/>
                  </a:lnTo>
                  <a:lnTo>
                    <a:pt x="51" y="311"/>
                  </a:lnTo>
                  <a:lnTo>
                    <a:pt x="24" y="328"/>
                  </a:lnTo>
                  <a:lnTo>
                    <a:pt x="26" y="352"/>
                  </a:lnTo>
                  <a:lnTo>
                    <a:pt x="34" y="358"/>
                  </a:lnTo>
                  <a:lnTo>
                    <a:pt x="26" y="376"/>
                  </a:lnTo>
                  <a:lnTo>
                    <a:pt x="47" y="391"/>
                  </a:lnTo>
                  <a:lnTo>
                    <a:pt x="67" y="416"/>
                  </a:lnTo>
                  <a:lnTo>
                    <a:pt x="455" y="416"/>
                  </a:lnTo>
                  <a:lnTo>
                    <a:pt x="465" y="408"/>
                  </a:lnTo>
                  <a:lnTo>
                    <a:pt x="468" y="421"/>
                  </a:lnTo>
                  <a:lnTo>
                    <a:pt x="526" y="435"/>
                  </a:lnTo>
                  <a:lnTo>
                    <a:pt x="524" y="435"/>
                  </a:lnTo>
                  <a:lnTo>
                    <a:pt x="560" y="416"/>
                  </a:lnTo>
                  <a:lnTo>
                    <a:pt x="581" y="420"/>
                  </a:lnTo>
                  <a:lnTo>
                    <a:pt x="583" y="436"/>
                  </a:lnTo>
                  <a:lnTo>
                    <a:pt x="596" y="436"/>
                  </a:lnTo>
                  <a:lnTo>
                    <a:pt x="588" y="461"/>
                  </a:lnTo>
                  <a:lnTo>
                    <a:pt x="594" y="465"/>
                  </a:lnTo>
                  <a:lnTo>
                    <a:pt x="592" y="465"/>
                  </a:lnTo>
                  <a:lnTo>
                    <a:pt x="639" y="472"/>
                  </a:lnTo>
                  <a:lnTo>
                    <a:pt x="644" y="491"/>
                  </a:lnTo>
                  <a:lnTo>
                    <a:pt x="637" y="496"/>
                  </a:lnTo>
                  <a:lnTo>
                    <a:pt x="622" y="485"/>
                  </a:lnTo>
                  <a:lnTo>
                    <a:pt x="603" y="519"/>
                  </a:lnTo>
                  <a:lnTo>
                    <a:pt x="592" y="523"/>
                  </a:lnTo>
                  <a:lnTo>
                    <a:pt x="592" y="523"/>
                  </a:lnTo>
                  <a:lnTo>
                    <a:pt x="569" y="545"/>
                  </a:lnTo>
                  <a:lnTo>
                    <a:pt x="601" y="532"/>
                  </a:lnTo>
                  <a:lnTo>
                    <a:pt x="642" y="528"/>
                  </a:lnTo>
                  <a:lnTo>
                    <a:pt x="642" y="519"/>
                  </a:lnTo>
                  <a:lnTo>
                    <a:pt x="631" y="519"/>
                  </a:lnTo>
                  <a:lnTo>
                    <a:pt x="641" y="511"/>
                  </a:lnTo>
                  <a:lnTo>
                    <a:pt x="678" y="508"/>
                  </a:lnTo>
                  <a:lnTo>
                    <a:pt x="695" y="500"/>
                  </a:lnTo>
                  <a:lnTo>
                    <a:pt x="717" y="489"/>
                  </a:lnTo>
                  <a:lnTo>
                    <a:pt x="762" y="489"/>
                  </a:lnTo>
                  <a:lnTo>
                    <a:pt x="781" y="483"/>
                  </a:lnTo>
                  <a:lnTo>
                    <a:pt x="813" y="444"/>
                  </a:lnTo>
                  <a:lnTo>
                    <a:pt x="834" y="450"/>
                  </a:lnTo>
                  <a:lnTo>
                    <a:pt x="826" y="476"/>
                  </a:lnTo>
                  <a:lnTo>
                    <a:pt x="834" y="485"/>
                  </a:lnTo>
                  <a:lnTo>
                    <a:pt x="867" y="476"/>
                  </a:lnTo>
                  <a:lnTo>
                    <a:pt x="865" y="481"/>
                  </a:lnTo>
                  <a:lnTo>
                    <a:pt x="875" y="481"/>
                  </a:lnTo>
                  <a:lnTo>
                    <a:pt x="839" y="504"/>
                  </a:lnTo>
                  <a:lnTo>
                    <a:pt x="843" y="515"/>
                  </a:lnTo>
                  <a:lnTo>
                    <a:pt x="869" y="496"/>
                  </a:lnTo>
                  <a:lnTo>
                    <a:pt x="918" y="485"/>
                  </a:lnTo>
                  <a:lnTo>
                    <a:pt x="942" y="470"/>
                  </a:lnTo>
                  <a:lnTo>
                    <a:pt x="935" y="465"/>
                  </a:lnTo>
                  <a:lnTo>
                    <a:pt x="937" y="451"/>
                  </a:lnTo>
                  <a:lnTo>
                    <a:pt x="918" y="474"/>
                  </a:lnTo>
                  <a:lnTo>
                    <a:pt x="892" y="474"/>
                  </a:lnTo>
                  <a:lnTo>
                    <a:pt x="875" y="465"/>
                  </a:lnTo>
                  <a:lnTo>
                    <a:pt x="875" y="457"/>
                  </a:lnTo>
                  <a:lnTo>
                    <a:pt x="882" y="438"/>
                  </a:lnTo>
                  <a:lnTo>
                    <a:pt x="869" y="442"/>
                  </a:lnTo>
                  <a:lnTo>
                    <a:pt x="863" y="433"/>
                  </a:lnTo>
                  <a:lnTo>
                    <a:pt x="895" y="425"/>
                  </a:lnTo>
                  <a:lnTo>
                    <a:pt x="897" y="420"/>
                  </a:lnTo>
                  <a:lnTo>
                    <a:pt x="888" y="412"/>
                  </a:lnTo>
                  <a:lnTo>
                    <a:pt x="832" y="425"/>
                  </a:lnTo>
                  <a:lnTo>
                    <a:pt x="785" y="455"/>
                  </a:lnTo>
                  <a:lnTo>
                    <a:pt x="824" y="423"/>
                  </a:lnTo>
                  <a:lnTo>
                    <a:pt x="848" y="410"/>
                  </a:lnTo>
                  <a:lnTo>
                    <a:pt x="858" y="410"/>
                  </a:lnTo>
                  <a:lnTo>
                    <a:pt x="871" y="397"/>
                  </a:lnTo>
                  <a:lnTo>
                    <a:pt x="912" y="391"/>
                  </a:lnTo>
                  <a:lnTo>
                    <a:pt x="968" y="395"/>
                  </a:lnTo>
                  <a:lnTo>
                    <a:pt x="995" y="376"/>
                  </a:lnTo>
                  <a:lnTo>
                    <a:pt x="1041" y="361"/>
                  </a:lnTo>
                  <a:lnTo>
                    <a:pt x="1047" y="343"/>
                  </a:lnTo>
                  <a:lnTo>
                    <a:pt x="1041" y="333"/>
                  </a:lnTo>
                  <a:close/>
                  <a:moveTo>
                    <a:pt x="346" y="122"/>
                  </a:moveTo>
                  <a:lnTo>
                    <a:pt x="305" y="124"/>
                  </a:lnTo>
                  <a:lnTo>
                    <a:pt x="386" y="107"/>
                  </a:lnTo>
                  <a:lnTo>
                    <a:pt x="395" y="110"/>
                  </a:lnTo>
                  <a:lnTo>
                    <a:pt x="367" y="118"/>
                  </a:lnTo>
                  <a:lnTo>
                    <a:pt x="403" y="118"/>
                  </a:lnTo>
                  <a:lnTo>
                    <a:pt x="380" y="131"/>
                  </a:lnTo>
                  <a:lnTo>
                    <a:pt x="363" y="127"/>
                  </a:lnTo>
                  <a:lnTo>
                    <a:pt x="363" y="135"/>
                  </a:lnTo>
                  <a:lnTo>
                    <a:pt x="333" y="144"/>
                  </a:lnTo>
                  <a:lnTo>
                    <a:pt x="352" y="131"/>
                  </a:lnTo>
                  <a:lnTo>
                    <a:pt x="328" y="142"/>
                  </a:lnTo>
                  <a:lnTo>
                    <a:pt x="309" y="142"/>
                  </a:lnTo>
                  <a:lnTo>
                    <a:pt x="354" y="125"/>
                  </a:lnTo>
                  <a:lnTo>
                    <a:pt x="346" y="122"/>
                  </a:lnTo>
                  <a:close/>
                  <a:moveTo>
                    <a:pt x="324" y="204"/>
                  </a:moveTo>
                  <a:lnTo>
                    <a:pt x="339" y="204"/>
                  </a:lnTo>
                  <a:lnTo>
                    <a:pt x="367" y="193"/>
                  </a:lnTo>
                  <a:lnTo>
                    <a:pt x="365" y="184"/>
                  </a:lnTo>
                  <a:lnTo>
                    <a:pt x="380" y="184"/>
                  </a:lnTo>
                  <a:lnTo>
                    <a:pt x="388" y="191"/>
                  </a:lnTo>
                  <a:lnTo>
                    <a:pt x="431" y="176"/>
                  </a:lnTo>
                  <a:lnTo>
                    <a:pt x="435" y="180"/>
                  </a:lnTo>
                  <a:lnTo>
                    <a:pt x="435" y="184"/>
                  </a:lnTo>
                  <a:lnTo>
                    <a:pt x="406" y="189"/>
                  </a:lnTo>
                  <a:lnTo>
                    <a:pt x="360" y="208"/>
                  </a:lnTo>
                  <a:lnTo>
                    <a:pt x="332" y="210"/>
                  </a:lnTo>
                  <a:lnTo>
                    <a:pt x="324" y="204"/>
                  </a:lnTo>
                  <a:close/>
                  <a:moveTo>
                    <a:pt x="397" y="228"/>
                  </a:moveTo>
                  <a:lnTo>
                    <a:pt x="420" y="238"/>
                  </a:lnTo>
                  <a:lnTo>
                    <a:pt x="360" y="247"/>
                  </a:lnTo>
                  <a:lnTo>
                    <a:pt x="397" y="228"/>
                  </a:lnTo>
                  <a:close/>
                  <a:moveTo>
                    <a:pt x="438" y="369"/>
                  </a:moveTo>
                  <a:lnTo>
                    <a:pt x="431" y="375"/>
                  </a:lnTo>
                  <a:lnTo>
                    <a:pt x="433" y="393"/>
                  </a:lnTo>
                  <a:lnTo>
                    <a:pt x="421" y="395"/>
                  </a:lnTo>
                  <a:lnTo>
                    <a:pt x="429" y="376"/>
                  </a:lnTo>
                  <a:lnTo>
                    <a:pt x="418" y="365"/>
                  </a:lnTo>
                  <a:lnTo>
                    <a:pt x="431" y="352"/>
                  </a:lnTo>
                  <a:lnTo>
                    <a:pt x="429" y="348"/>
                  </a:lnTo>
                  <a:lnTo>
                    <a:pt x="420" y="352"/>
                  </a:lnTo>
                  <a:lnTo>
                    <a:pt x="421" y="343"/>
                  </a:lnTo>
                  <a:lnTo>
                    <a:pt x="433" y="343"/>
                  </a:lnTo>
                  <a:lnTo>
                    <a:pt x="438" y="348"/>
                  </a:lnTo>
                  <a:lnTo>
                    <a:pt x="423" y="369"/>
                  </a:lnTo>
                  <a:lnTo>
                    <a:pt x="438" y="369"/>
                  </a:lnTo>
                  <a:close/>
                  <a:moveTo>
                    <a:pt x="468" y="376"/>
                  </a:moveTo>
                  <a:lnTo>
                    <a:pt x="448" y="391"/>
                  </a:lnTo>
                  <a:lnTo>
                    <a:pt x="463" y="369"/>
                  </a:lnTo>
                  <a:lnTo>
                    <a:pt x="455" y="373"/>
                  </a:lnTo>
                  <a:lnTo>
                    <a:pt x="459" y="363"/>
                  </a:lnTo>
                  <a:lnTo>
                    <a:pt x="450" y="363"/>
                  </a:lnTo>
                  <a:lnTo>
                    <a:pt x="451" y="339"/>
                  </a:lnTo>
                  <a:lnTo>
                    <a:pt x="459" y="332"/>
                  </a:lnTo>
                  <a:lnTo>
                    <a:pt x="474" y="333"/>
                  </a:lnTo>
                  <a:lnTo>
                    <a:pt x="468" y="376"/>
                  </a:lnTo>
                  <a:close/>
                  <a:moveTo>
                    <a:pt x="474" y="264"/>
                  </a:moveTo>
                  <a:lnTo>
                    <a:pt x="463" y="268"/>
                  </a:lnTo>
                  <a:lnTo>
                    <a:pt x="451" y="283"/>
                  </a:lnTo>
                  <a:lnTo>
                    <a:pt x="436" y="287"/>
                  </a:lnTo>
                  <a:lnTo>
                    <a:pt x="474" y="255"/>
                  </a:lnTo>
                  <a:lnTo>
                    <a:pt x="474" y="26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54" name="Freeform 6138"/>
            <p:cNvSpPr>
              <a:spLocks noEditPoints="1"/>
            </p:cNvSpPr>
            <p:nvPr>
              <p:custDataLst>
                <p:tags r:id="rId400"/>
              </p:custDataLst>
            </p:nvPr>
          </p:nvSpPr>
          <p:spPr bwMode="gray">
            <a:xfrm>
              <a:off x="7476018" y="3056866"/>
              <a:ext cx="740344" cy="331416"/>
            </a:xfrm>
            <a:custGeom>
              <a:avLst/>
              <a:gdLst/>
              <a:ahLst/>
              <a:cxnLst>
                <a:cxn ang="0">
                  <a:pos x="564" y="101"/>
                </a:cxn>
                <a:cxn ang="0">
                  <a:pos x="545" y="103"/>
                </a:cxn>
                <a:cxn ang="0">
                  <a:pos x="484" y="84"/>
                </a:cxn>
                <a:cxn ang="0">
                  <a:pos x="465" y="82"/>
                </a:cxn>
                <a:cxn ang="0">
                  <a:pos x="392" y="26"/>
                </a:cxn>
                <a:cxn ang="0">
                  <a:pos x="377" y="22"/>
                </a:cxn>
                <a:cxn ang="0">
                  <a:pos x="352" y="35"/>
                </a:cxn>
                <a:cxn ang="0">
                  <a:pos x="336" y="26"/>
                </a:cxn>
                <a:cxn ang="0">
                  <a:pos x="317" y="22"/>
                </a:cxn>
                <a:cxn ang="0">
                  <a:pos x="304" y="3"/>
                </a:cxn>
                <a:cxn ang="0">
                  <a:pos x="272" y="9"/>
                </a:cxn>
                <a:cxn ang="0">
                  <a:pos x="201" y="26"/>
                </a:cxn>
                <a:cxn ang="0">
                  <a:pos x="182" y="33"/>
                </a:cxn>
                <a:cxn ang="0">
                  <a:pos x="186" y="43"/>
                </a:cxn>
                <a:cxn ang="0">
                  <a:pos x="188" y="56"/>
                </a:cxn>
                <a:cxn ang="0">
                  <a:pos x="203" y="73"/>
                </a:cxn>
                <a:cxn ang="0">
                  <a:pos x="174" y="84"/>
                </a:cxn>
                <a:cxn ang="0">
                  <a:pos x="135" y="76"/>
                </a:cxn>
                <a:cxn ang="0">
                  <a:pos x="105" y="76"/>
                </a:cxn>
                <a:cxn ang="0">
                  <a:pos x="88" y="69"/>
                </a:cxn>
                <a:cxn ang="0">
                  <a:pos x="62" y="69"/>
                </a:cxn>
                <a:cxn ang="0">
                  <a:pos x="32" y="76"/>
                </a:cxn>
                <a:cxn ang="0">
                  <a:pos x="28" y="95"/>
                </a:cxn>
                <a:cxn ang="0">
                  <a:pos x="8" y="88"/>
                </a:cxn>
                <a:cxn ang="0">
                  <a:pos x="8" y="125"/>
                </a:cxn>
                <a:cxn ang="0">
                  <a:pos x="26" y="136"/>
                </a:cxn>
                <a:cxn ang="0">
                  <a:pos x="32" y="157"/>
                </a:cxn>
                <a:cxn ang="0">
                  <a:pos x="43" y="157"/>
                </a:cxn>
                <a:cxn ang="0">
                  <a:pos x="94" y="148"/>
                </a:cxn>
                <a:cxn ang="0">
                  <a:pos x="124" y="181"/>
                </a:cxn>
                <a:cxn ang="0">
                  <a:pos x="81" y="187"/>
                </a:cxn>
                <a:cxn ang="0">
                  <a:pos x="70" y="193"/>
                </a:cxn>
                <a:cxn ang="0">
                  <a:pos x="77" y="202"/>
                </a:cxn>
                <a:cxn ang="0">
                  <a:pos x="107" y="226"/>
                </a:cxn>
                <a:cxn ang="0">
                  <a:pos x="109" y="241"/>
                </a:cxn>
                <a:cxn ang="0">
                  <a:pos x="131" y="234"/>
                </a:cxn>
                <a:cxn ang="0">
                  <a:pos x="165" y="254"/>
                </a:cxn>
                <a:cxn ang="0">
                  <a:pos x="186" y="174"/>
                </a:cxn>
                <a:cxn ang="0">
                  <a:pos x="188" y="170"/>
                </a:cxn>
                <a:cxn ang="0">
                  <a:pos x="201" y="163"/>
                </a:cxn>
                <a:cxn ang="0">
                  <a:pos x="204" y="159"/>
                </a:cxn>
                <a:cxn ang="0">
                  <a:pos x="221" y="172"/>
                </a:cxn>
                <a:cxn ang="0">
                  <a:pos x="227" y="193"/>
                </a:cxn>
                <a:cxn ang="0">
                  <a:pos x="227" y="202"/>
                </a:cxn>
                <a:cxn ang="0">
                  <a:pos x="287" y="209"/>
                </a:cxn>
                <a:cxn ang="0">
                  <a:pos x="311" y="241"/>
                </a:cxn>
                <a:cxn ang="0">
                  <a:pos x="326" y="254"/>
                </a:cxn>
                <a:cxn ang="0">
                  <a:pos x="379" y="239"/>
                </a:cxn>
                <a:cxn ang="0">
                  <a:pos x="382" y="228"/>
                </a:cxn>
                <a:cxn ang="0">
                  <a:pos x="416" y="222"/>
                </a:cxn>
                <a:cxn ang="0">
                  <a:pos x="444" y="224"/>
                </a:cxn>
                <a:cxn ang="0">
                  <a:pos x="519" y="236"/>
                </a:cxn>
                <a:cxn ang="0">
                  <a:pos x="504" y="191"/>
                </a:cxn>
                <a:cxn ang="0">
                  <a:pos x="532" y="183"/>
                </a:cxn>
                <a:cxn ang="0">
                  <a:pos x="560" y="153"/>
                </a:cxn>
                <a:cxn ang="0">
                  <a:pos x="564" y="125"/>
                </a:cxn>
                <a:cxn ang="0">
                  <a:pos x="577" y="112"/>
                </a:cxn>
                <a:cxn ang="0">
                  <a:pos x="454" y="157"/>
                </a:cxn>
                <a:cxn ang="0">
                  <a:pos x="410" y="168"/>
                </a:cxn>
                <a:cxn ang="0">
                  <a:pos x="401" y="176"/>
                </a:cxn>
                <a:cxn ang="0">
                  <a:pos x="414" y="155"/>
                </a:cxn>
                <a:cxn ang="0">
                  <a:pos x="465" y="163"/>
                </a:cxn>
              </a:cxnLst>
              <a:rect l="0" t="0" r="r" b="b"/>
              <a:pathLst>
                <a:path w="577" h="258">
                  <a:moveTo>
                    <a:pt x="577" y="112"/>
                  </a:moveTo>
                  <a:lnTo>
                    <a:pt x="564" y="101"/>
                  </a:lnTo>
                  <a:lnTo>
                    <a:pt x="560" y="106"/>
                  </a:lnTo>
                  <a:lnTo>
                    <a:pt x="545" y="103"/>
                  </a:lnTo>
                  <a:lnTo>
                    <a:pt x="512" y="80"/>
                  </a:lnTo>
                  <a:lnTo>
                    <a:pt x="484" y="84"/>
                  </a:lnTo>
                  <a:lnTo>
                    <a:pt x="470" y="73"/>
                  </a:lnTo>
                  <a:lnTo>
                    <a:pt x="465" y="82"/>
                  </a:lnTo>
                  <a:lnTo>
                    <a:pt x="416" y="39"/>
                  </a:lnTo>
                  <a:lnTo>
                    <a:pt x="392" y="26"/>
                  </a:lnTo>
                  <a:lnTo>
                    <a:pt x="392" y="18"/>
                  </a:lnTo>
                  <a:lnTo>
                    <a:pt x="377" y="22"/>
                  </a:lnTo>
                  <a:lnTo>
                    <a:pt x="367" y="33"/>
                  </a:lnTo>
                  <a:lnTo>
                    <a:pt x="352" y="35"/>
                  </a:lnTo>
                  <a:lnTo>
                    <a:pt x="352" y="24"/>
                  </a:lnTo>
                  <a:lnTo>
                    <a:pt x="336" y="26"/>
                  </a:lnTo>
                  <a:lnTo>
                    <a:pt x="328" y="18"/>
                  </a:lnTo>
                  <a:lnTo>
                    <a:pt x="317" y="22"/>
                  </a:lnTo>
                  <a:lnTo>
                    <a:pt x="315" y="13"/>
                  </a:lnTo>
                  <a:lnTo>
                    <a:pt x="304" y="3"/>
                  </a:lnTo>
                  <a:lnTo>
                    <a:pt x="279" y="0"/>
                  </a:lnTo>
                  <a:lnTo>
                    <a:pt x="272" y="9"/>
                  </a:lnTo>
                  <a:lnTo>
                    <a:pt x="244" y="13"/>
                  </a:lnTo>
                  <a:lnTo>
                    <a:pt x="201" y="26"/>
                  </a:lnTo>
                  <a:lnTo>
                    <a:pt x="178" y="26"/>
                  </a:lnTo>
                  <a:lnTo>
                    <a:pt x="182" y="33"/>
                  </a:lnTo>
                  <a:lnTo>
                    <a:pt x="189" y="33"/>
                  </a:lnTo>
                  <a:lnTo>
                    <a:pt x="186" y="43"/>
                  </a:lnTo>
                  <a:lnTo>
                    <a:pt x="182" y="46"/>
                  </a:lnTo>
                  <a:lnTo>
                    <a:pt x="188" y="56"/>
                  </a:lnTo>
                  <a:lnTo>
                    <a:pt x="176" y="63"/>
                  </a:lnTo>
                  <a:lnTo>
                    <a:pt x="203" y="73"/>
                  </a:lnTo>
                  <a:lnTo>
                    <a:pt x="197" y="84"/>
                  </a:lnTo>
                  <a:lnTo>
                    <a:pt x="174" y="84"/>
                  </a:lnTo>
                  <a:lnTo>
                    <a:pt x="156" y="76"/>
                  </a:lnTo>
                  <a:lnTo>
                    <a:pt x="135" y="76"/>
                  </a:lnTo>
                  <a:lnTo>
                    <a:pt x="122" y="86"/>
                  </a:lnTo>
                  <a:lnTo>
                    <a:pt x="105" y="76"/>
                  </a:lnTo>
                  <a:lnTo>
                    <a:pt x="105" y="86"/>
                  </a:lnTo>
                  <a:lnTo>
                    <a:pt x="88" y="69"/>
                  </a:lnTo>
                  <a:lnTo>
                    <a:pt x="68" y="65"/>
                  </a:lnTo>
                  <a:lnTo>
                    <a:pt x="62" y="69"/>
                  </a:lnTo>
                  <a:lnTo>
                    <a:pt x="47" y="67"/>
                  </a:lnTo>
                  <a:lnTo>
                    <a:pt x="32" y="76"/>
                  </a:lnTo>
                  <a:lnTo>
                    <a:pt x="21" y="86"/>
                  </a:lnTo>
                  <a:lnTo>
                    <a:pt x="28" y="95"/>
                  </a:lnTo>
                  <a:lnTo>
                    <a:pt x="23" y="99"/>
                  </a:lnTo>
                  <a:lnTo>
                    <a:pt x="8" y="88"/>
                  </a:lnTo>
                  <a:lnTo>
                    <a:pt x="0" y="123"/>
                  </a:lnTo>
                  <a:lnTo>
                    <a:pt x="8" y="125"/>
                  </a:lnTo>
                  <a:lnTo>
                    <a:pt x="15" y="136"/>
                  </a:lnTo>
                  <a:lnTo>
                    <a:pt x="26" y="136"/>
                  </a:lnTo>
                  <a:lnTo>
                    <a:pt x="41" y="155"/>
                  </a:lnTo>
                  <a:lnTo>
                    <a:pt x="32" y="157"/>
                  </a:lnTo>
                  <a:lnTo>
                    <a:pt x="45" y="163"/>
                  </a:lnTo>
                  <a:lnTo>
                    <a:pt x="43" y="157"/>
                  </a:lnTo>
                  <a:lnTo>
                    <a:pt x="70" y="146"/>
                  </a:lnTo>
                  <a:lnTo>
                    <a:pt x="94" y="148"/>
                  </a:lnTo>
                  <a:lnTo>
                    <a:pt x="113" y="161"/>
                  </a:lnTo>
                  <a:lnTo>
                    <a:pt x="124" y="181"/>
                  </a:lnTo>
                  <a:lnTo>
                    <a:pt x="88" y="179"/>
                  </a:lnTo>
                  <a:lnTo>
                    <a:pt x="81" y="187"/>
                  </a:lnTo>
                  <a:lnTo>
                    <a:pt x="86" y="194"/>
                  </a:lnTo>
                  <a:lnTo>
                    <a:pt x="70" y="193"/>
                  </a:lnTo>
                  <a:lnTo>
                    <a:pt x="68" y="198"/>
                  </a:lnTo>
                  <a:lnTo>
                    <a:pt x="77" y="202"/>
                  </a:lnTo>
                  <a:lnTo>
                    <a:pt x="98" y="226"/>
                  </a:lnTo>
                  <a:lnTo>
                    <a:pt x="107" y="226"/>
                  </a:lnTo>
                  <a:lnTo>
                    <a:pt x="107" y="237"/>
                  </a:lnTo>
                  <a:lnTo>
                    <a:pt x="109" y="241"/>
                  </a:lnTo>
                  <a:lnTo>
                    <a:pt x="118" y="236"/>
                  </a:lnTo>
                  <a:lnTo>
                    <a:pt x="131" y="234"/>
                  </a:lnTo>
                  <a:lnTo>
                    <a:pt x="156" y="254"/>
                  </a:lnTo>
                  <a:lnTo>
                    <a:pt x="165" y="254"/>
                  </a:lnTo>
                  <a:lnTo>
                    <a:pt x="148" y="185"/>
                  </a:lnTo>
                  <a:lnTo>
                    <a:pt x="186" y="174"/>
                  </a:lnTo>
                  <a:lnTo>
                    <a:pt x="186" y="176"/>
                  </a:lnTo>
                  <a:lnTo>
                    <a:pt x="188" y="170"/>
                  </a:lnTo>
                  <a:lnTo>
                    <a:pt x="199" y="170"/>
                  </a:lnTo>
                  <a:lnTo>
                    <a:pt x="201" y="163"/>
                  </a:lnTo>
                  <a:lnTo>
                    <a:pt x="204" y="164"/>
                  </a:lnTo>
                  <a:lnTo>
                    <a:pt x="204" y="159"/>
                  </a:lnTo>
                  <a:lnTo>
                    <a:pt x="225" y="155"/>
                  </a:lnTo>
                  <a:lnTo>
                    <a:pt x="221" y="172"/>
                  </a:lnTo>
                  <a:lnTo>
                    <a:pt x="236" y="187"/>
                  </a:lnTo>
                  <a:lnTo>
                    <a:pt x="227" y="193"/>
                  </a:lnTo>
                  <a:lnTo>
                    <a:pt x="229" y="202"/>
                  </a:lnTo>
                  <a:lnTo>
                    <a:pt x="227" y="202"/>
                  </a:lnTo>
                  <a:lnTo>
                    <a:pt x="244" y="213"/>
                  </a:lnTo>
                  <a:lnTo>
                    <a:pt x="287" y="209"/>
                  </a:lnTo>
                  <a:lnTo>
                    <a:pt x="309" y="222"/>
                  </a:lnTo>
                  <a:lnTo>
                    <a:pt x="311" y="241"/>
                  </a:lnTo>
                  <a:lnTo>
                    <a:pt x="321" y="243"/>
                  </a:lnTo>
                  <a:lnTo>
                    <a:pt x="326" y="254"/>
                  </a:lnTo>
                  <a:lnTo>
                    <a:pt x="356" y="258"/>
                  </a:lnTo>
                  <a:lnTo>
                    <a:pt x="379" y="239"/>
                  </a:lnTo>
                  <a:lnTo>
                    <a:pt x="380" y="234"/>
                  </a:lnTo>
                  <a:lnTo>
                    <a:pt x="382" y="228"/>
                  </a:lnTo>
                  <a:lnTo>
                    <a:pt x="416" y="232"/>
                  </a:lnTo>
                  <a:lnTo>
                    <a:pt x="416" y="222"/>
                  </a:lnTo>
                  <a:lnTo>
                    <a:pt x="424" y="219"/>
                  </a:lnTo>
                  <a:lnTo>
                    <a:pt x="444" y="224"/>
                  </a:lnTo>
                  <a:lnTo>
                    <a:pt x="502" y="226"/>
                  </a:lnTo>
                  <a:lnTo>
                    <a:pt x="519" y="236"/>
                  </a:lnTo>
                  <a:lnTo>
                    <a:pt x="523" y="219"/>
                  </a:lnTo>
                  <a:lnTo>
                    <a:pt x="504" y="191"/>
                  </a:lnTo>
                  <a:lnTo>
                    <a:pt x="508" y="185"/>
                  </a:lnTo>
                  <a:lnTo>
                    <a:pt x="532" y="183"/>
                  </a:lnTo>
                  <a:lnTo>
                    <a:pt x="530" y="146"/>
                  </a:lnTo>
                  <a:lnTo>
                    <a:pt x="560" y="153"/>
                  </a:lnTo>
                  <a:lnTo>
                    <a:pt x="568" y="148"/>
                  </a:lnTo>
                  <a:lnTo>
                    <a:pt x="564" y="125"/>
                  </a:lnTo>
                  <a:lnTo>
                    <a:pt x="575" y="119"/>
                  </a:lnTo>
                  <a:lnTo>
                    <a:pt x="577" y="112"/>
                  </a:lnTo>
                  <a:close/>
                  <a:moveTo>
                    <a:pt x="465" y="163"/>
                  </a:moveTo>
                  <a:lnTo>
                    <a:pt x="454" y="157"/>
                  </a:lnTo>
                  <a:lnTo>
                    <a:pt x="422" y="161"/>
                  </a:lnTo>
                  <a:lnTo>
                    <a:pt x="410" y="168"/>
                  </a:lnTo>
                  <a:lnTo>
                    <a:pt x="416" y="187"/>
                  </a:lnTo>
                  <a:lnTo>
                    <a:pt x="401" y="176"/>
                  </a:lnTo>
                  <a:lnTo>
                    <a:pt x="401" y="164"/>
                  </a:lnTo>
                  <a:lnTo>
                    <a:pt x="414" y="155"/>
                  </a:lnTo>
                  <a:lnTo>
                    <a:pt x="480" y="155"/>
                  </a:lnTo>
                  <a:lnTo>
                    <a:pt x="465" y="16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55" name="Freeform 6139"/>
            <p:cNvSpPr>
              <a:spLocks noEditPoints="1"/>
            </p:cNvSpPr>
            <p:nvPr>
              <p:custDataLst>
                <p:tags r:id="rId401"/>
              </p:custDataLst>
            </p:nvPr>
          </p:nvSpPr>
          <p:spPr bwMode="gray">
            <a:xfrm>
              <a:off x="7093656" y="2603417"/>
              <a:ext cx="2548222" cy="779728"/>
            </a:xfrm>
            <a:custGeom>
              <a:avLst/>
              <a:gdLst/>
              <a:ahLst/>
              <a:cxnLst>
                <a:cxn ang="0">
                  <a:pos x="1890" y="184"/>
                </a:cxn>
                <a:cxn ang="0">
                  <a:pos x="1904" y="158"/>
                </a:cxn>
                <a:cxn ang="0">
                  <a:pos x="1653" y="120"/>
                </a:cxn>
                <a:cxn ang="0">
                  <a:pos x="1430" y="100"/>
                </a:cxn>
                <a:cxn ang="0">
                  <a:pos x="1214" y="94"/>
                </a:cxn>
                <a:cxn ang="0">
                  <a:pos x="1044" y="58"/>
                </a:cxn>
                <a:cxn ang="0">
                  <a:pos x="909" y="45"/>
                </a:cxn>
                <a:cxn ang="0">
                  <a:pos x="868" y="58"/>
                </a:cxn>
                <a:cxn ang="0">
                  <a:pos x="770" y="0"/>
                </a:cxn>
                <a:cxn ang="0">
                  <a:pos x="568" y="60"/>
                </a:cxn>
                <a:cxn ang="0">
                  <a:pos x="532" y="94"/>
                </a:cxn>
                <a:cxn ang="0">
                  <a:pos x="560" y="150"/>
                </a:cxn>
                <a:cxn ang="0">
                  <a:pos x="504" y="98"/>
                </a:cxn>
                <a:cxn ang="0">
                  <a:pos x="448" y="107"/>
                </a:cxn>
                <a:cxn ang="0">
                  <a:pos x="373" y="133"/>
                </a:cxn>
                <a:cxn ang="0">
                  <a:pos x="240" y="150"/>
                </a:cxn>
                <a:cxn ang="0">
                  <a:pos x="188" y="141"/>
                </a:cxn>
                <a:cxn ang="0">
                  <a:pos x="160" y="199"/>
                </a:cxn>
                <a:cxn ang="0">
                  <a:pos x="81" y="176"/>
                </a:cxn>
                <a:cxn ang="0">
                  <a:pos x="27" y="118"/>
                </a:cxn>
                <a:cxn ang="0">
                  <a:pos x="25" y="193"/>
                </a:cxn>
                <a:cxn ang="0">
                  <a:pos x="14" y="285"/>
                </a:cxn>
                <a:cxn ang="0">
                  <a:pos x="62" y="364"/>
                </a:cxn>
                <a:cxn ang="0">
                  <a:pos x="118" y="416"/>
                </a:cxn>
                <a:cxn ang="0">
                  <a:pos x="199" y="467"/>
                </a:cxn>
                <a:cxn ang="0">
                  <a:pos x="201" y="501"/>
                </a:cxn>
                <a:cxn ang="0">
                  <a:pos x="220" y="566"/>
                </a:cxn>
                <a:cxn ang="0">
                  <a:pos x="349" y="596"/>
                </a:cxn>
                <a:cxn ang="0">
                  <a:pos x="330" y="510"/>
                </a:cxn>
                <a:cxn ang="0">
                  <a:pos x="321" y="452"/>
                </a:cxn>
                <a:cxn ang="0">
                  <a:pos x="386" y="422"/>
                </a:cxn>
                <a:cxn ang="0">
                  <a:pos x="495" y="437"/>
                </a:cxn>
                <a:cxn ang="0">
                  <a:pos x="480" y="386"/>
                </a:cxn>
                <a:cxn ang="0">
                  <a:pos x="613" y="366"/>
                </a:cxn>
                <a:cxn ang="0">
                  <a:pos x="675" y="375"/>
                </a:cxn>
                <a:cxn ang="0">
                  <a:pos x="810" y="433"/>
                </a:cxn>
                <a:cxn ang="0">
                  <a:pos x="888" y="459"/>
                </a:cxn>
                <a:cxn ang="0">
                  <a:pos x="1019" y="411"/>
                </a:cxn>
                <a:cxn ang="0">
                  <a:pos x="1282" y="450"/>
                </a:cxn>
                <a:cxn ang="0">
                  <a:pos x="1340" y="388"/>
                </a:cxn>
                <a:cxn ang="0">
                  <a:pos x="1531" y="491"/>
                </a:cxn>
                <a:cxn ang="0">
                  <a:pos x="1564" y="568"/>
                </a:cxn>
                <a:cxn ang="0">
                  <a:pos x="1632" y="527"/>
                </a:cxn>
                <a:cxn ang="0">
                  <a:pos x="1533" y="388"/>
                </a:cxn>
                <a:cxn ang="0">
                  <a:pos x="1512" y="293"/>
                </a:cxn>
                <a:cxn ang="0">
                  <a:pos x="1682" y="289"/>
                </a:cxn>
                <a:cxn ang="0">
                  <a:pos x="1729" y="248"/>
                </a:cxn>
                <a:cxn ang="0">
                  <a:pos x="1742" y="309"/>
                </a:cxn>
                <a:cxn ang="0">
                  <a:pos x="1834" y="399"/>
                </a:cxn>
                <a:cxn ang="0">
                  <a:pos x="1827" y="343"/>
                </a:cxn>
                <a:cxn ang="0">
                  <a:pos x="1776" y="278"/>
                </a:cxn>
                <a:cxn ang="0">
                  <a:pos x="1860" y="268"/>
                </a:cxn>
                <a:cxn ang="0">
                  <a:pos x="53" y="276"/>
                </a:cxn>
                <a:cxn ang="0">
                  <a:pos x="107" y="259"/>
                </a:cxn>
                <a:cxn ang="0">
                  <a:pos x="107" y="235"/>
                </a:cxn>
                <a:cxn ang="0">
                  <a:pos x="1085" y="420"/>
                </a:cxn>
              </a:cxnLst>
              <a:rect l="0" t="0" r="r" b="b"/>
              <a:pathLst>
                <a:path w="1986" h="607">
                  <a:moveTo>
                    <a:pt x="1857" y="197"/>
                  </a:moveTo>
                  <a:lnTo>
                    <a:pt x="1874" y="197"/>
                  </a:lnTo>
                  <a:lnTo>
                    <a:pt x="1883" y="191"/>
                  </a:lnTo>
                  <a:lnTo>
                    <a:pt x="1877" y="182"/>
                  </a:lnTo>
                  <a:lnTo>
                    <a:pt x="1862" y="176"/>
                  </a:lnTo>
                  <a:lnTo>
                    <a:pt x="1866" y="171"/>
                  </a:lnTo>
                  <a:lnTo>
                    <a:pt x="1890" y="184"/>
                  </a:lnTo>
                  <a:lnTo>
                    <a:pt x="1924" y="186"/>
                  </a:lnTo>
                  <a:lnTo>
                    <a:pt x="1986" y="205"/>
                  </a:lnTo>
                  <a:lnTo>
                    <a:pt x="1969" y="184"/>
                  </a:lnTo>
                  <a:lnTo>
                    <a:pt x="1982" y="184"/>
                  </a:lnTo>
                  <a:lnTo>
                    <a:pt x="1984" y="175"/>
                  </a:lnTo>
                  <a:lnTo>
                    <a:pt x="1941" y="161"/>
                  </a:lnTo>
                  <a:lnTo>
                    <a:pt x="1904" y="158"/>
                  </a:lnTo>
                  <a:lnTo>
                    <a:pt x="1791" y="128"/>
                  </a:lnTo>
                  <a:lnTo>
                    <a:pt x="1729" y="116"/>
                  </a:lnTo>
                  <a:lnTo>
                    <a:pt x="1658" y="111"/>
                  </a:lnTo>
                  <a:lnTo>
                    <a:pt x="1684" y="128"/>
                  </a:lnTo>
                  <a:lnTo>
                    <a:pt x="1675" y="131"/>
                  </a:lnTo>
                  <a:lnTo>
                    <a:pt x="1641" y="120"/>
                  </a:lnTo>
                  <a:lnTo>
                    <a:pt x="1653" y="120"/>
                  </a:lnTo>
                  <a:lnTo>
                    <a:pt x="1649" y="116"/>
                  </a:lnTo>
                  <a:lnTo>
                    <a:pt x="1632" y="113"/>
                  </a:lnTo>
                  <a:lnTo>
                    <a:pt x="1630" y="122"/>
                  </a:lnTo>
                  <a:lnTo>
                    <a:pt x="1551" y="120"/>
                  </a:lnTo>
                  <a:lnTo>
                    <a:pt x="1531" y="109"/>
                  </a:lnTo>
                  <a:lnTo>
                    <a:pt x="1503" y="100"/>
                  </a:lnTo>
                  <a:lnTo>
                    <a:pt x="1430" y="100"/>
                  </a:lnTo>
                  <a:lnTo>
                    <a:pt x="1373" y="81"/>
                  </a:lnTo>
                  <a:lnTo>
                    <a:pt x="1255" y="72"/>
                  </a:lnTo>
                  <a:lnTo>
                    <a:pt x="1252" y="75"/>
                  </a:lnTo>
                  <a:lnTo>
                    <a:pt x="1252" y="79"/>
                  </a:lnTo>
                  <a:lnTo>
                    <a:pt x="1276" y="90"/>
                  </a:lnTo>
                  <a:lnTo>
                    <a:pt x="1224" y="87"/>
                  </a:lnTo>
                  <a:lnTo>
                    <a:pt x="1214" y="94"/>
                  </a:lnTo>
                  <a:lnTo>
                    <a:pt x="1180" y="85"/>
                  </a:lnTo>
                  <a:lnTo>
                    <a:pt x="1190" y="98"/>
                  </a:lnTo>
                  <a:lnTo>
                    <a:pt x="1186" y="102"/>
                  </a:lnTo>
                  <a:lnTo>
                    <a:pt x="1139" y="85"/>
                  </a:lnTo>
                  <a:lnTo>
                    <a:pt x="1136" y="72"/>
                  </a:lnTo>
                  <a:lnTo>
                    <a:pt x="1113" y="64"/>
                  </a:lnTo>
                  <a:lnTo>
                    <a:pt x="1044" y="58"/>
                  </a:lnTo>
                  <a:lnTo>
                    <a:pt x="1059" y="68"/>
                  </a:lnTo>
                  <a:lnTo>
                    <a:pt x="1021" y="68"/>
                  </a:lnTo>
                  <a:lnTo>
                    <a:pt x="1001" y="66"/>
                  </a:lnTo>
                  <a:lnTo>
                    <a:pt x="997" y="58"/>
                  </a:lnTo>
                  <a:lnTo>
                    <a:pt x="941" y="60"/>
                  </a:lnTo>
                  <a:lnTo>
                    <a:pt x="924" y="47"/>
                  </a:lnTo>
                  <a:lnTo>
                    <a:pt x="909" y="45"/>
                  </a:lnTo>
                  <a:lnTo>
                    <a:pt x="905" y="49"/>
                  </a:lnTo>
                  <a:lnTo>
                    <a:pt x="931" y="58"/>
                  </a:lnTo>
                  <a:lnTo>
                    <a:pt x="894" y="53"/>
                  </a:lnTo>
                  <a:lnTo>
                    <a:pt x="890" y="57"/>
                  </a:lnTo>
                  <a:lnTo>
                    <a:pt x="903" y="60"/>
                  </a:lnTo>
                  <a:lnTo>
                    <a:pt x="866" y="66"/>
                  </a:lnTo>
                  <a:lnTo>
                    <a:pt x="868" y="58"/>
                  </a:lnTo>
                  <a:lnTo>
                    <a:pt x="913" y="34"/>
                  </a:lnTo>
                  <a:lnTo>
                    <a:pt x="907" y="28"/>
                  </a:lnTo>
                  <a:lnTo>
                    <a:pt x="864" y="15"/>
                  </a:lnTo>
                  <a:lnTo>
                    <a:pt x="815" y="17"/>
                  </a:lnTo>
                  <a:lnTo>
                    <a:pt x="819" y="10"/>
                  </a:lnTo>
                  <a:lnTo>
                    <a:pt x="796" y="4"/>
                  </a:lnTo>
                  <a:lnTo>
                    <a:pt x="770" y="0"/>
                  </a:lnTo>
                  <a:lnTo>
                    <a:pt x="750" y="10"/>
                  </a:lnTo>
                  <a:lnTo>
                    <a:pt x="744" y="23"/>
                  </a:lnTo>
                  <a:lnTo>
                    <a:pt x="680" y="23"/>
                  </a:lnTo>
                  <a:lnTo>
                    <a:pt x="639" y="34"/>
                  </a:lnTo>
                  <a:lnTo>
                    <a:pt x="624" y="43"/>
                  </a:lnTo>
                  <a:lnTo>
                    <a:pt x="637" y="55"/>
                  </a:lnTo>
                  <a:lnTo>
                    <a:pt x="568" y="60"/>
                  </a:lnTo>
                  <a:lnTo>
                    <a:pt x="585" y="77"/>
                  </a:lnTo>
                  <a:lnTo>
                    <a:pt x="615" y="85"/>
                  </a:lnTo>
                  <a:lnTo>
                    <a:pt x="602" y="87"/>
                  </a:lnTo>
                  <a:lnTo>
                    <a:pt x="547" y="73"/>
                  </a:lnTo>
                  <a:lnTo>
                    <a:pt x="536" y="85"/>
                  </a:lnTo>
                  <a:lnTo>
                    <a:pt x="572" y="98"/>
                  </a:lnTo>
                  <a:lnTo>
                    <a:pt x="532" y="94"/>
                  </a:lnTo>
                  <a:lnTo>
                    <a:pt x="521" y="77"/>
                  </a:lnTo>
                  <a:lnTo>
                    <a:pt x="508" y="94"/>
                  </a:lnTo>
                  <a:lnTo>
                    <a:pt x="529" y="103"/>
                  </a:lnTo>
                  <a:lnTo>
                    <a:pt x="529" y="118"/>
                  </a:lnTo>
                  <a:lnTo>
                    <a:pt x="536" y="128"/>
                  </a:lnTo>
                  <a:lnTo>
                    <a:pt x="547" y="131"/>
                  </a:lnTo>
                  <a:lnTo>
                    <a:pt x="560" y="150"/>
                  </a:lnTo>
                  <a:lnTo>
                    <a:pt x="549" y="161"/>
                  </a:lnTo>
                  <a:lnTo>
                    <a:pt x="532" y="173"/>
                  </a:lnTo>
                  <a:lnTo>
                    <a:pt x="516" y="165"/>
                  </a:lnTo>
                  <a:lnTo>
                    <a:pt x="534" y="154"/>
                  </a:lnTo>
                  <a:lnTo>
                    <a:pt x="536" y="135"/>
                  </a:lnTo>
                  <a:lnTo>
                    <a:pt x="521" y="128"/>
                  </a:lnTo>
                  <a:lnTo>
                    <a:pt x="504" y="98"/>
                  </a:lnTo>
                  <a:lnTo>
                    <a:pt x="491" y="90"/>
                  </a:lnTo>
                  <a:lnTo>
                    <a:pt x="491" y="73"/>
                  </a:lnTo>
                  <a:lnTo>
                    <a:pt x="474" y="66"/>
                  </a:lnTo>
                  <a:lnTo>
                    <a:pt x="465" y="60"/>
                  </a:lnTo>
                  <a:lnTo>
                    <a:pt x="454" y="62"/>
                  </a:lnTo>
                  <a:lnTo>
                    <a:pt x="439" y="94"/>
                  </a:lnTo>
                  <a:lnTo>
                    <a:pt x="448" y="107"/>
                  </a:lnTo>
                  <a:lnTo>
                    <a:pt x="448" y="118"/>
                  </a:lnTo>
                  <a:lnTo>
                    <a:pt x="482" y="131"/>
                  </a:lnTo>
                  <a:lnTo>
                    <a:pt x="480" y="141"/>
                  </a:lnTo>
                  <a:lnTo>
                    <a:pt x="351" y="105"/>
                  </a:lnTo>
                  <a:lnTo>
                    <a:pt x="349" y="111"/>
                  </a:lnTo>
                  <a:lnTo>
                    <a:pt x="386" y="128"/>
                  </a:lnTo>
                  <a:lnTo>
                    <a:pt x="373" y="133"/>
                  </a:lnTo>
                  <a:lnTo>
                    <a:pt x="375" y="139"/>
                  </a:lnTo>
                  <a:lnTo>
                    <a:pt x="366" y="137"/>
                  </a:lnTo>
                  <a:lnTo>
                    <a:pt x="362" y="128"/>
                  </a:lnTo>
                  <a:lnTo>
                    <a:pt x="319" y="135"/>
                  </a:lnTo>
                  <a:lnTo>
                    <a:pt x="317" y="143"/>
                  </a:lnTo>
                  <a:lnTo>
                    <a:pt x="300" y="128"/>
                  </a:lnTo>
                  <a:lnTo>
                    <a:pt x="240" y="150"/>
                  </a:lnTo>
                  <a:lnTo>
                    <a:pt x="242" y="158"/>
                  </a:lnTo>
                  <a:lnTo>
                    <a:pt x="233" y="161"/>
                  </a:lnTo>
                  <a:lnTo>
                    <a:pt x="201" y="154"/>
                  </a:lnTo>
                  <a:lnTo>
                    <a:pt x="220" y="146"/>
                  </a:lnTo>
                  <a:lnTo>
                    <a:pt x="212" y="141"/>
                  </a:lnTo>
                  <a:lnTo>
                    <a:pt x="176" y="133"/>
                  </a:lnTo>
                  <a:lnTo>
                    <a:pt x="188" y="141"/>
                  </a:lnTo>
                  <a:lnTo>
                    <a:pt x="188" y="158"/>
                  </a:lnTo>
                  <a:lnTo>
                    <a:pt x="197" y="160"/>
                  </a:lnTo>
                  <a:lnTo>
                    <a:pt x="201" y="169"/>
                  </a:lnTo>
                  <a:lnTo>
                    <a:pt x="195" y="173"/>
                  </a:lnTo>
                  <a:lnTo>
                    <a:pt x="173" y="169"/>
                  </a:lnTo>
                  <a:lnTo>
                    <a:pt x="145" y="184"/>
                  </a:lnTo>
                  <a:lnTo>
                    <a:pt x="160" y="199"/>
                  </a:lnTo>
                  <a:lnTo>
                    <a:pt x="113" y="190"/>
                  </a:lnTo>
                  <a:lnTo>
                    <a:pt x="107" y="195"/>
                  </a:lnTo>
                  <a:lnTo>
                    <a:pt x="128" y="201"/>
                  </a:lnTo>
                  <a:lnTo>
                    <a:pt x="130" y="210"/>
                  </a:lnTo>
                  <a:lnTo>
                    <a:pt x="115" y="210"/>
                  </a:lnTo>
                  <a:lnTo>
                    <a:pt x="87" y="199"/>
                  </a:lnTo>
                  <a:lnTo>
                    <a:pt x="81" y="176"/>
                  </a:lnTo>
                  <a:lnTo>
                    <a:pt x="49" y="158"/>
                  </a:lnTo>
                  <a:lnTo>
                    <a:pt x="126" y="175"/>
                  </a:lnTo>
                  <a:lnTo>
                    <a:pt x="160" y="165"/>
                  </a:lnTo>
                  <a:lnTo>
                    <a:pt x="152" y="150"/>
                  </a:lnTo>
                  <a:lnTo>
                    <a:pt x="100" y="130"/>
                  </a:lnTo>
                  <a:lnTo>
                    <a:pt x="51" y="116"/>
                  </a:lnTo>
                  <a:lnTo>
                    <a:pt x="27" y="118"/>
                  </a:lnTo>
                  <a:lnTo>
                    <a:pt x="6" y="128"/>
                  </a:lnTo>
                  <a:lnTo>
                    <a:pt x="2" y="130"/>
                  </a:lnTo>
                  <a:lnTo>
                    <a:pt x="2" y="141"/>
                  </a:lnTo>
                  <a:lnTo>
                    <a:pt x="21" y="148"/>
                  </a:lnTo>
                  <a:lnTo>
                    <a:pt x="14" y="160"/>
                  </a:lnTo>
                  <a:lnTo>
                    <a:pt x="27" y="176"/>
                  </a:lnTo>
                  <a:lnTo>
                    <a:pt x="25" y="193"/>
                  </a:lnTo>
                  <a:lnTo>
                    <a:pt x="36" y="205"/>
                  </a:lnTo>
                  <a:lnTo>
                    <a:pt x="34" y="214"/>
                  </a:lnTo>
                  <a:lnTo>
                    <a:pt x="51" y="229"/>
                  </a:lnTo>
                  <a:lnTo>
                    <a:pt x="8" y="266"/>
                  </a:lnTo>
                  <a:lnTo>
                    <a:pt x="15" y="266"/>
                  </a:lnTo>
                  <a:lnTo>
                    <a:pt x="29" y="276"/>
                  </a:lnTo>
                  <a:lnTo>
                    <a:pt x="14" y="285"/>
                  </a:lnTo>
                  <a:lnTo>
                    <a:pt x="12" y="291"/>
                  </a:lnTo>
                  <a:lnTo>
                    <a:pt x="0" y="294"/>
                  </a:lnTo>
                  <a:lnTo>
                    <a:pt x="12" y="308"/>
                  </a:lnTo>
                  <a:lnTo>
                    <a:pt x="10" y="315"/>
                  </a:lnTo>
                  <a:lnTo>
                    <a:pt x="23" y="339"/>
                  </a:lnTo>
                  <a:lnTo>
                    <a:pt x="60" y="351"/>
                  </a:lnTo>
                  <a:lnTo>
                    <a:pt x="62" y="364"/>
                  </a:lnTo>
                  <a:lnTo>
                    <a:pt x="77" y="381"/>
                  </a:lnTo>
                  <a:lnTo>
                    <a:pt x="90" y="386"/>
                  </a:lnTo>
                  <a:lnTo>
                    <a:pt x="85" y="394"/>
                  </a:lnTo>
                  <a:lnTo>
                    <a:pt x="72" y="394"/>
                  </a:lnTo>
                  <a:lnTo>
                    <a:pt x="81" y="411"/>
                  </a:lnTo>
                  <a:lnTo>
                    <a:pt x="107" y="407"/>
                  </a:lnTo>
                  <a:lnTo>
                    <a:pt x="118" y="416"/>
                  </a:lnTo>
                  <a:lnTo>
                    <a:pt x="117" y="424"/>
                  </a:lnTo>
                  <a:lnTo>
                    <a:pt x="128" y="426"/>
                  </a:lnTo>
                  <a:lnTo>
                    <a:pt x="137" y="441"/>
                  </a:lnTo>
                  <a:lnTo>
                    <a:pt x="163" y="441"/>
                  </a:lnTo>
                  <a:lnTo>
                    <a:pt x="173" y="448"/>
                  </a:lnTo>
                  <a:lnTo>
                    <a:pt x="205" y="457"/>
                  </a:lnTo>
                  <a:lnTo>
                    <a:pt x="199" y="467"/>
                  </a:lnTo>
                  <a:lnTo>
                    <a:pt x="205" y="469"/>
                  </a:lnTo>
                  <a:lnTo>
                    <a:pt x="201" y="471"/>
                  </a:lnTo>
                  <a:lnTo>
                    <a:pt x="203" y="487"/>
                  </a:lnTo>
                  <a:lnTo>
                    <a:pt x="191" y="486"/>
                  </a:lnTo>
                  <a:lnTo>
                    <a:pt x="184" y="491"/>
                  </a:lnTo>
                  <a:lnTo>
                    <a:pt x="184" y="501"/>
                  </a:lnTo>
                  <a:lnTo>
                    <a:pt x="201" y="501"/>
                  </a:lnTo>
                  <a:lnTo>
                    <a:pt x="178" y="510"/>
                  </a:lnTo>
                  <a:lnTo>
                    <a:pt x="186" y="516"/>
                  </a:lnTo>
                  <a:lnTo>
                    <a:pt x="176" y="532"/>
                  </a:lnTo>
                  <a:lnTo>
                    <a:pt x="169" y="534"/>
                  </a:lnTo>
                  <a:lnTo>
                    <a:pt x="169" y="538"/>
                  </a:lnTo>
                  <a:lnTo>
                    <a:pt x="171" y="538"/>
                  </a:lnTo>
                  <a:lnTo>
                    <a:pt x="220" y="566"/>
                  </a:lnTo>
                  <a:lnTo>
                    <a:pt x="261" y="572"/>
                  </a:lnTo>
                  <a:lnTo>
                    <a:pt x="278" y="583"/>
                  </a:lnTo>
                  <a:lnTo>
                    <a:pt x="296" y="581"/>
                  </a:lnTo>
                  <a:lnTo>
                    <a:pt x="317" y="594"/>
                  </a:lnTo>
                  <a:lnTo>
                    <a:pt x="332" y="607"/>
                  </a:lnTo>
                  <a:lnTo>
                    <a:pt x="341" y="607"/>
                  </a:lnTo>
                  <a:lnTo>
                    <a:pt x="349" y="596"/>
                  </a:lnTo>
                  <a:lnTo>
                    <a:pt x="330" y="575"/>
                  </a:lnTo>
                  <a:lnTo>
                    <a:pt x="328" y="562"/>
                  </a:lnTo>
                  <a:lnTo>
                    <a:pt x="313" y="544"/>
                  </a:lnTo>
                  <a:lnTo>
                    <a:pt x="323" y="519"/>
                  </a:lnTo>
                  <a:lnTo>
                    <a:pt x="332" y="523"/>
                  </a:lnTo>
                  <a:lnTo>
                    <a:pt x="343" y="516"/>
                  </a:lnTo>
                  <a:lnTo>
                    <a:pt x="330" y="510"/>
                  </a:lnTo>
                  <a:lnTo>
                    <a:pt x="339" y="508"/>
                  </a:lnTo>
                  <a:lnTo>
                    <a:pt x="324" y="489"/>
                  </a:lnTo>
                  <a:lnTo>
                    <a:pt x="313" y="489"/>
                  </a:lnTo>
                  <a:lnTo>
                    <a:pt x="306" y="478"/>
                  </a:lnTo>
                  <a:lnTo>
                    <a:pt x="298" y="476"/>
                  </a:lnTo>
                  <a:lnTo>
                    <a:pt x="306" y="441"/>
                  </a:lnTo>
                  <a:lnTo>
                    <a:pt x="321" y="452"/>
                  </a:lnTo>
                  <a:lnTo>
                    <a:pt x="326" y="448"/>
                  </a:lnTo>
                  <a:lnTo>
                    <a:pt x="319" y="439"/>
                  </a:lnTo>
                  <a:lnTo>
                    <a:pt x="330" y="429"/>
                  </a:lnTo>
                  <a:lnTo>
                    <a:pt x="345" y="420"/>
                  </a:lnTo>
                  <a:lnTo>
                    <a:pt x="360" y="422"/>
                  </a:lnTo>
                  <a:lnTo>
                    <a:pt x="366" y="418"/>
                  </a:lnTo>
                  <a:lnTo>
                    <a:pt x="386" y="422"/>
                  </a:lnTo>
                  <a:lnTo>
                    <a:pt x="403" y="439"/>
                  </a:lnTo>
                  <a:lnTo>
                    <a:pt x="403" y="429"/>
                  </a:lnTo>
                  <a:lnTo>
                    <a:pt x="420" y="439"/>
                  </a:lnTo>
                  <a:lnTo>
                    <a:pt x="433" y="429"/>
                  </a:lnTo>
                  <a:lnTo>
                    <a:pt x="454" y="429"/>
                  </a:lnTo>
                  <a:lnTo>
                    <a:pt x="472" y="437"/>
                  </a:lnTo>
                  <a:lnTo>
                    <a:pt x="495" y="437"/>
                  </a:lnTo>
                  <a:lnTo>
                    <a:pt x="501" y="426"/>
                  </a:lnTo>
                  <a:lnTo>
                    <a:pt x="474" y="416"/>
                  </a:lnTo>
                  <a:lnTo>
                    <a:pt x="486" y="409"/>
                  </a:lnTo>
                  <a:lnTo>
                    <a:pt x="480" y="399"/>
                  </a:lnTo>
                  <a:lnTo>
                    <a:pt x="484" y="396"/>
                  </a:lnTo>
                  <a:lnTo>
                    <a:pt x="487" y="386"/>
                  </a:lnTo>
                  <a:lnTo>
                    <a:pt x="480" y="386"/>
                  </a:lnTo>
                  <a:lnTo>
                    <a:pt x="476" y="379"/>
                  </a:lnTo>
                  <a:lnTo>
                    <a:pt x="499" y="379"/>
                  </a:lnTo>
                  <a:lnTo>
                    <a:pt x="542" y="366"/>
                  </a:lnTo>
                  <a:lnTo>
                    <a:pt x="570" y="362"/>
                  </a:lnTo>
                  <a:lnTo>
                    <a:pt x="577" y="353"/>
                  </a:lnTo>
                  <a:lnTo>
                    <a:pt x="602" y="356"/>
                  </a:lnTo>
                  <a:lnTo>
                    <a:pt x="613" y="366"/>
                  </a:lnTo>
                  <a:lnTo>
                    <a:pt x="615" y="375"/>
                  </a:lnTo>
                  <a:lnTo>
                    <a:pt x="626" y="371"/>
                  </a:lnTo>
                  <a:lnTo>
                    <a:pt x="634" y="379"/>
                  </a:lnTo>
                  <a:lnTo>
                    <a:pt x="650" y="377"/>
                  </a:lnTo>
                  <a:lnTo>
                    <a:pt x="650" y="388"/>
                  </a:lnTo>
                  <a:lnTo>
                    <a:pt x="665" y="386"/>
                  </a:lnTo>
                  <a:lnTo>
                    <a:pt x="675" y="375"/>
                  </a:lnTo>
                  <a:lnTo>
                    <a:pt x="690" y="371"/>
                  </a:lnTo>
                  <a:lnTo>
                    <a:pt x="690" y="379"/>
                  </a:lnTo>
                  <a:lnTo>
                    <a:pt x="714" y="392"/>
                  </a:lnTo>
                  <a:lnTo>
                    <a:pt x="763" y="435"/>
                  </a:lnTo>
                  <a:lnTo>
                    <a:pt x="768" y="426"/>
                  </a:lnTo>
                  <a:lnTo>
                    <a:pt x="782" y="437"/>
                  </a:lnTo>
                  <a:lnTo>
                    <a:pt x="810" y="433"/>
                  </a:lnTo>
                  <a:lnTo>
                    <a:pt x="843" y="456"/>
                  </a:lnTo>
                  <a:lnTo>
                    <a:pt x="858" y="459"/>
                  </a:lnTo>
                  <a:lnTo>
                    <a:pt x="862" y="454"/>
                  </a:lnTo>
                  <a:lnTo>
                    <a:pt x="875" y="465"/>
                  </a:lnTo>
                  <a:lnTo>
                    <a:pt x="873" y="472"/>
                  </a:lnTo>
                  <a:lnTo>
                    <a:pt x="885" y="467"/>
                  </a:lnTo>
                  <a:lnTo>
                    <a:pt x="888" y="459"/>
                  </a:lnTo>
                  <a:lnTo>
                    <a:pt x="929" y="439"/>
                  </a:lnTo>
                  <a:lnTo>
                    <a:pt x="965" y="441"/>
                  </a:lnTo>
                  <a:lnTo>
                    <a:pt x="982" y="450"/>
                  </a:lnTo>
                  <a:lnTo>
                    <a:pt x="1019" y="448"/>
                  </a:lnTo>
                  <a:lnTo>
                    <a:pt x="1018" y="437"/>
                  </a:lnTo>
                  <a:lnTo>
                    <a:pt x="1008" y="424"/>
                  </a:lnTo>
                  <a:lnTo>
                    <a:pt x="1019" y="411"/>
                  </a:lnTo>
                  <a:lnTo>
                    <a:pt x="1062" y="422"/>
                  </a:lnTo>
                  <a:lnTo>
                    <a:pt x="1089" y="442"/>
                  </a:lnTo>
                  <a:lnTo>
                    <a:pt x="1124" y="439"/>
                  </a:lnTo>
                  <a:lnTo>
                    <a:pt x="1199" y="463"/>
                  </a:lnTo>
                  <a:lnTo>
                    <a:pt x="1239" y="457"/>
                  </a:lnTo>
                  <a:lnTo>
                    <a:pt x="1255" y="444"/>
                  </a:lnTo>
                  <a:lnTo>
                    <a:pt x="1282" y="450"/>
                  </a:lnTo>
                  <a:lnTo>
                    <a:pt x="1306" y="457"/>
                  </a:lnTo>
                  <a:lnTo>
                    <a:pt x="1321" y="448"/>
                  </a:lnTo>
                  <a:lnTo>
                    <a:pt x="1315" y="422"/>
                  </a:lnTo>
                  <a:lnTo>
                    <a:pt x="1319" y="416"/>
                  </a:lnTo>
                  <a:lnTo>
                    <a:pt x="1304" y="399"/>
                  </a:lnTo>
                  <a:lnTo>
                    <a:pt x="1310" y="394"/>
                  </a:lnTo>
                  <a:lnTo>
                    <a:pt x="1340" y="388"/>
                  </a:lnTo>
                  <a:lnTo>
                    <a:pt x="1381" y="399"/>
                  </a:lnTo>
                  <a:lnTo>
                    <a:pt x="1424" y="433"/>
                  </a:lnTo>
                  <a:lnTo>
                    <a:pt x="1443" y="456"/>
                  </a:lnTo>
                  <a:lnTo>
                    <a:pt x="1469" y="459"/>
                  </a:lnTo>
                  <a:lnTo>
                    <a:pt x="1497" y="471"/>
                  </a:lnTo>
                  <a:lnTo>
                    <a:pt x="1516" y="489"/>
                  </a:lnTo>
                  <a:lnTo>
                    <a:pt x="1531" y="491"/>
                  </a:lnTo>
                  <a:lnTo>
                    <a:pt x="1561" y="476"/>
                  </a:lnTo>
                  <a:lnTo>
                    <a:pt x="1570" y="493"/>
                  </a:lnTo>
                  <a:lnTo>
                    <a:pt x="1566" y="497"/>
                  </a:lnTo>
                  <a:lnTo>
                    <a:pt x="1572" y="538"/>
                  </a:lnTo>
                  <a:lnTo>
                    <a:pt x="1555" y="536"/>
                  </a:lnTo>
                  <a:lnTo>
                    <a:pt x="1548" y="546"/>
                  </a:lnTo>
                  <a:lnTo>
                    <a:pt x="1564" y="568"/>
                  </a:lnTo>
                  <a:lnTo>
                    <a:pt x="1566" y="583"/>
                  </a:lnTo>
                  <a:lnTo>
                    <a:pt x="1570" y="583"/>
                  </a:lnTo>
                  <a:lnTo>
                    <a:pt x="1572" y="570"/>
                  </a:lnTo>
                  <a:lnTo>
                    <a:pt x="1598" y="581"/>
                  </a:lnTo>
                  <a:lnTo>
                    <a:pt x="1619" y="568"/>
                  </a:lnTo>
                  <a:lnTo>
                    <a:pt x="1619" y="551"/>
                  </a:lnTo>
                  <a:lnTo>
                    <a:pt x="1632" y="527"/>
                  </a:lnTo>
                  <a:lnTo>
                    <a:pt x="1636" y="476"/>
                  </a:lnTo>
                  <a:lnTo>
                    <a:pt x="1609" y="431"/>
                  </a:lnTo>
                  <a:lnTo>
                    <a:pt x="1591" y="392"/>
                  </a:lnTo>
                  <a:lnTo>
                    <a:pt x="1551" y="375"/>
                  </a:lnTo>
                  <a:lnTo>
                    <a:pt x="1542" y="375"/>
                  </a:lnTo>
                  <a:lnTo>
                    <a:pt x="1542" y="384"/>
                  </a:lnTo>
                  <a:lnTo>
                    <a:pt x="1533" y="388"/>
                  </a:lnTo>
                  <a:lnTo>
                    <a:pt x="1525" y="373"/>
                  </a:lnTo>
                  <a:lnTo>
                    <a:pt x="1518" y="375"/>
                  </a:lnTo>
                  <a:lnTo>
                    <a:pt x="1520" y="383"/>
                  </a:lnTo>
                  <a:lnTo>
                    <a:pt x="1506" y="368"/>
                  </a:lnTo>
                  <a:lnTo>
                    <a:pt x="1482" y="362"/>
                  </a:lnTo>
                  <a:lnTo>
                    <a:pt x="1495" y="345"/>
                  </a:lnTo>
                  <a:lnTo>
                    <a:pt x="1512" y="293"/>
                  </a:lnTo>
                  <a:lnTo>
                    <a:pt x="1529" y="287"/>
                  </a:lnTo>
                  <a:lnTo>
                    <a:pt x="1598" y="289"/>
                  </a:lnTo>
                  <a:lnTo>
                    <a:pt x="1593" y="279"/>
                  </a:lnTo>
                  <a:lnTo>
                    <a:pt x="1598" y="279"/>
                  </a:lnTo>
                  <a:lnTo>
                    <a:pt x="1624" y="281"/>
                  </a:lnTo>
                  <a:lnTo>
                    <a:pt x="1638" y="294"/>
                  </a:lnTo>
                  <a:lnTo>
                    <a:pt x="1682" y="289"/>
                  </a:lnTo>
                  <a:lnTo>
                    <a:pt x="1664" y="283"/>
                  </a:lnTo>
                  <a:lnTo>
                    <a:pt x="1658" y="276"/>
                  </a:lnTo>
                  <a:lnTo>
                    <a:pt x="1662" y="248"/>
                  </a:lnTo>
                  <a:lnTo>
                    <a:pt x="1701" y="244"/>
                  </a:lnTo>
                  <a:lnTo>
                    <a:pt x="1705" y="253"/>
                  </a:lnTo>
                  <a:lnTo>
                    <a:pt x="1722" y="266"/>
                  </a:lnTo>
                  <a:lnTo>
                    <a:pt x="1729" y="248"/>
                  </a:lnTo>
                  <a:lnTo>
                    <a:pt x="1737" y="248"/>
                  </a:lnTo>
                  <a:lnTo>
                    <a:pt x="1726" y="233"/>
                  </a:lnTo>
                  <a:lnTo>
                    <a:pt x="1744" y="233"/>
                  </a:lnTo>
                  <a:lnTo>
                    <a:pt x="1741" y="238"/>
                  </a:lnTo>
                  <a:lnTo>
                    <a:pt x="1759" y="261"/>
                  </a:lnTo>
                  <a:lnTo>
                    <a:pt x="1746" y="268"/>
                  </a:lnTo>
                  <a:lnTo>
                    <a:pt x="1742" y="309"/>
                  </a:lnTo>
                  <a:lnTo>
                    <a:pt x="1729" y="313"/>
                  </a:lnTo>
                  <a:lnTo>
                    <a:pt x="1739" y="326"/>
                  </a:lnTo>
                  <a:lnTo>
                    <a:pt x="1733" y="328"/>
                  </a:lnTo>
                  <a:lnTo>
                    <a:pt x="1752" y="356"/>
                  </a:lnTo>
                  <a:lnTo>
                    <a:pt x="1838" y="433"/>
                  </a:lnTo>
                  <a:lnTo>
                    <a:pt x="1844" y="420"/>
                  </a:lnTo>
                  <a:lnTo>
                    <a:pt x="1834" y="399"/>
                  </a:lnTo>
                  <a:lnTo>
                    <a:pt x="1838" y="394"/>
                  </a:lnTo>
                  <a:lnTo>
                    <a:pt x="1847" y="394"/>
                  </a:lnTo>
                  <a:lnTo>
                    <a:pt x="1832" y="377"/>
                  </a:lnTo>
                  <a:lnTo>
                    <a:pt x="1834" y="371"/>
                  </a:lnTo>
                  <a:lnTo>
                    <a:pt x="1849" y="369"/>
                  </a:lnTo>
                  <a:lnTo>
                    <a:pt x="1851" y="366"/>
                  </a:lnTo>
                  <a:lnTo>
                    <a:pt x="1827" y="343"/>
                  </a:lnTo>
                  <a:lnTo>
                    <a:pt x="1842" y="341"/>
                  </a:lnTo>
                  <a:lnTo>
                    <a:pt x="1823" y="328"/>
                  </a:lnTo>
                  <a:lnTo>
                    <a:pt x="1814" y="315"/>
                  </a:lnTo>
                  <a:lnTo>
                    <a:pt x="1799" y="313"/>
                  </a:lnTo>
                  <a:lnTo>
                    <a:pt x="1789" y="306"/>
                  </a:lnTo>
                  <a:lnTo>
                    <a:pt x="1787" y="293"/>
                  </a:lnTo>
                  <a:lnTo>
                    <a:pt x="1776" y="278"/>
                  </a:lnTo>
                  <a:lnTo>
                    <a:pt x="1795" y="278"/>
                  </a:lnTo>
                  <a:lnTo>
                    <a:pt x="1804" y="270"/>
                  </a:lnTo>
                  <a:lnTo>
                    <a:pt x="1815" y="279"/>
                  </a:lnTo>
                  <a:lnTo>
                    <a:pt x="1815" y="272"/>
                  </a:lnTo>
                  <a:lnTo>
                    <a:pt x="1827" y="266"/>
                  </a:lnTo>
                  <a:lnTo>
                    <a:pt x="1866" y="276"/>
                  </a:lnTo>
                  <a:lnTo>
                    <a:pt x="1860" y="268"/>
                  </a:lnTo>
                  <a:lnTo>
                    <a:pt x="1887" y="240"/>
                  </a:lnTo>
                  <a:lnTo>
                    <a:pt x="1900" y="233"/>
                  </a:lnTo>
                  <a:lnTo>
                    <a:pt x="1930" y="238"/>
                  </a:lnTo>
                  <a:lnTo>
                    <a:pt x="1930" y="231"/>
                  </a:lnTo>
                  <a:lnTo>
                    <a:pt x="1857" y="197"/>
                  </a:lnTo>
                  <a:close/>
                  <a:moveTo>
                    <a:pt x="72" y="272"/>
                  </a:moveTo>
                  <a:lnTo>
                    <a:pt x="53" y="276"/>
                  </a:lnTo>
                  <a:lnTo>
                    <a:pt x="36" y="257"/>
                  </a:lnTo>
                  <a:lnTo>
                    <a:pt x="45" y="248"/>
                  </a:lnTo>
                  <a:lnTo>
                    <a:pt x="53" y="248"/>
                  </a:lnTo>
                  <a:lnTo>
                    <a:pt x="70" y="255"/>
                  </a:lnTo>
                  <a:lnTo>
                    <a:pt x="75" y="266"/>
                  </a:lnTo>
                  <a:lnTo>
                    <a:pt x="72" y="272"/>
                  </a:lnTo>
                  <a:close/>
                  <a:moveTo>
                    <a:pt x="107" y="259"/>
                  </a:moveTo>
                  <a:lnTo>
                    <a:pt x="107" y="253"/>
                  </a:lnTo>
                  <a:lnTo>
                    <a:pt x="92" y="246"/>
                  </a:lnTo>
                  <a:lnTo>
                    <a:pt x="94" y="240"/>
                  </a:lnTo>
                  <a:lnTo>
                    <a:pt x="102" y="240"/>
                  </a:lnTo>
                  <a:lnTo>
                    <a:pt x="88" y="227"/>
                  </a:lnTo>
                  <a:lnTo>
                    <a:pt x="100" y="231"/>
                  </a:lnTo>
                  <a:lnTo>
                    <a:pt x="107" y="235"/>
                  </a:lnTo>
                  <a:lnTo>
                    <a:pt x="120" y="257"/>
                  </a:lnTo>
                  <a:lnTo>
                    <a:pt x="107" y="259"/>
                  </a:lnTo>
                  <a:close/>
                  <a:moveTo>
                    <a:pt x="1134" y="401"/>
                  </a:moveTo>
                  <a:lnTo>
                    <a:pt x="1117" y="411"/>
                  </a:lnTo>
                  <a:lnTo>
                    <a:pt x="1119" y="420"/>
                  </a:lnTo>
                  <a:lnTo>
                    <a:pt x="1102" y="426"/>
                  </a:lnTo>
                  <a:lnTo>
                    <a:pt x="1085" y="420"/>
                  </a:lnTo>
                  <a:lnTo>
                    <a:pt x="1107" y="416"/>
                  </a:lnTo>
                  <a:lnTo>
                    <a:pt x="1126" y="379"/>
                  </a:lnTo>
                  <a:lnTo>
                    <a:pt x="1122" y="347"/>
                  </a:lnTo>
                  <a:lnTo>
                    <a:pt x="1130" y="351"/>
                  </a:lnTo>
                  <a:lnTo>
                    <a:pt x="1141" y="379"/>
                  </a:lnTo>
                  <a:lnTo>
                    <a:pt x="1134" y="40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56" name="Freeform 6140"/>
            <p:cNvSpPr>
              <a:spLocks noEditPoints="1"/>
            </p:cNvSpPr>
            <p:nvPr>
              <p:custDataLst>
                <p:tags r:id="rId402"/>
              </p:custDataLst>
            </p:nvPr>
          </p:nvSpPr>
          <p:spPr bwMode="gray">
            <a:xfrm>
              <a:off x="7203524" y="4243897"/>
              <a:ext cx="110346" cy="124602"/>
            </a:xfrm>
            <a:custGeom>
              <a:avLst/>
              <a:gdLst/>
              <a:ahLst/>
              <a:cxnLst>
                <a:cxn ang="0">
                  <a:pos x="75" y="2"/>
                </a:cxn>
                <a:cxn ang="0">
                  <a:pos x="69" y="0"/>
                </a:cxn>
                <a:cxn ang="0">
                  <a:pos x="35" y="7"/>
                </a:cxn>
                <a:cxn ang="0">
                  <a:pos x="19" y="7"/>
                </a:cxn>
                <a:cxn ang="0">
                  <a:pos x="17" y="24"/>
                </a:cxn>
                <a:cxn ang="0">
                  <a:pos x="26" y="34"/>
                </a:cxn>
                <a:cxn ang="0">
                  <a:pos x="13" y="51"/>
                </a:cxn>
                <a:cxn ang="0">
                  <a:pos x="4" y="66"/>
                </a:cxn>
                <a:cxn ang="0">
                  <a:pos x="0" y="97"/>
                </a:cxn>
                <a:cxn ang="0">
                  <a:pos x="11" y="94"/>
                </a:cxn>
                <a:cxn ang="0">
                  <a:pos x="32" y="92"/>
                </a:cxn>
                <a:cxn ang="0">
                  <a:pos x="34" y="77"/>
                </a:cxn>
                <a:cxn ang="0">
                  <a:pos x="52" y="69"/>
                </a:cxn>
                <a:cxn ang="0">
                  <a:pos x="69" y="73"/>
                </a:cxn>
                <a:cxn ang="0">
                  <a:pos x="69" y="71"/>
                </a:cxn>
                <a:cxn ang="0">
                  <a:pos x="86" y="36"/>
                </a:cxn>
                <a:cxn ang="0">
                  <a:pos x="75" y="2"/>
                </a:cxn>
                <a:cxn ang="0">
                  <a:pos x="69" y="92"/>
                </a:cxn>
                <a:cxn ang="0">
                  <a:pos x="69" y="92"/>
                </a:cxn>
                <a:cxn ang="0">
                  <a:pos x="67" y="92"/>
                </a:cxn>
                <a:cxn ang="0">
                  <a:pos x="69" y="92"/>
                </a:cxn>
              </a:cxnLst>
              <a:rect l="0" t="0" r="r" b="b"/>
              <a:pathLst>
                <a:path w="86" h="97">
                  <a:moveTo>
                    <a:pt x="75" y="2"/>
                  </a:moveTo>
                  <a:lnTo>
                    <a:pt x="69" y="0"/>
                  </a:lnTo>
                  <a:lnTo>
                    <a:pt x="35" y="7"/>
                  </a:lnTo>
                  <a:lnTo>
                    <a:pt x="19" y="7"/>
                  </a:lnTo>
                  <a:lnTo>
                    <a:pt x="17" y="24"/>
                  </a:lnTo>
                  <a:lnTo>
                    <a:pt x="26" y="34"/>
                  </a:lnTo>
                  <a:lnTo>
                    <a:pt x="13" y="51"/>
                  </a:lnTo>
                  <a:lnTo>
                    <a:pt x="4" y="66"/>
                  </a:lnTo>
                  <a:lnTo>
                    <a:pt x="0" y="97"/>
                  </a:lnTo>
                  <a:lnTo>
                    <a:pt x="11" y="94"/>
                  </a:lnTo>
                  <a:lnTo>
                    <a:pt x="32" y="92"/>
                  </a:lnTo>
                  <a:lnTo>
                    <a:pt x="34" y="77"/>
                  </a:lnTo>
                  <a:lnTo>
                    <a:pt x="52" y="69"/>
                  </a:lnTo>
                  <a:lnTo>
                    <a:pt x="69" y="73"/>
                  </a:lnTo>
                  <a:lnTo>
                    <a:pt x="69" y="71"/>
                  </a:lnTo>
                  <a:lnTo>
                    <a:pt x="86" y="36"/>
                  </a:lnTo>
                  <a:lnTo>
                    <a:pt x="75" y="2"/>
                  </a:lnTo>
                  <a:close/>
                  <a:moveTo>
                    <a:pt x="69" y="92"/>
                  </a:moveTo>
                  <a:lnTo>
                    <a:pt x="69" y="92"/>
                  </a:lnTo>
                  <a:lnTo>
                    <a:pt x="67" y="92"/>
                  </a:lnTo>
                  <a:lnTo>
                    <a:pt x="69" y="9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57" name="Freeform 6141"/>
            <p:cNvSpPr>
              <a:spLocks/>
            </p:cNvSpPr>
            <p:nvPr>
              <p:custDataLst>
                <p:tags r:id="rId403"/>
              </p:custDataLst>
            </p:nvPr>
          </p:nvSpPr>
          <p:spPr bwMode="gray">
            <a:xfrm>
              <a:off x="7208656" y="4588159"/>
              <a:ext cx="215560" cy="385368"/>
            </a:xfrm>
            <a:custGeom>
              <a:avLst/>
              <a:gdLst/>
              <a:ahLst/>
              <a:cxnLst>
                <a:cxn ang="0">
                  <a:pos x="146" y="15"/>
                </a:cxn>
                <a:cxn ang="0">
                  <a:pos x="103" y="22"/>
                </a:cxn>
                <a:cxn ang="0">
                  <a:pos x="78" y="21"/>
                </a:cxn>
                <a:cxn ang="0">
                  <a:pos x="76" y="43"/>
                </a:cxn>
                <a:cxn ang="0">
                  <a:pos x="80" y="62"/>
                </a:cxn>
                <a:cxn ang="0">
                  <a:pos x="93" y="80"/>
                </a:cxn>
                <a:cxn ang="0">
                  <a:pos x="91" y="97"/>
                </a:cxn>
                <a:cxn ang="0">
                  <a:pos x="78" y="118"/>
                </a:cxn>
                <a:cxn ang="0">
                  <a:pos x="67" y="99"/>
                </a:cxn>
                <a:cxn ang="0">
                  <a:pos x="69" y="75"/>
                </a:cxn>
                <a:cxn ang="0">
                  <a:pos x="56" y="75"/>
                </a:cxn>
                <a:cxn ang="0">
                  <a:pos x="48" y="65"/>
                </a:cxn>
                <a:cxn ang="0">
                  <a:pos x="0" y="84"/>
                </a:cxn>
                <a:cxn ang="0">
                  <a:pos x="1" y="94"/>
                </a:cxn>
                <a:cxn ang="0">
                  <a:pos x="1" y="101"/>
                </a:cxn>
                <a:cxn ang="0">
                  <a:pos x="18" y="101"/>
                </a:cxn>
                <a:cxn ang="0">
                  <a:pos x="41" y="114"/>
                </a:cxn>
                <a:cxn ang="0">
                  <a:pos x="43" y="127"/>
                </a:cxn>
                <a:cxn ang="0">
                  <a:pos x="41" y="174"/>
                </a:cxn>
                <a:cxn ang="0">
                  <a:pos x="18" y="223"/>
                </a:cxn>
                <a:cxn ang="0">
                  <a:pos x="22" y="283"/>
                </a:cxn>
                <a:cxn ang="0">
                  <a:pos x="22" y="300"/>
                </a:cxn>
                <a:cxn ang="0">
                  <a:pos x="35" y="300"/>
                </a:cxn>
                <a:cxn ang="0">
                  <a:pos x="37" y="290"/>
                </a:cxn>
                <a:cxn ang="0">
                  <a:pos x="31" y="288"/>
                </a:cxn>
                <a:cxn ang="0">
                  <a:pos x="37" y="277"/>
                </a:cxn>
                <a:cxn ang="0">
                  <a:pos x="74" y="258"/>
                </a:cxn>
                <a:cxn ang="0">
                  <a:pos x="80" y="221"/>
                </a:cxn>
                <a:cxn ang="0">
                  <a:pos x="69" y="185"/>
                </a:cxn>
                <a:cxn ang="0">
                  <a:pos x="71" y="176"/>
                </a:cxn>
                <a:cxn ang="0">
                  <a:pos x="114" y="129"/>
                </a:cxn>
                <a:cxn ang="0">
                  <a:pos x="140" y="122"/>
                </a:cxn>
                <a:cxn ang="0">
                  <a:pos x="168" y="86"/>
                </a:cxn>
                <a:cxn ang="0">
                  <a:pos x="168" y="0"/>
                </a:cxn>
                <a:cxn ang="0">
                  <a:pos x="146" y="15"/>
                </a:cxn>
              </a:cxnLst>
              <a:rect l="0" t="0" r="r" b="b"/>
              <a:pathLst>
                <a:path w="168" h="300">
                  <a:moveTo>
                    <a:pt x="146" y="15"/>
                  </a:moveTo>
                  <a:lnTo>
                    <a:pt x="103" y="22"/>
                  </a:lnTo>
                  <a:lnTo>
                    <a:pt x="78" y="21"/>
                  </a:lnTo>
                  <a:lnTo>
                    <a:pt x="76" y="43"/>
                  </a:lnTo>
                  <a:lnTo>
                    <a:pt x="80" y="62"/>
                  </a:lnTo>
                  <a:lnTo>
                    <a:pt x="93" y="80"/>
                  </a:lnTo>
                  <a:lnTo>
                    <a:pt x="91" y="97"/>
                  </a:lnTo>
                  <a:lnTo>
                    <a:pt x="78" y="118"/>
                  </a:lnTo>
                  <a:lnTo>
                    <a:pt x="67" y="99"/>
                  </a:lnTo>
                  <a:lnTo>
                    <a:pt x="69" y="75"/>
                  </a:lnTo>
                  <a:lnTo>
                    <a:pt x="56" y="75"/>
                  </a:lnTo>
                  <a:lnTo>
                    <a:pt x="48" y="65"/>
                  </a:lnTo>
                  <a:lnTo>
                    <a:pt x="0" y="84"/>
                  </a:lnTo>
                  <a:lnTo>
                    <a:pt x="1" y="94"/>
                  </a:lnTo>
                  <a:lnTo>
                    <a:pt x="1" y="101"/>
                  </a:lnTo>
                  <a:lnTo>
                    <a:pt x="18" y="101"/>
                  </a:lnTo>
                  <a:lnTo>
                    <a:pt x="41" y="114"/>
                  </a:lnTo>
                  <a:lnTo>
                    <a:pt x="43" y="127"/>
                  </a:lnTo>
                  <a:lnTo>
                    <a:pt x="41" y="174"/>
                  </a:lnTo>
                  <a:lnTo>
                    <a:pt x="18" y="223"/>
                  </a:lnTo>
                  <a:lnTo>
                    <a:pt x="22" y="283"/>
                  </a:lnTo>
                  <a:lnTo>
                    <a:pt x="22" y="300"/>
                  </a:lnTo>
                  <a:lnTo>
                    <a:pt x="35" y="300"/>
                  </a:lnTo>
                  <a:lnTo>
                    <a:pt x="37" y="290"/>
                  </a:lnTo>
                  <a:lnTo>
                    <a:pt x="31" y="288"/>
                  </a:lnTo>
                  <a:lnTo>
                    <a:pt x="37" y="277"/>
                  </a:lnTo>
                  <a:lnTo>
                    <a:pt x="74" y="258"/>
                  </a:lnTo>
                  <a:lnTo>
                    <a:pt x="80" y="221"/>
                  </a:lnTo>
                  <a:lnTo>
                    <a:pt x="69" y="185"/>
                  </a:lnTo>
                  <a:lnTo>
                    <a:pt x="71" y="176"/>
                  </a:lnTo>
                  <a:lnTo>
                    <a:pt x="114" y="129"/>
                  </a:lnTo>
                  <a:lnTo>
                    <a:pt x="140" y="122"/>
                  </a:lnTo>
                  <a:lnTo>
                    <a:pt x="168" y="86"/>
                  </a:lnTo>
                  <a:lnTo>
                    <a:pt x="168" y="0"/>
                  </a:lnTo>
                  <a:lnTo>
                    <a:pt x="146"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58" name="Freeform 6142"/>
            <p:cNvSpPr>
              <a:spLocks/>
            </p:cNvSpPr>
            <p:nvPr>
              <p:custDataLst>
                <p:tags r:id="rId404"/>
              </p:custDataLst>
            </p:nvPr>
          </p:nvSpPr>
          <p:spPr bwMode="gray">
            <a:xfrm>
              <a:off x="7292057" y="4229767"/>
              <a:ext cx="162953" cy="220944"/>
            </a:xfrm>
            <a:custGeom>
              <a:avLst/>
              <a:gdLst/>
              <a:ahLst/>
              <a:cxnLst>
                <a:cxn ang="0">
                  <a:pos x="114" y="99"/>
                </a:cxn>
                <a:cxn ang="0">
                  <a:pos x="114" y="35"/>
                </a:cxn>
                <a:cxn ang="0">
                  <a:pos x="127" y="13"/>
                </a:cxn>
                <a:cxn ang="0">
                  <a:pos x="111" y="7"/>
                </a:cxn>
                <a:cxn ang="0">
                  <a:pos x="81" y="20"/>
                </a:cxn>
                <a:cxn ang="0">
                  <a:pos x="62" y="17"/>
                </a:cxn>
                <a:cxn ang="0">
                  <a:pos x="43" y="0"/>
                </a:cxn>
                <a:cxn ang="0">
                  <a:pos x="30" y="0"/>
                </a:cxn>
                <a:cxn ang="0">
                  <a:pos x="8" y="0"/>
                </a:cxn>
                <a:cxn ang="0">
                  <a:pos x="0" y="11"/>
                </a:cxn>
                <a:cxn ang="0">
                  <a:pos x="6" y="13"/>
                </a:cxn>
                <a:cxn ang="0">
                  <a:pos x="17" y="47"/>
                </a:cxn>
                <a:cxn ang="0">
                  <a:pos x="0" y="82"/>
                </a:cxn>
                <a:cxn ang="0">
                  <a:pos x="0" y="84"/>
                </a:cxn>
                <a:cxn ang="0">
                  <a:pos x="4" y="93"/>
                </a:cxn>
                <a:cxn ang="0">
                  <a:pos x="0" y="103"/>
                </a:cxn>
                <a:cxn ang="0">
                  <a:pos x="0" y="103"/>
                </a:cxn>
                <a:cxn ang="0">
                  <a:pos x="4" y="103"/>
                </a:cxn>
                <a:cxn ang="0">
                  <a:pos x="58" y="138"/>
                </a:cxn>
                <a:cxn ang="0">
                  <a:pos x="64" y="153"/>
                </a:cxn>
                <a:cxn ang="0">
                  <a:pos x="86" y="172"/>
                </a:cxn>
                <a:cxn ang="0">
                  <a:pos x="101" y="140"/>
                </a:cxn>
                <a:cxn ang="0">
                  <a:pos x="101" y="131"/>
                </a:cxn>
                <a:cxn ang="0">
                  <a:pos x="109" y="131"/>
                </a:cxn>
                <a:cxn ang="0">
                  <a:pos x="124" y="116"/>
                </a:cxn>
                <a:cxn ang="0">
                  <a:pos x="124" y="116"/>
                </a:cxn>
                <a:cxn ang="0">
                  <a:pos x="114" y="99"/>
                </a:cxn>
              </a:cxnLst>
              <a:rect l="0" t="0" r="r" b="b"/>
              <a:pathLst>
                <a:path w="127" h="172">
                  <a:moveTo>
                    <a:pt x="114" y="99"/>
                  </a:moveTo>
                  <a:lnTo>
                    <a:pt x="114" y="35"/>
                  </a:lnTo>
                  <a:lnTo>
                    <a:pt x="127" y="13"/>
                  </a:lnTo>
                  <a:lnTo>
                    <a:pt x="111" y="7"/>
                  </a:lnTo>
                  <a:lnTo>
                    <a:pt x="81" y="20"/>
                  </a:lnTo>
                  <a:lnTo>
                    <a:pt x="62" y="17"/>
                  </a:lnTo>
                  <a:lnTo>
                    <a:pt x="43" y="0"/>
                  </a:lnTo>
                  <a:lnTo>
                    <a:pt x="30" y="0"/>
                  </a:lnTo>
                  <a:lnTo>
                    <a:pt x="8" y="0"/>
                  </a:lnTo>
                  <a:lnTo>
                    <a:pt x="0" y="11"/>
                  </a:lnTo>
                  <a:lnTo>
                    <a:pt x="6" y="13"/>
                  </a:lnTo>
                  <a:lnTo>
                    <a:pt x="17" y="47"/>
                  </a:lnTo>
                  <a:lnTo>
                    <a:pt x="0" y="82"/>
                  </a:lnTo>
                  <a:lnTo>
                    <a:pt x="0" y="84"/>
                  </a:lnTo>
                  <a:lnTo>
                    <a:pt x="4" y="93"/>
                  </a:lnTo>
                  <a:lnTo>
                    <a:pt x="0" y="103"/>
                  </a:lnTo>
                  <a:lnTo>
                    <a:pt x="0" y="103"/>
                  </a:lnTo>
                  <a:lnTo>
                    <a:pt x="4" y="103"/>
                  </a:lnTo>
                  <a:lnTo>
                    <a:pt x="58" y="138"/>
                  </a:lnTo>
                  <a:lnTo>
                    <a:pt x="64" y="153"/>
                  </a:lnTo>
                  <a:lnTo>
                    <a:pt x="86" y="172"/>
                  </a:lnTo>
                  <a:lnTo>
                    <a:pt x="101" y="140"/>
                  </a:lnTo>
                  <a:lnTo>
                    <a:pt x="101" y="131"/>
                  </a:lnTo>
                  <a:lnTo>
                    <a:pt x="109" y="131"/>
                  </a:lnTo>
                  <a:lnTo>
                    <a:pt x="124" y="116"/>
                  </a:lnTo>
                  <a:lnTo>
                    <a:pt x="124" y="116"/>
                  </a:lnTo>
                  <a:lnTo>
                    <a:pt x="114" y="9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59" name="Freeform 6143"/>
            <p:cNvSpPr>
              <a:spLocks/>
            </p:cNvSpPr>
            <p:nvPr>
              <p:custDataLst>
                <p:tags r:id="rId405"/>
              </p:custDataLst>
            </p:nvPr>
          </p:nvSpPr>
          <p:spPr bwMode="gray">
            <a:xfrm>
              <a:off x="7198392" y="4362077"/>
              <a:ext cx="225824" cy="254343"/>
            </a:xfrm>
            <a:custGeom>
              <a:avLst/>
              <a:gdLst/>
              <a:ahLst/>
              <a:cxnLst>
                <a:cxn ang="0">
                  <a:pos x="165" y="167"/>
                </a:cxn>
                <a:cxn ang="0">
                  <a:pos x="159" y="146"/>
                </a:cxn>
                <a:cxn ang="0">
                  <a:pos x="163" y="112"/>
                </a:cxn>
                <a:cxn ang="0">
                  <a:pos x="150" y="95"/>
                </a:cxn>
                <a:cxn ang="0">
                  <a:pos x="159" y="69"/>
                </a:cxn>
                <a:cxn ang="0">
                  <a:pos x="137" y="50"/>
                </a:cxn>
                <a:cxn ang="0">
                  <a:pos x="131" y="35"/>
                </a:cxn>
                <a:cxn ang="0">
                  <a:pos x="77" y="0"/>
                </a:cxn>
                <a:cxn ang="0">
                  <a:pos x="71" y="0"/>
                </a:cxn>
                <a:cxn ang="0">
                  <a:pos x="60" y="20"/>
                </a:cxn>
                <a:cxn ang="0">
                  <a:pos x="69" y="22"/>
                </a:cxn>
                <a:cxn ang="0">
                  <a:pos x="64" y="28"/>
                </a:cxn>
                <a:cxn ang="0">
                  <a:pos x="43" y="26"/>
                </a:cxn>
                <a:cxn ang="0">
                  <a:pos x="38" y="34"/>
                </a:cxn>
                <a:cxn ang="0">
                  <a:pos x="34" y="20"/>
                </a:cxn>
                <a:cxn ang="0">
                  <a:pos x="36" y="0"/>
                </a:cxn>
                <a:cxn ang="0">
                  <a:pos x="15" y="2"/>
                </a:cxn>
                <a:cxn ang="0">
                  <a:pos x="23" y="15"/>
                </a:cxn>
                <a:cxn ang="0">
                  <a:pos x="19" y="26"/>
                </a:cxn>
                <a:cxn ang="0">
                  <a:pos x="19" y="45"/>
                </a:cxn>
                <a:cxn ang="0">
                  <a:pos x="4" y="63"/>
                </a:cxn>
                <a:cxn ang="0">
                  <a:pos x="0" y="63"/>
                </a:cxn>
                <a:cxn ang="0">
                  <a:pos x="8" y="88"/>
                </a:cxn>
                <a:cxn ang="0">
                  <a:pos x="4" y="97"/>
                </a:cxn>
                <a:cxn ang="0">
                  <a:pos x="17" y="108"/>
                </a:cxn>
                <a:cxn ang="0">
                  <a:pos x="23" y="137"/>
                </a:cxn>
                <a:cxn ang="0">
                  <a:pos x="26" y="140"/>
                </a:cxn>
                <a:cxn ang="0">
                  <a:pos x="26" y="140"/>
                </a:cxn>
                <a:cxn ang="0">
                  <a:pos x="56" y="155"/>
                </a:cxn>
                <a:cxn ang="0">
                  <a:pos x="71" y="159"/>
                </a:cxn>
                <a:cxn ang="0">
                  <a:pos x="73" y="159"/>
                </a:cxn>
                <a:cxn ang="0">
                  <a:pos x="73" y="159"/>
                </a:cxn>
                <a:cxn ang="0">
                  <a:pos x="79" y="165"/>
                </a:cxn>
                <a:cxn ang="0">
                  <a:pos x="86" y="197"/>
                </a:cxn>
                <a:cxn ang="0">
                  <a:pos x="111" y="198"/>
                </a:cxn>
                <a:cxn ang="0">
                  <a:pos x="154" y="191"/>
                </a:cxn>
                <a:cxn ang="0">
                  <a:pos x="176" y="176"/>
                </a:cxn>
                <a:cxn ang="0">
                  <a:pos x="165" y="167"/>
                </a:cxn>
              </a:cxnLst>
              <a:rect l="0" t="0" r="r" b="b"/>
              <a:pathLst>
                <a:path w="176" h="198">
                  <a:moveTo>
                    <a:pt x="165" y="167"/>
                  </a:moveTo>
                  <a:lnTo>
                    <a:pt x="159" y="146"/>
                  </a:lnTo>
                  <a:lnTo>
                    <a:pt x="163" y="112"/>
                  </a:lnTo>
                  <a:lnTo>
                    <a:pt x="150" y="95"/>
                  </a:lnTo>
                  <a:lnTo>
                    <a:pt x="159" y="69"/>
                  </a:lnTo>
                  <a:lnTo>
                    <a:pt x="137" y="50"/>
                  </a:lnTo>
                  <a:lnTo>
                    <a:pt x="131" y="35"/>
                  </a:lnTo>
                  <a:lnTo>
                    <a:pt x="77" y="0"/>
                  </a:lnTo>
                  <a:lnTo>
                    <a:pt x="71" y="0"/>
                  </a:lnTo>
                  <a:lnTo>
                    <a:pt x="60" y="20"/>
                  </a:lnTo>
                  <a:lnTo>
                    <a:pt x="69" y="22"/>
                  </a:lnTo>
                  <a:lnTo>
                    <a:pt x="64" y="28"/>
                  </a:lnTo>
                  <a:lnTo>
                    <a:pt x="43" y="26"/>
                  </a:lnTo>
                  <a:lnTo>
                    <a:pt x="38" y="34"/>
                  </a:lnTo>
                  <a:lnTo>
                    <a:pt x="34" y="20"/>
                  </a:lnTo>
                  <a:lnTo>
                    <a:pt x="36" y="0"/>
                  </a:lnTo>
                  <a:lnTo>
                    <a:pt x="15" y="2"/>
                  </a:lnTo>
                  <a:lnTo>
                    <a:pt x="23" y="15"/>
                  </a:lnTo>
                  <a:lnTo>
                    <a:pt x="19" y="26"/>
                  </a:lnTo>
                  <a:lnTo>
                    <a:pt x="19" y="45"/>
                  </a:lnTo>
                  <a:lnTo>
                    <a:pt x="4" y="63"/>
                  </a:lnTo>
                  <a:lnTo>
                    <a:pt x="0" y="63"/>
                  </a:lnTo>
                  <a:lnTo>
                    <a:pt x="8" y="88"/>
                  </a:lnTo>
                  <a:lnTo>
                    <a:pt x="4" y="97"/>
                  </a:lnTo>
                  <a:lnTo>
                    <a:pt x="17" y="108"/>
                  </a:lnTo>
                  <a:lnTo>
                    <a:pt x="23" y="137"/>
                  </a:lnTo>
                  <a:lnTo>
                    <a:pt x="26" y="140"/>
                  </a:lnTo>
                  <a:lnTo>
                    <a:pt x="26" y="140"/>
                  </a:lnTo>
                  <a:lnTo>
                    <a:pt x="56" y="155"/>
                  </a:lnTo>
                  <a:lnTo>
                    <a:pt x="71" y="159"/>
                  </a:lnTo>
                  <a:lnTo>
                    <a:pt x="73" y="159"/>
                  </a:lnTo>
                  <a:lnTo>
                    <a:pt x="73" y="159"/>
                  </a:lnTo>
                  <a:lnTo>
                    <a:pt x="79" y="165"/>
                  </a:lnTo>
                  <a:lnTo>
                    <a:pt x="86" y="197"/>
                  </a:lnTo>
                  <a:lnTo>
                    <a:pt x="111" y="198"/>
                  </a:lnTo>
                  <a:lnTo>
                    <a:pt x="154" y="191"/>
                  </a:lnTo>
                  <a:lnTo>
                    <a:pt x="176" y="176"/>
                  </a:lnTo>
                  <a:lnTo>
                    <a:pt x="165" y="16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60" name="Freeform 6144"/>
            <p:cNvSpPr>
              <a:spLocks/>
            </p:cNvSpPr>
            <p:nvPr>
              <p:custDataLst>
                <p:tags r:id="rId406"/>
              </p:custDataLst>
            </p:nvPr>
          </p:nvSpPr>
          <p:spPr bwMode="gray">
            <a:xfrm>
              <a:off x="7665915" y="3280380"/>
              <a:ext cx="351567" cy="201676"/>
            </a:xfrm>
            <a:custGeom>
              <a:avLst/>
              <a:gdLst/>
              <a:ahLst/>
              <a:cxnLst>
                <a:cxn ang="0">
                  <a:pos x="247" y="75"/>
                </a:cxn>
                <a:cxn ang="0">
                  <a:pos x="246" y="82"/>
                </a:cxn>
                <a:cxn ang="0">
                  <a:pos x="227" y="77"/>
                </a:cxn>
                <a:cxn ang="0">
                  <a:pos x="238" y="63"/>
                </a:cxn>
                <a:cxn ang="0">
                  <a:pos x="232" y="60"/>
                </a:cxn>
                <a:cxn ang="0">
                  <a:pos x="231" y="65"/>
                </a:cxn>
                <a:cxn ang="0">
                  <a:pos x="208" y="84"/>
                </a:cxn>
                <a:cxn ang="0">
                  <a:pos x="178" y="80"/>
                </a:cxn>
                <a:cxn ang="0">
                  <a:pos x="173" y="69"/>
                </a:cxn>
                <a:cxn ang="0">
                  <a:pos x="163" y="67"/>
                </a:cxn>
                <a:cxn ang="0">
                  <a:pos x="161" y="48"/>
                </a:cxn>
                <a:cxn ang="0">
                  <a:pos x="139" y="35"/>
                </a:cxn>
                <a:cxn ang="0">
                  <a:pos x="96" y="39"/>
                </a:cxn>
                <a:cxn ang="0">
                  <a:pos x="79" y="28"/>
                </a:cxn>
                <a:cxn ang="0">
                  <a:pos x="75" y="35"/>
                </a:cxn>
                <a:cxn ang="0">
                  <a:pos x="43" y="35"/>
                </a:cxn>
                <a:cxn ang="0">
                  <a:pos x="34" y="13"/>
                </a:cxn>
                <a:cxn ang="0">
                  <a:pos x="38" y="2"/>
                </a:cxn>
                <a:cxn ang="0">
                  <a:pos x="38" y="0"/>
                </a:cxn>
                <a:cxn ang="0">
                  <a:pos x="0" y="11"/>
                </a:cxn>
                <a:cxn ang="0">
                  <a:pos x="17" y="80"/>
                </a:cxn>
                <a:cxn ang="0">
                  <a:pos x="30" y="80"/>
                </a:cxn>
                <a:cxn ang="0">
                  <a:pos x="28" y="67"/>
                </a:cxn>
                <a:cxn ang="0">
                  <a:pos x="41" y="58"/>
                </a:cxn>
                <a:cxn ang="0">
                  <a:pos x="43" y="56"/>
                </a:cxn>
                <a:cxn ang="0">
                  <a:pos x="49" y="52"/>
                </a:cxn>
                <a:cxn ang="0">
                  <a:pos x="71" y="62"/>
                </a:cxn>
                <a:cxn ang="0">
                  <a:pos x="77" y="78"/>
                </a:cxn>
                <a:cxn ang="0">
                  <a:pos x="105" y="82"/>
                </a:cxn>
                <a:cxn ang="0">
                  <a:pos x="120" y="107"/>
                </a:cxn>
                <a:cxn ang="0">
                  <a:pos x="171" y="135"/>
                </a:cxn>
                <a:cxn ang="0">
                  <a:pos x="186" y="138"/>
                </a:cxn>
                <a:cxn ang="0">
                  <a:pos x="189" y="152"/>
                </a:cxn>
                <a:cxn ang="0">
                  <a:pos x="208" y="157"/>
                </a:cxn>
                <a:cxn ang="0">
                  <a:pos x="214" y="137"/>
                </a:cxn>
                <a:cxn ang="0">
                  <a:pos x="206" y="122"/>
                </a:cxn>
                <a:cxn ang="0">
                  <a:pos x="193" y="116"/>
                </a:cxn>
                <a:cxn ang="0">
                  <a:pos x="195" y="110"/>
                </a:cxn>
                <a:cxn ang="0">
                  <a:pos x="210" y="110"/>
                </a:cxn>
                <a:cxn ang="0">
                  <a:pos x="212" y="103"/>
                </a:cxn>
                <a:cxn ang="0">
                  <a:pos x="219" y="99"/>
                </a:cxn>
                <a:cxn ang="0">
                  <a:pos x="217" y="90"/>
                </a:cxn>
                <a:cxn ang="0">
                  <a:pos x="232" y="84"/>
                </a:cxn>
                <a:cxn ang="0">
                  <a:pos x="238" y="99"/>
                </a:cxn>
                <a:cxn ang="0">
                  <a:pos x="244" y="99"/>
                </a:cxn>
                <a:cxn ang="0">
                  <a:pos x="259" y="97"/>
                </a:cxn>
                <a:cxn ang="0">
                  <a:pos x="274" y="88"/>
                </a:cxn>
                <a:cxn ang="0">
                  <a:pos x="247" y="75"/>
                </a:cxn>
              </a:cxnLst>
              <a:rect l="0" t="0" r="r" b="b"/>
              <a:pathLst>
                <a:path w="274" h="157">
                  <a:moveTo>
                    <a:pt x="247" y="75"/>
                  </a:moveTo>
                  <a:lnTo>
                    <a:pt x="246" y="82"/>
                  </a:lnTo>
                  <a:lnTo>
                    <a:pt x="227" y="77"/>
                  </a:lnTo>
                  <a:lnTo>
                    <a:pt x="238" y="63"/>
                  </a:lnTo>
                  <a:lnTo>
                    <a:pt x="232" y="60"/>
                  </a:lnTo>
                  <a:lnTo>
                    <a:pt x="231" y="65"/>
                  </a:lnTo>
                  <a:lnTo>
                    <a:pt x="208" y="84"/>
                  </a:lnTo>
                  <a:lnTo>
                    <a:pt x="178" y="80"/>
                  </a:lnTo>
                  <a:lnTo>
                    <a:pt x="173" y="69"/>
                  </a:lnTo>
                  <a:lnTo>
                    <a:pt x="163" y="67"/>
                  </a:lnTo>
                  <a:lnTo>
                    <a:pt x="161" y="48"/>
                  </a:lnTo>
                  <a:lnTo>
                    <a:pt x="139" y="35"/>
                  </a:lnTo>
                  <a:lnTo>
                    <a:pt x="96" y="39"/>
                  </a:lnTo>
                  <a:lnTo>
                    <a:pt x="79" y="28"/>
                  </a:lnTo>
                  <a:lnTo>
                    <a:pt x="75" y="35"/>
                  </a:lnTo>
                  <a:lnTo>
                    <a:pt x="43" y="35"/>
                  </a:lnTo>
                  <a:lnTo>
                    <a:pt x="34" y="13"/>
                  </a:lnTo>
                  <a:lnTo>
                    <a:pt x="38" y="2"/>
                  </a:lnTo>
                  <a:lnTo>
                    <a:pt x="38" y="0"/>
                  </a:lnTo>
                  <a:lnTo>
                    <a:pt x="0" y="11"/>
                  </a:lnTo>
                  <a:lnTo>
                    <a:pt x="17" y="80"/>
                  </a:lnTo>
                  <a:lnTo>
                    <a:pt x="30" y="80"/>
                  </a:lnTo>
                  <a:lnTo>
                    <a:pt x="28" y="67"/>
                  </a:lnTo>
                  <a:lnTo>
                    <a:pt x="41" y="58"/>
                  </a:lnTo>
                  <a:lnTo>
                    <a:pt x="43" y="56"/>
                  </a:lnTo>
                  <a:lnTo>
                    <a:pt x="49" y="52"/>
                  </a:lnTo>
                  <a:lnTo>
                    <a:pt x="71" y="62"/>
                  </a:lnTo>
                  <a:lnTo>
                    <a:pt x="77" y="78"/>
                  </a:lnTo>
                  <a:lnTo>
                    <a:pt x="105" y="82"/>
                  </a:lnTo>
                  <a:lnTo>
                    <a:pt x="120" y="107"/>
                  </a:lnTo>
                  <a:lnTo>
                    <a:pt x="171" y="135"/>
                  </a:lnTo>
                  <a:lnTo>
                    <a:pt x="186" y="138"/>
                  </a:lnTo>
                  <a:lnTo>
                    <a:pt x="189" y="152"/>
                  </a:lnTo>
                  <a:lnTo>
                    <a:pt x="208" y="157"/>
                  </a:lnTo>
                  <a:lnTo>
                    <a:pt x="214" y="137"/>
                  </a:lnTo>
                  <a:lnTo>
                    <a:pt x="206" y="122"/>
                  </a:lnTo>
                  <a:lnTo>
                    <a:pt x="193" y="116"/>
                  </a:lnTo>
                  <a:lnTo>
                    <a:pt x="195" y="110"/>
                  </a:lnTo>
                  <a:lnTo>
                    <a:pt x="210" y="110"/>
                  </a:lnTo>
                  <a:lnTo>
                    <a:pt x="212" y="103"/>
                  </a:lnTo>
                  <a:lnTo>
                    <a:pt x="219" y="99"/>
                  </a:lnTo>
                  <a:lnTo>
                    <a:pt x="217" y="90"/>
                  </a:lnTo>
                  <a:lnTo>
                    <a:pt x="232" y="84"/>
                  </a:lnTo>
                  <a:lnTo>
                    <a:pt x="238" y="99"/>
                  </a:lnTo>
                  <a:lnTo>
                    <a:pt x="244" y="99"/>
                  </a:lnTo>
                  <a:lnTo>
                    <a:pt x="259" y="97"/>
                  </a:lnTo>
                  <a:lnTo>
                    <a:pt x="274" y="88"/>
                  </a:lnTo>
                  <a:lnTo>
                    <a:pt x="247" y="7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761" name="Freeform 6145"/>
            <p:cNvSpPr>
              <a:spLocks/>
            </p:cNvSpPr>
            <p:nvPr>
              <p:custDataLst>
                <p:tags r:id="rId407"/>
              </p:custDataLst>
            </p:nvPr>
          </p:nvSpPr>
          <p:spPr bwMode="gray">
            <a:xfrm>
              <a:off x="7955894" y="3475633"/>
              <a:ext cx="637697" cy="707792"/>
            </a:xfrm>
            <a:custGeom>
              <a:avLst/>
              <a:gdLst/>
              <a:ahLst/>
              <a:cxnLst>
                <a:cxn ang="0">
                  <a:pos x="428" y="154"/>
                </a:cxn>
                <a:cxn ang="0">
                  <a:pos x="412" y="177"/>
                </a:cxn>
                <a:cxn ang="0">
                  <a:pos x="374" y="191"/>
                </a:cxn>
                <a:cxn ang="0">
                  <a:pos x="356" y="173"/>
                </a:cxn>
                <a:cxn ang="0">
                  <a:pos x="345" y="193"/>
                </a:cxn>
                <a:cxn ang="0">
                  <a:pos x="308" y="198"/>
                </a:cxn>
                <a:cxn ang="0">
                  <a:pos x="285" y="185"/>
                </a:cxn>
                <a:cxn ang="0">
                  <a:pos x="239" y="175"/>
                </a:cxn>
                <a:cxn ang="0">
                  <a:pos x="212" y="164"/>
                </a:cxn>
                <a:cxn ang="0">
                  <a:pos x="218" y="135"/>
                </a:cxn>
                <a:cxn ang="0">
                  <a:pos x="191" y="110"/>
                </a:cxn>
                <a:cxn ang="0">
                  <a:pos x="185" y="92"/>
                </a:cxn>
                <a:cxn ang="0">
                  <a:pos x="187" y="67"/>
                </a:cxn>
                <a:cxn ang="0">
                  <a:pos x="206" y="31"/>
                </a:cxn>
                <a:cxn ang="0">
                  <a:pos x="164" y="33"/>
                </a:cxn>
                <a:cxn ang="0">
                  <a:pos x="123" y="4"/>
                </a:cxn>
                <a:cxn ang="0">
                  <a:pos x="94" y="23"/>
                </a:cxn>
                <a:cxn ang="0">
                  <a:pos x="108" y="40"/>
                </a:cxn>
                <a:cxn ang="0">
                  <a:pos x="102" y="79"/>
                </a:cxn>
                <a:cxn ang="0">
                  <a:pos x="127" y="94"/>
                </a:cxn>
                <a:cxn ang="0">
                  <a:pos x="110" y="119"/>
                </a:cxn>
                <a:cxn ang="0">
                  <a:pos x="75" y="158"/>
                </a:cxn>
                <a:cxn ang="0">
                  <a:pos x="46" y="171"/>
                </a:cxn>
                <a:cxn ang="0">
                  <a:pos x="31" y="198"/>
                </a:cxn>
                <a:cxn ang="0">
                  <a:pos x="46" y="223"/>
                </a:cxn>
                <a:cxn ang="0">
                  <a:pos x="35" y="239"/>
                </a:cxn>
                <a:cxn ang="0">
                  <a:pos x="8" y="243"/>
                </a:cxn>
                <a:cxn ang="0">
                  <a:pos x="15" y="262"/>
                </a:cxn>
                <a:cxn ang="0">
                  <a:pos x="46" y="260"/>
                </a:cxn>
                <a:cxn ang="0">
                  <a:pos x="21" y="279"/>
                </a:cxn>
                <a:cxn ang="0">
                  <a:pos x="54" y="304"/>
                </a:cxn>
                <a:cxn ang="0">
                  <a:pos x="69" y="279"/>
                </a:cxn>
                <a:cxn ang="0">
                  <a:pos x="81" y="302"/>
                </a:cxn>
                <a:cxn ang="0">
                  <a:pos x="85" y="370"/>
                </a:cxn>
                <a:cxn ang="0">
                  <a:pos x="102" y="424"/>
                </a:cxn>
                <a:cxn ang="0">
                  <a:pos x="110" y="451"/>
                </a:cxn>
                <a:cxn ang="0">
                  <a:pos x="135" y="503"/>
                </a:cxn>
                <a:cxn ang="0">
                  <a:pos x="164" y="551"/>
                </a:cxn>
                <a:cxn ang="0">
                  <a:pos x="193" y="530"/>
                </a:cxn>
                <a:cxn ang="0">
                  <a:pos x="198" y="514"/>
                </a:cxn>
                <a:cxn ang="0">
                  <a:pos x="210" y="493"/>
                </a:cxn>
                <a:cxn ang="0">
                  <a:pos x="218" y="453"/>
                </a:cxn>
                <a:cxn ang="0">
                  <a:pos x="214" y="426"/>
                </a:cxn>
                <a:cxn ang="0">
                  <a:pos x="237" y="393"/>
                </a:cxn>
                <a:cxn ang="0">
                  <a:pos x="268" y="368"/>
                </a:cxn>
                <a:cxn ang="0">
                  <a:pos x="299" y="333"/>
                </a:cxn>
                <a:cxn ang="0">
                  <a:pos x="331" y="308"/>
                </a:cxn>
                <a:cxn ang="0">
                  <a:pos x="351" y="285"/>
                </a:cxn>
                <a:cxn ang="0">
                  <a:pos x="358" y="250"/>
                </a:cxn>
                <a:cxn ang="0">
                  <a:pos x="351" y="220"/>
                </a:cxn>
                <a:cxn ang="0">
                  <a:pos x="345" y="210"/>
                </a:cxn>
                <a:cxn ang="0">
                  <a:pos x="368" y="206"/>
                </a:cxn>
                <a:cxn ang="0">
                  <a:pos x="376" y="216"/>
                </a:cxn>
                <a:cxn ang="0">
                  <a:pos x="422" y="220"/>
                </a:cxn>
                <a:cxn ang="0">
                  <a:pos x="401" y="245"/>
                </a:cxn>
                <a:cxn ang="0">
                  <a:pos x="418" y="245"/>
                </a:cxn>
                <a:cxn ang="0">
                  <a:pos x="437" y="275"/>
                </a:cxn>
                <a:cxn ang="0">
                  <a:pos x="441" y="241"/>
                </a:cxn>
                <a:cxn ang="0">
                  <a:pos x="460" y="214"/>
                </a:cxn>
                <a:cxn ang="0">
                  <a:pos x="472" y="179"/>
                </a:cxn>
                <a:cxn ang="0">
                  <a:pos x="491" y="160"/>
                </a:cxn>
                <a:cxn ang="0">
                  <a:pos x="480" y="135"/>
                </a:cxn>
              </a:cxnLst>
              <a:rect l="0" t="0" r="r" b="b"/>
              <a:pathLst>
                <a:path w="497" h="551">
                  <a:moveTo>
                    <a:pt x="476" y="131"/>
                  </a:moveTo>
                  <a:lnTo>
                    <a:pt x="472" y="131"/>
                  </a:lnTo>
                  <a:lnTo>
                    <a:pt x="466" y="133"/>
                  </a:lnTo>
                  <a:lnTo>
                    <a:pt x="464" y="135"/>
                  </a:lnTo>
                  <a:lnTo>
                    <a:pt x="462" y="139"/>
                  </a:lnTo>
                  <a:lnTo>
                    <a:pt x="458" y="137"/>
                  </a:lnTo>
                  <a:lnTo>
                    <a:pt x="453" y="137"/>
                  </a:lnTo>
                  <a:lnTo>
                    <a:pt x="451" y="135"/>
                  </a:lnTo>
                  <a:lnTo>
                    <a:pt x="447" y="135"/>
                  </a:lnTo>
                  <a:lnTo>
                    <a:pt x="443" y="139"/>
                  </a:lnTo>
                  <a:lnTo>
                    <a:pt x="430" y="152"/>
                  </a:lnTo>
                  <a:lnTo>
                    <a:pt x="428" y="154"/>
                  </a:lnTo>
                  <a:lnTo>
                    <a:pt x="422" y="160"/>
                  </a:lnTo>
                  <a:lnTo>
                    <a:pt x="418" y="166"/>
                  </a:lnTo>
                  <a:lnTo>
                    <a:pt x="416" y="168"/>
                  </a:lnTo>
                  <a:lnTo>
                    <a:pt x="403" y="168"/>
                  </a:lnTo>
                  <a:lnTo>
                    <a:pt x="403" y="166"/>
                  </a:lnTo>
                  <a:lnTo>
                    <a:pt x="399" y="166"/>
                  </a:lnTo>
                  <a:lnTo>
                    <a:pt x="399" y="168"/>
                  </a:lnTo>
                  <a:lnTo>
                    <a:pt x="399" y="173"/>
                  </a:lnTo>
                  <a:lnTo>
                    <a:pt x="403" y="175"/>
                  </a:lnTo>
                  <a:lnTo>
                    <a:pt x="406" y="173"/>
                  </a:lnTo>
                  <a:lnTo>
                    <a:pt x="410" y="175"/>
                  </a:lnTo>
                  <a:lnTo>
                    <a:pt x="412" y="177"/>
                  </a:lnTo>
                  <a:lnTo>
                    <a:pt x="410" y="179"/>
                  </a:lnTo>
                  <a:lnTo>
                    <a:pt x="412" y="183"/>
                  </a:lnTo>
                  <a:lnTo>
                    <a:pt x="410" y="185"/>
                  </a:lnTo>
                  <a:lnTo>
                    <a:pt x="406" y="187"/>
                  </a:lnTo>
                  <a:lnTo>
                    <a:pt x="403" y="187"/>
                  </a:lnTo>
                  <a:lnTo>
                    <a:pt x="393" y="187"/>
                  </a:lnTo>
                  <a:lnTo>
                    <a:pt x="389" y="189"/>
                  </a:lnTo>
                  <a:lnTo>
                    <a:pt x="385" y="189"/>
                  </a:lnTo>
                  <a:lnTo>
                    <a:pt x="383" y="187"/>
                  </a:lnTo>
                  <a:lnTo>
                    <a:pt x="378" y="189"/>
                  </a:lnTo>
                  <a:lnTo>
                    <a:pt x="376" y="191"/>
                  </a:lnTo>
                  <a:lnTo>
                    <a:pt x="374" y="191"/>
                  </a:lnTo>
                  <a:lnTo>
                    <a:pt x="370" y="191"/>
                  </a:lnTo>
                  <a:lnTo>
                    <a:pt x="366" y="189"/>
                  </a:lnTo>
                  <a:lnTo>
                    <a:pt x="364" y="191"/>
                  </a:lnTo>
                  <a:lnTo>
                    <a:pt x="360" y="189"/>
                  </a:lnTo>
                  <a:lnTo>
                    <a:pt x="358" y="187"/>
                  </a:lnTo>
                  <a:lnTo>
                    <a:pt x="354" y="185"/>
                  </a:lnTo>
                  <a:lnTo>
                    <a:pt x="354" y="183"/>
                  </a:lnTo>
                  <a:lnTo>
                    <a:pt x="356" y="181"/>
                  </a:lnTo>
                  <a:lnTo>
                    <a:pt x="356" y="181"/>
                  </a:lnTo>
                  <a:lnTo>
                    <a:pt x="354" y="179"/>
                  </a:lnTo>
                  <a:lnTo>
                    <a:pt x="354" y="175"/>
                  </a:lnTo>
                  <a:lnTo>
                    <a:pt x="356" y="173"/>
                  </a:lnTo>
                  <a:lnTo>
                    <a:pt x="356" y="171"/>
                  </a:lnTo>
                  <a:lnTo>
                    <a:pt x="354" y="168"/>
                  </a:lnTo>
                  <a:lnTo>
                    <a:pt x="354" y="166"/>
                  </a:lnTo>
                  <a:lnTo>
                    <a:pt x="349" y="166"/>
                  </a:lnTo>
                  <a:lnTo>
                    <a:pt x="345" y="168"/>
                  </a:lnTo>
                  <a:lnTo>
                    <a:pt x="345" y="171"/>
                  </a:lnTo>
                  <a:lnTo>
                    <a:pt x="341" y="171"/>
                  </a:lnTo>
                  <a:lnTo>
                    <a:pt x="341" y="183"/>
                  </a:lnTo>
                  <a:lnTo>
                    <a:pt x="343" y="185"/>
                  </a:lnTo>
                  <a:lnTo>
                    <a:pt x="341" y="189"/>
                  </a:lnTo>
                  <a:lnTo>
                    <a:pt x="343" y="189"/>
                  </a:lnTo>
                  <a:lnTo>
                    <a:pt x="345" y="193"/>
                  </a:lnTo>
                  <a:lnTo>
                    <a:pt x="343" y="193"/>
                  </a:lnTo>
                  <a:lnTo>
                    <a:pt x="345" y="198"/>
                  </a:lnTo>
                  <a:lnTo>
                    <a:pt x="343" y="200"/>
                  </a:lnTo>
                  <a:lnTo>
                    <a:pt x="329" y="200"/>
                  </a:lnTo>
                  <a:lnTo>
                    <a:pt x="326" y="198"/>
                  </a:lnTo>
                  <a:lnTo>
                    <a:pt x="324" y="200"/>
                  </a:lnTo>
                  <a:lnTo>
                    <a:pt x="322" y="202"/>
                  </a:lnTo>
                  <a:lnTo>
                    <a:pt x="320" y="200"/>
                  </a:lnTo>
                  <a:lnTo>
                    <a:pt x="318" y="200"/>
                  </a:lnTo>
                  <a:lnTo>
                    <a:pt x="314" y="198"/>
                  </a:lnTo>
                  <a:lnTo>
                    <a:pt x="312" y="198"/>
                  </a:lnTo>
                  <a:lnTo>
                    <a:pt x="308" y="198"/>
                  </a:lnTo>
                  <a:lnTo>
                    <a:pt x="306" y="198"/>
                  </a:lnTo>
                  <a:lnTo>
                    <a:pt x="306" y="196"/>
                  </a:lnTo>
                  <a:lnTo>
                    <a:pt x="302" y="193"/>
                  </a:lnTo>
                  <a:lnTo>
                    <a:pt x="299" y="193"/>
                  </a:lnTo>
                  <a:lnTo>
                    <a:pt x="297" y="193"/>
                  </a:lnTo>
                  <a:lnTo>
                    <a:pt x="295" y="196"/>
                  </a:lnTo>
                  <a:lnTo>
                    <a:pt x="293" y="193"/>
                  </a:lnTo>
                  <a:lnTo>
                    <a:pt x="291" y="193"/>
                  </a:lnTo>
                  <a:lnTo>
                    <a:pt x="289" y="191"/>
                  </a:lnTo>
                  <a:lnTo>
                    <a:pt x="285" y="189"/>
                  </a:lnTo>
                  <a:lnTo>
                    <a:pt x="285" y="187"/>
                  </a:lnTo>
                  <a:lnTo>
                    <a:pt x="285" y="185"/>
                  </a:lnTo>
                  <a:lnTo>
                    <a:pt x="279" y="185"/>
                  </a:lnTo>
                  <a:lnTo>
                    <a:pt x="277" y="183"/>
                  </a:lnTo>
                  <a:lnTo>
                    <a:pt x="275" y="183"/>
                  </a:lnTo>
                  <a:lnTo>
                    <a:pt x="272" y="185"/>
                  </a:lnTo>
                  <a:lnTo>
                    <a:pt x="266" y="183"/>
                  </a:lnTo>
                  <a:lnTo>
                    <a:pt x="264" y="183"/>
                  </a:lnTo>
                  <a:lnTo>
                    <a:pt x="262" y="185"/>
                  </a:lnTo>
                  <a:lnTo>
                    <a:pt x="252" y="183"/>
                  </a:lnTo>
                  <a:lnTo>
                    <a:pt x="252" y="179"/>
                  </a:lnTo>
                  <a:lnTo>
                    <a:pt x="245" y="179"/>
                  </a:lnTo>
                  <a:lnTo>
                    <a:pt x="243" y="177"/>
                  </a:lnTo>
                  <a:lnTo>
                    <a:pt x="239" y="175"/>
                  </a:lnTo>
                  <a:lnTo>
                    <a:pt x="237" y="175"/>
                  </a:lnTo>
                  <a:lnTo>
                    <a:pt x="233" y="175"/>
                  </a:lnTo>
                  <a:lnTo>
                    <a:pt x="233" y="173"/>
                  </a:lnTo>
                  <a:lnTo>
                    <a:pt x="231" y="171"/>
                  </a:lnTo>
                  <a:lnTo>
                    <a:pt x="227" y="171"/>
                  </a:lnTo>
                  <a:lnTo>
                    <a:pt x="227" y="168"/>
                  </a:lnTo>
                  <a:lnTo>
                    <a:pt x="225" y="166"/>
                  </a:lnTo>
                  <a:lnTo>
                    <a:pt x="223" y="166"/>
                  </a:lnTo>
                  <a:lnTo>
                    <a:pt x="218" y="164"/>
                  </a:lnTo>
                  <a:lnTo>
                    <a:pt x="216" y="162"/>
                  </a:lnTo>
                  <a:lnTo>
                    <a:pt x="214" y="162"/>
                  </a:lnTo>
                  <a:lnTo>
                    <a:pt x="212" y="164"/>
                  </a:lnTo>
                  <a:lnTo>
                    <a:pt x="208" y="160"/>
                  </a:lnTo>
                  <a:lnTo>
                    <a:pt x="206" y="158"/>
                  </a:lnTo>
                  <a:lnTo>
                    <a:pt x="206" y="154"/>
                  </a:lnTo>
                  <a:lnTo>
                    <a:pt x="210" y="152"/>
                  </a:lnTo>
                  <a:lnTo>
                    <a:pt x="210" y="150"/>
                  </a:lnTo>
                  <a:lnTo>
                    <a:pt x="206" y="148"/>
                  </a:lnTo>
                  <a:lnTo>
                    <a:pt x="210" y="146"/>
                  </a:lnTo>
                  <a:lnTo>
                    <a:pt x="212" y="144"/>
                  </a:lnTo>
                  <a:lnTo>
                    <a:pt x="210" y="141"/>
                  </a:lnTo>
                  <a:lnTo>
                    <a:pt x="210" y="139"/>
                  </a:lnTo>
                  <a:lnTo>
                    <a:pt x="212" y="139"/>
                  </a:lnTo>
                  <a:lnTo>
                    <a:pt x="218" y="135"/>
                  </a:lnTo>
                  <a:lnTo>
                    <a:pt x="216" y="131"/>
                  </a:lnTo>
                  <a:lnTo>
                    <a:pt x="214" y="129"/>
                  </a:lnTo>
                  <a:lnTo>
                    <a:pt x="208" y="127"/>
                  </a:lnTo>
                  <a:lnTo>
                    <a:pt x="208" y="123"/>
                  </a:lnTo>
                  <a:lnTo>
                    <a:pt x="204" y="121"/>
                  </a:lnTo>
                  <a:lnTo>
                    <a:pt x="202" y="119"/>
                  </a:lnTo>
                  <a:lnTo>
                    <a:pt x="200" y="119"/>
                  </a:lnTo>
                  <a:lnTo>
                    <a:pt x="195" y="119"/>
                  </a:lnTo>
                  <a:lnTo>
                    <a:pt x="195" y="117"/>
                  </a:lnTo>
                  <a:lnTo>
                    <a:pt x="193" y="114"/>
                  </a:lnTo>
                  <a:lnTo>
                    <a:pt x="191" y="112"/>
                  </a:lnTo>
                  <a:lnTo>
                    <a:pt x="191" y="110"/>
                  </a:lnTo>
                  <a:lnTo>
                    <a:pt x="187" y="108"/>
                  </a:lnTo>
                  <a:lnTo>
                    <a:pt x="185" y="110"/>
                  </a:lnTo>
                  <a:lnTo>
                    <a:pt x="185" y="108"/>
                  </a:lnTo>
                  <a:lnTo>
                    <a:pt x="183" y="104"/>
                  </a:lnTo>
                  <a:lnTo>
                    <a:pt x="183" y="102"/>
                  </a:lnTo>
                  <a:lnTo>
                    <a:pt x="181" y="96"/>
                  </a:lnTo>
                  <a:lnTo>
                    <a:pt x="179" y="94"/>
                  </a:lnTo>
                  <a:lnTo>
                    <a:pt x="177" y="92"/>
                  </a:lnTo>
                  <a:lnTo>
                    <a:pt x="179" y="87"/>
                  </a:lnTo>
                  <a:lnTo>
                    <a:pt x="179" y="87"/>
                  </a:lnTo>
                  <a:lnTo>
                    <a:pt x="183" y="87"/>
                  </a:lnTo>
                  <a:lnTo>
                    <a:pt x="185" y="92"/>
                  </a:lnTo>
                  <a:lnTo>
                    <a:pt x="189" y="92"/>
                  </a:lnTo>
                  <a:lnTo>
                    <a:pt x="189" y="87"/>
                  </a:lnTo>
                  <a:lnTo>
                    <a:pt x="193" y="87"/>
                  </a:lnTo>
                  <a:lnTo>
                    <a:pt x="198" y="85"/>
                  </a:lnTo>
                  <a:lnTo>
                    <a:pt x="195" y="83"/>
                  </a:lnTo>
                  <a:lnTo>
                    <a:pt x="193" y="79"/>
                  </a:lnTo>
                  <a:lnTo>
                    <a:pt x="193" y="75"/>
                  </a:lnTo>
                  <a:lnTo>
                    <a:pt x="191" y="75"/>
                  </a:lnTo>
                  <a:lnTo>
                    <a:pt x="185" y="73"/>
                  </a:lnTo>
                  <a:lnTo>
                    <a:pt x="185" y="69"/>
                  </a:lnTo>
                  <a:lnTo>
                    <a:pt x="187" y="69"/>
                  </a:lnTo>
                  <a:lnTo>
                    <a:pt x="187" y="67"/>
                  </a:lnTo>
                  <a:lnTo>
                    <a:pt x="185" y="62"/>
                  </a:lnTo>
                  <a:lnTo>
                    <a:pt x="185" y="60"/>
                  </a:lnTo>
                  <a:lnTo>
                    <a:pt x="193" y="58"/>
                  </a:lnTo>
                  <a:lnTo>
                    <a:pt x="193" y="56"/>
                  </a:lnTo>
                  <a:lnTo>
                    <a:pt x="193" y="50"/>
                  </a:lnTo>
                  <a:lnTo>
                    <a:pt x="198" y="50"/>
                  </a:lnTo>
                  <a:lnTo>
                    <a:pt x="198" y="48"/>
                  </a:lnTo>
                  <a:lnTo>
                    <a:pt x="202" y="46"/>
                  </a:lnTo>
                  <a:lnTo>
                    <a:pt x="204" y="42"/>
                  </a:lnTo>
                  <a:lnTo>
                    <a:pt x="204" y="38"/>
                  </a:lnTo>
                  <a:lnTo>
                    <a:pt x="206" y="35"/>
                  </a:lnTo>
                  <a:lnTo>
                    <a:pt x="206" y="31"/>
                  </a:lnTo>
                  <a:lnTo>
                    <a:pt x="204" y="27"/>
                  </a:lnTo>
                  <a:lnTo>
                    <a:pt x="202" y="27"/>
                  </a:lnTo>
                  <a:lnTo>
                    <a:pt x="198" y="27"/>
                  </a:lnTo>
                  <a:lnTo>
                    <a:pt x="191" y="21"/>
                  </a:lnTo>
                  <a:lnTo>
                    <a:pt x="187" y="23"/>
                  </a:lnTo>
                  <a:lnTo>
                    <a:pt x="187" y="25"/>
                  </a:lnTo>
                  <a:lnTo>
                    <a:pt x="185" y="25"/>
                  </a:lnTo>
                  <a:lnTo>
                    <a:pt x="179" y="25"/>
                  </a:lnTo>
                  <a:lnTo>
                    <a:pt x="177" y="27"/>
                  </a:lnTo>
                  <a:lnTo>
                    <a:pt x="173" y="29"/>
                  </a:lnTo>
                  <a:lnTo>
                    <a:pt x="168" y="33"/>
                  </a:lnTo>
                  <a:lnTo>
                    <a:pt x="164" y="33"/>
                  </a:lnTo>
                  <a:lnTo>
                    <a:pt x="160" y="31"/>
                  </a:lnTo>
                  <a:lnTo>
                    <a:pt x="160" y="27"/>
                  </a:lnTo>
                  <a:lnTo>
                    <a:pt x="156" y="27"/>
                  </a:lnTo>
                  <a:lnTo>
                    <a:pt x="152" y="27"/>
                  </a:lnTo>
                  <a:lnTo>
                    <a:pt x="150" y="25"/>
                  </a:lnTo>
                  <a:lnTo>
                    <a:pt x="150" y="21"/>
                  </a:lnTo>
                  <a:lnTo>
                    <a:pt x="141" y="15"/>
                  </a:lnTo>
                  <a:lnTo>
                    <a:pt x="137" y="13"/>
                  </a:lnTo>
                  <a:lnTo>
                    <a:pt x="131" y="6"/>
                  </a:lnTo>
                  <a:lnTo>
                    <a:pt x="129" y="0"/>
                  </a:lnTo>
                  <a:lnTo>
                    <a:pt x="127" y="2"/>
                  </a:lnTo>
                  <a:lnTo>
                    <a:pt x="123" y="4"/>
                  </a:lnTo>
                  <a:lnTo>
                    <a:pt x="119" y="2"/>
                  </a:lnTo>
                  <a:lnTo>
                    <a:pt x="114" y="0"/>
                  </a:lnTo>
                  <a:lnTo>
                    <a:pt x="108" y="4"/>
                  </a:lnTo>
                  <a:lnTo>
                    <a:pt x="102" y="2"/>
                  </a:lnTo>
                  <a:lnTo>
                    <a:pt x="100" y="6"/>
                  </a:lnTo>
                  <a:lnTo>
                    <a:pt x="94" y="6"/>
                  </a:lnTo>
                  <a:lnTo>
                    <a:pt x="94" y="10"/>
                  </a:lnTo>
                  <a:lnTo>
                    <a:pt x="85" y="17"/>
                  </a:lnTo>
                  <a:lnTo>
                    <a:pt x="85" y="21"/>
                  </a:lnTo>
                  <a:lnTo>
                    <a:pt x="85" y="23"/>
                  </a:lnTo>
                  <a:lnTo>
                    <a:pt x="89" y="23"/>
                  </a:lnTo>
                  <a:lnTo>
                    <a:pt x="94" y="23"/>
                  </a:lnTo>
                  <a:lnTo>
                    <a:pt x="94" y="25"/>
                  </a:lnTo>
                  <a:lnTo>
                    <a:pt x="96" y="29"/>
                  </a:lnTo>
                  <a:lnTo>
                    <a:pt x="98" y="29"/>
                  </a:lnTo>
                  <a:lnTo>
                    <a:pt x="100" y="29"/>
                  </a:lnTo>
                  <a:lnTo>
                    <a:pt x="102" y="29"/>
                  </a:lnTo>
                  <a:lnTo>
                    <a:pt x="102" y="31"/>
                  </a:lnTo>
                  <a:lnTo>
                    <a:pt x="102" y="33"/>
                  </a:lnTo>
                  <a:lnTo>
                    <a:pt x="102" y="35"/>
                  </a:lnTo>
                  <a:lnTo>
                    <a:pt x="104" y="35"/>
                  </a:lnTo>
                  <a:lnTo>
                    <a:pt x="106" y="38"/>
                  </a:lnTo>
                  <a:lnTo>
                    <a:pt x="106" y="38"/>
                  </a:lnTo>
                  <a:lnTo>
                    <a:pt x="108" y="40"/>
                  </a:lnTo>
                  <a:lnTo>
                    <a:pt x="108" y="42"/>
                  </a:lnTo>
                  <a:lnTo>
                    <a:pt x="108" y="42"/>
                  </a:lnTo>
                  <a:lnTo>
                    <a:pt x="102" y="44"/>
                  </a:lnTo>
                  <a:lnTo>
                    <a:pt x="102" y="48"/>
                  </a:lnTo>
                  <a:lnTo>
                    <a:pt x="98" y="50"/>
                  </a:lnTo>
                  <a:lnTo>
                    <a:pt x="96" y="52"/>
                  </a:lnTo>
                  <a:lnTo>
                    <a:pt x="98" y="52"/>
                  </a:lnTo>
                  <a:lnTo>
                    <a:pt x="98" y="58"/>
                  </a:lnTo>
                  <a:lnTo>
                    <a:pt x="100" y="62"/>
                  </a:lnTo>
                  <a:lnTo>
                    <a:pt x="98" y="69"/>
                  </a:lnTo>
                  <a:lnTo>
                    <a:pt x="100" y="77"/>
                  </a:lnTo>
                  <a:lnTo>
                    <a:pt x="102" y="79"/>
                  </a:lnTo>
                  <a:lnTo>
                    <a:pt x="106" y="79"/>
                  </a:lnTo>
                  <a:lnTo>
                    <a:pt x="108" y="81"/>
                  </a:lnTo>
                  <a:lnTo>
                    <a:pt x="110" y="81"/>
                  </a:lnTo>
                  <a:lnTo>
                    <a:pt x="112" y="83"/>
                  </a:lnTo>
                  <a:lnTo>
                    <a:pt x="114" y="83"/>
                  </a:lnTo>
                  <a:lnTo>
                    <a:pt x="116" y="85"/>
                  </a:lnTo>
                  <a:lnTo>
                    <a:pt x="116" y="87"/>
                  </a:lnTo>
                  <a:lnTo>
                    <a:pt x="116" y="89"/>
                  </a:lnTo>
                  <a:lnTo>
                    <a:pt x="119" y="89"/>
                  </a:lnTo>
                  <a:lnTo>
                    <a:pt x="123" y="89"/>
                  </a:lnTo>
                  <a:lnTo>
                    <a:pt x="125" y="89"/>
                  </a:lnTo>
                  <a:lnTo>
                    <a:pt x="127" y="94"/>
                  </a:lnTo>
                  <a:lnTo>
                    <a:pt x="127" y="98"/>
                  </a:lnTo>
                  <a:lnTo>
                    <a:pt x="121" y="98"/>
                  </a:lnTo>
                  <a:lnTo>
                    <a:pt x="116" y="100"/>
                  </a:lnTo>
                  <a:lnTo>
                    <a:pt x="114" y="102"/>
                  </a:lnTo>
                  <a:lnTo>
                    <a:pt x="114" y="102"/>
                  </a:lnTo>
                  <a:lnTo>
                    <a:pt x="114" y="104"/>
                  </a:lnTo>
                  <a:lnTo>
                    <a:pt x="116" y="106"/>
                  </a:lnTo>
                  <a:lnTo>
                    <a:pt x="116" y="108"/>
                  </a:lnTo>
                  <a:lnTo>
                    <a:pt x="112" y="110"/>
                  </a:lnTo>
                  <a:lnTo>
                    <a:pt x="112" y="112"/>
                  </a:lnTo>
                  <a:lnTo>
                    <a:pt x="116" y="114"/>
                  </a:lnTo>
                  <a:lnTo>
                    <a:pt x="110" y="119"/>
                  </a:lnTo>
                  <a:lnTo>
                    <a:pt x="110" y="121"/>
                  </a:lnTo>
                  <a:lnTo>
                    <a:pt x="106" y="125"/>
                  </a:lnTo>
                  <a:lnTo>
                    <a:pt x="104" y="127"/>
                  </a:lnTo>
                  <a:lnTo>
                    <a:pt x="104" y="131"/>
                  </a:lnTo>
                  <a:lnTo>
                    <a:pt x="102" y="133"/>
                  </a:lnTo>
                  <a:lnTo>
                    <a:pt x="96" y="135"/>
                  </a:lnTo>
                  <a:lnTo>
                    <a:pt x="94" y="141"/>
                  </a:lnTo>
                  <a:lnTo>
                    <a:pt x="87" y="152"/>
                  </a:lnTo>
                  <a:lnTo>
                    <a:pt x="85" y="154"/>
                  </a:lnTo>
                  <a:lnTo>
                    <a:pt x="83" y="156"/>
                  </a:lnTo>
                  <a:lnTo>
                    <a:pt x="77" y="158"/>
                  </a:lnTo>
                  <a:lnTo>
                    <a:pt x="75" y="158"/>
                  </a:lnTo>
                  <a:lnTo>
                    <a:pt x="75" y="164"/>
                  </a:lnTo>
                  <a:lnTo>
                    <a:pt x="73" y="166"/>
                  </a:lnTo>
                  <a:lnTo>
                    <a:pt x="71" y="166"/>
                  </a:lnTo>
                  <a:lnTo>
                    <a:pt x="69" y="168"/>
                  </a:lnTo>
                  <a:lnTo>
                    <a:pt x="69" y="171"/>
                  </a:lnTo>
                  <a:lnTo>
                    <a:pt x="67" y="173"/>
                  </a:lnTo>
                  <a:lnTo>
                    <a:pt x="56" y="175"/>
                  </a:lnTo>
                  <a:lnTo>
                    <a:pt x="54" y="175"/>
                  </a:lnTo>
                  <a:lnTo>
                    <a:pt x="52" y="177"/>
                  </a:lnTo>
                  <a:lnTo>
                    <a:pt x="48" y="175"/>
                  </a:lnTo>
                  <a:lnTo>
                    <a:pt x="48" y="173"/>
                  </a:lnTo>
                  <a:lnTo>
                    <a:pt x="46" y="171"/>
                  </a:lnTo>
                  <a:lnTo>
                    <a:pt x="46" y="171"/>
                  </a:lnTo>
                  <a:lnTo>
                    <a:pt x="40" y="173"/>
                  </a:lnTo>
                  <a:lnTo>
                    <a:pt x="37" y="175"/>
                  </a:lnTo>
                  <a:lnTo>
                    <a:pt x="35" y="181"/>
                  </a:lnTo>
                  <a:lnTo>
                    <a:pt x="31" y="183"/>
                  </a:lnTo>
                  <a:lnTo>
                    <a:pt x="29" y="185"/>
                  </a:lnTo>
                  <a:lnTo>
                    <a:pt x="27" y="187"/>
                  </a:lnTo>
                  <a:lnTo>
                    <a:pt x="27" y="189"/>
                  </a:lnTo>
                  <a:lnTo>
                    <a:pt x="27" y="193"/>
                  </a:lnTo>
                  <a:lnTo>
                    <a:pt x="27" y="193"/>
                  </a:lnTo>
                  <a:lnTo>
                    <a:pt x="29" y="196"/>
                  </a:lnTo>
                  <a:lnTo>
                    <a:pt x="31" y="198"/>
                  </a:lnTo>
                  <a:lnTo>
                    <a:pt x="35" y="196"/>
                  </a:lnTo>
                  <a:lnTo>
                    <a:pt x="37" y="198"/>
                  </a:lnTo>
                  <a:lnTo>
                    <a:pt x="37" y="200"/>
                  </a:lnTo>
                  <a:lnTo>
                    <a:pt x="37" y="206"/>
                  </a:lnTo>
                  <a:lnTo>
                    <a:pt x="35" y="206"/>
                  </a:lnTo>
                  <a:lnTo>
                    <a:pt x="35" y="210"/>
                  </a:lnTo>
                  <a:lnTo>
                    <a:pt x="37" y="212"/>
                  </a:lnTo>
                  <a:lnTo>
                    <a:pt x="40" y="214"/>
                  </a:lnTo>
                  <a:lnTo>
                    <a:pt x="40" y="214"/>
                  </a:lnTo>
                  <a:lnTo>
                    <a:pt x="42" y="214"/>
                  </a:lnTo>
                  <a:lnTo>
                    <a:pt x="46" y="214"/>
                  </a:lnTo>
                  <a:lnTo>
                    <a:pt x="46" y="223"/>
                  </a:lnTo>
                  <a:lnTo>
                    <a:pt x="48" y="225"/>
                  </a:lnTo>
                  <a:lnTo>
                    <a:pt x="48" y="225"/>
                  </a:lnTo>
                  <a:lnTo>
                    <a:pt x="48" y="229"/>
                  </a:lnTo>
                  <a:lnTo>
                    <a:pt x="50" y="231"/>
                  </a:lnTo>
                  <a:lnTo>
                    <a:pt x="52" y="233"/>
                  </a:lnTo>
                  <a:lnTo>
                    <a:pt x="50" y="237"/>
                  </a:lnTo>
                  <a:lnTo>
                    <a:pt x="50" y="237"/>
                  </a:lnTo>
                  <a:lnTo>
                    <a:pt x="48" y="239"/>
                  </a:lnTo>
                  <a:lnTo>
                    <a:pt x="44" y="241"/>
                  </a:lnTo>
                  <a:lnTo>
                    <a:pt x="42" y="237"/>
                  </a:lnTo>
                  <a:lnTo>
                    <a:pt x="37" y="239"/>
                  </a:lnTo>
                  <a:lnTo>
                    <a:pt x="35" y="239"/>
                  </a:lnTo>
                  <a:lnTo>
                    <a:pt x="35" y="241"/>
                  </a:lnTo>
                  <a:lnTo>
                    <a:pt x="31" y="241"/>
                  </a:lnTo>
                  <a:lnTo>
                    <a:pt x="27" y="241"/>
                  </a:lnTo>
                  <a:lnTo>
                    <a:pt x="27" y="239"/>
                  </a:lnTo>
                  <a:lnTo>
                    <a:pt x="25" y="239"/>
                  </a:lnTo>
                  <a:lnTo>
                    <a:pt x="21" y="237"/>
                  </a:lnTo>
                  <a:lnTo>
                    <a:pt x="17" y="237"/>
                  </a:lnTo>
                  <a:lnTo>
                    <a:pt x="15" y="239"/>
                  </a:lnTo>
                  <a:lnTo>
                    <a:pt x="15" y="237"/>
                  </a:lnTo>
                  <a:lnTo>
                    <a:pt x="12" y="237"/>
                  </a:lnTo>
                  <a:lnTo>
                    <a:pt x="10" y="243"/>
                  </a:lnTo>
                  <a:lnTo>
                    <a:pt x="8" y="243"/>
                  </a:lnTo>
                  <a:lnTo>
                    <a:pt x="6" y="243"/>
                  </a:lnTo>
                  <a:lnTo>
                    <a:pt x="2" y="243"/>
                  </a:lnTo>
                  <a:lnTo>
                    <a:pt x="0" y="245"/>
                  </a:lnTo>
                  <a:lnTo>
                    <a:pt x="0" y="247"/>
                  </a:lnTo>
                  <a:lnTo>
                    <a:pt x="0" y="250"/>
                  </a:lnTo>
                  <a:lnTo>
                    <a:pt x="4" y="252"/>
                  </a:lnTo>
                  <a:lnTo>
                    <a:pt x="4" y="252"/>
                  </a:lnTo>
                  <a:lnTo>
                    <a:pt x="6" y="254"/>
                  </a:lnTo>
                  <a:lnTo>
                    <a:pt x="8" y="256"/>
                  </a:lnTo>
                  <a:lnTo>
                    <a:pt x="10" y="260"/>
                  </a:lnTo>
                  <a:lnTo>
                    <a:pt x="10" y="262"/>
                  </a:lnTo>
                  <a:lnTo>
                    <a:pt x="15" y="262"/>
                  </a:lnTo>
                  <a:lnTo>
                    <a:pt x="19" y="264"/>
                  </a:lnTo>
                  <a:lnTo>
                    <a:pt x="23" y="266"/>
                  </a:lnTo>
                  <a:lnTo>
                    <a:pt x="25" y="266"/>
                  </a:lnTo>
                  <a:lnTo>
                    <a:pt x="27" y="266"/>
                  </a:lnTo>
                  <a:lnTo>
                    <a:pt x="33" y="262"/>
                  </a:lnTo>
                  <a:lnTo>
                    <a:pt x="33" y="262"/>
                  </a:lnTo>
                  <a:lnTo>
                    <a:pt x="35" y="260"/>
                  </a:lnTo>
                  <a:lnTo>
                    <a:pt x="37" y="258"/>
                  </a:lnTo>
                  <a:lnTo>
                    <a:pt x="37" y="258"/>
                  </a:lnTo>
                  <a:lnTo>
                    <a:pt x="40" y="260"/>
                  </a:lnTo>
                  <a:lnTo>
                    <a:pt x="44" y="260"/>
                  </a:lnTo>
                  <a:lnTo>
                    <a:pt x="46" y="260"/>
                  </a:lnTo>
                  <a:lnTo>
                    <a:pt x="46" y="262"/>
                  </a:lnTo>
                  <a:lnTo>
                    <a:pt x="46" y="262"/>
                  </a:lnTo>
                  <a:lnTo>
                    <a:pt x="44" y="264"/>
                  </a:lnTo>
                  <a:lnTo>
                    <a:pt x="42" y="266"/>
                  </a:lnTo>
                  <a:lnTo>
                    <a:pt x="42" y="268"/>
                  </a:lnTo>
                  <a:lnTo>
                    <a:pt x="37" y="270"/>
                  </a:lnTo>
                  <a:lnTo>
                    <a:pt x="35" y="272"/>
                  </a:lnTo>
                  <a:lnTo>
                    <a:pt x="35" y="275"/>
                  </a:lnTo>
                  <a:lnTo>
                    <a:pt x="29" y="275"/>
                  </a:lnTo>
                  <a:lnTo>
                    <a:pt x="29" y="277"/>
                  </a:lnTo>
                  <a:lnTo>
                    <a:pt x="23" y="279"/>
                  </a:lnTo>
                  <a:lnTo>
                    <a:pt x="21" y="279"/>
                  </a:lnTo>
                  <a:lnTo>
                    <a:pt x="17" y="279"/>
                  </a:lnTo>
                  <a:lnTo>
                    <a:pt x="17" y="279"/>
                  </a:lnTo>
                  <a:lnTo>
                    <a:pt x="19" y="283"/>
                  </a:lnTo>
                  <a:lnTo>
                    <a:pt x="21" y="283"/>
                  </a:lnTo>
                  <a:lnTo>
                    <a:pt x="21" y="285"/>
                  </a:lnTo>
                  <a:lnTo>
                    <a:pt x="23" y="289"/>
                  </a:lnTo>
                  <a:lnTo>
                    <a:pt x="37" y="304"/>
                  </a:lnTo>
                  <a:lnTo>
                    <a:pt x="42" y="306"/>
                  </a:lnTo>
                  <a:lnTo>
                    <a:pt x="46" y="308"/>
                  </a:lnTo>
                  <a:lnTo>
                    <a:pt x="48" y="306"/>
                  </a:lnTo>
                  <a:lnTo>
                    <a:pt x="50" y="306"/>
                  </a:lnTo>
                  <a:lnTo>
                    <a:pt x="54" y="304"/>
                  </a:lnTo>
                  <a:lnTo>
                    <a:pt x="56" y="302"/>
                  </a:lnTo>
                  <a:lnTo>
                    <a:pt x="62" y="299"/>
                  </a:lnTo>
                  <a:lnTo>
                    <a:pt x="67" y="297"/>
                  </a:lnTo>
                  <a:lnTo>
                    <a:pt x="69" y="295"/>
                  </a:lnTo>
                  <a:lnTo>
                    <a:pt x="69" y="291"/>
                  </a:lnTo>
                  <a:lnTo>
                    <a:pt x="67" y="291"/>
                  </a:lnTo>
                  <a:lnTo>
                    <a:pt x="67" y="289"/>
                  </a:lnTo>
                  <a:lnTo>
                    <a:pt x="64" y="287"/>
                  </a:lnTo>
                  <a:lnTo>
                    <a:pt x="64" y="285"/>
                  </a:lnTo>
                  <a:lnTo>
                    <a:pt x="67" y="283"/>
                  </a:lnTo>
                  <a:lnTo>
                    <a:pt x="69" y="283"/>
                  </a:lnTo>
                  <a:lnTo>
                    <a:pt x="69" y="279"/>
                  </a:lnTo>
                  <a:lnTo>
                    <a:pt x="71" y="277"/>
                  </a:lnTo>
                  <a:lnTo>
                    <a:pt x="75" y="277"/>
                  </a:lnTo>
                  <a:lnTo>
                    <a:pt x="77" y="279"/>
                  </a:lnTo>
                  <a:lnTo>
                    <a:pt x="81" y="279"/>
                  </a:lnTo>
                  <a:lnTo>
                    <a:pt x="83" y="281"/>
                  </a:lnTo>
                  <a:lnTo>
                    <a:pt x="81" y="285"/>
                  </a:lnTo>
                  <a:lnTo>
                    <a:pt x="79" y="287"/>
                  </a:lnTo>
                  <a:lnTo>
                    <a:pt x="79" y="289"/>
                  </a:lnTo>
                  <a:lnTo>
                    <a:pt x="83" y="291"/>
                  </a:lnTo>
                  <a:lnTo>
                    <a:pt x="83" y="293"/>
                  </a:lnTo>
                  <a:lnTo>
                    <a:pt x="79" y="295"/>
                  </a:lnTo>
                  <a:lnTo>
                    <a:pt x="81" y="302"/>
                  </a:lnTo>
                  <a:lnTo>
                    <a:pt x="83" y="304"/>
                  </a:lnTo>
                  <a:lnTo>
                    <a:pt x="83" y="308"/>
                  </a:lnTo>
                  <a:lnTo>
                    <a:pt x="83" y="308"/>
                  </a:lnTo>
                  <a:lnTo>
                    <a:pt x="81" y="316"/>
                  </a:lnTo>
                  <a:lnTo>
                    <a:pt x="81" y="318"/>
                  </a:lnTo>
                  <a:lnTo>
                    <a:pt x="81" y="320"/>
                  </a:lnTo>
                  <a:lnTo>
                    <a:pt x="77" y="326"/>
                  </a:lnTo>
                  <a:lnTo>
                    <a:pt x="79" y="335"/>
                  </a:lnTo>
                  <a:lnTo>
                    <a:pt x="79" y="354"/>
                  </a:lnTo>
                  <a:lnTo>
                    <a:pt x="81" y="356"/>
                  </a:lnTo>
                  <a:lnTo>
                    <a:pt x="83" y="366"/>
                  </a:lnTo>
                  <a:lnTo>
                    <a:pt x="85" y="370"/>
                  </a:lnTo>
                  <a:lnTo>
                    <a:pt x="85" y="374"/>
                  </a:lnTo>
                  <a:lnTo>
                    <a:pt x="85" y="376"/>
                  </a:lnTo>
                  <a:lnTo>
                    <a:pt x="87" y="387"/>
                  </a:lnTo>
                  <a:lnTo>
                    <a:pt x="89" y="389"/>
                  </a:lnTo>
                  <a:lnTo>
                    <a:pt x="87" y="391"/>
                  </a:lnTo>
                  <a:lnTo>
                    <a:pt x="89" y="399"/>
                  </a:lnTo>
                  <a:lnTo>
                    <a:pt x="89" y="399"/>
                  </a:lnTo>
                  <a:lnTo>
                    <a:pt x="94" y="405"/>
                  </a:lnTo>
                  <a:lnTo>
                    <a:pt x="94" y="410"/>
                  </a:lnTo>
                  <a:lnTo>
                    <a:pt x="94" y="412"/>
                  </a:lnTo>
                  <a:lnTo>
                    <a:pt x="96" y="416"/>
                  </a:lnTo>
                  <a:lnTo>
                    <a:pt x="102" y="424"/>
                  </a:lnTo>
                  <a:lnTo>
                    <a:pt x="102" y="426"/>
                  </a:lnTo>
                  <a:lnTo>
                    <a:pt x="104" y="426"/>
                  </a:lnTo>
                  <a:lnTo>
                    <a:pt x="104" y="430"/>
                  </a:lnTo>
                  <a:lnTo>
                    <a:pt x="106" y="430"/>
                  </a:lnTo>
                  <a:lnTo>
                    <a:pt x="108" y="432"/>
                  </a:lnTo>
                  <a:lnTo>
                    <a:pt x="106" y="435"/>
                  </a:lnTo>
                  <a:lnTo>
                    <a:pt x="104" y="437"/>
                  </a:lnTo>
                  <a:lnTo>
                    <a:pt x="108" y="439"/>
                  </a:lnTo>
                  <a:lnTo>
                    <a:pt x="110" y="443"/>
                  </a:lnTo>
                  <a:lnTo>
                    <a:pt x="112" y="445"/>
                  </a:lnTo>
                  <a:lnTo>
                    <a:pt x="112" y="449"/>
                  </a:lnTo>
                  <a:lnTo>
                    <a:pt x="110" y="451"/>
                  </a:lnTo>
                  <a:lnTo>
                    <a:pt x="112" y="453"/>
                  </a:lnTo>
                  <a:lnTo>
                    <a:pt x="114" y="462"/>
                  </a:lnTo>
                  <a:lnTo>
                    <a:pt x="116" y="470"/>
                  </a:lnTo>
                  <a:lnTo>
                    <a:pt x="119" y="470"/>
                  </a:lnTo>
                  <a:lnTo>
                    <a:pt x="119" y="474"/>
                  </a:lnTo>
                  <a:lnTo>
                    <a:pt x="121" y="476"/>
                  </a:lnTo>
                  <a:lnTo>
                    <a:pt x="127" y="482"/>
                  </a:lnTo>
                  <a:lnTo>
                    <a:pt x="127" y="487"/>
                  </a:lnTo>
                  <a:lnTo>
                    <a:pt x="129" y="487"/>
                  </a:lnTo>
                  <a:lnTo>
                    <a:pt x="133" y="493"/>
                  </a:lnTo>
                  <a:lnTo>
                    <a:pt x="133" y="497"/>
                  </a:lnTo>
                  <a:lnTo>
                    <a:pt x="135" y="503"/>
                  </a:lnTo>
                  <a:lnTo>
                    <a:pt x="135" y="503"/>
                  </a:lnTo>
                  <a:lnTo>
                    <a:pt x="137" y="509"/>
                  </a:lnTo>
                  <a:lnTo>
                    <a:pt x="139" y="511"/>
                  </a:lnTo>
                  <a:lnTo>
                    <a:pt x="141" y="518"/>
                  </a:lnTo>
                  <a:lnTo>
                    <a:pt x="141" y="520"/>
                  </a:lnTo>
                  <a:lnTo>
                    <a:pt x="141" y="524"/>
                  </a:lnTo>
                  <a:lnTo>
                    <a:pt x="143" y="528"/>
                  </a:lnTo>
                  <a:lnTo>
                    <a:pt x="143" y="530"/>
                  </a:lnTo>
                  <a:lnTo>
                    <a:pt x="146" y="534"/>
                  </a:lnTo>
                  <a:lnTo>
                    <a:pt x="156" y="547"/>
                  </a:lnTo>
                  <a:lnTo>
                    <a:pt x="158" y="549"/>
                  </a:lnTo>
                  <a:lnTo>
                    <a:pt x="164" y="551"/>
                  </a:lnTo>
                  <a:lnTo>
                    <a:pt x="166" y="551"/>
                  </a:lnTo>
                  <a:lnTo>
                    <a:pt x="171" y="549"/>
                  </a:lnTo>
                  <a:lnTo>
                    <a:pt x="173" y="547"/>
                  </a:lnTo>
                  <a:lnTo>
                    <a:pt x="175" y="547"/>
                  </a:lnTo>
                  <a:lnTo>
                    <a:pt x="177" y="545"/>
                  </a:lnTo>
                  <a:lnTo>
                    <a:pt x="177" y="543"/>
                  </a:lnTo>
                  <a:lnTo>
                    <a:pt x="177" y="539"/>
                  </a:lnTo>
                  <a:lnTo>
                    <a:pt x="179" y="536"/>
                  </a:lnTo>
                  <a:lnTo>
                    <a:pt x="179" y="534"/>
                  </a:lnTo>
                  <a:lnTo>
                    <a:pt x="181" y="532"/>
                  </a:lnTo>
                  <a:lnTo>
                    <a:pt x="191" y="530"/>
                  </a:lnTo>
                  <a:lnTo>
                    <a:pt x="193" y="530"/>
                  </a:lnTo>
                  <a:lnTo>
                    <a:pt x="198" y="530"/>
                  </a:lnTo>
                  <a:lnTo>
                    <a:pt x="200" y="530"/>
                  </a:lnTo>
                  <a:lnTo>
                    <a:pt x="204" y="530"/>
                  </a:lnTo>
                  <a:lnTo>
                    <a:pt x="202" y="528"/>
                  </a:lnTo>
                  <a:lnTo>
                    <a:pt x="200" y="528"/>
                  </a:lnTo>
                  <a:lnTo>
                    <a:pt x="195" y="528"/>
                  </a:lnTo>
                  <a:lnTo>
                    <a:pt x="193" y="526"/>
                  </a:lnTo>
                  <a:lnTo>
                    <a:pt x="193" y="522"/>
                  </a:lnTo>
                  <a:lnTo>
                    <a:pt x="193" y="520"/>
                  </a:lnTo>
                  <a:lnTo>
                    <a:pt x="195" y="518"/>
                  </a:lnTo>
                  <a:lnTo>
                    <a:pt x="198" y="516"/>
                  </a:lnTo>
                  <a:lnTo>
                    <a:pt x="198" y="514"/>
                  </a:lnTo>
                  <a:lnTo>
                    <a:pt x="200" y="509"/>
                  </a:lnTo>
                  <a:lnTo>
                    <a:pt x="200" y="509"/>
                  </a:lnTo>
                  <a:lnTo>
                    <a:pt x="204" y="507"/>
                  </a:lnTo>
                  <a:lnTo>
                    <a:pt x="208" y="509"/>
                  </a:lnTo>
                  <a:lnTo>
                    <a:pt x="210" y="509"/>
                  </a:lnTo>
                  <a:lnTo>
                    <a:pt x="210" y="505"/>
                  </a:lnTo>
                  <a:lnTo>
                    <a:pt x="210" y="503"/>
                  </a:lnTo>
                  <a:lnTo>
                    <a:pt x="210" y="499"/>
                  </a:lnTo>
                  <a:lnTo>
                    <a:pt x="206" y="497"/>
                  </a:lnTo>
                  <a:lnTo>
                    <a:pt x="206" y="495"/>
                  </a:lnTo>
                  <a:lnTo>
                    <a:pt x="210" y="495"/>
                  </a:lnTo>
                  <a:lnTo>
                    <a:pt x="210" y="493"/>
                  </a:lnTo>
                  <a:lnTo>
                    <a:pt x="210" y="491"/>
                  </a:lnTo>
                  <a:lnTo>
                    <a:pt x="208" y="487"/>
                  </a:lnTo>
                  <a:lnTo>
                    <a:pt x="208" y="484"/>
                  </a:lnTo>
                  <a:lnTo>
                    <a:pt x="208" y="482"/>
                  </a:lnTo>
                  <a:lnTo>
                    <a:pt x="206" y="480"/>
                  </a:lnTo>
                  <a:lnTo>
                    <a:pt x="208" y="476"/>
                  </a:lnTo>
                  <a:lnTo>
                    <a:pt x="212" y="472"/>
                  </a:lnTo>
                  <a:lnTo>
                    <a:pt x="214" y="470"/>
                  </a:lnTo>
                  <a:lnTo>
                    <a:pt x="214" y="468"/>
                  </a:lnTo>
                  <a:lnTo>
                    <a:pt x="216" y="462"/>
                  </a:lnTo>
                  <a:lnTo>
                    <a:pt x="216" y="457"/>
                  </a:lnTo>
                  <a:lnTo>
                    <a:pt x="218" y="453"/>
                  </a:lnTo>
                  <a:lnTo>
                    <a:pt x="216" y="451"/>
                  </a:lnTo>
                  <a:lnTo>
                    <a:pt x="216" y="447"/>
                  </a:lnTo>
                  <a:lnTo>
                    <a:pt x="216" y="445"/>
                  </a:lnTo>
                  <a:lnTo>
                    <a:pt x="214" y="441"/>
                  </a:lnTo>
                  <a:lnTo>
                    <a:pt x="214" y="439"/>
                  </a:lnTo>
                  <a:lnTo>
                    <a:pt x="212" y="435"/>
                  </a:lnTo>
                  <a:lnTo>
                    <a:pt x="212" y="432"/>
                  </a:lnTo>
                  <a:lnTo>
                    <a:pt x="214" y="432"/>
                  </a:lnTo>
                  <a:lnTo>
                    <a:pt x="214" y="430"/>
                  </a:lnTo>
                  <a:lnTo>
                    <a:pt x="214" y="428"/>
                  </a:lnTo>
                  <a:lnTo>
                    <a:pt x="212" y="428"/>
                  </a:lnTo>
                  <a:lnTo>
                    <a:pt x="214" y="426"/>
                  </a:lnTo>
                  <a:lnTo>
                    <a:pt x="212" y="424"/>
                  </a:lnTo>
                  <a:lnTo>
                    <a:pt x="212" y="420"/>
                  </a:lnTo>
                  <a:lnTo>
                    <a:pt x="212" y="414"/>
                  </a:lnTo>
                  <a:lnTo>
                    <a:pt x="216" y="405"/>
                  </a:lnTo>
                  <a:lnTo>
                    <a:pt x="220" y="401"/>
                  </a:lnTo>
                  <a:lnTo>
                    <a:pt x="225" y="403"/>
                  </a:lnTo>
                  <a:lnTo>
                    <a:pt x="227" y="405"/>
                  </a:lnTo>
                  <a:lnTo>
                    <a:pt x="229" y="405"/>
                  </a:lnTo>
                  <a:lnTo>
                    <a:pt x="229" y="403"/>
                  </a:lnTo>
                  <a:lnTo>
                    <a:pt x="233" y="397"/>
                  </a:lnTo>
                  <a:lnTo>
                    <a:pt x="233" y="393"/>
                  </a:lnTo>
                  <a:lnTo>
                    <a:pt x="237" y="393"/>
                  </a:lnTo>
                  <a:lnTo>
                    <a:pt x="239" y="393"/>
                  </a:lnTo>
                  <a:lnTo>
                    <a:pt x="243" y="393"/>
                  </a:lnTo>
                  <a:lnTo>
                    <a:pt x="245" y="391"/>
                  </a:lnTo>
                  <a:lnTo>
                    <a:pt x="252" y="389"/>
                  </a:lnTo>
                  <a:lnTo>
                    <a:pt x="254" y="387"/>
                  </a:lnTo>
                  <a:lnTo>
                    <a:pt x="254" y="385"/>
                  </a:lnTo>
                  <a:lnTo>
                    <a:pt x="252" y="383"/>
                  </a:lnTo>
                  <a:lnTo>
                    <a:pt x="252" y="381"/>
                  </a:lnTo>
                  <a:lnTo>
                    <a:pt x="258" y="372"/>
                  </a:lnTo>
                  <a:lnTo>
                    <a:pt x="262" y="372"/>
                  </a:lnTo>
                  <a:lnTo>
                    <a:pt x="262" y="370"/>
                  </a:lnTo>
                  <a:lnTo>
                    <a:pt x="268" y="368"/>
                  </a:lnTo>
                  <a:lnTo>
                    <a:pt x="270" y="366"/>
                  </a:lnTo>
                  <a:lnTo>
                    <a:pt x="272" y="364"/>
                  </a:lnTo>
                  <a:lnTo>
                    <a:pt x="275" y="358"/>
                  </a:lnTo>
                  <a:lnTo>
                    <a:pt x="277" y="358"/>
                  </a:lnTo>
                  <a:lnTo>
                    <a:pt x="281" y="356"/>
                  </a:lnTo>
                  <a:lnTo>
                    <a:pt x="283" y="354"/>
                  </a:lnTo>
                  <a:lnTo>
                    <a:pt x="285" y="351"/>
                  </a:lnTo>
                  <a:lnTo>
                    <a:pt x="289" y="347"/>
                  </a:lnTo>
                  <a:lnTo>
                    <a:pt x="289" y="345"/>
                  </a:lnTo>
                  <a:lnTo>
                    <a:pt x="289" y="343"/>
                  </a:lnTo>
                  <a:lnTo>
                    <a:pt x="297" y="337"/>
                  </a:lnTo>
                  <a:lnTo>
                    <a:pt x="299" y="333"/>
                  </a:lnTo>
                  <a:lnTo>
                    <a:pt x="302" y="329"/>
                  </a:lnTo>
                  <a:lnTo>
                    <a:pt x="304" y="326"/>
                  </a:lnTo>
                  <a:lnTo>
                    <a:pt x="306" y="324"/>
                  </a:lnTo>
                  <a:lnTo>
                    <a:pt x="308" y="324"/>
                  </a:lnTo>
                  <a:lnTo>
                    <a:pt x="310" y="326"/>
                  </a:lnTo>
                  <a:lnTo>
                    <a:pt x="316" y="324"/>
                  </a:lnTo>
                  <a:lnTo>
                    <a:pt x="318" y="322"/>
                  </a:lnTo>
                  <a:lnTo>
                    <a:pt x="320" y="322"/>
                  </a:lnTo>
                  <a:lnTo>
                    <a:pt x="329" y="314"/>
                  </a:lnTo>
                  <a:lnTo>
                    <a:pt x="331" y="310"/>
                  </a:lnTo>
                  <a:lnTo>
                    <a:pt x="333" y="308"/>
                  </a:lnTo>
                  <a:lnTo>
                    <a:pt x="331" y="308"/>
                  </a:lnTo>
                  <a:lnTo>
                    <a:pt x="333" y="306"/>
                  </a:lnTo>
                  <a:lnTo>
                    <a:pt x="331" y="304"/>
                  </a:lnTo>
                  <a:lnTo>
                    <a:pt x="329" y="299"/>
                  </a:lnTo>
                  <a:lnTo>
                    <a:pt x="331" y="297"/>
                  </a:lnTo>
                  <a:lnTo>
                    <a:pt x="331" y="295"/>
                  </a:lnTo>
                  <a:lnTo>
                    <a:pt x="333" y="293"/>
                  </a:lnTo>
                  <a:lnTo>
                    <a:pt x="335" y="289"/>
                  </a:lnTo>
                  <a:lnTo>
                    <a:pt x="337" y="289"/>
                  </a:lnTo>
                  <a:lnTo>
                    <a:pt x="345" y="287"/>
                  </a:lnTo>
                  <a:lnTo>
                    <a:pt x="347" y="285"/>
                  </a:lnTo>
                  <a:lnTo>
                    <a:pt x="347" y="283"/>
                  </a:lnTo>
                  <a:lnTo>
                    <a:pt x="351" y="285"/>
                  </a:lnTo>
                  <a:lnTo>
                    <a:pt x="356" y="285"/>
                  </a:lnTo>
                  <a:lnTo>
                    <a:pt x="360" y="287"/>
                  </a:lnTo>
                  <a:lnTo>
                    <a:pt x="364" y="287"/>
                  </a:lnTo>
                  <a:lnTo>
                    <a:pt x="366" y="283"/>
                  </a:lnTo>
                  <a:lnTo>
                    <a:pt x="366" y="281"/>
                  </a:lnTo>
                  <a:lnTo>
                    <a:pt x="366" y="277"/>
                  </a:lnTo>
                  <a:lnTo>
                    <a:pt x="366" y="275"/>
                  </a:lnTo>
                  <a:lnTo>
                    <a:pt x="366" y="272"/>
                  </a:lnTo>
                  <a:lnTo>
                    <a:pt x="362" y="262"/>
                  </a:lnTo>
                  <a:lnTo>
                    <a:pt x="362" y="256"/>
                  </a:lnTo>
                  <a:lnTo>
                    <a:pt x="360" y="252"/>
                  </a:lnTo>
                  <a:lnTo>
                    <a:pt x="358" y="250"/>
                  </a:lnTo>
                  <a:lnTo>
                    <a:pt x="356" y="247"/>
                  </a:lnTo>
                  <a:lnTo>
                    <a:pt x="360" y="243"/>
                  </a:lnTo>
                  <a:lnTo>
                    <a:pt x="360" y="237"/>
                  </a:lnTo>
                  <a:lnTo>
                    <a:pt x="356" y="237"/>
                  </a:lnTo>
                  <a:lnTo>
                    <a:pt x="351" y="237"/>
                  </a:lnTo>
                  <a:lnTo>
                    <a:pt x="347" y="235"/>
                  </a:lnTo>
                  <a:lnTo>
                    <a:pt x="345" y="233"/>
                  </a:lnTo>
                  <a:lnTo>
                    <a:pt x="347" y="229"/>
                  </a:lnTo>
                  <a:lnTo>
                    <a:pt x="349" y="229"/>
                  </a:lnTo>
                  <a:lnTo>
                    <a:pt x="351" y="227"/>
                  </a:lnTo>
                  <a:lnTo>
                    <a:pt x="351" y="225"/>
                  </a:lnTo>
                  <a:lnTo>
                    <a:pt x="351" y="220"/>
                  </a:lnTo>
                  <a:lnTo>
                    <a:pt x="356" y="223"/>
                  </a:lnTo>
                  <a:lnTo>
                    <a:pt x="360" y="220"/>
                  </a:lnTo>
                  <a:lnTo>
                    <a:pt x="362" y="218"/>
                  </a:lnTo>
                  <a:lnTo>
                    <a:pt x="360" y="218"/>
                  </a:lnTo>
                  <a:lnTo>
                    <a:pt x="358" y="216"/>
                  </a:lnTo>
                  <a:lnTo>
                    <a:pt x="356" y="216"/>
                  </a:lnTo>
                  <a:lnTo>
                    <a:pt x="354" y="216"/>
                  </a:lnTo>
                  <a:lnTo>
                    <a:pt x="351" y="216"/>
                  </a:lnTo>
                  <a:lnTo>
                    <a:pt x="351" y="214"/>
                  </a:lnTo>
                  <a:lnTo>
                    <a:pt x="351" y="212"/>
                  </a:lnTo>
                  <a:lnTo>
                    <a:pt x="347" y="210"/>
                  </a:lnTo>
                  <a:lnTo>
                    <a:pt x="345" y="210"/>
                  </a:lnTo>
                  <a:lnTo>
                    <a:pt x="345" y="204"/>
                  </a:lnTo>
                  <a:lnTo>
                    <a:pt x="347" y="202"/>
                  </a:lnTo>
                  <a:lnTo>
                    <a:pt x="347" y="200"/>
                  </a:lnTo>
                  <a:lnTo>
                    <a:pt x="349" y="198"/>
                  </a:lnTo>
                  <a:lnTo>
                    <a:pt x="356" y="200"/>
                  </a:lnTo>
                  <a:lnTo>
                    <a:pt x="358" y="200"/>
                  </a:lnTo>
                  <a:lnTo>
                    <a:pt x="358" y="200"/>
                  </a:lnTo>
                  <a:lnTo>
                    <a:pt x="358" y="198"/>
                  </a:lnTo>
                  <a:lnTo>
                    <a:pt x="360" y="200"/>
                  </a:lnTo>
                  <a:lnTo>
                    <a:pt x="364" y="204"/>
                  </a:lnTo>
                  <a:lnTo>
                    <a:pt x="364" y="204"/>
                  </a:lnTo>
                  <a:lnTo>
                    <a:pt x="368" y="206"/>
                  </a:lnTo>
                  <a:lnTo>
                    <a:pt x="370" y="206"/>
                  </a:lnTo>
                  <a:lnTo>
                    <a:pt x="370" y="204"/>
                  </a:lnTo>
                  <a:lnTo>
                    <a:pt x="372" y="204"/>
                  </a:lnTo>
                  <a:lnTo>
                    <a:pt x="374" y="204"/>
                  </a:lnTo>
                  <a:lnTo>
                    <a:pt x="376" y="206"/>
                  </a:lnTo>
                  <a:lnTo>
                    <a:pt x="376" y="208"/>
                  </a:lnTo>
                  <a:lnTo>
                    <a:pt x="374" y="210"/>
                  </a:lnTo>
                  <a:lnTo>
                    <a:pt x="374" y="212"/>
                  </a:lnTo>
                  <a:lnTo>
                    <a:pt x="376" y="212"/>
                  </a:lnTo>
                  <a:lnTo>
                    <a:pt x="378" y="214"/>
                  </a:lnTo>
                  <a:lnTo>
                    <a:pt x="376" y="214"/>
                  </a:lnTo>
                  <a:lnTo>
                    <a:pt x="376" y="216"/>
                  </a:lnTo>
                  <a:lnTo>
                    <a:pt x="376" y="218"/>
                  </a:lnTo>
                  <a:lnTo>
                    <a:pt x="383" y="220"/>
                  </a:lnTo>
                  <a:lnTo>
                    <a:pt x="385" y="220"/>
                  </a:lnTo>
                  <a:lnTo>
                    <a:pt x="389" y="220"/>
                  </a:lnTo>
                  <a:lnTo>
                    <a:pt x="395" y="218"/>
                  </a:lnTo>
                  <a:lnTo>
                    <a:pt x="399" y="218"/>
                  </a:lnTo>
                  <a:lnTo>
                    <a:pt x="406" y="218"/>
                  </a:lnTo>
                  <a:lnTo>
                    <a:pt x="408" y="216"/>
                  </a:lnTo>
                  <a:lnTo>
                    <a:pt x="414" y="216"/>
                  </a:lnTo>
                  <a:lnTo>
                    <a:pt x="416" y="218"/>
                  </a:lnTo>
                  <a:lnTo>
                    <a:pt x="418" y="218"/>
                  </a:lnTo>
                  <a:lnTo>
                    <a:pt x="422" y="220"/>
                  </a:lnTo>
                  <a:lnTo>
                    <a:pt x="420" y="223"/>
                  </a:lnTo>
                  <a:lnTo>
                    <a:pt x="418" y="223"/>
                  </a:lnTo>
                  <a:lnTo>
                    <a:pt x="418" y="225"/>
                  </a:lnTo>
                  <a:lnTo>
                    <a:pt x="418" y="229"/>
                  </a:lnTo>
                  <a:lnTo>
                    <a:pt x="418" y="231"/>
                  </a:lnTo>
                  <a:lnTo>
                    <a:pt x="416" y="233"/>
                  </a:lnTo>
                  <a:lnTo>
                    <a:pt x="414" y="235"/>
                  </a:lnTo>
                  <a:lnTo>
                    <a:pt x="410" y="237"/>
                  </a:lnTo>
                  <a:lnTo>
                    <a:pt x="410" y="237"/>
                  </a:lnTo>
                  <a:lnTo>
                    <a:pt x="408" y="239"/>
                  </a:lnTo>
                  <a:lnTo>
                    <a:pt x="406" y="239"/>
                  </a:lnTo>
                  <a:lnTo>
                    <a:pt x="401" y="245"/>
                  </a:lnTo>
                  <a:lnTo>
                    <a:pt x="401" y="247"/>
                  </a:lnTo>
                  <a:lnTo>
                    <a:pt x="403" y="247"/>
                  </a:lnTo>
                  <a:lnTo>
                    <a:pt x="410" y="258"/>
                  </a:lnTo>
                  <a:lnTo>
                    <a:pt x="412" y="260"/>
                  </a:lnTo>
                  <a:lnTo>
                    <a:pt x="414" y="258"/>
                  </a:lnTo>
                  <a:lnTo>
                    <a:pt x="414" y="256"/>
                  </a:lnTo>
                  <a:lnTo>
                    <a:pt x="414" y="252"/>
                  </a:lnTo>
                  <a:lnTo>
                    <a:pt x="414" y="250"/>
                  </a:lnTo>
                  <a:lnTo>
                    <a:pt x="416" y="250"/>
                  </a:lnTo>
                  <a:lnTo>
                    <a:pt x="416" y="247"/>
                  </a:lnTo>
                  <a:lnTo>
                    <a:pt x="416" y="247"/>
                  </a:lnTo>
                  <a:lnTo>
                    <a:pt x="418" y="245"/>
                  </a:lnTo>
                  <a:lnTo>
                    <a:pt x="420" y="245"/>
                  </a:lnTo>
                  <a:lnTo>
                    <a:pt x="422" y="250"/>
                  </a:lnTo>
                  <a:lnTo>
                    <a:pt x="422" y="250"/>
                  </a:lnTo>
                  <a:lnTo>
                    <a:pt x="424" y="258"/>
                  </a:lnTo>
                  <a:lnTo>
                    <a:pt x="426" y="262"/>
                  </a:lnTo>
                  <a:lnTo>
                    <a:pt x="428" y="268"/>
                  </a:lnTo>
                  <a:lnTo>
                    <a:pt x="428" y="270"/>
                  </a:lnTo>
                  <a:lnTo>
                    <a:pt x="430" y="275"/>
                  </a:lnTo>
                  <a:lnTo>
                    <a:pt x="433" y="272"/>
                  </a:lnTo>
                  <a:lnTo>
                    <a:pt x="435" y="275"/>
                  </a:lnTo>
                  <a:lnTo>
                    <a:pt x="437" y="277"/>
                  </a:lnTo>
                  <a:lnTo>
                    <a:pt x="437" y="275"/>
                  </a:lnTo>
                  <a:lnTo>
                    <a:pt x="437" y="272"/>
                  </a:lnTo>
                  <a:lnTo>
                    <a:pt x="439" y="270"/>
                  </a:lnTo>
                  <a:lnTo>
                    <a:pt x="441" y="268"/>
                  </a:lnTo>
                  <a:lnTo>
                    <a:pt x="439" y="266"/>
                  </a:lnTo>
                  <a:lnTo>
                    <a:pt x="437" y="264"/>
                  </a:lnTo>
                  <a:lnTo>
                    <a:pt x="437" y="262"/>
                  </a:lnTo>
                  <a:lnTo>
                    <a:pt x="437" y="258"/>
                  </a:lnTo>
                  <a:lnTo>
                    <a:pt x="437" y="254"/>
                  </a:lnTo>
                  <a:lnTo>
                    <a:pt x="441" y="254"/>
                  </a:lnTo>
                  <a:lnTo>
                    <a:pt x="441" y="252"/>
                  </a:lnTo>
                  <a:lnTo>
                    <a:pt x="443" y="247"/>
                  </a:lnTo>
                  <a:lnTo>
                    <a:pt x="441" y="241"/>
                  </a:lnTo>
                  <a:lnTo>
                    <a:pt x="441" y="239"/>
                  </a:lnTo>
                  <a:lnTo>
                    <a:pt x="441" y="237"/>
                  </a:lnTo>
                  <a:lnTo>
                    <a:pt x="451" y="239"/>
                  </a:lnTo>
                  <a:lnTo>
                    <a:pt x="453" y="235"/>
                  </a:lnTo>
                  <a:lnTo>
                    <a:pt x="455" y="233"/>
                  </a:lnTo>
                  <a:lnTo>
                    <a:pt x="453" y="231"/>
                  </a:lnTo>
                  <a:lnTo>
                    <a:pt x="458" y="225"/>
                  </a:lnTo>
                  <a:lnTo>
                    <a:pt x="458" y="223"/>
                  </a:lnTo>
                  <a:lnTo>
                    <a:pt x="458" y="220"/>
                  </a:lnTo>
                  <a:lnTo>
                    <a:pt x="460" y="218"/>
                  </a:lnTo>
                  <a:lnTo>
                    <a:pt x="460" y="216"/>
                  </a:lnTo>
                  <a:lnTo>
                    <a:pt x="460" y="214"/>
                  </a:lnTo>
                  <a:lnTo>
                    <a:pt x="458" y="212"/>
                  </a:lnTo>
                  <a:lnTo>
                    <a:pt x="458" y="208"/>
                  </a:lnTo>
                  <a:lnTo>
                    <a:pt x="460" y="208"/>
                  </a:lnTo>
                  <a:lnTo>
                    <a:pt x="464" y="206"/>
                  </a:lnTo>
                  <a:lnTo>
                    <a:pt x="464" y="198"/>
                  </a:lnTo>
                  <a:lnTo>
                    <a:pt x="464" y="193"/>
                  </a:lnTo>
                  <a:lnTo>
                    <a:pt x="462" y="187"/>
                  </a:lnTo>
                  <a:lnTo>
                    <a:pt x="464" y="187"/>
                  </a:lnTo>
                  <a:lnTo>
                    <a:pt x="464" y="183"/>
                  </a:lnTo>
                  <a:lnTo>
                    <a:pt x="468" y="183"/>
                  </a:lnTo>
                  <a:lnTo>
                    <a:pt x="470" y="179"/>
                  </a:lnTo>
                  <a:lnTo>
                    <a:pt x="472" y="179"/>
                  </a:lnTo>
                  <a:lnTo>
                    <a:pt x="476" y="175"/>
                  </a:lnTo>
                  <a:lnTo>
                    <a:pt x="476" y="173"/>
                  </a:lnTo>
                  <a:lnTo>
                    <a:pt x="480" y="171"/>
                  </a:lnTo>
                  <a:lnTo>
                    <a:pt x="482" y="168"/>
                  </a:lnTo>
                  <a:lnTo>
                    <a:pt x="485" y="168"/>
                  </a:lnTo>
                  <a:lnTo>
                    <a:pt x="489" y="168"/>
                  </a:lnTo>
                  <a:lnTo>
                    <a:pt x="493" y="171"/>
                  </a:lnTo>
                  <a:lnTo>
                    <a:pt x="495" y="171"/>
                  </a:lnTo>
                  <a:lnTo>
                    <a:pt x="495" y="168"/>
                  </a:lnTo>
                  <a:lnTo>
                    <a:pt x="491" y="166"/>
                  </a:lnTo>
                  <a:lnTo>
                    <a:pt x="491" y="164"/>
                  </a:lnTo>
                  <a:lnTo>
                    <a:pt x="491" y="160"/>
                  </a:lnTo>
                  <a:lnTo>
                    <a:pt x="497" y="156"/>
                  </a:lnTo>
                  <a:lnTo>
                    <a:pt x="497" y="150"/>
                  </a:lnTo>
                  <a:lnTo>
                    <a:pt x="491" y="148"/>
                  </a:lnTo>
                  <a:lnTo>
                    <a:pt x="487" y="148"/>
                  </a:lnTo>
                  <a:lnTo>
                    <a:pt x="485" y="146"/>
                  </a:lnTo>
                  <a:lnTo>
                    <a:pt x="480" y="150"/>
                  </a:lnTo>
                  <a:lnTo>
                    <a:pt x="478" y="150"/>
                  </a:lnTo>
                  <a:lnTo>
                    <a:pt x="478" y="148"/>
                  </a:lnTo>
                  <a:lnTo>
                    <a:pt x="478" y="144"/>
                  </a:lnTo>
                  <a:lnTo>
                    <a:pt x="482" y="144"/>
                  </a:lnTo>
                  <a:lnTo>
                    <a:pt x="482" y="139"/>
                  </a:lnTo>
                  <a:lnTo>
                    <a:pt x="480" y="135"/>
                  </a:lnTo>
                  <a:lnTo>
                    <a:pt x="474" y="135"/>
                  </a:lnTo>
                  <a:lnTo>
                    <a:pt x="476" y="133"/>
                  </a:lnTo>
                  <a:lnTo>
                    <a:pt x="476" y="131"/>
                  </a:lnTo>
                  <a:lnTo>
                    <a:pt x="476" y="131"/>
                  </a:lnTo>
                  <a:close/>
                </a:path>
              </a:pathLst>
            </a:custGeom>
            <a:grpFill/>
            <a:ln w="9525" cap="flat" cmpd="sng">
              <a:solidFill>
                <a:srgbClr val="FFFFFF"/>
              </a:solidFill>
              <a:prstDash val="solid"/>
              <a:miter lim="800000"/>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grpSp>
      <p:sp>
        <p:nvSpPr>
          <p:cNvPr id="409" name="Freeform 5684"/>
          <p:cNvSpPr>
            <a:spLocks/>
          </p:cNvSpPr>
          <p:nvPr>
            <p:custDataLst>
              <p:tags r:id="rId4"/>
            </p:custDataLst>
          </p:nvPr>
        </p:nvSpPr>
        <p:spPr bwMode="gray">
          <a:xfrm>
            <a:off x="7324173" y="3436474"/>
            <a:ext cx="22396" cy="40358"/>
          </a:xfrm>
          <a:custGeom>
            <a:avLst/>
            <a:gdLst/>
            <a:ahLst/>
            <a:cxnLst>
              <a:cxn ang="0">
                <a:pos x="10" y="18"/>
              </a:cxn>
              <a:cxn ang="0">
                <a:pos x="10" y="1"/>
              </a:cxn>
              <a:cxn ang="0">
                <a:pos x="6" y="0"/>
              </a:cxn>
              <a:cxn ang="0">
                <a:pos x="0" y="5"/>
              </a:cxn>
              <a:cxn ang="0">
                <a:pos x="10" y="18"/>
              </a:cxn>
              <a:cxn ang="0">
                <a:pos x="10" y="18"/>
              </a:cxn>
            </a:cxnLst>
            <a:rect l="0" t="0" r="r" b="b"/>
            <a:pathLst>
              <a:path w="10" h="18">
                <a:moveTo>
                  <a:pt x="10" y="18"/>
                </a:moveTo>
                <a:lnTo>
                  <a:pt x="10" y="1"/>
                </a:lnTo>
                <a:lnTo>
                  <a:pt x="6" y="0"/>
                </a:lnTo>
                <a:lnTo>
                  <a:pt x="0" y="5"/>
                </a:lnTo>
                <a:lnTo>
                  <a:pt x="10" y="18"/>
                </a:lnTo>
                <a:lnTo>
                  <a:pt x="10" y="18"/>
                </a:lnTo>
                <a:close/>
              </a:path>
            </a:pathLst>
          </a:custGeom>
          <a:solidFill>
            <a:srgbClr val="00304A"/>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Tree>
    <p:extLst>
      <p:ext uri="{BB962C8B-B14F-4D97-AF65-F5344CB8AC3E}">
        <p14:creationId xmlns:p14="http://schemas.microsoft.com/office/powerpoint/2010/main" val="257177927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67" name="World - regions"/>
          <p:cNvGrpSpPr>
            <a:grpSpLocks noChangeAspect="1"/>
          </p:cNvGrpSpPr>
          <p:nvPr>
            <p:custDataLst>
              <p:tags r:id="rId2"/>
            </p:custDataLst>
          </p:nvPr>
        </p:nvGrpSpPr>
        <p:grpSpPr>
          <a:xfrm>
            <a:off x="560925" y="1262211"/>
            <a:ext cx="11074750" cy="5527480"/>
            <a:chOff x="3743501" y="2500313"/>
            <a:chExt cx="6344893" cy="3166778"/>
          </a:xfrm>
          <a:solidFill>
            <a:srgbClr val="A8D2E0"/>
          </a:solidFill>
        </p:grpSpPr>
        <p:sp>
          <p:nvSpPr>
            <p:cNvPr id="968" name="Freeform 5645"/>
            <p:cNvSpPr>
              <a:spLocks/>
            </p:cNvSpPr>
            <p:nvPr>
              <p:custDataLst>
                <p:tags r:id="rId4"/>
              </p:custDataLst>
            </p:nvPr>
          </p:nvSpPr>
          <p:spPr bwMode="gray">
            <a:xfrm>
              <a:off x="9536736" y="4412715"/>
              <a:ext cx="193905" cy="190468"/>
            </a:xfrm>
            <a:custGeom>
              <a:avLst/>
              <a:gdLst/>
              <a:ahLst/>
              <a:cxnLst>
                <a:cxn ang="0">
                  <a:pos x="2" y="0"/>
                </a:cxn>
                <a:cxn ang="0">
                  <a:pos x="41" y="15"/>
                </a:cxn>
                <a:cxn ang="0">
                  <a:pos x="71" y="33"/>
                </a:cxn>
                <a:cxn ang="0">
                  <a:pos x="75" y="52"/>
                </a:cxn>
                <a:cxn ang="0">
                  <a:pos x="94" y="60"/>
                </a:cxn>
                <a:cxn ang="0">
                  <a:pos x="103" y="58"/>
                </a:cxn>
                <a:cxn ang="0">
                  <a:pos x="109" y="65"/>
                </a:cxn>
                <a:cxn ang="0">
                  <a:pos x="109" y="73"/>
                </a:cxn>
                <a:cxn ang="0">
                  <a:pos x="96" y="76"/>
                </a:cxn>
                <a:cxn ang="0">
                  <a:pos x="98" y="84"/>
                </a:cxn>
                <a:cxn ang="0">
                  <a:pos x="113" y="97"/>
                </a:cxn>
                <a:cxn ang="0">
                  <a:pos x="116" y="118"/>
                </a:cxn>
                <a:cxn ang="0">
                  <a:pos x="128" y="116"/>
                </a:cxn>
                <a:cxn ang="0">
                  <a:pos x="124" y="123"/>
                </a:cxn>
                <a:cxn ang="0">
                  <a:pos x="139" y="127"/>
                </a:cxn>
                <a:cxn ang="0">
                  <a:pos x="135" y="135"/>
                </a:cxn>
                <a:cxn ang="0">
                  <a:pos x="150" y="138"/>
                </a:cxn>
                <a:cxn ang="0">
                  <a:pos x="146" y="146"/>
                </a:cxn>
                <a:cxn ang="0">
                  <a:pos x="137" y="148"/>
                </a:cxn>
                <a:cxn ang="0">
                  <a:pos x="135" y="142"/>
                </a:cxn>
                <a:cxn ang="0">
                  <a:pos x="100" y="135"/>
                </a:cxn>
                <a:cxn ang="0">
                  <a:pos x="77" y="97"/>
                </a:cxn>
                <a:cxn ang="0">
                  <a:pos x="56" y="90"/>
                </a:cxn>
                <a:cxn ang="0">
                  <a:pos x="47" y="90"/>
                </a:cxn>
                <a:cxn ang="0">
                  <a:pos x="30" y="105"/>
                </a:cxn>
                <a:cxn ang="0">
                  <a:pos x="32" y="112"/>
                </a:cxn>
                <a:cxn ang="0">
                  <a:pos x="19" y="121"/>
                </a:cxn>
                <a:cxn ang="0">
                  <a:pos x="0" y="120"/>
                </a:cxn>
                <a:cxn ang="0">
                  <a:pos x="2" y="0"/>
                </a:cxn>
                <a:cxn ang="0">
                  <a:pos x="2" y="0"/>
                </a:cxn>
              </a:cxnLst>
              <a:rect l="0" t="0" r="r" b="b"/>
              <a:pathLst>
                <a:path w="150" h="148">
                  <a:moveTo>
                    <a:pt x="2" y="0"/>
                  </a:moveTo>
                  <a:lnTo>
                    <a:pt x="41" y="15"/>
                  </a:lnTo>
                  <a:lnTo>
                    <a:pt x="71" y="33"/>
                  </a:lnTo>
                  <a:lnTo>
                    <a:pt x="75" y="52"/>
                  </a:lnTo>
                  <a:lnTo>
                    <a:pt x="94" y="60"/>
                  </a:lnTo>
                  <a:lnTo>
                    <a:pt x="103" y="58"/>
                  </a:lnTo>
                  <a:lnTo>
                    <a:pt x="109" y="65"/>
                  </a:lnTo>
                  <a:lnTo>
                    <a:pt x="109" y="73"/>
                  </a:lnTo>
                  <a:lnTo>
                    <a:pt x="96" y="76"/>
                  </a:lnTo>
                  <a:lnTo>
                    <a:pt x="98" y="84"/>
                  </a:lnTo>
                  <a:lnTo>
                    <a:pt x="113" y="97"/>
                  </a:lnTo>
                  <a:lnTo>
                    <a:pt x="116" y="118"/>
                  </a:lnTo>
                  <a:lnTo>
                    <a:pt x="128" y="116"/>
                  </a:lnTo>
                  <a:lnTo>
                    <a:pt x="124" y="123"/>
                  </a:lnTo>
                  <a:lnTo>
                    <a:pt x="139" y="127"/>
                  </a:lnTo>
                  <a:lnTo>
                    <a:pt x="135" y="135"/>
                  </a:lnTo>
                  <a:lnTo>
                    <a:pt x="150" y="138"/>
                  </a:lnTo>
                  <a:lnTo>
                    <a:pt x="146" y="146"/>
                  </a:lnTo>
                  <a:lnTo>
                    <a:pt x="137" y="148"/>
                  </a:lnTo>
                  <a:lnTo>
                    <a:pt x="135" y="142"/>
                  </a:lnTo>
                  <a:lnTo>
                    <a:pt x="100" y="135"/>
                  </a:lnTo>
                  <a:lnTo>
                    <a:pt x="77" y="97"/>
                  </a:lnTo>
                  <a:lnTo>
                    <a:pt x="56" y="90"/>
                  </a:lnTo>
                  <a:lnTo>
                    <a:pt x="47" y="90"/>
                  </a:lnTo>
                  <a:lnTo>
                    <a:pt x="30" y="105"/>
                  </a:lnTo>
                  <a:lnTo>
                    <a:pt x="32" y="112"/>
                  </a:lnTo>
                  <a:lnTo>
                    <a:pt x="19" y="121"/>
                  </a:lnTo>
                  <a:lnTo>
                    <a:pt x="0" y="120"/>
                  </a:lnTo>
                  <a:lnTo>
                    <a:pt x="2" y="0"/>
                  </a:lnTo>
                  <a:lnTo>
                    <a:pt x="2"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69" name="Freeform 5646"/>
            <p:cNvSpPr>
              <a:spLocks/>
            </p:cNvSpPr>
            <p:nvPr>
              <p:custDataLst>
                <p:tags r:id="rId5"/>
              </p:custDataLst>
            </p:nvPr>
          </p:nvSpPr>
          <p:spPr bwMode="gray">
            <a:xfrm>
              <a:off x="8499688" y="3655539"/>
              <a:ext cx="180978" cy="438849"/>
            </a:xfrm>
            <a:custGeom>
              <a:avLst/>
              <a:gdLst/>
              <a:ahLst/>
              <a:cxnLst>
                <a:cxn ang="0">
                  <a:pos x="136" y="300"/>
                </a:cxn>
                <a:cxn ang="0">
                  <a:pos x="121" y="259"/>
                </a:cxn>
                <a:cxn ang="0">
                  <a:pos x="108" y="245"/>
                </a:cxn>
                <a:cxn ang="0">
                  <a:pos x="116" y="221"/>
                </a:cxn>
                <a:cxn ang="0">
                  <a:pos x="91" y="184"/>
                </a:cxn>
                <a:cxn ang="0">
                  <a:pos x="93" y="163"/>
                </a:cxn>
                <a:cxn ang="0">
                  <a:pos x="127" y="137"/>
                </a:cxn>
                <a:cxn ang="0">
                  <a:pos x="140" y="118"/>
                </a:cxn>
                <a:cxn ang="0">
                  <a:pos x="125" y="122"/>
                </a:cxn>
                <a:cxn ang="0">
                  <a:pos x="108" y="109"/>
                </a:cxn>
                <a:cxn ang="0">
                  <a:pos x="110" y="96"/>
                </a:cxn>
                <a:cxn ang="0">
                  <a:pos x="101" y="88"/>
                </a:cxn>
                <a:cxn ang="0">
                  <a:pos x="95" y="75"/>
                </a:cxn>
                <a:cxn ang="0">
                  <a:pos x="78" y="81"/>
                </a:cxn>
                <a:cxn ang="0">
                  <a:pos x="86" y="26"/>
                </a:cxn>
                <a:cxn ang="0">
                  <a:pos x="73" y="4"/>
                </a:cxn>
                <a:cxn ang="0">
                  <a:pos x="60" y="0"/>
                </a:cxn>
                <a:cxn ang="0">
                  <a:pos x="56" y="17"/>
                </a:cxn>
                <a:cxn ang="0">
                  <a:pos x="43" y="17"/>
                </a:cxn>
                <a:cxn ang="0">
                  <a:pos x="31" y="30"/>
                </a:cxn>
                <a:cxn ang="0">
                  <a:pos x="22" y="77"/>
                </a:cxn>
                <a:cxn ang="0">
                  <a:pos x="9" y="81"/>
                </a:cxn>
                <a:cxn ang="0">
                  <a:pos x="7" y="109"/>
                </a:cxn>
                <a:cxn ang="0">
                  <a:pos x="3" y="114"/>
                </a:cxn>
                <a:cxn ang="0">
                  <a:pos x="0" y="135"/>
                </a:cxn>
                <a:cxn ang="0">
                  <a:pos x="16" y="152"/>
                </a:cxn>
                <a:cxn ang="0">
                  <a:pos x="20" y="152"/>
                </a:cxn>
                <a:cxn ang="0">
                  <a:pos x="30" y="172"/>
                </a:cxn>
                <a:cxn ang="0">
                  <a:pos x="35" y="172"/>
                </a:cxn>
                <a:cxn ang="0">
                  <a:pos x="45" y="202"/>
                </a:cxn>
                <a:cxn ang="0">
                  <a:pos x="41" y="223"/>
                </a:cxn>
                <a:cxn ang="0">
                  <a:pos x="61" y="229"/>
                </a:cxn>
                <a:cxn ang="0">
                  <a:pos x="82" y="206"/>
                </a:cxn>
                <a:cxn ang="0">
                  <a:pos x="93" y="217"/>
                </a:cxn>
                <a:cxn ang="0">
                  <a:pos x="119" y="287"/>
                </a:cxn>
                <a:cxn ang="0">
                  <a:pos x="118" y="298"/>
                </a:cxn>
                <a:cxn ang="0">
                  <a:pos x="123" y="317"/>
                </a:cxn>
                <a:cxn ang="0">
                  <a:pos x="118" y="341"/>
                </a:cxn>
                <a:cxn ang="0">
                  <a:pos x="136" y="300"/>
                </a:cxn>
                <a:cxn ang="0">
                  <a:pos x="136" y="300"/>
                </a:cxn>
              </a:cxnLst>
              <a:rect l="0" t="0" r="r" b="b"/>
              <a:pathLst>
                <a:path w="140" h="341">
                  <a:moveTo>
                    <a:pt x="136" y="300"/>
                  </a:moveTo>
                  <a:lnTo>
                    <a:pt x="121" y="259"/>
                  </a:lnTo>
                  <a:lnTo>
                    <a:pt x="108" y="245"/>
                  </a:lnTo>
                  <a:lnTo>
                    <a:pt x="116" y="221"/>
                  </a:lnTo>
                  <a:lnTo>
                    <a:pt x="91" y="184"/>
                  </a:lnTo>
                  <a:lnTo>
                    <a:pt x="93" y="163"/>
                  </a:lnTo>
                  <a:lnTo>
                    <a:pt x="127" y="137"/>
                  </a:lnTo>
                  <a:lnTo>
                    <a:pt x="140" y="118"/>
                  </a:lnTo>
                  <a:lnTo>
                    <a:pt x="125" y="122"/>
                  </a:lnTo>
                  <a:lnTo>
                    <a:pt x="108" y="109"/>
                  </a:lnTo>
                  <a:lnTo>
                    <a:pt x="110" y="96"/>
                  </a:lnTo>
                  <a:lnTo>
                    <a:pt x="101" y="88"/>
                  </a:lnTo>
                  <a:lnTo>
                    <a:pt x="95" y="75"/>
                  </a:lnTo>
                  <a:lnTo>
                    <a:pt x="78" y="81"/>
                  </a:lnTo>
                  <a:lnTo>
                    <a:pt x="86" y="26"/>
                  </a:lnTo>
                  <a:lnTo>
                    <a:pt x="73" y="4"/>
                  </a:lnTo>
                  <a:lnTo>
                    <a:pt x="60" y="0"/>
                  </a:lnTo>
                  <a:lnTo>
                    <a:pt x="56" y="17"/>
                  </a:lnTo>
                  <a:lnTo>
                    <a:pt x="43" y="17"/>
                  </a:lnTo>
                  <a:lnTo>
                    <a:pt x="31" y="30"/>
                  </a:lnTo>
                  <a:lnTo>
                    <a:pt x="22" y="77"/>
                  </a:lnTo>
                  <a:lnTo>
                    <a:pt x="9" y="81"/>
                  </a:lnTo>
                  <a:lnTo>
                    <a:pt x="7" y="109"/>
                  </a:lnTo>
                  <a:lnTo>
                    <a:pt x="3" y="114"/>
                  </a:lnTo>
                  <a:lnTo>
                    <a:pt x="0" y="135"/>
                  </a:lnTo>
                  <a:lnTo>
                    <a:pt x="16" y="152"/>
                  </a:lnTo>
                  <a:lnTo>
                    <a:pt x="20" y="152"/>
                  </a:lnTo>
                  <a:lnTo>
                    <a:pt x="30" y="172"/>
                  </a:lnTo>
                  <a:lnTo>
                    <a:pt x="35" y="172"/>
                  </a:lnTo>
                  <a:lnTo>
                    <a:pt x="45" y="202"/>
                  </a:lnTo>
                  <a:lnTo>
                    <a:pt x="41" y="223"/>
                  </a:lnTo>
                  <a:lnTo>
                    <a:pt x="61" y="229"/>
                  </a:lnTo>
                  <a:lnTo>
                    <a:pt x="82" y="206"/>
                  </a:lnTo>
                  <a:lnTo>
                    <a:pt x="93" y="217"/>
                  </a:lnTo>
                  <a:lnTo>
                    <a:pt x="119" y="287"/>
                  </a:lnTo>
                  <a:lnTo>
                    <a:pt x="118" y="298"/>
                  </a:lnTo>
                  <a:lnTo>
                    <a:pt x="123" y="317"/>
                  </a:lnTo>
                  <a:lnTo>
                    <a:pt x="118" y="341"/>
                  </a:lnTo>
                  <a:lnTo>
                    <a:pt x="136" y="300"/>
                  </a:lnTo>
                  <a:lnTo>
                    <a:pt x="136" y="30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70" name="Freeform 5647"/>
            <p:cNvSpPr>
              <a:spLocks/>
            </p:cNvSpPr>
            <p:nvPr>
              <p:custDataLst>
                <p:tags r:id="rId6"/>
              </p:custDataLst>
            </p:nvPr>
          </p:nvSpPr>
          <p:spPr bwMode="gray">
            <a:xfrm>
              <a:off x="8746456" y="3999606"/>
              <a:ext cx="108587" cy="101669"/>
            </a:xfrm>
            <a:custGeom>
              <a:avLst/>
              <a:gdLst/>
              <a:ahLst/>
              <a:cxnLst>
                <a:cxn ang="0">
                  <a:pos x="0" y="28"/>
                </a:cxn>
                <a:cxn ang="0">
                  <a:pos x="7" y="10"/>
                </a:cxn>
                <a:cxn ang="0">
                  <a:pos x="44" y="8"/>
                </a:cxn>
                <a:cxn ang="0">
                  <a:pos x="58" y="12"/>
                </a:cxn>
                <a:cxn ang="0">
                  <a:pos x="59" y="6"/>
                </a:cxn>
                <a:cxn ang="0">
                  <a:pos x="78" y="0"/>
                </a:cxn>
                <a:cxn ang="0">
                  <a:pos x="84" y="43"/>
                </a:cxn>
                <a:cxn ang="0">
                  <a:pos x="59" y="56"/>
                </a:cxn>
                <a:cxn ang="0">
                  <a:pos x="58" y="70"/>
                </a:cxn>
                <a:cxn ang="0">
                  <a:pos x="39" y="79"/>
                </a:cxn>
                <a:cxn ang="0">
                  <a:pos x="18" y="70"/>
                </a:cxn>
                <a:cxn ang="0">
                  <a:pos x="5" y="49"/>
                </a:cxn>
                <a:cxn ang="0">
                  <a:pos x="0" y="28"/>
                </a:cxn>
                <a:cxn ang="0">
                  <a:pos x="0" y="28"/>
                </a:cxn>
              </a:cxnLst>
              <a:rect l="0" t="0" r="r" b="b"/>
              <a:pathLst>
                <a:path w="84" h="79">
                  <a:moveTo>
                    <a:pt x="0" y="28"/>
                  </a:moveTo>
                  <a:lnTo>
                    <a:pt x="7" y="10"/>
                  </a:lnTo>
                  <a:lnTo>
                    <a:pt x="44" y="8"/>
                  </a:lnTo>
                  <a:lnTo>
                    <a:pt x="58" y="12"/>
                  </a:lnTo>
                  <a:lnTo>
                    <a:pt x="59" y="6"/>
                  </a:lnTo>
                  <a:lnTo>
                    <a:pt x="78" y="0"/>
                  </a:lnTo>
                  <a:lnTo>
                    <a:pt x="84" y="43"/>
                  </a:lnTo>
                  <a:lnTo>
                    <a:pt x="59" y="56"/>
                  </a:lnTo>
                  <a:lnTo>
                    <a:pt x="58" y="70"/>
                  </a:lnTo>
                  <a:lnTo>
                    <a:pt x="39" y="79"/>
                  </a:lnTo>
                  <a:lnTo>
                    <a:pt x="18" y="70"/>
                  </a:lnTo>
                  <a:lnTo>
                    <a:pt x="5" y="49"/>
                  </a:lnTo>
                  <a:lnTo>
                    <a:pt x="0" y="28"/>
                  </a:lnTo>
                  <a:lnTo>
                    <a:pt x="0" y="2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71" name="Freeform 5648"/>
            <p:cNvSpPr>
              <a:spLocks/>
            </p:cNvSpPr>
            <p:nvPr>
              <p:custDataLst>
                <p:tags r:id="rId7"/>
              </p:custDataLst>
            </p:nvPr>
          </p:nvSpPr>
          <p:spPr bwMode="gray">
            <a:xfrm>
              <a:off x="8390217" y="3722912"/>
              <a:ext cx="108587" cy="132555"/>
            </a:xfrm>
            <a:custGeom>
              <a:avLst/>
              <a:gdLst/>
              <a:ahLst/>
              <a:cxnLst>
                <a:cxn ang="0">
                  <a:pos x="11" y="39"/>
                </a:cxn>
                <a:cxn ang="0">
                  <a:pos x="0" y="30"/>
                </a:cxn>
                <a:cxn ang="0">
                  <a:pos x="9" y="17"/>
                </a:cxn>
                <a:cxn ang="0">
                  <a:pos x="2" y="15"/>
                </a:cxn>
                <a:cxn ang="0">
                  <a:pos x="2" y="5"/>
                </a:cxn>
                <a:cxn ang="0">
                  <a:pos x="6" y="0"/>
                </a:cxn>
                <a:cxn ang="0">
                  <a:pos x="11" y="5"/>
                </a:cxn>
                <a:cxn ang="0">
                  <a:pos x="13" y="0"/>
                </a:cxn>
                <a:cxn ang="0">
                  <a:pos x="23" y="4"/>
                </a:cxn>
                <a:cxn ang="0">
                  <a:pos x="34" y="20"/>
                </a:cxn>
                <a:cxn ang="0">
                  <a:pos x="69" y="24"/>
                </a:cxn>
                <a:cxn ang="0">
                  <a:pos x="52" y="43"/>
                </a:cxn>
                <a:cxn ang="0">
                  <a:pos x="54" y="50"/>
                </a:cxn>
                <a:cxn ang="0">
                  <a:pos x="66" y="58"/>
                </a:cxn>
                <a:cxn ang="0">
                  <a:pos x="69" y="49"/>
                </a:cxn>
                <a:cxn ang="0">
                  <a:pos x="73" y="52"/>
                </a:cxn>
                <a:cxn ang="0">
                  <a:pos x="84" y="82"/>
                </a:cxn>
                <a:cxn ang="0">
                  <a:pos x="81" y="103"/>
                </a:cxn>
                <a:cxn ang="0">
                  <a:pos x="62" y="67"/>
                </a:cxn>
                <a:cxn ang="0">
                  <a:pos x="45" y="84"/>
                </a:cxn>
                <a:cxn ang="0">
                  <a:pos x="24" y="88"/>
                </a:cxn>
                <a:cxn ang="0">
                  <a:pos x="11" y="39"/>
                </a:cxn>
                <a:cxn ang="0">
                  <a:pos x="11" y="39"/>
                </a:cxn>
              </a:cxnLst>
              <a:rect l="0" t="0" r="r" b="b"/>
              <a:pathLst>
                <a:path w="84" h="103">
                  <a:moveTo>
                    <a:pt x="11" y="39"/>
                  </a:moveTo>
                  <a:lnTo>
                    <a:pt x="0" y="30"/>
                  </a:lnTo>
                  <a:lnTo>
                    <a:pt x="9" y="17"/>
                  </a:lnTo>
                  <a:lnTo>
                    <a:pt x="2" y="15"/>
                  </a:lnTo>
                  <a:lnTo>
                    <a:pt x="2" y="5"/>
                  </a:lnTo>
                  <a:lnTo>
                    <a:pt x="6" y="0"/>
                  </a:lnTo>
                  <a:lnTo>
                    <a:pt x="11" y="5"/>
                  </a:lnTo>
                  <a:lnTo>
                    <a:pt x="13" y="0"/>
                  </a:lnTo>
                  <a:lnTo>
                    <a:pt x="23" y="4"/>
                  </a:lnTo>
                  <a:lnTo>
                    <a:pt x="34" y="20"/>
                  </a:lnTo>
                  <a:lnTo>
                    <a:pt x="69" y="24"/>
                  </a:lnTo>
                  <a:lnTo>
                    <a:pt x="52" y="43"/>
                  </a:lnTo>
                  <a:lnTo>
                    <a:pt x="54" y="50"/>
                  </a:lnTo>
                  <a:lnTo>
                    <a:pt x="66" y="58"/>
                  </a:lnTo>
                  <a:lnTo>
                    <a:pt x="69" y="49"/>
                  </a:lnTo>
                  <a:lnTo>
                    <a:pt x="73" y="52"/>
                  </a:lnTo>
                  <a:lnTo>
                    <a:pt x="84" y="82"/>
                  </a:lnTo>
                  <a:lnTo>
                    <a:pt x="81" y="103"/>
                  </a:lnTo>
                  <a:lnTo>
                    <a:pt x="62" y="67"/>
                  </a:lnTo>
                  <a:lnTo>
                    <a:pt x="45" y="84"/>
                  </a:lnTo>
                  <a:lnTo>
                    <a:pt x="24" y="88"/>
                  </a:lnTo>
                  <a:lnTo>
                    <a:pt x="11" y="39"/>
                  </a:lnTo>
                  <a:lnTo>
                    <a:pt x="11" y="3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72" name="Freeform 5649"/>
            <p:cNvSpPr>
              <a:spLocks/>
            </p:cNvSpPr>
            <p:nvPr>
              <p:custDataLst>
                <p:tags r:id="rId8"/>
              </p:custDataLst>
            </p:nvPr>
          </p:nvSpPr>
          <p:spPr bwMode="gray">
            <a:xfrm>
              <a:off x="7482194" y="3402462"/>
              <a:ext cx="421421" cy="346189"/>
            </a:xfrm>
            <a:custGeom>
              <a:avLst/>
              <a:gdLst/>
              <a:ahLst/>
              <a:cxnLst>
                <a:cxn ang="0">
                  <a:pos x="234" y="260"/>
                </a:cxn>
                <a:cxn ang="0">
                  <a:pos x="223" y="238"/>
                </a:cxn>
                <a:cxn ang="0">
                  <a:pos x="193" y="249"/>
                </a:cxn>
                <a:cxn ang="0">
                  <a:pos x="178" y="245"/>
                </a:cxn>
                <a:cxn ang="0">
                  <a:pos x="138" y="223"/>
                </a:cxn>
                <a:cxn ang="0">
                  <a:pos x="116" y="185"/>
                </a:cxn>
                <a:cxn ang="0">
                  <a:pos x="93" y="174"/>
                </a:cxn>
                <a:cxn ang="0">
                  <a:pos x="90" y="181"/>
                </a:cxn>
                <a:cxn ang="0">
                  <a:pos x="73" y="163"/>
                </a:cxn>
                <a:cxn ang="0">
                  <a:pos x="63" y="136"/>
                </a:cxn>
                <a:cxn ang="0">
                  <a:pos x="43" y="125"/>
                </a:cxn>
                <a:cxn ang="0">
                  <a:pos x="32" y="108"/>
                </a:cxn>
                <a:cxn ang="0">
                  <a:pos x="41" y="84"/>
                </a:cxn>
                <a:cxn ang="0">
                  <a:pos x="15" y="48"/>
                </a:cxn>
                <a:cxn ang="0">
                  <a:pos x="0" y="9"/>
                </a:cxn>
                <a:cxn ang="0">
                  <a:pos x="5" y="0"/>
                </a:cxn>
                <a:cxn ang="0">
                  <a:pos x="5" y="0"/>
                </a:cxn>
                <a:cxn ang="0">
                  <a:pos x="20" y="17"/>
                </a:cxn>
                <a:cxn ang="0">
                  <a:pos x="30" y="17"/>
                </a:cxn>
                <a:cxn ang="0">
                  <a:pos x="35" y="17"/>
                </a:cxn>
                <a:cxn ang="0">
                  <a:pos x="39" y="17"/>
                </a:cxn>
                <a:cxn ang="0">
                  <a:pos x="56" y="3"/>
                </a:cxn>
                <a:cxn ang="0">
                  <a:pos x="60" y="5"/>
                </a:cxn>
                <a:cxn ang="0">
                  <a:pos x="60" y="17"/>
                </a:cxn>
                <a:cxn ang="0">
                  <a:pos x="73" y="26"/>
                </a:cxn>
                <a:cxn ang="0">
                  <a:pos x="73" y="26"/>
                </a:cxn>
                <a:cxn ang="0">
                  <a:pos x="78" y="43"/>
                </a:cxn>
                <a:cxn ang="0">
                  <a:pos x="120" y="62"/>
                </a:cxn>
                <a:cxn ang="0">
                  <a:pos x="155" y="56"/>
                </a:cxn>
                <a:cxn ang="0">
                  <a:pos x="153" y="45"/>
                </a:cxn>
                <a:cxn ang="0">
                  <a:pos x="153" y="45"/>
                </a:cxn>
                <a:cxn ang="0">
                  <a:pos x="174" y="32"/>
                </a:cxn>
                <a:cxn ang="0">
                  <a:pos x="198" y="30"/>
                </a:cxn>
                <a:cxn ang="0">
                  <a:pos x="269" y="63"/>
                </a:cxn>
                <a:cxn ang="0">
                  <a:pos x="271" y="75"/>
                </a:cxn>
                <a:cxn ang="0">
                  <a:pos x="271" y="75"/>
                </a:cxn>
                <a:cxn ang="0">
                  <a:pos x="271" y="91"/>
                </a:cxn>
                <a:cxn ang="0">
                  <a:pos x="264" y="106"/>
                </a:cxn>
                <a:cxn ang="0">
                  <a:pos x="264" y="108"/>
                </a:cxn>
                <a:cxn ang="0">
                  <a:pos x="275" y="150"/>
                </a:cxn>
                <a:cxn ang="0">
                  <a:pos x="288" y="155"/>
                </a:cxn>
                <a:cxn ang="0">
                  <a:pos x="292" y="165"/>
                </a:cxn>
                <a:cxn ang="0">
                  <a:pos x="283" y="185"/>
                </a:cxn>
                <a:cxn ang="0">
                  <a:pos x="299" y="210"/>
                </a:cxn>
                <a:cxn ang="0">
                  <a:pos x="313" y="215"/>
                </a:cxn>
                <a:cxn ang="0">
                  <a:pos x="326" y="234"/>
                </a:cxn>
                <a:cxn ang="0">
                  <a:pos x="324" y="241"/>
                </a:cxn>
                <a:cxn ang="0">
                  <a:pos x="305" y="254"/>
                </a:cxn>
                <a:cxn ang="0">
                  <a:pos x="303" y="269"/>
                </a:cxn>
                <a:cxn ang="0">
                  <a:pos x="234" y="260"/>
                </a:cxn>
                <a:cxn ang="0">
                  <a:pos x="234" y="260"/>
                </a:cxn>
              </a:cxnLst>
              <a:rect l="0" t="0" r="r" b="b"/>
              <a:pathLst>
                <a:path w="326" h="269">
                  <a:moveTo>
                    <a:pt x="234" y="260"/>
                  </a:moveTo>
                  <a:lnTo>
                    <a:pt x="223" y="238"/>
                  </a:lnTo>
                  <a:lnTo>
                    <a:pt x="193" y="249"/>
                  </a:lnTo>
                  <a:lnTo>
                    <a:pt x="178" y="245"/>
                  </a:lnTo>
                  <a:lnTo>
                    <a:pt x="138" y="223"/>
                  </a:lnTo>
                  <a:lnTo>
                    <a:pt x="116" y="185"/>
                  </a:lnTo>
                  <a:lnTo>
                    <a:pt x="93" y="174"/>
                  </a:lnTo>
                  <a:lnTo>
                    <a:pt x="90" y="181"/>
                  </a:lnTo>
                  <a:lnTo>
                    <a:pt x="73" y="163"/>
                  </a:lnTo>
                  <a:lnTo>
                    <a:pt x="63" y="136"/>
                  </a:lnTo>
                  <a:lnTo>
                    <a:pt x="43" y="125"/>
                  </a:lnTo>
                  <a:lnTo>
                    <a:pt x="32" y="108"/>
                  </a:lnTo>
                  <a:lnTo>
                    <a:pt x="41" y="84"/>
                  </a:lnTo>
                  <a:lnTo>
                    <a:pt x="15" y="48"/>
                  </a:lnTo>
                  <a:lnTo>
                    <a:pt x="0" y="9"/>
                  </a:lnTo>
                  <a:lnTo>
                    <a:pt x="5" y="0"/>
                  </a:lnTo>
                  <a:lnTo>
                    <a:pt x="5" y="0"/>
                  </a:lnTo>
                  <a:lnTo>
                    <a:pt x="20" y="17"/>
                  </a:lnTo>
                  <a:lnTo>
                    <a:pt x="30" y="17"/>
                  </a:lnTo>
                  <a:lnTo>
                    <a:pt x="35" y="17"/>
                  </a:lnTo>
                  <a:lnTo>
                    <a:pt x="39" y="17"/>
                  </a:lnTo>
                  <a:lnTo>
                    <a:pt x="56" y="3"/>
                  </a:lnTo>
                  <a:lnTo>
                    <a:pt x="60" y="5"/>
                  </a:lnTo>
                  <a:lnTo>
                    <a:pt x="60" y="17"/>
                  </a:lnTo>
                  <a:lnTo>
                    <a:pt x="73" y="26"/>
                  </a:lnTo>
                  <a:lnTo>
                    <a:pt x="73" y="26"/>
                  </a:lnTo>
                  <a:lnTo>
                    <a:pt x="78" y="43"/>
                  </a:lnTo>
                  <a:lnTo>
                    <a:pt x="120" y="62"/>
                  </a:lnTo>
                  <a:lnTo>
                    <a:pt x="155" y="56"/>
                  </a:lnTo>
                  <a:lnTo>
                    <a:pt x="153" y="45"/>
                  </a:lnTo>
                  <a:lnTo>
                    <a:pt x="153" y="45"/>
                  </a:lnTo>
                  <a:lnTo>
                    <a:pt x="174" y="32"/>
                  </a:lnTo>
                  <a:lnTo>
                    <a:pt x="198" y="30"/>
                  </a:lnTo>
                  <a:lnTo>
                    <a:pt x="269" y="63"/>
                  </a:lnTo>
                  <a:lnTo>
                    <a:pt x="271" y="75"/>
                  </a:lnTo>
                  <a:lnTo>
                    <a:pt x="271" y="75"/>
                  </a:lnTo>
                  <a:lnTo>
                    <a:pt x="271" y="91"/>
                  </a:lnTo>
                  <a:lnTo>
                    <a:pt x="264" y="106"/>
                  </a:lnTo>
                  <a:lnTo>
                    <a:pt x="264" y="108"/>
                  </a:lnTo>
                  <a:lnTo>
                    <a:pt x="275" y="150"/>
                  </a:lnTo>
                  <a:lnTo>
                    <a:pt x="288" y="155"/>
                  </a:lnTo>
                  <a:lnTo>
                    <a:pt x="292" y="165"/>
                  </a:lnTo>
                  <a:lnTo>
                    <a:pt x="283" y="185"/>
                  </a:lnTo>
                  <a:lnTo>
                    <a:pt x="299" y="210"/>
                  </a:lnTo>
                  <a:lnTo>
                    <a:pt x="313" y="215"/>
                  </a:lnTo>
                  <a:lnTo>
                    <a:pt x="326" y="234"/>
                  </a:lnTo>
                  <a:lnTo>
                    <a:pt x="324" y="241"/>
                  </a:lnTo>
                  <a:lnTo>
                    <a:pt x="305" y="254"/>
                  </a:lnTo>
                  <a:lnTo>
                    <a:pt x="303" y="269"/>
                  </a:lnTo>
                  <a:lnTo>
                    <a:pt x="234" y="260"/>
                  </a:lnTo>
                  <a:lnTo>
                    <a:pt x="234" y="26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73" name="Freeform 5650"/>
            <p:cNvSpPr>
              <a:spLocks/>
            </p:cNvSpPr>
            <p:nvPr>
              <p:custDataLst>
                <p:tags r:id="rId9"/>
              </p:custDataLst>
            </p:nvPr>
          </p:nvSpPr>
          <p:spPr bwMode="gray">
            <a:xfrm>
              <a:off x="7823467" y="3435923"/>
              <a:ext cx="268882" cy="214920"/>
            </a:xfrm>
            <a:custGeom>
              <a:avLst/>
              <a:gdLst/>
              <a:ahLst/>
              <a:cxnLst>
                <a:cxn ang="0">
                  <a:pos x="80" y="21"/>
                </a:cxn>
                <a:cxn ang="0">
                  <a:pos x="99" y="26"/>
                </a:cxn>
                <a:cxn ang="0">
                  <a:pos x="105" y="26"/>
                </a:cxn>
                <a:cxn ang="0">
                  <a:pos x="122" y="24"/>
                </a:cxn>
                <a:cxn ang="0">
                  <a:pos x="125" y="15"/>
                </a:cxn>
                <a:cxn ang="0">
                  <a:pos x="135" y="17"/>
                </a:cxn>
                <a:cxn ang="0">
                  <a:pos x="142" y="0"/>
                </a:cxn>
                <a:cxn ang="0">
                  <a:pos x="155" y="9"/>
                </a:cxn>
                <a:cxn ang="0">
                  <a:pos x="161" y="32"/>
                </a:cxn>
                <a:cxn ang="0">
                  <a:pos x="185" y="19"/>
                </a:cxn>
                <a:cxn ang="0">
                  <a:pos x="208" y="22"/>
                </a:cxn>
                <a:cxn ang="0">
                  <a:pos x="204" y="26"/>
                </a:cxn>
                <a:cxn ang="0">
                  <a:pos x="206" y="28"/>
                </a:cxn>
                <a:cxn ang="0">
                  <a:pos x="193" y="30"/>
                </a:cxn>
                <a:cxn ang="0">
                  <a:pos x="180" y="30"/>
                </a:cxn>
                <a:cxn ang="0">
                  <a:pos x="161" y="41"/>
                </a:cxn>
                <a:cxn ang="0">
                  <a:pos x="167" y="64"/>
                </a:cxn>
                <a:cxn ang="0">
                  <a:pos x="161" y="82"/>
                </a:cxn>
                <a:cxn ang="0">
                  <a:pos x="146" y="82"/>
                </a:cxn>
                <a:cxn ang="0">
                  <a:pos x="152" y="92"/>
                </a:cxn>
                <a:cxn ang="0">
                  <a:pos x="144" y="101"/>
                </a:cxn>
                <a:cxn ang="0">
                  <a:pos x="140" y="124"/>
                </a:cxn>
                <a:cxn ang="0">
                  <a:pos x="108" y="131"/>
                </a:cxn>
                <a:cxn ang="0">
                  <a:pos x="103" y="139"/>
                </a:cxn>
                <a:cxn ang="0">
                  <a:pos x="101" y="159"/>
                </a:cxn>
                <a:cxn ang="0">
                  <a:pos x="41" y="167"/>
                </a:cxn>
                <a:cxn ang="0">
                  <a:pos x="19" y="159"/>
                </a:cxn>
                <a:cxn ang="0">
                  <a:pos x="19" y="159"/>
                </a:cxn>
                <a:cxn ang="0">
                  <a:pos x="28" y="139"/>
                </a:cxn>
                <a:cxn ang="0">
                  <a:pos x="24" y="129"/>
                </a:cxn>
                <a:cxn ang="0">
                  <a:pos x="11" y="124"/>
                </a:cxn>
                <a:cxn ang="0">
                  <a:pos x="0" y="82"/>
                </a:cxn>
                <a:cxn ang="0">
                  <a:pos x="0" y="80"/>
                </a:cxn>
                <a:cxn ang="0">
                  <a:pos x="7" y="65"/>
                </a:cxn>
                <a:cxn ang="0">
                  <a:pos x="7" y="49"/>
                </a:cxn>
                <a:cxn ang="0">
                  <a:pos x="7" y="49"/>
                </a:cxn>
                <a:cxn ang="0">
                  <a:pos x="30" y="54"/>
                </a:cxn>
                <a:cxn ang="0">
                  <a:pos x="37" y="49"/>
                </a:cxn>
                <a:cxn ang="0">
                  <a:pos x="54" y="39"/>
                </a:cxn>
                <a:cxn ang="0">
                  <a:pos x="58" y="22"/>
                </a:cxn>
                <a:cxn ang="0">
                  <a:pos x="65" y="22"/>
                </a:cxn>
                <a:cxn ang="0">
                  <a:pos x="67" y="17"/>
                </a:cxn>
                <a:cxn ang="0">
                  <a:pos x="80" y="21"/>
                </a:cxn>
                <a:cxn ang="0">
                  <a:pos x="80" y="21"/>
                </a:cxn>
              </a:cxnLst>
              <a:rect l="0" t="0" r="r" b="b"/>
              <a:pathLst>
                <a:path w="208" h="167">
                  <a:moveTo>
                    <a:pt x="80" y="21"/>
                  </a:moveTo>
                  <a:lnTo>
                    <a:pt x="99" y="26"/>
                  </a:lnTo>
                  <a:lnTo>
                    <a:pt x="105" y="26"/>
                  </a:lnTo>
                  <a:lnTo>
                    <a:pt x="122" y="24"/>
                  </a:lnTo>
                  <a:lnTo>
                    <a:pt x="125" y="15"/>
                  </a:lnTo>
                  <a:lnTo>
                    <a:pt x="135" y="17"/>
                  </a:lnTo>
                  <a:lnTo>
                    <a:pt x="142" y="0"/>
                  </a:lnTo>
                  <a:lnTo>
                    <a:pt x="155" y="9"/>
                  </a:lnTo>
                  <a:lnTo>
                    <a:pt x="161" y="32"/>
                  </a:lnTo>
                  <a:lnTo>
                    <a:pt x="185" y="19"/>
                  </a:lnTo>
                  <a:lnTo>
                    <a:pt x="208" y="22"/>
                  </a:lnTo>
                  <a:lnTo>
                    <a:pt x="204" y="26"/>
                  </a:lnTo>
                  <a:lnTo>
                    <a:pt x="206" y="28"/>
                  </a:lnTo>
                  <a:lnTo>
                    <a:pt x="193" y="30"/>
                  </a:lnTo>
                  <a:lnTo>
                    <a:pt x="180" y="30"/>
                  </a:lnTo>
                  <a:lnTo>
                    <a:pt x="161" y="41"/>
                  </a:lnTo>
                  <a:lnTo>
                    <a:pt x="167" y="64"/>
                  </a:lnTo>
                  <a:lnTo>
                    <a:pt x="161" y="82"/>
                  </a:lnTo>
                  <a:lnTo>
                    <a:pt x="146" y="82"/>
                  </a:lnTo>
                  <a:lnTo>
                    <a:pt x="152" y="92"/>
                  </a:lnTo>
                  <a:lnTo>
                    <a:pt x="144" y="101"/>
                  </a:lnTo>
                  <a:lnTo>
                    <a:pt x="140" y="124"/>
                  </a:lnTo>
                  <a:lnTo>
                    <a:pt x="108" y="131"/>
                  </a:lnTo>
                  <a:lnTo>
                    <a:pt x="103" y="139"/>
                  </a:lnTo>
                  <a:lnTo>
                    <a:pt x="101" y="159"/>
                  </a:lnTo>
                  <a:lnTo>
                    <a:pt x="41" y="167"/>
                  </a:lnTo>
                  <a:lnTo>
                    <a:pt x="19" y="159"/>
                  </a:lnTo>
                  <a:lnTo>
                    <a:pt x="19" y="159"/>
                  </a:lnTo>
                  <a:lnTo>
                    <a:pt x="28" y="139"/>
                  </a:lnTo>
                  <a:lnTo>
                    <a:pt x="24" y="129"/>
                  </a:lnTo>
                  <a:lnTo>
                    <a:pt x="11" y="124"/>
                  </a:lnTo>
                  <a:lnTo>
                    <a:pt x="0" y="82"/>
                  </a:lnTo>
                  <a:lnTo>
                    <a:pt x="0" y="80"/>
                  </a:lnTo>
                  <a:lnTo>
                    <a:pt x="7" y="65"/>
                  </a:lnTo>
                  <a:lnTo>
                    <a:pt x="7" y="49"/>
                  </a:lnTo>
                  <a:lnTo>
                    <a:pt x="7" y="49"/>
                  </a:lnTo>
                  <a:lnTo>
                    <a:pt x="30" y="54"/>
                  </a:lnTo>
                  <a:lnTo>
                    <a:pt x="37" y="49"/>
                  </a:lnTo>
                  <a:lnTo>
                    <a:pt x="54" y="39"/>
                  </a:lnTo>
                  <a:lnTo>
                    <a:pt x="58" y="22"/>
                  </a:lnTo>
                  <a:lnTo>
                    <a:pt x="65" y="22"/>
                  </a:lnTo>
                  <a:lnTo>
                    <a:pt x="67" y="17"/>
                  </a:lnTo>
                  <a:lnTo>
                    <a:pt x="80" y="21"/>
                  </a:lnTo>
                  <a:lnTo>
                    <a:pt x="80" y="2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74" name="Freeform 5651"/>
            <p:cNvSpPr>
              <a:spLocks/>
            </p:cNvSpPr>
            <p:nvPr>
              <p:custDataLst>
                <p:tags r:id="rId10"/>
              </p:custDataLst>
            </p:nvPr>
          </p:nvSpPr>
          <p:spPr bwMode="gray">
            <a:xfrm>
              <a:off x="9033436" y="3334254"/>
              <a:ext cx="99538" cy="118399"/>
            </a:xfrm>
            <a:custGeom>
              <a:avLst/>
              <a:gdLst/>
              <a:ahLst/>
              <a:cxnLst>
                <a:cxn ang="0">
                  <a:pos x="58" y="0"/>
                </a:cxn>
                <a:cxn ang="0">
                  <a:pos x="55" y="15"/>
                </a:cxn>
                <a:cxn ang="0">
                  <a:pos x="44" y="15"/>
                </a:cxn>
                <a:cxn ang="0">
                  <a:pos x="44" y="26"/>
                </a:cxn>
                <a:cxn ang="0">
                  <a:pos x="27" y="23"/>
                </a:cxn>
                <a:cxn ang="0">
                  <a:pos x="0" y="58"/>
                </a:cxn>
                <a:cxn ang="0">
                  <a:pos x="23" y="62"/>
                </a:cxn>
                <a:cxn ang="0">
                  <a:pos x="25" y="86"/>
                </a:cxn>
                <a:cxn ang="0">
                  <a:pos x="55" y="92"/>
                </a:cxn>
                <a:cxn ang="0">
                  <a:pos x="60" y="85"/>
                </a:cxn>
                <a:cxn ang="0">
                  <a:pos x="77" y="79"/>
                </a:cxn>
                <a:cxn ang="0">
                  <a:pos x="53" y="64"/>
                </a:cxn>
                <a:cxn ang="0">
                  <a:pos x="49" y="55"/>
                </a:cxn>
                <a:cxn ang="0">
                  <a:pos x="75" y="36"/>
                </a:cxn>
                <a:cxn ang="0">
                  <a:pos x="66" y="23"/>
                </a:cxn>
                <a:cxn ang="0">
                  <a:pos x="75" y="4"/>
                </a:cxn>
                <a:cxn ang="0">
                  <a:pos x="58" y="0"/>
                </a:cxn>
                <a:cxn ang="0">
                  <a:pos x="58" y="0"/>
                </a:cxn>
              </a:cxnLst>
              <a:rect l="0" t="0" r="r" b="b"/>
              <a:pathLst>
                <a:path w="77" h="92">
                  <a:moveTo>
                    <a:pt x="58" y="0"/>
                  </a:moveTo>
                  <a:lnTo>
                    <a:pt x="55" y="15"/>
                  </a:lnTo>
                  <a:lnTo>
                    <a:pt x="44" y="15"/>
                  </a:lnTo>
                  <a:lnTo>
                    <a:pt x="44" y="26"/>
                  </a:lnTo>
                  <a:lnTo>
                    <a:pt x="27" y="23"/>
                  </a:lnTo>
                  <a:lnTo>
                    <a:pt x="0" y="58"/>
                  </a:lnTo>
                  <a:lnTo>
                    <a:pt x="23" y="62"/>
                  </a:lnTo>
                  <a:lnTo>
                    <a:pt x="25" y="86"/>
                  </a:lnTo>
                  <a:lnTo>
                    <a:pt x="55" y="92"/>
                  </a:lnTo>
                  <a:lnTo>
                    <a:pt x="60" y="85"/>
                  </a:lnTo>
                  <a:lnTo>
                    <a:pt x="77" y="79"/>
                  </a:lnTo>
                  <a:lnTo>
                    <a:pt x="53" y="64"/>
                  </a:lnTo>
                  <a:lnTo>
                    <a:pt x="49" y="55"/>
                  </a:lnTo>
                  <a:lnTo>
                    <a:pt x="75" y="36"/>
                  </a:lnTo>
                  <a:lnTo>
                    <a:pt x="66" y="23"/>
                  </a:lnTo>
                  <a:lnTo>
                    <a:pt x="75" y="4"/>
                  </a:lnTo>
                  <a:lnTo>
                    <a:pt x="58" y="0"/>
                  </a:lnTo>
                  <a:lnTo>
                    <a:pt x="58"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75" name="Freeform 5657"/>
            <p:cNvSpPr>
              <a:spLocks/>
            </p:cNvSpPr>
            <p:nvPr>
              <p:custDataLst>
                <p:tags r:id="rId11"/>
              </p:custDataLst>
            </p:nvPr>
          </p:nvSpPr>
          <p:spPr bwMode="gray">
            <a:xfrm>
              <a:off x="5119135" y="3879920"/>
              <a:ext cx="74977" cy="52765"/>
            </a:xfrm>
            <a:custGeom>
              <a:avLst/>
              <a:gdLst/>
              <a:ahLst/>
              <a:cxnLst>
                <a:cxn ang="0">
                  <a:pos x="5" y="0"/>
                </a:cxn>
                <a:cxn ang="0">
                  <a:pos x="33" y="1"/>
                </a:cxn>
                <a:cxn ang="0">
                  <a:pos x="35" y="7"/>
                </a:cxn>
                <a:cxn ang="0">
                  <a:pos x="45" y="7"/>
                </a:cxn>
                <a:cxn ang="0">
                  <a:pos x="37" y="13"/>
                </a:cxn>
                <a:cxn ang="0">
                  <a:pos x="52" y="16"/>
                </a:cxn>
                <a:cxn ang="0">
                  <a:pos x="58" y="24"/>
                </a:cxn>
                <a:cxn ang="0">
                  <a:pos x="50" y="31"/>
                </a:cxn>
                <a:cxn ang="0">
                  <a:pos x="46" y="24"/>
                </a:cxn>
                <a:cxn ang="0">
                  <a:pos x="20" y="30"/>
                </a:cxn>
                <a:cxn ang="0">
                  <a:pos x="20" y="24"/>
                </a:cxn>
                <a:cxn ang="0">
                  <a:pos x="13" y="28"/>
                </a:cxn>
                <a:cxn ang="0">
                  <a:pos x="5" y="41"/>
                </a:cxn>
                <a:cxn ang="0">
                  <a:pos x="0" y="31"/>
                </a:cxn>
                <a:cxn ang="0">
                  <a:pos x="5" y="0"/>
                </a:cxn>
                <a:cxn ang="0">
                  <a:pos x="5" y="0"/>
                </a:cxn>
              </a:cxnLst>
              <a:rect l="0" t="0" r="r" b="b"/>
              <a:pathLst>
                <a:path w="58" h="41">
                  <a:moveTo>
                    <a:pt x="5" y="0"/>
                  </a:moveTo>
                  <a:lnTo>
                    <a:pt x="33" y="1"/>
                  </a:lnTo>
                  <a:lnTo>
                    <a:pt x="35" y="7"/>
                  </a:lnTo>
                  <a:lnTo>
                    <a:pt x="45" y="7"/>
                  </a:lnTo>
                  <a:lnTo>
                    <a:pt x="37" y="13"/>
                  </a:lnTo>
                  <a:lnTo>
                    <a:pt x="52" y="16"/>
                  </a:lnTo>
                  <a:lnTo>
                    <a:pt x="58" y="24"/>
                  </a:lnTo>
                  <a:lnTo>
                    <a:pt x="50" y="31"/>
                  </a:lnTo>
                  <a:lnTo>
                    <a:pt x="46" y="24"/>
                  </a:lnTo>
                  <a:lnTo>
                    <a:pt x="20" y="30"/>
                  </a:lnTo>
                  <a:lnTo>
                    <a:pt x="20" y="24"/>
                  </a:lnTo>
                  <a:lnTo>
                    <a:pt x="13" y="28"/>
                  </a:lnTo>
                  <a:lnTo>
                    <a:pt x="5" y="41"/>
                  </a:lnTo>
                  <a:lnTo>
                    <a:pt x="0" y="31"/>
                  </a:lnTo>
                  <a:lnTo>
                    <a:pt x="5" y="0"/>
                  </a:lnTo>
                  <a:lnTo>
                    <a:pt x="5"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76" name="Freeform 5658"/>
            <p:cNvSpPr>
              <a:spLocks/>
            </p:cNvSpPr>
            <p:nvPr>
              <p:custDataLst>
                <p:tags r:id="rId12"/>
              </p:custDataLst>
            </p:nvPr>
          </p:nvSpPr>
          <p:spPr bwMode="gray">
            <a:xfrm>
              <a:off x="5460408" y="4217099"/>
              <a:ext cx="60757" cy="83652"/>
            </a:xfrm>
            <a:custGeom>
              <a:avLst/>
              <a:gdLst/>
              <a:ahLst/>
              <a:cxnLst>
                <a:cxn ang="0">
                  <a:pos x="47" y="28"/>
                </a:cxn>
                <a:cxn ang="0">
                  <a:pos x="24" y="60"/>
                </a:cxn>
                <a:cxn ang="0">
                  <a:pos x="9" y="65"/>
                </a:cxn>
                <a:cxn ang="0">
                  <a:pos x="0" y="60"/>
                </a:cxn>
                <a:cxn ang="0">
                  <a:pos x="9" y="35"/>
                </a:cxn>
                <a:cxn ang="0">
                  <a:pos x="3" y="11"/>
                </a:cxn>
                <a:cxn ang="0">
                  <a:pos x="9" y="0"/>
                </a:cxn>
                <a:cxn ang="0">
                  <a:pos x="47" y="28"/>
                </a:cxn>
                <a:cxn ang="0">
                  <a:pos x="47" y="28"/>
                </a:cxn>
              </a:cxnLst>
              <a:rect l="0" t="0" r="r" b="b"/>
              <a:pathLst>
                <a:path w="47" h="65">
                  <a:moveTo>
                    <a:pt x="47" y="28"/>
                  </a:moveTo>
                  <a:lnTo>
                    <a:pt x="24" y="60"/>
                  </a:lnTo>
                  <a:lnTo>
                    <a:pt x="9" y="65"/>
                  </a:lnTo>
                  <a:lnTo>
                    <a:pt x="0" y="60"/>
                  </a:lnTo>
                  <a:lnTo>
                    <a:pt x="9" y="35"/>
                  </a:lnTo>
                  <a:lnTo>
                    <a:pt x="3" y="11"/>
                  </a:lnTo>
                  <a:lnTo>
                    <a:pt x="9" y="0"/>
                  </a:lnTo>
                  <a:lnTo>
                    <a:pt x="47" y="28"/>
                  </a:lnTo>
                  <a:lnTo>
                    <a:pt x="47" y="2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77" name="Freeform 5659"/>
            <p:cNvSpPr>
              <a:spLocks/>
            </p:cNvSpPr>
            <p:nvPr>
              <p:custDataLst>
                <p:tags r:id="rId13"/>
              </p:custDataLst>
            </p:nvPr>
          </p:nvSpPr>
          <p:spPr bwMode="gray">
            <a:xfrm>
              <a:off x="5385432" y="4206804"/>
              <a:ext cx="86611" cy="99095"/>
            </a:xfrm>
            <a:custGeom>
              <a:avLst/>
              <a:gdLst/>
              <a:ahLst/>
              <a:cxnLst>
                <a:cxn ang="0">
                  <a:pos x="67" y="8"/>
                </a:cxn>
                <a:cxn ang="0">
                  <a:pos x="50" y="0"/>
                </a:cxn>
                <a:cxn ang="0">
                  <a:pos x="16" y="0"/>
                </a:cxn>
                <a:cxn ang="0">
                  <a:pos x="16" y="0"/>
                </a:cxn>
                <a:cxn ang="0">
                  <a:pos x="0" y="32"/>
                </a:cxn>
                <a:cxn ang="0">
                  <a:pos x="26" y="73"/>
                </a:cxn>
                <a:cxn ang="0">
                  <a:pos x="31" y="77"/>
                </a:cxn>
                <a:cxn ang="0">
                  <a:pos x="37" y="66"/>
                </a:cxn>
                <a:cxn ang="0">
                  <a:pos x="58" y="68"/>
                </a:cxn>
                <a:cxn ang="0">
                  <a:pos x="67" y="43"/>
                </a:cxn>
                <a:cxn ang="0">
                  <a:pos x="61" y="19"/>
                </a:cxn>
                <a:cxn ang="0">
                  <a:pos x="67" y="8"/>
                </a:cxn>
                <a:cxn ang="0">
                  <a:pos x="67" y="8"/>
                </a:cxn>
              </a:cxnLst>
              <a:rect l="0" t="0" r="r" b="b"/>
              <a:pathLst>
                <a:path w="67" h="77">
                  <a:moveTo>
                    <a:pt x="67" y="8"/>
                  </a:moveTo>
                  <a:lnTo>
                    <a:pt x="50" y="0"/>
                  </a:lnTo>
                  <a:lnTo>
                    <a:pt x="16" y="0"/>
                  </a:lnTo>
                  <a:lnTo>
                    <a:pt x="16" y="0"/>
                  </a:lnTo>
                  <a:lnTo>
                    <a:pt x="0" y="32"/>
                  </a:lnTo>
                  <a:lnTo>
                    <a:pt x="26" y="73"/>
                  </a:lnTo>
                  <a:lnTo>
                    <a:pt x="31" y="77"/>
                  </a:lnTo>
                  <a:lnTo>
                    <a:pt x="37" y="66"/>
                  </a:lnTo>
                  <a:lnTo>
                    <a:pt x="58" y="68"/>
                  </a:lnTo>
                  <a:lnTo>
                    <a:pt x="67" y="43"/>
                  </a:lnTo>
                  <a:lnTo>
                    <a:pt x="61" y="19"/>
                  </a:lnTo>
                  <a:lnTo>
                    <a:pt x="67" y="8"/>
                  </a:lnTo>
                  <a:lnTo>
                    <a:pt x="67" y="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78" name="Freeform 5660"/>
            <p:cNvSpPr>
              <a:spLocks/>
            </p:cNvSpPr>
            <p:nvPr>
              <p:custDataLst>
                <p:tags r:id="rId14"/>
              </p:custDataLst>
            </p:nvPr>
          </p:nvSpPr>
          <p:spPr bwMode="gray">
            <a:xfrm>
              <a:off x="5319504" y="4151465"/>
              <a:ext cx="99538" cy="167303"/>
            </a:xfrm>
            <a:custGeom>
              <a:avLst/>
              <a:gdLst/>
              <a:ahLst/>
              <a:cxnLst>
                <a:cxn ang="0">
                  <a:pos x="24" y="0"/>
                </a:cxn>
                <a:cxn ang="0">
                  <a:pos x="9" y="12"/>
                </a:cxn>
                <a:cxn ang="0">
                  <a:pos x="8" y="23"/>
                </a:cxn>
                <a:cxn ang="0">
                  <a:pos x="11" y="25"/>
                </a:cxn>
                <a:cxn ang="0">
                  <a:pos x="4" y="30"/>
                </a:cxn>
                <a:cxn ang="0">
                  <a:pos x="0" y="43"/>
                </a:cxn>
                <a:cxn ang="0">
                  <a:pos x="9" y="58"/>
                </a:cxn>
                <a:cxn ang="0">
                  <a:pos x="21" y="60"/>
                </a:cxn>
                <a:cxn ang="0">
                  <a:pos x="26" y="77"/>
                </a:cxn>
                <a:cxn ang="0">
                  <a:pos x="21" y="105"/>
                </a:cxn>
                <a:cxn ang="0">
                  <a:pos x="30" y="126"/>
                </a:cxn>
                <a:cxn ang="0">
                  <a:pos x="39" y="130"/>
                </a:cxn>
                <a:cxn ang="0">
                  <a:pos x="66" y="116"/>
                </a:cxn>
                <a:cxn ang="0">
                  <a:pos x="77" y="116"/>
                </a:cxn>
                <a:cxn ang="0">
                  <a:pos x="51" y="75"/>
                </a:cxn>
                <a:cxn ang="0">
                  <a:pos x="67" y="43"/>
                </a:cxn>
                <a:cxn ang="0">
                  <a:pos x="67" y="43"/>
                </a:cxn>
                <a:cxn ang="0">
                  <a:pos x="51" y="28"/>
                </a:cxn>
                <a:cxn ang="0">
                  <a:pos x="43" y="28"/>
                </a:cxn>
                <a:cxn ang="0">
                  <a:pos x="43" y="13"/>
                </a:cxn>
                <a:cxn ang="0">
                  <a:pos x="24" y="0"/>
                </a:cxn>
                <a:cxn ang="0">
                  <a:pos x="24" y="0"/>
                </a:cxn>
              </a:cxnLst>
              <a:rect l="0" t="0" r="r" b="b"/>
              <a:pathLst>
                <a:path w="77" h="130">
                  <a:moveTo>
                    <a:pt x="24" y="0"/>
                  </a:moveTo>
                  <a:lnTo>
                    <a:pt x="9" y="12"/>
                  </a:lnTo>
                  <a:lnTo>
                    <a:pt x="8" y="23"/>
                  </a:lnTo>
                  <a:lnTo>
                    <a:pt x="11" y="25"/>
                  </a:lnTo>
                  <a:lnTo>
                    <a:pt x="4" y="30"/>
                  </a:lnTo>
                  <a:lnTo>
                    <a:pt x="0" y="43"/>
                  </a:lnTo>
                  <a:lnTo>
                    <a:pt x="9" y="58"/>
                  </a:lnTo>
                  <a:lnTo>
                    <a:pt x="21" y="60"/>
                  </a:lnTo>
                  <a:lnTo>
                    <a:pt x="26" y="77"/>
                  </a:lnTo>
                  <a:lnTo>
                    <a:pt x="21" y="105"/>
                  </a:lnTo>
                  <a:lnTo>
                    <a:pt x="30" y="126"/>
                  </a:lnTo>
                  <a:lnTo>
                    <a:pt x="39" y="130"/>
                  </a:lnTo>
                  <a:lnTo>
                    <a:pt x="66" y="116"/>
                  </a:lnTo>
                  <a:lnTo>
                    <a:pt x="77" y="116"/>
                  </a:lnTo>
                  <a:lnTo>
                    <a:pt x="51" y="75"/>
                  </a:lnTo>
                  <a:lnTo>
                    <a:pt x="67" y="43"/>
                  </a:lnTo>
                  <a:lnTo>
                    <a:pt x="67" y="43"/>
                  </a:lnTo>
                  <a:lnTo>
                    <a:pt x="51" y="28"/>
                  </a:lnTo>
                  <a:lnTo>
                    <a:pt x="43" y="28"/>
                  </a:lnTo>
                  <a:lnTo>
                    <a:pt x="43" y="13"/>
                  </a:lnTo>
                  <a:lnTo>
                    <a:pt x="24" y="0"/>
                  </a:lnTo>
                  <a:lnTo>
                    <a:pt x="24"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79" name="Freeform 5664"/>
            <p:cNvSpPr>
              <a:spLocks/>
            </p:cNvSpPr>
            <p:nvPr>
              <p:custDataLst>
                <p:tags r:id="rId15"/>
              </p:custDataLst>
            </p:nvPr>
          </p:nvSpPr>
          <p:spPr bwMode="gray">
            <a:xfrm>
              <a:off x="4861888" y="3800129"/>
              <a:ext cx="215881" cy="79791"/>
            </a:xfrm>
            <a:custGeom>
              <a:avLst/>
              <a:gdLst/>
              <a:ahLst/>
              <a:cxnLst>
                <a:cxn ang="0">
                  <a:pos x="0" y="24"/>
                </a:cxn>
                <a:cxn ang="0">
                  <a:pos x="11" y="24"/>
                </a:cxn>
                <a:cxn ang="0">
                  <a:pos x="36" y="9"/>
                </a:cxn>
                <a:cxn ang="0">
                  <a:pos x="54" y="11"/>
                </a:cxn>
                <a:cxn ang="0">
                  <a:pos x="45" y="15"/>
                </a:cxn>
                <a:cxn ang="0">
                  <a:pos x="49" y="19"/>
                </a:cxn>
                <a:cxn ang="0">
                  <a:pos x="96" y="30"/>
                </a:cxn>
                <a:cxn ang="0">
                  <a:pos x="107" y="45"/>
                </a:cxn>
                <a:cxn ang="0">
                  <a:pos x="118" y="45"/>
                </a:cxn>
                <a:cxn ang="0">
                  <a:pos x="120" y="52"/>
                </a:cxn>
                <a:cxn ang="0">
                  <a:pos x="109" y="62"/>
                </a:cxn>
                <a:cxn ang="0">
                  <a:pos x="167" y="56"/>
                </a:cxn>
                <a:cxn ang="0">
                  <a:pos x="157" y="47"/>
                </a:cxn>
                <a:cxn ang="0">
                  <a:pos x="142" y="47"/>
                </a:cxn>
                <a:cxn ang="0">
                  <a:pos x="146" y="39"/>
                </a:cxn>
                <a:cxn ang="0">
                  <a:pos x="131" y="35"/>
                </a:cxn>
                <a:cxn ang="0">
                  <a:pos x="105" y="17"/>
                </a:cxn>
                <a:cxn ang="0">
                  <a:pos x="58" y="0"/>
                </a:cxn>
                <a:cxn ang="0">
                  <a:pos x="24" y="5"/>
                </a:cxn>
                <a:cxn ang="0">
                  <a:pos x="0" y="24"/>
                </a:cxn>
                <a:cxn ang="0">
                  <a:pos x="0" y="24"/>
                </a:cxn>
              </a:cxnLst>
              <a:rect l="0" t="0" r="r" b="b"/>
              <a:pathLst>
                <a:path w="167" h="62">
                  <a:moveTo>
                    <a:pt x="0" y="24"/>
                  </a:moveTo>
                  <a:lnTo>
                    <a:pt x="11" y="24"/>
                  </a:lnTo>
                  <a:lnTo>
                    <a:pt x="36" y="9"/>
                  </a:lnTo>
                  <a:lnTo>
                    <a:pt x="54" y="11"/>
                  </a:lnTo>
                  <a:lnTo>
                    <a:pt x="45" y="15"/>
                  </a:lnTo>
                  <a:lnTo>
                    <a:pt x="49" y="19"/>
                  </a:lnTo>
                  <a:lnTo>
                    <a:pt x="96" y="30"/>
                  </a:lnTo>
                  <a:lnTo>
                    <a:pt x="107" y="45"/>
                  </a:lnTo>
                  <a:lnTo>
                    <a:pt x="118" y="45"/>
                  </a:lnTo>
                  <a:lnTo>
                    <a:pt x="120" y="52"/>
                  </a:lnTo>
                  <a:lnTo>
                    <a:pt x="109" y="62"/>
                  </a:lnTo>
                  <a:lnTo>
                    <a:pt x="167" y="56"/>
                  </a:lnTo>
                  <a:lnTo>
                    <a:pt x="157" y="47"/>
                  </a:lnTo>
                  <a:lnTo>
                    <a:pt x="142" y="47"/>
                  </a:lnTo>
                  <a:lnTo>
                    <a:pt x="146" y="39"/>
                  </a:lnTo>
                  <a:lnTo>
                    <a:pt x="131" y="35"/>
                  </a:lnTo>
                  <a:lnTo>
                    <a:pt x="105" y="17"/>
                  </a:lnTo>
                  <a:lnTo>
                    <a:pt x="58" y="0"/>
                  </a:lnTo>
                  <a:lnTo>
                    <a:pt x="24" y="5"/>
                  </a:lnTo>
                  <a:lnTo>
                    <a:pt x="0" y="24"/>
                  </a:lnTo>
                  <a:lnTo>
                    <a:pt x="0" y="2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80" name="Freeform 5665"/>
            <p:cNvSpPr>
              <a:spLocks/>
            </p:cNvSpPr>
            <p:nvPr>
              <p:custDataLst>
                <p:tags r:id="rId16"/>
              </p:custDataLst>
            </p:nvPr>
          </p:nvSpPr>
          <p:spPr bwMode="gray">
            <a:xfrm>
              <a:off x="5355700" y="2601982"/>
              <a:ext cx="202954" cy="47617"/>
            </a:xfrm>
            <a:custGeom>
              <a:avLst/>
              <a:gdLst/>
              <a:ahLst/>
              <a:cxnLst>
                <a:cxn ang="0">
                  <a:pos x="6" y="0"/>
                </a:cxn>
                <a:cxn ang="0">
                  <a:pos x="0" y="5"/>
                </a:cxn>
                <a:cxn ang="0">
                  <a:pos x="4" y="11"/>
                </a:cxn>
                <a:cxn ang="0">
                  <a:pos x="32" y="13"/>
                </a:cxn>
                <a:cxn ang="0">
                  <a:pos x="13" y="33"/>
                </a:cxn>
                <a:cxn ang="0">
                  <a:pos x="32" y="35"/>
                </a:cxn>
                <a:cxn ang="0">
                  <a:pos x="88" y="37"/>
                </a:cxn>
                <a:cxn ang="0">
                  <a:pos x="105" y="33"/>
                </a:cxn>
                <a:cxn ang="0">
                  <a:pos x="118" y="35"/>
                </a:cxn>
                <a:cxn ang="0">
                  <a:pos x="139" y="33"/>
                </a:cxn>
                <a:cxn ang="0">
                  <a:pos x="157" y="22"/>
                </a:cxn>
                <a:cxn ang="0">
                  <a:pos x="64" y="18"/>
                </a:cxn>
                <a:cxn ang="0">
                  <a:pos x="53" y="15"/>
                </a:cxn>
                <a:cxn ang="0">
                  <a:pos x="62" y="13"/>
                </a:cxn>
                <a:cxn ang="0">
                  <a:pos x="53" y="5"/>
                </a:cxn>
                <a:cxn ang="0">
                  <a:pos x="6" y="0"/>
                </a:cxn>
                <a:cxn ang="0">
                  <a:pos x="6" y="0"/>
                </a:cxn>
              </a:cxnLst>
              <a:rect l="0" t="0" r="r" b="b"/>
              <a:pathLst>
                <a:path w="157" h="37">
                  <a:moveTo>
                    <a:pt x="6" y="0"/>
                  </a:moveTo>
                  <a:lnTo>
                    <a:pt x="0" y="5"/>
                  </a:lnTo>
                  <a:lnTo>
                    <a:pt x="4" y="11"/>
                  </a:lnTo>
                  <a:lnTo>
                    <a:pt x="32" y="13"/>
                  </a:lnTo>
                  <a:lnTo>
                    <a:pt x="13" y="33"/>
                  </a:lnTo>
                  <a:lnTo>
                    <a:pt x="32" y="35"/>
                  </a:lnTo>
                  <a:lnTo>
                    <a:pt x="88" y="37"/>
                  </a:lnTo>
                  <a:lnTo>
                    <a:pt x="105" y="33"/>
                  </a:lnTo>
                  <a:lnTo>
                    <a:pt x="118" y="35"/>
                  </a:lnTo>
                  <a:lnTo>
                    <a:pt x="139" y="33"/>
                  </a:lnTo>
                  <a:lnTo>
                    <a:pt x="157" y="22"/>
                  </a:lnTo>
                  <a:lnTo>
                    <a:pt x="64" y="18"/>
                  </a:lnTo>
                  <a:lnTo>
                    <a:pt x="53" y="15"/>
                  </a:lnTo>
                  <a:lnTo>
                    <a:pt x="62" y="13"/>
                  </a:lnTo>
                  <a:lnTo>
                    <a:pt x="53" y="5"/>
                  </a:lnTo>
                  <a:lnTo>
                    <a:pt x="6" y="0"/>
                  </a:lnTo>
                  <a:lnTo>
                    <a:pt x="6"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81" name="Freeform 5666"/>
            <p:cNvSpPr>
              <a:spLocks/>
            </p:cNvSpPr>
            <p:nvPr>
              <p:custDataLst>
                <p:tags r:id="rId17"/>
              </p:custDataLst>
            </p:nvPr>
          </p:nvSpPr>
          <p:spPr bwMode="gray">
            <a:xfrm>
              <a:off x="5438432" y="2531200"/>
              <a:ext cx="122807" cy="51478"/>
            </a:xfrm>
            <a:custGeom>
              <a:avLst/>
              <a:gdLst/>
              <a:ahLst/>
              <a:cxnLst>
                <a:cxn ang="0">
                  <a:pos x="9" y="15"/>
                </a:cxn>
                <a:cxn ang="0">
                  <a:pos x="15" y="25"/>
                </a:cxn>
                <a:cxn ang="0">
                  <a:pos x="0" y="34"/>
                </a:cxn>
                <a:cxn ang="0">
                  <a:pos x="7" y="40"/>
                </a:cxn>
                <a:cxn ang="0">
                  <a:pos x="35" y="40"/>
                </a:cxn>
                <a:cxn ang="0">
                  <a:pos x="95" y="21"/>
                </a:cxn>
                <a:cxn ang="0">
                  <a:pos x="79" y="19"/>
                </a:cxn>
                <a:cxn ang="0">
                  <a:pos x="92" y="13"/>
                </a:cxn>
                <a:cxn ang="0">
                  <a:pos x="65" y="10"/>
                </a:cxn>
                <a:cxn ang="0">
                  <a:pos x="62" y="0"/>
                </a:cxn>
                <a:cxn ang="0">
                  <a:pos x="47" y="0"/>
                </a:cxn>
                <a:cxn ang="0">
                  <a:pos x="9" y="15"/>
                </a:cxn>
                <a:cxn ang="0">
                  <a:pos x="9" y="15"/>
                </a:cxn>
              </a:cxnLst>
              <a:rect l="0" t="0" r="r" b="b"/>
              <a:pathLst>
                <a:path w="95" h="40">
                  <a:moveTo>
                    <a:pt x="9" y="15"/>
                  </a:moveTo>
                  <a:lnTo>
                    <a:pt x="15" y="25"/>
                  </a:lnTo>
                  <a:lnTo>
                    <a:pt x="0" y="34"/>
                  </a:lnTo>
                  <a:lnTo>
                    <a:pt x="7" y="40"/>
                  </a:lnTo>
                  <a:lnTo>
                    <a:pt x="35" y="40"/>
                  </a:lnTo>
                  <a:lnTo>
                    <a:pt x="95" y="21"/>
                  </a:lnTo>
                  <a:lnTo>
                    <a:pt x="79" y="19"/>
                  </a:lnTo>
                  <a:lnTo>
                    <a:pt x="92" y="13"/>
                  </a:lnTo>
                  <a:lnTo>
                    <a:pt x="65" y="10"/>
                  </a:lnTo>
                  <a:lnTo>
                    <a:pt x="62" y="0"/>
                  </a:lnTo>
                  <a:lnTo>
                    <a:pt x="47" y="0"/>
                  </a:lnTo>
                  <a:lnTo>
                    <a:pt x="9" y="15"/>
                  </a:lnTo>
                  <a:lnTo>
                    <a:pt x="9"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82" name="Freeform 5667"/>
            <p:cNvSpPr>
              <a:spLocks/>
            </p:cNvSpPr>
            <p:nvPr>
              <p:custDataLst>
                <p:tags r:id="rId18"/>
              </p:custDataLst>
            </p:nvPr>
          </p:nvSpPr>
          <p:spPr bwMode="gray">
            <a:xfrm>
              <a:off x="5443603" y="2505461"/>
              <a:ext cx="486056" cy="113251"/>
            </a:xfrm>
            <a:custGeom>
              <a:avLst/>
              <a:gdLst/>
              <a:ahLst/>
              <a:cxnLst>
                <a:cxn ang="0">
                  <a:pos x="76" y="19"/>
                </a:cxn>
                <a:cxn ang="0">
                  <a:pos x="73" y="24"/>
                </a:cxn>
                <a:cxn ang="0">
                  <a:pos x="84" y="28"/>
                </a:cxn>
                <a:cxn ang="0">
                  <a:pos x="104" y="30"/>
                </a:cxn>
                <a:cxn ang="0">
                  <a:pos x="88" y="37"/>
                </a:cxn>
                <a:cxn ang="0">
                  <a:pos x="101" y="39"/>
                </a:cxn>
                <a:cxn ang="0">
                  <a:pos x="91" y="50"/>
                </a:cxn>
                <a:cxn ang="0">
                  <a:pos x="48" y="60"/>
                </a:cxn>
                <a:cxn ang="0">
                  <a:pos x="65" y="63"/>
                </a:cxn>
                <a:cxn ang="0">
                  <a:pos x="39" y="65"/>
                </a:cxn>
                <a:cxn ang="0">
                  <a:pos x="31" y="69"/>
                </a:cxn>
                <a:cxn ang="0">
                  <a:pos x="41" y="73"/>
                </a:cxn>
                <a:cxn ang="0">
                  <a:pos x="7" y="78"/>
                </a:cxn>
                <a:cxn ang="0">
                  <a:pos x="0" y="84"/>
                </a:cxn>
                <a:cxn ang="0">
                  <a:pos x="86" y="82"/>
                </a:cxn>
                <a:cxn ang="0">
                  <a:pos x="86" y="88"/>
                </a:cxn>
                <a:cxn ang="0">
                  <a:pos x="131" y="78"/>
                </a:cxn>
                <a:cxn ang="0">
                  <a:pos x="121" y="73"/>
                </a:cxn>
                <a:cxn ang="0">
                  <a:pos x="144" y="67"/>
                </a:cxn>
                <a:cxn ang="0">
                  <a:pos x="146" y="63"/>
                </a:cxn>
                <a:cxn ang="0">
                  <a:pos x="170" y="62"/>
                </a:cxn>
                <a:cxn ang="0">
                  <a:pos x="211" y="43"/>
                </a:cxn>
                <a:cxn ang="0">
                  <a:pos x="376" y="7"/>
                </a:cxn>
                <a:cxn ang="0">
                  <a:pos x="301" y="0"/>
                </a:cxn>
                <a:cxn ang="0">
                  <a:pos x="232" y="0"/>
                </a:cxn>
                <a:cxn ang="0">
                  <a:pos x="76" y="19"/>
                </a:cxn>
                <a:cxn ang="0">
                  <a:pos x="76" y="19"/>
                </a:cxn>
              </a:cxnLst>
              <a:rect l="0" t="0" r="r" b="b"/>
              <a:pathLst>
                <a:path w="376" h="88">
                  <a:moveTo>
                    <a:pt x="76" y="19"/>
                  </a:moveTo>
                  <a:lnTo>
                    <a:pt x="73" y="24"/>
                  </a:lnTo>
                  <a:lnTo>
                    <a:pt x="84" y="28"/>
                  </a:lnTo>
                  <a:lnTo>
                    <a:pt x="104" y="30"/>
                  </a:lnTo>
                  <a:lnTo>
                    <a:pt x="88" y="37"/>
                  </a:lnTo>
                  <a:lnTo>
                    <a:pt x="101" y="39"/>
                  </a:lnTo>
                  <a:lnTo>
                    <a:pt x="91" y="50"/>
                  </a:lnTo>
                  <a:lnTo>
                    <a:pt x="48" y="60"/>
                  </a:lnTo>
                  <a:lnTo>
                    <a:pt x="65" y="63"/>
                  </a:lnTo>
                  <a:lnTo>
                    <a:pt x="39" y="65"/>
                  </a:lnTo>
                  <a:lnTo>
                    <a:pt x="31" y="69"/>
                  </a:lnTo>
                  <a:lnTo>
                    <a:pt x="41" y="73"/>
                  </a:lnTo>
                  <a:lnTo>
                    <a:pt x="7" y="78"/>
                  </a:lnTo>
                  <a:lnTo>
                    <a:pt x="0" y="84"/>
                  </a:lnTo>
                  <a:lnTo>
                    <a:pt x="86" y="82"/>
                  </a:lnTo>
                  <a:lnTo>
                    <a:pt x="86" y="88"/>
                  </a:lnTo>
                  <a:lnTo>
                    <a:pt x="131" y="78"/>
                  </a:lnTo>
                  <a:lnTo>
                    <a:pt x="121" y="73"/>
                  </a:lnTo>
                  <a:lnTo>
                    <a:pt x="144" y="67"/>
                  </a:lnTo>
                  <a:lnTo>
                    <a:pt x="146" y="63"/>
                  </a:lnTo>
                  <a:lnTo>
                    <a:pt x="170" y="62"/>
                  </a:lnTo>
                  <a:lnTo>
                    <a:pt x="211" y="43"/>
                  </a:lnTo>
                  <a:lnTo>
                    <a:pt x="376" y="7"/>
                  </a:lnTo>
                  <a:lnTo>
                    <a:pt x="301" y="0"/>
                  </a:lnTo>
                  <a:lnTo>
                    <a:pt x="232" y="0"/>
                  </a:lnTo>
                  <a:lnTo>
                    <a:pt x="76" y="19"/>
                  </a:lnTo>
                  <a:lnTo>
                    <a:pt x="76" y="1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83" name="Freeform 5668"/>
            <p:cNvSpPr>
              <a:spLocks/>
            </p:cNvSpPr>
            <p:nvPr>
              <p:custDataLst>
                <p:tags r:id="rId19"/>
              </p:custDataLst>
            </p:nvPr>
          </p:nvSpPr>
          <p:spPr bwMode="gray">
            <a:xfrm>
              <a:off x="5389310" y="2547930"/>
              <a:ext cx="19391" cy="7722"/>
            </a:xfrm>
            <a:custGeom>
              <a:avLst/>
              <a:gdLst/>
              <a:ahLst/>
              <a:cxnLst>
                <a:cxn ang="0">
                  <a:pos x="0" y="4"/>
                </a:cxn>
                <a:cxn ang="0">
                  <a:pos x="15" y="6"/>
                </a:cxn>
                <a:cxn ang="0">
                  <a:pos x="12" y="0"/>
                </a:cxn>
                <a:cxn ang="0">
                  <a:pos x="0" y="4"/>
                </a:cxn>
                <a:cxn ang="0">
                  <a:pos x="0" y="4"/>
                </a:cxn>
              </a:cxnLst>
              <a:rect l="0" t="0" r="r" b="b"/>
              <a:pathLst>
                <a:path w="15" h="6">
                  <a:moveTo>
                    <a:pt x="0" y="4"/>
                  </a:moveTo>
                  <a:lnTo>
                    <a:pt x="15" y="6"/>
                  </a:lnTo>
                  <a:lnTo>
                    <a:pt x="12" y="0"/>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84" name="Freeform 5669"/>
            <p:cNvSpPr>
              <a:spLocks/>
            </p:cNvSpPr>
            <p:nvPr>
              <p:custDataLst>
                <p:tags r:id="rId20"/>
              </p:custDataLst>
            </p:nvPr>
          </p:nvSpPr>
          <p:spPr bwMode="gray">
            <a:xfrm>
              <a:off x="5280723" y="2565947"/>
              <a:ext cx="124099" cy="23165"/>
            </a:xfrm>
            <a:custGeom>
              <a:avLst/>
              <a:gdLst/>
              <a:ahLst/>
              <a:cxnLst>
                <a:cxn ang="0">
                  <a:pos x="0" y="0"/>
                </a:cxn>
                <a:cxn ang="0">
                  <a:pos x="15" y="3"/>
                </a:cxn>
                <a:cxn ang="0">
                  <a:pos x="0" y="7"/>
                </a:cxn>
                <a:cxn ang="0">
                  <a:pos x="4" y="11"/>
                </a:cxn>
                <a:cxn ang="0">
                  <a:pos x="36" y="13"/>
                </a:cxn>
                <a:cxn ang="0">
                  <a:pos x="38" y="18"/>
                </a:cxn>
                <a:cxn ang="0">
                  <a:pos x="96" y="11"/>
                </a:cxn>
                <a:cxn ang="0">
                  <a:pos x="81" y="3"/>
                </a:cxn>
                <a:cxn ang="0">
                  <a:pos x="58" y="15"/>
                </a:cxn>
                <a:cxn ang="0">
                  <a:pos x="49" y="13"/>
                </a:cxn>
                <a:cxn ang="0">
                  <a:pos x="58" y="3"/>
                </a:cxn>
                <a:cxn ang="0">
                  <a:pos x="51" y="0"/>
                </a:cxn>
                <a:cxn ang="0">
                  <a:pos x="0" y="0"/>
                </a:cxn>
                <a:cxn ang="0">
                  <a:pos x="0" y="0"/>
                </a:cxn>
              </a:cxnLst>
              <a:rect l="0" t="0" r="r" b="b"/>
              <a:pathLst>
                <a:path w="96" h="18">
                  <a:moveTo>
                    <a:pt x="0" y="0"/>
                  </a:moveTo>
                  <a:lnTo>
                    <a:pt x="15" y="3"/>
                  </a:lnTo>
                  <a:lnTo>
                    <a:pt x="0" y="7"/>
                  </a:lnTo>
                  <a:lnTo>
                    <a:pt x="4" y="11"/>
                  </a:lnTo>
                  <a:lnTo>
                    <a:pt x="36" y="13"/>
                  </a:lnTo>
                  <a:lnTo>
                    <a:pt x="38" y="18"/>
                  </a:lnTo>
                  <a:lnTo>
                    <a:pt x="96" y="11"/>
                  </a:lnTo>
                  <a:lnTo>
                    <a:pt x="81" y="3"/>
                  </a:lnTo>
                  <a:lnTo>
                    <a:pt x="58" y="15"/>
                  </a:lnTo>
                  <a:lnTo>
                    <a:pt x="49" y="13"/>
                  </a:lnTo>
                  <a:lnTo>
                    <a:pt x="58" y="3"/>
                  </a:lnTo>
                  <a:lnTo>
                    <a:pt x="51" y="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85" name="Freeform 5670"/>
            <p:cNvSpPr>
              <a:spLocks/>
            </p:cNvSpPr>
            <p:nvPr>
              <p:custDataLst>
                <p:tags r:id="rId21"/>
              </p:custDataLst>
            </p:nvPr>
          </p:nvSpPr>
          <p:spPr bwMode="gray">
            <a:xfrm>
              <a:off x="5368627" y="2589112"/>
              <a:ext cx="64635" cy="7722"/>
            </a:xfrm>
            <a:custGeom>
              <a:avLst/>
              <a:gdLst/>
              <a:ahLst/>
              <a:cxnLst>
                <a:cxn ang="0">
                  <a:pos x="0" y="2"/>
                </a:cxn>
                <a:cxn ang="0">
                  <a:pos x="35" y="6"/>
                </a:cxn>
                <a:cxn ang="0">
                  <a:pos x="50" y="0"/>
                </a:cxn>
                <a:cxn ang="0">
                  <a:pos x="0" y="2"/>
                </a:cxn>
                <a:cxn ang="0">
                  <a:pos x="0" y="2"/>
                </a:cxn>
              </a:cxnLst>
              <a:rect l="0" t="0" r="r" b="b"/>
              <a:pathLst>
                <a:path w="50" h="6">
                  <a:moveTo>
                    <a:pt x="0" y="2"/>
                  </a:moveTo>
                  <a:lnTo>
                    <a:pt x="35" y="6"/>
                  </a:lnTo>
                  <a:lnTo>
                    <a:pt x="50"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86" name="Freeform 5671"/>
            <p:cNvSpPr>
              <a:spLocks/>
            </p:cNvSpPr>
            <p:nvPr>
              <p:custDataLst>
                <p:tags r:id="rId22"/>
              </p:custDataLst>
            </p:nvPr>
          </p:nvSpPr>
          <p:spPr bwMode="gray">
            <a:xfrm>
              <a:off x="5704729" y="2500313"/>
              <a:ext cx="842841" cy="446570"/>
            </a:xfrm>
            <a:custGeom>
              <a:avLst/>
              <a:gdLst/>
              <a:ahLst/>
              <a:cxnLst>
                <a:cxn ang="0">
                  <a:pos x="24" y="67"/>
                </a:cxn>
                <a:cxn ang="0">
                  <a:pos x="35" y="75"/>
                </a:cxn>
                <a:cxn ang="0">
                  <a:pos x="22" y="84"/>
                </a:cxn>
                <a:cxn ang="0">
                  <a:pos x="19" y="92"/>
                </a:cxn>
                <a:cxn ang="0">
                  <a:pos x="124" y="97"/>
                </a:cxn>
                <a:cxn ang="0">
                  <a:pos x="131" y="114"/>
                </a:cxn>
                <a:cxn ang="0">
                  <a:pos x="131" y="127"/>
                </a:cxn>
                <a:cxn ang="0">
                  <a:pos x="120" y="150"/>
                </a:cxn>
                <a:cxn ang="0">
                  <a:pos x="129" y="161"/>
                </a:cxn>
                <a:cxn ang="0">
                  <a:pos x="140" y="165"/>
                </a:cxn>
                <a:cxn ang="0">
                  <a:pos x="152" y="174"/>
                </a:cxn>
                <a:cxn ang="0">
                  <a:pos x="103" y="187"/>
                </a:cxn>
                <a:cxn ang="0">
                  <a:pos x="146" y="184"/>
                </a:cxn>
                <a:cxn ang="0">
                  <a:pos x="138" y="204"/>
                </a:cxn>
                <a:cxn ang="0">
                  <a:pos x="109" y="212"/>
                </a:cxn>
                <a:cxn ang="0">
                  <a:pos x="95" y="253"/>
                </a:cxn>
                <a:cxn ang="0">
                  <a:pos x="97" y="277"/>
                </a:cxn>
                <a:cxn ang="0">
                  <a:pos x="107" y="320"/>
                </a:cxn>
                <a:cxn ang="0">
                  <a:pos x="142" y="335"/>
                </a:cxn>
                <a:cxn ang="0">
                  <a:pos x="170" y="345"/>
                </a:cxn>
                <a:cxn ang="0">
                  <a:pos x="198" y="300"/>
                </a:cxn>
                <a:cxn ang="0">
                  <a:pos x="238" y="270"/>
                </a:cxn>
                <a:cxn ang="0">
                  <a:pos x="245" y="260"/>
                </a:cxn>
                <a:cxn ang="0">
                  <a:pos x="305" y="245"/>
                </a:cxn>
                <a:cxn ang="0">
                  <a:pos x="434" y="200"/>
                </a:cxn>
                <a:cxn ang="0">
                  <a:pos x="485" y="180"/>
                </a:cxn>
                <a:cxn ang="0">
                  <a:pos x="440" y="180"/>
                </a:cxn>
                <a:cxn ang="0">
                  <a:pos x="455" y="165"/>
                </a:cxn>
                <a:cxn ang="0">
                  <a:pos x="468" y="172"/>
                </a:cxn>
                <a:cxn ang="0">
                  <a:pos x="500" y="161"/>
                </a:cxn>
                <a:cxn ang="0">
                  <a:pos x="500" y="150"/>
                </a:cxn>
                <a:cxn ang="0">
                  <a:pos x="493" y="137"/>
                </a:cxn>
                <a:cxn ang="0">
                  <a:pos x="528" y="124"/>
                </a:cxn>
                <a:cxn ang="0">
                  <a:pos x="541" y="118"/>
                </a:cxn>
                <a:cxn ang="0">
                  <a:pos x="534" y="112"/>
                </a:cxn>
                <a:cxn ang="0">
                  <a:pos x="541" y="92"/>
                </a:cxn>
                <a:cxn ang="0">
                  <a:pos x="530" y="84"/>
                </a:cxn>
                <a:cxn ang="0">
                  <a:pos x="566" y="79"/>
                </a:cxn>
                <a:cxn ang="0">
                  <a:pos x="562" y="60"/>
                </a:cxn>
                <a:cxn ang="0">
                  <a:pos x="607" y="34"/>
                </a:cxn>
                <a:cxn ang="0">
                  <a:pos x="607" y="19"/>
                </a:cxn>
                <a:cxn ang="0">
                  <a:pos x="558" y="19"/>
                </a:cxn>
                <a:cxn ang="0">
                  <a:pos x="519" y="21"/>
                </a:cxn>
                <a:cxn ang="0">
                  <a:pos x="575" y="9"/>
                </a:cxn>
                <a:cxn ang="0">
                  <a:pos x="348" y="4"/>
                </a:cxn>
                <a:cxn ang="0">
                  <a:pos x="238" y="11"/>
                </a:cxn>
                <a:cxn ang="0">
                  <a:pos x="163" y="23"/>
                </a:cxn>
                <a:cxn ang="0">
                  <a:pos x="135" y="26"/>
                </a:cxn>
                <a:cxn ang="0">
                  <a:pos x="109" y="39"/>
                </a:cxn>
                <a:cxn ang="0">
                  <a:pos x="90" y="51"/>
                </a:cxn>
                <a:cxn ang="0">
                  <a:pos x="0" y="64"/>
                </a:cxn>
              </a:cxnLst>
              <a:rect l="0" t="0" r="r" b="b"/>
              <a:pathLst>
                <a:path w="652" h="347">
                  <a:moveTo>
                    <a:pt x="0" y="64"/>
                  </a:moveTo>
                  <a:lnTo>
                    <a:pt x="24" y="67"/>
                  </a:lnTo>
                  <a:lnTo>
                    <a:pt x="22" y="71"/>
                  </a:lnTo>
                  <a:lnTo>
                    <a:pt x="35" y="75"/>
                  </a:lnTo>
                  <a:lnTo>
                    <a:pt x="2" y="79"/>
                  </a:lnTo>
                  <a:lnTo>
                    <a:pt x="22" y="84"/>
                  </a:lnTo>
                  <a:lnTo>
                    <a:pt x="11" y="88"/>
                  </a:lnTo>
                  <a:lnTo>
                    <a:pt x="19" y="92"/>
                  </a:lnTo>
                  <a:lnTo>
                    <a:pt x="94" y="92"/>
                  </a:lnTo>
                  <a:lnTo>
                    <a:pt x="124" y="97"/>
                  </a:lnTo>
                  <a:lnTo>
                    <a:pt x="120" y="103"/>
                  </a:lnTo>
                  <a:lnTo>
                    <a:pt x="131" y="114"/>
                  </a:lnTo>
                  <a:lnTo>
                    <a:pt x="125" y="122"/>
                  </a:lnTo>
                  <a:lnTo>
                    <a:pt x="131" y="127"/>
                  </a:lnTo>
                  <a:lnTo>
                    <a:pt x="120" y="142"/>
                  </a:lnTo>
                  <a:lnTo>
                    <a:pt x="120" y="150"/>
                  </a:lnTo>
                  <a:lnTo>
                    <a:pt x="110" y="156"/>
                  </a:lnTo>
                  <a:lnTo>
                    <a:pt x="129" y="161"/>
                  </a:lnTo>
                  <a:lnTo>
                    <a:pt x="140" y="156"/>
                  </a:lnTo>
                  <a:lnTo>
                    <a:pt x="140" y="165"/>
                  </a:lnTo>
                  <a:lnTo>
                    <a:pt x="152" y="167"/>
                  </a:lnTo>
                  <a:lnTo>
                    <a:pt x="152" y="174"/>
                  </a:lnTo>
                  <a:lnTo>
                    <a:pt x="120" y="169"/>
                  </a:lnTo>
                  <a:lnTo>
                    <a:pt x="103" y="187"/>
                  </a:lnTo>
                  <a:lnTo>
                    <a:pt x="114" y="193"/>
                  </a:lnTo>
                  <a:lnTo>
                    <a:pt x="146" y="184"/>
                  </a:lnTo>
                  <a:lnTo>
                    <a:pt x="148" y="193"/>
                  </a:lnTo>
                  <a:lnTo>
                    <a:pt x="138" y="204"/>
                  </a:lnTo>
                  <a:lnTo>
                    <a:pt x="120" y="204"/>
                  </a:lnTo>
                  <a:lnTo>
                    <a:pt x="109" y="212"/>
                  </a:lnTo>
                  <a:lnTo>
                    <a:pt x="86" y="245"/>
                  </a:lnTo>
                  <a:lnTo>
                    <a:pt x="95" y="253"/>
                  </a:lnTo>
                  <a:lnTo>
                    <a:pt x="92" y="272"/>
                  </a:lnTo>
                  <a:lnTo>
                    <a:pt x="97" y="277"/>
                  </a:lnTo>
                  <a:lnTo>
                    <a:pt x="95" y="285"/>
                  </a:lnTo>
                  <a:lnTo>
                    <a:pt x="107" y="320"/>
                  </a:lnTo>
                  <a:lnTo>
                    <a:pt x="114" y="330"/>
                  </a:lnTo>
                  <a:lnTo>
                    <a:pt x="142" y="335"/>
                  </a:lnTo>
                  <a:lnTo>
                    <a:pt x="161" y="347"/>
                  </a:lnTo>
                  <a:lnTo>
                    <a:pt x="170" y="345"/>
                  </a:lnTo>
                  <a:lnTo>
                    <a:pt x="200" y="311"/>
                  </a:lnTo>
                  <a:lnTo>
                    <a:pt x="198" y="300"/>
                  </a:lnTo>
                  <a:lnTo>
                    <a:pt x="225" y="287"/>
                  </a:lnTo>
                  <a:lnTo>
                    <a:pt x="238" y="270"/>
                  </a:lnTo>
                  <a:lnTo>
                    <a:pt x="234" y="259"/>
                  </a:lnTo>
                  <a:lnTo>
                    <a:pt x="245" y="260"/>
                  </a:lnTo>
                  <a:lnTo>
                    <a:pt x="253" y="253"/>
                  </a:lnTo>
                  <a:lnTo>
                    <a:pt x="305" y="245"/>
                  </a:lnTo>
                  <a:lnTo>
                    <a:pt x="360" y="215"/>
                  </a:lnTo>
                  <a:lnTo>
                    <a:pt x="434" y="200"/>
                  </a:lnTo>
                  <a:lnTo>
                    <a:pt x="476" y="185"/>
                  </a:lnTo>
                  <a:lnTo>
                    <a:pt x="485" y="180"/>
                  </a:lnTo>
                  <a:lnTo>
                    <a:pt x="457" y="176"/>
                  </a:lnTo>
                  <a:lnTo>
                    <a:pt x="440" y="180"/>
                  </a:lnTo>
                  <a:lnTo>
                    <a:pt x="455" y="172"/>
                  </a:lnTo>
                  <a:lnTo>
                    <a:pt x="455" y="165"/>
                  </a:lnTo>
                  <a:lnTo>
                    <a:pt x="466" y="163"/>
                  </a:lnTo>
                  <a:lnTo>
                    <a:pt x="468" y="172"/>
                  </a:lnTo>
                  <a:lnTo>
                    <a:pt x="494" y="174"/>
                  </a:lnTo>
                  <a:lnTo>
                    <a:pt x="500" y="161"/>
                  </a:lnTo>
                  <a:lnTo>
                    <a:pt x="474" y="144"/>
                  </a:lnTo>
                  <a:lnTo>
                    <a:pt x="500" y="150"/>
                  </a:lnTo>
                  <a:lnTo>
                    <a:pt x="504" y="139"/>
                  </a:lnTo>
                  <a:lnTo>
                    <a:pt x="493" y="137"/>
                  </a:lnTo>
                  <a:lnTo>
                    <a:pt x="526" y="129"/>
                  </a:lnTo>
                  <a:lnTo>
                    <a:pt x="528" y="124"/>
                  </a:lnTo>
                  <a:lnTo>
                    <a:pt x="515" y="122"/>
                  </a:lnTo>
                  <a:lnTo>
                    <a:pt x="541" y="118"/>
                  </a:lnTo>
                  <a:lnTo>
                    <a:pt x="549" y="112"/>
                  </a:lnTo>
                  <a:lnTo>
                    <a:pt x="534" y="112"/>
                  </a:lnTo>
                  <a:lnTo>
                    <a:pt x="547" y="97"/>
                  </a:lnTo>
                  <a:lnTo>
                    <a:pt x="541" y="92"/>
                  </a:lnTo>
                  <a:lnTo>
                    <a:pt x="526" y="90"/>
                  </a:lnTo>
                  <a:lnTo>
                    <a:pt x="530" y="84"/>
                  </a:lnTo>
                  <a:lnTo>
                    <a:pt x="562" y="82"/>
                  </a:lnTo>
                  <a:lnTo>
                    <a:pt x="566" y="79"/>
                  </a:lnTo>
                  <a:lnTo>
                    <a:pt x="554" y="67"/>
                  </a:lnTo>
                  <a:lnTo>
                    <a:pt x="562" y="60"/>
                  </a:lnTo>
                  <a:lnTo>
                    <a:pt x="562" y="54"/>
                  </a:lnTo>
                  <a:lnTo>
                    <a:pt x="607" y="34"/>
                  </a:lnTo>
                  <a:lnTo>
                    <a:pt x="652" y="24"/>
                  </a:lnTo>
                  <a:lnTo>
                    <a:pt x="607" y="19"/>
                  </a:lnTo>
                  <a:lnTo>
                    <a:pt x="519" y="28"/>
                  </a:lnTo>
                  <a:lnTo>
                    <a:pt x="558" y="19"/>
                  </a:lnTo>
                  <a:lnTo>
                    <a:pt x="556" y="15"/>
                  </a:lnTo>
                  <a:lnTo>
                    <a:pt x="519" y="21"/>
                  </a:lnTo>
                  <a:lnTo>
                    <a:pt x="521" y="15"/>
                  </a:lnTo>
                  <a:lnTo>
                    <a:pt x="575" y="9"/>
                  </a:lnTo>
                  <a:lnTo>
                    <a:pt x="509" y="0"/>
                  </a:lnTo>
                  <a:lnTo>
                    <a:pt x="348" y="4"/>
                  </a:lnTo>
                  <a:lnTo>
                    <a:pt x="266" y="17"/>
                  </a:lnTo>
                  <a:lnTo>
                    <a:pt x="238" y="11"/>
                  </a:lnTo>
                  <a:lnTo>
                    <a:pt x="159" y="19"/>
                  </a:lnTo>
                  <a:lnTo>
                    <a:pt x="163" y="23"/>
                  </a:lnTo>
                  <a:lnTo>
                    <a:pt x="152" y="26"/>
                  </a:lnTo>
                  <a:lnTo>
                    <a:pt x="135" y="26"/>
                  </a:lnTo>
                  <a:lnTo>
                    <a:pt x="82" y="39"/>
                  </a:lnTo>
                  <a:lnTo>
                    <a:pt x="109" y="39"/>
                  </a:lnTo>
                  <a:lnTo>
                    <a:pt x="109" y="43"/>
                  </a:lnTo>
                  <a:lnTo>
                    <a:pt x="90" y="51"/>
                  </a:lnTo>
                  <a:lnTo>
                    <a:pt x="13" y="58"/>
                  </a:lnTo>
                  <a:lnTo>
                    <a:pt x="0" y="64"/>
                  </a:lnTo>
                  <a:lnTo>
                    <a:pt x="0" y="6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87" name="Freeform 5638"/>
            <p:cNvSpPr>
              <a:spLocks/>
            </p:cNvSpPr>
            <p:nvPr>
              <p:custDataLst>
                <p:tags r:id="rId23"/>
              </p:custDataLst>
            </p:nvPr>
          </p:nvSpPr>
          <p:spPr bwMode="gray">
            <a:xfrm>
              <a:off x="6910820" y="4085539"/>
              <a:ext cx="275345" cy="191755"/>
            </a:xfrm>
            <a:custGeom>
              <a:avLst/>
              <a:gdLst/>
              <a:ahLst/>
              <a:cxnLst>
                <a:cxn ang="0">
                  <a:pos x="3" y="112"/>
                </a:cxn>
                <a:cxn ang="0">
                  <a:pos x="0" y="95"/>
                </a:cxn>
                <a:cxn ang="0">
                  <a:pos x="13" y="63"/>
                </a:cxn>
                <a:cxn ang="0">
                  <a:pos x="13" y="63"/>
                </a:cxn>
                <a:cxn ang="0">
                  <a:pos x="63" y="54"/>
                </a:cxn>
                <a:cxn ang="0">
                  <a:pos x="75" y="43"/>
                </a:cxn>
                <a:cxn ang="0">
                  <a:pos x="71" y="37"/>
                </a:cxn>
                <a:cxn ang="0">
                  <a:pos x="97" y="31"/>
                </a:cxn>
                <a:cxn ang="0">
                  <a:pos x="118" y="3"/>
                </a:cxn>
                <a:cxn ang="0">
                  <a:pos x="135" y="0"/>
                </a:cxn>
                <a:cxn ang="0">
                  <a:pos x="148" y="18"/>
                </a:cxn>
                <a:cxn ang="0">
                  <a:pos x="146" y="37"/>
                </a:cxn>
                <a:cxn ang="0">
                  <a:pos x="170" y="50"/>
                </a:cxn>
                <a:cxn ang="0">
                  <a:pos x="213" y="106"/>
                </a:cxn>
                <a:cxn ang="0">
                  <a:pos x="136" y="112"/>
                </a:cxn>
                <a:cxn ang="0">
                  <a:pos x="129" y="121"/>
                </a:cxn>
                <a:cxn ang="0">
                  <a:pos x="99" y="120"/>
                </a:cxn>
                <a:cxn ang="0">
                  <a:pos x="90" y="106"/>
                </a:cxn>
                <a:cxn ang="0">
                  <a:pos x="82" y="106"/>
                </a:cxn>
                <a:cxn ang="0">
                  <a:pos x="67" y="133"/>
                </a:cxn>
                <a:cxn ang="0">
                  <a:pos x="56" y="138"/>
                </a:cxn>
                <a:cxn ang="0">
                  <a:pos x="47" y="133"/>
                </a:cxn>
                <a:cxn ang="0">
                  <a:pos x="33" y="138"/>
                </a:cxn>
                <a:cxn ang="0">
                  <a:pos x="26" y="149"/>
                </a:cxn>
                <a:cxn ang="0">
                  <a:pos x="3" y="112"/>
                </a:cxn>
                <a:cxn ang="0">
                  <a:pos x="3" y="112"/>
                </a:cxn>
              </a:cxnLst>
              <a:rect l="0" t="0" r="r" b="b"/>
              <a:pathLst>
                <a:path w="213" h="149">
                  <a:moveTo>
                    <a:pt x="3" y="112"/>
                  </a:moveTo>
                  <a:lnTo>
                    <a:pt x="0" y="95"/>
                  </a:lnTo>
                  <a:lnTo>
                    <a:pt x="13" y="63"/>
                  </a:lnTo>
                  <a:lnTo>
                    <a:pt x="13" y="63"/>
                  </a:lnTo>
                  <a:lnTo>
                    <a:pt x="63" y="54"/>
                  </a:lnTo>
                  <a:lnTo>
                    <a:pt x="75" y="43"/>
                  </a:lnTo>
                  <a:lnTo>
                    <a:pt x="71" y="37"/>
                  </a:lnTo>
                  <a:lnTo>
                    <a:pt x="97" y="31"/>
                  </a:lnTo>
                  <a:lnTo>
                    <a:pt x="118" y="3"/>
                  </a:lnTo>
                  <a:lnTo>
                    <a:pt x="135" y="0"/>
                  </a:lnTo>
                  <a:lnTo>
                    <a:pt x="148" y="18"/>
                  </a:lnTo>
                  <a:lnTo>
                    <a:pt x="146" y="37"/>
                  </a:lnTo>
                  <a:lnTo>
                    <a:pt x="170" y="50"/>
                  </a:lnTo>
                  <a:lnTo>
                    <a:pt x="213" y="106"/>
                  </a:lnTo>
                  <a:lnTo>
                    <a:pt x="136" y="112"/>
                  </a:lnTo>
                  <a:lnTo>
                    <a:pt x="129" y="121"/>
                  </a:lnTo>
                  <a:lnTo>
                    <a:pt x="99" y="120"/>
                  </a:lnTo>
                  <a:lnTo>
                    <a:pt x="90" y="106"/>
                  </a:lnTo>
                  <a:lnTo>
                    <a:pt x="82" y="106"/>
                  </a:lnTo>
                  <a:lnTo>
                    <a:pt x="67" y="133"/>
                  </a:lnTo>
                  <a:lnTo>
                    <a:pt x="56" y="138"/>
                  </a:lnTo>
                  <a:lnTo>
                    <a:pt x="47" y="133"/>
                  </a:lnTo>
                  <a:lnTo>
                    <a:pt x="33" y="138"/>
                  </a:lnTo>
                  <a:lnTo>
                    <a:pt x="26" y="149"/>
                  </a:lnTo>
                  <a:lnTo>
                    <a:pt x="3" y="112"/>
                  </a:lnTo>
                  <a:lnTo>
                    <a:pt x="3" y="11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88" name="Freeform 5639"/>
            <p:cNvSpPr>
              <a:spLocks/>
            </p:cNvSpPr>
            <p:nvPr>
              <p:custDataLst>
                <p:tags r:id="rId24"/>
              </p:custDataLst>
            </p:nvPr>
          </p:nvSpPr>
          <p:spPr bwMode="gray">
            <a:xfrm>
              <a:off x="6498448" y="3989018"/>
              <a:ext cx="157710" cy="129982"/>
            </a:xfrm>
            <a:custGeom>
              <a:avLst/>
              <a:gdLst/>
              <a:ahLst/>
              <a:cxnLst>
                <a:cxn ang="0">
                  <a:pos x="116" y="41"/>
                </a:cxn>
                <a:cxn ang="0">
                  <a:pos x="107" y="43"/>
                </a:cxn>
                <a:cxn ang="0">
                  <a:pos x="90" y="17"/>
                </a:cxn>
                <a:cxn ang="0">
                  <a:pos x="88" y="0"/>
                </a:cxn>
                <a:cxn ang="0">
                  <a:pos x="73" y="2"/>
                </a:cxn>
                <a:cxn ang="0">
                  <a:pos x="43" y="26"/>
                </a:cxn>
                <a:cxn ang="0">
                  <a:pos x="25" y="32"/>
                </a:cxn>
                <a:cxn ang="0">
                  <a:pos x="4" y="63"/>
                </a:cxn>
                <a:cxn ang="0">
                  <a:pos x="0" y="86"/>
                </a:cxn>
                <a:cxn ang="0">
                  <a:pos x="6" y="93"/>
                </a:cxn>
                <a:cxn ang="0">
                  <a:pos x="26" y="91"/>
                </a:cxn>
                <a:cxn ang="0">
                  <a:pos x="41" y="101"/>
                </a:cxn>
                <a:cxn ang="0">
                  <a:pos x="38" y="76"/>
                </a:cxn>
                <a:cxn ang="0">
                  <a:pos x="41" y="73"/>
                </a:cxn>
                <a:cxn ang="0">
                  <a:pos x="81" y="71"/>
                </a:cxn>
                <a:cxn ang="0">
                  <a:pos x="98" y="73"/>
                </a:cxn>
                <a:cxn ang="0">
                  <a:pos x="98" y="73"/>
                </a:cxn>
                <a:cxn ang="0">
                  <a:pos x="107" y="63"/>
                </a:cxn>
                <a:cxn ang="0">
                  <a:pos x="116" y="65"/>
                </a:cxn>
                <a:cxn ang="0">
                  <a:pos x="122" y="56"/>
                </a:cxn>
                <a:cxn ang="0">
                  <a:pos x="116" y="41"/>
                </a:cxn>
                <a:cxn ang="0">
                  <a:pos x="116" y="41"/>
                </a:cxn>
              </a:cxnLst>
              <a:rect l="0" t="0" r="r" b="b"/>
              <a:pathLst>
                <a:path w="122" h="101">
                  <a:moveTo>
                    <a:pt x="116" y="41"/>
                  </a:moveTo>
                  <a:lnTo>
                    <a:pt x="107" y="43"/>
                  </a:lnTo>
                  <a:lnTo>
                    <a:pt x="90" y="17"/>
                  </a:lnTo>
                  <a:lnTo>
                    <a:pt x="88" y="0"/>
                  </a:lnTo>
                  <a:lnTo>
                    <a:pt x="73" y="2"/>
                  </a:lnTo>
                  <a:lnTo>
                    <a:pt x="43" y="26"/>
                  </a:lnTo>
                  <a:lnTo>
                    <a:pt x="25" y="32"/>
                  </a:lnTo>
                  <a:lnTo>
                    <a:pt x="4" y="63"/>
                  </a:lnTo>
                  <a:lnTo>
                    <a:pt x="0" y="86"/>
                  </a:lnTo>
                  <a:lnTo>
                    <a:pt x="6" y="93"/>
                  </a:lnTo>
                  <a:lnTo>
                    <a:pt x="26" y="91"/>
                  </a:lnTo>
                  <a:lnTo>
                    <a:pt x="41" y="101"/>
                  </a:lnTo>
                  <a:lnTo>
                    <a:pt x="38" y="76"/>
                  </a:lnTo>
                  <a:lnTo>
                    <a:pt x="41" y="73"/>
                  </a:lnTo>
                  <a:lnTo>
                    <a:pt x="81" y="71"/>
                  </a:lnTo>
                  <a:lnTo>
                    <a:pt x="98" y="73"/>
                  </a:lnTo>
                  <a:lnTo>
                    <a:pt x="98" y="73"/>
                  </a:lnTo>
                  <a:lnTo>
                    <a:pt x="107" y="63"/>
                  </a:lnTo>
                  <a:lnTo>
                    <a:pt x="116" y="65"/>
                  </a:lnTo>
                  <a:lnTo>
                    <a:pt x="122" y="56"/>
                  </a:lnTo>
                  <a:lnTo>
                    <a:pt x="116" y="41"/>
                  </a:lnTo>
                  <a:lnTo>
                    <a:pt x="116" y="4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89" name="Freeform 5640"/>
            <p:cNvSpPr>
              <a:spLocks/>
            </p:cNvSpPr>
            <p:nvPr>
              <p:custDataLst>
                <p:tags r:id="rId25"/>
              </p:custDataLst>
            </p:nvPr>
          </p:nvSpPr>
          <p:spPr bwMode="gray">
            <a:xfrm>
              <a:off x="6612206" y="3785680"/>
              <a:ext cx="327054" cy="280554"/>
            </a:xfrm>
            <a:custGeom>
              <a:avLst/>
              <a:gdLst/>
              <a:ahLst/>
              <a:cxnLst>
                <a:cxn ang="0">
                  <a:pos x="214" y="178"/>
                </a:cxn>
                <a:cxn ang="0">
                  <a:pos x="212" y="169"/>
                </a:cxn>
                <a:cxn ang="0">
                  <a:pos x="244" y="118"/>
                </a:cxn>
                <a:cxn ang="0">
                  <a:pos x="253" y="57"/>
                </a:cxn>
                <a:cxn ang="0">
                  <a:pos x="246" y="51"/>
                </a:cxn>
                <a:cxn ang="0">
                  <a:pos x="238" y="38"/>
                </a:cxn>
                <a:cxn ang="0">
                  <a:pos x="238" y="10"/>
                </a:cxn>
                <a:cxn ang="0">
                  <a:pos x="221" y="2"/>
                </a:cxn>
                <a:cxn ang="0">
                  <a:pos x="188" y="0"/>
                </a:cxn>
                <a:cxn ang="0">
                  <a:pos x="88" y="75"/>
                </a:cxn>
                <a:cxn ang="0">
                  <a:pos x="64" y="81"/>
                </a:cxn>
                <a:cxn ang="0">
                  <a:pos x="64" y="137"/>
                </a:cxn>
                <a:cxn ang="0">
                  <a:pos x="58" y="145"/>
                </a:cxn>
                <a:cxn ang="0">
                  <a:pos x="0" y="158"/>
                </a:cxn>
                <a:cxn ang="0">
                  <a:pos x="2" y="175"/>
                </a:cxn>
                <a:cxn ang="0">
                  <a:pos x="19" y="201"/>
                </a:cxn>
                <a:cxn ang="0">
                  <a:pos x="28" y="199"/>
                </a:cxn>
                <a:cxn ang="0">
                  <a:pos x="34" y="214"/>
                </a:cxn>
                <a:cxn ang="0">
                  <a:pos x="34" y="214"/>
                </a:cxn>
                <a:cxn ang="0">
                  <a:pos x="40" y="208"/>
                </a:cxn>
                <a:cxn ang="0">
                  <a:pos x="49" y="206"/>
                </a:cxn>
                <a:cxn ang="0">
                  <a:pos x="55" y="218"/>
                </a:cxn>
                <a:cxn ang="0">
                  <a:pos x="56" y="201"/>
                </a:cxn>
                <a:cxn ang="0">
                  <a:pos x="71" y="182"/>
                </a:cxn>
                <a:cxn ang="0">
                  <a:pos x="88" y="178"/>
                </a:cxn>
                <a:cxn ang="0">
                  <a:pos x="111" y="195"/>
                </a:cxn>
                <a:cxn ang="0">
                  <a:pos x="122" y="188"/>
                </a:cxn>
                <a:cxn ang="0">
                  <a:pos x="146" y="199"/>
                </a:cxn>
                <a:cxn ang="0">
                  <a:pos x="165" y="188"/>
                </a:cxn>
                <a:cxn ang="0">
                  <a:pos x="195" y="191"/>
                </a:cxn>
                <a:cxn ang="0">
                  <a:pos x="210" y="178"/>
                </a:cxn>
                <a:cxn ang="0">
                  <a:pos x="214" y="178"/>
                </a:cxn>
                <a:cxn ang="0">
                  <a:pos x="214" y="178"/>
                </a:cxn>
              </a:cxnLst>
              <a:rect l="0" t="0" r="r" b="b"/>
              <a:pathLst>
                <a:path w="253" h="218">
                  <a:moveTo>
                    <a:pt x="214" y="178"/>
                  </a:moveTo>
                  <a:lnTo>
                    <a:pt x="212" y="169"/>
                  </a:lnTo>
                  <a:lnTo>
                    <a:pt x="244" y="118"/>
                  </a:lnTo>
                  <a:lnTo>
                    <a:pt x="253" y="57"/>
                  </a:lnTo>
                  <a:lnTo>
                    <a:pt x="246" y="51"/>
                  </a:lnTo>
                  <a:lnTo>
                    <a:pt x="238" y="38"/>
                  </a:lnTo>
                  <a:lnTo>
                    <a:pt x="238" y="10"/>
                  </a:lnTo>
                  <a:lnTo>
                    <a:pt x="221" y="2"/>
                  </a:lnTo>
                  <a:lnTo>
                    <a:pt x="188" y="0"/>
                  </a:lnTo>
                  <a:lnTo>
                    <a:pt x="88" y="75"/>
                  </a:lnTo>
                  <a:lnTo>
                    <a:pt x="64" y="81"/>
                  </a:lnTo>
                  <a:lnTo>
                    <a:pt x="64" y="137"/>
                  </a:lnTo>
                  <a:lnTo>
                    <a:pt x="58" y="145"/>
                  </a:lnTo>
                  <a:lnTo>
                    <a:pt x="0" y="158"/>
                  </a:lnTo>
                  <a:lnTo>
                    <a:pt x="2" y="175"/>
                  </a:lnTo>
                  <a:lnTo>
                    <a:pt x="19" y="201"/>
                  </a:lnTo>
                  <a:lnTo>
                    <a:pt x="28" y="199"/>
                  </a:lnTo>
                  <a:lnTo>
                    <a:pt x="34" y="214"/>
                  </a:lnTo>
                  <a:lnTo>
                    <a:pt x="34" y="214"/>
                  </a:lnTo>
                  <a:lnTo>
                    <a:pt x="40" y="208"/>
                  </a:lnTo>
                  <a:lnTo>
                    <a:pt x="49" y="206"/>
                  </a:lnTo>
                  <a:lnTo>
                    <a:pt x="55" y="218"/>
                  </a:lnTo>
                  <a:lnTo>
                    <a:pt x="56" y="201"/>
                  </a:lnTo>
                  <a:lnTo>
                    <a:pt x="71" y="182"/>
                  </a:lnTo>
                  <a:lnTo>
                    <a:pt x="88" y="178"/>
                  </a:lnTo>
                  <a:lnTo>
                    <a:pt x="111" y="195"/>
                  </a:lnTo>
                  <a:lnTo>
                    <a:pt x="122" y="188"/>
                  </a:lnTo>
                  <a:lnTo>
                    <a:pt x="146" y="199"/>
                  </a:lnTo>
                  <a:lnTo>
                    <a:pt x="165" y="188"/>
                  </a:lnTo>
                  <a:lnTo>
                    <a:pt x="195" y="191"/>
                  </a:lnTo>
                  <a:lnTo>
                    <a:pt x="210" y="178"/>
                  </a:lnTo>
                  <a:lnTo>
                    <a:pt x="214" y="178"/>
                  </a:lnTo>
                  <a:lnTo>
                    <a:pt x="214" y="17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90" name="Freeform 5641"/>
            <p:cNvSpPr>
              <a:spLocks/>
            </p:cNvSpPr>
            <p:nvPr>
              <p:custDataLst>
                <p:tags r:id="rId26"/>
              </p:custDataLst>
            </p:nvPr>
          </p:nvSpPr>
          <p:spPr bwMode="gray">
            <a:xfrm>
              <a:off x="6356251" y="3749646"/>
              <a:ext cx="338688" cy="352623"/>
            </a:xfrm>
            <a:custGeom>
              <a:avLst/>
              <a:gdLst/>
              <a:ahLst/>
              <a:cxnLst>
                <a:cxn ang="0">
                  <a:pos x="198" y="186"/>
                </a:cxn>
                <a:cxn ang="0">
                  <a:pos x="256" y="173"/>
                </a:cxn>
                <a:cxn ang="0">
                  <a:pos x="262" y="165"/>
                </a:cxn>
                <a:cxn ang="0">
                  <a:pos x="262" y="109"/>
                </a:cxn>
                <a:cxn ang="0">
                  <a:pos x="247" y="111"/>
                </a:cxn>
                <a:cxn ang="0">
                  <a:pos x="245" y="94"/>
                </a:cxn>
                <a:cxn ang="0">
                  <a:pos x="225" y="85"/>
                </a:cxn>
                <a:cxn ang="0">
                  <a:pos x="213" y="70"/>
                </a:cxn>
                <a:cxn ang="0">
                  <a:pos x="121" y="0"/>
                </a:cxn>
                <a:cxn ang="0">
                  <a:pos x="93" y="0"/>
                </a:cxn>
                <a:cxn ang="0">
                  <a:pos x="107" y="174"/>
                </a:cxn>
                <a:cxn ang="0">
                  <a:pos x="35" y="174"/>
                </a:cxn>
                <a:cxn ang="0">
                  <a:pos x="22" y="182"/>
                </a:cxn>
                <a:cxn ang="0">
                  <a:pos x="13" y="169"/>
                </a:cxn>
                <a:cxn ang="0">
                  <a:pos x="0" y="189"/>
                </a:cxn>
                <a:cxn ang="0">
                  <a:pos x="11" y="233"/>
                </a:cxn>
                <a:cxn ang="0">
                  <a:pos x="20" y="240"/>
                </a:cxn>
                <a:cxn ang="0">
                  <a:pos x="47" y="231"/>
                </a:cxn>
                <a:cxn ang="0">
                  <a:pos x="65" y="274"/>
                </a:cxn>
                <a:cxn ang="0">
                  <a:pos x="69" y="270"/>
                </a:cxn>
                <a:cxn ang="0">
                  <a:pos x="78" y="274"/>
                </a:cxn>
                <a:cxn ang="0">
                  <a:pos x="92" y="264"/>
                </a:cxn>
                <a:cxn ang="0">
                  <a:pos x="97" y="272"/>
                </a:cxn>
                <a:cxn ang="0">
                  <a:pos x="110" y="272"/>
                </a:cxn>
                <a:cxn ang="0">
                  <a:pos x="114" y="249"/>
                </a:cxn>
                <a:cxn ang="0">
                  <a:pos x="135" y="218"/>
                </a:cxn>
                <a:cxn ang="0">
                  <a:pos x="153" y="212"/>
                </a:cxn>
                <a:cxn ang="0">
                  <a:pos x="183" y="188"/>
                </a:cxn>
                <a:cxn ang="0">
                  <a:pos x="198" y="186"/>
                </a:cxn>
                <a:cxn ang="0">
                  <a:pos x="198" y="186"/>
                </a:cxn>
              </a:cxnLst>
              <a:rect l="0" t="0" r="r" b="b"/>
              <a:pathLst>
                <a:path w="262" h="274">
                  <a:moveTo>
                    <a:pt x="198" y="186"/>
                  </a:moveTo>
                  <a:lnTo>
                    <a:pt x="256" y="173"/>
                  </a:lnTo>
                  <a:lnTo>
                    <a:pt x="262" y="165"/>
                  </a:lnTo>
                  <a:lnTo>
                    <a:pt x="262" y="109"/>
                  </a:lnTo>
                  <a:lnTo>
                    <a:pt x="247" y="111"/>
                  </a:lnTo>
                  <a:lnTo>
                    <a:pt x="245" y="94"/>
                  </a:lnTo>
                  <a:lnTo>
                    <a:pt x="225" y="85"/>
                  </a:lnTo>
                  <a:lnTo>
                    <a:pt x="213" y="70"/>
                  </a:lnTo>
                  <a:lnTo>
                    <a:pt x="121" y="0"/>
                  </a:lnTo>
                  <a:lnTo>
                    <a:pt x="93" y="0"/>
                  </a:lnTo>
                  <a:lnTo>
                    <a:pt x="107" y="174"/>
                  </a:lnTo>
                  <a:lnTo>
                    <a:pt x="35" y="174"/>
                  </a:lnTo>
                  <a:lnTo>
                    <a:pt x="22" y="182"/>
                  </a:lnTo>
                  <a:lnTo>
                    <a:pt x="13" y="169"/>
                  </a:lnTo>
                  <a:lnTo>
                    <a:pt x="0" y="189"/>
                  </a:lnTo>
                  <a:lnTo>
                    <a:pt x="11" y="233"/>
                  </a:lnTo>
                  <a:lnTo>
                    <a:pt x="20" y="240"/>
                  </a:lnTo>
                  <a:lnTo>
                    <a:pt x="47" y="231"/>
                  </a:lnTo>
                  <a:lnTo>
                    <a:pt x="65" y="274"/>
                  </a:lnTo>
                  <a:lnTo>
                    <a:pt x="69" y="270"/>
                  </a:lnTo>
                  <a:lnTo>
                    <a:pt x="78" y="274"/>
                  </a:lnTo>
                  <a:lnTo>
                    <a:pt x="92" y="264"/>
                  </a:lnTo>
                  <a:lnTo>
                    <a:pt x="97" y="272"/>
                  </a:lnTo>
                  <a:lnTo>
                    <a:pt x="110" y="272"/>
                  </a:lnTo>
                  <a:lnTo>
                    <a:pt x="114" y="249"/>
                  </a:lnTo>
                  <a:lnTo>
                    <a:pt x="135" y="218"/>
                  </a:lnTo>
                  <a:lnTo>
                    <a:pt x="153" y="212"/>
                  </a:lnTo>
                  <a:lnTo>
                    <a:pt x="183" y="188"/>
                  </a:lnTo>
                  <a:lnTo>
                    <a:pt x="198" y="186"/>
                  </a:lnTo>
                  <a:lnTo>
                    <a:pt x="198" y="18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91" name="Freeform 5642"/>
            <p:cNvSpPr>
              <a:spLocks/>
            </p:cNvSpPr>
            <p:nvPr>
              <p:custDataLst>
                <p:tags r:id="rId27"/>
              </p:custDataLst>
            </p:nvPr>
          </p:nvSpPr>
          <p:spPr bwMode="gray">
            <a:xfrm>
              <a:off x="7065944" y="3795976"/>
              <a:ext cx="343859" cy="462014"/>
            </a:xfrm>
            <a:custGeom>
              <a:avLst/>
              <a:gdLst/>
              <a:ahLst/>
              <a:cxnLst>
                <a:cxn ang="0">
                  <a:pos x="228" y="328"/>
                </a:cxn>
                <a:cxn ang="0">
                  <a:pos x="215" y="324"/>
                </a:cxn>
                <a:cxn ang="0">
                  <a:pos x="198" y="290"/>
                </a:cxn>
                <a:cxn ang="0">
                  <a:pos x="181" y="281"/>
                </a:cxn>
                <a:cxn ang="0">
                  <a:pos x="187" y="271"/>
                </a:cxn>
                <a:cxn ang="0">
                  <a:pos x="200" y="268"/>
                </a:cxn>
                <a:cxn ang="0">
                  <a:pos x="202" y="234"/>
                </a:cxn>
                <a:cxn ang="0">
                  <a:pos x="230" y="187"/>
                </a:cxn>
                <a:cxn ang="0">
                  <a:pos x="241" y="114"/>
                </a:cxn>
                <a:cxn ang="0">
                  <a:pos x="260" y="103"/>
                </a:cxn>
                <a:cxn ang="0">
                  <a:pos x="266" y="93"/>
                </a:cxn>
                <a:cxn ang="0">
                  <a:pos x="251" y="82"/>
                </a:cxn>
                <a:cxn ang="0">
                  <a:pos x="236" y="19"/>
                </a:cxn>
                <a:cxn ang="0">
                  <a:pos x="219" y="7"/>
                </a:cxn>
                <a:cxn ang="0">
                  <a:pos x="215" y="0"/>
                </a:cxn>
                <a:cxn ang="0">
                  <a:pos x="191" y="22"/>
                </a:cxn>
                <a:cxn ang="0">
                  <a:pos x="178" y="19"/>
                </a:cxn>
                <a:cxn ang="0">
                  <a:pos x="46" y="19"/>
                </a:cxn>
                <a:cxn ang="0">
                  <a:pos x="46" y="19"/>
                </a:cxn>
                <a:cxn ang="0">
                  <a:pos x="46" y="54"/>
                </a:cxn>
                <a:cxn ang="0">
                  <a:pos x="33" y="56"/>
                </a:cxn>
                <a:cxn ang="0">
                  <a:pos x="31" y="67"/>
                </a:cxn>
                <a:cxn ang="0">
                  <a:pos x="33" y="131"/>
                </a:cxn>
                <a:cxn ang="0">
                  <a:pos x="31" y="137"/>
                </a:cxn>
                <a:cxn ang="0">
                  <a:pos x="16" y="137"/>
                </a:cxn>
                <a:cxn ang="0">
                  <a:pos x="0" y="187"/>
                </a:cxn>
                <a:cxn ang="0">
                  <a:pos x="15" y="215"/>
                </a:cxn>
                <a:cxn ang="0">
                  <a:pos x="15" y="225"/>
                </a:cxn>
                <a:cxn ang="0">
                  <a:pos x="28" y="243"/>
                </a:cxn>
                <a:cxn ang="0">
                  <a:pos x="26" y="262"/>
                </a:cxn>
                <a:cxn ang="0">
                  <a:pos x="50" y="275"/>
                </a:cxn>
                <a:cxn ang="0">
                  <a:pos x="93" y="331"/>
                </a:cxn>
                <a:cxn ang="0">
                  <a:pos x="104" y="345"/>
                </a:cxn>
                <a:cxn ang="0">
                  <a:pos x="131" y="343"/>
                </a:cxn>
                <a:cxn ang="0">
                  <a:pos x="148" y="359"/>
                </a:cxn>
                <a:cxn ang="0">
                  <a:pos x="164" y="359"/>
                </a:cxn>
                <a:cxn ang="0">
                  <a:pos x="198" y="352"/>
                </a:cxn>
                <a:cxn ang="0">
                  <a:pos x="206" y="341"/>
                </a:cxn>
                <a:cxn ang="0">
                  <a:pos x="228" y="341"/>
                </a:cxn>
                <a:cxn ang="0">
                  <a:pos x="228" y="328"/>
                </a:cxn>
                <a:cxn ang="0">
                  <a:pos x="228" y="328"/>
                </a:cxn>
              </a:cxnLst>
              <a:rect l="0" t="0" r="r" b="b"/>
              <a:pathLst>
                <a:path w="266" h="359">
                  <a:moveTo>
                    <a:pt x="228" y="328"/>
                  </a:moveTo>
                  <a:lnTo>
                    <a:pt x="215" y="324"/>
                  </a:lnTo>
                  <a:lnTo>
                    <a:pt x="198" y="290"/>
                  </a:lnTo>
                  <a:lnTo>
                    <a:pt x="181" y="281"/>
                  </a:lnTo>
                  <a:lnTo>
                    <a:pt x="187" y="271"/>
                  </a:lnTo>
                  <a:lnTo>
                    <a:pt x="200" y="268"/>
                  </a:lnTo>
                  <a:lnTo>
                    <a:pt x="202" y="234"/>
                  </a:lnTo>
                  <a:lnTo>
                    <a:pt x="230" y="187"/>
                  </a:lnTo>
                  <a:lnTo>
                    <a:pt x="241" y="114"/>
                  </a:lnTo>
                  <a:lnTo>
                    <a:pt x="260" y="103"/>
                  </a:lnTo>
                  <a:lnTo>
                    <a:pt x="266" y="93"/>
                  </a:lnTo>
                  <a:lnTo>
                    <a:pt x="251" y="82"/>
                  </a:lnTo>
                  <a:lnTo>
                    <a:pt x="236" y="19"/>
                  </a:lnTo>
                  <a:lnTo>
                    <a:pt x="219" y="7"/>
                  </a:lnTo>
                  <a:lnTo>
                    <a:pt x="215" y="0"/>
                  </a:lnTo>
                  <a:lnTo>
                    <a:pt x="191" y="22"/>
                  </a:lnTo>
                  <a:lnTo>
                    <a:pt x="178" y="19"/>
                  </a:lnTo>
                  <a:lnTo>
                    <a:pt x="46" y="19"/>
                  </a:lnTo>
                  <a:lnTo>
                    <a:pt x="46" y="19"/>
                  </a:lnTo>
                  <a:lnTo>
                    <a:pt x="46" y="54"/>
                  </a:lnTo>
                  <a:lnTo>
                    <a:pt x="33" y="56"/>
                  </a:lnTo>
                  <a:lnTo>
                    <a:pt x="31" y="67"/>
                  </a:lnTo>
                  <a:lnTo>
                    <a:pt x="33" y="131"/>
                  </a:lnTo>
                  <a:lnTo>
                    <a:pt x="31" y="137"/>
                  </a:lnTo>
                  <a:lnTo>
                    <a:pt x="16" y="137"/>
                  </a:lnTo>
                  <a:lnTo>
                    <a:pt x="0" y="187"/>
                  </a:lnTo>
                  <a:lnTo>
                    <a:pt x="15" y="215"/>
                  </a:lnTo>
                  <a:lnTo>
                    <a:pt x="15" y="225"/>
                  </a:lnTo>
                  <a:lnTo>
                    <a:pt x="28" y="243"/>
                  </a:lnTo>
                  <a:lnTo>
                    <a:pt x="26" y="262"/>
                  </a:lnTo>
                  <a:lnTo>
                    <a:pt x="50" y="275"/>
                  </a:lnTo>
                  <a:lnTo>
                    <a:pt x="93" y="331"/>
                  </a:lnTo>
                  <a:lnTo>
                    <a:pt x="104" y="345"/>
                  </a:lnTo>
                  <a:lnTo>
                    <a:pt x="131" y="343"/>
                  </a:lnTo>
                  <a:lnTo>
                    <a:pt x="148" y="359"/>
                  </a:lnTo>
                  <a:lnTo>
                    <a:pt x="164" y="359"/>
                  </a:lnTo>
                  <a:lnTo>
                    <a:pt x="198" y="352"/>
                  </a:lnTo>
                  <a:lnTo>
                    <a:pt x="206" y="341"/>
                  </a:lnTo>
                  <a:lnTo>
                    <a:pt x="228" y="341"/>
                  </a:lnTo>
                  <a:lnTo>
                    <a:pt x="228" y="328"/>
                  </a:lnTo>
                  <a:lnTo>
                    <a:pt x="228" y="32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92" name="Freeform 5643"/>
            <p:cNvSpPr>
              <a:spLocks/>
            </p:cNvSpPr>
            <p:nvPr>
              <p:custDataLst>
                <p:tags r:id="rId28"/>
              </p:custDataLst>
            </p:nvPr>
          </p:nvSpPr>
          <p:spPr bwMode="gray">
            <a:xfrm>
              <a:off x="6886258" y="3793402"/>
              <a:ext cx="222345" cy="373214"/>
            </a:xfrm>
            <a:custGeom>
              <a:avLst/>
              <a:gdLst/>
              <a:ahLst/>
              <a:cxnLst>
                <a:cxn ang="0">
                  <a:pos x="26" y="32"/>
                </a:cxn>
                <a:cxn ang="0">
                  <a:pos x="34" y="45"/>
                </a:cxn>
                <a:cxn ang="0">
                  <a:pos x="41" y="51"/>
                </a:cxn>
                <a:cxn ang="0">
                  <a:pos x="32" y="112"/>
                </a:cxn>
                <a:cxn ang="0">
                  <a:pos x="0" y="163"/>
                </a:cxn>
                <a:cxn ang="0">
                  <a:pos x="2" y="172"/>
                </a:cxn>
                <a:cxn ang="0">
                  <a:pos x="11" y="185"/>
                </a:cxn>
                <a:cxn ang="0">
                  <a:pos x="19" y="191"/>
                </a:cxn>
                <a:cxn ang="0">
                  <a:pos x="19" y="191"/>
                </a:cxn>
                <a:cxn ang="0">
                  <a:pos x="24" y="225"/>
                </a:cxn>
                <a:cxn ang="0">
                  <a:pos x="32" y="240"/>
                </a:cxn>
                <a:cxn ang="0">
                  <a:pos x="17" y="243"/>
                </a:cxn>
                <a:cxn ang="0">
                  <a:pos x="11" y="255"/>
                </a:cxn>
                <a:cxn ang="0">
                  <a:pos x="26" y="268"/>
                </a:cxn>
                <a:cxn ang="0">
                  <a:pos x="32" y="290"/>
                </a:cxn>
                <a:cxn ang="0">
                  <a:pos x="82" y="281"/>
                </a:cxn>
                <a:cxn ang="0">
                  <a:pos x="94" y="270"/>
                </a:cxn>
                <a:cxn ang="0">
                  <a:pos x="90" y="264"/>
                </a:cxn>
                <a:cxn ang="0">
                  <a:pos x="116" y="258"/>
                </a:cxn>
                <a:cxn ang="0">
                  <a:pos x="137" y="230"/>
                </a:cxn>
                <a:cxn ang="0">
                  <a:pos x="154" y="227"/>
                </a:cxn>
                <a:cxn ang="0">
                  <a:pos x="154" y="217"/>
                </a:cxn>
                <a:cxn ang="0">
                  <a:pos x="139" y="189"/>
                </a:cxn>
                <a:cxn ang="0">
                  <a:pos x="155" y="139"/>
                </a:cxn>
                <a:cxn ang="0">
                  <a:pos x="170" y="139"/>
                </a:cxn>
                <a:cxn ang="0">
                  <a:pos x="172" y="133"/>
                </a:cxn>
                <a:cxn ang="0">
                  <a:pos x="170" y="69"/>
                </a:cxn>
                <a:cxn ang="0">
                  <a:pos x="49" y="0"/>
                </a:cxn>
                <a:cxn ang="0">
                  <a:pos x="26" y="4"/>
                </a:cxn>
                <a:cxn ang="0">
                  <a:pos x="26" y="32"/>
                </a:cxn>
                <a:cxn ang="0">
                  <a:pos x="26" y="32"/>
                </a:cxn>
              </a:cxnLst>
              <a:rect l="0" t="0" r="r" b="b"/>
              <a:pathLst>
                <a:path w="172" h="290">
                  <a:moveTo>
                    <a:pt x="26" y="32"/>
                  </a:moveTo>
                  <a:lnTo>
                    <a:pt x="34" y="45"/>
                  </a:lnTo>
                  <a:lnTo>
                    <a:pt x="41" y="51"/>
                  </a:lnTo>
                  <a:lnTo>
                    <a:pt x="32" y="112"/>
                  </a:lnTo>
                  <a:lnTo>
                    <a:pt x="0" y="163"/>
                  </a:lnTo>
                  <a:lnTo>
                    <a:pt x="2" y="172"/>
                  </a:lnTo>
                  <a:lnTo>
                    <a:pt x="11" y="185"/>
                  </a:lnTo>
                  <a:lnTo>
                    <a:pt x="19" y="191"/>
                  </a:lnTo>
                  <a:lnTo>
                    <a:pt x="19" y="191"/>
                  </a:lnTo>
                  <a:lnTo>
                    <a:pt x="24" y="225"/>
                  </a:lnTo>
                  <a:lnTo>
                    <a:pt x="32" y="240"/>
                  </a:lnTo>
                  <a:lnTo>
                    <a:pt x="17" y="243"/>
                  </a:lnTo>
                  <a:lnTo>
                    <a:pt x="11" y="255"/>
                  </a:lnTo>
                  <a:lnTo>
                    <a:pt x="26" y="268"/>
                  </a:lnTo>
                  <a:lnTo>
                    <a:pt x="32" y="290"/>
                  </a:lnTo>
                  <a:lnTo>
                    <a:pt x="82" y="281"/>
                  </a:lnTo>
                  <a:lnTo>
                    <a:pt x="94" y="270"/>
                  </a:lnTo>
                  <a:lnTo>
                    <a:pt x="90" y="264"/>
                  </a:lnTo>
                  <a:lnTo>
                    <a:pt x="116" y="258"/>
                  </a:lnTo>
                  <a:lnTo>
                    <a:pt x="137" y="230"/>
                  </a:lnTo>
                  <a:lnTo>
                    <a:pt x="154" y="227"/>
                  </a:lnTo>
                  <a:lnTo>
                    <a:pt x="154" y="217"/>
                  </a:lnTo>
                  <a:lnTo>
                    <a:pt x="139" y="189"/>
                  </a:lnTo>
                  <a:lnTo>
                    <a:pt x="155" y="139"/>
                  </a:lnTo>
                  <a:lnTo>
                    <a:pt x="170" y="139"/>
                  </a:lnTo>
                  <a:lnTo>
                    <a:pt x="172" y="133"/>
                  </a:lnTo>
                  <a:lnTo>
                    <a:pt x="170" y="69"/>
                  </a:lnTo>
                  <a:lnTo>
                    <a:pt x="49" y="0"/>
                  </a:lnTo>
                  <a:lnTo>
                    <a:pt x="26" y="4"/>
                  </a:lnTo>
                  <a:lnTo>
                    <a:pt x="26" y="32"/>
                  </a:lnTo>
                  <a:lnTo>
                    <a:pt x="26" y="3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93" name="Freeform 5644"/>
            <p:cNvSpPr>
              <a:spLocks/>
            </p:cNvSpPr>
            <p:nvPr>
              <p:custDataLst>
                <p:tags r:id="rId29"/>
              </p:custDataLst>
            </p:nvPr>
          </p:nvSpPr>
          <p:spPr bwMode="gray">
            <a:xfrm>
              <a:off x="7493828" y="3925957"/>
              <a:ext cx="218467" cy="115825"/>
            </a:xfrm>
            <a:custGeom>
              <a:avLst/>
              <a:gdLst/>
              <a:ahLst/>
              <a:cxnLst>
                <a:cxn ang="0">
                  <a:pos x="2" y="22"/>
                </a:cxn>
                <a:cxn ang="0">
                  <a:pos x="17" y="11"/>
                </a:cxn>
                <a:cxn ang="0">
                  <a:pos x="51" y="51"/>
                </a:cxn>
                <a:cxn ang="0">
                  <a:pos x="107" y="9"/>
                </a:cxn>
                <a:cxn ang="0">
                  <a:pos x="159" y="0"/>
                </a:cxn>
                <a:cxn ang="0">
                  <a:pos x="169" y="19"/>
                </a:cxn>
                <a:cxn ang="0">
                  <a:pos x="167" y="21"/>
                </a:cxn>
                <a:cxn ang="0">
                  <a:pos x="159" y="26"/>
                </a:cxn>
                <a:cxn ang="0">
                  <a:pos x="156" y="37"/>
                </a:cxn>
                <a:cxn ang="0">
                  <a:pos x="116" y="54"/>
                </a:cxn>
                <a:cxn ang="0">
                  <a:pos x="75" y="81"/>
                </a:cxn>
                <a:cxn ang="0">
                  <a:pos x="53" y="81"/>
                </a:cxn>
                <a:cxn ang="0">
                  <a:pos x="41" y="88"/>
                </a:cxn>
                <a:cxn ang="0">
                  <a:pos x="17" y="90"/>
                </a:cxn>
                <a:cxn ang="0">
                  <a:pos x="0" y="24"/>
                </a:cxn>
                <a:cxn ang="0">
                  <a:pos x="2" y="22"/>
                </a:cxn>
                <a:cxn ang="0">
                  <a:pos x="2" y="22"/>
                </a:cxn>
              </a:cxnLst>
              <a:rect l="0" t="0" r="r" b="b"/>
              <a:pathLst>
                <a:path w="169" h="90">
                  <a:moveTo>
                    <a:pt x="2" y="22"/>
                  </a:moveTo>
                  <a:lnTo>
                    <a:pt x="17" y="11"/>
                  </a:lnTo>
                  <a:lnTo>
                    <a:pt x="51" y="51"/>
                  </a:lnTo>
                  <a:lnTo>
                    <a:pt x="107" y="9"/>
                  </a:lnTo>
                  <a:lnTo>
                    <a:pt x="159" y="0"/>
                  </a:lnTo>
                  <a:lnTo>
                    <a:pt x="169" y="19"/>
                  </a:lnTo>
                  <a:lnTo>
                    <a:pt x="167" y="21"/>
                  </a:lnTo>
                  <a:lnTo>
                    <a:pt x="159" y="26"/>
                  </a:lnTo>
                  <a:lnTo>
                    <a:pt x="156" y="37"/>
                  </a:lnTo>
                  <a:lnTo>
                    <a:pt x="116" y="54"/>
                  </a:lnTo>
                  <a:lnTo>
                    <a:pt x="75" y="81"/>
                  </a:lnTo>
                  <a:lnTo>
                    <a:pt x="53" y="81"/>
                  </a:lnTo>
                  <a:lnTo>
                    <a:pt x="41" y="88"/>
                  </a:lnTo>
                  <a:lnTo>
                    <a:pt x="17" y="90"/>
                  </a:lnTo>
                  <a:lnTo>
                    <a:pt x="0" y="24"/>
                  </a:lnTo>
                  <a:lnTo>
                    <a:pt x="2" y="22"/>
                  </a:lnTo>
                  <a:lnTo>
                    <a:pt x="2" y="2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94" name="Freeform 5652"/>
            <p:cNvSpPr>
              <a:spLocks/>
            </p:cNvSpPr>
            <p:nvPr>
              <p:custDataLst>
                <p:tags r:id="rId30"/>
              </p:custDataLst>
            </p:nvPr>
          </p:nvSpPr>
          <p:spPr bwMode="gray">
            <a:xfrm>
              <a:off x="6596807" y="4080391"/>
              <a:ext cx="43952" cy="118399"/>
            </a:xfrm>
            <a:custGeom>
              <a:avLst/>
              <a:gdLst/>
              <a:ahLst/>
              <a:cxnLst>
                <a:cxn ang="0">
                  <a:pos x="15" y="79"/>
                </a:cxn>
                <a:cxn ang="0">
                  <a:pos x="11" y="37"/>
                </a:cxn>
                <a:cxn ang="0">
                  <a:pos x="0" y="0"/>
                </a:cxn>
                <a:cxn ang="0">
                  <a:pos x="17" y="2"/>
                </a:cxn>
                <a:cxn ang="0">
                  <a:pos x="15" y="13"/>
                </a:cxn>
                <a:cxn ang="0">
                  <a:pos x="26" y="24"/>
                </a:cxn>
                <a:cxn ang="0">
                  <a:pos x="32" y="47"/>
                </a:cxn>
                <a:cxn ang="0">
                  <a:pos x="34" y="90"/>
                </a:cxn>
                <a:cxn ang="0">
                  <a:pos x="22" y="92"/>
                </a:cxn>
                <a:cxn ang="0">
                  <a:pos x="15" y="79"/>
                </a:cxn>
                <a:cxn ang="0">
                  <a:pos x="15" y="79"/>
                </a:cxn>
              </a:cxnLst>
              <a:rect l="0" t="0" r="r" b="b"/>
              <a:pathLst>
                <a:path w="34" h="92">
                  <a:moveTo>
                    <a:pt x="15" y="79"/>
                  </a:moveTo>
                  <a:lnTo>
                    <a:pt x="11" y="37"/>
                  </a:lnTo>
                  <a:lnTo>
                    <a:pt x="0" y="0"/>
                  </a:lnTo>
                  <a:lnTo>
                    <a:pt x="17" y="2"/>
                  </a:lnTo>
                  <a:lnTo>
                    <a:pt x="15" y="13"/>
                  </a:lnTo>
                  <a:lnTo>
                    <a:pt x="26" y="24"/>
                  </a:lnTo>
                  <a:lnTo>
                    <a:pt x="32" y="47"/>
                  </a:lnTo>
                  <a:lnTo>
                    <a:pt x="34" y="90"/>
                  </a:lnTo>
                  <a:lnTo>
                    <a:pt x="22" y="92"/>
                  </a:lnTo>
                  <a:lnTo>
                    <a:pt x="15" y="79"/>
                  </a:lnTo>
                  <a:lnTo>
                    <a:pt x="15" y="7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95" name="Freeform 5653"/>
            <p:cNvSpPr>
              <a:spLocks/>
            </p:cNvSpPr>
            <p:nvPr>
              <p:custDataLst>
                <p:tags r:id="rId31"/>
              </p:custDataLst>
            </p:nvPr>
          </p:nvSpPr>
          <p:spPr bwMode="gray">
            <a:xfrm>
              <a:off x="6622547" y="4050791"/>
              <a:ext cx="62050" cy="145425"/>
            </a:xfrm>
            <a:custGeom>
              <a:avLst/>
              <a:gdLst/>
              <a:ahLst/>
              <a:cxnLst>
                <a:cxn ang="0">
                  <a:pos x="17" y="70"/>
                </a:cxn>
                <a:cxn ang="0">
                  <a:pos x="11" y="47"/>
                </a:cxn>
                <a:cxn ang="0">
                  <a:pos x="0" y="36"/>
                </a:cxn>
                <a:cxn ang="0">
                  <a:pos x="2" y="25"/>
                </a:cxn>
                <a:cxn ang="0">
                  <a:pos x="11" y="15"/>
                </a:cxn>
                <a:cxn ang="0">
                  <a:pos x="20" y="17"/>
                </a:cxn>
                <a:cxn ang="0">
                  <a:pos x="26" y="8"/>
                </a:cxn>
                <a:cxn ang="0">
                  <a:pos x="32" y="2"/>
                </a:cxn>
                <a:cxn ang="0">
                  <a:pos x="41" y="0"/>
                </a:cxn>
                <a:cxn ang="0">
                  <a:pos x="47" y="12"/>
                </a:cxn>
                <a:cxn ang="0">
                  <a:pos x="48" y="32"/>
                </a:cxn>
                <a:cxn ang="0">
                  <a:pos x="34" y="72"/>
                </a:cxn>
                <a:cxn ang="0">
                  <a:pos x="32" y="111"/>
                </a:cxn>
                <a:cxn ang="0">
                  <a:pos x="19" y="113"/>
                </a:cxn>
                <a:cxn ang="0">
                  <a:pos x="17" y="70"/>
                </a:cxn>
                <a:cxn ang="0">
                  <a:pos x="17" y="70"/>
                </a:cxn>
              </a:cxnLst>
              <a:rect l="0" t="0" r="r" b="b"/>
              <a:pathLst>
                <a:path w="48" h="113">
                  <a:moveTo>
                    <a:pt x="17" y="70"/>
                  </a:moveTo>
                  <a:lnTo>
                    <a:pt x="11" y="47"/>
                  </a:lnTo>
                  <a:lnTo>
                    <a:pt x="0" y="36"/>
                  </a:lnTo>
                  <a:lnTo>
                    <a:pt x="2" y="25"/>
                  </a:lnTo>
                  <a:lnTo>
                    <a:pt x="11" y="15"/>
                  </a:lnTo>
                  <a:lnTo>
                    <a:pt x="20" y="17"/>
                  </a:lnTo>
                  <a:lnTo>
                    <a:pt x="26" y="8"/>
                  </a:lnTo>
                  <a:lnTo>
                    <a:pt x="32" y="2"/>
                  </a:lnTo>
                  <a:lnTo>
                    <a:pt x="41" y="0"/>
                  </a:lnTo>
                  <a:lnTo>
                    <a:pt x="47" y="12"/>
                  </a:lnTo>
                  <a:lnTo>
                    <a:pt x="48" y="32"/>
                  </a:lnTo>
                  <a:lnTo>
                    <a:pt x="34" y="72"/>
                  </a:lnTo>
                  <a:lnTo>
                    <a:pt x="32" y="111"/>
                  </a:lnTo>
                  <a:lnTo>
                    <a:pt x="19" y="113"/>
                  </a:lnTo>
                  <a:lnTo>
                    <a:pt x="17" y="70"/>
                  </a:lnTo>
                  <a:lnTo>
                    <a:pt x="17" y="7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96" name="Freeform 5654"/>
            <p:cNvSpPr>
              <a:spLocks/>
            </p:cNvSpPr>
            <p:nvPr>
              <p:custDataLst>
                <p:tags r:id="rId32"/>
              </p:custDataLst>
            </p:nvPr>
          </p:nvSpPr>
          <p:spPr bwMode="gray">
            <a:xfrm>
              <a:off x="6365300" y="4143451"/>
              <a:ext cx="85318" cy="97808"/>
            </a:xfrm>
            <a:custGeom>
              <a:avLst/>
              <a:gdLst/>
              <a:ahLst/>
              <a:cxnLst>
                <a:cxn ang="0">
                  <a:pos x="49" y="16"/>
                </a:cxn>
                <a:cxn ang="0">
                  <a:pos x="51" y="37"/>
                </a:cxn>
                <a:cxn ang="0">
                  <a:pos x="66" y="52"/>
                </a:cxn>
                <a:cxn ang="0">
                  <a:pos x="64" y="76"/>
                </a:cxn>
                <a:cxn ang="0">
                  <a:pos x="51" y="75"/>
                </a:cxn>
                <a:cxn ang="0">
                  <a:pos x="0" y="30"/>
                </a:cxn>
                <a:cxn ang="0">
                  <a:pos x="0" y="28"/>
                </a:cxn>
                <a:cxn ang="0">
                  <a:pos x="19" y="1"/>
                </a:cxn>
                <a:cxn ang="0">
                  <a:pos x="30" y="0"/>
                </a:cxn>
                <a:cxn ang="0">
                  <a:pos x="40" y="22"/>
                </a:cxn>
                <a:cxn ang="0">
                  <a:pos x="49" y="16"/>
                </a:cxn>
                <a:cxn ang="0">
                  <a:pos x="49" y="16"/>
                </a:cxn>
              </a:cxnLst>
              <a:rect l="0" t="0" r="r" b="b"/>
              <a:pathLst>
                <a:path w="66" h="76">
                  <a:moveTo>
                    <a:pt x="49" y="16"/>
                  </a:moveTo>
                  <a:lnTo>
                    <a:pt x="51" y="37"/>
                  </a:lnTo>
                  <a:lnTo>
                    <a:pt x="66" y="52"/>
                  </a:lnTo>
                  <a:lnTo>
                    <a:pt x="64" y="76"/>
                  </a:lnTo>
                  <a:lnTo>
                    <a:pt x="51" y="75"/>
                  </a:lnTo>
                  <a:lnTo>
                    <a:pt x="0" y="30"/>
                  </a:lnTo>
                  <a:lnTo>
                    <a:pt x="0" y="28"/>
                  </a:lnTo>
                  <a:lnTo>
                    <a:pt x="19" y="1"/>
                  </a:lnTo>
                  <a:lnTo>
                    <a:pt x="30" y="0"/>
                  </a:lnTo>
                  <a:lnTo>
                    <a:pt x="40" y="22"/>
                  </a:lnTo>
                  <a:lnTo>
                    <a:pt x="49" y="16"/>
                  </a:lnTo>
                  <a:lnTo>
                    <a:pt x="49" y="1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97" name="Freeform 5655"/>
            <p:cNvSpPr>
              <a:spLocks/>
            </p:cNvSpPr>
            <p:nvPr>
              <p:custDataLst>
                <p:tags r:id="rId33"/>
              </p:custDataLst>
            </p:nvPr>
          </p:nvSpPr>
          <p:spPr bwMode="gray">
            <a:xfrm>
              <a:off x="6259298" y="3696881"/>
              <a:ext cx="253370" cy="295998"/>
            </a:xfrm>
            <a:custGeom>
              <a:avLst/>
              <a:gdLst/>
              <a:ahLst/>
              <a:cxnLst>
                <a:cxn ang="0">
                  <a:pos x="75" y="230"/>
                </a:cxn>
                <a:cxn ang="0">
                  <a:pos x="56" y="208"/>
                </a:cxn>
                <a:cxn ang="0">
                  <a:pos x="35" y="195"/>
                </a:cxn>
                <a:cxn ang="0">
                  <a:pos x="19" y="199"/>
                </a:cxn>
                <a:cxn ang="0">
                  <a:pos x="7" y="210"/>
                </a:cxn>
                <a:cxn ang="0">
                  <a:pos x="13" y="170"/>
                </a:cxn>
                <a:cxn ang="0">
                  <a:pos x="7" y="144"/>
                </a:cxn>
                <a:cxn ang="0">
                  <a:pos x="13" y="129"/>
                </a:cxn>
                <a:cxn ang="0">
                  <a:pos x="0" y="114"/>
                </a:cxn>
                <a:cxn ang="0">
                  <a:pos x="11" y="109"/>
                </a:cxn>
                <a:cxn ang="0">
                  <a:pos x="67" y="107"/>
                </a:cxn>
                <a:cxn ang="0">
                  <a:pos x="65" y="79"/>
                </a:cxn>
                <a:cxn ang="0">
                  <a:pos x="84" y="66"/>
                </a:cxn>
                <a:cxn ang="0">
                  <a:pos x="88" y="22"/>
                </a:cxn>
                <a:cxn ang="0">
                  <a:pos x="138" y="22"/>
                </a:cxn>
                <a:cxn ang="0">
                  <a:pos x="140" y="0"/>
                </a:cxn>
                <a:cxn ang="0">
                  <a:pos x="196" y="41"/>
                </a:cxn>
                <a:cxn ang="0">
                  <a:pos x="196" y="41"/>
                </a:cxn>
                <a:cxn ang="0">
                  <a:pos x="168" y="41"/>
                </a:cxn>
                <a:cxn ang="0">
                  <a:pos x="182" y="215"/>
                </a:cxn>
                <a:cxn ang="0">
                  <a:pos x="110" y="215"/>
                </a:cxn>
                <a:cxn ang="0">
                  <a:pos x="97" y="223"/>
                </a:cxn>
                <a:cxn ang="0">
                  <a:pos x="88" y="210"/>
                </a:cxn>
                <a:cxn ang="0">
                  <a:pos x="75" y="230"/>
                </a:cxn>
                <a:cxn ang="0">
                  <a:pos x="75" y="230"/>
                </a:cxn>
              </a:cxnLst>
              <a:rect l="0" t="0" r="r" b="b"/>
              <a:pathLst>
                <a:path w="196" h="230">
                  <a:moveTo>
                    <a:pt x="75" y="230"/>
                  </a:moveTo>
                  <a:lnTo>
                    <a:pt x="56" y="208"/>
                  </a:lnTo>
                  <a:lnTo>
                    <a:pt x="35" y="195"/>
                  </a:lnTo>
                  <a:lnTo>
                    <a:pt x="19" y="199"/>
                  </a:lnTo>
                  <a:lnTo>
                    <a:pt x="7" y="210"/>
                  </a:lnTo>
                  <a:lnTo>
                    <a:pt x="13" y="170"/>
                  </a:lnTo>
                  <a:lnTo>
                    <a:pt x="7" y="144"/>
                  </a:lnTo>
                  <a:lnTo>
                    <a:pt x="13" y="129"/>
                  </a:lnTo>
                  <a:lnTo>
                    <a:pt x="0" y="114"/>
                  </a:lnTo>
                  <a:lnTo>
                    <a:pt x="11" y="109"/>
                  </a:lnTo>
                  <a:lnTo>
                    <a:pt x="67" y="107"/>
                  </a:lnTo>
                  <a:lnTo>
                    <a:pt x="65" y="79"/>
                  </a:lnTo>
                  <a:lnTo>
                    <a:pt x="84" y="66"/>
                  </a:lnTo>
                  <a:lnTo>
                    <a:pt x="88" y="22"/>
                  </a:lnTo>
                  <a:lnTo>
                    <a:pt x="138" y="22"/>
                  </a:lnTo>
                  <a:lnTo>
                    <a:pt x="140" y="0"/>
                  </a:lnTo>
                  <a:lnTo>
                    <a:pt x="196" y="41"/>
                  </a:lnTo>
                  <a:lnTo>
                    <a:pt x="196" y="41"/>
                  </a:lnTo>
                  <a:lnTo>
                    <a:pt x="168" y="41"/>
                  </a:lnTo>
                  <a:lnTo>
                    <a:pt x="182" y="215"/>
                  </a:lnTo>
                  <a:lnTo>
                    <a:pt x="110" y="215"/>
                  </a:lnTo>
                  <a:lnTo>
                    <a:pt x="97" y="223"/>
                  </a:lnTo>
                  <a:lnTo>
                    <a:pt x="88" y="210"/>
                  </a:lnTo>
                  <a:lnTo>
                    <a:pt x="75" y="230"/>
                  </a:lnTo>
                  <a:lnTo>
                    <a:pt x="75" y="23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98" name="Freeform 5656"/>
            <p:cNvSpPr>
              <a:spLocks/>
            </p:cNvSpPr>
            <p:nvPr>
              <p:custDataLst>
                <p:tags r:id="rId34"/>
              </p:custDataLst>
            </p:nvPr>
          </p:nvSpPr>
          <p:spPr bwMode="gray">
            <a:xfrm>
              <a:off x="6259298" y="3686585"/>
              <a:ext cx="180978" cy="157007"/>
            </a:xfrm>
            <a:custGeom>
              <a:avLst/>
              <a:gdLst/>
              <a:ahLst/>
              <a:cxnLst>
                <a:cxn ang="0">
                  <a:pos x="140" y="0"/>
                </a:cxn>
                <a:cxn ang="0">
                  <a:pos x="140" y="8"/>
                </a:cxn>
                <a:cxn ang="0">
                  <a:pos x="140" y="8"/>
                </a:cxn>
                <a:cxn ang="0">
                  <a:pos x="138" y="30"/>
                </a:cxn>
                <a:cxn ang="0">
                  <a:pos x="88" y="30"/>
                </a:cxn>
                <a:cxn ang="0">
                  <a:pos x="84" y="74"/>
                </a:cxn>
                <a:cxn ang="0">
                  <a:pos x="65" y="87"/>
                </a:cxn>
                <a:cxn ang="0">
                  <a:pos x="67" y="115"/>
                </a:cxn>
                <a:cxn ang="0">
                  <a:pos x="11" y="117"/>
                </a:cxn>
                <a:cxn ang="0">
                  <a:pos x="0" y="122"/>
                </a:cxn>
                <a:cxn ang="0">
                  <a:pos x="4" y="104"/>
                </a:cxn>
                <a:cxn ang="0">
                  <a:pos x="35" y="57"/>
                </a:cxn>
                <a:cxn ang="0">
                  <a:pos x="47" y="29"/>
                </a:cxn>
                <a:cxn ang="0">
                  <a:pos x="58" y="19"/>
                </a:cxn>
                <a:cxn ang="0">
                  <a:pos x="71" y="0"/>
                </a:cxn>
                <a:cxn ang="0">
                  <a:pos x="140" y="0"/>
                </a:cxn>
                <a:cxn ang="0">
                  <a:pos x="140" y="0"/>
                </a:cxn>
              </a:cxnLst>
              <a:rect l="0" t="0" r="r" b="b"/>
              <a:pathLst>
                <a:path w="140" h="122">
                  <a:moveTo>
                    <a:pt x="140" y="0"/>
                  </a:moveTo>
                  <a:lnTo>
                    <a:pt x="140" y="8"/>
                  </a:lnTo>
                  <a:lnTo>
                    <a:pt x="140" y="8"/>
                  </a:lnTo>
                  <a:lnTo>
                    <a:pt x="138" y="30"/>
                  </a:lnTo>
                  <a:lnTo>
                    <a:pt x="88" y="30"/>
                  </a:lnTo>
                  <a:lnTo>
                    <a:pt x="84" y="74"/>
                  </a:lnTo>
                  <a:lnTo>
                    <a:pt x="65" y="87"/>
                  </a:lnTo>
                  <a:lnTo>
                    <a:pt x="67" y="115"/>
                  </a:lnTo>
                  <a:lnTo>
                    <a:pt x="11" y="117"/>
                  </a:lnTo>
                  <a:lnTo>
                    <a:pt x="0" y="122"/>
                  </a:lnTo>
                  <a:lnTo>
                    <a:pt x="4" y="104"/>
                  </a:lnTo>
                  <a:lnTo>
                    <a:pt x="35" y="57"/>
                  </a:lnTo>
                  <a:lnTo>
                    <a:pt x="47" y="29"/>
                  </a:lnTo>
                  <a:lnTo>
                    <a:pt x="58" y="19"/>
                  </a:lnTo>
                  <a:lnTo>
                    <a:pt x="71" y="0"/>
                  </a:lnTo>
                  <a:lnTo>
                    <a:pt x="140" y="0"/>
                  </a:lnTo>
                  <a:lnTo>
                    <a:pt x="14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99" name="Freeform 5661"/>
            <p:cNvSpPr>
              <a:spLocks/>
            </p:cNvSpPr>
            <p:nvPr>
              <p:custDataLst>
                <p:tags r:id="rId35"/>
              </p:custDataLst>
            </p:nvPr>
          </p:nvSpPr>
          <p:spPr bwMode="gray">
            <a:xfrm>
              <a:off x="7440695" y="4058706"/>
              <a:ext cx="208125" cy="323024"/>
            </a:xfrm>
            <a:custGeom>
              <a:avLst/>
              <a:gdLst/>
              <a:ahLst/>
              <a:cxnLst>
                <a:cxn ang="0">
                  <a:pos x="13" y="148"/>
                </a:cxn>
                <a:cxn ang="0">
                  <a:pos x="0" y="170"/>
                </a:cxn>
                <a:cxn ang="0">
                  <a:pos x="0" y="234"/>
                </a:cxn>
                <a:cxn ang="0">
                  <a:pos x="10" y="251"/>
                </a:cxn>
                <a:cxn ang="0">
                  <a:pos x="10" y="251"/>
                </a:cxn>
                <a:cxn ang="0">
                  <a:pos x="36" y="213"/>
                </a:cxn>
                <a:cxn ang="0">
                  <a:pos x="85" y="172"/>
                </a:cxn>
                <a:cxn ang="0">
                  <a:pos x="107" y="144"/>
                </a:cxn>
                <a:cxn ang="0">
                  <a:pos x="128" y="114"/>
                </a:cxn>
                <a:cxn ang="0">
                  <a:pos x="160" y="28"/>
                </a:cxn>
                <a:cxn ang="0">
                  <a:pos x="161" y="4"/>
                </a:cxn>
                <a:cxn ang="0">
                  <a:pos x="152" y="0"/>
                </a:cxn>
                <a:cxn ang="0">
                  <a:pos x="145" y="7"/>
                </a:cxn>
                <a:cxn ang="0">
                  <a:pos x="126" y="15"/>
                </a:cxn>
                <a:cxn ang="0">
                  <a:pos x="102" y="17"/>
                </a:cxn>
                <a:cxn ang="0">
                  <a:pos x="58" y="30"/>
                </a:cxn>
                <a:cxn ang="0">
                  <a:pos x="49" y="28"/>
                </a:cxn>
                <a:cxn ang="0">
                  <a:pos x="34" y="9"/>
                </a:cxn>
                <a:cxn ang="0">
                  <a:pos x="34" y="9"/>
                </a:cxn>
                <a:cxn ang="0">
                  <a:pos x="28" y="20"/>
                </a:cxn>
                <a:cxn ang="0">
                  <a:pos x="28" y="30"/>
                </a:cxn>
                <a:cxn ang="0">
                  <a:pos x="47" y="52"/>
                </a:cxn>
                <a:cxn ang="0">
                  <a:pos x="98" y="73"/>
                </a:cxn>
                <a:cxn ang="0">
                  <a:pos x="111" y="73"/>
                </a:cxn>
                <a:cxn ang="0">
                  <a:pos x="66" y="127"/>
                </a:cxn>
                <a:cxn ang="0">
                  <a:pos x="43" y="129"/>
                </a:cxn>
                <a:cxn ang="0">
                  <a:pos x="13" y="148"/>
                </a:cxn>
                <a:cxn ang="0">
                  <a:pos x="13" y="148"/>
                </a:cxn>
                <a:cxn ang="0">
                  <a:pos x="13" y="148"/>
                </a:cxn>
              </a:cxnLst>
              <a:rect l="0" t="0" r="r" b="b"/>
              <a:pathLst>
                <a:path w="161" h="251">
                  <a:moveTo>
                    <a:pt x="13" y="148"/>
                  </a:moveTo>
                  <a:lnTo>
                    <a:pt x="0" y="170"/>
                  </a:lnTo>
                  <a:lnTo>
                    <a:pt x="0" y="234"/>
                  </a:lnTo>
                  <a:lnTo>
                    <a:pt x="10" y="251"/>
                  </a:lnTo>
                  <a:lnTo>
                    <a:pt x="10" y="251"/>
                  </a:lnTo>
                  <a:lnTo>
                    <a:pt x="36" y="213"/>
                  </a:lnTo>
                  <a:lnTo>
                    <a:pt x="85" y="172"/>
                  </a:lnTo>
                  <a:lnTo>
                    <a:pt x="107" y="144"/>
                  </a:lnTo>
                  <a:lnTo>
                    <a:pt x="128" y="114"/>
                  </a:lnTo>
                  <a:lnTo>
                    <a:pt x="160" y="28"/>
                  </a:lnTo>
                  <a:lnTo>
                    <a:pt x="161" y="4"/>
                  </a:lnTo>
                  <a:lnTo>
                    <a:pt x="152" y="0"/>
                  </a:lnTo>
                  <a:lnTo>
                    <a:pt x="145" y="7"/>
                  </a:lnTo>
                  <a:lnTo>
                    <a:pt x="126" y="15"/>
                  </a:lnTo>
                  <a:lnTo>
                    <a:pt x="102" y="17"/>
                  </a:lnTo>
                  <a:lnTo>
                    <a:pt x="58" y="30"/>
                  </a:lnTo>
                  <a:lnTo>
                    <a:pt x="49" y="28"/>
                  </a:lnTo>
                  <a:lnTo>
                    <a:pt x="34" y="9"/>
                  </a:lnTo>
                  <a:lnTo>
                    <a:pt x="34" y="9"/>
                  </a:lnTo>
                  <a:lnTo>
                    <a:pt x="28" y="20"/>
                  </a:lnTo>
                  <a:lnTo>
                    <a:pt x="28" y="30"/>
                  </a:lnTo>
                  <a:lnTo>
                    <a:pt x="47" y="52"/>
                  </a:lnTo>
                  <a:lnTo>
                    <a:pt x="98" y="73"/>
                  </a:lnTo>
                  <a:lnTo>
                    <a:pt x="111" y="73"/>
                  </a:lnTo>
                  <a:lnTo>
                    <a:pt x="66" y="127"/>
                  </a:lnTo>
                  <a:lnTo>
                    <a:pt x="43" y="129"/>
                  </a:lnTo>
                  <a:lnTo>
                    <a:pt x="13" y="148"/>
                  </a:lnTo>
                  <a:lnTo>
                    <a:pt x="13" y="148"/>
                  </a:lnTo>
                  <a:lnTo>
                    <a:pt x="13" y="14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00" name="Freeform 5662"/>
            <p:cNvSpPr>
              <a:spLocks/>
            </p:cNvSpPr>
            <p:nvPr>
              <p:custDataLst>
                <p:tags r:id="rId36"/>
              </p:custDataLst>
            </p:nvPr>
          </p:nvSpPr>
          <p:spPr bwMode="gray">
            <a:xfrm>
              <a:off x="6256713" y="4046545"/>
              <a:ext cx="65928" cy="43756"/>
            </a:xfrm>
            <a:custGeom>
              <a:avLst/>
              <a:gdLst/>
              <a:ahLst/>
              <a:cxnLst>
                <a:cxn ang="0">
                  <a:pos x="51" y="0"/>
                </a:cxn>
                <a:cxn ang="0">
                  <a:pos x="49" y="19"/>
                </a:cxn>
                <a:cxn ang="0">
                  <a:pos x="34" y="24"/>
                </a:cxn>
                <a:cxn ang="0">
                  <a:pos x="28" y="34"/>
                </a:cxn>
                <a:cxn ang="0">
                  <a:pos x="28" y="34"/>
                </a:cxn>
                <a:cxn ang="0">
                  <a:pos x="22" y="28"/>
                </a:cxn>
                <a:cxn ang="0">
                  <a:pos x="21" y="15"/>
                </a:cxn>
                <a:cxn ang="0">
                  <a:pos x="13" y="17"/>
                </a:cxn>
                <a:cxn ang="0">
                  <a:pos x="0" y="7"/>
                </a:cxn>
                <a:cxn ang="0">
                  <a:pos x="2" y="6"/>
                </a:cxn>
                <a:cxn ang="0">
                  <a:pos x="51" y="0"/>
                </a:cxn>
                <a:cxn ang="0">
                  <a:pos x="51" y="0"/>
                </a:cxn>
              </a:cxnLst>
              <a:rect l="0" t="0" r="r" b="b"/>
              <a:pathLst>
                <a:path w="51" h="34">
                  <a:moveTo>
                    <a:pt x="51" y="0"/>
                  </a:moveTo>
                  <a:lnTo>
                    <a:pt x="49" y="19"/>
                  </a:lnTo>
                  <a:lnTo>
                    <a:pt x="34" y="24"/>
                  </a:lnTo>
                  <a:lnTo>
                    <a:pt x="28" y="34"/>
                  </a:lnTo>
                  <a:lnTo>
                    <a:pt x="28" y="34"/>
                  </a:lnTo>
                  <a:lnTo>
                    <a:pt x="22" y="28"/>
                  </a:lnTo>
                  <a:lnTo>
                    <a:pt x="21" y="15"/>
                  </a:lnTo>
                  <a:lnTo>
                    <a:pt x="13" y="17"/>
                  </a:lnTo>
                  <a:lnTo>
                    <a:pt x="0" y="7"/>
                  </a:lnTo>
                  <a:lnTo>
                    <a:pt x="2" y="6"/>
                  </a:lnTo>
                  <a:lnTo>
                    <a:pt x="51" y="0"/>
                  </a:lnTo>
                  <a:lnTo>
                    <a:pt x="51"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01" name="Freeform 5663"/>
            <p:cNvSpPr>
              <a:spLocks/>
            </p:cNvSpPr>
            <p:nvPr>
              <p:custDataLst>
                <p:tags r:id="rId37"/>
              </p:custDataLst>
            </p:nvPr>
          </p:nvSpPr>
          <p:spPr bwMode="gray">
            <a:xfrm>
              <a:off x="6348152" y="4113273"/>
              <a:ext cx="60757" cy="75930"/>
            </a:xfrm>
            <a:custGeom>
              <a:avLst/>
              <a:gdLst/>
              <a:ahLst/>
              <a:cxnLst>
                <a:cxn ang="0">
                  <a:pos x="0" y="15"/>
                </a:cxn>
                <a:cxn ang="0">
                  <a:pos x="4" y="42"/>
                </a:cxn>
                <a:cxn ang="0">
                  <a:pos x="28" y="59"/>
                </a:cxn>
                <a:cxn ang="0">
                  <a:pos x="28" y="57"/>
                </a:cxn>
                <a:cxn ang="0">
                  <a:pos x="47" y="30"/>
                </a:cxn>
                <a:cxn ang="0">
                  <a:pos x="43" y="30"/>
                </a:cxn>
                <a:cxn ang="0">
                  <a:pos x="45" y="21"/>
                </a:cxn>
                <a:cxn ang="0">
                  <a:pos x="30" y="0"/>
                </a:cxn>
                <a:cxn ang="0">
                  <a:pos x="15" y="0"/>
                </a:cxn>
                <a:cxn ang="0">
                  <a:pos x="0" y="15"/>
                </a:cxn>
                <a:cxn ang="0">
                  <a:pos x="0" y="15"/>
                </a:cxn>
                <a:cxn ang="0">
                  <a:pos x="0" y="15"/>
                </a:cxn>
              </a:cxnLst>
              <a:rect l="0" t="0" r="r" b="b"/>
              <a:pathLst>
                <a:path w="47" h="59">
                  <a:moveTo>
                    <a:pt x="0" y="15"/>
                  </a:moveTo>
                  <a:lnTo>
                    <a:pt x="4" y="42"/>
                  </a:lnTo>
                  <a:lnTo>
                    <a:pt x="28" y="59"/>
                  </a:lnTo>
                  <a:lnTo>
                    <a:pt x="28" y="57"/>
                  </a:lnTo>
                  <a:lnTo>
                    <a:pt x="47" y="30"/>
                  </a:lnTo>
                  <a:lnTo>
                    <a:pt x="43" y="30"/>
                  </a:lnTo>
                  <a:lnTo>
                    <a:pt x="45" y="21"/>
                  </a:lnTo>
                  <a:lnTo>
                    <a:pt x="30" y="0"/>
                  </a:lnTo>
                  <a:lnTo>
                    <a:pt x="15" y="0"/>
                  </a:lnTo>
                  <a:lnTo>
                    <a:pt x="0" y="15"/>
                  </a:lnTo>
                  <a:lnTo>
                    <a:pt x="0" y="15"/>
                  </a:lnTo>
                  <a:lnTo>
                    <a:pt x="0"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02" name="Freeform 5672"/>
            <p:cNvSpPr>
              <a:spLocks/>
            </p:cNvSpPr>
            <p:nvPr>
              <p:custDataLst>
                <p:tags r:id="rId38"/>
              </p:custDataLst>
            </p:nvPr>
          </p:nvSpPr>
          <p:spPr bwMode="gray">
            <a:xfrm>
              <a:off x="6866868" y="4221955"/>
              <a:ext cx="399445" cy="434988"/>
            </a:xfrm>
            <a:custGeom>
              <a:avLst/>
              <a:gdLst/>
              <a:ahLst/>
              <a:cxnLst>
                <a:cxn ang="0">
                  <a:pos x="262" y="313"/>
                </a:cxn>
                <a:cxn ang="0">
                  <a:pos x="266" y="263"/>
                </a:cxn>
                <a:cxn ang="0">
                  <a:pos x="270" y="253"/>
                </a:cxn>
                <a:cxn ang="0">
                  <a:pos x="292" y="248"/>
                </a:cxn>
                <a:cxn ang="0">
                  <a:pos x="290" y="233"/>
                </a:cxn>
                <a:cxn ang="0">
                  <a:pos x="273" y="206"/>
                </a:cxn>
                <a:cxn ang="0">
                  <a:pos x="272" y="169"/>
                </a:cxn>
                <a:cxn ang="0">
                  <a:pos x="275" y="158"/>
                </a:cxn>
                <a:cxn ang="0">
                  <a:pos x="277" y="167"/>
                </a:cxn>
                <a:cxn ang="0">
                  <a:pos x="275" y="158"/>
                </a:cxn>
                <a:cxn ang="0">
                  <a:pos x="273" y="145"/>
                </a:cxn>
                <a:cxn ang="0">
                  <a:pos x="272" y="139"/>
                </a:cxn>
                <a:cxn ang="0">
                  <a:pos x="283" y="118"/>
                </a:cxn>
                <a:cxn ang="0">
                  <a:pos x="287" y="87"/>
                </a:cxn>
                <a:cxn ang="0">
                  <a:pos x="296" y="72"/>
                </a:cxn>
                <a:cxn ang="0">
                  <a:pos x="309" y="55"/>
                </a:cxn>
                <a:cxn ang="0">
                  <a:pos x="300" y="45"/>
                </a:cxn>
                <a:cxn ang="0">
                  <a:pos x="302" y="28"/>
                </a:cxn>
                <a:cxn ang="0">
                  <a:pos x="285" y="12"/>
                </a:cxn>
                <a:cxn ang="0">
                  <a:pos x="258" y="14"/>
                </a:cxn>
                <a:cxn ang="0">
                  <a:pos x="247" y="0"/>
                </a:cxn>
                <a:cxn ang="0">
                  <a:pos x="170" y="6"/>
                </a:cxn>
                <a:cxn ang="0">
                  <a:pos x="163" y="15"/>
                </a:cxn>
                <a:cxn ang="0">
                  <a:pos x="133" y="14"/>
                </a:cxn>
                <a:cxn ang="0">
                  <a:pos x="124" y="0"/>
                </a:cxn>
                <a:cxn ang="0">
                  <a:pos x="116" y="0"/>
                </a:cxn>
                <a:cxn ang="0">
                  <a:pos x="101" y="27"/>
                </a:cxn>
                <a:cxn ang="0">
                  <a:pos x="92" y="58"/>
                </a:cxn>
                <a:cxn ang="0">
                  <a:pos x="86" y="109"/>
                </a:cxn>
                <a:cxn ang="0">
                  <a:pos x="64" y="133"/>
                </a:cxn>
                <a:cxn ang="0">
                  <a:pos x="56" y="167"/>
                </a:cxn>
                <a:cxn ang="0">
                  <a:pos x="36" y="184"/>
                </a:cxn>
                <a:cxn ang="0">
                  <a:pos x="30" y="176"/>
                </a:cxn>
                <a:cxn ang="0">
                  <a:pos x="19" y="184"/>
                </a:cxn>
                <a:cxn ang="0">
                  <a:pos x="9" y="182"/>
                </a:cxn>
                <a:cxn ang="0">
                  <a:pos x="2" y="188"/>
                </a:cxn>
                <a:cxn ang="0">
                  <a:pos x="0" y="203"/>
                </a:cxn>
                <a:cxn ang="0">
                  <a:pos x="2" y="212"/>
                </a:cxn>
                <a:cxn ang="0">
                  <a:pos x="19" y="203"/>
                </a:cxn>
                <a:cxn ang="0">
                  <a:pos x="58" y="201"/>
                </a:cxn>
                <a:cxn ang="0">
                  <a:pos x="67" y="208"/>
                </a:cxn>
                <a:cxn ang="0">
                  <a:pos x="73" y="231"/>
                </a:cxn>
                <a:cxn ang="0">
                  <a:pos x="90" y="246"/>
                </a:cxn>
                <a:cxn ang="0">
                  <a:pos x="110" y="242"/>
                </a:cxn>
                <a:cxn ang="0">
                  <a:pos x="116" y="225"/>
                </a:cxn>
                <a:cxn ang="0">
                  <a:pos x="137" y="221"/>
                </a:cxn>
                <a:cxn ang="0">
                  <a:pos x="137" y="227"/>
                </a:cxn>
                <a:cxn ang="0">
                  <a:pos x="150" y="231"/>
                </a:cxn>
                <a:cxn ang="0">
                  <a:pos x="152" y="235"/>
                </a:cxn>
                <a:cxn ang="0">
                  <a:pos x="152" y="272"/>
                </a:cxn>
                <a:cxn ang="0">
                  <a:pos x="159" y="289"/>
                </a:cxn>
                <a:cxn ang="0">
                  <a:pos x="154" y="298"/>
                </a:cxn>
                <a:cxn ang="0">
                  <a:pos x="157" y="304"/>
                </a:cxn>
                <a:cxn ang="0">
                  <a:pos x="189" y="295"/>
                </a:cxn>
                <a:cxn ang="0">
                  <a:pos x="221" y="313"/>
                </a:cxn>
                <a:cxn ang="0">
                  <a:pos x="236" y="311"/>
                </a:cxn>
                <a:cxn ang="0">
                  <a:pos x="262" y="334"/>
                </a:cxn>
                <a:cxn ang="0">
                  <a:pos x="275" y="338"/>
                </a:cxn>
                <a:cxn ang="0">
                  <a:pos x="279" y="319"/>
                </a:cxn>
                <a:cxn ang="0">
                  <a:pos x="268" y="321"/>
                </a:cxn>
                <a:cxn ang="0">
                  <a:pos x="262" y="313"/>
                </a:cxn>
              </a:cxnLst>
              <a:rect l="0" t="0" r="r" b="b"/>
              <a:pathLst>
                <a:path w="309" h="338">
                  <a:moveTo>
                    <a:pt x="262" y="313"/>
                  </a:moveTo>
                  <a:lnTo>
                    <a:pt x="266" y="263"/>
                  </a:lnTo>
                  <a:lnTo>
                    <a:pt x="270" y="253"/>
                  </a:lnTo>
                  <a:lnTo>
                    <a:pt x="292" y="248"/>
                  </a:lnTo>
                  <a:lnTo>
                    <a:pt x="290" y="233"/>
                  </a:lnTo>
                  <a:lnTo>
                    <a:pt x="273" y="206"/>
                  </a:lnTo>
                  <a:lnTo>
                    <a:pt x="272" y="169"/>
                  </a:lnTo>
                  <a:lnTo>
                    <a:pt x="275" y="158"/>
                  </a:lnTo>
                  <a:lnTo>
                    <a:pt x="277" y="167"/>
                  </a:lnTo>
                  <a:lnTo>
                    <a:pt x="275" y="158"/>
                  </a:lnTo>
                  <a:lnTo>
                    <a:pt x="273" y="145"/>
                  </a:lnTo>
                  <a:lnTo>
                    <a:pt x="272" y="139"/>
                  </a:lnTo>
                  <a:lnTo>
                    <a:pt x="283" y="118"/>
                  </a:lnTo>
                  <a:lnTo>
                    <a:pt x="287" y="87"/>
                  </a:lnTo>
                  <a:lnTo>
                    <a:pt x="296" y="72"/>
                  </a:lnTo>
                  <a:lnTo>
                    <a:pt x="309" y="55"/>
                  </a:lnTo>
                  <a:lnTo>
                    <a:pt x="300" y="45"/>
                  </a:lnTo>
                  <a:lnTo>
                    <a:pt x="302" y="28"/>
                  </a:lnTo>
                  <a:lnTo>
                    <a:pt x="285" y="12"/>
                  </a:lnTo>
                  <a:lnTo>
                    <a:pt x="258" y="14"/>
                  </a:lnTo>
                  <a:lnTo>
                    <a:pt x="247" y="0"/>
                  </a:lnTo>
                  <a:lnTo>
                    <a:pt x="170" y="6"/>
                  </a:lnTo>
                  <a:lnTo>
                    <a:pt x="163" y="15"/>
                  </a:lnTo>
                  <a:lnTo>
                    <a:pt x="133" y="14"/>
                  </a:lnTo>
                  <a:lnTo>
                    <a:pt x="124" y="0"/>
                  </a:lnTo>
                  <a:lnTo>
                    <a:pt x="116" y="0"/>
                  </a:lnTo>
                  <a:lnTo>
                    <a:pt x="101" y="27"/>
                  </a:lnTo>
                  <a:lnTo>
                    <a:pt x="92" y="58"/>
                  </a:lnTo>
                  <a:lnTo>
                    <a:pt x="86" y="109"/>
                  </a:lnTo>
                  <a:lnTo>
                    <a:pt x="64" y="133"/>
                  </a:lnTo>
                  <a:lnTo>
                    <a:pt x="56" y="167"/>
                  </a:lnTo>
                  <a:lnTo>
                    <a:pt x="36" y="184"/>
                  </a:lnTo>
                  <a:lnTo>
                    <a:pt x="30" y="176"/>
                  </a:lnTo>
                  <a:lnTo>
                    <a:pt x="19" y="184"/>
                  </a:lnTo>
                  <a:lnTo>
                    <a:pt x="9" y="182"/>
                  </a:lnTo>
                  <a:lnTo>
                    <a:pt x="2" y="188"/>
                  </a:lnTo>
                  <a:lnTo>
                    <a:pt x="0" y="203"/>
                  </a:lnTo>
                  <a:lnTo>
                    <a:pt x="2" y="212"/>
                  </a:lnTo>
                  <a:lnTo>
                    <a:pt x="19" y="203"/>
                  </a:lnTo>
                  <a:lnTo>
                    <a:pt x="58" y="201"/>
                  </a:lnTo>
                  <a:lnTo>
                    <a:pt x="67" y="208"/>
                  </a:lnTo>
                  <a:lnTo>
                    <a:pt x="73" y="231"/>
                  </a:lnTo>
                  <a:lnTo>
                    <a:pt x="90" y="246"/>
                  </a:lnTo>
                  <a:lnTo>
                    <a:pt x="110" y="242"/>
                  </a:lnTo>
                  <a:lnTo>
                    <a:pt x="116" y="225"/>
                  </a:lnTo>
                  <a:lnTo>
                    <a:pt x="137" y="221"/>
                  </a:lnTo>
                  <a:lnTo>
                    <a:pt x="137" y="227"/>
                  </a:lnTo>
                  <a:lnTo>
                    <a:pt x="150" y="231"/>
                  </a:lnTo>
                  <a:lnTo>
                    <a:pt x="152" y="235"/>
                  </a:lnTo>
                  <a:lnTo>
                    <a:pt x="152" y="272"/>
                  </a:lnTo>
                  <a:lnTo>
                    <a:pt x="159" y="289"/>
                  </a:lnTo>
                  <a:lnTo>
                    <a:pt x="154" y="298"/>
                  </a:lnTo>
                  <a:lnTo>
                    <a:pt x="157" y="304"/>
                  </a:lnTo>
                  <a:lnTo>
                    <a:pt x="189" y="295"/>
                  </a:lnTo>
                  <a:lnTo>
                    <a:pt x="221" y="313"/>
                  </a:lnTo>
                  <a:lnTo>
                    <a:pt x="236" y="311"/>
                  </a:lnTo>
                  <a:lnTo>
                    <a:pt x="262" y="334"/>
                  </a:lnTo>
                  <a:lnTo>
                    <a:pt x="275" y="338"/>
                  </a:lnTo>
                  <a:lnTo>
                    <a:pt x="279" y="319"/>
                  </a:lnTo>
                  <a:lnTo>
                    <a:pt x="268" y="321"/>
                  </a:lnTo>
                  <a:lnTo>
                    <a:pt x="262" y="3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03" name="Freeform 5673"/>
            <p:cNvSpPr>
              <a:spLocks/>
            </p:cNvSpPr>
            <p:nvPr>
              <p:custDataLst>
                <p:tags r:id="rId39"/>
              </p:custDataLst>
            </p:nvPr>
          </p:nvSpPr>
          <p:spPr bwMode="gray">
            <a:xfrm>
              <a:off x="4781740" y="3990597"/>
              <a:ext cx="90489" cy="99095"/>
            </a:xfrm>
            <a:custGeom>
              <a:avLst/>
              <a:gdLst/>
              <a:ahLst/>
              <a:cxnLst>
                <a:cxn ang="0">
                  <a:pos x="56" y="77"/>
                </a:cxn>
                <a:cxn ang="0">
                  <a:pos x="55" y="71"/>
                </a:cxn>
                <a:cxn ang="0">
                  <a:pos x="70" y="15"/>
                </a:cxn>
                <a:cxn ang="0">
                  <a:pos x="68" y="0"/>
                </a:cxn>
                <a:cxn ang="0">
                  <a:pos x="43" y="7"/>
                </a:cxn>
                <a:cxn ang="0">
                  <a:pos x="0" y="37"/>
                </a:cxn>
                <a:cxn ang="0">
                  <a:pos x="2" y="47"/>
                </a:cxn>
                <a:cxn ang="0">
                  <a:pos x="25" y="75"/>
                </a:cxn>
                <a:cxn ang="0">
                  <a:pos x="56" y="77"/>
                </a:cxn>
                <a:cxn ang="0">
                  <a:pos x="56" y="77"/>
                </a:cxn>
              </a:cxnLst>
              <a:rect l="0" t="0" r="r" b="b"/>
              <a:pathLst>
                <a:path w="70" h="77">
                  <a:moveTo>
                    <a:pt x="56" y="77"/>
                  </a:moveTo>
                  <a:lnTo>
                    <a:pt x="55" y="71"/>
                  </a:lnTo>
                  <a:lnTo>
                    <a:pt x="70" y="15"/>
                  </a:lnTo>
                  <a:lnTo>
                    <a:pt x="68" y="0"/>
                  </a:lnTo>
                  <a:lnTo>
                    <a:pt x="43" y="7"/>
                  </a:lnTo>
                  <a:lnTo>
                    <a:pt x="0" y="37"/>
                  </a:lnTo>
                  <a:lnTo>
                    <a:pt x="2" y="47"/>
                  </a:lnTo>
                  <a:lnTo>
                    <a:pt x="25" y="75"/>
                  </a:lnTo>
                  <a:lnTo>
                    <a:pt x="56" y="77"/>
                  </a:lnTo>
                  <a:lnTo>
                    <a:pt x="56" y="7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04" name="Freeform 5674"/>
            <p:cNvSpPr>
              <a:spLocks/>
            </p:cNvSpPr>
            <p:nvPr>
              <p:custDataLst>
                <p:tags r:id="rId40"/>
              </p:custDataLst>
            </p:nvPr>
          </p:nvSpPr>
          <p:spPr bwMode="gray">
            <a:xfrm>
              <a:off x="5064842" y="3877346"/>
              <a:ext cx="60757" cy="42469"/>
            </a:xfrm>
            <a:custGeom>
              <a:avLst/>
              <a:gdLst/>
              <a:ahLst/>
              <a:cxnLst>
                <a:cxn ang="0">
                  <a:pos x="47" y="2"/>
                </a:cxn>
                <a:cxn ang="0">
                  <a:pos x="25" y="0"/>
                </a:cxn>
                <a:cxn ang="0">
                  <a:pos x="19" y="3"/>
                </a:cxn>
                <a:cxn ang="0">
                  <a:pos x="27" y="3"/>
                </a:cxn>
                <a:cxn ang="0">
                  <a:pos x="34" y="24"/>
                </a:cxn>
                <a:cxn ang="0">
                  <a:pos x="19" y="28"/>
                </a:cxn>
                <a:cxn ang="0">
                  <a:pos x="6" y="24"/>
                </a:cxn>
                <a:cxn ang="0">
                  <a:pos x="0" y="28"/>
                </a:cxn>
                <a:cxn ang="0">
                  <a:pos x="10" y="33"/>
                </a:cxn>
                <a:cxn ang="0">
                  <a:pos x="42" y="33"/>
                </a:cxn>
                <a:cxn ang="0">
                  <a:pos x="47" y="2"/>
                </a:cxn>
                <a:cxn ang="0">
                  <a:pos x="47" y="2"/>
                </a:cxn>
              </a:cxnLst>
              <a:rect l="0" t="0" r="r" b="b"/>
              <a:pathLst>
                <a:path w="47" h="33">
                  <a:moveTo>
                    <a:pt x="47" y="2"/>
                  </a:moveTo>
                  <a:lnTo>
                    <a:pt x="25" y="0"/>
                  </a:lnTo>
                  <a:lnTo>
                    <a:pt x="19" y="3"/>
                  </a:lnTo>
                  <a:lnTo>
                    <a:pt x="27" y="3"/>
                  </a:lnTo>
                  <a:lnTo>
                    <a:pt x="34" y="24"/>
                  </a:lnTo>
                  <a:lnTo>
                    <a:pt x="19" y="28"/>
                  </a:lnTo>
                  <a:lnTo>
                    <a:pt x="6" y="24"/>
                  </a:lnTo>
                  <a:lnTo>
                    <a:pt x="0" y="28"/>
                  </a:lnTo>
                  <a:lnTo>
                    <a:pt x="10" y="33"/>
                  </a:lnTo>
                  <a:lnTo>
                    <a:pt x="42" y="33"/>
                  </a:lnTo>
                  <a:lnTo>
                    <a:pt x="47" y="2"/>
                  </a:lnTo>
                  <a:lnTo>
                    <a:pt x="47"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05" name="Freeform 5675"/>
            <p:cNvSpPr>
              <a:spLocks/>
            </p:cNvSpPr>
            <p:nvPr>
              <p:custDataLst>
                <p:tags r:id="rId41"/>
              </p:custDataLst>
            </p:nvPr>
          </p:nvSpPr>
          <p:spPr bwMode="gray">
            <a:xfrm>
              <a:off x="5311748" y="2627721"/>
              <a:ext cx="43952" cy="16730"/>
            </a:xfrm>
            <a:custGeom>
              <a:avLst/>
              <a:gdLst/>
              <a:ahLst/>
              <a:cxnLst>
                <a:cxn ang="0">
                  <a:pos x="0" y="8"/>
                </a:cxn>
                <a:cxn ang="0">
                  <a:pos x="27" y="13"/>
                </a:cxn>
                <a:cxn ang="0">
                  <a:pos x="34" y="6"/>
                </a:cxn>
                <a:cxn ang="0">
                  <a:pos x="32" y="0"/>
                </a:cxn>
                <a:cxn ang="0">
                  <a:pos x="21" y="0"/>
                </a:cxn>
                <a:cxn ang="0">
                  <a:pos x="0" y="8"/>
                </a:cxn>
                <a:cxn ang="0">
                  <a:pos x="0" y="8"/>
                </a:cxn>
              </a:cxnLst>
              <a:rect l="0" t="0" r="r" b="b"/>
              <a:pathLst>
                <a:path w="34" h="13">
                  <a:moveTo>
                    <a:pt x="0" y="8"/>
                  </a:moveTo>
                  <a:lnTo>
                    <a:pt x="27" y="13"/>
                  </a:lnTo>
                  <a:lnTo>
                    <a:pt x="34" y="6"/>
                  </a:lnTo>
                  <a:lnTo>
                    <a:pt x="32" y="0"/>
                  </a:lnTo>
                  <a:lnTo>
                    <a:pt x="21" y="0"/>
                  </a:lnTo>
                  <a:lnTo>
                    <a:pt x="0" y="8"/>
                  </a:lnTo>
                  <a:lnTo>
                    <a:pt x="0" y="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06" name="Freeform 5677"/>
            <p:cNvSpPr>
              <a:spLocks/>
            </p:cNvSpPr>
            <p:nvPr>
              <p:custDataLst>
                <p:tags r:id="rId42"/>
              </p:custDataLst>
            </p:nvPr>
          </p:nvSpPr>
          <p:spPr bwMode="gray">
            <a:xfrm>
              <a:off x="6289962" y="4044790"/>
              <a:ext cx="151405" cy="129740"/>
            </a:xfrm>
            <a:custGeom>
              <a:avLst/>
              <a:gdLst/>
              <a:ahLst/>
              <a:cxnLst>
                <a:cxn ang="0">
                  <a:pos x="105" y="95"/>
                </a:cxn>
                <a:cxn ang="0">
                  <a:pos x="111" y="92"/>
                </a:cxn>
                <a:cxn ang="0">
                  <a:pos x="109" y="82"/>
                </a:cxn>
                <a:cxn ang="0">
                  <a:pos x="118" y="77"/>
                </a:cxn>
                <a:cxn ang="0">
                  <a:pos x="111" y="58"/>
                </a:cxn>
                <a:cxn ang="0">
                  <a:pos x="114" y="47"/>
                </a:cxn>
                <a:cxn ang="0">
                  <a:pos x="96" y="4"/>
                </a:cxn>
                <a:cxn ang="0">
                  <a:pos x="69" y="13"/>
                </a:cxn>
                <a:cxn ang="0">
                  <a:pos x="60" y="6"/>
                </a:cxn>
                <a:cxn ang="0">
                  <a:pos x="23" y="0"/>
                </a:cxn>
                <a:cxn ang="0">
                  <a:pos x="21" y="19"/>
                </a:cxn>
                <a:cxn ang="0">
                  <a:pos x="6" y="24"/>
                </a:cxn>
                <a:cxn ang="0">
                  <a:pos x="0" y="34"/>
                </a:cxn>
                <a:cxn ang="0">
                  <a:pos x="0" y="34"/>
                </a:cxn>
                <a:cxn ang="0">
                  <a:pos x="28" y="65"/>
                </a:cxn>
                <a:cxn ang="0">
                  <a:pos x="28" y="65"/>
                </a:cxn>
                <a:cxn ang="0">
                  <a:pos x="43" y="50"/>
                </a:cxn>
                <a:cxn ang="0">
                  <a:pos x="58" y="50"/>
                </a:cxn>
                <a:cxn ang="0">
                  <a:pos x="73" y="71"/>
                </a:cxn>
                <a:cxn ang="0">
                  <a:pos x="71" y="80"/>
                </a:cxn>
                <a:cxn ang="0">
                  <a:pos x="75" y="80"/>
                </a:cxn>
                <a:cxn ang="0">
                  <a:pos x="86" y="79"/>
                </a:cxn>
                <a:cxn ang="0">
                  <a:pos x="96" y="101"/>
                </a:cxn>
                <a:cxn ang="0">
                  <a:pos x="105" y="95"/>
                </a:cxn>
                <a:cxn ang="0">
                  <a:pos x="105" y="95"/>
                </a:cxn>
              </a:cxnLst>
              <a:rect l="0" t="0" r="r" b="b"/>
              <a:pathLst>
                <a:path w="118" h="101">
                  <a:moveTo>
                    <a:pt x="105" y="95"/>
                  </a:moveTo>
                  <a:lnTo>
                    <a:pt x="111" y="92"/>
                  </a:lnTo>
                  <a:lnTo>
                    <a:pt x="109" y="82"/>
                  </a:lnTo>
                  <a:lnTo>
                    <a:pt x="118" y="77"/>
                  </a:lnTo>
                  <a:lnTo>
                    <a:pt x="111" y="58"/>
                  </a:lnTo>
                  <a:lnTo>
                    <a:pt x="114" y="47"/>
                  </a:lnTo>
                  <a:lnTo>
                    <a:pt x="96" y="4"/>
                  </a:lnTo>
                  <a:lnTo>
                    <a:pt x="69" y="13"/>
                  </a:lnTo>
                  <a:lnTo>
                    <a:pt x="60" y="6"/>
                  </a:lnTo>
                  <a:lnTo>
                    <a:pt x="23" y="0"/>
                  </a:lnTo>
                  <a:lnTo>
                    <a:pt x="21" y="19"/>
                  </a:lnTo>
                  <a:lnTo>
                    <a:pt x="6" y="24"/>
                  </a:lnTo>
                  <a:lnTo>
                    <a:pt x="0" y="34"/>
                  </a:lnTo>
                  <a:lnTo>
                    <a:pt x="0" y="34"/>
                  </a:lnTo>
                  <a:lnTo>
                    <a:pt x="28" y="65"/>
                  </a:lnTo>
                  <a:lnTo>
                    <a:pt x="28" y="65"/>
                  </a:lnTo>
                  <a:lnTo>
                    <a:pt x="43" y="50"/>
                  </a:lnTo>
                  <a:lnTo>
                    <a:pt x="58" y="50"/>
                  </a:lnTo>
                  <a:lnTo>
                    <a:pt x="73" y="71"/>
                  </a:lnTo>
                  <a:lnTo>
                    <a:pt x="71" y="80"/>
                  </a:lnTo>
                  <a:lnTo>
                    <a:pt x="75" y="80"/>
                  </a:lnTo>
                  <a:lnTo>
                    <a:pt x="86" y="79"/>
                  </a:lnTo>
                  <a:lnTo>
                    <a:pt x="96" y="101"/>
                  </a:lnTo>
                  <a:lnTo>
                    <a:pt x="105" y="95"/>
                  </a:lnTo>
                  <a:lnTo>
                    <a:pt x="105" y="9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07" name="Freeform 5678"/>
            <p:cNvSpPr>
              <a:spLocks/>
            </p:cNvSpPr>
            <p:nvPr>
              <p:custDataLst>
                <p:tags r:id="rId43"/>
              </p:custDataLst>
            </p:nvPr>
          </p:nvSpPr>
          <p:spPr bwMode="gray">
            <a:xfrm>
              <a:off x="6789563" y="3573259"/>
              <a:ext cx="323339" cy="324994"/>
            </a:xfrm>
            <a:custGeom>
              <a:avLst/>
              <a:gdLst/>
              <a:ahLst/>
              <a:cxnLst>
                <a:cxn ang="0">
                  <a:pos x="252" y="205"/>
                </a:cxn>
                <a:cxn ang="0">
                  <a:pos x="249" y="83"/>
                </a:cxn>
                <a:cxn ang="0">
                  <a:pos x="243" y="62"/>
                </a:cxn>
                <a:cxn ang="0">
                  <a:pos x="247" y="27"/>
                </a:cxn>
                <a:cxn ang="0">
                  <a:pos x="219" y="19"/>
                </a:cxn>
                <a:cxn ang="0">
                  <a:pos x="217" y="12"/>
                </a:cxn>
                <a:cxn ang="0">
                  <a:pos x="196" y="6"/>
                </a:cxn>
                <a:cxn ang="0">
                  <a:pos x="170" y="19"/>
                </a:cxn>
                <a:cxn ang="0">
                  <a:pos x="168" y="47"/>
                </a:cxn>
                <a:cxn ang="0">
                  <a:pos x="157" y="55"/>
                </a:cxn>
                <a:cxn ang="0">
                  <a:pos x="149" y="53"/>
                </a:cxn>
                <a:cxn ang="0">
                  <a:pos x="131" y="40"/>
                </a:cxn>
                <a:cxn ang="0">
                  <a:pos x="101" y="32"/>
                </a:cxn>
                <a:cxn ang="0">
                  <a:pos x="97" y="19"/>
                </a:cxn>
                <a:cxn ang="0">
                  <a:pos x="78" y="10"/>
                </a:cxn>
                <a:cxn ang="0">
                  <a:pos x="46" y="6"/>
                </a:cxn>
                <a:cxn ang="0">
                  <a:pos x="29" y="0"/>
                </a:cxn>
                <a:cxn ang="0">
                  <a:pos x="29" y="0"/>
                </a:cxn>
                <a:cxn ang="0">
                  <a:pos x="31" y="15"/>
                </a:cxn>
                <a:cxn ang="0">
                  <a:pos x="15" y="32"/>
                </a:cxn>
                <a:cxn ang="0">
                  <a:pos x="15" y="49"/>
                </a:cxn>
                <a:cxn ang="0">
                  <a:pos x="3" y="53"/>
                </a:cxn>
                <a:cxn ang="0">
                  <a:pos x="0" y="60"/>
                </a:cxn>
                <a:cxn ang="0">
                  <a:pos x="7" y="72"/>
                </a:cxn>
                <a:cxn ang="0">
                  <a:pos x="9" y="100"/>
                </a:cxn>
                <a:cxn ang="0">
                  <a:pos x="7" y="120"/>
                </a:cxn>
                <a:cxn ang="0">
                  <a:pos x="1" y="130"/>
                </a:cxn>
                <a:cxn ang="0">
                  <a:pos x="16" y="160"/>
                </a:cxn>
                <a:cxn ang="0">
                  <a:pos x="29" y="160"/>
                </a:cxn>
                <a:cxn ang="0">
                  <a:pos x="43" y="178"/>
                </a:cxn>
                <a:cxn ang="0">
                  <a:pos x="76" y="180"/>
                </a:cxn>
                <a:cxn ang="0">
                  <a:pos x="93" y="188"/>
                </a:cxn>
                <a:cxn ang="0">
                  <a:pos x="116" y="184"/>
                </a:cxn>
                <a:cxn ang="0">
                  <a:pos x="237" y="253"/>
                </a:cxn>
                <a:cxn ang="0">
                  <a:pos x="239" y="242"/>
                </a:cxn>
                <a:cxn ang="0">
                  <a:pos x="252" y="240"/>
                </a:cxn>
                <a:cxn ang="0">
                  <a:pos x="252" y="205"/>
                </a:cxn>
                <a:cxn ang="0">
                  <a:pos x="252" y="205"/>
                </a:cxn>
              </a:cxnLst>
              <a:rect l="0" t="0" r="r" b="b"/>
              <a:pathLst>
                <a:path w="252" h="253">
                  <a:moveTo>
                    <a:pt x="252" y="205"/>
                  </a:moveTo>
                  <a:lnTo>
                    <a:pt x="249" y="83"/>
                  </a:lnTo>
                  <a:lnTo>
                    <a:pt x="243" y="62"/>
                  </a:lnTo>
                  <a:lnTo>
                    <a:pt x="247" y="27"/>
                  </a:lnTo>
                  <a:lnTo>
                    <a:pt x="219" y="19"/>
                  </a:lnTo>
                  <a:lnTo>
                    <a:pt x="217" y="12"/>
                  </a:lnTo>
                  <a:lnTo>
                    <a:pt x="196" y="6"/>
                  </a:lnTo>
                  <a:lnTo>
                    <a:pt x="170" y="19"/>
                  </a:lnTo>
                  <a:lnTo>
                    <a:pt x="168" y="47"/>
                  </a:lnTo>
                  <a:lnTo>
                    <a:pt x="157" y="55"/>
                  </a:lnTo>
                  <a:lnTo>
                    <a:pt x="149" y="53"/>
                  </a:lnTo>
                  <a:lnTo>
                    <a:pt x="131" y="40"/>
                  </a:lnTo>
                  <a:lnTo>
                    <a:pt x="101" y="32"/>
                  </a:lnTo>
                  <a:lnTo>
                    <a:pt x="97" y="19"/>
                  </a:lnTo>
                  <a:lnTo>
                    <a:pt x="78" y="10"/>
                  </a:lnTo>
                  <a:lnTo>
                    <a:pt x="46" y="6"/>
                  </a:lnTo>
                  <a:lnTo>
                    <a:pt x="29" y="0"/>
                  </a:lnTo>
                  <a:lnTo>
                    <a:pt x="29" y="0"/>
                  </a:lnTo>
                  <a:lnTo>
                    <a:pt x="31" y="15"/>
                  </a:lnTo>
                  <a:lnTo>
                    <a:pt x="15" y="32"/>
                  </a:lnTo>
                  <a:lnTo>
                    <a:pt x="15" y="49"/>
                  </a:lnTo>
                  <a:lnTo>
                    <a:pt x="3" y="53"/>
                  </a:lnTo>
                  <a:lnTo>
                    <a:pt x="0" y="60"/>
                  </a:lnTo>
                  <a:lnTo>
                    <a:pt x="7" y="72"/>
                  </a:lnTo>
                  <a:lnTo>
                    <a:pt x="9" y="100"/>
                  </a:lnTo>
                  <a:lnTo>
                    <a:pt x="7" y="120"/>
                  </a:lnTo>
                  <a:lnTo>
                    <a:pt x="1" y="130"/>
                  </a:lnTo>
                  <a:lnTo>
                    <a:pt x="16" y="160"/>
                  </a:lnTo>
                  <a:lnTo>
                    <a:pt x="29" y="160"/>
                  </a:lnTo>
                  <a:lnTo>
                    <a:pt x="43" y="178"/>
                  </a:lnTo>
                  <a:lnTo>
                    <a:pt x="76" y="180"/>
                  </a:lnTo>
                  <a:lnTo>
                    <a:pt x="93" y="188"/>
                  </a:lnTo>
                  <a:lnTo>
                    <a:pt x="116" y="184"/>
                  </a:lnTo>
                  <a:lnTo>
                    <a:pt x="237" y="253"/>
                  </a:lnTo>
                  <a:lnTo>
                    <a:pt x="239" y="242"/>
                  </a:lnTo>
                  <a:lnTo>
                    <a:pt x="252" y="240"/>
                  </a:lnTo>
                  <a:lnTo>
                    <a:pt x="252" y="205"/>
                  </a:lnTo>
                  <a:lnTo>
                    <a:pt x="252" y="20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08" name="Freeform 5679"/>
            <p:cNvSpPr>
              <a:spLocks/>
            </p:cNvSpPr>
            <p:nvPr>
              <p:custDataLst>
                <p:tags r:id="rId44"/>
              </p:custDataLst>
            </p:nvPr>
          </p:nvSpPr>
          <p:spPr bwMode="gray">
            <a:xfrm>
              <a:off x="6432863" y="3484625"/>
              <a:ext cx="411873" cy="423905"/>
            </a:xfrm>
            <a:custGeom>
              <a:avLst/>
              <a:gdLst/>
              <a:ahLst/>
              <a:cxnLst>
                <a:cxn ang="0">
                  <a:pos x="264" y="2"/>
                </a:cxn>
                <a:cxn ang="0">
                  <a:pos x="234" y="0"/>
                </a:cxn>
                <a:cxn ang="0">
                  <a:pos x="221" y="6"/>
                </a:cxn>
                <a:cxn ang="0">
                  <a:pos x="199" y="0"/>
                </a:cxn>
                <a:cxn ang="0">
                  <a:pos x="154" y="8"/>
                </a:cxn>
                <a:cxn ang="0">
                  <a:pos x="107" y="32"/>
                </a:cxn>
                <a:cxn ang="0">
                  <a:pos x="113" y="39"/>
                </a:cxn>
                <a:cxn ang="0">
                  <a:pos x="118" y="84"/>
                </a:cxn>
                <a:cxn ang="0">
                  <a:pos x="79" y="96"/>
                </a:cxn>
                <a:cxn ang="0">
                  <a:pos x="79" y="107"/>
                </a:cxn>
                <a:cxn ang="0">
                  <a:pos x="51" y="127"/>
                </a:cxn>
                <a:cxn ang="0">
                  <a:pos x="10" y="142"/>
                </a:cxn>
                <a:cxn ang="0">
                  <a:pos x="2" y="148"/>
                </a:cxn>
                <a:cxn ang="0">
                  <a:pos x="0" y="170"/>
                </a:cxn>
                <a:cxn ang="0">
                  <a:pos x="0" y="178"/>
                </a:cxn>
                <a:cxn ang="0">
                  <a:pos x="0" y="178"/>
                </a:cxn>
                <a:cxn ang="0">
                  <a:pos x="56" y="219"/>
                </a:cxn>
                <a:cxn ang="0">
                  <a:pos x="148" y="289"/>
                </a:cxn>
                <a:cxn ang="0">
                  <a:pos x="160" y="304"/>
                </a:cxn>
                <a:cxn ang="0">
                  <a:pos x="180" y="313"/>
                </a:cxn>
                <a:cxn ang="0">
                  <a:pos x="182" y="330"/>
                </a:cxn>
                <a:cxn ang="0">
                  <a:pos x="197" y="328"/>
                </a:cxn>
                <a:cxn ang="0">
                  <a:pos x="221" y="322"/>
                </a:cxn>
                <a:cxn ang="0">
                  <a:pos x="321" y="247"/>
                </a:cxn>
                <a:cxn ang="0">
                  <a:pos x="307" y="229"/>
                </a:cxn>
                <a:cxn ang="0">
                  <a:pos x="294" y="229"/>
                </a:cxn>
                <a:cxn ang="0">
                  <a:pos x="279" y="199"/>
                </a:cxn>
                <a:cxn ang="0">
                  <a:pos x="285" y="189"/>
                </a:cxn>
                <a:cxn ang="0">
                  <a:pos x="287" y="169"/>
                </a:cxn>
                <a:cxn ang="0">
                  <a:pos x="285" y="141"/>
                </a:cxn>
                <a:cxn ang="0">
                  <a:pos x="278" y="129"/>
                </a:cxn>
                <a:cxn ang="0">
                  <a:pos x="281" y="122"/>
                </a:cxn>
                <a:cxn ang="0">
                  <a:pos x="278" y="94"/>
                </a:cxn>
                <a:cxn ang="0">
                  <a:pos x="263" y="82"/>
                </a:cxn>
                <a:cxn ang="0">
                  <a:pos x="253" y="60"/>
                </a:cxn>
                <a:cxn ang="0">
                  <a:pos x="266" y="39"/>
                </a:cxn>
                <a:cxn ang="0">
                  <a:pos x="266" y="8"/>
                </a:cxn>
                <a:cxn ang="0">
                  <a:pos x="274" y="0"/>
                </a:cxn>
                <a:cxn ang="0">
                  <a:pos x="264" y="2"/>
                </a:cxn>
                <a:cxn ang="0">
                  <a:pos x="264" y="2"/>
                </a:cxn>
              </a:cxnLst>
              <a:rect l="0" t="0" r="r" b="b"/>
              <a:pathLst>
                <a:path w="321" h="330">
                  <a:moveTo>
                    <a:pt x="264" y="2"/>
                  </a:moveTo>
                  <a:lnTo>
                    <a:pt x="234" y="0"/>
                  </a:lnTo>
                  <a:lnTo>
                    <a:pt x="221" y="6"/>
                  </a:lnTo>
                  <a:lnTo>
                    <a:pt x="199" y="0"/>
                  </a:lnTo>
                  <a:lnTo>
                    <a:pt x="154" y="8"/>
                  </a:lnTo>
                  <a:lnTo>
                    <a:pt x="107" y="32"/>
                  </a:lnTo>
                  <a:lnTo>
                    <a:pt x="113" y="39"/>
                  </a:lnTo>
                  <a:lnTo>
                    <a:pt x="118" y="84"/>
                  </a:lnTo>
                  <a:lnTo>
                    <a:pt x="79" y="96"/>
                  </a:lnTo>
                  <a:lnTo>
                    <a:pt x="79" y="107"/>
                  </a:lnTo>
                  <a:lnTo>
                    <a:pt x="51" y="127"/>
                  </a:lnTo>
                  <a:lnTo>
                    <a:pt x="10" y="142"/>
                  </a:lnTo>
                  <a:lnTo>
                    <a:pt x="2" y="148"/>
                  </a:lnTo>
                  <a:lnTo>
                    <a:pt x="0" y="170"/>
                  </a:lnTo>
                  <a:lnTo>
                    <a:pt x="0" y="178"/>
                  </a:lnTo>
                  <a:lnTo>
                    <a:pt x="0" y="178"/>
                  </a:lnTo>
                  <a:lnTo>
                    <a:pt x="56" y="219"/>
                  </a:lnTo>
                  <a:lnTo>
                    <a:pt x="148" y="289"/>
                  </a:lnTo>
                  <a:lnTo>
                    <a:pt x="160" y="304"/>
                  </a:lnTo>
                  <a:lnTo>
                    <a:pt x="180" y="313"/>
                  </a:lnTo>
                  <a:lnTo>
                    <a:pt x="182" y="330"/>
                  </a:lnTo>
                  <a:lnTo>
                    <a:pt x="197" y="328"/>
                  </a:lnTo>
                  <a:lnTo>
                    <a:pt x="221" y="322"/>
                  </a:lnTo>
                  <a:lnTo>
                    <a:pt x="321" y="247"/>
                  </a:lnTo>
                  <a:lnTo>
                    <a:pt x="307" y="229"/>
                  </a:lnTo>
                  <a:lnTo>
                    <a:pt x="294" y="229"/>
                  </a:lnTo>
                  <a:lnTo>
                    <a:pt x="279" y="199"/>
                  </a:lnTo>
                  <a:lnTo>
                    <a:pt x="285" y="189"/>
                  </a:lnTo>
                  <a:lnTo>
                    <a:pt x="287" y="169"/>
                  </a:lnTo>
                  <a:lnTo>
                    <a:pt x="285" y="141"/>
                  </a:lnTo>
                  <a:lnTo>
                    <a:pt x="278" y="129"/>
                  </a:lnTo>
                  <a:lnTo>
                    <a:pt x="281" y="122"/>
                  </a:lnTo>
                  <a:lnTo>
                    <a:pt x="278" y="94"/>
                  </a:lnTo>
                  <a:lnTo>
                    <a:pt x="263" y="82"/>
                  </a:lnTo>
                  <a:lnTo>
                    <a:pt x="253" y="60"/>
                  </a:lnTo>
                  <a:lnTo>
                    <a:pt x="266" y="39"/>
                  </a:lnTo>
                  <a:lnTo>
                    <a:pt x="266" y="8"/>
                  </a:lnTo>
                  <a:lnTo>
                    <a:pt x="274" y="0"/>
                  </a:lnTo>
                  <a:lnTo>
                    <a:pt x="264" y="2"/>
                  </a:lnTo>
                  <a:lnTo>
                    <a:pt x="264"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09" name="Freeform 5680"/>
            <p:cNvSpPr>
              <a:spLocks/>
            </p:cNvSpPr>
            <p:nvPr>
              <p:custDataLst>
                <p:tags r:id="rId45"/>
              </p:custDataLst>
            </p:nvPr>
          </p:nvSpPr>
          <p:spPr bwMode="gray">
            <a:xfrm>
              <a:off x="7682595" y="3773651"/>
              <a:ext cx="142423" cy="192684"/>
            </a:xfrm>
            <a:custGeom>
              <a:avLst/>
              <a:gdLst/>
              <a:ahLst/>
              <a:cxnLst>
                <a:cxn ang="0">
                  <a:pos x="23" y="144"/>
                </a:cxn>
                <a:cxn ang="0">
                  <a:pos x="38" y="144"/>
                </a:cxn>
                <a:cxn ang="0">
                  <a:pos x="45" y="131"/>
                </a:cxn>
                <a:cxn ang="0">
                  <a:pos x="60" y="125"/>
                </a:cxn>
                <a:cxn ang="0">
                  <a:pos x="72" y="110"/>
                </a:cxn>
                <a:cxn ang="0">
                  <a:pos x="85" y="105"/>
                </a:cxn>
                <a:cxn ang="0">
                  <a:pos x="83" y="88"/>
                </a:cxn>
                <a:cxn ang="0">
                  <a:pos x="105" y="62"/>
                </a:cxn>
                <a:cxn ang="0">
                  <a:pos x="111" y="43"/>
                </a:cxn>
                <a:cxn ang="0">
                  <a:pos x="94" y="22"/>
                </a:cxn>
                <a:cxn ang="0">
                  <a:pos x="68" y="15"/>
                </a:cxn>
                <a:cxn ang="0">
                  <a:pos x="55" y="0"/>
                </a:cxn>
                <a:cxn ang="0">
                  <a:pos x="43" y="13"/>
                </a:cxn>
                <a:cxn ang="0">
                  <a:pos x="43" y="22"/>
                </a:cxn>
                <a:cxn ang="0">
                  <a:pos x="40" y="24"/>
                </a:cxn>
                <a:cxn ang="0">
                  <a:pos x="40" y="24"/>
                </a:cxn>
                <a:cxn ang="0">
                  <a:pos x="45" y="28"/>
                </a:cxn>
                <a:cxn ang="0">
                  <a:pos x="51" y="41"/>
                </a:cxn>
                <a:cxn ang="0">
                  <a:pos x="55" y="62"/>
                </a:cxn>
                <a:cxn ang="0">
                  <a:pos x="38" y="93"/>
                </a:cxn>
                <a:cxn ang="0">
                  <a:pos x="0" y="131"/>
                </a:cxn>
                <a:cxn ang="0">
                  <a:pos x="10" y="150"/>
                </a:cxn>
                <a:cxn ang="0">
                  <a:pos x="23" y="144"/>
                </a:cxn>
                <a:cxn ang="0">
                  <a:pos x="23" y="144"/>
                </a:cxn>
              </a:cxnLst>
              <a:rect l="0" t="0" r="r" b="b"/>
              <a:pathLst>
                <a:path w="111" h="150">
                  <a:moveTo>
                    <a:pt x="23" y="144"/>
                  </a:moveTo>
                  <a:lnTo>
                    <a:pt x="38" y="144"/>
                  </a:lnTo>
                  <a:lnTo>
                    <a:pt x="45" y="131"/>
                  </a:lnTo>
                  <a:lnTo>
                    <a:pt x="60" y="125"/>
                  </a:lnTo>
                  <a:lnTo>
                    <a:pt x="72" y="110"/>
                  </a:lnTo>
                  <a:lnTo>
                    <a:pt x="85" y="105"/>
                  </a:lnTo>
                  <a:lnTo>
                    <a:pt x="83" y="88"/>
                  </a:lnTo>
                  <a:lnTo>
                    <a:pt x="105" y="62"/>
                  </a:lnTo>
                  <a:lnTo>
                    <a:pt x="111" y="43"/>
                  </a:lnTo>
                  <a:lnTo>
                    <a:pt x="94" y="22"/>
                  </a:lnTo>
                  <a:lnTo>
                    <a:pt x="68" y="15"/>
                  </a:lnTo>
                  <a:lnTo>
                    <a:pt x="55" y="0"/>
                  </a:lnTo>
                  <a:lnTo>
                    <a:pt x="43" y="13"/>
                  </a:lnTo>
                  <a:lnTo>
                    <a:pt x="43" y="22"/>
                  </a:lnTo>
                  <a:lnTo>
                    <a:pt x="40" y="24"/>
                  </a:lnTo>
                  <a:lnTo>
                    <a:pt x="40" y="24"/>
                  </a:lnTo>
                  <a:lnTo>
                    <a:pt x="45" y="28"/>
                  </a:lnTo>
                  <a:lnTo>
                    <a:pt x="51" y="41"/>
                  </a:lnTo>
                  <a:lnTo>
                    <a:pt x="55" y="62"/>
                  </a:lnTo>
                  <a:lnTo>
                    <a:pt x="38" y="93"/>
                  </a:lnTo>
                  <a:lnTo>
                    <a:pt x="0" y="131"/>
                  </a:lnTo>
                  <a:lnTo>
                    <a:pt x="10" y="150"/>
                  </a:lnTo>
                  <a:lnTo>
                    <a:pt x="23" y="144"/>
                  </a:lnTo>
                  <a:lnTo>
                    <a:pt x="23" y="14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10" name="Freeform 5681"/>
            <p:cNvSpPr>
              <a:spLocks/>
            </p:cNvSpPr>
            <p:nvPr>
              <p:custDataLst>
                <p:tags r:id="rId46"/>
              </p:custDataLst>
            </p:nvPr>
          </p:nvSpPr>
          <p:spPr bwMode="gray">
            <a:xfrm>
              <a:off x="7302800" y="3597666"/>
              <a:ext cx="450366" cy="409774"/>
            </a:xfrm>
            <a:custGeom>
              <a:avLst/>
              <a:gdLst/>
              <a:ahLst/>
              <a:cxnLst>
                <a:cxn ang="0">
                  <a:pos x="85" y="29"/>
                </a:cxn>
                <a:cxn ang="0">
                  <a:pos x="91" y="33"/>
                </a:cxn>
                <a:cxn ang="0">
                  <a:pos x="100" y="30"/>
                </a:cxn>
                <a:cxn ang="0">
                  <a:pos x="100" y="30"/>
                </a:cxn>
                <a:cxn ang="0">
                  <a:pos x="115" y="35"/>
                </a:cxn>
                <a:cxn ang="0">
                  <a:pos x="115" y="36"/>
                </a:cxn>
                <a:cxn ang="0">
                  <a:pos x="131" y="54"/>
                </a:cxn>
                <a:cxn ang="0">
                  <a:pos x="138" y="69"/>
                </a:cxn>
                <a:cxn ang="0">
                  <a:pos x="143" y="78"/>
                </a:cxn>
                <a:cxn ang="0">
                  <a:pos x="139" y="83"/>
                </a:cxn>
                <a:cxn ang="0">
                  <a:pos x="139" y="87"/>
                </a:cxn>
                <a:cxn ang="0">
                  <a:pos x="145" y="89"/>
                </a:cxn>
                <a:cxn ang="0">
                  <a:pos x="154" y="89"/>
                </a:cxn>
                <a:cxn ang="0">
                  <a:pos x="164" y="89"/>
                </a:cxn>
                <a:cxn ang="0">
                  <a:pos x="169" y="87"/>
                </a:cxn>
                <a:cxn ang="0">
                  <a:pos x="173" y="85"/>
                </a:cxn>
                <a:cxn ang="0">
                  <a:pos x="179" y="86"/>
                </a:cxn>
                <a:cxn ang="0">
                  <a:pos x="182" y="88"/>
                </a:cxn>
                <a:cxn ang="0">
                  <a:pos x="185" y="95"/>
                </a:cxn>
                <a:cxn ang="0">
                  <a:pos x="187" y="106"/>
                </a:cxn>
                <a:cxn ang="0">
                  <a:pos x="178" y="123"/>
                </a:cxn>
                <a:cxn ang="0">
                  <a:pos x="158" y="143"/>
                </a:cxn>
                <a:cxn ang="0">
                  <a:pos x="130" y="148"/>
                </a:cxn>
                <a:cxn ang="0">
                  <a:pos x="100" y="170"/>
                </a:cxn>
                <a:cxn ang="0">
                  <a:pos x="82" y="149"/>
                </a:cxn>
                <a:cxn ang="0">
                  <a:pos x="74" y="155"/>
                </a:cxn>
                <a:cxn ang="0">
                  <a:pos x="73" y="156"/>
                </a:cxn>
                <a:cxn ang="0">
                  <a:pos x="71" y="149"/>
                </a:cxn>
                <a:cxn ang="0">
                  <a:pos x="56" y="123"/>
                </a:cxn>
                <a:cxn ang="0">
                  <a:pos x="47" y="118"/>
                </a:cxn>
                <a:cxn ang="0">
                  <a:pos x="42" y="111"/>
                </a:cxn>
                <a:cxn ang="0">
                  <a:pos x="40" y="93"/>
                </a:cxn>
                <a:cxn ang="0">
                  <a:pos x="34" y="83"/>
                </a:cxn>
                <a:cxn ang="0">
                  <a:pos x="26" y="77"/>
                </a:cxn>
                <a:cxn ang="0">
                  <a:pos x="5" y="41"/>
                </a:cxn>
                <a:cxn ang="0">
                  <a:pos x="0" y="41"/>
                </a:cxn>
                <a:cxn ang="0">
                  <a:pos x="2" y="28"/>
                </a:cxn>
                <a:cxn ang="0">
                  <a:pos x="2" y="28"/>
                </a:cxn>
                <a:cxn ang="0">
                  <a:pos x="11" y="29"/>
                </a:cxn>
                <a:cxn ang="0">
                  <a:pos x="16" y="22"/>
                </a:cxn>
                <a:cxn ang="0">
                  <a:pos x="21" y="22"/>
                </a:cxn>
                <a:cxn ang="0">
                  <a:pos x="26" y="16"/>
                </a:cxn>
                <a:cxn ang="0">
                  <a:pos x="18" y="7"/>
                </a:cxn>
                <a:cxn ang="0">
                  <a:pos x="35" y="0"/>
                </a:cxn>
                <a:cxn ang="0">
                  <a:pos x="48" y="3"/>
                </a:cxn>
                <a:cxn ang="0">
                  <a:pos x="67" y="14"/>
                </a:cxn>
                <a:cxn ang="0">
                  <a:pos x="73" y="18"/>
                </a:cxn>
                <a:cxn ang="0">
                  <a:pos x="74" y="24"/>
                </a:cxn>
                <a:cxn ang="0">
                  <a:pos x="85" y="29"/>
                </a:cxn>
              </a:cxnLst>
              <a:rect l="0" t="0" r="r" b="b"/>
              <a:pathLst>
                <a:path w="187" h="170">
                  <a:moveTo>
                    <a:pt x="85" y="29"/>
                  </a:moveTo>
                  <a:cubicBezTo>
                    <a:pt x="91" y="33"/>
                    <a:pt x="91" y="33"/>
                    <a:pt x="91" y="33"/>
                  </a:cubicBezTo>
                  <a:cubicBezTo>
                    <a:pt x="100" y="30"/>
                    <a:pt x="100" y="30"/>
                    <a:pt x="100" y="30"/>
                  </a:cubicBezTo>
                  <a:cubicBezTo>
                    <a:pt x="100" y="30"/>
                    <a:pt x="100" y="30"/>
                    <a:pt x="100" y="30"/>
                  </a:cubicBezTo>
                  <a:cubicBezTo>
                    <a:pt x="115" y="35"/>
                    <a:pt x="115" y="35"/>
                    <a:pt x="115" y="35"/>
                  </a:cubicBezTo>
                  <a:cubicBezTo>
                    <a:pt x="115" y="36"/>
                    <a:pt x="115" y="36"/>
                    <a:pt x="115" y="36"/>
                  </a:cubicBezTo>
                  <a:cubicBezTo>
                    <a:pt x="131" y="54"/>
                    <a:pt x="131" y="54"/>
                    <a:pt x="131" y="54"/>
                  </a:cubicBezTo>
                  <a:cubicBezTo>
                    <a:pt x="138" y="69"/>
                    <a:pt x="138" y="69"/>
                    <a:pt x="138" y="69"/>
                  </a:cubicBezTo>
                  <a:cubicBezTo>
                    <a:pt x="143" y="78"/>
                    <a:pt x="143" y="78"/>
                    <a:pt x="143" y="78"/>
                  </a:cubicBezTo>
                  <a:cubicBezTo>
                    <a:pt x="139" y="83"/>
                    <a:pt x="139" y="83"/>
                    <a:pt x="139" y="83"/>
                  </a:cubicBezTo>
                  <a:cubicBezTo>
                    <a:pt x="139" y="87"/>
                    <a:pt x="139" y="87"/>
                    <a:pt x="139" y="87"/>
                  </a:cubicBezTo>
                  <a:cubicBezTo>
                    <a:pt x="145" y="89"/>
                    <a:pt x="145" y="89"/>
                    <a:pt x="145" y="89"/>
                  </a:cubicBezTo>
                  <a:cubicBezTo>
                    <a:pt x="145" y="89"/>
                    <a:pt x="154" y="89"/>
                    <a:pt x="154" y="89"/>
                  </a:cubicBezTo>
                  <a:cubicBezTo>
                    <a:pt x="154" y="89"/>
                    <a:pt x="164" y="89"/>
                    <a:pt x="164" y="89"/>
                  </a:cubicBezTo>
                  <a:cubicBezTo>
                    <a:pt x="165" y="89"/>
                    <a:pt x="169" y="87"/>
                    <a:pt x="169" y="87"/>
                  </a:cubicBezTo>
                  <a:cubicBezTo>
                    <a:pt x="170" y="87"/>
                    <a:pt x="173" y="85"/>
                    <a:pt x="173" y="85"/>
                  </a:cubicBezTo>
                  <a:cubicBezTo>
                    <a:pt x="179" y="86"/>
                    <a:pt x="179" y="86"/>
                    <a:pt x="179" y="86"/>
                  </a:cubicBezTo>
                  <a:cubicBezTo>
                    <a:pt x="182" y="88"/>
                    <a:pt x="182" y="88"/>
                    <a:pt x="182" y="88"/>
                  </a:cubicBezTo>
                  <a:cubicBezTo>
                    <a:pt x="185" y="95"/>
                    <a:pt x="185" y="95"/>
                    <a:pt x="185" y="95"/>
                  </a:cubicBezTo>
                  <a:cubicBezTo>
                    <a:pt x="187" y="106"/>
                    <a:pt x="187" y="106"/>
                    <a:pt x="187" y="106"/>
                  </a:cubicBezTo>
                  <a:cubicBezTo>
                    <a:pt x="178" y="123"/>
                    <a:pt x="178" y="123"/>
                    <a:pt x="178" y="123"/>
                  </a:cubicBezTo>
                  <a:cubicBezTo>
                    <a:pt x="158" y="143"/>
                    <a:pt x="158" y="143"/>
                    <a:pt x="158" y="143"/>
                  </a:cubicBezTo>
                  <a:cubicBezTo>
                    <a:pt x="130" y="148"/>
                    <a:pt x="130" y="148"/>
                    <a:pt x="130" y="148"/>
                  </a:cubicBezTo>
                  <a:cubicBezTo>
                    <a:pt x="100" y="170"/>
                    <a:pt x="100" y="170"/>
                    <a:pt x="100" y="170"/>
                  </a:cubicBezTo>
                  <a:cubicBezTo>
                    <a:pt x="82" y="149"/>
                    <a:pt x="82" y="149"/>
                    <a:pt x="82" y="149"/>
                  </a:cubicBezTo>
                  <a:cubicBezTo>
                    <a:pt x="74" y="155"/>
                    <a:pt x="74" y="155"/>
                    <a:pt x="74" y="155"/>
                  </a:cubicBezTo>
                  <a:cubicBezTo>
                    <a:pt x="73" y="156"/>
                    <a:pt x="73" y="156"/>
                    <a:pt x="73" y="156"/>
                  </a:cubicBezTo>
                  <a:cubicBezTo>
                    <a:pt x="71" y="149"/>
                    <a:pt x="71" y="149"/>
                    <a:pt x="71" y="149"/>
                  </a:cubicBezTo>
                  <a:cubicBezTo>
                    <a:pt x="56" y="123"/>
                    <a:pt x="56" y="123"/>
                    <a:pt x="56" y="123"/>
                  </a:cubicBezTo>
                  <a:cubicBezTo>
                    <a:pt x="47" y="118"/>
                    <a:pt x="47" y="118"/>
                    <a:pt x="47" y="118"/>
                  </a:cubicBezTo>
                  <a:cubicBezTo>
                    <a:pt x="42" y="111"/>
                    <a:pt x="42" y="111"/>
                    <a:pt x="42" y="111"/>
                  </a:cubicBezTo>
                  <a:cubicBezTo>
                    <a:pt x="40" y="93"/>
                    <a:pt x="40" y="93"/>
                    <a:pt x="40" y="93"/>
                  </a:cubicBezTo>
                  <a:cubicBezTo>
                    <a:pt x="34" y="83"/>
                    <a:pt x="34" y="83"/>
                    <a:pt x="34" y="83"/>
                  </a:cubicBezTo>
                  <a:cubicBezTo>
                    <a:pt x="26" y="77"/>
                    <a:pt x="26" y="77"/>
                    <a:pt x="26" y="77"/>
                  </a:cubicBezTo>
                  <a:cubicBezTo>
                    <a:pt x="5" y="41"/>
                    <a:pt x="5" y="41"/>
                    <a:pt x="5" y="41"/>
                  </a:cubicBezTo>
                  <a:cubicBezTo>
                    <a:pt x="0" y="41"/>
                    <a:pt x="0" y="41"/>
                    <a:pt x="0" y="41"/>
                  </a:cubicBezTo>
                  <a:cubicBezTo>
                    <a:pt x="2" y="28"/>
                    <a:pt x="2" y="28"/>
                    <a:pt x="2" y="28"/>
                  </a:cubicBezTo>
                  <a:cubicBezTo>
                    <a:pt x="2" y="28"/>
                    <a:pt x="2" y="28"/>
                    <a:pt x="2" y="28"/>
                  </a:cubicBezTo>
                  <a:cubicBezTo>
                    <a:pt x="11" y="29"/>
                    <a:pt x="11" y="29"/>
                    <a:pt x="11" y="29"/>
                  </a:cubicBezTo>
                  <a:cubicBezTo>
                    <a:pt x="16" y="22"/>
                    <a:pt x="16" y="22"/>
                    <a:pt x="16" y="22"/>
                  </a:cubicBezTo>
                  <a:cubicBezTo>
                    <a:pt x="21" y="22"/>
                    <a:pt x="21" y="22"/>
                    <a:pt x="21" y="22"/>
                  </a:cubicBezTo>
                  <a:cubicBezTo>
                    <a:pt x="26" y="16"/>
                    <a:pt x="26" y="16"/>
                    <a:pt x="26" y="16"/>
                  </a:cubicBezTo>
                  <a:cubicBezTo>
                    <a:pt x="18" y="7"/>
                    <a:pt x="18" y="7"/>
                    <a:pt x="18" y="7"/>
                  </a:cubicBezTo>
                  <a:cubicBezTo>
                    <a:pt x="35" y="0"/>
                    <a:pt x="35" y="0"/>
                    <a:pt x="35" y="0"/>
                  </a:cubicBezTo>
                  <a:cubicBezTo>
                    <a:pt x="48" y="3"/>
                    <a:pt x="48" y="3"/>
                    <a:pt x="48" y="3"/>
                  </a:cubicBezTo>
                  <a:cubicBezTo>
                    <a:pt x="67" y="14"/>
                    <a:pt x="67" y="14"/>
                    <a:pt x="67" y="14"/>
                  </a:cubicBezTo>
                  <a:cubicBezTo>
                    <a:pt x="73" y="18"/>
                    <a:pt x="73" y="18"/>
                    <a:pt x="73" y="18"/>
                  </a:cubicBezTo>
                  <a:cubicBezTo>
                    <a:pt x="74" y="24"/>
                    <a:pt x="74" y="24"/>
                    <a:pt x="74" y="24"/>
                  </a:cubicBezTo>
                  <a:cubicBezTo>
                    <a:pt x="85" y="29"/>
                    <a:pt x="85" y="29"/>
                    <a:pt x="85" y="29"/>
                  </a:cubicBez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11" name="Freeform 5682"/>
            <p:cNvSpPr>
              <a:spLocks/>
            </p:cNvSpPr>
            <p:nvPr>
              <p:custDataLst>
                <p:tags r:id="rId47"/>
              </p:custDataLst>
            </p:nvPr>
          </p:nvSpPr>
          <p:spPr bwMode="gray">
            <a:xfrm>
              <a:off x="7635121" y="3744106"/>
              <a:ext cx="19246" cy="41106"/>
            </a:xfrm>
            <a:custGeom>
              <a:avLst/>
              <a:gdLst/>
              <a:ahLst/>
              <a:cxnLst>
                <a:cxn ang="0">
                  <a:pos x="0" y="15"/>
                </a:cxn>
                <a:cxn ang="0">
                  <a:pos x="4" y="0"/>
                </a:cxn>
                <a:cxn ang="0">
                  <a:pos x="13" y="4"/>
                </a:cxn>
                <a:cxn ang="0">
                  <a:pos x="15" y="23"/>
                </a:cxn>
                <a:cxn ang="0">
                  <a:pos x="9" y="32"/>
                </a:cxn>
                <a:cxn ang="0">
                  <a:pos x="0" y="15"/>
                </a:cxn>
                <a:cxn ang="0">
                  <a:pos x="0" y="15"/>
                </a:cxn>
              </a:cxnLst>
              <a:rect l="0" t="0" r="r" b="b"/>
              <a:pathLst>
                <a:path w="15" h="32">
                  <a:moveTo>
                    <a:pt x="0" y="15"/>
                  </a:moveTo>
                  <a:lnTo>
                    <a:pt x="4" y="0"/>
                  </a:lnTo>
                  <a:lnTo>
                    <a:pt x="13" y="4"/>
                  </a:lnTo>
                  <a:lnTo>
                    <a:pt x="15" y="23"/>
                  </a:lnTo>
                  <a:lnTo>
                    <a:pt x="9" y="32"/>
                  </a:lnTo>
                  <a:lnTo>
                    <a:pt x="0" y="15"/>
                  </a:lnTo>
                  <a:lnTo>
                    <a:pt x="0"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12" name="Freeform 5683"/>
            <p:cNvSpPr>
              <a:spLocks/>
            </p:cNvSpPr>
            <p:nvPr>
              <p:custDataLst>
                <p:tags r:id="rId48"/>
              </p:custDataLst>
            </p:nvPr>
          </p:nvSpPr>
          <p:spPr bwMode="gray">
            <a:xfrm>
              <a:off x="7637687" y="3746675"/>
              <a:ext cx="115478" cy="65513"/>
            </a:xfrm>
            <a:custGeom>
              <a:avLst/>
              <a:gdLst/>
              <a:ahLst/>
              <a:cxnLst>
                <a:cxn ang="0">
                  <a:pos x="47" y="7"/>
                </a:cxn>
                <a:cxn ang="0">
                  <a:pos x="48" y="11"/>
                </a:cxn>
                <a:cxn ang="0">
                  <a:pos x="42" y="18"/>
                </a:cxn>
                <a:cxn ang="0">
                  <a:pos x="42" y="23"/>
                </a:cxn>
                <a:cxn ang="0">
                  <a:pos x="40" y="24"/>
                </a:cxn>
                <a:cxn ang="0">
                  <a:pos x="40" y="24"/>
                </a:cxn>
                <a:cxn ang="0">
                  <a:pos x="34" y="23"/>
                </a:cxn>
                <a:cxn ang="0">
                  <a:pos x="30" y="25"/>
                </a:cxn>
                <a:cxn ang="0">
                  <a:pos x="25" y="27"/>
                </a:cxn>
                <a:cxn ang="0">
                  <a:pos x="15" y="27"/>
                </a:cxn>
                <a:cxn ang="0">
                  <a:pos x="6" y="27"/>
                </a:cxn>
                <a:cxn ang="0">
                  <a:pos x="0" y="25"/>
                </a:cxn>
                <a:cxn ang="0">
                  <a:pos x="0" y="21"/>
                </a:cxn>
                <a:cxn ang="0">
                  <a:pos x="4" y="16"/>
                </a:cxn>
                <a:cxn ang="0">
                  <a:pos x="14" y="19"/>
                </a:cxn>
                <a:cxn ang="0">
                  <a:pos x="16" y="17"/>
                </a:cxn>
                <a:cxn ang="0">
                  <a:pos x="29" y="17"/>
                </a:cxn>
                <a:cxn ang="0">
                  <a:pos x="42" y="0"/>
                </a:cxn>
                <a:cxn ang="0">
                  <a:pos x="47" y="7"/>
                </a:cxn>
              </a:cxnLst>
              <a:rect l="0" t="0" r="r" b="b"/>
              <a:pathLst>
                <a:path w="48" h="27">
                  <a:moveTo>
                    <a:pt x="47" y="7"/>
                  </a:moveTo>
                  <a:cubicBezTo>
                    <a:pt x="48" y="11"/>
                    <a:pt x="48" y="11"/>
                    <a:pt x="48" y="11"/>
                  </a:cubicBezTo>
                  <a:cubicBezTo>
                    <a:pt x="42" y="18"/>
                    <a:pt x="42" y="18"/>
                    <a:pt x="42" y="18"/>
                  </a:cubicBezTo>
                  <a:cubicBezTo>
                    <a:pt x="42" y="23"/>
                    <a:pt x="42" y="23"/>
                    <a:pt x="42" y="23"/>
                  </a:cubicBezTo>
                  <a:cubicBezTo>
                    <a:pt x="40" y="24"/>
                    <a:pt x="40" y="24"/>
                    <a:pt x="40" y="24"/>
                  </a:cubicBezTo>
                  <a:cubicBezTo>
                    <a:pt x="40" y="24"/>
                    <a:pt x="40" y="24"/>
                    <a:pt x="40" y="24"/>
                  </a:cubicBezTo>
                  <a:cubicBezTo>
                    <a:pt x="34" y="23"/>
                    <a:pt x="34" y="23"/>
                    <a:pt x="34" y="23"/>
                  </a:cubicBezTo>
                  <a:cubicBezTo>
                    <a:pt x="34" y="23"/>
                    <a:pt x="31" y="25"/>
                    <a:pt x="30" y="25"/>
                  </a:cubicBezTo>
                  <a:cubicBezTo>
                    <a:pt x="30" y="25"/>
                    <a:pt x="26" y="27"/>
                    <a:pt x="25" y="27"/>
                  </a:cubicBezTo>
                  <a:cubicBezTo>
                    <a:pt x="25" y="27"/>
                    <a:pt x="15" y="27"/>
                    <a:pt x="15" y="27"/>
                  </a:cubicBezTo>
                  <a:cubicBezTo>
                    <a:pt x="15" y="27"/>
                    <a:pt x="6" y="27"/>
                    <a:pt x="6" y="27"/>
                  </a:cubicBezTo>
                  <a:cubicBezTo>
                    <a:pt x="0" y="25"/>
                    <a:pt x="0" y="25"/>
                    <a:pt x="0" y="25"/>
                  </a:cubicBezTo>
                  <a:cubicBezTo>
                    <a:pt x="0" y="21"/>
                    <a:pt x="0" y="21"/>
                    <a:pt x="0" y="21"/>
                  </a:cubicBezTo>
                  <a:cubicBezTo>
                    <a:pt x="4" y="16"/>
                    <a:pt x="4" y="16"/>
                    <a:pt x="4" y="16"/>
                  </a:cubicBezTo>
                  <a:cubicBezTo>
                    <a:pt x="14" y="19"/>
                    <a:pt x="14" y="19"/>
                    <a:pt x="14" y="19"/>
                  </a:cubicBezTo>
                  <a:cubicBezTo>
                    <a:pt x="16" y="17"/>
                    <a:pt x="16" y="17"/>
                    <a:pt x="16" y="17"/>
                  </a:cubicBezTo>
                  <a:cubicBezTo>
                    <a:pt x="29" y="17"/>
                    <a:pt x="29" y="17"/>
                    <a:pt x="29" y="17"/>
                  </a:cubicBezTo>
                  <a:cubicBezTo>
                    <a:pt x="42" y="0"/>
                    <a:pt x="42" y="0"/>
                    <a:pt x="42" y="0"/>
                  </a:cubicBezTo>
                  <a:cubicBezTo>
                    <a:pt x="47" y="7"/>
                    <a:pt x="47" y="7"/>
                    <a:pt x="47" y="7"/>
                  </a:cubicBez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13" name="Freeform 5684"/>
            <p:cNvSpPr>
              <a:spLocks/>
            </p:cNvSpPr>
            <p:nvPr>
              <p:custDataLst>
                <p:tags r:id="rId49"/>
              </p:custDataLst>
            </p:nvPr>
          </p:nvSpPr>
          <p:spPr bwMode="gray">
            <a:xfrm>
              <a:off x="7737768" y="3740252"/>
              <a:ext cx="12831" cy="23122"/>
            </a:xfrm>
            <a:custGeom>
              <a:avLst/>
              <a:gdLst/>
              <a:ahLst/>
              <a:cxnLst>
                <a:cxn ang="0">
                  <a:pos x="10" y="18"/>
                </a:cxn>
                <a:cxn ang="0">
                  <a:pos x="10" y="1"/>
                </a:cxn>
                <a:cxn ang="0">
                  <a:pos x="6" y="0"/>
                </a:cxn>
                <a:cxn ang="0">
                  <a:pos x="0" y="5"/>
                </a:cxn>
                <a:cxn ang="0">
                  <a:pos x="10" y="18"/>
                </a:cxn>
                <a:cxn ang="0">
                  <a:pos x="10" y="18"/>
                </a:cxn>
              </a:cxnLst>
              <a:rect l="0" t="0" r="r" b="b"/>
              <a:pathLst>
                <a:path w="10" h="18">
                  <a:moveTo>
                    <a:pt x="10" y="18"/>
                  </a:moveTo>
                  <a:lnTo>
                    <a:pt x="10" y="1"/>
                  </a:lnTo>
                  <a:lnTo>
                    <a:pt x="6" y="0"/>
                  </a:lnTo>
                  <a:lnTo>
                    <a:pt x="0" y="5"/>
                  </a:lnTo>
                  <a:lnTo>
                    <a:pt x="10" y="18"/>
                  </a:lnTo>
                  <a:lnTo>
                    <a:pt x="10" y="1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14" name="Freeform 5685"/>
            <p:cNvSpPr>
              <a:spLocks/>
            </p:cNvSpPr>
            <p:nvPr>
              <p:custDataLst>
                <p:tags r:id="rId50"/>
              </p:custDataLst>
            </p:nvPr>
          </p:nvSpPr>
          <p:spPr bwMode="gray">
            <a:xfrm>
              <a:off x="9328803" y="4368402"/>
              <a:ext cx="214276" cy="209383"/>
            </a:xfrm>
            <a:custGeom>
              <a:avLst/>
              <a:gdLst/>
              <a:ahLst/>
              <a:cxnLst>
                <a:cxn ang="0">
                  <a:pos x="165" y="163"/>
                </a:cxn>
                <a:cxn ang="0">
                  <a:pos x="145" y="140"/>
                </a:cxn>
                <a:cxn ang="0">
                  <a:pos x="107" y="148"/>
                </a:cxn>
                <a:cxn ang="0">
                  <a:pos x="117" y="129"/>
                </a:cxn>
                <a:cxn ang="0">
                  <a:pos x="124" y="127"/>
                </a:cxn>
                <a:cxn ang="0">
                  <a:pos x="118" y="97"/>
                </a:cxn>
                <a:cxn ang="0">
                  <a:pos x="105" y="86"/>
                </a:cxn>
                <a:cxn ang="0">
                  <a:pos x="68" y="73"/>
                </a:cxn>
                <a:cxn ang="0">
                  <a:pos x="45" y="58"/>
                </a:cxn>
                <a:cxn ang="0">
                  <a:pos x="40" y="67"/>
                </a:cxn>
                <a:cxn ang="0">
                  <a:pos x="32" y="67"/>
                </a:cxn>
                <a:cxn ang="0">
                  <a:pos x="30" y="54"/>
                </a:cxn>
                <a:cxn ang="0">
                  <a:pos x="17" y="46"/>
                </a:cxn>
                <a:cxn ang="0">
                  <a:pos x="47" y="39"/>
                </a:cxn>
                <a:cxn ang="0">
                  <a:pos x="49" y="31"/>
                </a:cxn>
                <a:cxn ang="0">
                  <a:pos x="23" y="35"/>
                </a:cxn>
                <a:cxn ang="0">
                  <a:pos x="17" y="31"/>
                </a:cxn>
                <a:cxn ang="0">
                  <a:pos x="17" y="22"/>
                </a:cxn>
                <a:cxn ang="0">
                  <a:pos x="0" y="18"/>
                </a:cxn>
                <a:cxn ang="0">
                  <a:pos x="23" y="0"/>
                </a:cxn>
                <a:cxn ang="0">
                  <a:pos x="34" y="0"/>
                </a:cxn>
                <a:cxn ang="0">
                  <a:pos x="42" y="7"/>
                </a:cxn>
                <a:cxn ang="0">
                  <a:pos x="51" y="7"/>
                </a:cxn>
                <a:cxn ang="0">
                  <a:pos x="55" y="37"/>
                </a:cxn>
                <a:cxn ang="0">
                  <a:pos x="70" y="56"/>
                </a:cxn>
                <a:cxn ang="0">
                  <a:pos x="77" y="56"/>
                </a:cxn>
                <a:cxn ang="0">
                  <a:pos x="94" y="33"/>
                </a:cxn>
                <a:cxn ang="0">
                  <a:pos x="117" y="20"/>
                </a:cxn>
                <a:cxn ang="0">
                  <a:pos x="167" y="43"/>
                </a:cxn>
                <a:cxn ang="0">
                  <a:pos x="165" y="163"/>
                </a:cxn>
                <a:cxn ang="0">
                  <a:pos x="165" y="163"/>
                </a:cxn>
              </a:cxnLst>
              <a:rect l="0" t="0" r="r" b="b"/>
              <a:pathLst>
                <a:path w="167" h="163">
                  <a:moveTo>
                    <a:pt x="165" y="163"/>
                  </a:moveTo>
                  <a:lnTo>
                    <a:pt x="145" y="140"/>
                  </a:lnTo>
                  <a:lnTo>
                    <a:pt x="107" y="148"/>
                  </a:lnTo>
                  <a:lnTo>
                    <a:pt x="117" y="129"/>
                  </a:lnTo>
                  <a:lnTo>
                    <a:pt x="124" y="127"/>
                  </a:lnTo>
                  <a:lnTo>
                    <a:pt x="118" y="97"/>
                  </a:lnTo>
                  <a:lnTo>
                    <a:pt x="105" y="86"/>
                  </a:lnTo>
                  <a:lnTo>
                    <a:pt x="68" y="73"/>
                  </a:lnTo>
                  <a:lnTo>
                    <a:pt x="45" y="58"/>
                  </a:lnTo>
                  <a:lnTo>
                    <a:pt x="40" y="67"/>
                  </a:lnTo>
                  <a:lnTo>
                    <a:pt x="32" y="67"/>
                  </a:lnTo>
                  <a:lnTo>
                    <a:pt x="30" y="54"/>
                  </a:lnTo>
                  <a:lnTo>
                    <a:pt x="17" y="46"/>
                  </a:lnTo>
                  <a:lnTo>
                    <a:pt x="47" y="39"/>
                  </a:lnTo>
                  <a:lnTo>
                    <a:pt x="49" y="31"/>
                  </a:lnTo>
                  <a:lnTo>
                    <a:pt x="23" y="35"/>
                  </a:lnTo>
                  <a:lnTo>
                    <a:pt x="17" y="31"/>
                  </a:lnTo>
                  <a:lnTo>
                    <a:pt x="17" y="22"/>
                  </a:lnTo>
                  <a:lnTo>
                    <a:pt x="0" y="18"/>
                  </a:lnTo>
                  <a:lnTo>
                    <a:pt x="23" y="0"/>
                  </a:lnTo>
                  <a:lnTo>
                    <a:pt x="34" y="0"/>
                  </a:lnTo>
                  <a:lnTo>
                    <a:pt x="42" y="7"/>
                  </a:lnTo>
                  <a:lnTo>
                    <a:pt x="51" y="7"/>
                  </a:lnTo>
                  <a:lnTo>
                    <a:pt x="55" y="37"/>
                  </a:lnTo>
                  <a:lnTo>
                    <a:pt x="70" y="56"/>
                  </a:lnTo>
                  <a:lnTo>
                    <a:pt x="77" y="56"/>
                  </a:lnTo>
                  <a:lnTo>
                    <a:pt x="94" y="33"/>
                  </a:lnTo>
                  <a:lnTo>
                    <a:pt x="117" y="20"/>
                  </a:lnTo>
                  <a:lnTo>
                    <a:pt x="167" y="43"/>
                  </a:lnTo>
                  <a:lnTo>
                    <a:pt x="165" y="163"/>
                  </a:lnTo>
                  <a:lnTo>
                    <a:pt x="165" y="16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15" name="Freeform 5686"/>
            <p:cNvSpPr>
              <a:spLocks/>
            </p:cNvSpPr>
            <p:nvPr>
              <p:custDataLst>
                <p:tags r:id="rId51"/>
              </p:custDataLst>
            </p:nvPr>
          </p:nvSpPr>
          <p:spPr bwMode="gray">
            <a:xfrm>
              <a:off x="8873305" y="4256645"/>
              <a:ext cx="210427" cy="200391"/>
            </a:xfrm>
            <a:custGeom>
              <a:avLst/>
              <a:gdLst/>
              <a:ahLst/>
              <a:cxnLst>
                <a:cxn ang="0">
                  <a:pos x="119" y="0"/>
                </a:cxn>
                <a:cxn ang="0">
                  <a:pos x="108" y="2"/>
                </a:cxn>
                <a:cxn ang="0">
                  <a:pos x="91" y="49"/>
                </a:cxn>
                <a:cxn ang="0">
                  <a:pos x="76" y="58"/>
                </a:cxn>
                <a:cxn ang="0">
                  <a:pos x="54" y="53"/>
                </a:cxn>
                <a:cxn ang="0">
                  <a:pos x="46" y="62"/>
                </a:cxn>
                <a:cxn ang="0">
                  <a:pos x="22" y="62"/>
                </a:cxn>
                <a:cxn ang="0">
                  <a:pos x="9" y="43"/>
                </a:cxn>
                <a:cxn ang="0">
                  <a:pos x="0" y="62"/>
                </a:cxn>
                <a:cxn ang="0">
                  <a:pos x="5" y="88"/>
                </a:cxn>
                <a:cxn ang="0">
                  <a:pos x="18" y="103"/>
                </a:cxn>
                <a:cxn ang="0">
                  <a:pos x="22" y="133"/>
                </a:cxn>
                <a:cxn ang="0">
                  <a:pos x="46" y="132"/>
                </a:cxn>
                <a:cxn ang="0">
                  <a:pos x="46" y="145"/>
                </a:cxn>
                <a:cxn ang="0">
                  <a:pos x="69" y="137"/>
                </a:cxn>
                <a:cxn ang="0">
                  <a:pos x="78" y="145"/>
                </a:cxn>
                <a:cxn ang="0">
                  <a:pos x="86" y="143"/>
                </a:cxn>
                <a:cxn ang="0">
                  <a:pos x="93" y="156"/>
                </a:cxn>
                <a:cxn ang="0">
                  <a:pos x="101" y="152"/>
                </a:cxn>
                <a:cxn ang="0">
                  <a:pos x="116" y="145"/>
                </a:cxn>
                <a:cxn ang="0">
                  <a:pos x="125" y="122"/>
                </a:cxn>
                <a:cxn ang="0">
                  <a:pos x="121" y="113"/>
                </a:cxn>
                <a:cxn ang="0">
                  <a:pos x="134" y="100"/>
                </a:cxn>
                <a:cxn ang="0">
                  <a:pos x="146" y="64"/>
                </a:cxn>
                <a:cxn ang="0">
                  <a:pos x="164" y="64"/>
                </a:cxn>
                <a:cxn ang="0">
                  <a:pos x="146" y="43"/>
                </a:cxn>
                <a:cxn ang="0">
                  <a:pos x="149" y="38"/>
                </a:cxn>
                <a:cxn ang="0">
                  <a:pos x="138" y="19"/>
                </a:cxn>
                <a:cxn ang="0">
                  <a:pos x="140" y="4"/>
                </a:cxn>
                <a:cxn ang="0">
                  <a:pos x="119" y="0"/>
                </a:cxn>
                <a:cxn ang="0">
                  <a:pos x="119" y="0"/>
                </a:cxn>
              </a:cxnLst>
              <a:rect l="0" t="0" r="r" b="b"/>
              <a:pathLst>
                <a:path w="164" h="156">
                  <a:moveTo>
                    <a:pt x="119" y="0"/>
                  </a:moveTo>
                  <a:lnTo>
                    <a:pt x="108" y="2"/>
                  </a:lnTo>
                  <a:lnTo>
                    <a:pt x="91" y="49"/>
                  </a:lnTo>
                  <a:lnTo>
                    <a:pt x="76" y="58"/>
                  </a:lnTo>
                  <a:lnTo>
                    <a:pt x="54" y="53"/>
                  </a:lnTo>
                  <a:lnTo>
                    <a:pt x="46" y="62"/>
                  </a:lnTo>
                  <a:lnTo>
                    <a:pt x="22" y="62"/>
                  </a:lnTo>
                  <a:lnTo>
                    <a:pt x="9" y="43"/>
                  </a:lnTo>
                  <a:lnTo>
                    <a:pt x="0" y="62"/>
                  </a:lnTo>
                  <a:lnTo>
                    <a:pt x="5" y="88"/>
                  </a:lnTo>
                  <a:lnTo>
                    <a:pt x="18" y="103"/>
                  </a:lnTo>
                  <a:lnTo>
                    <a:pt x="22" y="133"/>
                  </a:lnTo>
                  <a:lnTo>
                    <a:pt x="46" y="132"/>
                  </a:lnTo>
                  <a:lnTo>
                    <a:pt x="46" y="145"/>
                  </a:lnTo>
                  <a:lnTo>
                    <a:pt x="69" y="137"/>
                  </a:lnTo>
                  <a:lnTo>
                    <a:pt x="78" y="145"/>
                  </a:lnTo>
                  <a:lnTo>
                    <a:pt x="86" y="143"/>
                  </a:lnTo>
                  <a:lnTo>
                    <a:pt x="93" y="156"/>
                  </a:lnTo>
                  <a:lnTo>
                    <a:pt x="101" y="152"/>
                  </a:lnTo>
                  <a:lnTo>
                    <a:pt x="116" y="145"/>
                  </a:lnTo>
                  <a:lnTo>
                    <a:pt x="125" y="122"/>
                  </a:lnTo>
                  <a:lnTo>
                    <a:pt x="121" y="113"/>
                  </a:lnTo>
                  <a:lnTo>
                    <a:pt x="134" y="100"/>
                  </a:lnTo>
                  <a:lnTo>
                    <a:pt x="146" y="64"/>
                  </a:lnTo>
                  <a:lnTo>
                    <a:pt x="164" y="64"/>
                  </a:lnTo>
                  <a:lnTo>
                    <a:pt x="146" y="43"/>
                  </a:lnTo>
                  <a:lnTo>
                    <a:pt x="149" y="38"/>
                  </a:lnTo>
                  <a:lnTo>
                    <a:pt x="138" y="19"/>
                  </a:lnTo>
                  <a:lnTo>
                    <a:pt x="140" y="4"/>
                  </a:lnTo>
                  <a:lnTo>
                    <a:pt x="119" y="0"/>
                  </a:lnTo>
                  <a:lnTo>
                    <a:pt x="119"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16" name="Freeform 5687"/>
            <p:cNvSpPr>
              <a:spLocks/>
            </p:cNvSpPr>
            <p:nvPr>
              <p:custDataLst>
                <p:tags r:id="rId52"/>
              </p:custDataLst>
            </p:nvPr>
          </p:nvSpPr>
          <p:spPr bwMode="gray">
            <a:xfrm>
              <a:off x="8884853" y="4194986"/>
              <a:ext cx="198879" cy="141302"/>
            </a:xfrm>
            <a:custGeom>
              <a:avLst/>
              <a:gdLst/>
              <a:ahLst/>
              <a:cxnLst>
                <a:cxn ang="0">
                  <a:pos x="146" y="47"/>
                </a:cxn>
                <a:cxn ang="0">
                  <a:pos x="140" y="39"/>
                </a:cxn>
                <a:cxn ang="0">
                  <a:pos x="155" y="33"/>
                </a:cxn>
                <a:cxn ang="0">
                  <a:pos x="131" y="18"/>
                </a:cxn>
                <a:cxn ang="0">
                  <a:pos x="131" y="9"/>
                </a:cxn>
                <a:cxn ang="0">
                  <a:pos x="118" y="0"/>
                </a:cxn>
                <a:cxn ang="0">
                  <a:pos x="94" y="30"/>
                </a:cxn>
                <a:cxn ang="0">
                  <a:pos x="92" y="37"/>
                </a:cxn>
                <a:cxn ang="0">
                  <a:pos x="94" y="41"/>
                </a:cxn>
                <a:cxn ang="0">
                  <a:pos x="92" y="47"/>
                </a:cxn>
                <a:cxn ang="0">
                  <a:pos x="84" y="43"/>
                </a:cxn>
                <a:cxn ang="0">
                  <a:pos x="80" y="54"/>
                </a:cxn>
                <a:cxn ang="0">
                  <a:pos x="71" y="45"/>
                </a:cxn>
                <a:cxn ang="0">
                  <a:pos x="49" y="73"/>
                </a:cxn>
                <a:cxn ang="0">
                  <a:pos x="32" y="76"/>
                </a:cxn>
                <a:cxn ang="0">
                  <a:pos x="26" y="99"/>
                </a:cxn>
                <a:cxn ang="0">
                  <a:pos x="0" y="91"/>
                </a:cxn>
                <a:cxn ang="0">
                  <a:pos x="13" y="110"/>
                </a:cxn>
                <a:cxn ang="0">
                  <a:pos x="37" y="110"/>
                </a:cxn>
                <a:cxn ang="0">
                  <a:pos x="45" y="101"/>
                </a:cxn>
                <a:cxn ang="0">
                  <a:pos x="67" y="106"/>
                </a:cxn>
                <a:cxn ang="0">
                  <a:pos x="82" y="97"/>
                </a:cxn>
                <a:cxn ang="0">
                  <a:pos x="99" y="50"/>
                </a:cxn>
                <a:cxn ang="0">
                  <a:pos x="110" y="48"/>
                </a:cxn>
                <a:cxn ang="0">
                  <a:pos x="131" y="52"/>
                </a:cxn>
                <a:cxn ang="0">
                  <a:pos x="146" y="47"/>
                </a:cxn>
                <a:cxn ang="0">
                  <a:pos x="146" y="47"/>
                </a:cxn>
              </a:cxnLst>
              <a:rect l="0" t="0" r="r" b="b"/>
              <a:pathLst>
                <a:path w="155" h="110">
                  <a:moveTo>
                    <a:pt x="146" y="47"/>
                  </a:moveTo>
                  <a:lnTo>
                    <a:pt x="140" y="39"/>
                  </a:lnTo>
                  <a:lnTo>
                    <a:pt x="155" y="33"/>
                  </a:lnTo>
                  <a:lnTo>
                    <a:pt x="131" y="18"/>
                  </a:lnTo>
                  <a:lnTo>
                    <a:pt x="131" y="9"/>
                  </a:lnTo>
                  <a:lnTo>
                    <a:pt x="118" y="0"/>
                  </a:lnTo>
                  <a:lnTo>
                    <a:pt x="94" y="30"/>
                  </a:lnTo>
                  <a:lnTo>
                    <a:pt x="92" y="37"/>
                  </a:lnTo>
                  <a:lnTo>
                    <a:pt x="94" y="41"/>
                  </a:lnTo>
                  <a:lnTo>
                    <a:pt x="92" y="47"/>
                  </a:lnTo>
                  <a:lnTo>
                    <a:pt x="84" y="43"/>
                  </a:lnTo>
                  <a:lnTo>
                    <a:pt x="80" y="54"/>
                  </a:lnTo>
                  <a:lnTo>
                    <a:pt x="71" y="45"/>
                  </a:lnTo>
                  <a:lnTo>
                    <a:pt x="49" y="73"/>
                  </a:lnTo>
                  <a:lnTo>
                    <a:pt x="32" y="76"/>
                  </a:lnTo>
                  <a:lnTo>
                    <a:pt x="26" y="99"/>
                  </a:lnTo>
                  <a:lnTo>
                    <a:pt x="0" y="91"/>
                  </a:lnTo>
                  <a:lnTo>
                    <a:pt x="13" y="110"/>
                  </a:lnTo>
                  <a:lnTo>
                    <a:pt x="37" y="110"/>
                  </a:lnTo>
                  <a:lnTo>
                    <a:pt x="45" y="101"/>
                  </a:lnTo>
                  <a:lnTo>
                    <a:pt x="67" y="106"/>
                  </a:lnTo>
                  <a:lnTo>
                    <a:pt x="82" y="97"/>
                  </a:lnTo>
                  <a:lnTo>
                    <a:pt x="99" y="50"/>
                  </a:lnTo>
                  <a:lnTo>
                    <a:pt x="110" y="48"/>
                  </a:lnTo>
                  <a:lnTo>
                    <a:pt x="131" y="52"/>
                  </a:lnTo>
                  <a:lnTo>
                    <a:pt x="146" y="47"/>
                  </a:lnTo>
                  <a:lnTo>
                    <a:pt x="146" y="4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17" name="Freeform 5688"/>
            <p:cNvSpPr>
              <a:spLocks/>
            </p:cNvSpPr>
            <p:nvPr>
              <p:custDataLst>
                <p:tags r:id="rId53"/>
              </p:custDataLst>
            </p:nvPr>
          </p:nvSpPr>
          <p:spPr bwMode="gray">
            <a:xfrm>
              <a:off x="8975953" y="4242515"/>
              <a:ext cx="29511" cy="21838"/>
            </a:xfrm>
            <a:custGeom>
              <a:avLst/>
              <a:gdLst/>
              <a:ahLst/>
              <a:cxnLst>
                <a:cxn ang="0">
                  <a:pos x="23" y="4"/>
                </a:cxn>
                <a:cxn ang="0">
                  <a:pos x="21" y="10"/>
                </a:cxn>
                <a:cxn ang="0">
                  <a:pos x="13" y="6"/>
                </a:cxn>
                <a:cxn ang="0">
                  <a:pos x="9" y="17"/>
                </a:cxn>
                <a:cxn ang="0">
                  <a:pos x="0" y="8"/>
                </a:cxn>
                <a:cxn ang="0">
                  <a:pos x="21" y="0"/>
                </a:cxn>
                <a:cxn ang="0">
                  <a:pos x="23" y="4"/>
                </a:cxn>
                <a:cxn ang="0">
                  <a:pos x="23" y="4"/>
                </a:cxn>
              </a:cxnLst>
              <a:rect l="0" t="0" r="r" b="b"/>
              <a:pathLst>
                <a:path w="23" h="17">
                  <a:moveTo>
                    <a:pt x="23" y="4"/>
                  </a:moveTo>
                  <a:lnTo>
                    <a:pt x="21" y="10"/>
                  </a:lnTo>
                  <a:lnTo>
                    <a:pt x="13" y="6"/>
                  </a:lnTo>
                  <a:lnTo>
                    <a:pt x="9" y="17"/>
                  </a:lnTo>
                  <a:lnTo>
                    <a:pt x="0" y="8"/>
                  </a:lnTo>
                  <a:lnTo>
                    <a:pt x="21" y="0"/>
                  </a:lnTo>
                  <a:lnTo>
                    <a:pt x="23" y="4"/>
                  </a:lnTo>
                  <a:lnTo>
                    <a:pt x="23"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18" name="Freeform 5689"/>
            <p:cNvSpPr>
              <a:spLocks/>
            </p:cNvSpPr>
            <p:nvPr>
              <p:custDataLst>
                <p:tags r:id="rId54"/>
              </p:custDataLst>
            </p:nvPr>
          </p:nvSpPr>
          <p:spPr bwMode="gray">
            <a:xfrm>
              <a:off x="8610271" y="3869992"/>
              <a:ext cx="170651" cy="353254"/>
            </a:xfrm>
            <a:custGeom>
              <a:avLst/>
              <a:gdLst/>
              <a:ahLst/>
              <a:cxnLst>
                <a:cxn ang="0">
                  <a:pos x="62" y="258"/>
                </a:cxn>
                <a:cxn ang="0">
                  <a:pos x="73" y="262"/>
                </a:cxn>
                <a:cxn ang="0">
                  <a:pos x="75" y="271"/>
                </a:cxn>
                <a:cxn ang="0">
                  <a:pos x="83" y="275"/>
                </a:cxn>
                <a:cxn ang="0">
                  <a:pos x="92" y="268"/>
                </a:cxn>
                <a:cxn ang="0">
                  <a:pos x="81" y="256"/>
                </a:cxn>
                <a:cxn ang="0">
                  <a:pos x="66" y="249"/>
                </a:cxn>
                <a:cxn ang="0">
                  <a:pos x="51" y="211"/>
                </a:cxn>
                <a:cxn ang="0">
                  <a:pos x="43" y="211"/>
                </a:cxn>
                <a:cxn ang="0">
                  <a:pos x="40" y="193"/>
                </a:cxn>
                <a:cxn ang="0">
                  <a:pos x="49" y="159"/>
                </a:cxn>
                <a:cxn ang="0">
                  <a:pos x="47" y="137"/>
                </a:cxn>
                <a:cxn ang="0">
                  <a:pos x="62" y="137"/>
                </a:cxn>
                <a:cxn ang="0">
                  <a:pos x="64" y="146"/>
                </a:cxn>
                <a:cxn ang="0">
                  <a:pos x="79" y="148"/>
                </a:cxn>
                <a:cxn ang="0">
                  <a:pos x="92" y="159"/>
                </a:cxn>
                <a:cxn ang="0">
                  <a:pos x="87" y="138"/>
                </a:cxn>
                <a:cxn ang="0">
                  <a:pos x="94" y="120"/>
                </a:cxn>
                <a:cxn ang="0">
                  <a:pos x="131" y="118"/>
                </a:cxn>
                <a:cxn ang="0">
                  <a:pos x="133" y="97"/>
                </a:cxn>
                <a:cxn ang="0">
                  <a:pos x="118" y="80"/>
                </a:cxn>
                <a:cxn ang="0">
                  <a:pos x="113" y="58"/>
                </a:cxn>
                <a:cxn ang="0">
                  <a:pos x="94" y="43"/>
                </a:cxn>
                <a:cxn ang="0">
                  <a:pos x="81" y="50"/>
                </a:cxn>
                <a:cxn ang="0">
                  <a:pos x="72" y="45"/>
                </a:cxn>
                <a:cxn ang="0">
                  <a:pos x="55" y="54"/>
                </a:cxn>
                <a:cxn ang="0">
                  <a:pos x="53" y="22"/>
                </a:cxn>
                <a:cxn ang="0">
                  <a:pos x="43" y="17"/>
                </a:cxn>
                <a:cxn ang="0">
                  <a:pos x="36" y="0"/>
                </a:cxn>
                <a:cxn ang="0">
                  <a:pos x="2" y="26"/>
                </a:cxn>
                <a:cxn ang="0">
                  <a:pos x="0" y="47"/>
                </a:cxn>
                <a:cxn ang="0">
                  <a:pos x="25" y="84"/>
                </a:cxn>
                <a:cxn ang="0">
                  <a:pos x="17" y="108"/>
                </a:cxn>
                <a:cxn ang="0">
                  <a:pos x="30" y="122"/>
                </a:cxn>
                <a:cxn ang="0">
                  <a:pos x="45" y="163"/>
                </a:cxn>
                <a:cxn ang="0">
                  <a:pos x="27" y="204"/>
                </a:cxn>
                <a:cxn ang="0">
                  <a:pos x="25" y="215"/>
                </a:cxn>
                <a:cxn ang="0">
                  <a:pos x="28" y="232"/>
                </a:cxn>
                <a:cxn ang="0">
                  <a:pos x="34" y="230"/>
                </a:cxn>
                <a:cxn ang="0">
                  <a:pos x="62" y="264"/>
                </a:cxn>
                <a:cxn ang="0">
                  <a:pos x="62" y="258"/>
                </a:cxn>
                <a:cxn ang="0">
                  <a:pos x="62" y="258"/>
                </a:cxn>
              </a:cxnLst>
              <a:rect l="0" t="0" r="r" b="b"/>
              <a:pathLst>
                <a:path w="133" h="275">
                  <a:moveTo>
                    <a:pt x="62" y="258"/>
                  </a:moveTo>
                  <a:lnTo>
                    <a:pt x="73" y="262"/>
                  </a:lnTo>
                  <a:lnTo>
                    <a:pt x="75" y="271"/>
                  </a:lnTo>
                  <a:lnTo>
                    <a:pt x="83" y="275"/>
                  </a:lnTo>
                  <a:lnTo>
                    <a:pt x="92" y="268"/>
                  </a:lnTo>
                  <a:lnTo>
                    <a:pt x="81" y="256"/>
                  </a:lnTo>
                  <a:lnTo>
                    <a:pt x="66" y="249"/>
                  </a:lnTo>
                  <a:lnTo>
                    <a:pt x="51" y="211"/>
                  </a:lnTo>
                  <a:lnTo>
                    <a:pt x="43" y="211"/>
                  </a:lnTo>
                  <a:lnTo>
                    <a:pt x="40" y="193"/>
                  </a:lnTo>
                  <a:lnTo>
                    <a:pt x="49" y="159"/>
                  </a:lnTo>
                  <a:lnTo>
                    <a:pt x="47" y="137"/>
                  </a:lnTo>
                  <a:lnTo>
                    <a:pt x="62" y="137"/>
                  </a:lnTo>
                  <a:lnTo>
                    <a:pt x="64" y="146"/>
                  </a:lnTo>
                  <a:lnTo>
                    <a:pt x="79" y="148"/>
                  </a:lnTo>
                  <a:lnTo>
                    <a:pt x="92" y="159"/>
                  </a:lnTo>
                  <a:lnTo>
                    <a:pt x="87" y="138"/>
                  </a:lnTo>
                  <a:lnTo>
                    <a:pt x="94" y="120"/>
                  </a:lnTo>
                  <a:lnTo>
                    <a:pt x="131" y="118"/>
                  </a:lnTo>
                  <a:lnTo>
                    <a:pt x="133" y="97"/>
                  </a:lnTo>
                  <a:lnTo>
                    <a:pt x="118" y="80"/>
                  </a:lnTo>
                  <a:lnTo>
                    <a:pt x="113" y="58"/>
                  </a:lnTo>
                  <a:lnTo>
                    <a:pt x="94" y="43"/>
                  </a:lnTo>
                  <a:lnTo>
                    <a:pt x="81" y="50"/>
                  </a:lnTo>
                  <a:lnTo>
                    <a:pt x="72" y="45"/>
                  </a:lnTo>
                  <a:lnTo>
                    <a:pt x="55" y="54"/>
                  </a:lnTo>
                  <a:lnTo>
                    <a:pt x="53" y="22"/>
                  </a:lnTo>
                  <a:lnTo>
                    <a:pt x="43" y="17"/>
                  </a:lnTo>
                  <a:lnTo>
                    <a:pt x="36" y="0"/>
                  </a:lnTo>
                  <a:lnTo>
                    <a:pt x="2" y="26"/>
                  </a:lnTo>
                  <a:lnTo>
                    <a:pt x="0" y="47"/>
                  </a:lnTo>
                  <a:lnTo>
                    <a:pt x="25" y="84"/>
                  </a:lnTo>
                  <a:lnTo>
                    <a:pt x="17" y="108"/>
                  </a:lnTo>
                  <a:lnTo>
                    <a:pt x="30" y="122"/>
                  </a:lnTo>
                  <a:lnTo>
                    <a:pt x="45" y="163"/>
                  </a:lnTo>
                  <a:lnTo>
                    <a:pt x="27" y="204"/>
                  </a:lnTo>
                  <a:lnTo>
                    <a:pt x="25" y="215"/>
                  </a:lnTo>
                  <a:lnTo>
                    <a:pt x="28" y="232"/>
                  </a:lnTo>
                  <a:lnTo>
                    <a:pt x="34" y="230"/>
                  </a:lnTo>
                  <a:lnTo>
                    <a:pt x="62" y="264"/>
                  </a:lnTo>
                  <a:lnTo>
                    <a:pt x="62" y="258"/>
                  </a:lnTo>
                  <a:lnTo>
                    <a:pt x="62" y="25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19" name="Freeform 5690"/>
            <p:cNvSpPr>
              <a:spLocks/>
            </p:cNvSpPr>
            <p:nvPr>
              <p:custDataLst>
                <p:tags r:id="rId55"/>
              </p:custDataLst>
            </p:nvPr>
          </p:nvSpPr>
          <p:spPr bwMode="gray">
            <a:xfrm>
              <a:off x="8689823" y="4201409"/>
              <a:ext cx="87250" cy="125887"/>
            </a:xfrm>
            <a:custGeom>
              <a:avLst/>
              <a:gdLst/>
              <a:ahLst/>
              <a:cxnLst>
                <a:cxn ang="0">
                  <a:pos x="0" y="4"/>
                </a:cxn>
                <a:cxn ang="0">
                  <a:pos x="0" y="0"/>
                </a:cxn>
                <a:cxn ang="0">
                  <a:pos x="11" y="4"/>
                </a:cxn>
                <a:cxn ang="0">
                  <a:pos x="13" y="13"/>
                </a:cxn>
                <a:cxn ang="0">
                  <a:pos x="21" y="17"/>
                </a:cxn>
                <a:cxn ang="0">
                  <a:pos x="30" y="10"/>
                </a:cxn>
                <a:cxn ang="0">
                  <a:pos x="51" y="32"/>
                </a:cxn>
                <a:cxn ang="0">
                  <a:pos x="53" y="70"/>
                </a:cxn>
                <a:cxn ang="0">
                  <a:pos x="68" y="98"/>
                </a:cxn>
                <a:cxn ang="0">
                  <a:pos x="54" y="98"/>
                </a:cxn>
                <a:cxn ang="0">
                  <a:pos x="21" y="71"/>
                </a:cxn>
                <a:cxn ang="0">
                  <a:pos x="6" y="45"/>
                </a:cxn>
                <a:cxn ang="0">
                  <a:pos x="0" y="4"/>
                </a:cxn>
                <a:cxn ang="0">
                  <a:pos x="0" y="4"/>
                </a:cxn>
              </a:cxnLst>
              <a:rect l="0" t="0" r="r" b="b"/>
              <a:pathLst>
                <a:path w="68" h="98">
                  <a:moveTo>
                    <a:pt x="0" y="4"/>
                  </a:moveTo>
                  <a:lnTo>
                    <a:pt x="0" y="0"/>
                  </a:lnTo>
                  <a:lnTo>
                    <a:pt x="11" y="4"/>
                  </a:lnTo>
                  <a:lnTo>
                    <a:pt x="13" y="13"/>
                  </a:lnTo>
                  <a:lnTo>
                    <a:pt x="21" y="17"/>
                  </a:lnTo>
                  <a:lnTo>
                    <a:pt x="30" y="10"/>
                  </a:lnTo>
                  <a:lnTo>
                    <a:pt x="51" y="32"/>
                  </a:lnTo>
                  <a:lnTo>
                    <a:pt x="53" y="70"/>
                  </a:lnTo>
                  <a:lnTo>
                    <a:pt x="68" y="98"/>
                  </a:lnTo>
                  <a:lnTo>
                    <a:pt x="54" y="98"/>
                  </a:lnTo>
                  <a:lnTo>
                    <a:pt x="21" y="71"/>
                  </a:lnTo>
                  <a:lnTo>
                    <a:pt x="6" y="45"/>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20" name="Freeform 5691"/>
            <p:cNvSpPr>
              <a:spLocks/>
            </p:cNvSpPr>
            <p:nvPr>
              <p:custDataLst>
                <p:tags r:id="rId56"/>
              </p:custDataLst>
            </p:nvPr>
          </p:nvSpPr>
          <p:spPr bwMode="gray">
            <a:xfrm>
              <a:off x="8692389" y="3812187"/>
              <a:ext cx="170651" cy="341693"/>
            </a:xfrm>
            <a:custGeom>
              <a:avLst/>
              <a:gdLst/>
              <a:ahLst/>
              <a:cxnLst>
                <a:cxn ang="0">
                  <a:pos x="0" y="13"/>
                </a:cxn>
                <a:cxn ang="0">
                  <a:pos x="19" y="41"/>
                </a:cxn>
                <a:cxn ang="0">
                  <a:pos x="38" y="45"/>
                </a:cxn>
                <a:cxn ang="0">
                  <a:pos x="45" y="62"/>
                </a:cxn>
                <a:cxn ang="0">
                  <a:pos x="34" y="67"/>
                </a:cxn>
                <a:cxn ang="0">
                  <a:pos x="79" y="108"/>
                </a:cxn>
                <a:cxn ang="0">
                  <a:pos x="81" y="116"/>
                </a:cxn>
                <a:cxn ang="0">
                  <a:pos x="97" y="138"/>
                </a:cxn>
                <a:cxn ang="0">
                  <a:pos x="101" y="155"/>
                </a:cxn>
                <a:cxn ang="0">
                  <a:pos x="107" y="198"/>
                </a:cxn>
                <a:cxn ang="0">
                  <a:pos x="82" y="211"/>
                </a:cxn>
                <a:cxn ang="0">
                  <a:pos x="81" y="225"/>
                </a:cxn>
                <a:cxn ang="0">
                  <a:pos x="62" y="234"/>
                </a:cxn>
                <a:cxn ang="0">
                  <a:pos x="69" y="240"/>
                </a:cxn>
                <a:cxn ang="0">
                  <a:pos x="71" y="266"/>
                </a:cxn>
                <a:cxn ang="0">
                  <a:pos x="92" y="253"/>
                </a:cxn>
                <a:cxn ang="0">
                  <a:pos x="97" y="234"/>
                </a:cxn>
                <a:cxn ang="0">
                  <a:pos x="105" y="234"/>
                </a:cxn>
                <a:cxn ang="0">
                  <a:pos x="133" y="215"/>
                </a:cxn>
                <a:cxn ang="0">
                  <a:pos x="133" y="174"/>
                </a:cxn>
                <a:cxn ang="0">
                  <a:pos x="124" y="144"/>
                </a:cxn>
                <a:cxn ang="0">
                  <a:pos x="69" y="86"/>
                </a:cxn>
                <a:cxn ang="0">
                  <a:pos x="62" y="77"/>
                </a:cxn>
                <a:cxn ang="0">
                  <a:pos x="66" y="60"/>
                </a:cxn>
                <a:cxn ang="0">
                  <a:pos x="81" y="39"/>
                </a:cxn>
                <a:cxn ang="0">
                  <a:pos x="94" y="32"/>
                </a:cxn>
                <a:cxn ang="0">
                  <a:pos x="73" y="22"/>
                </a:cxn>
                <a:cxn ang="0">
                  <a:pos x="67" y="7"/>
                </a:cxn>
                <a:cxn ang="0">
                  <a:pos x="49" y="0"/>
                </a:cxn>
                <a:cxn ang="0">
                  <a:pos x="13" y="11"/>
                </a:cxn>
                <a:cxn ang="0">
                  <a:pos x="2" y="7"/>
                </a:cxn>
                <a:cxn ang="0">
                  <a:pos x="0" y="13"/>
                </a:cxn>
                <a:cxn ang="0">
                  <a:pos x="0" y="13"/>
                </a:cxn>
              </a:cxnLst>
              <a:rect l="0" t="0" r="r" b="b"/>
              <a:pathLst>
                <a:path w="133" h="266">
                  <a:moveTo>
                    <a:pt x="0" y="13"/>
                  </a:moveTo>
                  <a:lnTo>
                    <a:pt x="19" y="41"/>
                  </a:lnTo>
                  <a:lnTo>
                    <a:pt x="38" y="45"/>
                  </a:lnTo>
                  <a:lnTo>
                    <a:pt x="45" y="62"/>
                  </a:lnTo>
                  <a:lnTo>
                    <a:pt x="34" y="67"/>
                  </a:lnTo>
                  <a:lnTo>
                    <a:pt x="79" y="108"/>
                  </a:lnTo>
                  <a:lnTo>
                    <a:pt x="81" y="116"/>
                  </a:lnTo>
                  <a:lnTo>
                    <a:pt x="97" y="138"/>
                  </a:lnTo>
                  <a:lnTo>
                    <a:pt x="101" y="155"/>
                  </a:lnTo>
                  <a:lnTo>
                    <a:pt x="107" y="198"/>
                  </a:lnTo>
                  <a:lnTo>
                    <a:pt x="82" y="211"/>
                  </a:lnTo>
                  <a:lnTo>
                    <a:pt x="81" y="225"/>
                  </a:lnTo>
                  <a:lnTo>
                    <a:pt x="62" y="234"/>
                  </a:lnTo>
                  <a:lnTo>
                    <a:pt x="69" y="240"/>
                  </a:lnTo>
                  <a:lnTo>
                    <a:pt x="71" y="266"/>
                  </a:lnTo>
                  <a:lnTo>
                    <a:pt x="92" y="253"/>
                  </a:lnTo>
                  <a:lnTo>
                    <a:pt x="97" y="234"/>
                  </a:lnTo>
                  <a:lnTo>
                    <a:pt x="105" y="234"/>
                  </a:lnTo>
                  <a:lnTo>
                    <a:pt x="133" y="215"/>
                  </a:lnTo>
                  <a:lnTo>
                    <a:pt x="133" y="174"/>
                  </a:lnTo>
                  <a:lnTo>
                    <a:pt x="124" y="144"/>
                  </a:lnTo>
                  <a:lnTo>
                    <a:pt x="69" y="86"/>
                  </a:lnTo>
                  <a:lnTo>
                    <a:pt x="62" y="77"/>
                  </a:lnTo>
                  <a:lnTo>
                    <a:pt x="66" y="60"/>
                  </a:lnTo>
                  <a:lnTo>
                    <a:pt x="81" y="39"/>
                  </a:lnTo>
                  <a:lnTo>
                    <a:pt x="94" y="32"/>
                  </a:lnTo>
                  <a:lnTo>
                    <a:pt x="73" y="22"/>
                  </a:lnTo>
                  <a:lnTo>
                    <a:pt x="67" y="7"/>
                  </a:lnTo>
                  <a:lnTo>
                    <a:pt x="49" y="0"/>
                  </a:lnTo>
                  <a:lnTo>
                    <a:pt x="13" y="11"/>
                  </a:lnTo>
                  <a:lnTo>
                    <a:pt x="2" y="7"/>
                  </a:lnTo>
                  <a:lnTo>
                    <a:pt x="0" y="13"/>
                  </a:lnTo>
                  <a:lnTo>
                    <a:pt x="0" y="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21" name="Freeform 5692"/>
            <p:cNvSpPr>
              <a:spLocks/>
            </p:cNvSpPr>
            <p:nvPr>
              <p:custDataLst>
                <p:tags r:id="rId57"/>
              </p:custDataLst>
            </p:nvPr>
          </p:nvSpPr>
          <p:spPr bwMode="gray">
            <a:xfrm>
              <a:off x="8656463" y="3826317"/>
              <a:ext cx="165519" cy="200391"/>
            </a:xfrm>
            <a:custGeom>
              <a:avLst/>
              <a:gdLst/>
              <a:ahLst/>
              <a:cxnLst>
                <a:cxn ang="0">
                  <a:pos x="129" y="144"/>
                </a:cxn>
                <a:cxn ang="0">
                  <a:pos x="125" y="127"/>
                </a:cxn>
                <a:cxn ang="0">
                  <a:pos x="109" y="105"/>
                </a:cxn>
                <a:cxn ang="0">
                  <a:pos x="107" y="97"/>
                </a:cxn>
                <a:cxn ang="0">
                  <a:pos x="62" y="56"/>
                </a:cxn>
                <a:cxn ang="0">
                  <a:pos x="73" y="51"/>
                </a:cxn>
                <a:cxn ang="0">
                  <a:pos x="66" y="34"/>
                </a:cxn>
                <a:cxn ang="0">
                  <a:pos x="47" y="30"/>
                </a:cxn>
                <a:cxn ang="0">
                  <a:pos x="28" y="2"/>
                </a:cxn>
                <a:cxn ang="0">
                  <a:pos x="21" y="0"/>
                </a:cxn>
                <a:cxn ang="0">
                  <a:pos x="21" y="23"/>
                </a:cxn>
                <a:cxn ang="0">
                  <a:pos x="15" y="24"/>
                </a:cxn>
                <a:cxn ang="0">
                  <a:pos x="13" y="15"/>
                </a:cxn>
                <a:cxn ang="0">
                  <a:pos x="0" y="34"/>
                </a:cxn>
                <a:cxn ang="0">
                  <a:pos x="7" y="51"/>
                </a:cxn>
                <a:cxn ang="0">
                  <a:pos x="17" y="56"/>
                </a:cxn>
                <a:cxn ang="0">
                  <a:pos x="19" y="88"/>
                </a:cxn>
                <a:cxn ang="0">
                  <a:pos x="36" y="79"/>
                </a:cxn>
                <a:cxn ang="0">
                  <a:pos x="45" y="84"/>
                </a:cxn>
                <a:cxn ang="0">
                  <a:pos x="58" y="77"/>
                </a:cxn>
                <a:cxn ang="0">
                  <a:pos x="77" y="92"/>
                </a:cxn>
                <a:cxn ang="0">
                  <a:pos x="82" y="114"/>
                </a:cxn>
                <a:cxn ang="0">
                  <a:pos x="97" y="131"/>
                </a:cxn>
                <a:cxn ang="0">
                  <a:pos x="95" y="152"/>
                </a:cxn>
                <a:cxn ang="0">
                  <a:pos x="109" y="156"/>
                </a:cxn>
                <a:cxn ang="0">
                  <a:pos x="110" y="150"/>
                </a:cxn>
                <a:cxn ang="0">
                  <a:pos x="129" y="144"/>
                </a:cxn>
                <a:cxn ang="0">
                  <a:pos x="129" y="144"/>
                </a:cxn>
              </a:cxnLst>
              <a:rect l="0" t="0" r="r" b="b"/>
              <a:pathLst>
                <a:path w="129" h="156">
                  <a:moveTo>
                    <a:pt x="129" y="144"/>
                  </a:moveTo>
                  <a:lnTo>
                    <a:pt x="125" y="127"/>
                  </a:lnTo>
                  <a:lnTo>
                    <a:pt x="109" y="105"/>
                  </a:lnTo>
                  <a:lnTo>
                    <a:pt x="107" y="97"/>
                  </a:lnTo>
                  <a:lnTo>
                    <a:pt x="62" y="56"/>
                  </a:lnTo>
                  <a:lnTo>
                    <a:pt x="73" y="51"/>
                  </a:lnTo>
                  <a:lnTo>
                    <a:pt x="66" y="34"/>
                  </a:lnTo>
                  <a:lnTo>
                    <a:pt x="47" y="30"/>
                  </a:lnTo>
                  <a:lnTo>
                    <a:pt x="28" y="2"/>
                  </a:lnTo>
                  <a:lnTo>
                    <a:pt x="21" y="0"/>
                  </a:lnTo>
                  <a:lnTo>
                    <a:pt x="21" y="23"/>
                  </a:lnTo>
                  <a:lnTo>
                    <a:pt x="15" y="24"/>
                  </a:lnTo>
                  <a:lnTo>
                    <a:pt x="13" y="15"/>
                  </a:lnTo>
                  <a:lnTo>
                    <a:pt x="0" y="34"/>
                  </a:lnTo>
                  <a:lnTo>
                    <a:pt x="7" y="51"/>
                  </a:lnTo>
                  <a:lnTo>
                    <a:pt x="17" y="56"/>
                  </a:lnTo>
                  <a:lnTo>
                    <a:pt x="19" y="88"/>
                  </a:lnTo>
                  <a:lnTo>
                    <a:pt x="36" y="79"/>
                  </a:lnTo>
                  <a:lnTo>
                    <a:pt x="45" y="84"/>
                  </a:lnTo>
                  <a:lnTo>
                    <a:pt x="58" y="77"/>
                  </a:lnTo>
                  <a:lnTo>
                    <a:pt x="77" y="92"/>
                  </a:lnTo>
                  <a:lnTo>
                    <a:pt x="82" y="114"/>
                  </a:lnTo>
                  <a:lnTo>
                    <a:pt x="97" y="131"/>
                  </a:lnTo>
                  <a:lnTo>
                    <a:pt x="95" y="152"/>
                  </a:lnTo>
                  <a:lnTo>
                    <a:pt x="109" y="156"/>
                  </a:lnTo>
                  <a:lnTo>
                    <a:pt x="110" y="150"/>
                  </a:lnTo>
                  <a:lnTo>
                    <a:pt x="129" y="144"/>
                  </a:lnTo>
                  <a:lnTo>
                    <a:pt x="129" y="14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22" name="Freeform 5693"/>
            <p:cNvSpPr>
              <a:spLocks/>
            </p:cNvSpPr>
            <p:nvPr>
              <p:custDataLst>
                <p:tags r:id="rId58"/>
              </p:custDataLst>
            </p:nvPr>
          </p:nvSpPr>
          <p:spPr bwMode="gray">
            <a:xfrm>
              <a:off x="8040578" y="3101826"/>
              <a:ext cx="1070099" cy="777158"/>
            </a:xfrm>
            <a:custGeom>
              <a:avLst/>
              <a:gdLst/>
              <a:ahLst/>
              <a:cxnLst>
                <a:cxn ang="0">
                  <a:pos x="169" y="98"/>
                </a:cxn>
                <a:cxn ang="0">
                  <a:pos x="214" y="144"/>
                </a:cxn>
                <a:cxn ang="0">
                  <a:pos x="381" y="191"/>
                </a:cxn>
                <a:cxn ang="0">
                  <a:pos x="517" y="197"/>
                </a:cxn>
                <a:cxn ang="0">
                  <a:pos x="527" y="159"/>
                </a:cxn>
                <a:cxn ang="0">
                  <a:pos x="562" y="143"/>
                </a:cxn>
                <a:cxn ang="0">
                  <a:pos x="619" y="122"/>
                </a:cxn>
                <a:cxn ang="0">
                  <a:pos x="575" y="105"/>
                </a:cxn>
                <a:cxn ang="0">
                  <a:pos x="544" y="62"/>
                </a:cxn>
                <a:cxn ang="0">
                  <a:pos x="577" y="34"/>
                </a:cxn>
                <a:cxn ang="0">
                  <a:pos x="572" y="6"/>
                </a:cxn>
                <a:cxn ang="0">
                  <a:pos x="686" y="45"/>
                </a:cxn>
                <a:cxn ang="0">
                  <a:pos x="759" y="83"/>
                </a:cxn>
                <a:cxn ang="0">
                  <a:pos x="823" y="88"/>
                </a:cxn>
                <a:cxn ang="0">
                  <a:pos x="834" y="150"/>
                </a:cxn>
                <a:cxn ang="0">
                  <a:pos x="826" y="180"/>
                </a:cxn>
                <a:cxn ang="0">
                  <a:pos x="808" y="206"/>
                </a:cxn>
                <a:cxn ang="0">
                  <a:pos x="780" y="214"/>
                </a:cxn>
                <a:cxn ang="0">
                  <a:pos x="718" y="266"/>
                </a:cxn>
                <a:cxn ang="0">
                  <a:pos x="722" y="234"/>
                </a:cxn>
                <a:cxn ang="0">
                  <a:pos x="695" y="240"/>
                </a:cxn>
                <a:cxn ang="0">
                  <a:pos x="665" y="255"/>
                </a:cxn>
                <a:cxn ang="0">
                  <a:pos x="708" y="296"/>
                </a:cxn>
                <a:cxn ang="0">
                  <a:pos x="750" y="300"/>
                </a:cxn>
                <a:cxn ang="0">
                  <a:pos x="716" y="337"/>
                </a:cxn>
                <a:cxn ang="0">
                  <a:pos x="778" y="395"/>
                </a:cxn>
                <a:cxn ang="0">
                  <a:pos x="763" y="420"/>
                </a:cxn>
                <a:cxn ang="0">
                  <a:pos x="783" y="461"/>
                </a:cxn>
                <a:cxn ang="0">
                  <a:pos x="772" y="500"/>
                </a:cxn>
                <a:cxn ang="0">
                  <a:pos x="755" y="532"/>
                </a:cxn>
                <a:cxn ang="0">
                  <a:pos x="697" y="570"/>
                </a:cxn>
                <a:cxn ang="0">
                  <a:pos x="680" y="564"/>
                </a:cxn>
                <a:cxn ang="0">
                  <a:pos x="645" y="602"/>
                </a:cxn>
                <a:cxn ang="0">
                  <a:pos x="630" y="585"/>
                </a:cxn>
                <a:cxn ang="0">
                  <a:pos x="581" y="575"/>
                </a:cxn>
                <a:cxn ang="0">
                  <a:pos x="521" y="564"/>
                </a:cxn>
                <a:cxn ang="0">
                  <a:pos x="501" y="564"/>
                </a:cxn>
                <a:cxn ang="0">
                  <a:pos x="493" y="579"/>
                </a:cxn>
                <a:cxn ang="0">
                  <a:pos x="463" y="557"/>
                </a:cxn>
                <a:cxn ang="0">
                  <a:pos x="431" y="542"/>
                </a:cxn>
                <a:cxn ang="0">
                  <a:pos x="413" y="461"/>
                </a:cxn>
                <a:cxn ang="0">
                  <a:pos x="345" y="459"/>
                </a:cxn>
                <a:cxn ang="0">
                  <a:pos x="281" y="476"/>
                </a:cxn>
                <a:cxn ang="0">
                  <a:pos x="266" y="465"/>
                </a:cxn>
                <a:cxn ang="0">
                  <a:pos x="190" y="442"/>
                </a:cxn>
                <a:cxn ang="0">
                  <a:pos x="117" y="409"/>
                </a:cxn>
                <a:cxn ang="0">
                  <a:pos x="115" y="379"/>
                </a:cxn>
                <a:cxn ang="0">
                  <a:pos x="117" y="324"/>
                </a:cxn>
                <a:cxn ang="0">
                  <a:pos x="51" y="317"/>
                </a:cxn>
                <a:cxn ang="0">
                  <a:pos x="21" y="296"/>
                </a:cxn>
                <a:cxn ang="0">
                  <a:pos x="6" y="270"/>
                </a:cxn>
                <a:cxn ang="0">
                  <a:pos x="0" y="242"/>
                </a:cxn>
                <a:cxn ang="0">
                  <a:pos x="38" y="225"/>
                </a:cxn>
                <a:cxn ang="0">
                  <a:pos x="79" y="201"/>
                </a:cxn>
                <a:cxn ang="0">
                  <a:pos x="68" y="150"/>
                </a:cxn>
                <a:cxn ang="0">
                  <a:pos x="120" y="118"/>
                </a:cxn>
                <a:cxn ang="0">
                  <a:pos x="135" y="84"/>
                </a:cxn>
              </a:cxnLst>
              <a:rect l="0" t="0" r="r" b="b"/>
              <a:pathLst>
                <a:path w="834" h="605">
                  <a:moveTo>
                    <a:pt x="135" y="84"/>
                  </a:moveTo>
                  <a:lnTo>
                    <a:pt x="147" y="79"/>
                  </a:lnTo>
                  <a:lnTo>
                    <a:pt x="169" y="98"/>
                  </a:lnTo>
                  <a:lnTo>
                    <a:pt x="190" y="101"/>
                  </a:lnTo>
                  <a:lnTo>
                    <a:pt x="205" y="118"/>
                  </a:lnTo>
                  <a:lnTo>
                    <a:pt x="214" y="144"/>
                  </a:lnTo>
                  <a:lnTo>
                    <a:pt x="285" y="161"/>
                  </a:lnTo>
                  <a:lnTo>
                    <a:pt x="323" y="191"/>
                  </a:lnTo>
                  <a:lnTo>
                    <a:pt x="381" y="191"/>
                  </a:lnTo>
                  <a:lnTo>
                    <a:pt x="454" y="212"/>
                  </a:lnTo>
                  <a:lnTo>
                    <a:pt x="486" y="199"/>
                  </a:lnTo>
                  <a:lnTo>
                    <a:pt x="517" y="197"/>
                  </a:lnTo>
                  <a:lnTo>
                    <a:pt x="521" y="195"/>
                  </a:lnTo>
                  <a:lnTo>
                    <a:pt x="538" y="174"/>
                  </a:lnTo>
                  <a:lnTo>
                    <a:pt x="527" y="159"/>
                  </a:lnTo>
                  <a:lnTo>
                    <a:pt x="532" y="150"/>
                  </a:lnTo>
                  <a:lnTo>
                    <a:pt x="553" y="156"/>
                  </a:lnTo>
                  <a:lnTo>
                    <a:pt x="562" y="143"/>
                  </a:lnTo>
                  <a:lnTo>
                    <a:pt x="575" y="137"/>
                  </a:lnTo>
                  <a:lnTo>
                    <a:pt x="583" y="122"/>
                  </a:lnTo>
                  <a:lnTo>
                    <a:pt x="619" y="122"/>
                  </a:lnTo>
                  <a:lnTo>
                    <a:pt x="609" y="107"/>
                  </a:lnTo>
                  <a:lnTo>
                    <a:pt x="592" y="99"/>
                  </a:lnTo>
                  <a:lnTo>
                    <a:pt x="575" y="105"/>
                  </a:lnTo>
                  <a:lnTo>
                    <a:pt x="557" y="103"/>
                  </a:lnTo>
                  <a:lnTo>
                    <a:pt x="540" y="73"/>
                  </a:lnTo>
                  <a:lnTo>
                    <a:pt x="544" y="62"/>
                  </a:lnTo>
                  <a:lnTo>
                    <a:pt x="568" y="69"/>
                  </a:lnTo>
                  <a:lnTo>
                    <a:pt x="583" y="60"/>
                  </a:lnTo>
                  <a:lnTo>
                    <a:pt x="577" y="34"/>
                  </a:lnTo>
                  <a:lnTo>
                    <a:pt x="581" y="28"/>
                  </a:lnTo>
                  <a:lnTo>
                    <a:pt x="566" y="11"/>
                  </a:lnTo>
                  <a:lnTo>
                    <a:pt x="572" y="6"/>
                  </a:lnTo>
                  <a:lnTo>
                    <a:pt x="602" y="0"/>
                  </a:lnTo>
                  <a:lnTo>
                    <a:pt x="643" y="11"/>
                  </a:lnTo>
                  <a:lnTo>
                    <a:pt x="686" y="45"/>
                  </a:lnTo>
                  <a:lnTo>
                    <a:pt x="705" y="68"/>
                  </a:lnTo>
                  <a:lnTo>
                    <a:pt x="731" y="71"/>
                  </a:lnTo>
                  <a:lnTo>
                    <a:pt x="759" y="83"/>
                  </a:lnTo>
                  <a:lnTo>
                    <a:pt x="778" y="101"/>
                  </a:lnTo>
                  <a:lnTo>
                    <a:pt x="793" y="103"/>
                  </a:lnTo>
                  <a:lnTo>
                    <a:pt x="823" y="88"/>
                  </a:lnTo>
                  <a:lnTo>
                    <a:pt x="832" y="105"/>
                  </a:lnTo>
                  <a:lnTo>
                    <a:pt x="828" y="109"/>
                  </a:lnTo>
                  <a:lnTo>
                    <a:pt x="834" y="150"/>
                  </a:lnTo>
                  <a:lnTo>
                    <a:pt x="817" y="148"/>
                  </a:lnTo>
                  <a:lnTo>
                    <a:pt x="810" y="158"/>
                  </a:lnTo>
                  <a:lnTo>
                    <a:pt x="826" y="180"/>
                  </a:lnTo>
                  <a:lnTo>
                    <a:pt x="828" y="195"/>
                  </a:lnTo>
                  <a:lnTo>
                    <a:pt x="811" y="191"/>
                  </a:lnTo>
                  <a:lnTo>
                    <a:pt x="808" y="206"/>
                  </a:lnTo>
                  <a:lnTo>
                    <a:pt x="797" y="206"/>
                  </a:lnTo>
                  <a:lnTo>
                    <a:pt x="797" y="217"/>
                  </a:lnTo>
                  <a:lnTo>
                    <a:pt x="780" y="214"/>
                  </a:lnTo>
                  <a:lnTo>
                    <a:pt x="753" y="249"/>
                  </a:lnTo>
                  <a:lnTo>
                    <a:pt x="746" y="247"/>
                  </a:lnTo>
                  <a:lnTo>
                    <a:pt x="718" y="266"/>
                  </a:lnTo>
                  <a:lnTo>
                    <a:pt x="722" y="257"/>
                  </a:lnTo>
                  <a:lnTo>
                    <a:pt x="714" y="251"/>
                  </a:lnTo>
                  <a:lnTo>
                    <a:pt x="722" y="234"/>
                  </a:lnTo>
                  <a:lnTo>
                    <a:pt x="712" y="227"/>
                  </a:lnTo>
                  <a:lnTo>
                    <a:pt x="701" y="225"/>
                  </a:lnTo>
                  <a:lnTo>
                    <a:pt x="695" y="240"/>
                  </a:lnTo>
                  <a:lnTo>
                    <a:pt x="684" y="247"/>
                  </a:lnTo>
                  <a:lnTo>
                    <a:pt x="682" y="257"/>
                  </a:lnTo>
                  <a:lnTo>
                    <a:pt x="665" y="255"/>
                  </a:lnTo>
                  <a:lnTo>
                    <a:pt x="665" y="268"/>
                  </a:lnTo>
                  <a:lnTo>
                    <a:pt x="703" y="296"/>
                  </a:lnTo>
                  <a:lnTo>
                    <a:pt x="708" y="296"/>
                  </a:lnTo>
                  <a:lnTo>
                    <a:pt x="722" y="283"/>
                  </a:lnTo>
                  <a:lnTo>
                    <a:pt x="750" y="292"/>
                  </a:lnTo>
                  <a:lnTo>
                    <a:pt x="750" y="300"/>
                  </a:lnTo>
                  <a:lnTo>
                    <a:pt x="744" y="298"/>
                  </a:lnTo>
                  <a:lnTo>
                    <a:pt x="729" y="306"/>
                  </a:lnTo>
                  <a:lnTo>
                    <a:pt x="716" y="337"/>
                  </a:lnTo>
                  <a:lnTo>
                    <a:pt x="737" y="347"/>
                  </a:lnTo>
                  <a:lnTo>
                    <a:pt x="757" y="379"/>
                  </a:lnTo>
                  <a:lnTo>
                    <a:pt x="778" y="395"/>
                  </a:lnTo>
                  <a:lnTo>
                    <a:pt x="768" y="395"/>
                  </a:lnTo>
                  <a:lnTo>
                    <a:pt x="783" y="410"/>
                  </a:lnTo>
                  <a:lnTo>
                    <a:pt x="763" y="420"/>
                  </a:lnTo>
                  <a:lnTo>
                    <a:pt x="791" y="425"/>
                  </a:lnTo>
                  <a:lnTo>
                    <a:pt x="791" y="455"/>
                  </a:lnTo>
                  <a:lnTo>
                    <a:pt x="783" y="461"/>
                  </a:lnTo>
                  <a:lnTo>
                    <a:pt x="774" y="487"/>
                  </a:lnTo>
                  <a:lnTo>
                    <a:pt x="768" y="487"/>
                  </a:lnTo>
                  <a:lnTo>
                    <a:pt x="772" y="500"/>
                  </a:lnTo>
                  <a:lnTo>
                    <a:pt x="761" y="527"/>
                  </a:lnTo>
                  <a:lnTo>
                    <a:pt x="753" y="527"/>
                  </a:lnTo>
                  <a:lnTo>
                    <a:pt x="755" y="532"/>
                  </a:lnTo>
                  <a:lnTo>
                    <a:pt x="733" y="553"/>
                  </a:lnTo>
                  <a:lnTo>
                    <a:pt x="703" y="562"/>
                  </a:lnTo>
                  <a:lnTo>
                    <a:pt x="697" y="570"/>
                  </a:lnTo>
                  <a:lnTo>
                    <a:pt x="688" y="562"/>
                  </a:lnTo>
                  <a:lnTo>
                    <a:pt x="688" y="570"/>
                  </a:lnTo>
                  <a:lnTo>
                    <a:pt x="680" y="564"/>
                  </a:lnTo>
                  <a:lnTo>
                    <a:pt x="680" y="573"/>
                  </a:lnTo>
                  <a:lnTo>
                    <a:pt x="641" y="588"/>
                  </a:lnTo>
                  <a:lnTo>
                    <a:pt x="645" y="602"/>
                  </a:lnTo>
                  <a:lnTo>
                    <a:pt x="641" y="605"/>
                  </a:lnTo>
                  <a:lnTo>
                    <a:pt x="635" y="605"/>
                  </a:lnTo>
                  <a:lnTo>
                    <a:pt x="630" y="585"/>
                  </a:lnTo>
                  <a:lnTo>
                    <a:pt x="609" y="581"/>
                  </a:lnTo>
                  <a:lnTo>
                    <a:pt x="602" y="585"/>
                  </a:lnTo>
                  <a:lnTo>
                    <a:pt x="581" y="575"/>
                  </a:lnTo>
                  <a:lnTo>
                    <a:pt x="575" y="560"/>
                  </a:lnTo>
                  <a:lnTo>
                    <a:pt x="557" y="553"/>
                  </a:lnTo>
                  <a:lnTo>
                    <a:pt x="521" y="564"/>
                  </a:lnTo>
                  <a:lnTo>
                    <a:pt x="510" y="560"/>
                  </a:lnTo>
                  <a:lnTo>
                    <a:pt x="508" y="566"/>
                  </a:lnTo>
                  <a:lnTo>
                    <a:pt x="501" y="564"/>
                  </a:lnTo>
                  <a:lnTo>
                    <a:pt x="501" y="587"/>
                  </a:lnTo>
                  <a:lnTo>
                    <a:pt x="495" y="588"/>
                  </a:lnTo>
                  <a:lnTo>
                    <a:pt x="493" y="579"/>
                  </a:lnTo>
                  <a:lnTo>
                    <a:pt x="478" y="583"/>
                  </a:lnTo>
                  <a:lnTo>
                    <a:pt x="461" y="570"/>
                  </a:lnTo>
                  <a:lnTo>
                    <a:pt x="463" y="557"/>
                  </a:lnTo>
                  <a:lnTo>
                    <a:pt x="454" y="549"/>
                  </a:lnTo>
                  <a:lnTo>
                    <a:pt x="448" y="536"/>
                  </a:lnTo>
                  <a:lnTo>
                    <a:pt x="431" y="542"/>
                  </a:lnTo>
                  <a:lnTo>
                    <a:pt x="439" y="487"/>
                  </a:lnTo>
                  <a:lnTo>
                    <a:pt x="426" y="465"/>
                  </a:lnTo>
                  <a:lnTo>
                    <a:pt x="413" y="461"/>
                  </a:lnTo>
                  <a:lnTo>
                    <a:pt x="383" y="437"/>
                  </a:lnTo>
                  <a:lnTo>
                    <a:pt x="362" y="440"/>
                  </a:lnTo>
                  <a:lnTo>
                    <a:pt x="345" y="459"/>
                  </a:lnTo>
                  <a:lnTo>
                    <a:pt x="324" y="467"/>
                  </a:lnTo>
                  <a:lnTo>
                    <a:pt x="295" y="459"/>
                  </a:lnTo>
                  <a:lnTo>
                    <a:pt x="281" y="476"/>
                  </a:lnTo>
                  <a:lnTo>
                    <a:pt x="274" y="463"/>
                  </a:lnTo>
                  <a:lnTo>
                    <a:pt x="266" y="465"/>
                  </a:lnTo>
                  <a:lnTo>
                    <a:pt x="266" y="465"/>
                  </a:lnTo>
                  <a:lnTo>
                    <a:pt x="233" y="465"/>
                  </a:lnTo>
                  <a:lnTo>
                    <a:pt x="197" y="440"/>
                  </a:lnTo>
                  <a:lnTo>
                    <a:pt x="190" y="442"/>
                  </a:lnTo>
                  <a:lnTo>
                    <a:pt x="169" y="424"/>
                  </a:lnTo>
                  <a:lnTo>
                    <a:pt x="148" y="422"/>
                  </a:lnTo>
                  <a:lnTo>
                    <a:pt x="117" y="409"/>
                  </a:lnTo>
                  <a:lnTo>
                    <a:pt x="102" y="384"/>
                  </a:lnTo>
                  <a:lnTo>
                    <a:pt x="102" y="379"/>
                  </a:lnTo>
                  <a:lnTo>
                    <a:pt x="115" y="379"/>
                  </a:lnTo>
                  <a:lnTo>
                    <a:pt x="103" y="356"/>
                  </a:lnTo>
                  <a:lnTo>
                    <a:pt x="115" y="339"/>
                  </a:lnTo>
                  <a:lnTo>
                    <a:pt x="117" y="324"/>
                  </a:lnTo>
                  <a:lnTo>
                    <a:pt x="100" y="317"/>
                  </a:lnTo>
                  <a:lnTo>
                    <a:pt x="75" y="326"/>
                  </a:lnTo>
                  <a:lnTo>
                    <a:pt x="51" y="317"/>
                  </a:lnTo>
                  <a:lnTo>
                    <a:pt x="42" y="302"/>
                  </a:lnTo>
                  <a:lnTo>
                    <a:pt x="23" y="298"/>
                  </a:lnTo>
                  <a:lnTo>
                    <a:pt x="21" y="296"/>
                  </a:lnTo>
                  <a:lnTo>
                    <a:pt x="25" y="292"/>
                  </a:lnTo>
                  <a:lnTo>
                    <a:pt x="19" y="272"/>
                  </a:lnTo>
                  <a:lnTo>
                    <a:pt x="6" y="270"/>
                  </a:lnTo>
                  <a:lnTo>
                    <a:pt x="0" y="264"/>
                  </a:lnTo>
                  <a:lnTo>
                    <a:pt x="0" y="253"/>
                  </a:lnTo>
                  <a:lnTo>
                    <a:pt x="0" y="242"/>
                  </a:lnTo>
                  <a:lnTo>
                    <a:pt x="10" y="232"/>
                  </a:lnTo>
                  <a:lnTo>
                    <a:pt x="36" y="232"/>
                  </a:lnTo>
                  <a:lnTo>
                    <a:pt x="38" y="225"/>
                  </a:lnTo>
                  <a:lnTo>
                    <a:pt x="55" y="223"/>
                  </a:lnTo>
                  <a:lnTo>
                    <a:pt x="79" y="206"/>
                  </a:lnTo>
                  <a:lnTo>
                    <a:pt x="79" y="201"/>
                  </a:lnTo>
                  <a:lnTo>
                    <a:pt x="83" y="184"/>
                  </a:lnTo>
                  <a:lnTo>
                    <a:pt x="64" y="156"/>
                  </a:lnTo>
                  <a:lnTo>
                    <a:pt x="68" y="150"/>
                  </a:lnTo>
                  <a:lnTo>
                    <a:pt x="92" y="148"/>
                  </a:lnTo>
                  <a:lnTo>
                    <a:pt x="90" y="111"/>
                  </a:lnTo>
                  <a:lnTo>
                    <a:pt x="120" y="118"/>
                  </a:lnTo>
                  <a:lnTo>
                    <a:pt x="128" y="113"/>
                  </a:lnTo>
                  <a:lnTo>
                    <a:pt x="124" y="90"/>
                  </a:lnTo>
                  <a:lnTo>
                    <a:pt x="135" y="84"/>
                  </a:lnTo>
                  <a:lnTo>
                    <a:pt x="135" y="8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23" name="Freeform 5694"/>
            <p:cNvSpPr>
              <a:spLocks/>
            </p:cNvSpPr>
            <p:nvPr>
              <p:custDataLst>
                <p:tags r:id="rId59"/>
              </p:custDataLst>
            </p:nvPr>
          </p:nvSpPr>
          <p:spPr bwMode="gray">
            <a:xfrm>
              <a:off x="8399844" y="3691439"/>
              <a:ext cx="69287" cy="35968"/>
            </a:xfrm>
            <a:custGeom>
              <a:avLst/>
              <a:gdLst/>
              <a:ahLst/>
              <a:cxnLst>
                <a:cxn ang="0">
                  <a:pos x="44" y="8"/>
                </a:cxn>
                <a:cxn ang="0">
                  <a:pos x="15" y="0"/>
                </a:cxn>
                <a:cxn ang="0">
                  <a:pos x="1" y="17"/>
                </a:cxn>
                <a:cxn ang="0">
                  <a:pos x="0" y="21"/>
                </a:cxn>
                <a:cxn ang="0">
                  <a:pos x="9" y="28"/>
                </a:cxn>
                <a:cxn ang="0">
                  <a:pos x="46" y="26"/>
                </a:cxn>
                <a:cxn ang="0">
                  <a:pos x="54" y="19"/>
                </a:cxn>
                <a:cxn ang="0">
                  <a:pos x="44" y="8"/>
                </a:cxn>
                <a:cxn ang="0">
                  <a:pos x="44" y="8"/>
                </a:cxn>
              </a:cxnLst>
              <a:rect l="0" t="0" r="r" b="b"/>
              <a:pathLst>
                <a:path w="54" h="28">
                  <a:moveTo>
                    <a:pt x="44" y="8"/>
                  </a:moveTo>
                  <a:lnTo>
                    <a:pt x="15" y="0"/>
                  </a:lnTo>
                  <a:lnTo>
                    <a:pt x="1" y="17"/>
                  </a:lnTo>
                  <a:lnTo>
                    <a:pt x="0" y="21"/>
                  </a:lnTo>
                  <a:lnTo>
                    <a:pt x="9" y="28"/>
                  </a:lnTo>
                  <a:lnTo>
                    <a:pt x="46" y="26"/>
                  </a:lnTo>
                  <a:lnTo>
                    <a:pt x="54" y="19"/>
                  </a:lnTo>
                  <a:lnTo>
                    <a:pt x="44" y="8"/>
                  </a:lnTo>
                  <a:lnTo>
                    <a:pt x="44" y="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24" name="Freeform 5695"/>
            <p:cNvSpPr>
              <a:spLocks/>
            </p:cNvSpPr>
            <p:nvPr>
              <p:custDataLst>
                <p:tags r:id="rId60"/>
              </p:custDataLst>
            </p:nvPr>
          </p:nvSpPr>
          <p:spPr bwMode="gray">
            <a:xfrm>
              <a:off x="8218928" y="3643910"/>
              <a:ext cx="168085" cy="91204"/>
            </a:xfrm>
            <a:custGeom>
              <a:avLst/>
              <a:gdLst/>
              <a:ahLst/>
              <a:cxnLst>
                <a:cxn ang="0">
                  <a:pos x="127" y="58"/>
                </a:cxn>
                <a:cxn ang="0">
                  <a:pos x="127" y="43"/>
                </a:cxn>
                <a:cxn ang="0">
                  <a:pos x="94" y="43"/>
                </a:cxn>
                <a:cxn ang="0">
                  <a:pos x="58" y="18"/>
                </a:cxn>
                <a:cxn ang="0">
                  <a:pos x="51" y="20"/>
                </a:cxn>
                <a:cxn ang="0">
                  <a:pos x="30" y="2"/>
                </a:cxn>
                <a:cxn ang="0">
                  <a:pos x="9" y="0"/>
                </a:cxn>
                <a:cxn ang="0">
                  <a:pos x="0" y="26"/>
                </a:cxn>
                <a:cxn ang="0">
                  <a:pos x="47" y="52"/>
                </a:cxn>
                <a:cxn ang="0">
                  <a:pos x="67" y="54"/>
                </a:cxn>
                <a:cxn ang="0">
                  <a:pos x="82" y="65"/>
                </a:cxn>
                <a:cxn ang="0">
                  <a:pos x="116" y="71"/>
                </a:cxn>
                <a:cxn ang="0">
                  <a:pos x="131" y="71"/>
                </a:cxn>
                <a:cxn ang="0">
                  <a:pos x="127" y="58"/>
                </a:cxn>
                <a:cxn ang="0">
                  <a:pos x="127" y="58"/>
                </a:cxn>
              </a:cxnLst>
              <a:rect l="0" t="0" r="r" b="b"/>
              <a:pathLst>
                <a:path w="131" h="71">
                  <a:moveTo>
                    <a:pt x="127" y="58"/>
                  </a:moveTo>
                  <a:lnTo>
                    <a:pt x="127" y="43"/>
                  </a:lnTo>
                  <a:lnTo>
                    <a:pt x="94" y="43"/>
                  </a:lnTo>
                  <a:lnTo>
                    <a:pt x="58" y="18"/>
                  </a:lnTo>
                  <a:lnTo>
                    <a:pt x="51" y="20"/>
                  </a:lnTo>
                  <a:lnTo>
                    <a:pt x="30" y="2"/>
                  </a:lnTo>
                  <a:lnTo>
                    <a:pt x="9" y="0"/>
                  </a:lnTo>
                  <a:lnTo>
                    <a:pt x="0" y="26"/>
                  </a:lnTo>
                  <a:lnTo>
                    <a:pt x="47" y="52"/>
                  </a:lnTo>
                  <a:lnTo>
                    <a:pt x="67" y="54"/>
                  </a:lnTo>
                  <a:lnTo>
                    <a:pt x="82" y="65"/>
                  </a:lnTo>
                  <a:lnTo>
                    <a:pt x="116" y="71"/>
                  </a:lnTo>
                  <a:lnTo>
                    <a:pt x="131" y="71"/>
                  </a:lnTo>
                  <a:lnTo>
                    <a:pt x="127" y="58"/>
                  </a:lnTo>
                  <a:lnTo>
                    <a:pt x="127" y="5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25" name="Freeform 5696"/>
            <p:cNvSpPr>
              <a:spLocks/>
            </p:cNvSpPr>
            <p:nvPr>
              <p:custDataLst>
                <p:tags r:id="rId61"/>
              </p:custDataLst>
            </p:nvPr>
          </p:nvSpPr>
          <p:spPr bwMode="gray">
            <a:xfrm>
              <a:off x="7830151" y="3484625"/>
              <a:ext cx="306659" cy="314717"/>
            </a:xfrm>
            <a:custGeom>
              <a:avLst/>
              <a:gdLst/>
              <a:ahLst/>
              <a:cxnLst>
                <a:cxn ang="0">
                  <a:pos x="136" y="234"/>
                </a:cxn>
                <a:cxn ang="0">
                  <a:pos x="168" y="234"/>
                </a:cxn>
                <a:cxn ang="0">
                  <a:pos x="168" y="223"/>
                </a:cxn>
                <a:cxn ang="0">
                  <a:pos x="161" y="208"/>
                </a:cxn>
                <a:cxn ang="0">
                  <a:pos x="153" y="202"/>
                </a:cxn>
                <a:cxn ang="0">
                  <a:pos x="153" y="193"/>
                </a:cxn>
                <a:cxn ang="0">
                  <a:pos x="142" y="191"/>
                </a:cxn>
                <a:cxn ang="0">
                  <a:pos x="142" y="178"/>
                </a:cxn>
                <a:cxn ang="0">
                  <a:pos x="151" y="167"/>
                </a:cxn>
                <a:cxn ang="0">
                  <a:pos x="161" y="170"/>
                </a:cxn>
                <a:cxn ang="0">
                  <a:pos x="174" y="167"/>
                </a:cxn>
                <a:cxn ang="0">
                  <a:pos x="211" y="107"/>
                </a:cxn>
                <a:cxn ang="0">
                  <a:pos x="208" y="94"/>
                </a:cxn>
                <a:cxn ang="0">
                  <a:pos x="215" y="90"/>
                </a:cxn>
                <a:cxn ang="0">
                  <a:pos x="215" y="84"/>
                </a:cxn>
                <a:cxn ang="0">
                  <a:pos x="194" y="71"/>
                </a:cxn>
                <a:cxn ang="0">
                  <a:pos x="193" y="52"/>
                </a:cxn>
                <a:cxn ang="0">
                  <a:pos x="185" y="45"/>
                </a:cxn>
                <a:cxn ang="0">
                  <a:pos x="187" y="39"/>
                </a:cxn>
                <a:cxn ang="0">
                  <a:pos x="215" y="45"/>
                </a:cxn>
                <a:cxn ang="0">
                  <a:pos x="232" y="39"/>
                </a:cxn>
                <a:cxn ang="0">
                  <a:pos x="239" y="28"/>
                </a:cxn>
                <a:cxn ang="0">
                  <a:pos x="215" y="19"/>
                </a:cxn>
                <a:cxn ang="0">
                  <a:pos x="206" y="4"/>
                </a:cxn>
                <a:cxn ang="0">
                  <a:pos x="187" y="0"/>
                </a:cxn>
                <a:cxn ang="0">
                  <a:pos x="174" y="2"/>
                </a:cxn>
                <a:cxn ang="0">
                  <a:pos x="161" y="2"/>
                </a:cxn>
                <a:cxn ang="0">
                  <a:pos x="142" y="13"/>
                </a:cxn>
                <a:cxn ang="0">
                  <a:pos x="148" y="36"/>
                </a:cxn>
                <a:cxn ang="0">
                  <a:pos x="142" y="54"/>
                </a:cxn>
                <a:cxn ang="0">
                  <a:pos x="127" y="54"/>
                </a:cxn>
                <a:cxn ang="0">
                  <a:pos x="133" y="64"/>
                </a:cxn>
                <a:cxn ang="0">
                  <a:pos x="125" y="73"/>
                </a:cxn>
                <a:cxn ang="0">
                  <a:pos x="121" y="96"/>
                </a:cxn>
                <a:cxn ang="0">
                  <a:pos x="89" y="103"/>
                </a:cxn>
                <a:cxn ang="0">
                  <a:pos x="84" y="111"/>
                </a:cxn>
                <a:cxn ang="0">
                  <a:pos x="82" y="131"/>
                </a:cxn>
                <a:cxn ang="0">
                  <a:pos x="22" y="139"/>
                </a:cxn>
                <a:cxn ang="0">
                  <a:pos x="0" y="131"/>
                </a:cxn>
                <a:cxn ang="0">
                  <a:pos x="0" y="131"/>
                </a:cxn>
                <a:cxn ang="0">
                  <a:pos x="16" y="156"/>
                </a:cxn>
                <a:cxn ang="0">
                  <a:pos x="30" y="161"/>
                </a:cxn>
                <a:cxn ang="0">
                  <a:pos x="43" y="180"/>
                </a:cxn>
                <a:cxn ang="0">
                  <a:pos x="41" y="187"/>
                </a:cxn>
                <a:cxn ang="0">
                  <a:pos x="22" y="200"/>
                </a:cxn>
                <a:cxn ang="0">
                  <a:pos x="20" y="215"/>
                </a:cxn>
                <a:cxn ang="0">
                  <a:pos x="56" y="214"/>
                </a:cxn>
                <a:cxn ang="0">
                  <a:pos x="69" y="217"/>
                </a:cxn>
                <a:cxn ang="0">
                  <a:pos x="99" y="214"/>
                </a:cxn>
                <a:cxn ang="0">
                  <a:pos x="114" y="240"/>
                </a:cxn>
                <a:cxn ang="0">
                  <a:pos x="125" y="245"/>
                </a:cxn>
                <a:cxn ang="0">
                  <a:pos x="136" y="234"/>
                </a:cxn>
                <a:cxn ang="0">
                  <a:pos x="136" y="234"/>
                </a:cxn>
              </a:cxnLst>
              <a:rect l="0" t="0" r="r" b="b"/>
              <a:pathLst>
                <a:path w="239" h="245">
                  <a:moveTo>
                    <a:pt x="136" y="234"/>
                  </a:moveTo>
                  <a:lnTo>
                    <a:pt x="168" y="234"/>
                  </a:lnTo>
                  <a:lnTo>
                    <a:pt x="168" y="223"/>
                  </a:lnTo>
                  <a:lnTo>
                    <a:pt x="161" y="208"/>
                  </a:lnTo>
                  <a:lnTo>
                    <a:pt x="153" y="202"/>
                  </a:lnTo>
                  <a:lnTo>
                    <a:pt x="153" y="193"/>
                  </a:lnTo>
                  <a:lnTo>
                    <a:pt x="142" y="191"/>
                  </a:lnTo>
                  <a:lnTo>
                    <a:pt x="142" y="178"/>
                  </a:lnTo>
                  <a:lnTo>
                    <a:pt x="151" y="167"/>
                  </a:lnTo>
                  <a:lnTo>
                    <a:pt x="161" y="170"/>
                  </a:lnTo>
                  <a:lnTo>
                    <a:pt x="174" y="167"/>
                  </a:lnTo>
                  <a:lnTo>
                    <a:pt x="211" y="107"/>
                  </a:lnTo>
                  <a:lnTo>
                    <a:pt x="208" y="94"/>
                  </a:lnTo>
                  <a:lnTo>
                    <a:pt x="215" y="90"/>
                  </a:lnTo>
                  <a:lnTo>
                    <a:pt x="215" y="84"/>
                  </a:lnTo>
                  <a:lnTo>
                    <a:pt x="194" y="71"/>
                  </a:lnTo>
                  <a:lnTo>
                    <a:pt x="193" y="52"/>
                  </a:lnTo>
                  <a:lnTo>
                    <a:pt x="185" y="45"/>
                  </a:lnTo>
                  <a:lnTo>
                    <a:pt x="187" y="39"/>
                  </a:lnTo>
                  <a:lnTo>
                    <a:pt x="215" y="45"/>
                  </a:lnTo>
                  <a:lnTo>
                    <a:pt x="232" y="39"/>
                  </a:lnTo>
                  <a:lnTo>
                    <a:pt x="239" y="28"/>
                  </a:lnTo>
                  <a:lnTo>
                    <a:pt x="215" y="19"/>
                  </a:lnTo>
                  <a:lnTo>
                    <a:pt x="206" y="4"/>
                  </a:lnTo>
                  <a:lnTo>
                    <a:pt x="187" y="0"/>
                  </a:lnTo>
                  <a:lnTo>
                    <a:pt x="174" y="2"/>
                  </a:lnTo>
                  <a:lnTo>
                    <a:pt x="161" y="2"/>
                  </a:lnTo>
                  <a:lnTo>
                    <a:pt x="142" y="13"/>
                  </a:lnTo>
                  <a:lnTo>
                    <a:pt x="148" y="36"/>
                  </a:lnTo>
                  <a:lnTo>
                    <a:pt x="142" y="54"/>
                  </a:lnTo>
                  <a:lnTo>
                    <a:pt x="127" y="54"/>
                  </a:lnTo>
                  <a:lnTo>
                    <a:pt x="133" y="64"/>
                  </a:lnTo>
                  <a:lnTo>
                    <a:pt x="125" y="73"/>
                  </a:lnTo>
                  <a:lnTo>
                    <a:pt x="121" y="96"/>
                  </a:lnTo>
                  <a:lnTo>
                    <a:pt x="89" y="103"/>
                  </a:lnTo>
                  <a:lnTo>
                    <a:pt x="84" y="111"/>
                  </a:lnTo>
                  <a:lnTo>
                    <a:pt x="82" y="131"/>
                  </a:lnTo>
                  <a:lnTo>
                    <a:pt x="22" y="139"/>
                  </a:lnTo>
                  <a:lnTo>
                    <a:pt x="0" y="131"/>
                  </a:lnTo>
                  <a:lnTo>
                    <a:pt x="0" y="131"/>
                  </a:lnTo>
                  <a:lnTo>
                    <a:pt x="16" y="156"/>
                  </a:lnTo>
                  <a:lnTo>
                    <a:pt x="30" y="161"/>
                  </a:lnTo>
                  <a:lnTo>
                    <a:pt x="43" y="180"/>
                  </a:lnTo>
                  <a:lnTo>
                    <a:pt x="41" y="187"/>
                  </a:lnTo>
                  <a:lnTo>
                    <a:pt x="22" y="200"/>
                  </a:lnTo>
                  <a:lnTo>
                    <a:pt x="20" y="215"/>
                  </a:lnTo>
                  <a:lnTo>
                    <a:pt x="56" y="214"/>
                  </a:lnTo>
                  <a:lnTo>
                    <a:pt x="69" y="217"/>
                  </a:lnTo>
                  <a:lnTo>
                    <a:pt x="99" y="214"/>
                  </a:lnTo>
                  <a:lnTo>
                    <a:pt x="114" y="240"/>
                  </a:lnTo>
                  <a:lnTo>
                    <a:pt x="125" y="245"/>
                  </a:lnTo>
                  <a:lnTo>
                    <a:pt x="136" y="234"/>
                  </a:lnTo>
                  <a:lnTo>
                    <a:pt x="136" y="23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26" name="Freeform 5697"/>
            <p:cNvSpPr>
              <a:spLocks/>
            </p:cNvSpPr>
            <p:nvPr>
              <p:custDataLst>
                <p:tags r:id="rId62"/>
              </p:custDataLst>
            </p:nvPr>
          </p:nvSpPr>
          <p:spPr bwMode="gray">
            <a:xfrm>
              <a:off x="9077317" y="3448657"/>
              <a:ext cx="74419" cy="98911"/>
            </a:xfrm>
            <a:custGeom>
              <a:avLst/>
              <a:gdLst/>
              <a:ahLst/>
              <a:cxnLst>
                <a:cxn ang="0">
                  <a:pos x="0" y="13"/>
                </a:cxn>
                <a:cxn ang="0">
                  <a:pos x="5" y="6"/>
                </a:cxn>
                <a:cxn ang="0">
                  <a:pos x="22" y="0"/>
                </a:cxn>
                <a:cxn ang="0">
                  <a:pos x="41" y="19"/>
                </a:cxn>
                <a:cxn ang="0">
                  <a:pos x="58" y="47"/>
                </a:cxn>
                <a:cxn ang="0">
                  <a:pos x="58" y="60"/>
                </a:cxn>
                <a:cxn ang="0">
                  <a:pos x="26" y="77"/>
                </a:cxn>
                <a:cxn ang="0">
                  <a:pos x="15" y="58"/>
                </a:cxn>
                <a:cxn ang="0">
                  <a:pos x="18" y="50"/>
                </a:cxn>
                <a:cxn ang="0">
                  <a:pos x="0" y="28"/>
                </a:cxn>
                <a:cxn ang="0">
                  <a:pos x="9" y="28"/>
                </a:cxn>
                <a:cxn ang="0">
                  <a:pos x="2" y="21"/>
                </a:cxn>
                <a:cxn ang="0">
                  <a:pos x="0" y="13"/>
                </a:cxn>
                <a:cxn ang="0">
                  <a:pos x="0" y="13"/>
                </a:cxn>
              </a:cxnLst>
              <a:rect l="0" t="0" r="r" b="b"/>
              <a:pathLst>
                <a:path w="58" h="77">
                  <a:moveTo>
                    <a:pt x="0" y="13"/>
                  </a:moveTo>
                  <a:lnTo>
                    <a:pt x="5" y="6"/>
                  </a:lnTo>
                  <a:lnTo>
                    <a:pt x="22" y="0"/>
                  </a:lnTo>
                  <a:lnTo>
                    <a:pt x="41" y="19"/>
                  </a:lnTo>
                  <a:lnTo>
                    <a:pt x="58" y="47"/>
                  </a:lnTo>
                  <a:lnTo>
                    <a:pt x="58" y="60"/>
                  </a:lnTo>
                  <a:lnTo>
                    <a:pt x="26" y="77"/>
                  </a:lnTo>
                  <a:lnTo>
                    <a:pt x="15" y="58"/>
                  </a:lnTo>
                  <a:lnTo>
                    <a:pt x="18" y="50"/>
                  </a:lnTo>
                  <a:lnTo>
                    <a:pt x="0" y="28"/>
                  </a:lnTo>
                  <a:lnTo>
                    <a:pt x="9" y="28"/>
                  </a:lnTo>
                  <a:lnTo>
                    <a:pt x="2" y="21"/>
                  </a:lnTo>
                  <a:lnTo>
                    <a:pt x="0" y="13"/>
                  </a:lnTo>
                  <a:lnTo>
                    <a:pt x="0" y="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27" name="Freeform 5698"/>
            <p:cNvSpPr>
              <a:spLocks/>
            </p:cNvSpPr>
            <p:nvPr>
              <p:custDataLst>
                <p:tags r:id="rId63"/>
              </p:custDataLst>
            </p:nvPr>
          </p:nvSpPr>
          <p:spPr bwMode="gray">
            <a:xfrm>
              <a:off x="8229193" y="3131371"/>
              <a:ext cx="605620" cy="242782"/>
            </a:xfrm>
            <a:custGeom>
              <a:avLst/>
              <a:gdLst/>
              <a:ahLst/>
              <a:cxnLst>
                <a:cxn ang="0">
                  <a:pos x="393" y="50"/>
                </a:cxn>
                <a:cxn ang="0">
                  <a:pos x="410" y="80"/>
                </a:cxn>
                <a:cxn ang="0">
                  <a:pos x="428" y="82"/>
                </a:cxn>
                <a:cxn ang="0">
                  <a:pos x="445" y="76"/>
                </a:cxn>
                <a:cxn ang="0">
                  <a:pos x="462" y="84"/>
                </a:cxn>
                <a:cxn ang="0">
                  <a:pos x="472" y="99"/>
                </a:cxn>
                <a:cxn ang="0">
                  <a:pos x="436" y="99"/>
                </a:cxn>
                <a:cxn ang="0">
                  <a:pos x="428" y="114"/>
                </a:cxn>
                <a:cxn ang="0">
                  <a:pos x="415" y="120"/>
                </a:cxn>
                <a:cxn ang="0">
                  <a:pos x="406" y="133"/>
                </a:cxn>
                <a:cxn ang="0">
                  <a:pos x="385" y="127"/>
                </a:cxn>
                <a:cxn ang="0">
                  <a:pos x="380" y="136"/>
                </a:cxn>
                <a:cxn ang="0">
                  <a:pos x="391" y="151"/>
                </a:cxn>
                <a:cxn ang="0">
                  <a:pos x="374" y="172"/>
                </a:cxn>
                <a:cxn ang="0">
                  <a:pos x="370" y="174"/>
                </a:cxn>
                <a:cxn ang="0">
                  <a:pos x="339" y="176"/>
                </a:cxn>
                <a:cxn ang="0">
                  <a:pos x="307" y="189"/>
                </a:cxn>
                <a:cxn ang="0">
                  <a:pos x="234" y="168"/>
                </a:cxn>
                <a:cxn ang="0">
                  <a:pos x="176" y="168"/>
                </a:cxn>
                <a:cxn ang="0">
                  <a:pos x="138" y="138"/>
                </a:cxn>
                <a:cxn ang="0">
                  <a:pos x="67" y="121"/>
                </a:cxn>
                <a:cxn ang="0">
                  <a:pos x="58" y="95"/>
                </a:cxn>
                <a:cxn ang="0">
                  <a:pos x="43" y="78"/>
                </a:cxn>
                <a:cxn ang="0">
                  <a:pos x="22" y="75"/>
                </a:cxn>
                <a:cxn ang="0">
                  <a:pos x="0" y="56"/>
                </a:cxn>
                <a:cxn ang="0">
                  <a:pos x="3" y="48"/>
                </a:cxn>
                <a:cxn ang="0">
                  <a:pos x="44" y="28"/>
                </a:cxn>
                <a:cxn ang="0">
                  <a:pos x="80" y="30"/>
                </a:cxn>
                <a:cxn ang="0">
                  <a:pos x="97" y="39"/>
                </a:cxn>
                <a:cxn ang="0">
                  <a:pos x="134" y="37"/>
                </a:cxn>
                <a:cxn ang="0">
                  <a:pos x="133" y="26"/>
                </a:cxn>
                <a:cxn ang="0">
                  <a:pos x="123" y="13"/>
                </a:cxn>
                <a:cxn ang="0">
                  <a:pos x="134" y="0"/>
                </a:cxn>
                <a:cxn ang="0">
                  <a:pos x="177" y="11"/>
                </a:cxn>
                <a:cxn ang="0">
                  <a:pos x="204" y="31"/>
                </a:cxn>
                <a:cxn ang="0">
                  <a:pos x="239" y="28"/>
                </a:cxn>
                <a:cxn ang="0">
                  <a:pos x="314" y="52"/>
                </a:cxn>
                <a:cxn ang="0">
                  <a:pos x="314" y="52"/>
                </a:cxn>
                <a:cxn ang="0">
                  <a:pos x="354" y="46"/>
                </a:cxn>
                <a:cxn ang="0">
                  <a:pos x="370" y="33"/>
                </a:cxn>
                <a:cxn ang="0">
                  <a:pos x="397" y="39"/>
                </a:cxn>
                <a:cxn ang="0">
                  <a:pos x="393" y="50"/>
                </a:cxn>
                <a:cxn ang="0">
                  <a:pos x="393" y="50"/>
                </a:cxn>
              </a:cxnLst>
              <a:rect l="0" t="0" r="r" b="b"/>
              <a:pathLst>
                <a:path w="472" h="189">
                  <a:moveTo>
                    <a:pt x="393" y="50"/>
                  </a:moveTo>
                  <a:lnTo>
                    <a:pt x="410" y="80"/>
                  </a:lnTo>
                  <a:lnTo>
                    <a:pt x="428" y="82"/>
                  </a:lnTo>
                  <a:lnTo>
                    <a:pt x="445" y="76"/>
                  </a:lnTo>
                  <a:lnTo>
                    <a:pt x="462" y="84"/>
                  </a:lnTo>
                  <a:lnTo>
                    <a:pt x="472" y="99"/>
                  </a:lnTo>
                  <a:lnTo>
                    <a:pt x="436" y="99"/>
                  </a:lnTo>
                  <a:lnTo>
                    <a:pt x="428" y="114"/>
                  </a:lnTo>
                  <a:lnTo>
                    <a:pt x="415" y="120"/>
                  </a:lnTo>
                  <a:lnTo>
                    <a:pt x="406" y="133"/>
                  </a:lnTo>
                  <a:lnTo>
                    <a:pt x="385" y="127"/>
                  </a:lnTo>
                  <a:lnTo>
                    <a:pt x="380" y="136"/>
                  </a:lnTo>
                  <a:lnTo>
                    <a:pt x="391" y="151"/>
                  </a:lnTo>
                  <a:lnTo>
                    <a:pt x="374" y="172"/>
                  </a:lnTo>
                  <a:lnTo>
                    <a:pt x="370" y="174"/>
                  </a:lnTo>
                  <a:lnTo>
                    <a:pt x="339" y="176"/>
                  </a:lnTo>
                  <a:lnTo>
                    <a:pt x="307" y="189"/>
                  </a:lnTo>
                  <a:lnTo>
                    <a:pt x="234" y="168"/>
                  </a:lnTo>
                  <a:lnTo>
                    <a:pt x="176" y="168"/>
                  </a:lnTo>
                  <a:lnTo>
                    <a:pt x="138" y="138"/>
                  </a:lnTo>
                  <a:lnTo>
                    <a:pt x="67" y="121"/>
                  </a:lnTo>
                  <a:lnTo>
                    <a:pt x="58" y="95"/>
                  </a:lnTo>
                  <a:lnTo>
                    <a:pt x="43" y="78"/>
                  </a:lnTo>
                  <a:lnTo>
                    <a:pt x="22" y="75"/>
                  </a:lnTo>
                  <a:lnTo>
                    <a:pt x="0" y="56"/>
                  </a:lnTo>
                  <a:lnTo>
                    <a:pt x="3" y="48"/>
                  </a:lnTo>
                  <a:lnTo>
                    <a:pt x="44" y="28"/>
                  </a:lnTo>
                  <a:lnTo>
                    <a:pt x="80" y="30"/>
                  </a:lnTo>
                  <a:lnTo>
                    <a:pt x="97" y="39"/>
                  </a:lnTo>
                  <a:lnTo>
                    <a:pt x="134" y="37"/>
                  </a:lnTo>
                  <a:lnTo>
                    <a:pt x="133" y="26"/>
                  </a:lnTo>
                  <a:lnTo>
                    <a:pt x="123" y="13"/>
                  </a:lnTo>
                  <a:lnTo>
                    <a:pt x="134" y="0"/>
                  </a:lnTo>
                  <a:lnTo>
                    <a:pt x="177" y="11"/>
                  </a:lnTo>
                  <a:lnTo>
                    <a:pt x="204" y="31"/>
                  </a:lnTo>
                  <a:lnTo>
                    <a:pt x="239" y="28"/>
                  </a:lnTo>
                  <a:lnTo>
                    <a:pt x="314" y="52"/>
                  </a:lnTo>
                  <a:lnTo>
                    <a:pt x="314" y="52"/>
                  </a:lnTo>
                  <a:lnTo>
                    <a:pt x="354" y="46"/>
                  </a:lnTo>
                  <a:lnTo>
                    <a:pt x="370" y="33"/>
                  </a:lnTo>
                  <a:lnTo>
                    <a:pt x="397" y="39"/>
                  </a:lnTo>
                  <a:lnTo>
                    <a:pt x="393" y="50"/>
                  </a:lnTo>
                  <a:lnTo>
                    <a:pt x="393" y="5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28" name="Freeform 5699"/>
            <p:cNvSpPr>
              <a:spLocks/>
            </p:cNvSpPr>
            <p:nvPr>
              <p:custDataLst>
                <p:tags r:id="rId64"/>
              </p:custDataLst>
            </p:nvPr>
          </p:nvSpPr>
          <p:spPr bwMode="gray">
            <a:xfrm>
              <a:off x="7115469" y="3366445"/>
              <a:ext cx="370814" cy="142586"/>
            </a:xfrm>
            <a:custGeom>
              <a:avLst/>
              <a:gdLst/>
              <a:ahLst/>
              <a:cxnLst>
                <a:cxn ang="0">
                  <a:pos x="257" y="17"/>
                </a:cxn>
                <a:cxn ang="0">
                  <a:pos x="251" y="8"/>
                </a:cxn>
                <a:cxn ang="0">
                  <a:pos x="231" y="6"/>
                </a:cxn>
                <a:cxn ang="0">
                  <a:pos x="231" y="6"/>
                </a:cxn>
                <a:cxn ang="0">
                  <a:pos x="206" y="17"/>
                </a:cxn>
                <a:cxn ang="0">
                  <a:pos x="167" y="17"/>
                </a:cxn>
                <a:cxn ang="0">
                  <a:pos x="131" y="0"/>
                </a:cxn>
                <a:cxn ang="0">
                  <a:pos x="105" y="0"/>
                </a:cxn>
                <a:cxn ang="0">
                  <a:pos x="75" y="17"/>
                </a:cxn>
                <a:cxn ang="0">
                  <a:pos x="56" y="17"/>
                </a:cxn>
                <a:cxn ang="0">
                  <a:pos x="38" y="11"/>
                </a:cxn>
                <a:cxn ang="0">
                  <a:pos x="28" y="2"/>
                </a:cxn>
                <a:cxn ang="0">
                  <a:pos x="4" y="2"/>
                </a:cxn>
                <a:cxn ang="0">
                  <a:pos x="4" y="2"/>
                </a:cxn>
                <a:cxn ang="0">
                  <a:pos x="0" y="26"/>
                </a:cxn>
                <a:cxn ang="0">
                  <a:pos x="8" y="25"/>
                </a:cxn>
                <a:cxn ang="0">
                  <a:pos x="4" y="34"/>
                </a:cxn>
                <a:cxn ang="0">
                  <a:pos x="21" y="19"/>
                </a:cxn>
                <a:cxn ang="0">
                  <a:pos x="41" y="17"/>
                </a:cxn>
                <a:cxn ang="0">
                  <a:pos x="51" y="25"/>
                </a:cxn>
                <a:cxn ang="0">
                  <a:pos x="43" y="25"/>
                </a:cxn>
                <a:cxn ang="0">
                  <a:pos x="47" y="30"/>
                </a:cxn>
                <a:cxn ang="0">
                  <a:pos x="12" y="30"/>
                </a:cxn>
                <a:cxn ang="0">
                  <a:pos x="4" y="36"/>
                </a:cxn>
                <a:cxn ang="0">
                  <a:pos x="0" y="47"/>
                </a:cxn>
                <a:cxn ang="0">
                  <a:pos x="13" y="45"/>
                </a:cxn>
                <a:cxn ang="0">
                  <a:pos x="15" y="66"/>
                </a:cxn>
                <a:cxn ang="0">
                  <a:pos x="8" y="62"/>
                </a:cxn>
                <a:cxn ang="0">
                  <a:pos x="6" y="68"/>
                </a:cxn>
                <a:cxn ang="0">
                  <a:pos x="21" y="73"/>
                </a:cxn>
                <a:cxn ang="0">
                  <a:pos x="19" y="81"/>
                </a:cxn>
                <a:cxn ang="0">
                  <a:pos x="26" y="86"/>
                </a:cxn>
                <a:cxn ang="0">
                  <a:pos x="21" y="92"/>
                </a:cxn>
                <a:cxn ang="0">
                  <a:pos x="36" y="92"/>
                </a:cxn>
                <a:cxn ang="0">
                  <a:pos x="34" y="96"/>
                </a:cxn>
                <a:cxn ang="0">
                  <a:pos x="62" y="107"/>
                </a:cxn>
                <a:cxn ang="0">
                  <a:pos x="73" y="101"/>
                </a:cxn>
                <a:cxn ang="0">
                  <a:pos x="75" y="94"/>
                </a:cxn>
                <a:cxn ang="0">
                  <a:pos x="85" y="96"/>
                </a:cxn>
                <a:cxn ang="0">
                  <a:pos x="107" y="111"/>
                </a:cxn>
                <a:cxn ang="0">
                  <a:pos x="120" y="107"/>
                </a:cxn>
                <a:cxn ang="0">
                  <a:pos x="133" y="94"/>
                </a:cxn>
                <a:cxn ang="0">
                  <a:pos x="150" y="100"/>
                </a:cxn>
                <a:cxn ang="0">
                  <a:pos x="156" y="92"/>
                </a:cxn>
                <a:cxn ang="0">
                  <a:pos x="158" y="111"/>
                </a:cxn>
                <a:cxn ang="0">
                  <a:pos x="158" y="111"/>
                </a:cxn>
                <a:cxn ang="0">
                  <a:pos x="167" y="103"/>
                </a:cxn>
                <a:cxn ang="0">
                  <a:pos x="165" y="94"/>
                </a:cxn>
                <a:cxn ang="0">
                  <a:pos x="191" y="92"/>
                </a:cxn>
                <a:cxn ang="0">
                  <a:pos x="206" y="96"/>
                </a:cxn>
                <a:cxn ang="0">
                  <a:pos x="229" y="88"/>
                </a:cxn>
                <a:cxn ang="0">
                  <a:pos x="255" y="88"/>
                </a:cxn>
                <a:cxn ang="0">
                  <a:pos x="261" y="83"/>
                </a:cxn>
                <a:cxn ang="0">
                  <a:pos x="289" y="86"/>
                </a:cxn>
                <a:cxn ang="0">
                  <a:pos x="274" y="47"/>
                </a:cxn>
                <a:cxn ang="0">
                  <a:pos x="279" y="38"/>
                </a:cxn>
                <a:cxn ang="0">
                  <a:pos x="279" y="38"/>
                </a:cxn>
                <a:cxn ang="0">
                  <a:pos x="268" y="30"/>
                </a:cxn>
                <a:cxn ang="0">
                  <a:pos x="257" y="17"/>
                </a:cxn>
                <a:cxn ang="0">
                  <a:pos x="257" y="17"/>
                </a:cxn>
              </a:cxnLst>
              <a:rect l="0" t="0" r="r" b="b"/>
              <a:pathLst>
                <a:path w="289" h="111">
                  <a:moveTo>
                    <a:pt x="257" y="17"/>
                  </a:moveTo>
                  <a:lnTo>
                    <a:pt x="251" y="8"/>
                  </a:lnTo>
                  <a:lnTo>
                    <a:pt x="231" y="6"/>
                  </a:lnTo>
                  <a:lnTo>
                    <a:pt x="231" y="6"/>
                  </a:lnTo>
                  <a:lnTo>
                    <a:pt x="206" y="17"/>
                  </a:lnTo>
                  <a:lnTo>
                    <a:pt x="167" y="17"/>
                  </a:lnTo>
                  <a:lnTo>
                    <a:pt x="131" y="0"/>
                  </a:lnTo>
                  <a:lnTo>
                    <a:pt x="105" y="0"/>
                  </a:lnTo>
                  <a:lnTo>
                    <a:pt x="75" y="17"/>
                  </a:lnTo>
                  <a:lnTo>
                    <a:pt x="56" y="17"/>
                  </a:lnTo>
                  <a:lnTo>
                    <a:pt x="38" y="11"/>
                  </a:lnTo>
                  <a:lnTo>
                    <a:pt x="28" y="2"/>
                  </a:lnTo>
                  <a:lnTo>
                    <a:pt x="4" y="2"/>
                  </a:lnTo>
                  <a:lnTo>
                    <a:pt x="4" y="2"/>
                  </a:lnTo>
                  <a:lnTo>
                    <a:pt x="0" y="26"/>
                  </a:lnTo>
                  <a:lnTo>
                    <a:pt x="8" y="25"/>
                  </a:lnTo>
                  <a:lnTo>
                    <a:pt x="4" y="34"/>
                  </a:lnTo>
                  <a:lnTo>
                    <a:pt x="21" y="19"/>
                  </a:lnTo>
                  <a:lnTo>
                    <a:pt x="41" y="17"/>
                  </a:lnTo>
                  <a:lnTo>
                    <a:pt x="51" y="25"/>
                  </a:lnTo>
                  <a:lnTo>
                    <a:pt x="43" y="25"/>
                  </a:lnTo>
                  <a:lnTo>
                    <a:pt x="47" y="30"/>
                  </a:lnTo>
                  <a:lnTo>
                    <a:pt x="12" y="30"/>
                  </a:lnTo>
                  <a:lnTo>
                    <a:pt x="4" y="36"/>
                  </a:lnTo>
                  <a:lnTo>
                    <a:pt x="0" y="47"/>
                  </a:lnTo>
                  <a:lnTo>
                    <a:pt x="13" y="45"/>
                  </a:lnTo>
                  <a:lnTo>
                    <a:pt x="15" y="66"/>
                  </a:lnTo>
                  <a:lnTo>
                    <a:pt x="8" y="62"/>
                  </a:lnTo>
                  <a:lnTo>
                    <a:pt x="6" y="68"/>
                  </a:lnTo>
                  <a:lnTo>
                    <a:pt x="21" y="73"/>
                  </a:lnTo>
                  <a:lnTo>
                    <a:pt x="19" y="81"/>
                  </a:lnTo>
                  <a:lnTo>
                    <a:pt x="26" y="86"/>
                  </a:lnTo>
                  <a:lnTo>
                    <a:pt x="21" y="92"/>
                  </a:lnTo>
                  <a:lnTo>
                    <a:pt x="36" y="92"/>
                  </a:lnTo>
                  <a:lnTo>
                    <a:pt x="34" y="96"/>
                  </a:lnTo>
                  <a:lnTo>
                    <a:pt x="62" y="107"/>
                  </a:lnTo>
                  <a:lnTo>
                    <a:pt x="73" y="101"/>
                  </a:lnTo>
                  <a:lnTo>
                    <a:pt x="75" y="94"/>
                  </a:lnTo>
                  <a:lnTo>
                    <a:pt x="85" y="96"/>
                  </a:lnTo>
                  <a:lnTo>
                    <a:pt x="107" y="111"/>
                  </a:lnTo>
                  <a:lnTo>
                    <a:pt x="120" y="107"/>
                  </a:lnTo>
                  <a:lnTo>
                    <a:pt x="133" y="94"/>
                  </a:lnTo>
                  <a:lnTo>
                    <a:pt x="150" y="100"/>
                  </a:lnTo>
                  <a:lnTo>
                    <a:pt x="156" y="92"/>
                  </a:lnTo>
                  <a:lnTo>
                    <a:pt x="158" y="111"/>
                  </a:lnTo>
                  <a:lnTo>
                    <a:pt x="158" y="111"/>
                  </a:lnTo>
                  <a:lnTo>
                    <a:pt x="167" y="103"/>
                  </a:lnTo>
                  <a:lnTo>
                    <a:pt x="165" y="94"/>
                  </a:lnTo>
                  <a:lnTo>
                    <a:pt x="191" y="92"/>
                  </a:lnTo>
                  <a:lnTo>
                    <a:pt x="206" y="96"/>
                  </a:lnTo>
                  <a:lnTo>
                    <a:pt x="229" y="88"/>
                  </a:lnTo>
                  <a:lnTo>
                    <a:pt x="255" y="88"/>
                  </a:lnTo>
                  <a:lnTo>
                    <a:pt x="261" y="83"/>
                  </a:lnTo>
                  <a:lnTo>
                    <a:pt x="289" y="86"/>
                  </a:lnTo>
                  <a:lnTo>
                    <a:pt x="274" y="47"/>
                  </a:lnTo>
                  <a:lnTo>
                    <a:pt x="279" y="38"/>
                  </a:lnTo>
                  <a:lnTo>
                    <a:pt x="279" y="38"/>
                  </a:lnTo>
                  <a:lnTo>
                    <a:pt x="268" y="30"/>
                  </a:lnTo>
                  <a:lnTo>
                    <a:pt x="257" y="17"/>
                  </a:lnTo>
                  <a:lnTo>
                    <a:pt x="257"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29" name="Freeform 5700"/>
            <p:cNvSpPr>
              <a:spLocks/>
            </p:cNvSpPr>
            <p:nvPr>
              <p:custDataLst>
                <p:tags r:id="rId65"/>
              </p:custDataLst>
            </p:nvPr>
          </p:nvSpPr>
          <p:spPr bwMode="gray">
            <a:xfrm>
              <a:off x="7313065" y="3479486"/>
              <a:ext cx="129592" cy="113041"/>
            </a:xfrm>
            <a:custGeom>
              <a:avLst/>
              <a:gdLst/>
              <a:ahLst/>
              <a:cxnLst>
                <a:cxn ang="0">
                  <a:pos x="101" y="0"/>
                </a:cxn>
                <a:cxn ang="0">
                  <a:pos x="75" y="0"/>
                </a:cxn>
                <a:cxn ang="0">
                  <a:pos x="52" y="8"/>
                </a:cxn>
                <a:cxn ang="0">
                  <a:pos x="37" y="4"/>
                </a:cxn>
                <a:cxn ang="0">
                  <a:pos x="11" y="6"/>
                </a:cxn>
                <a:cxn ang="0">
                  <a:pos x="13" y="15"/>
                </a:cxn>
                <a:cxn ang="0">
                  <a:pos x="4" y="23"/>
                </a:cxn>
                <a:cxn ang="0">
                  <a:pos x="4" y="23"/>
                </a:cxn>
                <a:cxn ang="0">
                  <a:pos x="4" y="51"/>
                </a:cxn>
                <a:cxn ang="0">
                  <a:pos x="15" y="53"/>
                </a:cxn>
                <a:cxn ang="0">
                  <a:pos x="2" y="73"/>
                </a:cxn>
                <a:cxn ang="0">
                  <a:pos x="0" y="83"/>
                </a:cxn>
                <a:cxn ang="0">
                  <a:pos x="15" y="88"/>
                </a:cxn>
                <a:cxn ang="0">
                  <a:pos x="49" y="70"/>
                </a:cxn>
                <a:cxn ang="0">
                  <a:pos x="84" y="49"/>
                </a:cxn>
                <a:cxn ang="0">
                  <a:pos x="84" y="13"/>
                </a:cxn>
                <a:cxn ang="0">
                  <a:pos x="101" y="0"/>
                </a:cxn>
                <a:cxn ang="0">
                  <a:pos x="101" y="0"/>
                </a:cxn>
                <a:cxn ang="0">
                  <a:pos x="101" y="0"/>
                </a:cxn>
              </a:cxnLst>
              <a:rect l="0" t="0" r="r" b="b"/>
              <a:pathLst>
                <a:path w="101" h="88">
                  <a:moveTo>
                    <a:pt x="101" y="0"/>
                  </a:moveTo>
                  <a:lnTo>
                    <a:pt x="75" y="0"/>
                  </a:lnTo>
                  <a:lnTo>
                    <a:pt x="52" y="8"/>
                  </a:lnTo>
                  <a:lnTo>
                    <a:pt x="37" y="4"/>
                  </a:lnTo>
                  <a:lnTo>
                    <a:pt x="11" y="6"/>
                  </a:lnTo>
                  <a:lnTo>
                    <a:pt x="13" y="15"/>
                  </a:lnTo>
                  <a:lnTo>
                    <a:pt x="4" y="23"/>
                  </a:lnTo>
                  <a:lnTo>
                    <a:pt x="4" y="23"/>
                  </a:lnTo>
                  <a:lnTo>
                    <a:pt x="4" y="51"/>
                  </a:lnTo>
                  <a:lnTo>
                    <a:pt x="15" y="53"/>
                  </a:lnTo>
                  <a:lnTo>
                    <a:pt x="2" y="73"/>
                  </a:lnTo>
                  <a:lnTo>
                    <a:pt x="0" y="83"/>
                  </a:lnTo>
                  <a:lnTo>
                    <a:pt x="15" y="88"/>
                  </a:lnTo>
                  <a:lnTo>
                    <a:pt x="49" y="70"/>
                  </a:lnTo>
                  <a:lnTo>
                    <a:pt x="84" y="49"/>
                  </a:lnTo>
                  <a:lnTo>
                    <a:pt x="84" y="13"/>
                  </a:lnTo>
                  <a:lnTo>
                    <a:pt x="101" y="0"/>
                  </a:lnTo>
                  <a:lnTo>
                    <a:pt x="101" y="0"/>
                  </a:lnTo>
                  <a:lnTo>
                    <a:pt x="101"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30" name="Freeform 5701"/>
            <p:cNvSpPr>
              <a:spLocks/>
            </p:cNvSpPr>
            <p:nvPr>
              <p:custDataLst>
                <p:tags r:id="rId66"/>
              </p:custDataLst>
            </p:nvPr>
          </p:nvSpPr>
          <p:spPr bwMode="gray">
            <a:xfrm>
              <a:off x="7302800" y="3569406"/>
              <a:ext cx="84684" cy="97627"/>
            </a:xfrm>
            <a:custGeom>
              <a:avLst/>
              <a:gdLst/>
              <a:ahLst/>
              <a:cxnLst>
                <a:cxn ang="0">
                  <a:pos x="8" y="13"/>
                </a:cxn>
                <a:cxn ang="0">
                  <a:pos x="23" y="18"/>
                </a:cxn>
                <a:cxn ang="0">
                  <a:pos x="57" y="0"/>
                </a:cxn>
                <a:cxn ang="0">
                  <a:pos x="66" y="22"/>
                </a:cxn>
                <a:cxn ang="0">
                  <a:pos x="34" y="35"/>
                </a:cxn>
                <a:cxn ang="0">
                  <a:pos x="49" y="52"/>
                </a:cxn>
                <a:cxn ang="0">
                  <a:pos x="40" y="63"/>
                </a:cxn>
                <a:cxn ang="0">
                  <a:pos x="30" y="63"/>
                </a:cxn>
                <a:cxn ang="0">
                  <a:pos x="21" y="76"/>
                </a:cxn>
                <a:cxn ang="0">
                  <a:pos x="4" y="75"/>
                </a:cxn>
                <a:cxn ang="0">
                  <a:pos x="4" y="75"/>
                </a:cxn>
                <a:cxn ang="0">
                  <a:pos x="8" y="41"/>
                </a:cxn>
                <a:cxn ang="0">
                  <a:pos x="0" y="26"/>
                </a:cxn>
                <a:cxn ang="0">
                  <a:pos x="8" y="13"/>
                </a:cxn>
                <a:cxn ang="0">
                  <a:pos x="8" y="13"/>
                </a:cxn>
              </a:cxnLst>
              <a:rect l="0" t="0" r="r" b="b"/>
              <a:pathLst>
                <a:path w="66" h="76">
                  <a:moveTo>
                    <a:pt x="8" y="13"/>
                  </a:moveTo>
                  <a:lnTo>
                    <a:pt x="23" y="18"/>
                  </a:lnTo>
                  <a:lnTo>
                    <a:pt x="57" y="0"/>
                  </a:lnTo>
                  <a:lnTo>
                    <a:pt x="66" y="22"/>
                  </a:lnTo>
                  <a:lnTo>
                    <a:pt x="34" y="35"/>
                  </a:lnTo>
                  <a:lnTo>
                    <a:pt x="49" y="52"/>
                  </a:lnTo>
                  <a:lnTo>
                    <a:pt x="40" y="63"/>
                  </a:lnTo>
                  <a:lnTo>
                    <a:pt x="30" y="63"/>
                  </a:lnTo>
                  <a:lnTo>
                    <a:pt x="21" y="76"/>
                  </a:lnTo>
                  <a:lnTo>
                    <a:pt x="4" y="75"/>
                  </a:lnTo>
                  <a:lnTo>
                    <a:pt x="4" y="75"/>
                  </a:lnTo>
                  <a:lnTo>
                    <a:pt x="8" y="41"/>
                  </a:lnTo>
                  <a:lnTo>
                    <a:pt x="0" y="26"/>
                  </a:lnTo>
                  <a:lnTo>
                    <a:pt x="8" y="13"/>
                  </a:lnTo>
                  <a:lnTo>
                    <a:pt x="8" y="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31" name="Freeform 5702"/>
            <p:cNvSpPr>
              <a:spLocks/>
            </p:cNvSpPr>
            <p:nvPr>
              <p:custDataLst>
                <p:tags r:id="rId67"/>
              </p:custDataLst>
            </p:nvPr>
          </p:nvSpPr>
          <p:spPr bwMode="gray">
            <a:xfrm>
              <a:off x="7375936" y="3473064"/>
              <a:ext cx="206578" cy="196538"/>
            </a:xfrm>
            <a:custGeom>
              <a:avLst/>
              <a:gdLst/>
              <a:ahLst/>
              <a:cxnLst>
                <a:cxn ang="0">
                  <a:pos x="86" y="3"/>
                </a:cxn>
                <a:cxn ang="0">
                  <a:pos x="112" y="39"/>
                </a:cxn>
                <a:cxn ang="0">
                  <a:pos x="103" y="63"/>
                </a:cxn>
                <a:cxn ang="0">
                  <a:pos x="114" y="80"/>
                </a:cxn>
                <a:cxn ang="0">
                  <a:pos x="134" y="91"/>
                </a:cxn>
                <a:cxn ang="0">
                  <a:pos x="144" y="118"/>
                </a:cxn>
                <a:cxn ang="0">
                  <a:pos x="161" y="136"/>
                </a:cxn>
                <a:cxn ang="0">
                  <a:pos x="159" y="138"/>
                </a:cxn>
                <a:cxn ang="0">
                  <a:pos x="159" y="138"/>
                </a:cxn>
                <a:cxn ang="0">
                  <a:pos x="142" y="138"/>
                </a:cxn>
                <a:cxn ang="0">
                  <a:pos x="131" y="153"/>
                </a:cxn>
                <a:cxn ang="0">
                  <a:pos x="131" y="153"/>
                </a:cxn>
                <a:cxn ang="0">
                  <a:pos x="112" y="148"/>
                </a:cxn>
                <a:cxn ang="0">
                  <a:pos x="103" y="151"/>
                </a:cxn>
                <a:cxn ang="0">
                  <a:pos x="82" y="142"/>
                </a:cxn>
                <a:cxn ang="0">
                  <a:pos x="80" y="131"/>
                </a:cxn>
                <a:cxn ang="0">
                  <a:pos x="69" y="123"/>
                </a:cxn>
                <a:cxn ang="0">
                  <a:pos x="33" y="103"/>
                </a:cxn>
                <a:cxn ang="0">
                  <a:pos x="9" y="97"/>
                </a:cxn>
                <a:cxn ang="0">
                  <a:pos x="0" y="75"/>
                </a:cxn>
                <a:cxn ang="0">
                  <a:pos x="35" y="54"/>
                </a:cxn>
                <a:cxn ang="0">
                  <a:pos x="35" y="18"/>
                </a:cxn>
                <a:cxn ang="0">
                  <a:pos x="52" y="5"/>
                </a:cxn>
                <a:cxn ang="0">
                  <a:pos x="58" y="0"/>
                </a:cxn>
                <a:cxn ang="0">
                  <a:pos x="86" y="3"/>
                </a:cxn>
                <a:cxn ang="0">
                  <a:pos x="86" y="3"/>
                </a:cxn>
              </a:cxnLst>
              <a:rect l="0" t="0" r="r" b="b"/>
              <a:pathLst>
                <a:path w="161" h="153">
                  <a:moveTo>
                    <a:pt x="86" y="3"/>
                  </a:moveTo>
                  <a:lnTo>
                    <a:pt x="112" y="39"/>
                  </a:lnTo>
                  <a:lnTo>
                    <a:pt x="103" y="63"/>
                  </a:lnTo>
                  <a:lnTo>
                    <a:pt x="114" y="80"/>
                  </a:lnTo>
                  <a:lnTo>
                    <a:pt x="134" y="91"/>
                  </a:lnTo>
                  <a:lnTo>
                    <a:pt x="144" y="118"/>
                  </a:lnTo>
                  <a:lnTo>
                    <a:pt x="161" y="136"/>
                  </a:lnTo>
                  <a:lnTo>
                    <a:pt x="159" y="138"/>
                  </a:lnTo>
                  <a:lnTo>
                    <a:pt x="159" y="138"/>
                  </a:lnTo>
                  <a:lnTo>
                    <a:pt x="142" y="138"/>
                  </a:lnTo>
                  <a:lnTo>
                    <a:pt x="131" y="153"/>
                  </a:lnTo>
                  <a:lnTo>
                    <a:pt x="131" y="153"/>
                  </a:lnTo>
                  <a:lnTo>
                    <a:pt x="112" y="148"/>
                  </a:lnTo>
                  <a:lnTo>
                    <a:pt x="103" y="151"/>
                  </a:lnTo>
                  <a:lnTo>
                    <a:pt x="82" y="142"/>
                  </a:lnTo>
                  <a:lnTo>
                    <a:pt x="80" y="131"/>
                  </a:lnTo>
                  <a:lnTo>
                    <a:pt x="69" y="123"/>
                  </a:lnTo>
                  <a:lnTo>
                    <a:pt x="33" y="103"/>
                  </a:lnTo>
                  <a:lnTo>
                    <a:pt x="9" y="97"/>
                  </a:lnTo>
                  <a:lnTo>
                    <a:pt x="0" y="75"/>
                  </a:lnTo>
                  <a:lnTo>
                    <a:pt x="35" y="54"/>
                  </a:lnTo>
                  <a:lnTo>
                    <a:pt x="35" y="18"/>
                  </a:lnTo>
                  <a:lnTo>
                    <a:pt x="52" y="5"/>
                  </a:lnTo>
                  <a:lnTo>
                    <a:pt x="58" y="0"/>
                  </a:lnTo>
                  <a:lnTo>
                    <a:pt x="86" y="3"/>
                  </a:lnTo>
                  <a:lnTo>
                    <a:pt x="86" y="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32" name="Freeform 5703"/>
            <p:cNvSpPr>
              <a:spLocks/>
            </p:cNvSpPr>
            <p:nvPr>
              <p:custDataLst>
                <p:tags r:id="rId68"/>
              </p:custDataLst>
            </p:nvPr>
          </p:nvSpPr>
          <p:spPr bwMode="gray">
            <a:xfrm>
              <a:off x="7302800" y="3544999"/>
              <a:ext cx="29511" cy="30829"/>
            </a:xfrm>
            <a:custGeom>
              <a:avLst/>
              <a:gdLst/>
              <a:ahLst/>
              <a:cxnLst>
                <a:cxn ang="0">
                  <a:pos x="12" y="0"/>
                </a:cxn>
                <a:cxn ang="0">
                  <a:pos x="23" y="2"/>
                </a:cxn>
                <a:cxn ang="0">
                  <a:pos x="10" y="22"/>
                </a:cxn>
                <a:cxn ang="0">
                  <a:pos x="0" y="24"/>
                </a:cxn>
                <a:cxn ang="0">
                  <a:pos x="12" y="0"/>
                </a:cxn>
                <a:cxn ang="0">
                  <a:pos x="12" y="0"/>
                </a:cxn>
              </a:cxnLst>
              <a:rect l="0" t="0" r="r" b="b"/>
              <a:pathLst>
                <a:path w="23" h="24">
                  <a:moveTo>
                    <a:pt x="12" y="0"/>
                  </a:moveTo>
                  <a:lnTo>
                    <a:pt x="23" y="2"/>
                  </a:lnTo>
                  <a:lnTo>
                    <a:pt x="10" y="22"/>
                  </a:lnTo>
                  <a:lnTo>
                    <a:pt x="0" y="24"/>
                  </a:lnTo>
                  <a:lnTo>
                    <a:pt x="12" y="0"/>
                  </a:lnTo>
                  <a:lnTo>
                    <a:pt x="12"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33" name="Freeform 5704"/>
            <p:cNvSpPr>
              <a:spLocks/>
            </p:cNvSpPr>
            <p:nvPr>
              <p:custDataLst>
                <p:tags r:id="rId69"/>
              </p:custDataLst>
            </p:nvPr>
          </p:nvSpPr>
          <p:spPr bwMode="gray">
            <a:xfrm>
              <a:off x="7288686" y="3573259"/>
              <a:ext cx="26945" cy="92488"/>
            </a:xfrm>
            <a:custGeom>
              <a:avLst/>
              <a:gdLst/>
              <a:ahLst/>
              <a:cxnLst>
                <a:cxn ang="0">
                  <a:pos x="19" y="10"/>
                </a:cxn>
                <a:cxn ang="0">
                  <a:pos x="11" y="23"/>
                </a:cxn>
                <a:cxn ang="0">
                  <a:pos x="19" y="38"/>
                </a:cxn>
                <a:cxn ang="0">
                  <a:pos x="15" y="72"/>
                </a:cxn>
                <a:cxn ang="0">
                  <a:pos x="15" y="72"/>
                </a:cxn>
                <a:cxn ang="0">
                  <a:pos x="0" y="36"/>
                </a:cxn>
                <a:cxn ang="0">
                  <a:pos x="4" y="32"/>
                </a:cxn>
                <a:cxn ang="0">
                  <a:pos x="11" y="2"/>
                </a:cxn>
                <a:cxn ang="0">
                  <a:pos x="21" y="0"/>
                </a:cxn>
                <a:cxn ang="0">
                  <a:pos x="19" y="10"/>
                </a:cxn>
                <a:cxn ang="0">
                  <a:pos x="19" y="10"/>
                </a:cxn>
              </a:cxnLst>
              <a:rect l="0" t="0" r="r" b="b"/>
              <a:pathLst>
                <a:path w="21" h="72">
                  <a:moveTo>
                    <a:pt x="19" y="10"/>
                  </a:moveTo>
                  <a:lnTo>
                    <a:pt x="11" y="23"/>
                  </a:lnTo>
                  <a:lnTo>
                    <a:pt x="19" y="38"/>
                  </a:lnTo>
                  <a:lnTo>
                    <a:pt x="15" y="72"/>
                  </a:lnTo>
                  <a:lnTo>
                    <a:pt x="15" y="72"/>
                  </a:lnTo>
                  <a:lnTo>
                    <a:pt x="0" y="36"/>
                  </a:lnTo>
                  <a:lnTo>
                    <a:pt x="4" y="32"/>
                  </a:lnTo>
                  <a:lnTo>
                    <a:pt x="11" y="2"/>
                  </a:lnTo>
                  <a:lnTo>
                    <a:pt x="21" y="0"/>
                  </a:lnTo>
                  <a:lnTo>
                    <a:pt x="19" y="10"/>
                  </a:lnTo>
                  <a:lnTo>
                    <a:pt x="19" y="1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34" name="Freeform 5705"/>
            <p:cNvSpPr>
              <a:spLocks/>
            </p:cNvSpPr>
            <p:nvPr>
              <p:custDataLst>
                <p:tags r:id="rId70"/>
              </p:custDataLst>
            </p:nvPr>
          </p:nvSpPr>
          <p:spPr bwMode="gray">
            <a:xfrm>
              <a:off x="7101355" y="3607942"/>
              <a:ext cx="228390" cy="232505"/>
            </a:xfrm>
            <a:custGeom>
              <a:avLst/>
              <a:gdLst/>
              <a:ahLst/>
              <a:cxnLst>
                <a:cxn ang="0">
                  <a:pos x="146" y="9"/>
                </a:cxn>
                <a:cxn ang="0">
                  <a:pos x="124" y="13"/>
                </a:cxn>
                <a:cxn ang="0">
                  <a:pos x="118" y="9"/>
                </a:cxn>
                <a:cxn ang="0">
                  <a:pos x="116" y="16"/>
                </a:cxn>
                <a:cxn ang="0">
                  <a:pos x="109" y="13"/>
                </a:cxn>
                <a:cxn ang="0">
                  <a:pos x="111" y="5"/>
                </a:cxn>
                <a:cxn ang="0">
                  <a:pos x="99" y="5"/>
                </a:cxn>
                <a:cxn ang="0">
                  <a:pos x="67" y="16"/>
                </a:cxn>
                <a:cxn ang="0">
                  <a:pos x="34" y="5"/>
                </a:cxn>
                <a:cxn ang="0">
                  <a:pos x="6" y="5"/>
                </a:cxn>
                <a:cxn ang="0">
                  <a:pos x="4" y="0"/>
                </a:cxn>
                <a:cxn ang="0">
                  <a:pos x="0" y="35"/>
                </a:cxn>
                <a:cxn ang="0">
                  <a:pos x="6" y="56"/>
                </a:cxn>
                <a:cxn ang="0">
                  <a:pos x="9" y="178"/>
                </a:cxn>
                <a:cxn ang="0">
                  <a:pos x="9" y="178"/>
                </a:cxn>
                <a:cxn ang="0">
                  <a:pos x="141" y="178"/>
                </a:cxn>
                <a:cxn ang="0">
                  <a:pos x="154" y="181"/>
                </a:cxn>
                <a:cxn ang="0">
                  <a:pos x="178" y="159"/>
                </a:cxn>
                <a:cxn ang="0">
                  <a:pos x="176" y="144"/>
                </a:cxn>
                <a:cxn ang="0">
                  <a:pos x="126" y="50"/>
                </a:cxn>
                <a:cxn ang="0">
                  <a:pos x="120" y="35"/>
                </a:cxn>
                <a:cxn ang="0">
                  <a:pos x="124" y="31"/>
                </a:cxn>
                <a:cxn ang="0">
                  <a:pos x="139" y="61"/>
                </a:cxn>
                <a:cxn ang="0">
                  <a:pos x="150" y="74"/>
                </a:cxn>
                <a:cxn ang="0">
                  <a:pos x="161" y="45"/>
                </a:cxn>
                <a:cxn ang="0">
                  <a:pos x="146" y="9"/>
                </a:cxn>
                <a:cxn ang="0">
                  <a:pos x="146" y="9"/>
                </a:cxn>
              </a:cxnLst>
              <a:rect l="0" t="0" r="r" b="b"/>
              <a:pathLst>
                <a:path w="178" h="181">
                  <a:moveTo>
                    <a:pt x="146" y="9"/>
                  </a:moveTo>
                  <a:lnTo>
                    <a:pt x="124" y="13"/>
                  </a:lnTo>
                  <a:lnTo>
                    <a:pt x="118" y="9"/>
                  </a:lnTo>
                  <a:lnTo>
                    <a:pt x="116" y="16"/>
                  </a:lnTo>
                  <a:lnTo>
                    <a:pt x="109" y="13"/>
                  </a:lnTo>
                  <a:lnTo>
                    <a:pt x="111" y="5"/>
                  </a:lnTo>
                  <a:lnTo>
                    <a:pt x="99" y="5"/>
                  </a:lnTo>
                  <a:lnTo>
                    <a:pt x="67" y="16"/>
                  </a:lnTo>
                  <a:lnTo>
                    <a:pt x="34" y="5"/>
                  </a:lnTo>
                  <a:lnTo>
                    <a:pt x="6" y="5"/>
                  </a:lnTo>
                  <a:lnTo>
                    <a:pt x="4" y="0"/>
                  </a:lnTo>
                  <a:lnTo>
                    <a:pt x="0" y="35"/>
                  </a:lnTo>
                  <a:lnTo>
                    <a:pt x="6" y="56"/>
                  </a:lnTo>
                  <a:lnTo>
                    <a:pt x="9" y="178"/>
                  </a:lnTo>
                  <a:lnTo>
                    <a:pt x="9" y="178"/>
                  </a:lnTo>
                  <a:lnTo>
                    <a:pt x="141" y="178"/>
                  </a:lnTo>
                  <a:lnTo>
                    <a:pt x="154" y="181"/>
                  </a:lnTo>
                  <a:lnTo>
                    <a:pt x="178" y="159"/>
                  </a:lnTo>
                  <a:lnTo>
                    <a:pt x="176" y="144"/>
                  </a:lnTo>
                  <a:lnTo>
                    <a:pt x="126" y="50"/>
                  </a:lnTo>
                  <a:lnTo>
                    <a:pt x="120" y="35"/>
                  </a:lnTo>
                  <a:lnTo>
                    <a:pt x="124" y="31"/>
                  </a:lnTo>
                  <a:lnTo>
                    <a:pt x="139" y="61"/>
                  </a:lnTo>
                  <a:lnTo>
                    <a:pt x="150" y="74"/>
                  </a:lnTo>
                  <a:lnTo>
                    <a:pt x="161" y="45"/>
                  </a:lnTo>
                  <a:lnTo>
                    <a:pt x="146" y="9"/>
                  </a:lnTo>
                  <a:lnTo>
                    <a:pt x="146" y="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35" name="Freeform 5706"/>
            <p:cNvSpPr>
              <a:spLocks/>
            </p:cNvSpPr>
            <p:nvPr>
              <p:custDataLst>
                <p:tags r:id="rId71"/>
              </p:custDataLst>
            </p:nvPr>
          </p:nvSpPr>
          <p:spPr bwMode="gray">
            <a:xfrm>
              <a:off x="7286120" y="3931651"/>
              <a:ext cx="310508" cy="344262"/>
            </a:xfrm>
            <a:custGeom>
              <a:avLst/>
              <a:gdLst/>
              <a:ahLst/>
              <a:cxnLst>
                <a:cxn ang="0">
                  <a:pos x="60" y="248"/>
                </a:cxn>
                <a:cxn ang="0">
                  <a:pos x="79" y="265"/>
                </a:cxn>
                <a:cxn ang="0">
                  <a:pos x="98" y="268"/>
                </a:cxn>
                <a:cxn ang="0">
                  <a:pos x="128" y="255"/>
                </a:cxn>
                <a:cxn ang="0">
                  <a:pos x="144" y="261"/>
                </a:cxn>
                <a:cxn ang="0">
                  <a:pos x="144" y="261"/>
                </a:cxn>
                <a:cxn ang="0">
                  <a:pos x="174" y="242"/>
                </a:cxn>
                <a:cxn ang="0">
                  <a:pos x="197" y="240"/>
                </a:cxn>
                <a:cxn ang="0">
                  <a:pos x="242" y="186"/>
                </a:cxn>
                <a:cxn ang="0">
                  <a:pos x="229" y="186"/>
                </a:cxn>
                <a:cxn ang="0">
                  <a:pos x="178" y="165"/>
                </a:cxn>
                <a:cxn ang="0">
                  <a:pos x="159" y="143"/>
                </a:cxn>
                <a:cxn ang="0">
                  <a:pos x="159" y="133"/>
                </a:cxn>
                <a:cxn ang="0">
                  <a:pos x="159" y="132"/>
                </a:cxn>
                <a:cxn ang="0">
                  <a:pos x="143" y="132"/>
                </a:cxn>
                <a:cxn ang="0">
                  <a:pos x="143" y="126"/>
                </a:cxn>
                <a:cxn ang="0">
                  <a:pos x="148" y="107"/>
                </a:cxn>
                <a:cxn ang="0">
                  <a:pos x="158" y="100"/>
                </a:cxn>
                <a:cxn ang="0">
                  <a:pos x="158" y="98"/>
                </a:cxn>
                <a:cxn ang="0">
                  <a:pos x="130" y="64"/>
                </a:cxn>
                <a:cxn ang="0">
                  <a:pos x="101" y="45"/>
                </a:cxn>
                <a:cxn ang="0">
                  <a:pos x="85" y="0"/>
                </a:cxn>
                <a:cxn ang="0">
                  <a:pos x="79" y="10"/>
                </a:cxn>
                <a:cxn ang="0">
                  <a:pos x="60" y="21"/>
                </a:cxn>
                <a:cxn ang="0">
                  <a:pos x="49" y="94"/>
                </a:cxn>
                <a:cxn ang="0">
                  <a:pos x="21" y="141"/>
                </a:cxn>
                <a:cxn ang="0">
                  <a:pos x="19" y="175"/>
                </a:cxn>
                <a:cxn ang="0">
                  <a:pos x="6" y="178"/>
                </a:cxn>
                <a:cxn ang="0">
                  <a:pos x="0" y="188"/>
                </a:cxn>
                <a:cxn ang="0">
                  <a:pos x="17" y="197"/>
                </a:cxn>
                <a:cxn ang="0">
                  <a:pos x="34" y="231"/>
                </a:cxn>
                <a:cxn ang="0">
                  <a:pos x="47" y="235"/>
                </a:cxn>
                <a:cxn ang="0">
                  <a:pos x="47" y="248"/>
                </a:cxn>
                <a:cxn ang="0">
                  <a:pos x="60" y="248"/>
                </a:cxn>
                <a:cxn ang="0">
                  <a:pos x="60" y="248"/>
                </a:cxn>
              </a:cxnLst>
              <a:rect l="0" t="0" r="r" b="b"/>
              <a:pathLst>
                <a:path w="242" h="268">
                  <a:moveTo>
                    <a:pt x="60" y="248"/>
                  </a:moveTo>
                  <a:lnTo>
                    <a:pt x="79" y="265"/>
                  </a:lnTo>
                  <a:lnTo>
                    <a:pt x="98" y="268"/>
                  </a:lnTo>
                  <a:lnTo>
                    <a:pt x="128" y="255"/>
                  </a:lnTo>
                  <a:lnTo>
                    <a:pt x="144" y="261"/>
                  </a:lnTo>
                  <a:lnTo>
                    <a:pt x="144" y="261"/>
                  </a:lnTo>
                  <a:lnTo>
                    <a:pt x="174" y="242"/>
                  </a:lnTo>
                  <a:lnTo>
                    <a:pt x="197" y="240"/>
                  </a:lnTo>
                  <a:lnTo>
                    <a:pt x="242" y="186"/>
                  </a:lnTo>
                  <a:lnTo>
                    <a:pt x="229" y="186"/>
                  </a:lnTo>
                  <a:lnTo>
                    <a:pt x="178" y="165"/>
                  </a:lnTo>
                  <a:lnTo>
                    <a:pt x="159" y="143"/>
                  </a:lnTo>
                  <a:lnTo>
                    <a:pt x="159" y="133"/>
                  </a:lnTo>
                  <a:lnTo>
                    <a:pt x="159" y="132"/>
                  </a:lnTo>
                  <a:lnTo>
                    <a:pt x="143" y="132"/>
                  </a:lnTo>
                  <a:lnTo>
                    <a:pt x="143" y="126"/>
                  </a:lnTo>
                  <a:lnTo>
                    <a:pt x="148" y="107"/>
                  </a:lnTo>
                  <a:lnTo>
                    <a:pt x="158" y="100"/>
                  </a:lnTo>
                  <a:lnTo>
                    <a:pt x="158" y="98"/>
                  </a:lnTo>
                  <a:lnTo>
                    <a:pt x="130" y="64"/>
                  </a:lnTo>
                  <a:lnTo>
                    <a:pt x="101" y="45"/>
                  </a:lnTo>
                  <a:lnTo>
                    <a:pt x="85" y="0"/>
                  </a:lnTo>
                  <a:lnTo>
                    <a:pt x="79" y="10"/>
                  </a:lnTo>
                  <a:lnTo>
                    <a:pt x="60" y="21"/>
                  </a:lnTo>
                  <a:lnTo>
                    <a:pt x="49" y="94"/>
                  </a:lnTo>
                  <a:lnTo>
                    <a:pt x="21" y="141"/>
                  </a:lnTo>
                  <a:lnTo>
                    <a:pt x="19" y="175"/>
                  </a:lnTo>
                  <a:lnTo>
                    <a:pt x="6" y="178"/>
                  </a:lnTo>
                  <a:lnTo>
                    <a:pt x="0" y="188"/>
                  </a:lnTo>
                  <a:lnTo>
                    <a:pt x="17" y="197"/>
                  </a:lnTo>
                  <a:lnTo>
                    <a:pt x="34" y="231"/>
                  </a:lnTo>
                  <a:lnTo>
                    <a:pt x="47" y="235"/>
                  </a:lnTo>
                  <a:lnTo>
                    <a:pt x="47" y="248"/>
                  </a:lnTo>
                  <a:lnTo>
                    <a:pt x="60" y="248"/>
                  </a:lnTo>
                  <a:lnTo>
                    <a:pt x="60" y="24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36" name="Freeform 5707"/>
            <p:cNvSpPr>
              <a:spLocks/>
            </p:cNvSpPr>
            <p:nvPr>
              <p:custDataLst>
                <p:tags r:id="rId72"/>
              </p:custDataLst>
            </p:nvPr>
          </p:nvSpPr>
          <p:spPr bwMode="gray">
            <a:xfrm>
              <a:off x="7039288" y="4532923"/>
              <a:ext cx="243788" cy="233790"/>
            </a:xfrm>
            <a:custGeom>
              <a:avLst/>
              <a:gdLst/>
              <a:ahLst/>
              <a:cxnLst>
                <a:cxn ang="0">
                  <a:pos x="115" y="140"/>
                </a:cxn>
                <a:cxn ang="0">
                  <a:pos x="105" y="157"/>
                </a:cxn>
                <a:cxn ang="0">
                  <a:pos x="75" y="182"/>
                </a:cxn>
                <a:cxn ang="0">
                  <a:pos x="49" y="178"/>
                </a:cxn>
                <a:cxn ang="0">
                  <a:pos x="49" y="178"/>
                </a:cxn>
                <a:cxn ang="0">
                  <a:pos x="32" y="170"/>
                </a:cxn>
                <a:cxn ang="0">
                  <a:pos x="17" y="174"/>
                </a:cxn>
                <a:cxn ang="0">
                  <a:pos x="0" y="155"/>
                </a:cxn>
                <a:cxn ang="0">
                  <a:pos x="0" y="92"/>
                </a:cxn>
                <a:cxn ang="0">
                  <a:pos x="34" y="88"/>
                </a:cxn>
                <a:cxn ang="0">
                  <a:pos x="32" y="86"/>
                </a:cxn>
                <a:cxn ang="0">
                  <a:pos x="34" y="49"/>
                </a:cxn>
                <a:cxn ang="0">
                  <a:pos x="66" y="67"/>
                </a:cxn>
                <a:cxn ang="0">
                  <a:pos x="81" y="65"/>
                </a:cxn>
                <a:cxn ang="0">
                  <a:pos x="107" y="88"/>
                </a:cxn>
                <a:cxn ang="0">
                  <a:pos x="120" y="92"/>
                </a:cxn>
                <a:cxn ang="0">
                  <a:pos x="124" y="73"/>
                </a:cxn>
                <a:cxn ang="0">
                  <a:pos x="113" y="75"/>
                </a:cxn>
                <a:cxn ang="0">
                  <a:pos x="107" y="67"/>
                </a:cxn>
                <a:cxn ang="0">
                  <a:pos x="111" y="17"/>
                </a:cxn>
                <a:cxn ang="0">
                  <a:pos x="115" y="7"/>
                </a:cxn>
                <a:cxn ang="0">
                  <a:pos x="139" y="0"/>
                </a:cxn>
                <a:cxn ang="0">
                  <a:pos x="145" y="0"/>
                </a:cxn>
                <a:cxn ang="0">
                  <a:pos x="150" y="7"/>
                </a:cxn>
                <a:cxn ang="0">
                  <a:pos x="150" y="7"/>
                </a:cxn>
                <a:cxn ang="0">
                  <a:pos x="180" y="22"/>
                </a:cxn>
                <a:cxn ang="0">
                  <a:pos x="190" y="47"/>
                </a:cxn>
                <a:cxn ang="0">
                  <a:pos x="184" y="62"/>
                </a:cxn>
                <a:cxn ang="0">
                  <a:pos x="186" y="77"/>
                </a:cxn>
                <a:cxn ang="0">
                  <a:pos x="175" y="101"/>
                </a:cxn>
                <a:cxn ang="0">
                  <a:pos x="180" y="108"/>
                </a:cxn>
                <a:cxn ang="0">
                  <a:pos x="132" y="127"/>
                </a:cxn>
                <a:cxn ang="0">
                  <a:pos x="133" y="137"/>
                </a:cxn>
                <a:cxn ang="0">
                  <a:pos x="115" y="140"/>
                </a:cxn>
                <a:cxn ang="0">
                  <a:pos x="115" y="140"/>
                </a:cxn>
              </a:cxnLst>
              <a:rect l="0" t="0" r="r" b="b"/>
              <a:pathLst>
                <a:path w="190" h="182">
                  <a:moveTo>
                    <a:pt x="115" y="140"/>
                  </a:moveTo>
                  <a:lnTo>
                    <a:pt x="105" y="157"/>
                  </a:lnTo>
                  <a:lnTo>
                    <a:pt x="75" y="182"/>
                  </a:lnTo>
                  <a:lnTo>
                    <a:pt x="49" y="178"/>
                  </a:lnTo>
                  <a:lnTo>
                    <a:pt x="49" y="178"/>
                  </a:lnTo>
                  <a:lnTo>
                    <a:pt x="32" y="170"/>
                  </a:lnTo>
                  <a:lnTo>
                    <a:pt x="17" y="174"/>
                  </a:lnTo>
                  <a:lnTo>
                    <a:pt x="0" y="155"/>
                  </a:lnTo>
                  <a:lnTo>
                    <a:pt x="0" y="92"/>
                  </a:lnTo>
                  <a:lnTo>
                    <a:pt x="34" y="88"/>
                  </a:lnTo>
                  <a:lnTo>
                    <a:pt x="32" y="86"/>
                  </a:lnTo>
                  <a:lnTo>
                    <a:pt x="34" y="49"/>
                  </a:lnTo>
                  <a:lnTo>
                    <a:pt x="66" y="67"/>
                  </a:lnTo>
                  <a:lnTo>
                    <a:pt x="81" y="65"/>
                  </a:lnTo>
                  <a:lnTo>
                    <a:pt x="107" y="88"/>
                  </a:lnTo>
                  <a:lnTo>
                    <a:pt x="120" y="92"/>
                  </a:lnTo>
                  <a:lnTo>
                    <a:pt x="124" y="73"/>
                  </a:lnTo>
                  <a:lnTo>
                    <a:pt x="113" y="75"/>
                  </a:lnTo>
                  <a:lnTo>
                    <a:pt x="107" y="67"/>
                  </a:lnTo>
                  <a:lnTo>
                    <a:pt x="111" y="17"/>
                  </a:lnTo>
                  <a:lnTo>
                    <a:pt x="115" y="7"/>
                  </a:lnTo>
                  <a:lnTo>
                    <a:pt x="139" y="0"/>
                  </a:lnTo>
                  <a:lnTo>
                    <a:pt x="145" y="0"/>
                  </a:lnTo>
                  <a:lnTo>
                    <a:pt x="150" y="7"/>
                  </a:lnTo>
                  <a:lnTo>
                    <a:pt x="150" y="7"/>
                  </a:lnTo>
                  <a:lnTo>
                    <a:pt x="180" y="22"/>
                  </a:lnTo>
                  <a:lnTo>
                    <a:pt x="190" y="47"/>
                  </a:lnTo>
                  <a:lnTo>
                    <a:pt x="184" y="62"/>
                  </a:lnTo>
                  <a:lnTo>
                    <a:pt x="186" y="77"/>
                  </a:lnTo>
                  <a:lnTo>
                    <a:pt x="175" y="101"/>
                  </a:lnTo>
                  <a:lnTo>
                    <a:pt x="180" y="108"/>
                  </a:lnTo>
                  <a:lnTo>
                    <a:pt x="132" y="127"/>
                  </a:lnTo>
                  <a:lnTo>
                    <a:pt x="133" y="137"/>
                  </a:lnTo>
                  <a:lnTo>
                    <a:pt x="115" y="140"/>
                  </a:lnTo>
                  <a:lnTo>
                    <a:pt x="115" y="14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37" name="Freeform 5708"/>
            <p:cNvSpPr>
              <a:spLocks/>
            </p:cNvSpPr>
            <p:nvPr>
              <p:custDataLst>
                <p:tags r:id="rId73"/>
              </p:custDataLst>
            </p:nvPr>
          </p:nvSpPr>
          <p:spPr bwMode="gray">
            <a:xfrm>
              <a:off x="7102160" y="4708908"/>
              <a:ext cx="161670" cy="165708"/>
            </a:xfrm>
            <a:custGeom>
              <a:avLst/>
              <a:gdLst/>
              <a:ahLst/>
              <a:cxnLst>
                <a:cxn ang="0">
                  <a:pos x="64" y="119"/>
                </a:cxn>
                <a:cxn ang="0">
                  <a:pos x="45" y="112"/>
                </a:cxn>
                <a:cxn ang="0">
                  <a:pos x="39" y="93"/>
                </a:cxn>
                <a:cxn ang="0">
                  <a:pos x="13" y="71"/>
                </a:cxn>
                <a:cxn ang="0">
                  <a:pos x="0" y="41"/>
                </a:cxn>
                <a:cxn ang="0">
                  <a:pos x="0" y="41"/>
                </a:cxn>
                <a:cxn ang="0">
                  <a:pos x="26" y="45"/>
                </a:cxn>
                <a:cxn ang="0">
                  <a:pos x="56" y="20"/>
                </a:cxn>
                <a:cxn ang="0">
                  <a:pos x="66" y="3"/>
                </a:cxn>
                <a:cxn ang="0">
                  <a:pos x="84" y="0"/>
                </a:cxn>
                <a:cxn ang="0">
                  <a:pos x="84" y="0"/>
                </a:cxn>
                <a:cxn ang="0">
                  <a:pos x="84" y="7"/>
                </a:cxn>
                <a:cxn ang="0">
                  <a:pos x="101" y="7"/>
                </a:cxn>
                <a:cxn ang="0">
                  <a:pos x="124" y="20"/>
                </a:cxn>
                <a:cxn ang="0">
                  <a:pos x="126" y="33"/>
                </a:cxn>
                <a:cxn ang="0">
                  <a:pos x="124" y="80"/>
                </a:cxn>
                <a:cxn ang="0">
                  <a:pos x="101" y="129"/>
                </a:cxn>
                <a:cxn ang="0">
                  <a:pos x="90" y="123"/>
                </a:cxn>
                <a:cxn ang="0">
                  <a:pos x="64" y="119"/>
                </a:cxn>
                <a:cxn ang="0">
                  <a:pos x="64" y="119"/>
                </a:cxn>
              </a:cxnLst>
              <a:rect l="0" t="0" r="r" b="b"/>
              <a:pathLst>
                <a:path w="126" h="129">
                  <a:moveTo>
                    <a:pt x="64" y="119"/>
                  </a:moveTo>
                  <a:lnTo>
                    <a:pt x="45" y="112"/>
                  </a:lnTo>
                  <a:lnTo>
                    <a:pt x="39" y="93"/>
                  </a:lnTo>
                  <a:lnTo>
                    <a:pt x="13" y="71"/>
                  </a:lnTo>
                  <a:lnTo>
                    <a:pt x="0" y="41"/>
                  </a:lnTo>
                  <a:lnTo>
                    <a:pt x="0" y="41"/>
                  </a:lnTo>
                  <a:lnTo>
                    <a:pt x="26" y="45"/>
                  </a:lnTo>
                  <a:lnTo>
                    <a:pt x="56" y="20"/>
                  </a:lnTo>
                  <a:lnTo>
                    <a:pt x="66" y="3"/>
                  </a:lnTo>
                  <a:lnTo>
                    <a:pt x="84" y="0"/>
                  </a:lnTo>
                  <a:lnTo>
                    <a:pt x="84" y="0"/>
                  </a:lnTo>
                  <a:lnTo>
                    <a:pt x="84" y="7"/>
                  </a:lnTo>
                  <a:lnTo>
                    <a:pt x="101" y="7"/>
                  </a:lnTo>
                  <a:lnTo>
                    <a:pt x="124" y="20"/>
                  </a:lnTo>
                  <a:lnTo>
                    <a:pt x="126" y="33"/>
                  </a:lnTo>
                  <a:lnTo>
                    <a:pt x="124" y="80"/>
                  </a:lnTo>
                  <a:lnTo>
                    <a:pt x="101" y="129"/>
                  </a:lnTo>
                  <a:lnTo>
                    <a:pt x="90" y="123"/>
                  </a:lnTo>
                  <a:lnTo>
                    <a:pt x="64" y="119"/>
                  </a:lnTo>
                  <a:lnTo>
                    <a:pt x="64" y="11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38" name="Freeform 5709"/>
            <p:cNvSpPr>
              <a:spLocks/>
            </p:cNvSpPr>
            <p:nvPr>
              <p:custDataLst>
                <p:tags r:id="rId74"/>
              </p:custDataLst>
            </p:nvPr>
          </p:nvSpPr>
          <p:spPr bwMode="gray">
            <a:xfrm>
              <a:off x="6922527" y="4861770"/>
              <a:ext cx="331038" cy="301871"/>
            </a:xfrm>
            <a:custGeom>
              <a:avLst/>
              <a:gdLst/>
              <a:ahLst/>
              <a:cxnLst>
                <a:cxn ang="0">
                  <a:pos x="204" y="0"/>
                </a:cxn>
                <a:cxn ang="0">
                  <a:pos x="230" y="4"/>
                </a:cxn>
                <a:cxn ang="0">
                  <a:pos x="241" y="10"/>
                </a:cxn>
                <a:cxn ang="0">
                  <a:pos x="245" y="70"/>
                </a:cxn>
                <a:cxn ang="0">
                  <a:pos x="232" y="70"/>
                </a:cxn>
                <a:cxn ang="0">
                  <a:pos x="226" y="87"/>
                </a:cxn>
                <a:cxn ang="0">
                  <a:pos x="236" y="94"/>
                </a:cxn>
                <a:cxn ang="0">
                  <a:pos x="245" y="87"/>
                </a:cxn>
                <a:cxn ang="0">
                  <a:pos x="256" y="87"/>
                </a:cxn>
                <a:cxn ang="0">
                  <a:pos x="258" y="90"/>
                </a:cxn>
                <a:cxn ang="0">
                  <a:pos x="249" y="120"/>
                </a:cxn>
                <a:cxn ang="0">
                  <a:pos x="234" y="132"/>
                </a:cxn>
                <a:cxn ang="0">
                  <a:pos x="217" y="163"/>
                </a:cxn>
                <a:cxn ang="0">
                  <a:pos x="183" y="197"/>
                </a:cxn>
                <a:cxn ang="0">
                  <a:pos x="161" y="214"/>
                </a:cxn>
                <a:cxn ang="0">
                  <a:pos x="125" y="225"/>
                </a:cxn>
                <a:cxn ang="0">
                  <a:pos x="93" y="222"/>
                </a:cxn>
                <a:cxn ang="0">
                  <a:pos x="54" y="235"/>
                </a:cxn>
                <a:cxn ang="0">
                  <a:pos x="45" y="235"/>
                </a:cxn>
                <a:cxn ang="0">
                  <a:pos x="33" y="222"/>
                </a:cxn>
                <a:cxn ang="0">
                  <a:pos x="28" y="225"/>
                </a:cxn>
                <a:cxn ang="0">
                  <a:pos x="20" y="199"/>
                </a:cxn>
                <a:cxn ang="0">
                  <a:pos x="28" y="195"/>
                </a:cxn>
                <a:cxn ang="0">
                  <a:pos x="26" y="184"/>
                </a:cxn>
                <a:cxn ang="0">
                  <a:pos x="3" y="128"/>
                </a:cxn>
                <a:cxn ang="0">
                  <a:pos x="0" y="122"/>
                </a:cxn>
                <a:cxn ang="0">
                  <a:pos x="5" y="115"/>
                </a:cxn>
                <a:cxn ang="0">
                  <a:pos x="15" y="120"/>
                </a:cxn>
                <a:cxn ang="0">
                  <a:pos x="18" y="128"/>
                </a:cxn>
                <a:cxn ang="0">
                  <a:pos x="39" y="128"/>
                </a:cxn>
                <a:cxn ang="0">
                  <a:pos x="52" y="117"/>
                </a:cxn>
                <a:cxn ang="0">
                  <a:pos x="54" y="49"/>
                </a:cxn>
                <a:cxn ang="0">
                  <a:pos x="54" y="49"/>
                </a:cxn>
                <a:cxn ang="0">
                  <a:pos x="65" y="62"/>
                </a:cxn>
                <a:cxn ang="0">
                  <a:pos x="65" y="83"/>
                </a:cxn>
                <a:cxn ang="0">
                  <a:pos x="73" y="87"/>
                </a:cxn>
                <a:cxn ang="0">
                  <a:pos x="88" y="85"/>
                </a:cxn>
                <a:cxn ang="0">
                  <a:pos x="110" y="60"/>
                </a:cxn>
                <a:cxn ang="0">
                  <a:pos x="125" y="66"/>
                </a:cxn>
                <a:cxn ang="0">
                  <a:pos x="140" y="64"/>
                </a:cxn>
                <a:cxn ang="0">
                  <a:pos x="176" y="21"/>
                </a:cxn>
                <a:cxn ang="0">
                  <a:pos x="204" y="0"/>
                </a:cxn>
                <a:cxn ang="0">
                  <a:pos x="204" y="0"/>
                </a:cxn>
              </a:cxnLst>
              <a:rect l="0" t="0" r="r" b="b"/>
              <a:pathLst>
                <a:path w="258" h="235">
                  <a:moveTo>
                    <a:pt x="204" y="0"/>
                  </a:moveTo>
                  <a:lnTo>
                    <a:pt x="230" y="4"/>
                  </a:lnTo>
                  <a:lnTo>
                    <a:pt x="241" y="10"/>
                  </a:lnTo>
                  <a:lnTo>
                    <a:pt x="245" y="70"/>
                  </a:lnTo>
                  <a:lnTo>
                    <a:pt x="232" y="70"/>
                  </a:lnTo>
                  <a:lnTo>
                    <a:pt x="226" y="87"/>
                  </a:lnTo>
                  <a:lnTo>
                    <a:pt x="236" y="94"/>
                  </a:lnTo>
                  <a:lnTo>
                    <a:pt x="245" y="87"/>
                  </a:lnTo>
                  <a:lnTo>
                    <a:pt x="256" y="87"/>
                  </a:lnTo>
                  <a:lnTo>
                    <a:pt x="258" y="90"/>
                  </a:lnTo>
                  <a:lnTo>
                    <a:pt x="249" y="120"/>
                  </a:lnTo>
                  <a:lnTo>
                    <a:pt x="234" y="132"/>
                  </a:lnTo>
                  <a:lnTo>
                    <a:pt x="217" y="163"/>
                  </a:lnTo>
                  <a:lnTo>
                    <a:pt x="183" y="197"/>
                  </a:lnTo>
                  <a:lnTo>
                    <a:pt x="161" y="214"/>
                  </a:lnTo>
                  <a:lnTo>
                    <a:pt x="125" y="225"/>
                  </a:lnTo>
                  <a:lnTo>
                    <a:pt x="93" y="222"/>
                  </a:lnTo>
                  <a:lnTo>
                    <a:pt x="54" y="235"/>
                  </a:lnTo>
                  <a:lnTo>
                    <a:pt x="45" y="235"/>
                  </a:lnTo>
                  <a:lnTo>
                    <a:pt x="33" y="222"/>
                  </a:lnTo>
                  <a:lnTo>
                    <a:pt x="28" y="225"/>
                  </a:lnTo>
                  <a:lnTo>
                    <a:pt x="20" y="199"/>
                  </a:lnTo>
                  <a:lnTo>
                    <a:pt x="28" y="195"/>
                  </a:lnTo>
                  <a:lnTo>
                    <a:pt x="26" y="184"/>
                  </a:lnTo>
                  <a:lnTo>
                    <a:pt x="3" y="128"/>
                  </a:lnTo>
                  <a:lnTo>
                    <a:pt x="0" y="122"/>
                  </a:lnTo>
                  <a:lnTo>
                    <a:pt x="5" y="115"/>
                  </a:lnTo>
                  <a:lnTo>
                    <a:pt x="15" y="120"/>
                  </a:lnTo>
                  <a:lnTo>
                    <a:pt x="18" y="128"/>
                  </a:lnTo>
                  <a:lnTo>
                    <a:pt x="39" y="128"/>
                  </a:lnTo>
                  <a:lnTo>
                    <a:pt x="52" y="117"/>
                  </a:lnTo>
                  <a:lnTo>
                    <a:pt x="54" y="49"/>
                  </a:lnTo>
                  <a:lnTo>
                    <a:pt x="54" y="49"/>
                  </a:lnTo>
                  <a:lnTo>
                    <a:pt x="65" y="62"/>
                  </a:lnTo>
                  <a:lnTo>
                    <a:pt x="65" y="83"/>
                  </a:lnTo>
                  <a:lnTo>
                    <a:pt x="73" y="87"/>
                  </a:lnTo>
                  <a:lnTo>
                    <a:pt x="88" y="85"/>
                  </a:lnTo>
                  <a:lnTo>
                    <a:pt x="110" y="60"/>
                  </a:lnTo>
                  <a:lnTo>
                    <a:pt x="125" y="66"/>
                  </a:lnTo>
                  <a:lnTo>
                    <a:pt x="140" y="64"/>
                  </a:lnTo>
                  <a:lnTo>
                    <a:pt x="176" y="21"/>
                  </a:lnTo>
                  <a:lnTo>
                    <a:pt x="204" y="0"/>
                  </a:lnTo>
                  <a:lnTo>
                    <a:pt x="204"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39" name="Freeform 5710"/>
            <p:cNvSpPr>
              <a:spLocks/>
            </p:cNvSpPr>
            <p:nvPr>
              <p:custDataLst>
                <p:tags r:id="rId75"/>
              </p:custDataLst>
            </p:nvPr>
          </p:nvSpPr>
          <p:spPr bwMode="gray">
            <a:xfrm>
              <a:off x="6849390" y="4739737"/>
              <a:ext cx="275865" cy="286457"/>
            </a:xfrm>
            <a:custGeom>
              <a:avLst/>
              <a:gdLst/>
              <a:ahLst/>
              <a:cxnLst>
                <a:cxn ang="0">
                  <a:pos x="129" y="144"/>
                </a:cxn>
                <a:cxn ang="0">
                  <a:pos x="129" y="97"/>
                </a:cxn>
                <a:cxn ang="0">
                  <a:pos x="146" y="90"/>
                </a:cxn>
                <a:cxn ang="0">
                  <a:pos x="148" y="28"/>
                </a:cxn>
                <a:cxn ang="0">
                  <a:pos x="180" y="22"/>
                </a:cxn>
                <a:cxn ang="0">
                  <a:pos x="185" y="22"/>
                </a:cxn>
                <a:cxn ang="0">
                  <a:pos x="189" y="32"/>
                </a:cxn>
                <a:cxn ang="0">
                  <a:pos x="198" y="22"/>
                </a:cxn>
                <a:cxn ang="0">
                  <a:pos x="215" y="17"/>
                </a:cxn>
                <a:cxn ang="0">
                  <a:pos x="198" y="9"/>
                </a:cxn>
                <a:cxn ang="0">
                  <a:pos x="183" y="13"/>
                </a:cxn>
                <a:cxn ang="0">
                  <a:pos x="159" y="21"/>
                </a:cxn>
                <a:cxn ang="0">
                  <a:pos x="120" y="17"/>
                </a:cxn>
                <a:cxn ang="0">
                  <a:pos x="107" y="9"/>
                </a:cxn>
                <a:cxn ang="0">
                  <a:pos x="37" y="7"/>
                </a:cxn>
                <a:cxn ang="0">
                  <a:pos x="24" y="0"/>
                </a:cxn>
                <a:cxn ang="0">
                  <a:pos x="0" y="7"/>
                </a:cxn>
                <a:cxn ang="0">
                  <a:pos x="2" y="19"/>
                </a:cxn>
                <a:cxn ang="0">
                  <a:pos x="43" y="103"/>
                </a:cxn>
                <a:cxn ang="0">
                  <a:pos x="43" y="131"/>
                </a:cxn>
                <a:cxn ang="0">
                  <a:pos x="56" y="197"/>
                </a:cxn>
                <a:cxn ang="0">
                  <a:pos x="75" y="217"/>
                </a:cxn>
                <a:cxn ang="0">
                  <a:pos x="80" y="210"/>
                </a:cxn>
                <a:cxn ang="0">
                  <a:pos x="90" y="215"/>
                </a:cxn>
                <a:cxn ang="0">
                  <a:pos x="93" y="223"/>
                </a:cxn>
                <a:cxn ang="0">
                  <a:pos x="114" y="223"/>
                </a:cxn>
                <a:cxn ang="0">
                  <a:pos x="127" y="212"/>
                </a:cxn>
                <a:cxn ang="0">
                  <a:pos x="129" y="144"/>
                </a:cxn>
                <a:cxn ang="0">
                  <a:pos x="129" y="144"/>
                </a:cxn>
              </a:cxnLst>
              <a:rect l="0" t="0" r="r" b="b"/>
              <a:pathLst>
                <a:path w="215" h="223">
                  <a:moveTo>
                    <a:pt x="129" y="144"/>
                  </a:moveTo>
                  <a:lnTo>
                    <a:pt x="129" y="97"/>
                  </a:lnTo>
                  <a:lnTo>
                    <a:pt x="146" y="90"/>
                  </a:lnTo>
                  <a:lnTo>
                    <a:pt x="148" y="28"/>
                  </a:lnTo>
                  <a:lnTo>
                    <a:pt x="180" y="22"/>
                  </a:lnTo>
                  <a:lnTo>
                    <a:pt x="185" y="22"/>
                  </a:lnTo>
                  <a:lnTo>
                    <a:pt x="189" y="32"/>
                  </a:lnTo>
                  <a:lnTo>
                    <a:pt x="198" y="22"/>
                  </a:lnTo>
                  <a:lnTo>
                    <a:pt x="215" y="17"/>
                  </a:lnTo>
                  <a:lnTo>
                    <a:pt x="198" y="9"/>
                  </a:lnTo>
                  <a:lnTo>
                    <a:pt x="183" y="13"/>
                  </a:lnTo>
                  <a:lnTo>
                    <a:pt x="159" y="21"/>
                  </a:lnTo>
                  <a:lnTo>
                    <a:pt x="120" y="17"/>
                  </a:lnTo>
                  <a:lnTo>
                    <a:pt x="107" y="9"/>
                  </a:lnTo>
                  <a:lnTo>
                    <a:pt x="37" y="7"/>
                  </a:lnTo>
                  <a:lnTo>
                    <a:pt x="24" y="0"/>
                  </a:lnTo>
                  <a:lnTo>
                    <a:pt x="0" y="7"/>
                  </a:lnTo>
                  <a:lnTo>
                    <a:pt x="2" y="19"/>
                  </a:lnTo>
                  <a:lnTo>
                    <a:pt x="43" y="103"/>
                  </a:lnTo>
                  <a:lnTo>
                    <a:pt x="43" y="131"/>
                  </a:lnTo>
                  <a:lnTo>
                    <a:pt x="56" y="197"/>
                  </a:lnTo>
                  <a:lnTo>
                    <a:pt x="75" y="217"/>
                  </a:lnTo>
                  <a:lnTo>
                    <a:pt x="80" y="210"/>
                  </a:lnTo>
                  <a:lnTo>
                    <a:pt x="90" y="215"/>
                  </a:lnTo>
                  <a:lnTo>
                    <a:pt x="93" y="223"/>
                  </a:lnTo>
                  <a:lnTo>
                    <a:pt x="114" y="223"/>
                  </a:lnTo>
                  <a:lnTo>
                    <a:pt x="127" y="212"/>
                  </a:lnTo>
                  <a:lnTo>
                    <a:pt x="129" y="144"/>
                  </a:lnTo>
                  <a:lnTo>
                    <a:pt x="129" y="14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40" name="Freeform 5711"/>
            <p:cNvSpPr>
              <a:spLocks/>
            </p:cNvSpPr>
            <p:nvPr>
              <p:custDataLst>
                <p:tags r:id="rId76"/>
              </p:custDataLst>
            </p:nvPr>
          </p:nvSpPr>
          <p:spPr bwMode="gray">
            <a:xfrm>
              <a:off x="6849390" y="4475118"/>
              <a:ext cx="256619" cy="291595"/>
            </a:xfrm>
            <a:custGeom>
              <a:avLst/>
              <a:gdLst/>
              <a:ahLst/>
              <a:cxnLst>
                <a:cxn ang="0">
                  <a:pos x="30" y="2"/>
                </a:cxn>
                <a:cxn ang="0">
                  <a:pos x="69" y="0"/>
                </a:cxn>
                <a:cxn ang="0">
                  <a:pos x="78" y="7"/>
                </a:cxn>
                <a:cxn ang="0">
                  <a:pos x="84" y="30"/>
                </a:cxn>
                <a:cxn ang="0">
                  <a:pos x="101" y="45"/>
                </a:cxn>
                <a:cxn ang="0">
                  <a:pos x="121" y="41"/>
                </a:cxn>
                <a:cxn ang="0">
                  <a:pos x="127" y="24"/>
                </a:cxn>
                <a:cxn ang="0">
                  <a:pos x="148" y="20"/>
                </a:cxn>
                <a:cxn ang="0">
                  <a:pos x="148" y="26"/>
                </a:cxn>
                <a:cxn ang="0">
                  <a:pos x="161" y="30"/>
                </a:cxn>
                <a:cxn ang="0">
                  <a:pos x="163" y="34"/>
                </a:cxn>
                <a:cxn ang="0">
                  <a:pos x="163" y="71"/>
                </a:cxn>
                <a:cxn ang="0">
                  <a:pos x="170" y="88"/>
                </a:cxn>
                <a:cxn ang="0">
                  <a:pos x="165" y="97"/>
                </a:cxn>
                <a:cxn ang="0">
                  <a:pos x="168" y="103"/>
                </a:cxn>
                <a:cxn ang="0">
                  <a:pos x="200" y="94"/>
                </a:cxn>
                <a:cxn ang="0">
                  <a:pos x="198" y="131"/>
                </a:cxn>
                <a:cxn ang="0">
                  <a:pos x="200" y="133"/>
                </a:cxn>
                <a:cxn ang="0">
                  <a:pos x="166" y="137"/>
                </a:cxn>
                <a:cxn ang="0">
                  <a:pos x="166" y="200"/>
                </a:cxn>
                <a:cxn ang="0">
                  <a:pos x="183" y="219"/>
                </a:cxn>
                <a:cxn ang="0">
                  <a:pos x="159" y="227"/>
                </a:cxn>
                <a:cxn ang="0">
                  <a:pos x="120" y="223"/>
                </a:cxn>
                <a:cxn ang="0">
                  <a:pos x="107" y="215"/>
                </a:cxn>
                <a:cxn ang="0">
                  <a:pos x="37" y="213"/>
                </a:cxn>
                <a:cxn ang="0">
                  <a:pos x="24" y="206"/>
                </a:cxn>
                <a:cxn ang="0">
                  <a:pos x="0" y="213"/>
                </a:cxn>
                <a:cxn ang="0">
                  <a:pos x="2" y="189"/>
                </a:cxn>
                <a:cxn ang="0">
                  <a:pos x="15" y="140"/>
                </a:cxn>
                <a:cxn ang="0">
                  <a:pos x="32" y="120"/>
                </a:cxn>
                <a:cxn ang="0">
                  <a:pos x="35" y="103"/>
                </a:cxn>
                <a:cxn ang="0">
                  <a:pos x="20" y="64"/>
                </a:cxn>
                <a:cxn ang="0">
                  <a:pos x="28" y="54"/>
                </a:cxn>
                <a:cxn ang="0">
                  <a:pos x="13" y="11"/>
                </a:cxn>
                <a:cxn ang="0">
                  <a:pos x="30" y="2"/>
                </a:cxn>
                <a:cxn ang="0">
                  <a:pos x="30" y="2"/>
                </a:cxn>
              </a:cxnLst>
              <a:rect l="0" t="0" r="r" b="b"/>
              <a:pathLst>
                <a:path w="200" h="227">
                  <a:moveTo>
                    <a:pt x="30" y="2"/>
                  </a:moveTo>
                  <a:lnTo>
                    <a:pt x="69" y="0"/>
                  </a:lnTo>
                  <a:lnTo>
                    <a:pt x="78" y="7"/>
                  </a:lnTo>
                  <a:lnTo>
                    <a:pt x="84" y="30"/>
                  </a:lnTo>
                  <a:lnTo>
                    <a:pt x="101" y="45"/>
                  </a:lnTo>
                  <a:lnTo>
                    <a:pt x="121" y="41"/>
                  </a:lnTo>
                  <a:lnTo>
                    <a:pt x="127" y="24"/>
                  </a:lnTo>
                  <a:lnTo>
                    <a:pt x="148" y="20"/>
                  </a:lnTo>
                  <a:lnTo>
                    <a:pt x="148" y="26"/>
                  </a:lnTo>
                  <a:lnTo>
                    <a:pt x="161" y="30"/>
                  </a:lnTo>
                  <a:lnTo>
                    <a:pt x="163" y="34"/>
                  </a:lnTo>
                  <a:lnTo>
                    <a:pt x="163" y="71"/>
                  </a:lnTo>
                  <a:lnTo>
                    <a:pt x="170" y="88"/>
                  </a:lnTo>
                  <a:lnTo>
                    <a:pt x="165" y="97"/>
                  </a:lnTo>
                  <a:lnTo>
                    <a:pt x="168" y="103"/>
                  </a:lnTo>
                  <a:lnTo>
                    <a:pt x="200" y="94"/>
                  </a:lnTo>
                  <a:lnTo>
                    <a:pt x="198" y="131"/>
                  </a:lnTo>
                  <a:lnTo>
                    <a:pt x="200" y="133"/>
                  </a:lnTo>
                  <a:lnTo>
                    <a:pt x="166" y="137"/>
                  </a:lnTo>
                  <a:lnTo>
                    <a:pt x="166" y="200"/>
                  </a:lnTo>
                  <a:lnTo>
                    <a:pt x="183" y="219"/>
                  </a:lnTo>
                  <a:lnTo>
                    <a:pt x="159" y="227"/>
                  </a:lnTo>
                  <a:lnTo>
                    <a:pt x="120" y="223"/>
                  </a:lnTo>
                  <a:lnTo>
                    <a:pt x="107" y="215"/>
                  </a:lnTo>
                  <a:lnTo>
                    <a:pt x="37" y="213"/>
                  </a:lnTo>
                  <a:lnTo>
                    <a:pt x="24" y="206"/>
                  </a:lnTo>
                  <a:lnTo>
                    <a:pt x="0" y="213"/>
                  </a:lnTo>
                  <a:lnTo>
                    <a:pt x="2" y="189"/>
                  </a:lnTo>
                  <a:lnTo>
                    <a:pt x="15" y="140"/>
                  </a:lnTo>
                  <a:lnTo>
                    <a:pt x="32" y="120"/>
                  </a:lnTo>
                  <a:lnTo>
                    <a:pt x="35" y="103"/>
                  </a:lnTo>
                  <a:lnTo>
                    <a:pt x="20" y="64"/>
                  </a:lnTo>
                  <a:lnTo>
                    <a:pt x="28" y="54"/>
                  </a:lnTo>
                  <a:lnTo>
                    <a:pt x="13" y="11"/>
                  </a:lnTo>
                  <a:lnTo>
                    <a:pt x="30" y="2"/>
                  </a:lnTo>
                  <a:lnTo>
                    <a:pt x="3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41" name="Freeform 5712"/>
            <p:cNvSpPr>
              <a:spLocks/>
            </p:cNvSpPr>
            <p:nvPr>
              <p:custDataLst>
                <p:tags r:id="rId77"/>
              </p:custDataLst>
            </p:nvPr>
          </p:nvSpPr>
          <p:spPr bwMode="gray">
            <a:xfrm>
              <a:off x="6832710" y="4443004"/>
              <a:ext cx="19246" cy="34683"/>
            </a:xfrm>
            <a:custGeom>
              <a:avLst/>
              <a:gdLst/>
              <a:ahLst/>
              <a:cxnLst>
                <a:cxn ang="0">
                  <a:pos x="15" y="6"/>
                </a:cxn>
                <a:cxn ang="0">
                  <a:pos x="8" y="12"/>
                </a:cxn>
                <a:cxn ang="0">
                  <a:pos x="6" y="27"/>
                </a:cxn>
                <a:cxn ang="0">
                  <a:pos x="6" y="27"/>
                </a:cxn>
                <a:cxn ang="0">
                  <a:pos x="2" y="17"/>
                </a:cxn>
                <a:cxn ang="0">
                  <a:pos x="0" y="12"/>
                </a:cxn>
                <a:cxn ang="0">
                  <a:pos x="12" y="0"/>
                </a:cxn>
                <a:cxn ang="0">
                  <a:pos x="15" y="6"/>
                </a:cxn>
                <a:cxn ang="0">
                  <a:pos x="15" y="6"/>
                </a:cxn>
              </a:cxnLst>
              <a:rect l="0" t="0" r="r" b="b"/>
              <a:pathLst>
                <a:path w="15" h="27">
                  <a:moveTo>
                    <a:pt x="15" y="6"/>
                  </a:moveTo>
                  <a:lnTo>
                    <a:pt x="8" y="12"/>
                  </a:lnTo>
                  <a:lnTo>
                    <a:pt x="6" y="27"/>
                  </a:lnTo>
                  <a:lnTo>
                    <a:pt x="6" y="27"/>
                  </a:lnTo>
                  <a:lnTo>
                    <a:pt x="2" y="17"/>
                  </a:lnTo>
                  <a:lnTo>
                    <a:pt x="0" y="12"/>
                  </a:lnTo>
                  <a:lnTo>
                    <a:pt x="12" y="0"/>
                  </a:lnTo>
                  <a:lnTo>
                    <a:pt x="15" y="6"/>
                  </a:lnTo>
                  <a:lnTo>
                    <a:pt x="15"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42" name="Freeform 5713"/>
            <p:cNvSpPr>
              <a:spLocks/>
            </p:cNvSpPr>
            <p:nvPr>
              <p:custDataLst>
                <p:tags r:id="rId78"/>
              </p:custDataLst>
            </p:nvPr>
          </p:nvSpPr>
          <p:spPr bwMode="gray">
            <a:xfrm>
              <a:off x="6783953" y="4026807"/>
              <a:ext cx="159103" cy="272327"/>
            </a:xfrm>
            <a:custGeom>
              <a:avLst/>
              <a:gdLst/>
              <a:ahLst/>
              <a:cxnLst>
                <a:cxn ang="0">
                  <a:pos x="90" y="0"/>
                </a:cxn>
                <a:cxn ang="0">
                  <a:pos x="90" y="12"/>
                </a:cxn>
                <a:cxn ang="0">
                  <a:pos x="96" y="27"/>
                </a:cxn>
                <a:cxn ang="0">
                  <a:pos x="79" y="43"/>
                </a:cxn>
                <a:cxn ang="0">
                  <a:pos x="70" y="79"/>
                </a:cxn>
                <a:cxn ang="0">
                  <a:pos x="62" y="87"/>
                </a:cxn>
                <a:cxn ang="0">
                  <a:pos x="49" y="120"/>
                </a:cxn>
                <a:cxn ang="0">
                  <a:pos x="41" y="124"/>
                </a:cxn>
                <a:cxn ang="0">
                  <a:pos x="34" y="117"/>
                </a:cxn>
                <a:cxn ang="0">
                  <a:pos x="19" y="117"/>
                </a:cxn>
                <a:cxn ang="0">
                  <a:pos x="0" y="156"/>
                </a:cxn>
                <a:cxn ang="0">
                  <a:pos x="8" y="169"/>
                </a:cxn>
                <a:cxn ang="0">
                  <a:pos x="13" y="171"/>
                </a:cxn>
                <a:cxn ang="0">
                  <a:pos x="23" y="188"/>
                </a:cxn>
                <a:cxn ang="0">
                  <a:pos x="19" y="203"/>
                </a:cxn>
                <a:cxn ang="0">
                  <a:pos x="45" y="203"/>
                </a:cxn>
                <a:cxn ang="0">
                  <a:pos x="81" y="203"/>
                </a:cxn>
                <a:cxn ang="0">
                  <a:pos x="124" y="212"/>
                </a:cxn>
                <a:cxn ang="0">
                  <a:pos x="124" y="191"/>
                </a:cxn>
                <a:cxn ang="0">
                  <a:pos x="101" y="154"/>
                </a:cxn>
                <a:cxn ang="0">
                  <a:pos x="98" y="137"/>
                </a:cxn>
                <a:cxn ang="0">
                  <a:pos x="111" y="105"/>
                </a:cxn>
                <a:cxn ang="0">
                  <a:pos x="111" y="105"/>
                </a:cxn>
                <a:cxn ang="0">
                  <a:pos x="105" y="83"/>
                </a:cxn>
                <a:cxn ang="0">
                  <a:pos x="90" y="70"/>
                </a:cxn>
                <a:cxn ang="0">
                  <a:pos x="96" y="58"/>
                </a:cxn>
                <a:cxn ang="0">
                  <a:pos x="111" y="55"/>
                </a:cxn>
                <a:cxn ang="0">
                  <a:pos x="103" y="40"/>
                </a:cxn>
                <a:cxn ang="0">
                  <a:pos x="98" y="6"/>
                </a:cxn>
                <a:cxn ang="0">
                  <a:pos x="98" y="6"/>
                </a:cxn>
                <a:cxn ang="0">
                  <a:pos x="90" y="0"/>
                </a:cxn>
                <a:cxn ang="0">
                  <a:pos x="90" y="0"/>
                </a:cxn>
              </a:cxnLst>
              <a:rect l="0" t="0" r="r" b="b"/>
              <a:pathLst>
                <a:path w="124" h="212">
                  <a:moveTo>
                    <a:pt x="90" y="0"/>
                  </a:moveTo>
                  <a:lnTo>
                    <a:pt x="90" y="12"/>
                  </a:lnTo>
                  <a:lnTo>
                    <a:pt x="96" y="27"/>
                  </a:lnTo>
                  <a:lnTo>
                    <a:pt x="79" y="43"/>
                  </a:lnTo>
                  <a:lnTo>
                    <a:pt x="70" y="79"/>
                  </a:lnTo>
                  <a:lnTo>
                    <a:pt x="62" y="87"/>
                  </a:lnTo>
                  <a:lnTo>
                    <a:pt x="49" y="120"/>
                  </a:lnTo>
                  <a:lnTo>
                    <a:pt x="41" y="124"/>
                  </a:lnTo>
                  <a:lnTo>
                    <a:pt x="34" y="117"/>
                  </a:lnTo>
                  <a:lnTo>
                    <a:pt x="19" y="117"/>
                  </a:lnTo>
                  <a:lnTo>
                    <a:pt x="0" y="156"/>
                  </a:lnTo>
                  <a:lnTo>
                    <a:pt x="8" y="169"/>
                  </a:lnTo>
                  <a:lnTo>
                    <a:pt x="13" y="171"/>
                  </a:lnTo>
                  <a:lnTo>
                    <a:pt x="23" y="188"/>
                  </a:lnTo>
                  <a:lnTo>
                    <a:pt x="19" y="203"/>
                  </a:lnTo>
                  <a:lnTo>
                    <a:pt x="45" y="203"/>
                  </a:lnTo>
                  <a:lnTo>
                    <a:pt x="81" y="203"/>
                  </a:lnTo>
                  <a:lnTo>
                    <a:pt x="124" y="212"/>
                  </a:lnTo>
                  <a:lnTo>
                    <a:pt x="124" y="191"/>
                  </a:lnTo>
                  <a:lnTo>
                    <a:pt x="101" y="154"/>
                  </a:lnTo>
                  <a:lnTo>
                    <a:pt x="98" y="137"/>
                  </a:lnTo>
                  <a:lnTo>
                    <a:pt x="111" y="105"/>
                  </a:lnTo>
                  <a:lnTo>
                    <a:pt x="111" y="105"/>
                  </a:lnTo>
                  <a:lnTo>
                    <a:pt x="105" y="83"/>
                  </a:lnTo>
                  <a:lnTo>
                    <a:pt x="90" y="70"/>
                  </a:lnTo>
                  <a:lnTo>
                    <a:pt x="96" y="58"/>
                  </a:lnTo>
                  <a:lnTo>
                    <a:pt x="111" y="55"/>
                  </a:lnTo>
                  <a:lnTo>
                    <a:pt x="103" y="40"/>
                  </a:lnTo>
                  <a:lnTo>
                    <a:pt x="98" y="6"/>
                  </a:lnTo>
                  <a:lnTo>
                    <a:pt x="98" y="6"/>
                  </a:lnTo>
                  <a:lnTo>
                    <a:pt x="90" y="0"/>
                  </a:lnTo>
                  <a:lnTo>
                    <a:pt x="9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43" name="Freeform 5714"/>
            <p:cNvSpPr>
              <a:spLocks/>
            </p:cNvSpPr>
            <p:nvPr>
              <p:custDataLst>
                <p:tags r:id="rId79"/>
              </p:custDataLst>
            </p:nvPr>
          </p:nvSpPr>
          <p:spPr bwMode="gray">
            <a:xfrm>
              <a:off x="6844258" y="4251605"/>
              <a:ext cx="151405" cy="206814"/>
            </a:xfrm>
            <a:custGeom>
              <a:avLst/>
              <a:gdLst/>
              <a:ahLst/>
              <a:cxnLst>
                <a:cxn ang="0">
                  <a:pos x="23" y="149"/>
                </a:cxn>
                <a:cxn ang="0">
                  <a:pos x="26" y="155"/>
                </a:cxn>
                <a:cxn ang="0">
                  <a:pos x="36" y="157"/>
                </a:cxn>
                <a:cxn ang="0">
                  <a:pos x="47" y="149"/>
                </a:cxn>
                <a:cxn ang="0">
                  <a:pos x="53" y="157"/>
                </a:cxn>
                <a:cxn ang="0">
                  <a:pos x="73" y="140"/>
                </a:cxn>
                <a:cxn ang="0">
                  <a:pos x="81" y="106"/>
                </a:cxn>
                <a:cxn ang="0">
                  <a:pos x="103" y="82"/>
                </a:cxn>
                <a:cxn ang="0">
                  <a:pos x="109" y="31"/>
                </a:cxn>
                <a:cxn ang="0">
                  <a:pos x="118" y="0"/>
                </a:cxn>
                <a:cxn ang="0">
                  <a:pos x="107" y="5"/>
                </a:cxn>
                <a:cxn ang="0">
                  <a:pos x="98" y="0"/>
                </a:cxn>
                <a:cxn ang="0">
                  <a:pos x="84" y="5"/>
                </a:cxn>
                <a:cxn ang="0">
                  <a:pos x="77" y="16"/>
                </a:cxn>
                <a:cxn ang="0">
                  <a:pos x="77" y="37"/>
                </a:cxn>
                <a:cxn ang="0">
                  <a:pos x="34" y="28"/>
                </a:cxn>
                <a:cxn ang="0">
                  <a:pos x="41" y="35"/>
                </a:cxn>
                <a:cxn ang="0">
                  <a:pos x="39" y="41"/>
                </a:cxn>
                <a:cxn ang="0">
                  <a:pos x="47" y="46"/>
                </a:cxn>
                <a:cxn ang="0">
                  <a:pos x="43" y="63"/>
                </a:cxn>
                <a:cxn ang="0">
                  <a:pos x="47" y="90"/>
                </a:cxn>
                <a:cxn ang="0">
                  <a:pos x="43" y="112"/>
                </a:cxn>
                <a:cxn ang="0">
                  <a:pos x="21" y="103"/>
                </a:cxn>
                <a:cxn ang="0">
                  <a:pos x="4" y="118"/>
                </a:cxn>
                <a:cxn ang="0">
                  <a:pos x="6" y="133"/>
                </a:cxn>
                <a:cxn ang="0">
                  <a:pos x="0" y="144"/>
                </a:cxn>
                <a:cxn ang="0">
                  <a:pos x="11" y="161"/>
                </a:cxn>
                <a:cxn ang="0">
                  <a:pos x="23" y="149"/>
                </a:cxn>
                <a:cxn ang="0">
                  <a:pos x="23" y="149"/>
                </a:cxn>
              </a:cxnLst>
              <a:rect l="0" t="0" r="r" b="b"/>
              <a:pathLst>
                <a:path w="118" h="161">
                  <a:moveTo>
                    <a:pt x="23" y="149"/>
                  </a:moveTo>
                  <a:lnTo>
                    <a:pt x="26" y="155"/>
                  </a:lnTo>
                  <a:lnTo>
                    <a:pt x="36" y="157"/>
                  </a:lnTo>
                  <a:lnTo>
                    <a:pt x="47" y="149"/>
                  </a:lnTo>
                  <a:lnTo>
                    <a:pt x="53" y="157"/>
                  </a:lnTo>
                  <a:lnTo>
                    <a:pt x="73" y="140"/>
                  </a:lnTo>
                  <a:lnTo>
                    <a:pt x="81" y="106"/>
                  </a:lnTo>
                  <a:lnTo>
                    <a:pt x="103" y="82"/>
                  </a:lnTo>
                  <a:lnTo>
                    <a:pt x="109" y="31"/>
                  </a:lnTo>
                  <a:lnTo>
                    <a:pt x="118" y="0"/>
                  </a:lnTo>
                  <a:lnTo>
                    <a:pt x="107" y="5"/>
                  </a:lnTo>
                  <a:lnTo>
                    <a:pt x="98" y="0"/>
                  </a:lnTo>
                  <a:lnTo>
                    <a:pt x="84" y="5"/>
                  </a:lnTo>
                  <a:lnTo>
                    <a:pt x="77" y="16"/>
                  </a:lnTo>
                  <a:lnTo>
                    <a:pt x="77" y="37"/>
                  </a:lnTo>
                  <a:lnTo>
                    <a:pt x="34" y="28"/>
                  </a:lnTo>
                  <a:lnTo>
                    <a:pt x="41" y="35"/>
                  </a:lnTo>
                  <a:lnTo>
                    <a:pt x="39" y="41"/>
                  </a:lnTo>
                  <a:lnTo>
                    <a:pt x="47" y="46"/>
                  </a:lnTo>
                  <a:lnTo>
                    <a:pt x="43" y="63"/>
                  </a:lnTo>
                  <a:lnTo>
                    <a:pt x="47" y="90"/>
                  </a:lnTo>
                  <a:lnTo>
                    <a:pt x="43" y="112"/>
                  </a:lnTo>
                  <a:lnTo>
                    <a:pt x="21" y="103"/>
                  </a:lnTo>
                  <a:lnTo>
                    <a:pt x="4" y="118"/>
                  </a:lnTo>
                  <a:lnTo>
                    <a:pt x="6" y="133"/>
                  </a:lnTo>
                  <a:lnTo>
                    <a:pt x="0" y="144"/>
                  </a:lnTo>
                  <a:lnTo>
                    <a:pt x="11" y="161"/>
                  </a:lnTo>
                  <a:lnTo>
                    <a:pt x="23" y="149"/>
                  </a:lnTo>
                  <a:lnTo>
                    <a:pt x="23" y="14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44" name="Freeform 5715"/>
            <p:cNvSpPr>
              <a:spLocks/>
            </p:cNvSpPr>
            <p:nvPr>
              <p:custDataLst>
                <p:tags r:id="rId80"/>
              </p:custDataLst>
            </p:nvPr>
          </p:nvSpPr>
          <p:spPr bwMode="gray">
            <a:xfrm>
              <a:off x="6789085" y="4287572"/>
              <a:ext cx="115478" cy="149009"/>
            </a:xfrm>
            <a:custGeom>
              <a:avLst/>
              <a:gdLst/>
              <a:ahLst/>
              <a:cxnLst>
                <a:cxn ang="0">
                  <a:pos x="84" y="7"/>
                </a:cxn>
                <a:cxn ang="0">
                  <a:pos x="82" y="13"/>
                </a:cxn>
                <a:cxn ang="0">
                  <a:pos x="90" y="18"/>
                </a:cxn>
                <a:cxn ang="0">
                  <a:pos x="86" y="35"/>
                </a:cxn>
                <a:cxn ang="0">
                  <a:pos x="90" y="62"/>
                </a:cxn>
                <a:cxn ang="0">
                  <a:pos x="86" y="84"/>
                </a:cxn>
                <a:cxn ang="0">
                  <a:pos x="64" y="75"/>
                </a:cxn>
                <a:cxn ang="0">
                  <a:pos x="47" y="90"/>
                </a:cxn>
                <a:cxn ang="0">
                  <a:pos x="49" y="105"/>
                </a:cxn>
                <a:cxn ang="0">
                  <a:pos x="43" y="116"/>
                </a:cxn>
                <a:cxn ang="0">
                  <a:pos x="19" y="92"/>
                </a:cxn>
                <a:cxn ang="0">
                  <a:pos x="0" y="56"/>
                </a:cxn>
                <a:cxn ang="0">
                  <a:pos x="9" y="48"/>
                </a:cxn>
                <a:cxn ang="0">
                  <a:pos x="9" y="41"/>
                </a:cxn>
                <a:cxn ang="0">
                  <a:pos x="15" y="24"/>
                </a:cxn>
                <a:cxn ang="0">
                  <a:pos x="43" y="20"/>
                </a:cxn>
                <a:cxn ang="0">
                  <a:pos x="41" y="0"/>
                </a:cxn>
                <a:cxn ang="0">
                  <a:pos x="77" y="0"/>
                </a:cxn>
                <a:cxn ang="0">
                  <a:pos x="84" y="7"/>
                </a:cxn>
                <a:cxn ang="0">
                  <a:pos x="84" y="7"/>
                </a:cxn>
              </a:cxnLst>
              <a:rect l="0" t="0" r="r" b="b"/>
              <a:pathLst>
                <a:path w="90" h="116">
                  <a:moveTo>
                    <a:pt x="84" y="7"/>
                  </a:moveTo>
                  <a:lnTo>
                    <a:pt x="82" y="13"/>
                  </a:lnTo>
                  <a:lnTo>
                    <a:pt x="90" y="18"/>
                  </a:lnTo>
                  <a:lnTo>
                    <a:pt x="86" y="35"/>
                  </a:lnTo>
                  <a:lnTo>
                    <a:pt x="90" y="62"/>
                  </a:lnTo>
                  <a:lnTo>
                    <a:pt x="86" y="84"/>
                  </a:lnTo>
                  <a:lnTo>
                    <a:pt x="64" y="75"/>
                  </a:lnTo>
                  <a:lnTo>
                    <a:pt x="47" y="90"/>
                  </a:lnTo>
                  <a:lnTo>
                    <a:pt x="49" y="105"/>
                  </a:lnTo>
                  <a:lnTo>
                    <a:pt x="43" y="116"/>
                  </a:lnTo>
                  <a:lnTo>
                    <a:pt x="19" y="92"/>
                  </a:lnTo>
                  <a:lnTo>
                    <a:pt x="0" y="56"/>
                  </a:lnTo>
                  <a:lnTo>
                    <a:pt x="9" y="48"/>
                  </a:lnTo>
                  <a:lnTo>
                    <a:pt x="9" y="41"/>
                  </a:lnTo>
                  <a:lnTo>
                    <a:pt x="15" y="24"/>
                  </a:lnTo>
                  <a:lnTo>
                    <a:pt x="43" y="20"/>
                  </a:lnTo>
                  <a:lnTo>
                    <a:pt x="41" y="0"/>
                  </a:lnTo>
                  <a:lnTo>
                    <a:pt x="77" y="0"/>
                  </a:lnTo>
                  <a:lnTo>
                    <a:pt x="84" y="7"/>
                  </a:lnTo>
                  <a:lnTo>
                    <a:pt x="84" y="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45" name="Freeform 5716"/>
            <p:cNvSpPr>
              <a:spLocks/>
            </p:cNvSpPr>
            <p:nvPr>
              <p:custDataLst>
                <p:tags r:id="rId81"/>
              </p:custDataLst>
            </p:nvPr>
          </p:nvSpPr>
          <p:spPr bwMode="gray">
            <a:xfrm>
              <a:off x="6800633" y="4287572"/>
              <a:ext cx="43625" cy="30829"/>
            </a:xfrm>
            <a:custGeom>
              <a:avLst/>
              <a:gdLst/>
              <a:ahLst/>
              <a:cxnLst>
                <a:cxn ang="0">
                  <a:pos x="34" y="20"/>
                </a:cxn>
                <a:cxn ang="0">
                  <a:pos x="32" y="0"/>
                </a:cxn>
                <a:cxn ang="0">
                  <a:pos x="6" y="0"/>
                </a:cxn>
                <a:cxn ang="0">
                  <a:pos x="0" y="20"/>
                </a:cxn>
                <a:cxn ang="0">
                  <a:pos x="4" y="24"/>
                </a:cxn>
                <a:cxn ang="0">
                  <a:pos x="34" y="20"/>
                </a:cxn>
                <a:cxn ang="0">
                  <a:pos x="34" y="20"/>
                </a:cxn>
              </a:cxnLst>
              <a:rect l="0" t="0" r="r" b="b"/>
              <a:pathLst>
                <a:path w="34" h="24">
                  <a:moveTo>
                    <a:pt x="34" y="20"/>
                  </a:moveTo>
                  <a:lnTo>
                    <a:pt x="32" y="0"/>
                  </a:lnTo>
                  <a:lnTo>
                    <a:pt x="6" y="0"/>
                  </a:lnTo>
                  <a:lnTo>
                    <a:pt x="0" y="20"/>
                  </a:lnTo>
                  <a:lnTo>
                    <a:pt x="4" y="24"/>
                  </a:lnTo>
                  <a:lnTo>
                    <a:pt x="34" y="20"/>
                  </a:lnTo>
                  <a:lnTo>
                    <a:pt x="34" y="2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46" name="Freeform 5717"/>
            <p:cNvSpPr>
              <a:spLocks/>
            </p:cNvSpPr>
            <p:nvPr>
              <p:custDataLst>
                <p:tags r:id="rId82"/>
              </p:custDataLst>
            </p:nvPr>
          </p:nvSpPr>
          <p:spPr bwMode="gray">
            <a:xfrm>
              <a:off x="6535033" y="4083327"/>
              <a:ext cx="91100" cy="151578"/>
            </a:xfrm>
            <a:custGeom>
              <a:avLst/>
              <a:gdLst/>
              <a:ahLst/>
              <a:cxnLst>
                <a:cxn ang="0">
                  <a:pos x="64" y="79"/>
                </a:cxn>
                <a:cxn ang="0">
                  <a:pos x="60" y="37"/>
                </a:cxn>
                <a:cxn ang="0">
                  <a:pos x="49" y="0"/>
                </a:cxn>
                <a:cxn ang="0">
                  <a:pos x="9" y="2"/>
                </a:cxn>
                <a:cxn ang="0">
                  <a:pos x="6" y="5"/>
                </a:cxn>
                <a:cxn ang="0">
                  <a:pos x="9" y="30"/>
                </a:cxn>
                <a:cxn ang="0">
                  <a:pos x="13" y="52"/>
                </a:cxn>
                <a:cxn ang="0">
                  <a:pos x="0" y="84"/>
                </a:cxn>
                <a:cxn ang="0">
                  <a:pos x="8" y="110"/>
                </a:cxn>
                <a:cxn ang="0">
                  <a:pos x="0" y="112"/>
                </a:cxn>
                <a:cxn ang="0">
                  <a:pos x="19" y="118"/>
                </a:cxn>
                <a:cxn ang="0">
                  <a:pos x="56" y="99"/>
                </a:cxn>
                <a:cxn ang="0">
                  <a:pos x="68" y="99"/>
                </a:cxn>
                <a:cxn ang="0">
                  <a:pos x="71" y="92"/>
                </a:cxn>
                <a:cxn ang="0">
                  <a:pos x="64" y="79"/>
                </a:cxn>
                <a:cxn ang="0">
                  <a:pos x="64" y="79"/>
                </a:cxn>
              </a:cxnLst>
              <a:rect l="0" t="0" r="r" b="b"/>
              <a:pathLst>
                <a:path w="71" h="118">
                  <a:moveTo>
                    <a:pt x="64" y="79"/>
                  </a:moveTo>
                  <a:lnTo>
                    <a:pt x="60" y="37"/>
                  </a:lnTo>
                  <a:lnTo>
                    <a:pt x="49" y="0"/>
                  </a:lnTo>
                  <a:lnTo>
                    <a:pt x="9" y="2"/>
                  </a:lnTo>
                  <a:lnTo>
                    <a:pt x="6" y="5"/>
                  </a:lnTo>
                  <a:lnTo>
                    <a:pt x="9" y="30"/>
                  </a:lnTo>
                  <a:lnTo>
                    <a:pt x="13" y="52"/>
                  </a:lnTo>
                  <a:lnTo>
                    <a:pt x="0" y="84"/>
                  </a:lnTo>
                  <a:lnTo>
                    <a:pt x="8" y="110"/>
                  </a:lnTo>
                  <a:lnTo>
                    <a:pt x="0" y="112"/>
                  </a:lnTo>
                  <a:lnTo>
                    <a:pt x="19" y="118"/>
                  </a:lnTo>
                  <a:lnTo>
                    <a:pt x="56" y="99"/>
                  </a:lnTo>
                  <a:lnTo>
                    <a:pt x="68" y="99"/>
                  </a:lnTo>
                  <a:lnTo>
                    <a:pt x="71" y="92"/>
                  </a:lnTo>
                  <a:lnTo>
                    <a:pt x="64" y="79"/>
                  </a:lnTo>
                  <a:lnTo>
                    <a:pt x="64" y="7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47" name="Freeform 5718"/>
            <p:cNvSpPr>
              <a:spLocks/>
            </p:cNvSpPr>
            <p:nvPr>
              <p:custDataLst>
                <p:tags r:id="rId83"/>
              </p:custDataLst>
            </p:nvPr>
          </p:nvSpPr>
          <p:spPr bwMode="gray">
            <a:xfrm>
              <a:off x="6664625" y="4010107"/>
              <a:ext cx="242505" cy="228652"/>
            </a:xfrm>
            <a:custGeom>
              <a:avLst/>
              <a:gdLst/>
              <a:ahLst/>
              <a:cxnLst>
                <a:cxn ang="0">
                  <a:pos x="183" y="13"/>
                </a:cxn>
                <a:cxn ang="0">
                  <a:pos x="174" y="0"/>
                </a:cxn>
                <a:cxn ang="0">
                  <a:pos x="170" y="0"/>
                </a:cxn>
                <a:cxn ang="0">
                  <a:pos x="155" y="13"/>
                </a:cxn>
                <a:cxn ang="0">
                  <a:pos x="125" y="10"/>
                </a:cxn>
                <a:cxn ang="0">
                  <a:pos x="106" y="21"/>
                </a:cxn>
                <a:cxn ang="0">
                  <a:pos x="82" y="10"/>
                </a:cxn>
                <a:cxn ang="0">
                  <a:pos x="71" y="17"/>
                </a:cxn>
                <a:cxn ang="0">
                  <a:pos x="48" y="0"/>
                </a:cxn>
                <a:cxn ang="0">
                  <a:pos x="31" y="4"/>
                </a:cxn>
                <a:cxn ang="0">
                  <a:pos x="16" y="23"/>
                </a:cxn>
                <a:cxn ang="0">
                  <a:pos x="15" y="40"/>
                </a:cxn>
                <a:cxn ang="0">
                  <a:pos x="15" y="40"/>
                </a:cxn>
                <a:cxn ang="0">
                  <a:pos x="16" y="60"/>
                </a:cxn>
                <a:cxn ang="0">
                  <a:pos x="2" y="100"/>
                </a:cxn>
                <a:cxn ang="0">
                  <a:pos x="0" y="139"/>
                </a:cxn>
                <a:cxn ang="0">
                  <a:pos x="20" y="137"/>
                </a:cxn>
                <a:cxn ang="0">
                  <a:pos x="37" y="146"/>
                </a:cxn>
                <a:cxn ang="0">
                  <a:pos x="43" y="171"/>
                </a:cxn>
                <a:cxn ang="0">
                  <a:pos x="52" y="178"/>
                </a:cxn>
                <a:cxn ang="0">
                  <a:pos x="93" y="169"/>
                </a:cxn>
                <a:cxn ang="0">
                  <a:pos x="112" y="130"/>
                </a:cxn>
                <a:cxn ang="0">
                  <a:pos x="127" y="130"/>
                </a:cxn>
                <a:cxn ang="0">
                  <a:pos x="134" y="137"/>
                </a:cxn>
                <a:cxn ang="0">
                  <a:pos x="142" y="133"/>
                </a:cxn>
                <a:cxn ang="0">
                  <a:pos x="155" y="100"/>
                </a:cxn>
                <a:cxn ang="0">
                  <a:pos x="163" y="92"/>
                </a:cxn>
                <a:cxn ang="0">
                  <a:pos x="172" y="56"/>
                </a:cxn>
                <a:cxn ang="0">
                  <a:pos x="189" y="40"/>
                </a:cxn>
                <a:cxn ang="0">
                  <a:pos x="183" y="25"/>
                </a:cxn>
                <a:cxn ang="0">
                  <a:pos x="183" y="13"/>
                </a:cxn>
                <a:cxn ang="0">
                  <a:pos x="183" y="13"/>
                </a:cxn>
              </a:cxnLst>
              <a:rect l="0" t="0" r="r" b="b"/>
              <a:pathLst>
                <a:path w="189" h="178">
                  <a:moveTo>
                    <a:pt x="183" y="13"/>
                  </a:moveTo>
                  <a:lnTo>
                    <a:pt x="174" y="0"/>
                  </a:lnTo>
                  <a:lnTo>
                    <a:pt x="170" y="0"/>
                  </a:lnTo>
                  <a:lnTo>
                    <a:pt x="155" y="13"/>
                  </a:lnTo>
                  <a:lnTo>
                    <a:pt x="125" y="10"/>
                  </a:lnTo>
                  <a:lnTo>
                    <a:pt x="106" y="21"/>
                  </a:lnTo>
                  <a:lnTo>
                    <a:pt x="82" y="10"/>
                  </a:lnTo>
                  <a:lnTo>
                    <a:pt x="71" y="17"/>
                  </a:lnTo>
                  <a:lnTo>
                    <a:pt x="48" y="0"/>
                  </a:lnTo>
                  <a:lnTo>
                    <a:pt x="31" y="4"/>
                  </a:lnTo>
                  <a:lnTo>
                    <a:pt x="16" y="23"/>
                  </a:lnTo>
                  <a:lnTo>
                    <a:pt x="15" y="40"/>
                  </a:lnTo>
                  <a:lnTo>
                    <a:pt x="15" y="40"/>
                  </a:lnTo>
                  <a:lnTo>
                    <a:pt x="16" y="60"/>
                  </a:lnTo>
                  <a:lnTo>
                    <a:pt x="2" y="100"/>
                  </a:lnTo>
                  <a:lnTo>
                    <a:pt x="0" y="139"/>
                  </a:lnTo>
                  <a:lnTo>
                    <a:pt x="20" y="137"/>
                  </a:lnTo>
                  <a:lnTo>
                    <a:pt x="37" y="146"/>
                  </a:lnTo>
                  <a:lnTo>
                    <a:pt x="43" y="171"/>
                  </a:lnTo>
                  <a:lnTo>
                    <a:pt x="52" y="178"/>
                  </a:lnTo>
                  <a:lnTo>
                    <a:pt x="93" y="169"/>
                  </a:lnTo>
                  <a:lnTo>
                    <a:pt x="112" y="130"/>
                  </a:lnTo>
                  <a:lnTo>
                    <a:pt x="127" y="130"/>
                  </a:lnTo>
                  <a:lnTo>
                    <a:pt x="134" y="137"/>
                  </a:lnTo>
                  <a:lnTo>
                    <a:pt x="142" y="133"/>
                  </a:lnTo>
                  <a:lnTo>
                    <a:pt x="155" y="100"/>
                  </a:lnTo>
                  <a:lnTo>
                    <a:pt x="163" y="92"/>
                  </a:lnTo>
                  <a:lnTo>
                    <a:pt x="172" y="56"/>
                  </a:lnTo>
                  <a:lnTo>
                    <a:pt x="189" y="40"/>
                  </a:lnTo>
                  <a:lnTo>
                    <a:pt x="183" y="25"/>
                  </a:lnTo>
                  <a:lnTo>
                    <a:pt x="183" y="13"/>
                  </a:lnTo>
                  <a:lnTo>
                    <a:pt x="183" y="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48" name="Freeform 5719"/>
            <p:cNvSpPr>
              <a:spLocks/>
            </p:cNvSpPr>
            <p:nvPr>
              <p:custDataLst>
                <p:tags r:id="rId84"/>
              </p:custDataLst>
            </p:nvPr>
          </p:nvSpPr>
          <p:spPr bwMode="gray">
            <a:xfrm>
              <a:off x="6424687" y="4092319"/>
              <a:ext cx="127026" cy="151578"/>
            </a:xfrm>
            <a:custGeom>
              <a:avLst/>
              <a:gdLst/>
              <a:ahLst/>
              <a:cxnLst>
                <a:cxn ang="0">
                  <a:pos x="94" y="103"/>
                </a:cxn>
                <a:cxn ang="0">
                  <a:pos x="86" y="77"/>
                </a:cxn>
                <a:cxn ang="0">
                  <a:pos x="99" y="45"/>
                </a:cxn>
                <a:cxn ang="0">
                  <a:pos x="95" y="23"/>
                </a:cxn>
                <a:cxn ang="0">
                  <a:pos x="80" y="13"/>
                </a:cxn>
                <a:cxn ang="0">
                  <a:pos x="60" y="15"/>
                </a:cxn>
                <a:cxn ang="0">
                  <a:pos x="54" y="8"/>
                </a:cxn>
                <a:cxn ang="0">
                  <a:pos x="41" y="8"/>
                </a:cxn>
                <a:cxn ang="0">
                  <a:pos x="36" y="0"/>
                </a:cxn>
                <a:cxn ang="0">
                  <a:pos x="22" y="10"/>
                </a:cxn>
                <a:cxn ang="0">
                  <a:pos x="13" y="6"/>
                </a:cxn>
                <a:cxn ang="0">
                  <a:pos x="9" y="10"/>
                </a:cxn>
                <a:cxn ang="0">
                  <a:pos x="6" y="21"/>
                </a:cxn>
                <a:cxn ang="0">
                  <a:pos x="13" y="40"/>
                </a:cxn>
                <a:cxn ang="0">
                  <a:pos x="4" y="45"/>
                </a:cxn>
                <a:cxn ang="0">
                  <a:pos x="6" y="55"/>
                </a:cxn>
                <a:cxn ang="0">
                  <a:pos x="0" y="58"/>
                </a:cxn>
                <a:cxn ang="0">
                  <a:pos x="2" y="79"/>
                </a:cxn>
                <a:cxn ang="0">
                  <a:pos x="17" y="94"/>
                </a:cxn>
                <a:cxn ang="0">
                  <a:pos x="15" y="118"/>
                </a:cxn>
                <a:cxn ang="0">
                  <a:pos x="41" y="105"/>
                </a:cxn>
                <a:cxn ang="0">
                  <a:pos x="67" y="102"/>
                </a:cxn>
                <a:cxn ang="0">
                  <a:pos x="86" y="105"/>
                </a:cxn>
                <a:cxn ang="0">
                  <a:pos x="94" y="103"/>
                </a:cxn>
                <a:cxn ang="0">
                  <a:pos x="94" y="103"/>
                </a:cxn>
              </a:cxnLst>
              <a:rect l="0" t="0" r="r" b="b"/>
              <a:pathLst>
                <a:path w="99" h="118">
                  <a:moveTo>
                    <a:pt x="94" y="103"/>
                  </a:moveTo>
                  <a:lnTo>
                    <a:pt x="86" y="77"/>
                  </a:lnTo>
                  <a:lnTo>
                    <a:pt x="99" y="45"/>
                  </a:lnTo>
                  <a:lnTo>
                    <a:pt x="95" y="23"/>
                  </a:lnTo>
                  <a:lnTo>
                    <a:pt x="80" y="13"/>
                  </a:lnTo>
                  <a:lnTo>
                    <a:pt x="60" y="15"/>
                  </a:lnTo>
                  <a:lnTo>
                    <a:pt x="54" y="8"/>
                  </a:lnTo>
                  <a:lnTo>
                    <a:pt x="41" y="8"/>
                  </a:lnTo>
                  <a:lnTo>
                    <a:pt x="36" y="0"/>
                  </a:lnTo>
                  <a:lnTo>
                    <a:pt x="22" y="10"/>
                  </a:lnTo>
                  <a:lnTo>
                    <a:pt x="13" y="6"/>
                  </a:lnTo>
                  <a:lnTo>
                    <a:pt x="9" y="10"/>
                  </a:lnTo>
                  <a:lnTo>
                    <a:pt x="6" y="21"/>
                  </a:lnTo>
                  <a:lnTo>
                    <a:pt x="13" y="40"/>
                  </a:lnTo>
                  <a:lnTo>
                    <a:pt x="4" y="45"/>
                  </a:lnTo>
                  <a:lnTo>
                    <a:pt x="6" y="55"/>
                  </a:lnTo>
                  <a:lnTo>
                    <a:pt x="0" y="58"/>
                  </a:lnTo>
                  <a:lnTo>
                    <a:pt x="2" y="79"/>
                  </a:lnTo>
                  <a:lnTo>
                    <a:pt x="17" y="94"/>
                  </a:lnTo>
                  <a:lnTo>
                    <a:pt x="15" y="118"/>
                  </a:lnTo>
                  <a:lnTo>
                    <a:pt x="41" y="105"/>
                  </a:lnTo>
                  <a:lnTo>
                    <a:pt x="67" y="102"/>
                  </a:lnTo>
                  <a:lnTo>
                    <a:pt x="86" y="105"/>
                  </a:lnTo>
                  <a:lnTo>
                    <a:pt x="94" y="103"/>
                  </a:lnTo>
                  <a:lnTo>
                    <a:pt x="94" y="10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49" name="Freeform 5720"/>
            <p:cNvSpPr>
              <a:spLocks/>
            </p:cNvSpPr>
            <p:nvPr>
              <p:custDataLst>
                <p:tags r:id="rId85"/>
              </p:custDataLst>
            </p:nvPr>
          </p:nvSpPr>
          <p:spPr bwMode="gray">
            <a:xfrm>
              <a:off x="6242488" y="3951018"/>
              <a:ext cx="124460" cy="102765"/>
            </a:xfrm>
            <a:custGeom>
              <a:avLst/>
              <a:gdLst/>
              <a:ahLst/>
              <a:cxnLst>
                <a:cxn ang="0">
                  <a:pos x="86" y="35"/>
                </a:cxn>
                <a:cxn ang="0">
                  <a:pos x="97" y="79"/>
                </a:cxn>
                <a:cxn ang="0">
                  <a:pos x="60" y="73"/>
                </a:cxn>
                <a:cxn ang="0">
                  <a:pos x="11" y="79"/>
                </a:cxn>
                <a:cxn ang="0">
                  <a:pos x="9" y="80"/>
                </a:cxn>
                <a:cxn ang="0">
                  <a:pos x="9" y="65"/>
                </a:cxn>
                <a:cxn ang="0">
                  <a:pos x="11" y="67"/>
                </a:cxn>
                <a:cxn ang="0">
                  <a:pos x="35" y="60"/>
                </a:cxn>
                <a:cxn ang="0">
                  <a:pos x="56" y="62"/>
                </a:cxn>
                <a:cxn ang="0">
                  <a:pos x="58" y="58"/>
                </a:cxn>
                <a:cxn ang="0">
                  <a:pos x="35" y="50"/>
                </a:cxn>
                <a:cxn ang="0">
                  <a:pos x="11" y="56"/>
                </a:cxn>
                <a:cxn ang="0">
                  <a:pos x="11" y="56"/>
                </a:cxn>
                <a:cxn ang="0">
                  <a:pos x="11" y="50"/>
                </a:cxn>
                <a:cxn ang="0">
                  <a:pos x="0" y="37"/>
                </a:cxn>
                <a:cxn ang="0">
                  <a:pos x="18" y="15"/>
                </a:cxn>
                <a:cxn ang="0">
                  <a:pos x="30" y="4"/>
                </a:cxn>
                <a:cxn ang="0">
                  <a:pos x="46" y="0"/>
                </a:cxn>
                <a:cxn ang="0">
                  <a:pos x="67" y="13"/>
                </a:cxn>
                <a:cxn ang="0">
                  <a:pos x="86" y="35"/>
                </a:cxn>
                <a:cxn ang="0">
                  <a:pos x="86" y="35"/>
                </a:cxn>
              </a:cxnLst>
              <a:rect l="0" t="0" r="r" b="b"/>
              <a:pathLst>
                <a:path w="97" h="80">
                  <a:moveTo>
                    <a:pt x="86" y="35"/>
                  </a:moveTo>
                  <a:lnTo>
                    <a:pt x="97" y="79"/>
                  </a:lnTo>
                  <a:lnTo>
                    <a:pt x="60" y="73"/>
                  </a:lnTo>
                  <a:lnTo>
                    <a:pt x="11" y="79"/>
                  </a:lnTo>
                  <a:lnTo>
                    <a:pt x="9" y="80"/>
                  </a:lnTo>
                  <a:lnTo>
                    <a:pt x="9" y="65"/>
                  </a:lnTo>
                  <a:lnTo>
                    <a:pt x="11" y="67"/>
                  </a:lnTo>
                  <a:lnTo>
                    <a:pt x="35" y="60"/>
                  </a:lnTo>
                  <a:lnTo>
                    <a:pt x="56" y="62"/>
                  </a:lnTo>
                  <a:lnTo>
                    <a:pt x="58" y="58"/>
                  </a:lnTo>
                  <a:lnTo>
                    <a:pt x="35" y="50"/>
                  </a:lnTo>
                  <a:lnTo>
                    <a:pt x="11" y="56"/>
                  </a:lnTo>
                  <a:lnTo>
                    <a:pt x="11" y="56"/>
                  </a:lnTo>
                  <a:lnTo>
                    <a:pt x="11" y="50"/>
                  </a:lnTo>
                  <a:lnTo>
                    <a:pt x="0" y="37"/>
                  </a:lnTo>
                  <a:lnTo>
                    <a:pt x="18" y="15"/>
                  </a:lnTo>
                  <a:lnTo>
                    <a:pt x="30" y="4"/>
                  </a:lnTo>
                  <a:lnTo>
                    <a:pt x="46" y="0"/>
                  </a:lnTo>
                  <a:lnTo>
                    <a:pt x="67" y="13"/>
                  </a:lnTo>
                  <a:lnTo>
                    <a:pt x="86" y="35"/>
                  </a:lnTo>
                  <a:lnTo>
                    <a:pt x="86" y="3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50" name="Freeform 5721"/>
            <p:cNvSpPr>
              <a:spLocks/>
            </p:cNvSpPr>
            <p:nvPr>
              <p:custDataLst>
                <p:tags r:id="rId86"/>
              </p:custDataLst>
            </p:nvPr>
          </p:nvSpPr>
          <p:spPr bwMode="gray">
            <a:xfrm>
              <a:off x="6757486" y="3476917"/>
              <a:ext cx="71853" cy="164424"/>
            </a:xfrm>
            <a:custGeom>
              <a:avLst/>
              <a:gdLst/>
              <a:ahLst/>
              <a:cxnLst>
                <a:cxn ang="0">
                  <a:pos x="54" y="75"/>
                </a:cxn>
                <a:cxn ang="0">
                  <a:pos x="56" y="90"/>
                </a:cxn>
                <a:cxn ang="0">
                  <a:pos x="40" y="107"/>
                </a:cxn>
                <a:cxn ang="0">
                  <a:pos x="40" y="124"/>
                </a:cxn>
                <a:cxn ang="0">
                  <a:pos x="28" y="128"/>
                </a:cxn>
                <a:cxn ang="0">
                  <a:pos x="25" y="100"/>
                </a:cxn>
                <a:cxn ang="0">
                  <a:pos x="10" y="88"/>
                </a:cxn>
                <a:cxn ang="0">
                  <a:pos x="0" y="66"/>
                </a:cxn>
                <a:cxn ang="0">
                  <a:pos x="13" y="45"/>
                </a:cxn>
                <a:cxn ang="0">
                  <a:pos x="13" y="14"/>
                </a:cxn>
                <a:cxn ang="0">
                  <a:pos x="21" y="6"/>
                </a:cxn>
                <a:cxn ang="0">
                  <a:pos x="32" y="0"/>
                </a:cxn>
                <a:cxn ang="0">
                  <a:pos x="41" y="2"/>
                </a:cxn>
                <a:cxn ang="0">
                  <a:pos x="45" y="12"/>
                </a:cxn>
                <a:cxn ang="0">
                  <a:pos x="54" y="6"/>
                </a:cxn>
                <a:cxn ang="0">
                  <a:pos x="45" y="17"/>
                </a:cxn>
                <a:cxn ang="0">
                  <a:pos x="54" y="38"/>
                </a:cxn>
                <a:cxn ang="0">
                  <a:pos x="40" y="57"/>
                </a:cxn>
                <a:cxn ang="0">
                  <a:pos x="41" y="64"/>
                </a:cxn>
                <a:cxn ang="0">
                  <a:pos x="53" y="66"/>
                </a:cxn>
                <a:cxn ang="0">
                  <a:pos x="54" y="75"/>
                </a:cxn>
                <a:cxn ang="0">
                  <a:pos x="54" y="75"/>
                </a:cxn>
                <a:cxn ang="0">
                  <a:pos x="54" y="75"/>
                </a:cxn>
              </a:cxnLst>
              <a:rect l="0" t="0" r="r" b="b"/>
              <a:pathLst>
                <a:path w="56" h="128">
                  <a:moveTo>
                    <a:pt x="54" y="75"/>
                  </a:moveTo>
                  <a:lnTo>
                    <a:pt x="56" y="90"/>
                  </a:lnTo>
                  <a:lnTo>
                    <a:pt x="40" y="107"/>
                  </a:lnTo>
                  <a:lnTo>
                    <a:pt x="40" y="124"/>
                  </a:lnTo>
                  <a:lnTo>
                    <a:pt x="28" y="128"/>
                  </a:lnTo>
                  <a:lnTo>
                    <a:pt x="25" y="100"/>
                  </a:lnTo>
                  <a:lnTo>
                    <a:pt x="10" y="88"/>
                  </a:lnTo>
                  <a:lnTo>
                    <a:pt x="0" y="66"/>
                  </a:lnTo>
                  <a:lnTo>
                    <a:pt x="13" y="45"/>
                  </a:lnTo>
                  <a:lnTo>
                    <a:pt x="13" y="14"/>
                  </a:lnTo>
                  <a:lnTo>
                    <a:pt x="21" y="6"/>
                  </a:lnTo>
                  <a:lnTo>
                    <a:pt x="32" y="0"/>
                  </a:lnTo>
                  <a:lnTo>
                    <a:pt x="41" y="2"/>
                  </a:lnTo>
                  <a:lnTo>
                    <a:pt x="45" y="12"/>
                  </a:lnTo>
                  <a:lnTo>
                    <a:pt x="54" y="6"/>
                  </a:lnTo>
                  <a:lnTo>
                    <a:pt x="45" y="17"/>
                  </a:lnTo>
                  <a:lnTo>
                    <a:pt x="54" y="38"/>
                  </a:lnTo>
                  <a:lnTo>
                    <a:pt x="40" y="57"/>
                  </a:lnTo>
                  <a:lnTo>
                    <a:pt x="41" y="64"/>
                  </a:lnTo>
                  <a:lnTo>
                    <a:pt x="53" y="66"/>
                  </a:lnTo>
                  <a:lnTo>
                    <a:pt x="54" y="75"/>
                  </a:lnTo>
                  <a:lnTo>
                    <a:pt x="54" y="75"/>
                  </a:lnTo>
                  <a:lnTo>
                    <a:pt x="54" y="7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51" name="Freeform 5722"/>
            <p:cNvSpPr>
              <a:spLocks/>
            </p:cNvSpPr>
            <p:nvPr>
              <p:custDataLst>
                <p:tags r:id="rId87"/>
              </p:custDataLst>
            </p:nvPr>
          </p:nvSpPr>
          <p:spPr bwMode="gray">
            <a:xfrm>
              <a:off x="6445694" y="3325339"/>
              <a:ext cx="232240" cy="181123"/>
            </a:xfrm>
            <a:custGeom>
              <a:avLst/>
              <a:gdLst/>
              <a:ahLst/>
              <a:cxnLst>
                <a:cxn ang="0">
                  <a:pos x="129" y="17"/>
                </a:cxn>
                <a:cxn ang="0">
                  <a:pos x="179" y="21"/>
                </a:cxn>
                <a:cxn ang="0">
                  <a:pos x="181" y="32"/>
                </a:cxn>
                <a:cxn ang="0">
                  <a:pos x="148" y="49"/>
                </a:cxn>
                <a:cxn ang="0">
                  <a:pos x="127" y="77"/>
                </a:cxn>
                <a:cxn ang="0">
                  <a:pos x="135" y="92"/>
                </a:cxn>
                <a:cxn ang="0">
                  <a:pos x="97" y="128"/>
                </a:cxn>
                <a:cxn ang="0">
                  <a:pos x="60" y="130"/>
                </a:cxn>
                <a:cxn ang="0">
                  <a:pos x="45" y="141"/>
                </a:cxn>
                <a:cxn ang="0">
                  <a:pos x="24" y="118"/>
                </a:cxn>
                <a:cxn ang="0">
                  <a:pos x="30" y="100"/>
                </a:cxn>
                <a:cxn ang="0">
                  <a:pos x="24" y="75"/>
                </a:cxn>
                <a:cxn ang="0">
                  <a:pos x="32" y="68"/>
                </a:cxn>
                <a:cxn ang="0">
                  <a:pos x="33" y="53"/>
                </a:cxn>
                <a:cxn ang="0">
                  <a:pos x="43" y="42"/>
                </a:cxn>
                <a:cxn ang="0">
                  <a:pos x="41" y="34"/>
                </a:cxn>
                <a:cxn ang="0">
                  <a:pos x="7" y="32"/>
                </a:cxn>
                <a:cxn ang="0">
                  <a:pos x="0" y="13"/>
                </a:cxn>
                <a:cxn ang="0">
                  <a:pos x="3" y="8"/>
                </a:cxn>
                <a:cxn ang="0">
                  <a:pos x="18" y="0"/>
                </a:cxn>
                <a:cxn ang="0">
                  <a:pos x="71" y="8"/>
                </a:cxn>
                <a:cxn ang="0">
                  <a:pos x="103" y="8"/>
                </a:cxn>
                <a:cxn ang="0">
                  <a:pos x="110" y="6"/>
                </a:cxn>
                <a:cxn ang="0">
                  <a:pos x="129" y="17"/>
                </a:cxn>
                <a:cxn ang="0">
                  <a:pos x="129" y="17"/>
                </a:cxn>
              </a:cxnLst>
              <a:rect l="0" t="0" r="r" b="b"/>
              <a:pathLst>
                <a:path w="181" h="141">
                  <a:moveTo>
                    <a:pt x="129" y="17"/>
                  </a:moveTo>
                  <a:lnTo>
                    <a:pt x="179" y="21"/>
                  </a:lnTo>
                  <a:lnTo>
                    <a:pt x="181" y="32"/>
                  </a:lnTo>
                  <a:lnTo>
                    <a:pt x="148" y="49"/>
                  </a:lnTo>
                  <a:lnTo>
                    <a:pt x="127" y="77"/>
                  </a:lnTo>
                  <a:lnTo>
                    <a:pt x="135" y="92"/>
                  </a:lnTo>
                  <a:lnTo>
                    <a:pt x="97" y="128"/>
                  </a:lnTo>
                  <a:lnTo>
                    <a:pt x="60" y="130"/>
                  </a:lnTo>
                  <a:lnTo>
                    <a:pt x="45" y="141"/>
                  </a:lnTo>
                  <a:lnTo>
                    <a:pt x="24" y="118"/>
                  </a:lnTo>
                  <a:lnTo>
                    <a:pt x="30" y="100"/>
                  </a:lnTo>
                  <a:lnTo>
                    <a:pt x="24" y="75"/>
                  </a:lnTo>
                  <a:lnTo>
                    <a:pt x="32" y="68"/>
                  </a:lnTo>
                  <a:lnTo>
                    <a:pt x="33" y="53"/>
                  </a:lnTo>
                  <a:lnTo>
                    <a:pt x="43" y="42"/>
                  </a:lnTo>
                  <a:lnTo>
                    <a:pt x="41" y="34"/>
                  </a:lnTo>
                  <a:lnTo>
                    <a:pt x="7" y="32"/>
                  </a:lnTo>
                  <a:lnTo>
                    <a:pt x="0" y="13"/>
                  </a:lnTo>
                  <a:lnTo>
                    <a:pt x="3" y="8"/>
                  </a:lnTo>
                  <a:lnTo>
                    <a:pt x="18" y="0"/>
                  </a:lnTo>
                  <a:lnTo>
                    <a:pt x="71" y="8"/>
                  </a:lnTo>
                  <a:lnTo>
                    <a:pt x="103" y="8"/>
                  </a:lnTo>
                  <a:lnTo>
                    <a:pt x="110" y="6"/>
                  </a:lnTo>
                  <a:lnTo>
                    <a:pt x="129" y="17"/>
                  </a:lnTo>
                  <a:lnTo>
                    <a:pt x="129"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52" name="Freeform 5723"/>
            <p:cNvSpPr>
              <a:spLocks/>
            </p:cNvSpPr>
            <p:nvPr>
              <p:custDataLst>
                <p:tags r:id="rId88"/>
              </p:custDataLst>
            </p:nvPr>
          </p:nvSpPr>
          <p:spPr bwMode="gray">
            <a:xfrm>
              <a:off x="6432863" y="3366445"/>
              <a:ext cx="68004" cy="115610"/>
            </a:xfrm>
            <a:custGeom>
              <a:avLst/>
              <a:gdLst/>
              <a:ahLst/>
              <a:cxnLst>
                <a:cxn ang="0">
                  <a:pos x="40" y="68"/>
                </a:cxn>
                <a:cxn ang="0">
                  <a:pos x="34" y="43"/>
                </a:cxn>
                <a:cxn ang="0">
                  <a:pos x="42" y="36"/>
                </a:cxn>
                <a:cxn ang="0">
                  <a:pos x="43" y="21"/>
                </a:cxn>
                <a:cxn ang="0">
                  <a:pos x="53" y="10"/>
                </a:cxn>
                <a:cxn ang="0">
                  <a:pos x="51" y="2"/>
                </a:cxn>
                <a:cxn ang="0">
                  <a:pos x="17" y="0"/>
                </a:cxn>
                <a:cxn ang="0">
                  <a:pos x="15" y="15"/>
                </a:cxn>
                <a:cxn ang="0">
                  <a:pos x="0" y="58"/>
                </a:cxn>
                <a:cxn ang="0">
                  <a:pos x="10" y="64"/>
                </a:cxn>
                <a:cxn ang="0">
                  <a:pos x="4" y="90"/>
                </a:cxn>
                <a:cxn ang="0">
                  <a:pos x="34" y="86"/>
                </a:cxn>
                <a:cxn ang="0">
                  <a:pos x="40" y="68"/>
                </a:cxn>
                <a:cxn ang="0">
                  <a:pos x="40" y="68"/>
                </a:cxn>
              </a:cxnLst>
              <a:rect l="0" t="0" r="r" b="b"/>
              <a:pathLst>
                <a:path w="53" h="90">
                  <a:moveTo>
                    <a:pt x="40" y="68"/>
                  </a:moveTo>
                  <a:lnTo>
                    <a:pt x="34" y="43"/>
                  </a:lnTo>
                  <a:lnTo>
                    <a:pt x="42" y="36"/>
                  </a:lnTo>
                  <a:lnTo>
                    <a:pt x="43" y="21"/>
                  </a:lnTo>
                  <a:lnTo>
                    <a:pt x="53" y="10"/>
                  </a:lnTo>
                  <a:lnTo>
                    <a:pt x="51" y="2"/>
                  </a:lnTo>
                  <a:lnTo>
                    <a:pt x="17" y="0"/>
                  </a:lnTo>
                  <a:lnTo>
                    <a:pt x="15" y="15"/>
                  </a:lnTo>
                  <a:lnTo>
                    <a:pt x="0" y="58"/>
                  </a:lnTo>
                  <a:lnTo>
                    <a:pt x="10" y="64"/>
                  </a:lnTo>
                  <a:lnTo>
                    <a:pt x="4" y="90"/>
                  </a:lnTo>
                  <a:lnTo>
                    <a:pt x="34" y="86"/>
                  </a:lnTo>
                  <a:lnTo>
                    <a:pt x="40" y="68"/>
                  </a:lnTo>
                  <a:lnTo>
                    <a:pt x="40" y="6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53" name="Freeform 5724"/>
            <p:cNvSpPr>
              <a:spLocks/>
            </p:cNvSpPr>
            <p:nvPr>
              <p:custDataLst>
                <p:tags r:id="rId89"/>
              </p:custDataLst>
            </p:nvPr>
          </p:nvSpPr>
          <p:spPr bwMode="gray">
            <a:xfrm>
              <a:off x="6539360" y="3151924"/>
              <a:ext cx="232240" cy="200391"/>
            </a:xfrm>
            <a:custGeom>
              <a:avLst/>
              <a:gdLst/>
              <a:ahLst/>
              <a:cxnLst>
                <a:cxn ang="0">
                  <a:pos x="174" y="64"/>
                </a:cxn>
                <a:cxn ang="0">
                  <a:pos x="181" y="42"/>
                </a:cxn>
                <a:cxn ang="0">
                  <a:pos x="157" y="30"/>
                </a:cxn>
                <a:cxn ang="0">
                  <a:pos x="150" y="29"/>
                </a:cxn>
                <a:cxn ang="0">
                  <a:pos x="140" y="27"/>
                </a:cxn>
                <a:cxn ang="0">
                  <a:pos x="138" y="19"/>
                </a:cxn>
                <a:cxn ang="0">
                  <a:pos x="129" y="21"/>
                </a:cxn>
                <a:cxn ang="0">
                  <a:pos x="110" y="2"/>
                </a:cxn>
                <a:cxn ang="0">
                  <a:pos x="108" y="0"/>
                </a:cxn>
                <a:cxn ang="0">
                  <a:pos x="95" y="8"/>
                </a:cxn>
                <a:cxn ang="0">
                  <a:pos x="90" y="21"/>
                </a:cxn>
                <a:cxn ang="0">
                  <a:pos x="71" y="27"/>
                </a:cxn>
                <a:cxn ang="0">
                  <a:pos x="69" y="36"/>
                </a:cxn>
                <a:cxn ang="0">
                  <a:pos x="52" y="36"/>
                </a:cxn>
                <a:cxn ang="0">
                  <a:pos x="50" y="27"/>
                </a:cxn>
                <a:cxn ang="0">
                  <a:pos x="41" y="27"/>
                </a:cxn>
                <a:cxn ang="0">
                  <a:pos x="47" y="47"/>
                </a:cxn>
                <a:cxn ang="0">
                  <a:pos x="30" y="49"/>
                </a:cxn>
                <a:cxn ang="0">
                  <a:pos x="24" y="44"/>
                </a:cxn>
                <a:cxn ang="0">
                  <a:pos x="0" y="49"/>
                </a:cxn>
                <a:cxn ang="0">
                  <a:pos x="0" y="59"/>
                </a:cxn>
                <a:cxn ang="0">
                  <a:pos x="30" y="66"/>
                </a:cxn>
                <a:cxn ang="0">
                  <a:pos x="47" y="89"/>
                </a:cxn>
                <a:cxn ang="0">
                  <a:pos x="50" y="96"/>
                </a:cxn>
                <a:cxn ang="0">
                  <a:pos x="41" y="135"/>
                </a:cxn>
                <a:cxn ang="0">
                  <a:pos x="37" y="141"/>
                </a:cxn>
                <a:cxn ang="0">
                  <a:pos x="56" y="152"/>
                </a:cxn>
                <a:cxn ang="0">
                  <a:pos x="106" y="156"/>
                </a:cxn>
                <a:cxn ang="0">
                  <a:pos x="106" y="148"/>
                </a:cxn>
                <a:cxn ang="0">
                  <a:pos x="121" y="139"/>
                </a:cxn>
                <a:cxn ang="0">
                  <a:pos x="157" y="147"/>
                </a:cxn>
                <a:cxn ang="0">
                  <a:pos x="174" y="133"/>
                </a:cxn>
                <a:cxn ang="0">
                  <a:pos x="163" y="115"/>
                </a:cxn>
                <a:cxn ang="0">
                  <a:pos x="166" y="96"/>
                </a:cxn>
                <a:cxn ang="0">
                  <a:pos x="163" y="87"/>
                </a:cxn>
                <a:cxn ang="0">
                  <a:pos x="153" y="90"/>
                </a:cxn>
                <a:cxn ang="0">
                  <a:pos x="151" y="85"/>
                </a:cxn>
                <a:cxn ang="0">
                  <a:pos x="166" y="66"/>
                </a:cxn>
                <a:cxn ang="0">
                  <a:pos x="174" y="64"/>
                </a:cxn>
                <a:cxn ang="0">
                  <a:pos x="174" y="64"/>
                </a:cxn>
                <a:cxn ang="0">
                  <a:pos x="174" y="64"/>
                </a:cxn>
              </a:cxnLst>
              <a:rect l="0" t="0" r="r" b="b"/>
              <a:pathLst>
                <a:path w="181" h="156">
                  <a:moveTo>
                    <a:pt x="174" y="64"/>
                  </a:moveTo>
                  <a:lnTo>
                    <a:pt x="181" y="42"/>
                  </a:lnTo>
                  <a:lnTo>
                    <a:pt x="157" y="30"/>
                  </a:lnTo>
                  <a:lnTo>
                    <a:pt x="150" y="29"/>
                  </a:lnTo>
                  <a:lnTo>
                    <a:pt x="140" y="27"/>
                  </a:lnTo>
                  <a:lnTo>
                    <a:pt x="138" y="19"/>
                  </a:lnTo>
                  <a:lnTo>
                    <a:pt x="129" y="21"/>
                  </a:lnTo>
                  <a:lnTo>
                    <a:pt x="110" y="2"/>
                  </a:lnTo>
                  <a:lnTo>
                    <a:pt x="108" y="0"/>
                  </a:lnTo>
                  <a:lnTo>
                    <a:pt x="95" y="8"/>
                  </a:lnTo>
                  <a:lnTo>
                    <a:pt x="90" y="21"/>
                  </a:lnTo>
                  <a:lnTo>
                    <a:pt x="71" y="27"/>
                  </a:lnTo>
                  <a:lnTo>
                    <a:pt x="69" y="36"/>
                  </a:lnTo>
                  <a:lnTo>
                    <a:pt x="52" y="36"/>
                  </a:lnTo>
                  <a:lnTo>
                    <a:pt x="50" y="27"/>
                  </a:lnTo>
                  <a:lnTo>
                    <a:pt x="41" y="27"/>
                  </a:lnTo>
                  <a:lnTo>
                    <a:pt x="47" y="47"/>
                  </a:lnTo>
                  <a:lnTo>
                    <a:pt x="30" y="49"/>
                  </a:lnTo>
                  <a:lnTo>
                    <a:pt x="24" y="44"/>
                  </a:lnTo>
                  <a:lnTo>
                    <a:pt x="0" y="49"/>
                  </a:lnTo>
                  <a:lnTo>
                    <a:pt x="0" y="59"/>
                  </a:lnTo>
                  <a:lnTo>
                    <a:pt x="30" y="66"/>
                  </a:lnTo>
                  <a:lnTo>
                    <a:pt x="47" y="89"/>
                  </a:lnTo>
                  <a:lnTo>
                    <a:pt x="50" y="96"/>
                  </a:lnTo>
                  <a:lnTo>
                    <a:pt x="41" y="135"/>
                  </a:lnTo>
                  <a:lnTo>
                    <a:pt x="37" y="141"/>
                  </a:lnTo>
                  <a:lnTo>
                    <a:pt x="56" y="152"/>
                  </a:lnTo>
                  <a:lnTo>
                    <a:pt x="106" y="156"/>
                  </a:lnTo>
                  <a:lnTo>
                    <a:pt x="106" y="148"/>
                  </a:lnTo>
                  <a:lnTo>
                    <a:pt x="121" y="139"/>
                  </a:lnTo>
                  <a:lnTo>
                    <a:pt x="157" y="147"/>
                  </a:lnTo>
                  <a:lnTo>
                    <a:pt x="174" y="133"/>
                  </a:lnTo>
                  <a:lnTo>
                    <a:pt x="163" y="115"/>
                  </a:lnTo>
                  <a:lnTo>
                    <a:pt x="166" y="96"/>
                  </a:lnTo>
                  <a:lnTo>
                    <a:pt x="163" y="87"/>
                  </a:lnTo>
                  <a:lnTo>
                    <a:pt x="153" y="90"/>
                  </a:lnTo>
                  <a:lnTo>
                    <a:pt x="151" y="85"/>
                  </a:lnTo>
                  <a:lnTo>
                    <a:pt x="166" y="66"/>
                  </a:lnTo>
                  <a:lnTo>
                    <a:pt x="174" y="64"/>
                  </a:lnTo>
                  <a:lnTo>
                    <a:pt x="174" y="64"/>
                  </a:lnTo>
                  <a:lnTo>
                    <a:pt x="174" y="6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54" name="Freeform 5725"/>
            <p:cNvSpPr>
              <a:spLocks/>
            </p:cNvSpPr>
            <p:nvPr>
              <p:custDataLst>
                <p:tags r:id="rId90"/>
              </p:custDataLst>
            </p:nvPr>
          </p:nvSpPr>
          <p:spPr bwMode="gray">
            <a:xfrm>
              <a:off x="6748504" y="3246981"/>
              <a:ext cx="220692" cy="213237"/>
            </a:xfrm>
            <a:custGeom>
              <a:avLst/>
              <a:gdLst/>
              <a:ahLst/>
              <a:cxnLst>
                <a:cxn ang="0">
                  <a:pos x="0" y="41"/>
                </a:cxn>
                <a:cxn ang="0">
                  <a:pos x="3" y="22"/>
                </a:cxn>
                <a:cxn ang="0">
                  <a:pos x="3" y="22"/>
                </a:cxn>
                <a:cxn ang="0">
                  <a:pos x="24" y="13"/>
                </a:cxn>
                <a:cxn ang="0">
                  <a:pos x="32" y="20"/>
                </a:cxn>
                <a:cxn ang="0">
                  <a:pos x="37" y="13"/>
                </a:cxn>
                <a:cxn ang="0">
                  <a:pos x="48" y="15"/>
                </a:cxn>
                <a:cxn ang="0">
                  <a:pos x="52" y="5"/>
                </a:cxn>
                <a:cxn ang="0">
                  <a:pos x="54" y="5"/>
                </a:cxn>
                <a:cxn ang="0">
                  <a:pos x="76" y="0"/>
                </a:cxn>
                <a:cxn ang="0">
                  <a:pos x="78" y="5"/>
                </a:cxn>
                <a:cxn ang="0">
                  <a:pos x="99" y="11"/>
                </a:cxn>
                <a:cxn ang="0">
                  <a:pos x="97" y="16"/>
                </a:cxn>
                <a:cxn ang="0">
                  <a:pos x="103" y="26"/>
                </a:cxn>
                <a:cxn ang="0">
                  <a:pos x="99" y="28"/>
                </a:cxn>
                <a:cxn ang="0">
                  <a:pos x="99" y="30"/>
                </a:cxn>
                <a:cxn ang="0">
                  <a:pos x="91" y="24"/>
                </a:cxn>
                <a:cxn ang="0">
                  <a:pos x="78" y="30"/>
                </a:cxn>
                <a:cxn ang="0">
                  <a:pos x="80" y="52"/>
                </a:cxn>
                <a:cxn ang="0">
                  <a:pos x="99" y="67"/>
                </a:cxn>
                <a:cxn ang="0">
                  <a:pos x="108" y="86"/>
                </a:cxn>
                <a:cxn ang="0">
                  <a:pos x="125" y="95"/>
                </a:cxn>
                <a:cxn ang="0">
                  <a:pos x="136" y="95"/>
                </a:cxn>
                <a:cxn ang="0">
                  <a:pos x="133" y="103"/>
                </a:cxn>
                <a:cxn ang="0">
                  <a:pos x="172" y="127"/>
                </a:cxn>
                <a:cxn ang="0">
                  <a:pos x="170" y="133"/>
                </a:cxn>
                <a:cxn ang="0">
                  <a:pos x="150" y="119"/>
                </a:cxn>
                <a:cxn ang="0">
                  <a:pos x="144" y="136"/>
                </a:cxn>
                <a:cxn ang="0">
                  <a:pos x="151" y="140"/>
                </a:cxn>
                <a:cxn ang="0">
                  <a:pos x="151" y="148"/>
                </a:cxn>
                <a:cxn ang="0">
                  <a:pos x="144" y="151"/>
                </a:cxn>
                <a:cxn ang="0">
                  <a:pos x="136" y="166"/>
                </a:cxn>
                <a:cxn ang="0">
                  <a:pos x="133" y="166"/>
                </a:cxn>
                <a:cxn ang="0">
                  <a:pos x="138" y="151"/>
                </a:cxn>
                <a:cxn ang="0">
                  <a:pos x="131" y="129"/>
                </a:cxn>
                <a:cxn ang="0">
                  <a:pos x="99" y="106"/>
                </a:cxn>
                <a:cxn ang="0">
                  <a:pos x="82" y="103"/>
                </a:cxn>
                <a:cxn ang="0">
                  <a:pos x="69" y="86"/>
                </a:cxn>
                <a:cxn ang="0">
                  <a:pos x="61" y="86"/>
                </a:cxn>
                <a:cxn ang="0">
                  <a:pos x="48" y="56"/>
                </a:cxn>
                <a:cxn ang="0">
                  <a:pos x="28" y="50"/>
                </a:cxn>
                <a:cxn ang="0">
                  <a:pos x="11" y="59"/>
                </a:cxn>
                <a:cxn ang="0">
                  <a:pos x="0" y="41"/>
                </a:cxn>
                <a:cxn ang="0">
                  <a:pos x="0" y="41"/>
                </a:cxn>
              </a:cxnLst>
              <a:rect l="0" t="0" r="r" b="b"/>
              <a:pathLst>
                <a:path w="172" h="166">
                  <a:moveTo>
                    <a:pt x="0" y="41"/>
                  </a:moveTo>
                  <a:lnTo>
                    <a:pt x="3" y="22"/>
                  </a:lnTo>
                  <a:lnTo>
                    <a:pt x="3" y="22"/>
                  </a:lnTo>
                  <a:lnTo>
                    <a:pt x="24" y="13"/>
                  </a:lnTo>
                  <a:lnTo>
                    <a:pt x="32" y="20"/>
                  </a:lnTo>
                  <a:lnTo>
                    <a:pt x="37" y="13"/>
                  </a:lnTo>
                  <a:lnTo>
                    <a:pt x="48" y="15"/>
                  </a:lnTo>
                  <a:lnTo>
                    <a:pt x="52" y="5"/>
                  </a:lnTo>
                  <a:lnTo>
                    <a:pt x="54" y="5"/>
                  </a:lnTo>
                  <a:lnTo>
                    <a:pt x="76" y="0"/>
                  </a:lnTo>
                  <a:lnTo>
                    <a:pt x="78" y="5"/>
                  </a:lnTo>
                  <a:lnTo>
                    <a:pt x="99" y="11"/>
                  </a:lnTo>
                  <a:lnTo>
                    <a:pt x="97" y="16"/>
                  </a:lnTo>
                  <a:lnTo>
                    <a:pt x="103" y="26"/>
                  </a:lnTo>
                  <a:lnTo>
                    <a:pt x="99" y="28"/>
                  </a:lnTo>
                  <a:lnTo>
                    <a:pt x="99" y="30"/>
                  </a:lnTo>
                  <a:lnTo>
                    <a:pt x="91" y="24"/>
                  </a:lnTo>
                  <a:lnTo>
                    <a:pt x="78" y="30"/>
                  </a:lnTo>
                  <a:lnTo>
                    <a:pt x="80" y="52"/>
                  </a:lnTo>
                  <a:lnTo>
                    <a:pt x="99" y="67"/>
                  </a:lnTo>
                  <a:lnTo>
                    <a:pt x="108" y="86"/>
                  </a:lnTo>
                  <a:lnTo>
                    <a:pt x="125" y="95"/>
                  </a:lnTo>
                  <a:lnTo>
                    <a:pt x="136" y="95"/>
                  </a:lnTo>
                  <a:lnTo>
                    <a:pt x="133" y="103"/>
                  </a:lnTo>
                  <a:lnTo>
                    <a:pt x="172" y="127"/>
                  </a:lnTo>
                  <a:lnTo>
                    <a:pt x="170" y="133"/>
                  </a:lnTo>
                  <a:lnTo>
                    <a:pt x="150" y="119"/>
                  </a:lnTo>
                  <a:lnTo>
                    <a:pt x="144" y="136"/>
                  </a:lnTo>
                  <a:lnTo>
                    <a:pt x="151" y="140"/>
                  </a:lnTo>
                  <a:lnTo>
                    <a:pt x="151" y="148"/>
                  </a:lnTo>
                  <a:lnTo>
                    <a:pt x="144" y="151"/>
                  </a:lnTo>
                  <a:lnTo>
                    <a:pt x="136" y="166"/>
                  </a:lnTo>
                  <a:lnTo>
                    <a:pt x="133" y="166"/>
                  </a:lnTo>
                  <a:lnTo>
                    <a:pt x="138" y="151"/>
                  </a:lnTo>
                  <a:lnTo>
                    <a:pt x="131" y="129"/>
                  </a:lnTo>
                  <a:lnTo>
                    <a:pt x="99" y="106"/>
                  </a:lnTo>
                  <a:lnTo>
                    <a:pt x="82" y="103"/>
                  </a:lnTo>
                  <a:lnTo>
                    <a:pt x="69" y="86"/>
                  </a:lnTo>
                  <a:lnTo>
                    <a:pt x="61" y="86"/>
                  </a:lnTo>
                  <a:lnTo>
                    <a:pt x="48" y="56"/>
                  </a:lnTo>
                  <a:lnTo>
                    <a:pt x="28" y="50"/>
                  </a:lnTo>
                  <a:lnTo>
                    <a:pt x="11" y="59"/>
                  </a:lnTo>
                  <a:lnTo>
                    <a:pt x="0" y="41"/>
                  </a:lnTo>
                  <a:lnTo>
                    <a:pt x="0" y="4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55" name="Freeform 5726"/>
            <p:cNvSpPr>
              <a:spLocks/>
            </p:cNvSpPr>
            <p:nvPr>
              <p:custDataLst>
                <p:tags r:id="rId91"/>
              </p:custDataLst>
            </p:nvPr>
          </p:nvSpPr>
          <p:spPr bwMode="gray">
            <a:xfrm>
              <a:off x="7041049" y="3316347"/>
              <a:ext cx="120611" cy="66797"/>
            </a:xfrm>
            <a:custGeom>
              <a:avLst/>
              <a:gdLst/>
              <a:ahLst/>
              <a:cxnLst>
                <a:cxn ang="0">
                  <a:pos x="68" y="0"/>
                </a:cxn>
                <a:cxn ang="0">
                  <a:pos x="45" y="7"/>
                </a:cxn>
                <a:cxn ang="0">
                  <a:pos x="23" y="5"/>
                </a:cxn>
                <a:cxn ang="0">
                  <a:pos x="6" y="0"/>
                </a:cxn>
                <a:cxn ang="0">
                  <a:pos x="0" y="5"/>
                </a:cxn>
                <a:cxn ang="0">
                  <a:pos x="4" y="20"/>
                </a:cxn>
                <a:cxn ang="0">
                  <a:pos x="2" y="34"/>
                </a:cxn>
                <a:cxn ang="0">
                  <a:pos x="11" y="50"/>
                </a:cxn>
                <a:cxn ang="0">
                  <a:pos x="34" y="45"/>
                </a:cxn>
                <a:cxn ang="0">
                  <a:pos x="49" y="52"/>
                </a:cxn>
                <a:cxn ang="0">
                  <a:pos x="62" y="41"/>
                </a:cxn>
                <a:cxn ang="0">
                  <a:pos x="86" y="41"/>
                </a:cxn>
                <a:cxn ang="0">
                  <a:pos x="77" y="30"/>
                </a:cxn>
                <a:cxn ang="0">
                  <a:pos x="83" y="15"/>
                </a:cxn>
                <a:cxn ang="0">
                  <a:pos x="92" y="13"/>
                </a:cxn>
                <a:cxn ang="0">
                  <a:pos x="94" y="7"/>
                </a:cxn>
                <a:cxn ang="0">
                  <a:pos x="68" y="0"/>
                </a:cxn>
                <a:cxn ang="0">
                  <a:pos x="68" y="0"/>
                </a:cxn>
              </a:cxnLst>
              <a:rect l="0" t="0" r="r" b="b"/>
              <a:pathLst>
                <a:path w="94" h="52">
                  <a:moveTo>
                    <a:pt x="68" y="0"/>
                  </a:moveTo>
                  <a:lnTo>
                    <a:pt x="45" y="7"/>
                  </a:lnTo>
                  <a:lnTo>
                    <a:pt x="23" y="5"/>
                  </a:lnTo>
                  <a:lnTo>
                    <a:pt x="6" y="0"/>
                  </a:lnTo>
                  <a:lnTo>
                    <a:pt x="0" y="5"/>
                  </a:lnTo>
                  <a:lnTo>
                    <a:pt x="4" y="20"/>
                  </a:lnTo>
                  <a:lnTo>
                    <a:pt x="2" y="34"/>
                  </a:lnTo>
                  <a:lnTo>
                    <a:pt x="11" y="50"/>
                  </a:lnTo>
                  <a:lnTo>
                    <a:pt x="34" y="45"/>
                  </a:lnTo>
                  <a:lnTo>
                    <a:pt x="49" y="52"/>
                  </a:lnTo>
                  <a:lnTo>
                    <a:pt x="62" y="41"/>
                  </a:lnTo>
                  <a:lnTo>
                    <a:pt x="86" y="41"/>
                  </a:lnTo>
                  <a:lnTo>
                    <a:pt x="77" y="30"/>
                  </a:lnTo>
                  <a:lnTo>
                    <a:pt x="83" y="15"/>
                  </a:lnTo>
                  <a:lnTo>
                    <a:pt x="92" y="13"/>
                  </a:lnTo>
                  <a:lnTo>
                    <a:pt x="94" y="7"/>
                  </a:lnTo>
                  <a:lnTo>
                    <a:pt x="68" y="0"/>
                  </a:lnTo>
                  <a:lnTo>
                    <a:pt x="68"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56" name="Freeform 5727"/>
            <p:cNvSpPr>
              <a:spLocks/>
            </p:cNvSpPr>
            <p:nvPr>
              <p:custDataLst>
                <p:tags r:id="rId92"/>
              </p:custDataLst>
            </p:nvPr>
          </p:nvSpPr>
          <p:spPr bwMode="gray">
            <a:xfrm>
              <a:off x="7002556" y="3369014"/>
              <a:ext cx="118045" cy="101480"/>
            </a:xfrm>
            <a:custGeom>
              <a:avLst/>
              <a:gdLst/>
              <a:ahLst/>
              <a:cxnLst>
                <a:cxn ang="0">
                  <a:pos x="92" y="0"/>
                </a:cxn>
                <a:cxn ang="0">
                  <a:pos x="79" y="11"/>
                </a:cxn>
                <a:cxn ang="0">
                  <a:pos x="64" y="4"/>
                </a:cxn>
                <a:cxn ang="0">
                  <a:pos x="41" y="9"/>
                </a:cxn>
                <a:cxn ang="0">
                  <a:pos x="13" y="19"/>
                </a:cxn>
                <a:cxn ang="0">
                  <a:pos x="13" y="19"/>
                </a:cxn>
                <a:cxn ang="0">
                  <a:pos x="13" y="24"/>
                </a:cxn>
                <a:cxn ang="0">
                  <a:pos x="0" y="39"/>
                </a:cxn>
                <a:cxn ang="0">
                  <a:pos x="0" y="41"/>
                </a:cxn>
                <a:cxn ang="0">
                  <a:pos x="15" y="66"/>
                </a:cxn>
                <a:cxn ang="0">
                  <a:pos x="38" y="66"/>
                </a:cxn>
                <a:cxn ang="0">
                  <a:pos x="60" y="79"/>
                </a:cxn>
                <a:cxn ang="0">
                  <a:pos x="60" y="68"/>
                </a:cxn>
                <a:cxn ang="0">
                  <a:pos x="70" y="71"/>
                </a:cxn>
                <a:cxn ang="0">
                  <a:pos x="49" y="54"/>
                </a:cxn>
                <a:cxn ang="0">
                  <a:pos x="36" y="34"/>
                </a:cxn>
                <a:cxn ang="0">
                  <a:pos x="36" y="23"/>
                </a:cxn>
                <a:cxn ang="0">
                  <a:pos x="53" y="32"/>
                </a:cxn>
                <a:cxn ang="0">
                  <a:pos x="51" y="23"/>
                </a:cxn>
                <a:cxn ang="0">
                  <a:pos x="60" y="17"/>
                </a:cxn>
                <a:cxn ang="0">
                  <a:pos x="83" y="19"/>
                </a:cxn>
                <a:cxn ang="0">
                  <a:pos x="88" y="24"/>
                </a:cxn>
                <a:cxn ang="0">
                  <a:pos x="92" y="0"/>
                </a:cxn>
                <a:cxn ang="0">
                  <a:pos x="92" y="0"/>
                </a:cxn>
              </a:cxnLst>
              <a:rect l="0" t="0" r="r" b="b"/>
              <a:pathLst>
                <a:path w="92" h="79">
                  <a:moveTo>
                    <a:pt x="92" y="0"/>
                  </a:moveTo>
                  <a:lnTo>
                    <a:pt x="79" y="11"/>
                  </a:lnTo>
                  <a:lnTo>
                    <a:pt x="64" y="4"/>
                  </a:lnTo>
                  <a:lnTo>
                    <a:pt x="41" y="9"/>
                  </a:lnTo>
                  <a:lnTo>
                    <a:pt x="13" y="19"/>
                  </a:lnTo>
                  <a:lnTo>
                    <a:pt x="13" y="19"/>
                  </a:lnTo>
                  <a:lnTo>
                    <a:pt x="13" y="24"/>
                  </a:lnTo>
                  <a:lnTo>
                    <a:pt x="0" y="39"/>
                  </a:lnTo>
                  <a:lnTo>
                    <a:pt x="0" y="41"/>
                  </a:lnTo>
                  <a:lnTo>
                    <a:pt x="15" y="66"/>
                  </a:lnTo>
                  <a:lnTo>
                    <a:pt x="38" y="66"/>
                  </a:lnTo>
                  <a:lnTo>
                    <a:pt x="60" y="79"/>
                  </a:lnTo>
                  <a:lnTo>
                    <a:pt x="60" y="68"/>
                  </a:lnTo>
                  <a:lnTo>
                    <a:pt x="70" y="71"/>
                  </a:lnTo>
                  <a:lnTo>
                    <a:pt x="49" y="54"/>
                  </a:lnTo>
                  <a:lnTo>
                    <a:pt x="36" y="34"/>
                  </a:lnTo>
                  <a:lnTo>
                    <a:pt x="36" y="23"/>
                  </a:lnTo>
                  <a:lnTo>
                    <a:pt x="53" y="32"/>
                  </a:lnTo>
                  <a:lnTo>
                    <a:pt x="51" y="23"/>
                  </a:lnTo>
                  <a:lnTo>
                    <a:pt x="60" y="17"/>
                  </a:lnTo>
                  <a:lnTo>
                    <a:pt x="83" y="19"/>
                  </a:lnTo>
                  <a:lnTo>
                    <a:pt x="88" y="24"/>
                  </a:lnTo>
                  <a:lnTo>
                    <a:pt x="92" y="0"/>
                  </a:lnTo>
                  <a:lnTo>
                    <a:pt x="92"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57" name="Freeform 5728"/>
            <p:cNvSpPr>
              <a:spLocks/>
            </p:cNvSpPr>
            <p:nvPr>
              <p:custDataLst>
                <p:tags r:id="rId93"/>
              </p:custDataLst>
            </p:nvPr>
          </p:nvSpPr>
          <p:spPr bwMode="gray">
            <a:xfrm>
              <a:off x="6997424" y="3220005"/>
              <a:ext cx="178350" cy="105334"/>
            </a:xfrm>
            <a:custGeom>
              <a:avLst/>
              <a:gdLst/>
              <a:ahLst/>
              <a:cxnLst>
                <a:cxn ang="0">
                  <a:pos x="120" y="47"/>
                </a:cxn>
                <a:cxn ang="0">
                  <a:pos x="122" y="52"/>
                </a:cxn>
                <a:cxn ang="0">
                  <a:pos x="139" y="52"/>
                </a:cxn>
                <a:cxn ang="0">
                  <a:pos x="137" y="62"/>
                </a:cxn>
                <a:cxn ang="0">
                  <a:pos x="126" y="71"/>
                </a:cxn>
                <a:cxn ang="0">
                  <a:pos x="128" y="82"/>
                </a:cxn>
                <a:cxn ang="0">
                  <a:pos x="102" y="75"/>
                </a:cxn>
                <a:cxn ang="0">
                  <a:pos x="79" y="82"/>
                </a:cxn>
                <a:cxn ang="0">
                  <a:pos x="57" y="80"/>
                </a:cxn>
                <a:cxn ang="0">
                  <a:pos x="40" y="75"/>
                </a:cxn>
                <a:cxn ang="0">
                  <a:pos x="34" y="64"/>
                </a:cxn>
                <a:cxn ang="0">
                  <a:pos x="19" y="62"/>
                </a:cxn>
                <a:cxn ang="0">
                  <a:pos x="0" y="37"/>
                </a:cxn>
                <a:cxn ang="0">
                  <a:pos x="0" y="37"/>
                </a:cxn>
                <a:cxn ang="0">
                  <a:pos x="14" y="34"/>
                </a:cxn>
                <a:cxn ang="0">
                  <a:pos x="27" y="9"/>
                </a:cxn>
                <a:cxn ang="0">
                  <a:pos x="36" y="6"/>
                </a:cxn>
                <a:cxn ang="0">
                  <a:pos x="66" y="7"/>
                </a:cxn>
                <a:cxn ang="0">
                  <a:pos x="89" y="0"/>
                </a:cxn>
                <a:cxn ang="0">
                  <a:pos x="96" y="2"/>
                </a:cxn>
                <a:cxn ang="0">
                  <a:pos x="113" y="26"/>
                </a:cxn>
                <a:cxn ang="0">
                  <a:pos x="120" y="47"/>
                </a:cxn>
                <a:cxn ang="0">
                  <a:pos x="120" y="47"/>
                </a:cxn>
              </a:cxnLst>
              <a:rect l="0" t="0" r="r" b="b"/>
              <a:pathLst>
                <a:path w="139" h="82">
                  <a:moveTo>
                    <a:pt x="120" y="47"/>
                  </a:moveTo>
                  <a:lnTo>
                    <a:pt x="122" y="52"/>
                  </a:lnTo>
                  <a:lnTo>
                    <a:pt x="139" y="52"/>
                  </a:lnTo>
                  <a:lnTo>
                    <a:pt x="137" y="62"/>
                  </a:lnTo>
                  <a:lnTo>
                    <a:pt x="126" y="71"/>
                  </a:lnTo>
                  <a:lnTo>
                    <a:pt x="128" y="82"/>
                  </a:lnTo>
                  <a:lnTo>
                    <a:pt x="102" y="75"/>
                  </a:lnTo>
                  <a:lnTo>
                    <a:pt x="79" y="82"/>
                  </a:lnTo>
                  <a:lnTo>
                    <a:pt x="57" y="80"/>
                  </a:lnTo>
                  <a:lnTo>
                    <a:pt x="40" y="75"/>
                  </a:lnTo>
                  <a:lnTo>
                    <a:pt x="34" y="64"/>
                  </a:lnTo>
                  <a:lnTo>
                    <a:pt x="19" y="62"/>
                  </a:lnTo>
                  <a:lnTo>
                    <a:pt x="0" y="37"/>
                  </a:lnTo>
                  <a:lnTo>
                    <a:pt x="0" y="37"/>
                  </a:lnTo>
                  <a:lnTo>
                    <a:pt x="14" y="34"/>
                  </a:lnTo>
                  <a:lnTo>
                    <a:pt x="27" y="9"/>
                  </a:lnTo>
                  <a:lnTo>
                    <a:pt x="36" y="6"/>
                  </a:lnTo>
                  <a:lnTo>
                    <a:pt x="66" y="7"/>
                  </a:lnTo>
                  <a:lnTo>
                    <a:pt x="89" y="0"/>
                  </a:lnTo>
                  <a:lnTo>
                    <a:pt x="96" y="2"/>
                  </a:lnTo>
                  <a:lnTo>
                    <a:pt x="113" y="26"/>
                  </a:lnTo>
                  <a:lnTo>
                    <a:pt x="120" y="47"/>
                  </a:lnTo>
                  <a:lnTo>
                    <a:pt x="120" y="4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58" name="Freeform 5729"/>
            <p:cNvSpPr>
              <a:spLocks/>
            </p:cNvSpPr>
            <p:nvPr>
              <p:custDataLst>
                <p:tags r:id="rId94"/>
              </p:custDataLst>
            </p:nvPr>
          </p:nvSpPr>
          <p:spPr bwMode="gray">
            <a:xfrm>
              <a:off x="6872964" y="3250835"/>
              <a:ext cx="52607" cy="34683"/>
            </a:xfrm>
            <a:custGeom>
              <a:avLst/>
              <a:gdLst/>
              <a:ahLst/>
              <a:cxnLst>
                <a:cxn ang="0">
                  <a:pos x="2" y="27"/>
                </a:cxn>
                <a:cxn ang="0">
                  <a:pos x="2" y="25"/>
                </a:cxn>
                <a:cxn ang="0">
                  <a:pos x="6" y="23"/>
                </a:cxn>
                <a:cxn ang="0">
                  <a:pos x="0" y="13"/>
                </a:cxn>
                <a:cxn ang="0">
                  <a:pos x="2" y="8"/>
                </a:cxn>
                <a:cxn ang="0">
                  <a:pos x="38" y="0"/>
                </a:cxn>
                <a:cxn ang="0">
                  <a:pos x="41" y="4"/>
                </a:cxn>
                <a:cxn ang="0">
                  <a:pos x="41" y="4"/>
                </a:cxn>
                <a:cxn ang="0">
                  <a:pos x="28" y="13"/>
                </a:cxn>
                <a:cxn ang="0">
                  <a:pos x="26" y="23"/>
                </a:cxn>
                <a:cxn ang="0">
                  <a:pos x="17" y="21"/>
                </a:cxn>
                <a:cxn ang="0">
                  <a:pos x="8" y="27"/>
                </a:cxn>
                <a:cxn ang="0">
                  <a:pos x="2" y="27"/>
                </a:cxn>
                <a:cxn ang="0">
                  <a:pos x="2" y="27"/>
                </a:cxn>
              </a:cxnLst>
              <a:rect l="0" t="0" r="r" b="b"/>
              <a:pathLst>
                <a:path w="41" h="27">
                  <a:moveTo>
                    <a:pt x="2" y="27"/>
                  </a:moveTo>
                  <a:lnTo>
                    <a:pt x="2" y="25"/>
                  </a:lnTo>
                  <a:lnTo>
                    <a:pt x="6" y="23"/>
                  </a:lnTo>
                  <a:lnTo>
                    <a:pt x="0" y="13"/>
                  </a:lnTo>
                  <a:lnTo>
                    <a:pt x="2" y="8"/>
                  </a:lnTo>
                  <a:lnTo>
                    <a:pt x="38" y="0"/>
                  </a:lnTo>
                  <a:lnTo>
                    <a:pt x="41" y="4"/>
                  </a:lnTo>
                  <a:lnTo>
                    <a:pt x="41" y="4"/>
                  </a:lnTo>
                  <a:lnTo>
                    <a:pt x="28" y="13"/>
                  </a:lnTo>
                  <a:lnTo>
                    <a:pt x="26" y="23"/>
                  </a:lnTo>
                  <a:lnTo>
                    <a:pt x="17" y="21"/>
                  </a:lnTo>
                  <a:lnTo>
                    <a:pt x="8" y="27"/>
                  </a:lnTo>
                  <a:lnTo>
                    <a:pt x="2" y="27"/>
                  </a:lnTo>
                  <a:lnTo>
                    <a:pt x="2" y="2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59" name="Freeform 5730"/>
            <p:cNvSpPr>
              <a:spLocks/>
            </p:cNvSpPr>
            <p:nvPr>
              <p:custDataLst>
                <p:tags r:id="rId95"/>
              </p:custDataLst>
            </p:nvPr>
          </p:nvSpPr>
          <p:spPr bwMode="gray">
            <a:xfrm>
              <a:off x="6875530" y="3255973"/>
              <a:ext cx="107780" cy="96342"/>
            </a:xfrm>
            <a:custGeom>
              <a:avLst/>
              <a:gdLst/>
              <a:ahLst/>
              <a:cxnLst>
                <a:cxn ang="0">
                  <a:pos x="75" y="15"/>
                </a:cxn>
                <a:cxn ang="0">
                  <a:pos x="62" y="17"/>
                </a:cxn>
                <a:cxn ang="0">
                  <a:pos x="39" y="0"/>
                </a:cxn>
                <a:cxn ang="0">
                  <a:pos x="39" y="0"/>
                </a:cxn>
                <a:cxn ang="0">
                  <a:pos x="26" y="9"/>
                </a:cxn>
                <a:cxn ang="0">
                  <a:pos x="24" y="19"/>
                </a:cxn>
                <a:cxn ang="0">
                  <a:pos x="15" y="17"/>
                </a:cxn>
                <a:cxn ang="0">
                  <a:pos x="6" y="23"/>
                </a:cxn>
                <a:cxn ang="0">
                  <a:pos x="0" y="23"/>
                </a:cxn>
                <a:cxn ang="0">
                  <a:pos x="2" y="34"/>
                </a:cxn>
                <a:cxn ang="0">
                  <a:pos x="7" y="24"/>
                </a:cxn>
                <a:cxn ang="0">
                  <a:pos x="17" y="32"/>
                </a:cxn>
                <a:cxn ang="0">
                  <a:pos x="24" y="49"/>
                </a:cxn>
                <a:cxn ang="0">
                  <a:pos x="66" y="75"/>
                </a:cxn>
                <a:cxn ang="0">
                  <a:pos x="69" y="71"/>
                </a:cxn>
                <a:cxn ang="0">
                  <a:pos x="41" y="45"/>
                </a:cxn>
                <a:cxn ang="0">
                  <a:pos x="36" y="34"/>
                </a:cxn>
                <a:cxn ang="0">
                  <a:pos x="37" y="26"/>
                </a:cxn>
                <a:cxn ang="0">
                  <a:pos x="69" y="30"/>
                </a:cxn>
                <a:cxn ang="0">
                  <a:pos x="81" y="32"/>
                </a:cxn>
                <a:cxn ang="0">
                  <a:pos x="84" y="28"/>
                </a:cxn>
                <a:cxn ang="0">
                  <a:pos x="79" y="24"/>
                </a:cxn>
                <a:cxn ang="0">
                  <a:pos x="75" y="15"/>
                </a:cxn>
                <a:cxn ang="0">
                  <a:pos x="75" y="15"/>
                </a:cxn>
              </a:cxnLst>
              <a:rect l="0" t="0" r="r" b="b"/>
              <a:pathLst>
                <a:path w="84" h="75">
                  <a:moveTo>
                    <a:pt x="75" y="15"/>
                  </a:moveTo>
                  <a:lnTo>
                    <a:pt x="62" y="17"/>
                  </a:lnTo>
                  <a:lnTo>
                    <a:pt x="39" y="0"/>
                  </a:lnTo>
                  <a:lnTo>
                    <a:pt x="39" y="0"/>
                  </a:lnTo>
                  <a:lnTo>
                    <a:pt x="26" y="9"/>
                  </a:lnTo>
                  <a:lnTo>
                    <a:pt x="24" y="19"/>
                  </a:lnTo>
                  <a:lnTo>
                    <a:pt x="15" y="17"/>
                  </a:lnTo>
                  <a:lnTo>
                    <a:pt x="6" y="23"/>
                  </a:lnTo>
                  <a:lnTo>
                    <a:pt x="0" y="23"/>
                  </a:lnTo>
                  <a:lnTo>
                    <a:pt x="2" y="34"/>
                  </a:lnTo>
                  <a:lnTo>
                    <a:pt x="7" y="24"/>
                  </a:lnTo>
                  <a:lnTo>
                    <a:pt x="17" y="32"/>
                  </a:lnTo>
                  <a:lnTo>
                    <a:pt x="24" y="49"/>
                  </a:lnTo>
                  <a:lnTo>
                    <a:pt x="66" y="75"/>
                  </a:lnTo>
                  <a:lnTo>
                    <a:pt x="69" y="71"/>
                  </a:lnTo>
                  <a:lnTo>
                    <a:pt x="41" y="45"/>
                  </a:lnTo>
                  <a:lnTo>
                    <a:pt x="36" y="34"/>
                  </a:lnTo>
                  <a:lnTo>
                    <a:pt x="37" y="26"/>
                  </a:lnTo>
                  <a:lnTo>
                    <a:pt x="69" y="30"/>
                  </a:lnTo>
                  <a:lnTo>
                    <a:pt x="81" y="32"/>
                  </a:lnTo>
                  <a:lnTo>
                    <a:pt x="84" y="28"/>
                  </a:lnTo>
                  <a:lnTo>
                    <a:pt x="79" y="24"/>
                  </a:lnTo>
                  <a:lnTo>
                    <a:pt x="75" y="15"/>
                  </a:lnTo>
                  <a:lnTo>
                    <a:pt x="75"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60" name="Freeform 5731"/>
            <p:cNvSpPr>
              <a:spLocks/>
            </p:cNvSpPr>
            <p:nvPr>
              <p:custDataLst>
                <p:tags r:id="rId96"/>
              </p:custDataLst>
            </p:nvPr>
          </p:nvSpPr>
          <p:spPr bwMode="gray">
            <a:xfrm>
              <a:off x="6921722" y="3289372"/>
              <a:ext cx="66721" cy="57805"/>
            </a:xfrm>
            <a:custGeom>
              <a:avLst/>
              <a:gdLst/>
              <a:ahLst/>
              <a:cxnLst>
                <a:cxn ang="0">
                  <a:pos x="45" y="6"/>
                </a:cxn>
                <a:cxn ang="0">
                  <a:pos x="48" y="10"/>
                </a:cxn>
                <a:cxn ang="0">
                  <a:pos x="46" y="19"/>
                </a:cxn>
                <a:cxn ang="0">
                  <a:pos x="52" y="21"/>
                </a:cxn>
                <a:cxn ang="0">
                  <a:pos x="48" y="30"/>
                </a:cxn>
                <a:cxn ang="0">
                  <a:pos x="37" y="30"/>
                </a:cxn>
                <a:cxn ang="0">
                  <a:pos x="33" y="45"/>
                </a:cxn>
                <a:cxn ang="0">
                  <a:pos x="5" y="19"/>
                </a:cxn>
                <a:cxn ang="0">
                  <a:pos x="0" y="8"/>
                </a:cxn>
                <a:cxn ang="0">
                  <a:pos x="1" y="0"/>
                </a:cxn>
                <a:cxn ang="0">
                  <a:pos x="33" y="4"/>
                </a:cxn>
                <a:cxn ang="0">
                  <a:pos x="45" y="6"/>
                </a:cxn>
                <a:cxn ang="0">
                  <a:pos x="45" y="6"/>
                </a:cxn>
              </a:cxnLst>
              <a:rect l="0" t="0" r="r" b="b"/>
              <a:pathLst>
                <a:path w="52" h="45">
                  <a:moveTo>
                    <a:pt x="45" y="6"/>
                  </a:moveTo>
                  <a:lnTo>
                    <a:pt x="48" y="10"/>
                  </a:lnTo>
                  <a:lnTo>
                    <a:pt x="46" y="19"/>
                  </a:lnTo>
                  <a:lnTo>
                    <a:pt x="52" y="21"/>
                  </a:lnTo>
                  <a:lnTo>
                    <a:pt x="48" y="30"/>
                  </a:lnTo>
                  <a:lnTo>
                    <a:pt x="37" y="30"/>
                  </a:lnTo>
                  <a:lnTo>
                    <a:pt x="33" y="45"/>
                  </a:lnTo>
                  <a:lnTo>
                    <a:pt x="5" y="19"/>
                  </a:lnTo>
                  <a:lnTo>
                    <a:pt x="0" y="8"/>
                  </a:lnTo>
                  <a:lnTo>
                    <a:pt x="1" y="0"/>
                  </a:lnTo>
                  <a:lnTo>
                    <a:pt x="33" y="4"/>
                  </a:lnTo>
                  <a:lnTo>
                    <a:pt x="45" y="6"/>
                  </a:lnTo>
                  <a:lnTo>
                    <a:pt x="45"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61" name="Freeform 5732"/>
            <p:cNvSpPr>
              <a:spLocks/>
            </p:cNvSpPr>
            <p:nvPr>
              <p:custDataLst>
                <p:tags r:id="rId97"/>
              </p:custDataLst>
            </p:nvPr>
          </p:nvSpPr>
          <p:spPr bwMode="gray">
            <a:xfrm>
              <a:off x="6960214" y="3327908"/>
              <a:ext cx="37210" cy="41106"/>
            </a:xfrm>
            <a:custGeom>
              <a:avLst/>
              <a:gdLst/>
              <a:ahLst/>
              <a:cxnLst>
                <a:cxn ang="0">
                  <a:pos x="0" y="19"/>
                </a:cxn>
                <a:cxn ang="0">
                  <a:pos x="20" y="32"/>
                </a:cxn>
                <a:cxn ang="0">
                  <a:pos x="20" y="32"/>
                </a:cxn>
                <a:cxn ang="0">
                  <a:pos x="24" y="17"/>
                </a:cxn>
                <a:cxn ang="0">
                  <a:pos x="29" y="11"/>
                </a:cxn>
                <a:cxn ang="0">
                  <a:pos x="18" y="0"/>
                </a:cxn>
                <a:cxn ang="0">
                  <a:pos x="7" y="0"/>
                </a:cxn>
                <a:cxn ang="0">
                  <a:pos x="3" y="15"/>
                </a:cxn>
                <a:cxn ang="0">
                  <a:pos x="0" y="19"/>
                </a:cxn>
                <a:cxn ang="0">
                  <a:pos x="0" y="19"/>
                </a:cxn>
              </a:cxnLst>
              <a:rect l="0" t="0" r="r" b="b"/>
              <a:pathLst>
                <a:path w="29" h="32">
                  <a:moveTo>
                    <a:pt x="0" y="19"/>
                  </a:moveTo>
                  <a:lnTo>
                    <a:pt x="20" y="32"/>
                  </a:lnTo>
                  <a:lnTo>
                    <a:pt x="20" y="32"/>
                  </a:lnTo>
                  <a:lnTo>
                    <a:pt x="24" y="17"/>
                  </a:lnTo>
                  <a:lnTo>
                    <a:pt x="29" y="11"/>
                  </a:lnTo>
                  <a:lnTo>
                    <a:pt x="18" y="0"/>
                  </a:lnTo>
                  <a:lnTo>
                    <a:pt x="7" y="0"/>
                  </a:lnTo>
                  <a:lnTo>
                    <a:pt x="3" y="15"/>
                  </a:lnTo>
                  <a:lnTo>
                    <a:pt x="0" y="19"/>
                  </a:lnTo>
                  <a:lnTo>
                    <a:pt x="0" y="1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62" name="Freeform 5733"/>
            <p:cNvSpPr>
              <a:spLocks/>
            </p:cNvSpPr>
            <p:nvPr>
              <p:custDataLst>
                <p:tags r:id="rId98"/>
              </p:custDataLst>
            </p:nvPr>
          </p:nvSpPr>
          <p:spPr bwMode="gray">
            <a:xfrm>
              <a:off x="6971762" y="3267534"/>
              <a:ext cx="76986" cy="106618"/>
            </a:xfrm>
            <a:custGeom>
              <a:avLst/>
              <a:gdLst/>
              <a:ahLst/>
              <a:cxnLst>
                <a:cxn ang="0">
                  <a:pos x="30" y="83"/>
                </a:cxn>
                <a:cxn ang="0">
                  <a:pos x="22" y="68"/>
                </a:cxn>
                <a:cxn ang="0">
                  <a:pos x="15" y="64"/>
                </a:cxn>
                <a:cxn ang="0">
                  <a:pos x="20" y="58"/>
                </a:cxn>
                <a:cxn ang="0">
                  <a:pos x="9" y="47"/>
                </a:cxn>
                <a:cxn ang="0">
                  <a:pos x="13" y="38"/>
                </a:cxn>
                <a:cxn ang="0">
                  <a:pos x="7" y="36"/>
                </a:cxn>
                <a:cxn ang="0">
                  <a:pos x="9" y="27"/>
                </a:cxn>
                <a:cxn ang="0">
                  <a:pos x="6" y="23"/>
                </a:cxn>
                <a:cxn ang="0">
                  <a:pos x="9" y="19"/>
                </a:cxn>
                <a:cxn ang="0">
                  <a:pos x="4" y="15"/>
                </a:cxn>
                <a:cxn ang="0">
                  <a:pos x="0" y="6"/>
                </a:cxn>
                <a:cxn ang="0">
                  <a:pos x="20" y="0"/>
                </a:cxn>
                <a:cxn ang="0">
                  <a:pos x="39" y="25"/>
                </a:cxn>
                <a:cxn ang="0">
                  <a:pos x="54" y="27"/>
                </a:cxn>
                <a:cxn ang="0">
                  <a:pos x="60" y="38"/>
                </a:cxn>
                <a:cxn ang="0">
                  <a:pos x="54" y="43"/>
                </a:cxn>
                <a:cxn ang="0">
                  <a:pos x="58" y="58"/>
                </a:cxn>
                <a:cxn ang="0">
                  <a:pos x="56" y="72"/>
                </a:cxn>
                <a:cxn ang="0">
                  <a:pos x="41" y="72"/>
                </a:cxn>
                <a:cxn ang="0">
                  <a:pos x="30" y="83"/>
                </a:cxn>
                <a:cxn ang="0">
                  <a:pos x="30" y="83"/>
                </a:cxn>
              </a:cxnLst>
              <a:rect l="0" t="0" r="r" b="b"/>
              <a:pathLst>
                <a:path w="60" h="83">
                  <a:moveTo>
                    <a:pt x="30" y="83"/>
                  </a:moveTo>
                  <a:lnTo>
                    <a:pt x="22" y="68"/>
                  </a:lnTo>
                  <a:lnTo>
                    <a:pt x="15" y="64"/>
                  </a:lnTo>
                  <a:lnTo>
                    <a:pt x="20" y="58"/>
                  </a:lnTo>
                  <a:lnTo>
                    <a:pt x="9" y="47"/>
                  </a:lnTo>
                  <a:lnTo>
                    <a:pt x="13" y="38"/>
                  </a:lnTo>
                  <a:lnTo>
                    <a:pt x="7" y="36"/>
                  </a:lnTo>
                  <a:lnTo>
                    <a:pt x="9" y="27"/>
                  </a:lnTo>
                  <a:lnTo>
                    <a:pt x="6" y="23"/>
                  </a:lnTo>
                  <a:lnTo>
                    <a:pt x="9" y="19"/>
                  </a:lnTo>
                  <a:lnTo>
                    <a:pt x="4" y="15"/>
                  </a:lnTo>
                  <a:lnTo>
                    <a:pt x="0" y="6"/>
                  </a:lnTo>
                  <a:lnTo>
                    <a:pt x="20" y="0"/>
                  </a:lnTo>
                  <a:lnTo>
                    <a:pt x="39" y="25"/>
                  </a:lnTo>
                  <a:lnTo>
                    <a:pt x="54" y="27"/>
                  </a:lnTo>
                  <a:lnTo>
                    <a:pt x="60" y="38"/>
                  </a:lnTo>
                  <a:lnTo>
                    <a:pt x="54" y="43"/>
                  </a:lnTo>
                  <a:lnTo>
                    <a:pt x="58" y="58"/>
                  </a:lnTo>
                  <a:lnTo>
                    <a:pt x="56" y="72"/>
                  </a:lnTo>
                  <a:lnTo>
                    <a:pt x="41" y="72"/>
                  </a:lnTo>
                  <a:lnTo>
                    <a:pt x="30" y="83"/>
                  </a:lnTo>
                  <a:lnTo>
                    <a:pt x="30" y="8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63" name="Freeform 5734"/>
            <p:cNvSpPr>
              <a:spLocks/>
            </p:cNvSpPr>
            <p:nvPr>
              <p:custDataLst>
                <p:tags r:id="rId99"/>
              </p:custDataLst>
            </p:nvPr>
          </p:nvSpPr>
          <p:spPr bwMode="gray">
            <a:xfrm>
              <a:off x="7010255" y="3360022"/>
              <a:ext cx="44908" cy="33399"/>
            </a:xfrm>
            <a:custGeom>
              <a:avLst/>
              <a:gdLst/>
              <a:ahLst/>
              <a:cxnLst>
                <a:cxn ang="0">
                  <a:pos x="35" y="16"/>
                </a:cxn>
                <a:cxn ang="0">
                  <a:pos x="26" y="0"/>
                </a:cxn>
                <a:cxn ang="0">
                  <a:pos x="11" y="0"/>
                </a:cxn>
                <a:cxn ang="0">
                  <a:pos x="0" y="11"/>
                </a:cxn>
                <a:cxn ang="0">
                  <a:pos x="7" y="26"/>
                </a:cxn>
                <a:cxn ang="0">
                  <a:pos x="35" y="16"/>
                </a:cxn>
                <a:cxn ang="0">
                  <a:pos x="35" y="16"/>
                </a:cxn>
              </a:cxnLst>
              <a:rect l="0" t="0" r="r" b="b"/>
              <a:pathLst>
                <a:path w="35" h="26">
                  <a:moveTo>
                    <a:pt x="35" y="16"/>
                  </a:moveTo>
                  <a:lnTo>
                    <a:pt x="26" y="0"/>
                  </a:lnTo>
                  <a:lnTo>
                    <a:pt x="11" y="0"/>
                  </a:lnTo>
                  <a:lnTo>
                    <a:pt x="0" y="11"/>
                  </a:lnTo>
                  <a:lnTo>
                    <a:pt x="7" y="26"/>
                  </a:lnTo>
                  <a:lnTo>
                    <a:pt x="35" y="16"/>
                  </a:lnTo>
                  <a:lnTo>
                    <a:pt x="35" y="1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64" name="Freeform 5735"/>
            <p:cNvSpPr>
              <a:spLocks/>
            </p:cNvSpPr>
            <p:nvPr>
              <p:custDataLst>
                <p:tags r:id="rId100"/>
              </p:custDataLst>
            </p:nvPr>
          </p:nvSpPr>
          <p:spPr bwMode="gray">
            <a:xfrm>
              <a:off x="6854523" y="4003685"/>
              <a:ext cx="46191" cy="38537"/>
            </a:xfrm>
            <a:custGeom>
              <a:avLst/>
              <a:gdLst/>
              <a:ahLst/>
              <a:cxnLst>
                <a:cxn ang="0">
                  <a:pos x="0" y="2"/>
                </a:cxn>
                <a:cxn ang="0">
                  <a:pos x="17" y="30"/>
                </a:cxn>
                <a:cxn ang="0">
                  <a:pos x="32" y="24"/>
                </a:cxn>
                <a:cxn ang="0">
                  <a:pos x="36" y="15"/>
                </a:cxn>
                <a:cxn ang="0">
                  <a:pos x="17" y="13"/>
                </a:cxn>
                <a:cxn ang="0">
                  <a:pos x="13" y="0"/>
                </a:cxn>
                <a:cxn ang="0">
                  <a:pos x="0" y="2"/>
                </a:cxn>
                <a:cxn ang="0">
                  <a:pos x="0" y="2"/>
                </a:cxn>
              </a:cxnLst>
              <a:rect l="0" t="0" r="r" b="b"/>
              <a:pathLst>
                <a:path w="36" h="30">
                  <a:moveTo>
                    <a:pt x="0" y="2"/>
                  </a:moveTo>
                  <a:lnTo>
                    <a:pt x="17" y="30"/>
                  </a:lnTo>
                  <a:lnTo>
                    <a:pt x="32" y="24"/>
                  </a:lnTo>
                  <a:lnTo>
                    <a:pt x="36" y="15"/>
                  </a:lnTo>
                  <a:lnTo>
                    <a:pt x="17" y="13"/>
                  </a:lnTo>
                  <a:lnTo>
                    <a:pt x="13"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65" name="Freeform 5736"/>
            <p:cNvSpPr>
              <a:spLocks/>
            </p:cNvSpPr>
            <p:nvPr>
              <p:custDataLst>
                <p:tags r:id="rId101"/>
              </p:custDataLst>
            </p:nvPr>
          </p:nvSpPr>
          <p:spPr bwMode="gray">
            <a:xfrm>
              <a:off x="7263829" y="4561183"/>
              <a:ext cx="64155" cy="178554"/>
            </a:xfrm>
            <a:custGeom>
              <a:avLst/>
              <a:gdLst/>
              <a:ahLst/>
              <a:cxnLst>
                <a:cxn ang="0">
                  <a:pos x="37" y="83"/>
                </a:cxn>
                <a:cxn ang="0">
                  <a:pos x="39" y="94"/>
                </a:cxn>
                <a:cxn ang="0">
                  <a:pos x="24" y="75"/>
                </a:cxn>
                <a:cxn ang="0">
                  <a:pos x="20" y="51"/>
                </a:cxn>
                <a:cxn ang="0">
                  <a:pos x="26" y="43"/>
                </a:cxn>
                <a:cxn ang="0">
                  <a:pos x="22" y="4"/>
                </a:cxn>
                <a:cxn ang="0">
                  <a:pos x="20" y="4"/>
                </a:cxn>
                <a:cxn ang="0">
                  <a:pos x="5" y="0"/>
                </a:cxn>
                <a:cxn ang="0">
                  <a:pos x="15" y="25"/>
                </a:cxn>
                <a:cxn ang="0">
                  <a:pos x="9" y="40"/>
                </a:cxn>
                <a:cxn ang="0">
                  <a:pos x="11" y="55"/>
                </a:cxn>
                <a:cxn ang="0">
                  <a:pos x="0" y="79"/>
                </a:cxn>
                <a:cxn ang="0">
                  <a:pos x="5" y="86"/>
                </a:cxn>
                <a:cxn ang="0">
                  <a:pos x="13" y="96"/>
                </a:cxn>
                <a:cxn ang="0">
                  <a:pos x="26" y="96"/>
                </a:cxn>
                <a:cxn ang="0">
                  <a:pos x="24" y="120"/>
                </a:cxn>
                <a:cxn ang="0">
                  <a:pos x="35" y="139"/>
                </a:cxn>
                <a:cxn ang="0">
                  <a:pos x="48" y="118"/>
                </a:cxn>
                <a:cxn ang="0">
                  <a:pos x="50" y="101"/>
                </a:cxn>
                <a:cxn ang="0">
                  <a:pos x="37" y="83"/>
                </a:cxn>
              </a:cxnLst>
              <a:rect l="0" t="0" r="r" b="b"/>
              <a:pathLst>
                <a:path w="50" h="139">
                  <a:moveTo>
                    <a:pt x="37" y="83"/>
                  </a:moveTo>
                  <a:lnTo>
                    <a:pt x="39" y="94"/>
                  </a:lnTo>
                  <a:lnTo>
                    <a:pt x="24" y="75"/>
                  </a:lnTo>
                  <a:lnTo>
                    <a:pt x="20" y="51"/>
                  </a:lnTo>
                  <a:lnTo>
                    <a:pt x="26" y="43"/>
                  </a:lnTo>
                  <a:lnTo>
                    <a:pt x="22" y="4"/>
                  </a:lnTo>
                  <a:lnTo>
                    <a:pt x="20" y="4"/>
                  </a:lnTo>
                  <a:lnTo>
                    <a:pt x="5" y="0"/>
                  </a:lnTo>
                  <a:lnTo>
                    <a:pt x="15" y="25"/>
                  </a:lnTo>
                  <a:lnTo>
                    <a:pt x="9" y="40"/>
                  </a:lnTo>
                  <a:lnTo>
                    <a:pt x="11" y="55"/>
                  </a:lnTo>
                  <a:lnTo>
                    <a:pt x="0" y="79"/>
                  </a:lnTo>
                  <a:lnTo>
                    <a:pt x="5" y="86"/>
                  </a:lnTo>
                  <a:lnTo>
                    <a:pt x="13" y="96"/>
                  </a:lnTo>
                  <a:lnTo>
                    <a:pt x="26" y="96"/>
                  </a:lnTo>
                  <a:lnTo>
                    <a:pt x="24" y="120"/>
                  </a:lnTo>
                  <a:lnTo>
                    <a:pt x="35" y="139"/>
                  </a:lnTo>
                  <a:lnTo>
                    <a:pt x="48" y="118"/>
                  </a:lnTo>
                  <a:lnTo>
                    <a:pt x="50" y="101"/>
                  </a:lnTo>
                  <a:lnTo>
                    <a:pt x="37" y="8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66" name="Freeform 5737"/>
            <p:cNvSpPr>
              <a:spLocks/>
            </p:cNvSpPr>
            <p:nvPr>
              <p:custDataLst>
                <p:tags r:id="rId102"/>
              </p:custDataLst>
            </p:nvPr>
          </p:nvSpPr>
          <p:spPr bwMode="gray">
            <a:xfrm>
              <a:off x="6883229" y="3070997"/>
              <a:ext cx="177067" cy="129740"/>
            </a:xfrm>
            <a:custGeom>
              <a:avLst/>
              <a:gdLst/>
              <a:ahLst/>
              <a:cxnLst>
                <a:cxn ang="0">
                  <a:pos x="131" y="56"/>
                </a:cxn>
                <a:cxn ang="0">
                  <a:pos x="127" y="47"/>
                </a:cxn>
                <a:cxn ang="0">
                  <a:pos x="133" y="34"/>
                </a:cxn>
                <a:cxn ang="0">
                  <a:pos x="127" y="13"/>
                </a:cxn>
                <a:cxn ang="0">
                  <a:pos x="118" y="7"/>
                </a:cxn>
                <a:cxn ang="0">
                  <a:pos x="73" y="5"/>
                </a:cxn>
                <a:cxn ang="0">
                  <a:pos x="69" y="9"/>
                </a:cxn>
                <a:cxn ang="0">
                  <a:pos x="61" y="9"/>
                </a:cxn>
                <a:cxn ang="0">
                  <a:pos x="56" y="0"/>
                </a:cxn>
                <a:cxn ang="0">
                  <a:pos x="0" y="19"/>
                </a:cxn>
                <a:cxn ang="0">
                  <a:pos x="7" y="69"/>
                </a:cxn>
                <a:cxn ang="0">
                  <a:pos x="22" y="71"/>
                </a:cxn>
                <a:cxn ang="0">
                  <a:pos x="37" y="82"/>
                </a:cxn>
                <a:cxn ang="0">
                  <a:pos x="39" y="77"/>
                </a:cxn>
                <a:cxn ang="0">
                  <a:pos x="56" y="84"/>
                </a:cxn>
                <a:cxn ang="0">
                  <a:pos x="84" y="99"/>
                </a:cxn>
                <a:cxn ang="0">
                  <a:pos x="104" y="95"/>
                </a:cxn>
                <a:cxn ang="0">
                  <a:pos x="118" y="101"/>
                </a:cxn>
                <a:cxn ang="0">
                  <a:pos x="138" y="77"/>
                </a:cxn>
                <a:cxn ang="0">
                  <a:pos x="131" y="56"/>
                </a:cxn>
                <a:cxn ang="0">
                  <a:pos x="131" y="56"/>
                </a:cxn>
              </a:cxnLst>
              <a:rect l="0" t="0" r="r" b="b"/>
              <a:pathLst>
                <a:path w="138" h="101">
                  <a:moveTo>
                    <a:pt x="131" y="56"/>
                  </a:moveTo>
                  <a:lnTo>
                    <a:pt x="127" y="47"/>
                  </a:lnTo>
                  <a:lnTo>
                    <a:pt x="133" y="34"/>
                  </a:lnTo>
                  <a:lnTo>
                    <a:pt x="127" y="13"/>
                  </a:lnTo>
                  <a:lnTo>
                    <a:pt x="118" y="7"/>
                  </a:lnTo>
                  <a:lnTo>
                    <a:pt x="73" y="5"/>
                  </a:lnTo>
                  <a:lnTo>
                    <a:pt x="69" y="9"/>
                  </a:lnTo>
                  <a:lnTo>
                    <a:pt x="61" y="9"/>
                  </a:lnTo>
                  <a:lnTo>
                    <a:pt x="56" y="0"/>
                  </a:lnTo>
                  <a:lnTo>
                    <a:pt x="0" y="19"/>
                  </a:lnTo>
                  <a:lnTo>
                    <a:pt x="7" y="69"/>
                  </a:lnTo>
                  <a:lnTo>
                    <a:pt x="22" y="71"/>
                  </a:lnTo>
                  <a:lnTo>
                    <a:pt x="37" y="82"/>
                  </a:lnTo>
                  <a:lnTo>
                    <a:pt x="39" y="77"/>
                  </a:lnTo>
                  <a:lnTo>
                    <a:pt x="56" y="84"/>
                  </a:lnTo>
                  <a:lnTo>
                    <a:pt x="84" y="99"/>
                  </a:lnTo>
                  <a:lnTo>
                    <a:pt x="104" y="95"/>
                  </a:lnTo>
                  <a:lnTo>
                    <a:pt x="118" y="101"/>
                  </a:lnTo>
                  <a:lnTo>
                    <a:pt x="138" y="77"/>
                  </a:lnTo>
                  <a:lnTo>
                    <a:pt x="131" y="56"/>
                  </a:lnTo>
                  <a:lnTo>
                    <a:pt x="131" y="5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67" name="Freeform 5738"/>
            <p:cNvSpPr>
              <a:spLocks/>
            </p:cNvSpPr>
            <p:nvPr>
              <p:custDataLst>
                <p:tags r:id="rId103"/>
              </p:custDataLst>
            </p:nvPr>
          </p:nvSpPr>
          <p:spPr bwMode="gray">
            <a:xfrm>
              <a:off x="6735673" y="3070997"/>
              <a:ext cx="156537" cy="165708"/>
            </a:xfrm>
            <a:custGeom>
              <a:avLst/>
              <a:gdLst/>
              <a:ahLst/>
              <a:cxnLst>
                <a:cxn ang="0">
                  <a:pos x="70" y="9"/>
                </a:cxn>
                <a:cxn ang="0">
                  <a:pos x="51" y="0"/>
                </a:cxn>
                <a:cxn ang="0">
                  <a:pos x="42" y="0"/>
                </a:cxn>
                <a:cxn ang="0">
                  <a:pos x="43" y="5"/>
                </a:cxn>
                <a:cxn ang="0">
                  <a:pos x="38" y="24"/>
                </a:cxn>
                <a:cxn ang="0">
                  <a:pos x="21" y="20"/>
                </a:cxn>
                <a:cxn ang="0">
                  <a:pos x="12" y="39"/>
                </a:cxn>
                <a:cxn ang="0">
                  <a:pos x="15" y="45"/>
                </a:cxn>
                <a:cxn ang="0">
                  <a:pos x="0" y="52"/>
                </a:cxn>
                <a:cxn ang="0">
                  <a:pos x="0" y="71"/>
                </a:cxn>
                <a:cxn ang="0">
                  <a:pos x="0" y="82"/>
                </a:cxn>
                <a:cxn ang="0">
                  <a:pos x="4" y="93"/>
                </a:cxn>
                <a:cxn ang="0">
                  <a:pos x="4" y="93"/>
                </a:cxn>
                <a:cxn ang="0">
                  <a:pos x="28" y="105"/>
                </a:cxn>
                <a:cxn ang="0">
                  <a:pos x="21" y="127"/>
                </a:cxn>
                <a:cxn ang="0">
                  <a:pos x="21" y="127"/>
                </a:cxn>
                <a:cxn ang="0">
                  <a:pos x="49" y="129"/>
                </a:cxn>
                <a:cxn ang="0">
                  <a:pos x="98" y="125"/>
                </a:cxn>
                <a:cxn ang="0">
                  <a:pos x="96" y="120"/>
                </a:cxn>
                <a:cxn ang="0">
                  <a:pos x="111" y="107"/>
                </a:cxn>
                <a:cxn ang="0">
                  <a:pos x="92" y="93"/>
                </a:cxn>
                <a:cxn ang="0">
                  <a:pos x="85" y="78"/>
                </a:cxn>
                <a:cxn ang="0">
                  <a:pos x="116" y="63"/>
                </a:cxn>
                <a:cxn ang="0">
                  <a:pos x="122" y="69"/>
                </a:cxn>
                <a:cxn ang="0">
                  <a:pos x="115" y="19"/>
                </a:cxn>
                <a:cxn ang="0">
                  <a:pos x="101" y="11"/>
                </a:cxn>
                <a:cxn ang="0">
                  <a:pos x="107" y="9"/>
                </a:cxn>
                <a:cxn ang="0">
                  <a:pos x="103" y="4"/>
                </a:cxn>
                <a:cxn ang="0">
                  <a:pos x="70" y="17"/>
                </a:cxn>
                <a:cxn ang="0">
                  <a:pos x="70" y="9"/>
                </a:cxn>
                <a:cxn ang="0">
                  <a:pos x="70" y="9"/>
                </a:cxn>
              </a:cxnLst>
              <a:rect l="0" t="0" r="r" b="b"/>
              <a:pathLst>
                <a:path w="122" h="129">
                  <a:moveTo>
                    <a:pt x="70" y="9"/>
                  </a:moveTo>
                  <a:lnTo>
                    <a:pt x="51" y="0"/>
                  </a:lnTo>
                  <a:lnTo>
                    <a:pt x="42" y="0"/>
                  </a:lnTo>
                  <a:lnTo>
                    <a:pt x="43" y="5"/>
                  </a:lnTo>
                  <a:lnTo>
                    <a:pt x="38" y="24"/>
                  </a:lnTo>
                  <a:lnTo>
                    <a:pt x="21" y="20"/>
                  </a:lnTo>
                  <a:lnTo>
                    <a:pt x="12" y="39"/>
                  </a:lnTo>
                  <a:lnTo>
                    <a:pt x="15" y="45"/>
                  </a:lnTo>
                  <a:lnTo>
                    <a:pt x="0" y="52"/>
                  </a:lnTo>
                  <a:lnTo>
                    <a:pt x="0" y="71"/>
                  </a:lnTo>
                  <a:lnTo>
                    <a:pt x="0" y="82"/>
                  </a:lnTo>
                  <a:lnTo>
                    <a:pt x="4" y="93"/>
                  </a:lnTo>
                  <a:lnTo>
                    <a:pt x="4" y="93"/>
                  </a:lnTo>
                  <a:lnTo>
                    <a:pt x="28" y="105"/>
                  </a:lnTo>
                  <a:lnTo>
                    <a:pt x="21" y="127"/>
                  </a:lnTo>
                  <a:lnTo>
                    <a:pt x="21" y="127"/>
                  </a:lnTo>
                  <a:lnTo>
                    <a:pt x="49" y="129"/>
                  </a:lnTo>
                  <a:lnTo>
                    <a:pt x="98" y="125"/>
                  </a:lnTo>
                  <a:lnTo>
                    <a:pt x="96" y="120"/>
                  </a:lnTo>
                  <a:lnTo>
                    <a:pt x="111" y="107"/>
                  </a:lnTo>
                  <a:lnTo>
                    <a:pt x="92" y="93"/>
                  </a:lnTo>
                  <a:lnTo>
                    <a:pt x="85" y="78"/>
                  </a:lnTo>
                  <a:lnTo>
                    <a:pt x="116" y="63"/>
                  </a:lnTo>
                  <a:lnTo>
                    <a:pt x="122" y="69"/>
                  </a:lnTo>
                  <a:lnTo>
                    <a:pt x="115" y="19"/>
                  </a:lnTo>
                  <a:lnTo>
                    <a:pt x="101" y="11"/>
                  </a:lnTo>
                  <a:lnTo>
                    <a:pt x="107" y="9"/>
                  </a:lnTo>
                  <a:lnTo>
                    <a:pt x="103" y="4"/>
                  </a:lnTo>
                  <a:lnTo>
                    <a:pt x="70" y="17"/>
                  </a:lnTo>
                  <a:lnTo>
                    <a:pt x="70" y="9"/>
                  </a:lnTo>
                  <a:lnTo>
                    <a:pt x="70" y="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68" name="Freeform 5739"/>
            <p:cNvSpPr>
              <a:spLocks/>
            </p:cNvSpPr>
            <p:nvPr>
              <p:custDataLst>
                <p:tags r:id="rId104"/>
              </p:custDataLst>
            </p:nvPr>
          </p:nvSpPr>
          <p:spPr bwMode="gray">
            <a:xfrm>
              <a:off x="6680500" y="3148070"/>
              <a:ext cx="55173" cy="41106"/>
            </a:xfrm>
            <a:custGeom>
              <a:avLst/>
              <a:gdLst/>
              <a:ahLst/>
              <a:cxnLst>
                <a:cxn ang="0">
                  <a:pos x="11" y="0"/>
                </a:cxn>
                <a:cxn ang="0">
                  <a:pos x="32" y="0"/>
                </a:cxn>
                <a:cxn ang="0">
                  <a:pos x="32" y="0"/>
                </a:cxn>
                <a:cxn ang="0">
                  <a:pos x="43" y="11"/>
                </a:cxn>
                <a:cxn ang="0">
                  <a:pos x="43" y="22"/>
                </a:cxn>
                <a:cxn ang="0">
                  <a:pos x="40" y="32"/>
                </a:cxn>
                <a:cxn ang="0">
                  <a:pos x="30" y="30"/>
                </a:cxn>
                <a:cxn ang="0">
                  <a:pos x="28" y="22"/>
                </a:cxn>
                <a:cxn ang="0">
                  <a:pos x="19" y="24"/>
                </a:cxn>
                <a:cxn ang="0">
                  <a:pos x="0" y="5"/>
                </a:cxn>
                <a:cxn ang="0">
                  <a:pos x="11" y="0"/>
                </a:cxn>
                <a:cxn ang="0">
                  <a:pos x="11" y="0"/>
                </a:cxn>
              </a:cxnLst>
              <a:rect l="0" t="0" r="r" b="b"/>
              <a:pathLst>
                <a:path w="43" h="32">
                  <a:moveTo>
                    <a:pt x="11" y="0"/>
                  </a:moveTo>
                  <a:lnTo>
                    <a:pt x="32" y="0"/>
                  </a:lnTo>
                  <a:lnTo>
                    <a:pt x="32" y="0"/>
                  </a:lnTo>
                  <a:lnTo>
                    <a:pt x="43" y="11"/>
                  </a:lnTo>
                  <a:lnTo>
                    <a:pt x="43" y="22"/>
                  </a:lnTo>
                  <a:lnTo>
                    <a:pt x="40" y="32"/>
                  </a:lnTo>
                  <a:lnTo>
                    <a:pt x="30" y="30"/>
                  </a:lnTo>
                  <a:lnTo>
                    <a:pt x="28" y="22"/>
                  </a:lnTo>
                  <a:lnTo>
                    <a:pt x="19" y="24"/>
                  </a:lnTo>
                  <a:lnTo>
                    <a:pt x="0" y="5"/>
                  </a:lnTo>
                  <a:lnTo>
                    <a:pt x="11" y="0"/>
                  </a:lnTo>
                  <a:lnTo>
                    <a:pt x="11"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69" name="Freeform 5740"/>
            <p:cNvSpPr>
              <a:spLocks/>
            </p:cNvSpPr>
            <p:nvPr>
              <p:custDataLst>
                <p:tags r:id="rId105"/>
              </p:custDataLst>
            </p:nvPr>
          </p:nvSpPr>
          <p:spPr bwMode="gray">
            <a:xfrm>
              <a:off x="6726691" y="2726735"/>
              <a:ext cx="401608" cy="273611"/>
            </a:xfrm>
            <a:custGeom>
              <a:avLst/>
              <a:gdLst/>
              <a:ahLst/>
              <a:cxnLst>
                <a:cxn ang="0">
                  <a:pos x="187" y="41"/>
                </a:cxn>
                <a:cxn ang="0">
                  <a:pos x="163" y="47"/>
                </a:cxn>
                <a:cxn ang="0">
                  <a:pos x="138" y="65"/>
                </a:cxn>
                <a:cxn ang="0">
                  <a:pos x="112" y="101"/>
                </a:cxn>
                <a:cxn ang="0">
                  <a:pos x="93" y="118"/>
                </a:cxn>
                <a:cxn ang="0">
                  <a:pos x="99" y="159"/>
                </a:cxn>
                <a:cxn ang="0">
                  <a:pos x="95" y="180"/>
                </a:cxn>
                <a:cxn ang="0">
                  <a:pos x="84" y="197"/>
                </a:cxn>
                <a:cxn ang="0">
                  <a:pos x="73" y="191"/>
                </a:cxn>
                <a:cxn ang="0">
                  <a:pos x="11" y="208"/>
                </a:cxn>
                <a:cxn ang="0">
                  <a:pos x="15" y="191"/>
                </a:cxn>
                <a:cxn ang="0">
                  <a:pos x="7" y="180"/>
                </a:cxn>
                <a:cxn ang="0">
                  <a:pos x="0" y="159"/>
                </a:cxn>
                <a:cxn ang="0">
                  <a:pos x="0" y="148"/>
                </a:cxn>
                <a:cxn ang="0">
                  <a:pos x="41" y="129"/>
                </a:cxn>
                <a:cxn ang="0">
                  <a:pos x="60" y="122"/>
                </a:cxn>
                <a:cxn ang="0">
                  <a:pos x="112" y="64"/>
                </a:cxn>
                <a:cxn ang="0">
                  <a:pos x="101" y="50"/>
                </a:cxn>
                <a:cxn ang="0">
                  <a:pos x="120" y="37"/>
                </a:cxn>
                <a:cxn ang="0">
                  <a:pos x="137" y="35"/>
                </a:cxn>
                <a:cxn ang="0">
                  <a:pos x="146" y="37"/>
                </a:cxn>
                <a:cxn ang="0">
                  <a:pos x="150" y="32"/>
                </a:cxn>
                <a:cxn ang="0">
                  <a:pos x="170" y="15"/>
                </a:cxn>
                <a:cxn ang="0">
                  <a:pos x="221" y="4"/>
                </a:cxn>
                <a:cxn ang="0">
                  <a:pos x="247" y="0"/>
                </a:cxn>
                <a:cxn ang="0">
                  <a:pos x="258" y="4"/>
                </a:cxn>
                <a:cxn ang="0">
                  <a:pos x="271" y="2"/>
                </a:cxn>
                <a:cxn ang="0">
                  <a:pos x="313" y="11"/>
                </a:cxn>
                <a:cxn ang="0">
                  <a:pos x="313" y="22"/>
                </a:cxn>
                <a:cxn ang="0">
                  <a:pos x="292" y="32"/>
                </a:cxn>
                <a:cxn ang="0">
                  <a:pos x="275" y="17"/>
                </a:cxn>
                <a:cxn ang="0">
                  <a:pos x="253" y="34"/>
                </a:cxn>
                <a:cxn ang="0">
                  <a:pos x="217" y="35"/>
                </a:cxn>
                <a:cxn ang="0">
                  <a:pos x="191" y="32"/>
                </a:cxn>
              </a:cxnLst>
              <a:rect l="0" t="0" r="r" b="b"/>
              <a:pathLst>
                <a:path w="313" h="213">
                  <a:moveTo>
                    <a:pt x="191" y="32"/>
                  </a:moveTo>
                  <a:lnTo>
                    <a:pt x="187" y="41"/>
                  </a:lnTo>
                  <a:lnTo>
                    <a:pt x="167" y="39"/>
                  </a:lnTo>
                  <a:lnTo>
                    <a:pt x="163" y="47"/>
                  </a:lnTo>
                  <a:lnTo>
                    <a:pt x="148" y="49"/>
                  </a:lnTo>
                  <a:lnTo>
                    <a:pt x="138" y="65"/>
                  </a:lnTo>
                  <a:lnTo>
                    <a:pt x="123" y="79"/>
                  </a:lnTo>
                  <a:lnTo>
                    <a:pt x="112" y="101"/>
                  </a:lnTo>
                  <a:lnTo>
                    <a:pt x="116" y="110"/>
                  </a:lnTo>
                  <a:lnTo>
                    <a:pt x="93" y="118"/>
                  </a:lnTo>
                  <a:lnTo>
                    <a:pt x="92" y="137"/>
                  </a:lnTo>
                  <a:lnTo>
                    <a:pt x="99" y="159"/>
                  </a:lnTo>
                  <a:lnTo>
                    <a:pt x="93" y="161"/>
                  </a:lnTo>
                  <a:lnTo>
                    <a:pt x="95" y="180"/>
                  </a:lnTo>
                  <a:lnTo>
                    <a:pt x="86" y="185"/>
                  </a:lnTo>
                  <a:lnTo>
                    <a:pt x="84" y="197"/>
                  </a:lnTo>
                  <a:lnTo>
                    <a:pt x="78" y="195"/>
                  </a:lnTo>
                  <a:lnTo>
                    <a:pt x="73" y="191"/>
                  </a:lnTo>
                  <a:lnTo>
                    <a:pt x="34" y="213"/>
                  </a:lnTo>
                  <a:lnTo>
                    <a:pt x="11" y="208"/>
                  </a:lnTo>
                  <a:lnTo>
                    <a:pt x="7" y="202"/>
                  </a:lnTo>
                  <a:lnTo>
                    <a:pt x="15" y="191"/>
                  </a:lnTo>
                  <a:lnTo>
                    <a:pt x="5" y="193"/>
                  </a:lnTo>
                  <a:lnTo>
                    <a:pt x="7" y="180"/>
                  </a:lnTo>
                  <a:lnTo>
                    <a:pt x="2" y="174"/>
                  </a:lnTo>
                  <a:lnTo>
                    <a:pt x="0" y="159"/>
                  </a:lnTo>
                  <a:lnTo>
                    <a:pt x="4" y="154"/>
                  </a:lnTo>
                  <a:lnTo>
                    <a:pt x="0" y="148"/>
                  </a:lnTo>
                  <a:lnTo>
                    <a:pt x="28" y="131"/>
                  </a:lnTo>
                  <a:lnTo>
                    <a:pt x="41" y="129"/>
                  </a:lnTo>
                  <a:lnTo>
                    <a:pt x="52" y="118"/>
                  </a:lnTo>
                  <a:lnTo>
                    <a:pt x="60" y="122"/>
                  </a:lnTo>
                  <a:lnTo>
                    <a:pt x="93" y="94"/>
                  </a:lnTo>
                  <a:lnTo>
                    <a:pt x="112" y="64"/>
                  </a:lnTo>
                  <a:lnTo>
                    <a:pt x="135" y="45"/>
                  </a:lnTo>
                  <a:lnTo>
                    <a:pt x="101" y="50"/>
                  </a:lnTo>
                  <a:lnTo>
                    <a:pt x="125" y="41"/>
                  </a:lnTo>
                  <a:lnTo>
                    <a:pt x="120" y="37"/>
                  </a:lnTo>
                  <a:lnTo>
                    <a:pt x="140" y="28"/>
                  </a:lnTo>
                  <a:lnTo>
                    <a:pt x="137" y="35"/>
                  </a:lnTo>
                  <a:lnTo>
                    <a:pt x="144" y="32"/>
                  </a:lnTo>
                  <a:lnTo>
                    <a:pt x="146" y="37"/>
                  </a:lnTo>
                  <a:lnTo>
                    <a:pt x="155" y="32"/>
                  </a:lnTo>
                  <a:lnTo>
                    <a:pt x="150" y="32"/>
                  </a:lnTo>
                  <a:lnTo>
                    <a:pt x="150" y="26"/>
                  </a:lnTo>
                  <a:lnTo>
                    <a:pt x="170" y="15"/>
                  </a:lnTo>
                  <a:lnTo>
                    <a:pt x="200" y="13"/>
                  </a:lnTo>
                  <a:lnTo>
                    <a:pt x="221" y="4"/>
                  </a:lnTo>
                  <a:lnTo>
                    <a:pt x="232" y="7"/>
                  </a:lnTo>
                  <a:lnTo>
                    <a:pt x="247" y="0"/>
                  </a:lnTo>
                  <a:lnTo>
                    <a:pt x="247" y="7"/>
                  </a:lnTo>
                  <a:lnTo>
                    <a:pt x="258" y="4"/>
                  </a:lnTo>
                  <a:lnTo>
                    <a:pt x="262" y="9"/>
                  </a:lnTo>
                  <a:lnTo>
                    <a:pt x="271" y="2"/>
                  </a:lnTo>
                  <a:lnTo>
                    <a:pt x="288" y="4"/>
                  </a:lnTo>
                  <a:lnTo>
                    <a:pt x="313" y="11"/>
                  </a:lnTo>
                  <a:lnTo>
                    <a:pt x="286" y="15"/>
                  </a:lnTo>
                  <a:lnTo>
                    <a:pt x="313" y="22"/>
                  </a:lnTo>
                  <a:lnTo>
                    <a:pt x="313" y="22"/>
                  </a:lnTo>
                  <a:lnTo>
                    <a:pt x="292" y="32"/>
                  </a:lnTo>
                  <a:lnTo>
                    <a:pt x="292" y="22"/>
                  </a:lnTo>
                  <a:lnTo>
                    <a:pt x="275" y="17"/>
                  </a:lnTo>
                  <a:lnTo>
                    <a:pt x="256" y="20"/>
                  </a:lnTo>
                  <a:lnTo>
                    <a:pt x="253" y="34"/>
                  </a:lnTo>
                  <a:lnTo>
                    <a:pt x="243" y="37"/>
                  </a:lnTo>
                  <a:lnTo>
                    <a:pt x="217" y="35"/>
                  </a:lnTo>
                  <a:lnTo>
                    <a:pt x="198" y="28"/>
                  </a:lnTo>
                  <a:lnTo>
                    <a:pt x="191" y="32"/>
                  </a:lnTo>
                  <a:lnTo>
                    <a:pt x="191" y="3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70" name="Freeform 5741"/>
            <p:cNvSpPr>
              <a:spLocks/>
            </p:cNvSpPr>
            <p:nvPr>
              <p:custDataLst>
                <p:tags r:id="rId106"/>
              </p:custDataLst>
            </p:nvPr>
          </p:nvSpPr>
          <p:spPr bwMode="gray">
            <a:xfrm>
              <a:off x="6826773" y="2767841"/>
              <a:ext cx="205295" cy="289026"/>
            </a:xfrm>
            <a:custGeom>
              <a:avLst/>
              <a:gdLst/>
              <a:ahLst/>
              <a:cxnLst>
                <a:cxn ang="0">
                  <a:pos x="6" y="165"/>
                </a:cxn>
                <a:cxn ang="0">
                  <a:pos x="8" y="153"/>
                </a:cxn>
                <a:cxn ang="0">
                  <a:pos x="17" y="148"/>
                </a:cxn>
                <a:cxn ang="0">
                  <a:pos x="15" y="129"/>
                </a:cxn>
                <a:cxn ang="0">
                  <a:pos x="21" y="127"/>
                </a:cxn>
                <a:cxn ang="0">
                  <a:pos x="14" y="105"/>
                </a:cxn>
                <a:cxn ang="0">
                  <a:pos x="15" y="86"/>
                </a:cxn>
                <a:cxn ang="0">
                  <a:pos x="38" y="78"/>
                </a:cxn>
                <a:cxn ang="0">
                  <a:pos x="34" y="69"/>
                </a:cxn>
                <a:cxn ang="0">
                  <a:pos x="45" y="47"/>
                </a:cxn>
                <a:cxn ang="0">
                  <a:pos x="60" y="33"/>
                </a:cxn>
                <a:cxn ang="0">
                  <a:pos x="70" y="17"/>
                </a:cxn>
                <a:cxn ang="0">
                  <a:pos x="85" y="15"/>
                </a:cxn>
                <a:cxn ang="0">
                  <a:pos x="89" y="7"/>
                </a:cxn>
                <a:cxn ang="0">
                  <a:pos x="109" y="9"/>
                </a:cxn>
                <a:cxn ang="0">
                  <a:pos x="113" y="0"/>
                </a:cxn>
                <a:cxn ang="0">
                  <a:pos x="148" y="15"/>
                </a:cxn>
                <a:cxn ang="0">
                  <a:pos x="160" y="50"/>
                </a:cxn>
                <a:cxn ang="0">
                  <a:pos x="141" y="50"/>
                </a:cxn>
                <a:cxn ang="0">
                  <a:pos x="124" y="69"/>
                </a:cxn>
                <a:cxn ang="0">
                  <a:pos x="133" y="73"/>
                </a:cxn>
                <a:cxn ang="0">
                  <a:pos x="83" y="110"/>
                </a:cxn>
                <a:cxn ang="0">
                  <a:pos x="81" y="133"/>
                </a:cxn>
                <a:cxn ang="0">
                  <a:pos x="102" y="150"/>
                </a:cxn>
                <a:cxn ang="0">
                  <a:pos x="92" y="159"/>
                </a:cxn>
                <a:cxn ang="0">
                  <a:pos x="96" y="161"/>
                </a:cxn>
                <a:cxn ang="0">
                  <a:pos x="77" y="170"/>
                </a:cxn>
                <a:cxn ang="0">
                  <a:pos x="66" y="213"/>
                </a:cxn>
                <a:cxn ang="0">
                  <a:pos x="49" y="213"/>
                </a:cxn>
                <a:cxn ang="0">
                  <a:pos x="44" y="225"/>
                </a:cxn>
                <a:cxn ang="0">
                  <a:pos x="27" y="225"/>
                </a:cxn>
                <a:cxn ang="0">
                  <a:pos x="23" y="213"/>
                </a:cxn>
                <a:cxn ang="0">
                  <a:pos x="25" y="208"/>
                </a:cxn>
                <a:cxn ang="0">
                  <a:pos x="0" y="163"/>
                </a:cxn>
                <a:cxn ang="0">
                  <a:pos x="6" y="165"/>
                </a:cxn>
                <a:cxn ang="0">
                  <a:pos x="6" y="165"/>
                </a:cxn>
              </a:cxnLst>
              <a:rect l="0" t="0" r="r" b="b"/>
              <a:pathLst>
                <a:path w="160" h="225">
                  <a:moveTo>
                    <a:pt x="6" y="165"/>
                  </a:moveTo>
                  <a:lnTo>
                    <a:pt x="8" y="153"/>
                  </a:lnTo>
                  <a:lnTo>
                    <a:pt x="17" y="148"/>
                  </a:lnTo>
                  <a:lnTo>
                    <a:pt x="15" y="129"/>
                  </a:lnTo>
                  <a:lnTo>
                    <a:pt x="21" y="127"/>
                  </a:lnTo>
                  <a:lnTo>
                    <a:pt x="14" y="105"/>
                  </a:lnTo>
                  <a:lnTo>
                    <a:pt x="15" y="86"/>
                  </a:lnTo>
                  <a:lnTo>
                    <a:pt x="38" y="78"/>
                  </a:lnTo>
                  <a:lnTo>
                    <a:pt x="34" y="69"/>
                  </a:lnTo>
                  <a:lnTo>
                    <a:pt x="45" y="47"/>
                  </a:lnTo>
                  <a:lnTo>
                    <a:pt x="60" y="33"/>
                  </a:lnTo>
                  <a:lnTo>
                    <a:pt x="70" y="17"/>
                  </a:lnTo>
                  <a:lnTo>
                    <a:pt x="85" y="15"/>
                  </a:lnTo>
                  <a:lnTo>
                    <a:pt x="89" y="7"/>
                  </a:lnTo>
                  <a:lnTo>
                    <a:pt x="109" y="9"/>
                  </a:lnTo>
                  <a:lnTo>
                    <a:pt x="113" y="0"/>
                  </a:lnTo>
                  <a:lnTo>
                    <a:pt x="148" y="15"/>
                  </a:lnTo>
                  <a:lnTo>
                    <a:pt x="160" y="50"/>
                  </a:lnTo>
                  <a:lnTo>
                    <a:pt x="141" y="50"/>
                  </a:lnTo>
                  <a:lnTo>
                    <a:pt x="124" y="69"/>
                  </a:lnTo>
                  <a:lnTo>
                    <a:pt x="133" y="73"/>
                  </a:lnTo>
                  <a:lnTo>
                    <a:pt x="83" y="110"/>
                  </a:lnTo>
                  <a:lnTo>
                    <a:pt x="81" y="133"/>
                  </a:lnTo>
                  <a:lnTo>
                    <a:pt x="102" y="150"/>
                  </a:lnTo>
                  <a:lnTo>
                    <a:pt x="92" y="159"/>
                  </a:lnTo>
                  <a:lnTo>
                    <a:pt x="96" y="161"/>
                  </a:lnTo>
                  <a:lnTo>
                    <a:pt x="77" y="170"/>
                  </a:lnTo>
                  <a:lnTo>
                    <a:pt x="66" y="213"/>
                  </a:lnTo>
                  <a:lnTo>
                    <a:pt x="49" y="213"/>
                  </a:lnTo>
                  <a:lnTo>
                    <a:pt x="44" y="225"/>
                  </a:lnTo>
                  <a:lnTo>
                    <a:pt x="27" y="225"/>
                  </a:lnTo>
                  <a:lnTo>
                    <a:pt x="23" y="213"/>
                  </a:lnTo>
                  <a:lnTo>
                    <a:pt x="25" y="208"/>
                  </a:lnTo>
                  <a:lnTo>
                    <a:pt x="0" y="163"/>
                  </a:lnTo>
                  <a:lnTo>
                    <a:pt x="6" y="165"/>
                  </a:lnTo>
                  <a:lnTo>
                    <a:pt x="6" y="16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71" name="Freeform 5742"/>
            <p:cNvSpPr>
              <a:spLocks/>
            </p:cNvSpPr>
            <p:nvPr>
              <p:custDataLst>
                <p:tags r:id="rId107"/>
              </p:custDataLst>
            </p:nvPr>
          </p:nvSpPr>
          <p:spPr bwMode="gray">
            <a:xfrm>
              <a:off x="6971762" y="2748572"/>
              <a:ext cx="187332" cy="209383"/>
            </a:xfrm>
            <a:custGeom>
              <a:avLst/>
              <a:gdLst/>
              <a:ahLst/>
              <a:cxnLst>
                <a:cxn ang="0">
                  <a:pos x="101" y="15"/>
                </a:cxn>
                <a:cxn ang="0">
                  <a:pos x="97" y="17"/>
                </a:cxn>
                <a:cxn ang="0">
                  <a:pos x="97" y="28"/>
                </a:cxn>
                <a:cxn ang="0">
                  <a:pos x="116" y="35"/>
                </a:cxn>
                <a:cxn ang="0">
                  <a:pos x="109" y="47"/>
                </a:cxn>
                <a:cxn ang="0">
                  <a:pos x="122" y="63"/>
                </a:cxn>
                <a:cxn ang="0">
                  <a:pos x="120" y="80"/>
                </a:cxn>
                <a:cxn ang="0">
                  <a:pos x="131" y="92"/>
                </a:cxn>
                <a:cxn ang="0">
                  <a:pos x="129" y="101"/>
                </a:cxn>
                <a:cxn ang="0">
                  <a:pos x="146" y="116"/>
                </a:cxn>
                <a:cxn ang="0">
                  <a:pos x="103" y="153"/>
                </a:cxn>
                <a:cxn ang="0">
                  <a:pos x="50" y="163"/>
                </a:cxn>
                <a:cxn ang="0">
                  <a:pos x="20" y="151"/>
                </a:cxn>
                <a:cxn ang="0">
                  <a:pos x="24" y="137"/>
                </a:cxn>
                <a:cxn ang="0">
                  <a:pos x="15" y="120"/>
                </a:cxn>
                <a:cxn ang="0">
                  <a:pos x="20" y="112"/>
                </a:cxn>
                <a:cxn ang="0">
                  <a:pos x="64" y="80"/>
                </a:cxn>
                <a:cxn ang="0">
                  <a:pos x="64" y="71"/>
                </a:cxn>
                <a:cxn ang="0">
                  <a:pos x="52" y="65"/>
                </a:cxn>
                <a:cxn ang="0">
                  <a:pos x="47" y="65"/>
                </a:cxn>
                <a:cxn ang="0">
                  <a:pos x="35" y="30"/>
                </a:cxn>
                <a:cxn ang="0">
                  <a:pos x="0" y="15"/>
                </a:cxn>
                <a:cxn ang="0">
                  <a:pos x="7" y="11"/>
                </a:cxn>
                <a:cxn ang="0">
                  <a:pos x="26" y="18"/>
                </a:cxn>
                <a:cxn ang="0">
                  <a:pos x="52" y="20"/>
                </a:cxn>
                <a:cxn ang="0">
                  <a:pos x="62" y="17"/>
                </a:cxn>
                <a:cxn ang="0">
                  <a:pos x="65" y="3"/>
                </a:cxn>
                <a:cxn ang="0">
                  <a:pos x="84" y="0"/>
                </a:cxn>
                <a:cxn ang="0">
                  <a:pos x="101" y="5"/>
                </a:cxn>
                <a:cxn ang="0">
                  <a:pos x="101" y="15"/>
                </a:cxn>
                <a:cxn ang="0">
                  <a:pos x="101" y="15"/>
                </a:cxn>
              </a:cxnLst>
              <a:rect l="0" t="0" r="r" b="b"/>
              <a:pathLst>
                <a:path w="146" h="163">
                  <a:moveTo>
                    <a:pt x="101" y="15"/>
                  </a:moveTo>
                  <a:lnTo>
                    <a:pt x="97" y="17"/>
                  </a:lnTo>
                  <a:lnTo>
                    <a:pt x="97" y="28"/>
                  </a:lnTo>
                  <a:lnTo>
                    <a:pt x="116" y="35"/>
                  </a:lnTo>
                  <a:lnTo>
                    <a:pt x="109" y="47"/>
                  </a:lnTo>
                  <a:lnTo>
                    <a:pt x="122" y="63"/>
                  </a:lnTo>
                  <a:lnTo>
                    <a:pt x="120" y="80"/>
                  </a:lnTo>
                  <a:lnTo>
                    <a:pt x="131" y="92"/>
                  </a:lnTo>
                  <a:lnTo>
                    <a:pt x="129" y="101"/>
                  </a:lnTo>
                  <a:lnTo>
                    <a:pt x="146" y="116"/>
                  </a:lnTo>
                  <a:lnTo>
                    <a:pt x="103" y="153"/>
                  </a:lnTo>
                  <a:lnTo>
                    <a:pt x="50" y="163"/>
                  </a:lnTo>
                  <a:lnTo>
                    <a:pt x="20" y="151"/>
                  </a:lnTo>
                  <a:lnTo>
                    <a:pt x="24" y="137"/>
                  </a:lnTo>
                  <a:lnTo>
                    <a:pt x="15" y="120"/>
                  </a:lnTo>
                  <a:lnTo>
                    <a:pt x="20" y="112"/>
                  </a:lnTo>
                  <a:lnTo>
                    <a:pt x="64" y="80"/>
                  </a:lnTo>
                  <a:lnTo>
                    <a:pt x="64" y="71"/>
                  </a:lnTo>
                  <a:lnTo>
                    <a:pt x="52" y="65"/>
                  </a:lnTo>
                  <a:lnTo>
                    <a:pt x="47" y="65"/>
                  </a:lnTo>
                  <a:lnTo>
                    <a:pt x="35" y="30"/>
                  </a:lnTo>
                  <a:lnTo>
                    <a:pt x="0" y="15"/>
                  </a:lnTo>
                  <a:lnTo>
                    <a:pt x="7" y="11"/>
                  </a:lnTo>
                  <a:lnTo>
                    <a:pt x="26" y="18"/>
                  </a:lnTo>
                  <a:lnTo>
                    <a:pt x="52" y="20"/>
                  </a:lnTo>
                  <a:lnTo>
                    <a:pt x="62" y="17"/>
                  </a:lnTo>
                  <a:lnTo>
                    <a:pt x="65" y="3"/>
                  </a:lnTo>
                  <a:lnTo>
                    <a:pt x="84" y="0"/>
                  </a:lnTo>
                  <a:lnTo>
                    <a:pt x="101" y="5"/>
                  </a:lnTo>
                  <a:lnTo>
                    <a:pt x="101" y="15"/>
                  </a:lnTo>
                  <a:lnTo>
                    <a:pt x="101"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72" name="Freeform 5743"/>
            <p:cNvSpPr>
              <a:spLocks/>
            </p:cNvSpPr>
            <p:nvPr>
              <p:custDataLst>
                <p:tags r:id="rId108"/>
              </p:custDataLst>
            </p:nvPr>
          </p:nvSpPr>
          <p:spPr bwMode="gray">
            <a:xfrm>
              <a:off x="3743501" y="2724166"/>
              <a:ext cx="792951" cy="358392"/>
            </a:xfrm>
            <a:custGeom>
              <a:avLst/>
              <a:gdLst/>
              <a:ahLst/>
              <a:cxnLst>
                <a:cxn ang="0">
                  <a:pos x="433" y="178"/>
                </a:cxn>
                <a:cxn ang="0">
                  <a:pos x="450" y="180"/>
                </a:cxn>
                <a:cxn ang="0">
                  <a:pos x="495" y="185"/>
                </a:cxn>
                <a:cxn ang="0">
                  <a:pos x="497" y="204"/>
                </a:cxn>
                <a:cxn ang="0">
                  <a:pos x="500" y="251"/>
                </a:cxn>
                <a:cxn ang="0">
                  <a:pos x="472" y="272"/>
                </a:cxn>
                <a:cxn ang="0">
                  <a:pos x="470" y="253"/>
                </a:cxn>
                <a:cxn ang="0">
                  <a:pos x="467" y="245"/>
                </a:cxn>
                <a:cxn ang="0">
                  <a:pos x="452" y="274"/>
                </a:cxn>
                <a:cxn ang="0">
                  <a:pos x="457" y="244"/>
                </a:cxn>
                <a:cxn ang="0">
                  <a:pos x="455" y="236"/>
                </a:cxn>
                <a:cxn ang="0">
                  <a:pos x="476" y="234"/>
                </a:cxn>
                <a:cxn ang="0">
                  <a:pos x="457" y="232"/>
                </a:cxn>
                <a:cxn ang="0">
                  <a:pos x="465" y="210"/>
                </a:cxn>
                <a:cxn ang="0">
                  <a:pos x="440" y="247"/>
                </a:cxn>
                <a:cxn ang="0">
                  <a:pos x="435" y="191"/>
                </a:cxn>
                <a:cxn ang="0">
                  <a:pos x="429" y="185"/>
                </a:cxn>
                <a:cxn ang="0">
                  <a:pos x="369" y="167"/>
                </a:cxn>
                <a:cxn ang="0">
                  <a:pos x="324" y="182"/>
                </a:cxn>
                <a:cxn ang="0">
                  <a:pos x="307" y="169"/>
                </a:cxn>
                <a:cxn ang="0">
                  <a:pos x="326" y="159"/>
                </a:cxn>
                <a:cxn ang="0">
                  <a:pos x="238" y="197"/>
                </a:cxn>
                <a:cxn ang="0">
                  <a:pos x="229" y="206"/>
                </a:cxn>
                <a:cxn ang="0">
                  <a:pos x="115" y="249"/>
                </a:cxn>
                <a:cxn ang="0">
                  <a:pos x="159" y="223"/>
                </a:cxn>
                <a:cxn ang="0">
                  <a:pos x="159" y="208"/>
                </a:cxn>
                <a:cxn ang="0">
                  <a:pos x="131" y="202"/>
                </a:cxn>
                <a:cxn ang="0">
                  <a:pos x="122" y="185"/>
                </a:cxn>
                <a:cxn ang="0">
                  <a:pos x="184" y="131"/>
                </a:cxn>
                <a:cxn ang="0">
                  <a:pos x="272" y="101"/>
                </a:cxn>
                <a:cxn ang="0">
                  <a:pos x="216" y="107"/>
                </a:cxn>
                <a:cxn ang="0">
                  <a:pos x="216" y="92"/>
                </a:cxn>
                <a:cxn ang="0">
                  <a:pos x="264" y="75"/>
                </a:cxn>
                <a:cxn ang="0">
                  <a:pos x="266" y="81"/>
                </a:cxn>
                <a:cxn ang="0">
                  <a:pos x="294" y="64"/>
                </a:cxn>
                <a:cxn ang="0">
                  <a:pos x="289" y="45"/>
                </a:cxn>
                <a:cxn ang="0">
                  <a:pos x="339" y="34"/>
                </a:cxn>
                <a:cxn ang="0">
                  <a:pos x="476" y="0"/>
                </a:cxn>
                <a:cxn ang="0">
                  <a:pos x="489" y="6"/>
                </a:cxn>
                <a:cxn ang="0">
                  <a:pos x="514" y="11"/>
                </a:cxn>
                <a:cxn ang="0">
                  <a:pos x="618" y="24"/>
                </a:cxn>
                <a:cxn ang="0">
                  <a:pos x="435" y="174"/>
                </a:cxn>
              </a:cxnLst>
              <a:rect l="0" t="0" r="r" b="b"/>
              <a:pathLst>
                <a:path w="618" h="279">
                  <a:moveTo>
                    <a:pt x="435" y="174"/>
                  </a:moveTo>
                  <a:lnTo>
                    <a:pt x="433" y="178"/>
                  </a:lnTo>
                  <a:lnTo>
                    <a:pt x="455" y="176"/>
                  </a:lnTo>
                  <a:lnTo>
                    <a:pt x="450" y="180"/>
                  </a:lnTo>
                  <a:lnTo>
                    <a:pt x="455" y="199"/>
                  </a:lnTo>
                  <a:lnTo>
                    <a:pt x="495" y="185"/>
                  </a:lnTo>
                  <a:lnTo>
                    <a:pt x="491" y="200"/>
                  </a:lnTo>
                  <a:lnTo>
                    <a:pt x="497" y="204"/>
                  </a:lnTo>
                  <a:lnTo>
                    <a:pt x="485" y="238"/>
                  </a:lnTo>
                  <a:lnTo>
                    <a:pt x="500" y="251"/>
                  </a:lnTo>
                  <a:lnTo>
                    <a:pt x="484" y="268"/>
                  </a:lnTo>
                  <a:lnTo>
                    <a:pt x="472" y="272"/>
                  </a:lnTo>
                  <a:lnTo>
                    <a:pt x="469" y="268"/>
                  </a:lnTo>
                  <a:lnTo>
                    <a:pt x="470" y="253"/>
                  </a:lnTo>
                  <a:lnTo>
                    <a:pt x="476" y="249"/>
                  </a:lnTo>
                  <a:lnTo>
                    <a:pt x="467" y="245"/>
                  </a:lnTo>
                  <a:lnTo>
                    <a:pt x="461" y="262"/>
                  </a:lnTo>
                  <a:lnTo>
                    <a:pt x="452" y="274"/>
                  </a:lnTo>
                  <a:lnTo>
                    <a:pt x="450" y="260"/>
                  </a:lnTo>
                  <a:lnTo>
                    <a:pt x="457" y="244"/>
                  </a:lnTo>
                  <a:lnTo>
                    <a:pt x="450" y="245"/>
                  </a:lnTo>
                  <a:lnTo>
                    <a:pt x="455" y="236"/>
                  </a:lnTo>
                  <a:lnTo>
                    <a:pt x="469" y="230"/>
                  </a:lnTo>
                  <a:lnTo>
                    <a:pt x="476" y="234"/>
                  </a:lnTo>
                  <a:lnTo>
                    <a:pt x="478" y="223"/>
                  </a:lnTo>
                  <a:lnTo>
                    <a:pt x="457" y="232"/>
                  </a:lnTo>
                  <a:lnTo>
                    <a:pt x="480" y="204"/>
                  </a:lnTo>
                  <a:lnTo>
                    <a:pt x="465" y="210"/>
                  </a:lnTo>
                  <a:lnTo>
                    <a:pt x="467" y="217"/>
                  </a:lnTo>
                  <a:lnTo>
                    <a:pt x="440" y="247"/>
                  </a:lnTo>
                  <a:lnTo>
                    <a:pt x="452" y="212"/>
                  </a:lnTo>
                  <a:lnTo>
                    <a:pt x="435" y="191"/>
                  </a:lnTo>
                  <a:lnTo>
                    <a:pt x="442" y="182"/>
                  </a:lnTo>
                  <a:lnTo>
                    <a:pt x="429" y="185"/>
                  </a:lnTo>
                  <a:lnTo>
                    <a:pt x="386" y="182"/>
                  </a:lnTo>
                  <a:lnTo>
                    <a:pt x="369" y="167"/>
                  </a:lnTo>
                  <a:lnTo>
                    <a:pt x="351" y="163"/>
                  </a:lnTo>
                  <a:lnTo>
                    <a:pt x="324" y="182"/>
                  </a:lnTo>
                  <a:lnTo>
                    <a:pt x="268" y="195"/>
                  </a:lnTo>
                  <a:lnTo>
                    <a:pt x="307" y="169"/>
                  </a:lnTo>
                  <a:lnTo>
                    <a:pt x="336" y="159"/>
                  </a:lnTo>
                  <a:lnTo>
                    <a:pt x="326" y="159"/>
                  </a:lnTo>
                  <a:lnTo>
                    <a:pt x="248" y="191"/>
                  </a:lnTo>
                  <a:lnTo>
                    <a:pt x="238" y="197"/>
                  </a:lnTo>
                  <a:lnTo>
                    <a:pt x="244" y="200"/>
                  </a:lnTo>
                  <a:lnTo>
                    <a:pt x="229" y="206"/>
                  </a:lnTo>
                  <a:lnTo>
                    <a:pt x="161" y="232"/>
                  </a:lnTo>
                  <a:lnTo>
                    <a:pt x="115" y="249"/>
                  </a:lnTo>
                  <a:lnTo>
                    <a:pt x="0" y="279"/>
                  </a:lnTo>
                  <a:lnTo>
                    <a:pt x="159" y="223"/>
                  </a:lnTo>
                  <a:lnTo>
                    <a:pt x="188" y="202"/>
                  </a:lnTo>
                  <a:lnTo>
                    <a:pt x="159" y="208"/>
                  </a:lnTo>
                  <a:lnTo>
                    <a:pt x="161" y="200"/>
                  </a:lnTo>
                  <a:lnTo>
                    <a:pt x="131" y="202"/>
                  </a:lnTo>
                  <a:lnTo>
                    <a:pt x="154" y="180"/>
                  </a:lnTo>
                  <a:lnTo>
                    <a:pt x="122" y="185"/>
                  </a:lnTo>
                  <a:lnTo>
                    <a:pt x="133" y="156"/>
                  </a:lnTo>
                  <a:lnTo>
                    <a:pt x="184" y="131"/>
                  </a:lnTo>
                  <a:lnTo>
                    <a:pt x="242" y="124"/>
                  </a:lnTo>
                  <a:lnTo>
                    <a:pt x="272" y="101"/>
                  </a:lnTo>
                  <a:lnTo>
                    <a:pt x="242" y="107"/>
                  </a:lnTo>
                  <a:lnTo>
                    <a:pt x="216" y="107"/>
                  </a:lnTo>
                  <a:lnTo>
                    <a:pt x="203" y="103"/>
                  </a:lnTo>
                  <a:lnTo>
                    <a:pt x="216" y="92"/>
                  </a:lnTo>
                  <a:lnTo>
                    <a:pt x="204" y="88"/>
                  </a:lnTo>
                  <a:lnTo>
                    <a:pt x="264" y="75"/>
                  </a:lnTo>
                  <a:lnTo>
                    <a:pt x="276" y="75"/>
                  </a:lnTo>
                  <a:lnTo>
                    <a:pt x="266" y="81"/>
                  </a:lnTo>
                  <a:lnTo>
                    <a:pt x="298" y="75"/>
                  </a:lnTo>
                  <a:lnTo>
                    <a:pt x="294" y="64"/>
                  </a:lnTo>
                  <a:lnTo>
                    <a:pt x="300" y="56"/>
                  </a:lnTo>
                  <a:lnTo>
                    <a:pt x="289" y="45"/>
                  </a:lnTo>
                  <a:lnTo>
                    <a:pt x="304" y="37"/>
                  </a:lnTo>
                  <a:lnTo>
                    <a:pt x="339" y="34"/>
                  </a:lnTo>
                  <a:lnTo>
                    <a:pt x="392" y="13"/>
                  </a:lnTo>
                  <a:lnTo>
                    <a:pt x="476" y="0"/>
                  </a:lnTo>
                  <a:lnTo>
                    <a:pt x="489" y="2"/>
                  </a:lnTo>
                  <a:lnTo>
                    <a:pt x="489" y="6"/>
                  </a:lnTo>
                  <a:lnTo>
                    <a:pt x="510" y="6"/>
                  </a:lnTo>
                  <a:lnTo>
                    <a:pt x="514" y="11"/>
                  </a:lnTo>
                  <a:lnTo>
                    <a:pt x="605" y="17"/>
                  </a:lnTo>
                  <a:lnTo>
                    <a:pt x="618" y="24"/>
                  </a:lnTo>
                  <a:lnTo>
                    <a:pt x="435" y="174"/>
                  </a:lnTo>
                  <a:lnTo>
                    <a:pt x="435" y="17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73" name="Freeform 5744"/>
            <p:cNvSpPr>
              <a:spLocks/>
            </p:cNvSpPr>
            <p:nvPr>
              <p:custDataLst>
                <p:tags r:id="rId109"/>
              </p:custDataLst>
            </p:nvPr>
          </p:nvSpPr>
          <p:spPr bwMode="gray">
            <a:xfrm>
              <a:off x="4282400" y="3586105"/>
              <a:ext cx="540182" cy="427758"/>
            </a:xfrm>
            <a:custGeom>
              <a:avLst/>
              <a:gdLst/>
              <a:ahLst/>
              <a:cxnLst>
                <a:cxn ang="0">
                  <a:pos x="2" y="54"/>
                </a:cxn>
                <a:cxn ang="0">
                  <a:pos x="9" y="91"/>
                </a:cxn>
                <a:cxn ang="0">
                  <a:pos x="7" y="101"/>
                </a:cxn>
                <a:cxn ang="0">
                  <a:pos x="35" y="129"/>
                </a:cxn>
                <a:cxn ang="0">
                  <a:pos x="54" y="168"/>
                </a:cxn>
                <a:cxn ang="0">
                  <a:pos x="69" y="172"/>
                </a:cxn>
                <a:cxn ang="0">
                  <a:pos x="54" y="155"/>
                </a:cxn>
                <a:cxn ang="0">
                  <a:pos x="20" y="47"/>
                </a:cxn>
                <a:cxn ang="0">
                  <a:pos x="41" y="20"/>
                </a:cxn>
                <a:cxn ang="0">
                  <a:pos x="52" y="67"/>
                </a:cxn>
                <a:cxn ang="0">
                  <a:pos x="71" y="88"/>
                </a:cxn>
                <a:cxn ang="0">
                  <a:pos x="84" y="118"/>
                </a:cxn>
                <a:cxn ang="0">
                  <a:pos x="94" y="136"/>
                </a:cxn>
                <a:cxn ang="0">
                  <a:pos x="129" y="206"/>
                </a:cxn>
                <a:cxn ang="0">
                  <a:pos x="122" y="238"/>
                </a:cxn>
                <a:cxn ang="0">
                  <a:pos x="170" y="269"/>
                </a:cxn>
                <a:cxn ang="0">
                  <a:pos x="228" y="307"/>
                </a:cxn>
                <a:cxn ang="0">
                  <a:pos x="275" y="305"/>
                </a:cxn>
                <a:cxn ang="0">
                  <a:pos x="318" y="333"/>
                </a:cxn>
                <a:cxn ang="0">
                  <a:pos x="350" y="301"/>
                </a:cxn>
                <a:cxn ang="0">
                  <a:pos x="350" y="273"/>
                </a:cxn>
                <a:cxn ang="0">
                  <a:pos x="389" y="262"/>
                </a:cxn>
                <a:cxn ang="0">
                  <a:pos x="395" y="271"/>
                </a:cxn>
                <a:cxn ang="0">
                  <a:pos x="421" y="210"/>
                </a:cxn>
                <a:cxn ang="0">
                  <a:pos x="371" y="211"/>
                </a:cxn>
                <a:cxn ang="0">
                  <a:pos x="354" y="247"/>
                </a:cxn>
                <a:cxn ang="0">
                  <a:pos x="345" y="260"/>
                </a:cxn>
                <a:cxn ang="0">
                  <a:pos x="326" y="258"/>
                </a:cxn>
                <a:cxn ang="0">
                  <a:pos x="268" y="247"/>
                </a:cxn>
                <a:cxn ang="0">
                  <a:pos x="256" y="153"/>
                </a:cxn>
                <a:cxn ang="0">
                  <a:pos x="245" y="116"/>
                </a:cxn>
                <a:cxn ang="0">
                  <a:pos x="206" y="52"/>
                </a:cxn>
                <a:cxn ang="0">
                  <a:pos x="183" y="65"/>
                </a:cxn>
                <a:cxn ang="0">
                  <a:pos x="174" y="37"/>
                </a:cxn>
                <a:cxn ang="0">
                  <a:pos x="84" y="26"/>
                </a:cxn>
                <a:cxn ang="0">
                  <a:pos x="0" y="3"/>
                </a:cxn>
              </a:cxnLst>
              <a:rect l="0" t="0" r="r" b="b"/>
              <a:pathLst>
                <a:path w="421" h="333">
                  <a:moveTo>
                    <a:pt x="0" y="3"/>
                  </a:moveTo>
                  <a:lnTo>
                    <a:pt x="2" y="54"/>
                  </a:lnTo>
                  <a:lnTo>
                    <a:pt x="20" y="78"/>
                  </a:lnTo>
                  <a:lnTo>
                    <a:pt x="9" y="91"/>
                  </a:lnTo>
                  <a:lnTo>
                    <a:pt x="2" y="90"/>
                  </a:lnTo>
                  <a:lnTo>
                    <a:pt x="7" y="101"/>
                  </a:lnTo>
                  <a:lnTo>
                    <a:pt x="34" y="120"/>
                  </a:lnTo>
                  <a:lnTo>
                    <a:pt x="35" y="129"/>
                  </a:lnTo>
                  <a:lnTo>
                    <a:pt x="28" y="144"/>
                  </a:lnTo>
                  <a:lnTo>
                    <a:pt x="54" y="168"/>
                  </a:lnTo>
                  <a:lnTo>
                    <a:pt x="58" y="181"/>
                  </a:lnTo>
                  <a:lnTo>
                    <a:pt x="69" y="172"/>
                  </a:lnTo>
                  <a:lnTo>
                    <a:pt x="60" y="155"/>
                  </a:lnTo>
                  <a:lnTo>
                    <a:pt x="54" y="155"/>
                  </a:lnTo>
                  <a:lnTo>
                    <a:pt x="49" y="114"/>
                  </a:lnTo>
                  <a:lnTo>
                    <a:pt x="20" y="47"/>
                  </a:lnTo>
                  <a:lnTo>
                    <a:pt x="28" y="17"/>
                  </a:lnTo>
                  <a:lnTo>
                    <a:pt x="41" y="20"/>
                  </a:lnTo>
                  <a:lnTo>
                    <a:pt x="50" y="28"/>
                  </a:lnTo>
                  <a:lnTo>
                    <a:pt x="52" y="67"/>
                  </a:lnTo>
                  <a:lnTo>
                    <a:pt x="62" y="86"/>
                  </a:lnTo>
                  <a:lnTo>
                    <a:pt x="71" y="88"/>
                  </a:lnTo>
                  <a:lnTo>
                    <a:pt x="69" y="97"/>
                  </a:lnTo>
                  <a:lnTo>
                    <a:pt x="84" y="118"/>
                  </a:lnTo>
                  <a:lnTo>
                    <a:pt x="79" y="127"/>
                  </a:lnTo>
                  <a:lnTo>
                    <a:pt x="94" y="136"/>
                  </a:lnTo>
                  <a:lnTo>
                    <a:pt x="125" y="189"/>
                  </a:lnTo>
                  <a:lnTo>
                    <a:pt x="129" y="206"/>
                  </a:lnTo>
                  <a:lnTo>
                    <a:pt x="118" y="228"/>
                  </a:lnTo>
                  <a:lnTo>
                    <a:pt x="122" y="238"/>
                  </a:lnTo>
                  <a:lnTo>
                    <a:pt x="146" y="264"/>
                  </a:lnTo>
                  <a:lnTo>
                    <a:pt x="170" y="269"/>
                  </a:lnTo>
                  <a:lnTo>
                    <a:pt x="183" y="284"/>
                  </a:lnTo>
                  <a:lnTo>
                    <a:pt x="228" y="307"/>
                  </a:lnTo>
                  <a:lnTo>
                    <a:pt x="255" y="314"/>
                  </a:lnTo>
                  <a:lnTo>
                    <a:pt x="275" y="305"/>
                  </a:lnTo>
                  <a:lnTo>
                    <a:pt x="288" y="307"/>
                  </a:lnTo>
                  <a:lnTo>
                    <a:pt x="318" y="333"/>
                  </a:lnTo>
                  <a:lnTo>
                    <a:pt x="333" y="305"/>
                  </a:lnTo>
                  <a:lnTo>
                    <a:pt x="350" y="301"/>
                  </a:lnTo>
                  <a:lnTo>
                    <a:pt x="341" y="283"/>
                  </a:lnTo>
                  <a:lnTo>
                    <a:pt x="350" y="273"/>
                  </a:lnTo>
                  <a:lnTo>
                    <a:pt x="374" y="271"/>
                  </a:lnTo>
                  <a:lnTo>
                    <a:pt x="389" y="262"/>
                  </a:lnTo>
                  <a:lnTo>
                    <a:pt x="389" y="262"/>
                  </a:lnTo>
                  <a:lnTo>
                    <a:pt x="395" y="271"/>
                  </a:lnTo>
                  <a:lnTo>
                    <a:pt x="401" y="262"/>
                  </a:lnTo>
                  <a:lnTo>
                    <a:pt x="421" y="210"/>
                  </a:lnTo>
                  <a:lnTo>
                    <a:pt x="404" y="206"/>
                  </a:lnTo>
                  <a:lnTo>
                    <a:pt x="371" y="211"/>
                  </a:lnTo>
                  <a:lnTo>
                    <a:pt x="365" y="215"/>
                  </a:lnTo>
                  <a:lnTo>
                    <a:pt x="354" y="247"/>
                  </a:lnTo>
                  <a:lnTo>
                    <a:pt x="343" y="256"/>
                  </a:lnTo>
                  <a:lnTo>
                    <a:pt x="345" y="260"/>
                  </a:lnTo>
                  <a:lnTo>
                    <a:pt x="333" y="262"/>
                  </a:lnTo>
                  <a:lnTo>
                    <a:pt x="326" y="258"/>
                  </a:lnTo>
                  <a:lnTo>
                    <a:pt x="290" y="268"/>
                  </a:lnTo>
                  <a:lnTo>
                    <a:pt x="268" y="247"/>
                  </a:lnTo>
                  <a:lnTo>
                    <a:pt x="249" y="189"/>
                  </a:lnTo>
                  <a:lnTo>
                    <a:pt x="256" y="153"/>
                  </a:lnTo>
                  <a:lnTo>
                    <a:pt x="273" y="125"/>
                  </a:lnTo>
                  <a:lnTo>
                    <a:pt x="245" y="116"/>
                  </a:lnTo>
                  <a:lnTo>
                    <a:pt x="225" y="54"/>
                  </a:lnTo>
                  <a:lnTo>
                    <a:pt x="206" y="52"/>
                  </a:lnTo>
                  <a:lnTo>
                    <a:pt x="193" y="67"/>
                  </a:lnTo>
                  <a:lnTo>
                    <a:pt x="183" y="65"/>
                  </a:lnTo>
                  <a:lnTo>
                    <a:pt x="174" y="52"/>
                  </a:lnTo>
                  <a:lnTo>
                    <a:pt x="174" y="37"/>
                  </a:lnTo>
                  <a:lnTo>
                    <a:pt x="159" y="18"/>
                  </a:lnTo>
                  <a:lnTo>
                    <a:pt x="84" y="26"/>
                  </a:lnTo>
                  <a:lnTo>
                    <a:pt x="32" y="0"/>
                  </a:lnTo>
                  <a:lnTo>
                    <a:pt x="0" y="3"/>
                  </a:lnTo>
                  <a:lnTo>
                    <a:pt x="0" y="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74" name="Freeform 5745"/>
            <p:cNvSpPr>
              <a:spLocks/>
            </p:cNvSpPr>
            <p:nvPr>
              <p:custDataLst>
                <p:tags r:id="rId110"/>
              </p:custDataLst>
            </p:nvPr>
          </p:nvSpPr>
          <p:spPr bwMode="gray">
            <a:xfrm>
              <a:off x="4219529" y="3193030"/>
              <a:ext cx="1149651" cy="572913"/>
            </a:xfrm>
            <a:custGeom>
              <a:avLst/>
              <a:gdLst/>
              <a:ahLst/>
              <a:cxnLst>
                <a:cxn ang="0">
                  <a:pos x="373" y="360"/>
                </a:cxn>
                <a:cxn ang="0">
                  <a:pos x="392" y="360"/>
                </a:cxn>
                <a:cxn ang="0">
                  <a:pos x="429" y="371"/>
                </a:cxn>
                <a:cxn ang="0">
                  <a:pos x="465" y="371"/>
                </a:cxn>
                <a:cxn ang="0">
                  <a:pos x="448" y="354"/>
                </a:cxn>
                <a:cxn ang="0">
                  <a:pos x="487" y="343"/>
                </a:cxn>
                <a:cxn ang="0">
                  <a:pos x="525" y="354"/>
                </a:cxn>
                <a:cxn ang="0">
                  <a:pos x="562" y="373"/>
                </a:cxn>
                <a:cxn ang="0">
                  <a:pos x="581" y="444"/>
                </a:cxn>
                <a:cxn ang="0">
                  <a:pos x="590" y="336"/>
                </a:cxn>
                <a:cxn ang="0">
                  <a:pos x="704" y="246"/>
                </a:cxn>
                <a:cxn ang="0">
                  <a:pos x="708" y="249"/>
                </a:cxn>
                <a:cxn ang="0">
                  <a:pos x="703" y="203"/>
                </a:cxn>
                <a:cxn ang="0">
                  <a:pos x="723" y="180"/>
                </a:cxn>
                <a:cxn ang="0">
                  <a:pos x="714" y="208"/>
                </a:cxn>
                <a:cxn ang="0">
                  <a:pos x="733" y="201"/>
                </a:cxn>
                <a:cxn ang="0">
                  <a:pos x="744" y="184"/>
                </a:cxn>
                <a:cxn ang="0">
                  <a:pos x="807" y="139"/>
                </a:cxn>
                <a:cxn ang="0">
                  <a:pos x="830" y="135"/>
                </a:cxn>
                <a:cxn ang="0">
                  <a:pos x="837" y="103"/>
                </a:cxn>
                <a:cxn ang="0">
                  <a:pos x="894" y="77"/>
                </a:cxn>
                <a:cxn ang="0">
                  <a:pos x="896" y="42"/>
                </a:cxn>
                <a:cxn ang="0">
                  <a:pos x="824" y="81"/>
                </a:cxn>
                <a:cxn ang="0">
                  <a:pos x="757" y="92"/>
                </a:cxn>
                <a:cxn ang="0">
                  <a:pos x="704" y="111"/>
                </a:cxn>
                <a:cxn ang="0">
                  <a:pos x="654" y="143"/>
                </a:cxn>
                <a:cxn ang="0">
                  <a:pos x="631" y="137"/>
                </a:cxn>
                <a:cxn ang="0">
                  <a:pos x="654" y="115"/>
                </a:cxn>
                <a:cxn ang="0">
                  <a:pos x="650" y="90"/>
                </a:cxn>
                <a:cxn ang="0">
                  <a:pos x="615" y="81"/>
                </a:cxn>
                <a:cxn ang="0">
                  <a:pos x="573" y="141"/>
                </a:cxn>
                <a:cxn ang="0">
                  <a:pos x="573" y="113"/>
                </a:cxn>
                <a:cxn ang="0">
                  <a:pos x="609" y="66"/>
                </a:cxn>
                <a:cxn ang="0">
                  <a:pos x="656" y="57"/>
                </a:cxn>
                <a:cxn ang="0">
                  <a:pos x="645" y="53"/>
                </a:cxn>
                <a:cxn ang="0">
                  <a:pos x="607" y="47"/>
                </a:cxn>
                <a:cxn ang="0">
                  <a:pos x="564" y="53"/>
                </a:cxn>
                <a:cxn ang="0">
                  <a:pos x="586" y="27"/>
                </a:cxn>
                <a:cxn ang="0">
                  <a:pos x="527" y="0"/>
                </a:cxn>
                <a:cxn ang="0">
                  <a:pos x="129" y="15"/>
                </a:cxn>
                <a:cxn ang="0">
                  <a:pos x="118" y="28"/>
                </a:cxn>
                <a:cxn ang="0">
                  <a:pos x="90" y="23"/>
                </a:cxn>
                <a:cxn ang="0">
                  <a:pos x="23" y="145"/>
                </a:cxn>
                <a:cxn ang="0">
                  <a:pos x="0" y="191"/>
                </a:cxn>
                <a:cxn ang="0">
                  <a:pos x="15" y="206"/>
                </a:cxn>
                <a:cxn ang="0">
                  <a:pos x="10" y="227"/>
                </a:cxn>
                <a:cxn ang="0">
                  <a:pos x="8" y="270"/>
                </a:cxn>
                <a:cxn ang="0">
                  <a:pos x="47" y="293"/>
                </a:cxn>
                <a:cxn ang="0">
                  <a:pos x="133" y="332"/>
                </a:cxn>
                <a:cxn ang="0">
                  <a:pos x="223" y="358"/>
                </a:cxn>
                <a:cxn ang="0">
                  <a:pos x="255" y="358"/>
                </a:cxn>
                <a:cxn ang="0">
                  <a:pos x="322" y="431"/>
                </a:cxn>
              </a:cxnLst>
              <a:rect l="0" t="0" r="r" b="b"/>
              <a:pathLst>
                <a:path w="896" h="446">
                  <a:moveTo>
                    <a:pt x="326" y="397"/>
                  </a:moveTo>
                  <a:lnTo>
                    <a:pt x="373" y="369"/>
                  </a:lnTo>
                  <a:lnTo>
                    <a:pt x="373" y="360"/>
                  </a:lnTo>
                  <a:lnTo>
                    <a:pt x="379" y="358"/>
                  </a:lnTo>
                  <a:lnTo>
                    <a:pt x="377" y="366"/>
                  </a:lnTo>
                  <a:lnTo>
                    <a:pt x="392" y="360"/>
                  </a:lnTo>
                  <a:lnTo>
                    <a:pt x="416" y="364"/>
                  </a:lnTo>
                  <a:lnTo>
                    <a:pt x="423" y="358"/>
                  </a:lnTo>
                  <a:lnTo>
                    <a:pt x="429" y="371"/>
                  </a:lnTo>
                  <a:lnTo>
                    <a:pt x="452" y="368"/>
                  </a:lnTo>
                  <a:lnTo>
                    <a:pt x="461" y="373"/>
                  </a:lnTo>
                  <a:lnTo>
                    <a:pt x="465" y="371"/>
                  </a:lnTo>
                  <a:lnTo>
                    <a:pt x="457" y="366"/>
                  </a:lnTo>
                  <a:lnTo>
                    <a:pt x="465" y="354"/>
                  </a:lnTo>
                  <a:lnTo>
                    <a:pt x="448" y="354"/>
                  </a:lnTo>
                  <a:lnTo>
                    <a:pt x="453" y="347"/>
                  </a:lnTo>
                  <a:lnTo>
                    <a:pt x="461" y="351"/>
                  </a:lnTo>
                  <a:lnTo>
                    <a:pt x="487" y="343"/>
                  </a:lnTo>
                  <a:lnTo>
                    <a:pt x="489" y="349"/>
                  </a:lnTo>
                  <a:lnTo>
                    <a:pt x="513" y="347"/>
                  </a:lnTo>
                  <a:lnTo>
                    <a:pt x="525" y="354"/>
                  </a:lnTo>
                  <a:lnTo>
                    <a:pt x="525" y="360"/>
                  </a:lnTo>
                  <a:lnTo>
                    <a:pt x="549" y="354"/>
                  </a:lnTo>
                  <a:lnTo>
                    <a:pt x="562" y="373"/>
                  </a:lnTo>
                  <a:lnTo>
                    <a:pt x="558" y="409"/>
                  </a:lnTo>
                  <a:lnTo>
                    <a:pt x="573" y="446"/>
                  </a:lnTo>
                  <a:lnTo>
                    <a:pt x="581" y="444"/>
                  </a:lnTo>
                  <a:lnTo>
                    <a:pt x="590" y="431"/>
                  </a:lnTo>
                  <a:lnTo>
                    <a:pt x="596" y="411"/>
                  </a:lnTo>
                  <a:lnTo>
                    <a:pt x="590" y="336"/>
                  </a:lnTo>
                  <a:lnTo>
                    <a:pt x="613" y="309"/>
                  </a:lnTo>
                  <a:lnTo>
                    <a:pt x="699" y="257"/>
                  </a:lnTo>
                  <a:lnTo>
                    <a:pt x="704" y="246"/>
                  </a:lnTo>
                  <a:lnTo>
                    <a:pt x="689" y="246"/>
                  </a:lnTo>
                  <a:lnTo>
                    <a:pt x="703" y="242"/>
                  </a:lnTo>
                  <a:lnTo>
                    <a:pt x="708" y="249"/>
                  </a:lnTo>
                  <a:lnTo>
                    <a:pt x="703" y="223"/>
                  </a:lnTo>
                  <a:lnTo>
                    <a:pt x="708" y="208"/>
                  </a:lnTo>
                  <a:lnTo>
                    <a:pt x="703" y="203"/>
                  </a:lnTo>
                  <a:lnTo>
                    <a:pt x="708" y="205"/>
                  </a:lnTo>
                  <a:lnTo>
                    <a:pt x="716" y="184"/>
                  </a:lnTo>
                  <a:lnTo>
                    <a:pt x="723" y="180"/>
                  </a:lnTo>
                  <a:lnTo>
                    <a:pt x="712" y="201"/>
                  </a:lnTo>
                  <a:lnTo>
                    <a:pt x="716" y="203"/>
                  </a:lnTo>
                  <a:lnTo>
                    <a:pt x="714" y="208"/>
                  </a:lnTo>
                  <a:lnTo>
                    <a:pt x="719" y="208"/>
                  </a:lnTo>
                  <a:lnTo>
                    <a:pt x="714" y="221"/>
                  </a:lnTo>
                  <a:lnTo>
                    <a:pt x="733" y="201"/>
                  </a:lnTo>
                  <a:lnTo>
                    <a:pt x="731" y="180"/>
                  </a:lnTo>
                  <a:lnTo>
                    <a:pt x="734" y="190"/>
                  </a:lnTo>
                  <a:lnTo>
                    <a:pt x="744" y="184"/>
                  </a:lnTo>
                  <a:lnTo>
                    <a:pt x="763" y="156"/>
                  </a:lnTo>
                  <a:lnTo>
                    <a:pt x="804" y="146"/>
                  </a:lnTo>
                  <a:lnTo>
                    <a:pt x="807" y="139"/>
                  </a:lnTo>
                  <a:lnTo>
                    <a:pt x="809" y="145"/>
                  </a:lnTo>
                  <a:lnTo>
                    <a:pt x="828" y="141"/>
                  </a:lnTo>
                  <a:lnTo>
                    <a:pt x="830" y="135"/>
                  </a:lnTo>
                  <a:lnTo>
                    <a:pt x="821" y="139"/>
                  </a:lnTo>
                  <a:lnTo>
                    <a:pt x="817" y="128"/>
                  </a:lnTo>
                  <a:lnTo>
                    <a:pt x="837" y="103"/>
                  </a:lnTo>
                  <a:lnTo>
                    <a:pt x="864" y="90"/>
                  </a:lnTo>
                  <a:lnTo>
                    <a:pt x="884" y="87"/>
                  </a:lnTo>
                  <a:lnTo>
                    <a:pt x="894" y="77"/>
                  </a:lnTo>
                  <a:lnTo>
                    <a:pt x="896" y="77"/>
                  </a:lnTo>
                  <a:lnTo>
                    <a:pt x="888" y="68"/>
                  </a:lnTo>
                  <a:lnTo>
                    <a:pt x="896" y="42"/>
                  </a:lnTo>
                  <a:lnTo>
                    <a:pt x="875" y="36"/>
                  </a:lnTo>
                  <a:lnTo>
                    <a:pt x="843" y="75"/>
                  </a:lnTo>
                  <a:lnTo>
                    <a:pt x="824" y="81"/>
                  </a:lnTo>
                  <a:lnTo>
                    <a:pt x="779" y="81"/>
                  </a:lnTo>
                  <a:lnTo>
                    <a:pt x="757" y="92"/>
                  </a:lnTo>
                  <a:lnTo>
                    <a:pt x="757" y="92"/>
                  </a:lnTo>
                  <a:lnTo>
                    <a:pt x="748" y="107"/>
                  </a:lnTo>
                  <a:lnTo>
                    <a:pt x="704" y="111"/>
                  </a:lnTo>
                  <a:lnTo>
                    <a:pt x="704" y="111"/>
                  </a:lnTo>
                  <a:lnTo>
                    <a:pt x="704" y="120"/>
                  </a:lnTo>
                  <a:lnTo>
                    <a:pt x="704" y="120"/>
                  </a:lnTo>
                  <a:lnTo>
                    <a:pt x="654" y="143"/>
                  </a:lnTo>
                  <a:lnTo>
                    <a:pt x="635" y="145"/>
                  </a:lnTo>
                  <a:lnTo>
                    <a:pt x="626" y="139"/>
                  </a:lnTo>
                  <a:lnTo>
                    <a:pt x="631" y="137"/>
                  </a:lnTo>
                  <a:lnTo>
                    <a:pt x="631" y="137"/>
                  </a:lnTo>
                  <a:lnTo>
                    <a:pt x="654" y="115"/>
                  </a:lnTo>
                  <a:lnTo>
                    <a:pt x="654" y="115"/>
                  </a:lnTo>
                  <a:lnTo>
                    <a:pt x="654" y="98"/>
                  </a:lnTo>
                  <a:lnTo>
                    <a:pt x="637" y="105"/>
                  </a:lnTo>
                  <a:lnTo>
                    <a:pt x="650" y="90"/>
                  </a:lnTo>
                  <a:lnTo>
                    <a:pt x="656" y="73"/>
                  </a:lnTo>
                  <a:lnTo>
                    <a:pt x="637" y="68"/>
                  </a:lnTo>
                  <a:lnTo>
                    <a:pt x="615" y="81"/>
                  </a:lnTo>
                  <a:lnTo>
                    <a:pt x="601" y="98"/>
                  </a:lnTo>
                  <a:lnTo>
                    <a:pt x="586" y="131"/>
                  </a:lnTo>
                  <a:lnTo>
                    <a:pt x="573" y="141"/>
                  </a:lnTo>
                  <a:lnTo>
                    <a:pt x="566" y="141"/>
                  </a:lnTo>
                  <a:lnTo>
                    <a:pt x="566" y="131"/>
                  </a:lnTo>
                  <a:lnTo>
                    <a:pt x="573" y="113"/>
                  </a:lnTo>
                  <a:lnTo>
                    <a:pt x="598" y="81"/>
                  </a:lnTo>
                  <a:lnTo>
                    <a:pt x="585" y="87"/>
                  </a:lnTo>
                  <a:lnTo>
                    <a:pt x="609" y="66"/>
                  </a:lnTo>
                  <a:lnTo>
                    <a:pt x="654" y="64"/>
                  </a:lnTo>
                  <a:lnTo>
                    <a:pt x="654" y="57"/>
                  </a:lnTo>
                  <a:lnTo>
                    <a:pt x="656" y="57"/>
                  </a:lnTo>
                  <a:lnTo>
                    <a:pt x="650" y="53"/>
                  </a:lnTo>
                  <a:lnTo>
                    <a:pt x="650" y="53"/>
                  </a:lnTo>
                  <a:lnTo>
                    <a:pt x="645" y="53"/>
                  </a:lnTo>
                  <a:lnTo>
                    <a:pt x="646" y="49"/>
                  </a:lnTo>
                  <a:lnTo>
                    <a:pt x="609" y="55"/>
                  </a:lnTo>
                  <a:lnTo>
                    <a:pt x="607" y="47"/>
                  </a:lnTo>
                  <a:lnTo>
                    <a:pt x="596" y="49"/>
                  </a:lnTo>
                  <a:lnTo>
                    <a:pt x="613" y="36"/>
                  </a:lnTo>
                  <a:lnTo>
                    <a:pt x="564" y="53"/>
                  </a:lnTo>
                  <a:lnTo>
                    <a:pt x="562" y="45"/>
                  </a:lnTo>
                  <a:lnTo>
                    <a:pt x="543" y="51"/>
                  </a:lnTo>
                  <a:lnTo>
                    <a:pt x="586" y="27"/>
                  </a:lnTo>
                  <a:lnTo>
                    <a:pt x="588" y="27"/>
                  </a:lnTo>
                  <a:lnTo>
                    <a:pt x="530" y="13"/>
                  </a:lnTo>
                  <a:lnTo>
                    <a:pt x="527" y="0"/>
                  </a:lnTo>
                  <a:lnTo>
                    <a:pt x="517" y="8"/>
                  </a:lnTo>
                  <a:lnTo>
                    <a:pt x="129" y="8"/>
                  </a:lnTo>
                  <a:lnTo>
                    <a:pt x="129" y="15"/>
                  </a:lnTo>
                  <a:lnTo>
                    <a:pt x="113" y="34"/>
                  </a:lnTo>
                  <a:lnTo>
                    <a:pt x="107" y="34"/>
                  </a:lnTo>
                  <a:lnTo>
                    <a:pt x="118" y="28"/>
                  </a:lnTo>
                  <a:lnTo>
                    <a:pt x="113" y="23"/>
                  </a:lnTo>
                  <a:lnTo>
                    <a:pt x="94" y="17"/>
                  </a:lnTo>
                  <a:lnTo>
                    <a:pt x="90" y="23"/>
                  </a:lnTo>
                  <a:lnTo>
                    <a:pt x="77" y="58"/>
                  </a:lnTo>
                  <a:lnTo>
                    <a:pt x="30" y="120"/>
                  </a:lnTo>
                  <a:lnTo>
                    <a:pt x="23" y="145"/>
                  </a:lnTo>
                  <a:lnTo>
                    <a:pt x="4" y="165"/>
                  </a:lnTo>
                  <a:lnTo>
                    <a:pt x="6" y="178"/>
                  </a:lnTo>
                  <a:lnTo>
                    <a:pt x="0" y="191"/>
                  </a:lnTo>
                  <a:lnTo>
                    <a:pt x="6" y="203"/>
                  </a:lnTo>
                  <a:lnTo>
                    <a:pt x="2" y="208"/>
                  </a:lnTo>
                  <a:lnTo>
                    <a:pt x="15" y="206"/>
                  </a:lnTo>
                  <a:lnTo>
                    <a:pt x="4" y="221"/>
                  </a:lnTo>
                  <a:lnTo>
                    <a:pt x="6" y="227"/>
                  </a:lnTo>
                  <a:lnTo>
                    <a:pt x="10" y="227"/>
                  </a:lnTo>
                  <a:lnTo>
                    <a:pt x="4" y="238"/>
                  </a:lnTo>
                  <a:lnTo>
                    <a:pt x="13" y="261"/>
                  </a:lnTo>
                  <a:lnTo>
                    <a:pt x="8" y="270"/>
                  </a:lnTo>
                  <a:lnTo>
                    <a:pt x="38" y="279"/>
                  </a:lnTo>
                  <a:lnTo>
                    <a:pt x="36" y="285"/>
                  </a:lnTo>
                  <a:lnTo>
                    <a:pt x="47" y="293"/>
                  </a:lnTo>
                  <a:lnTo>
                    <a:pt x="49" y="309"/>
                  </a:lnTo>
                  <a:lnTo>
                    <a:pt x="81" y="306"/>
                  </a:lnTo>
                  <a:lnTo>
                    <a:pt x="133" y="332"/>
                  </a:lnTo>
                  <a:lnTo>
                    <a:pt x="208" y="324"/>
                  </a:lnTo>
                  <a:lnTo>
                    <a:pt x="223" y="343"/>
                  </a:lnTo>
                  <a:lnTo>
                    <a:pt x="223" y="358"/>
                  </a:lnTo>
                  <a:lnTo>
                    <a:pt x="232" y="371"/>
                  </a:lnTo>
                  <a:lnTo>
                    <a:pt x="242" y="373"/>
                  </a:lnTo>
                  <a:lnTo>
                    <a:pt x="255" y="358"/>
                  </a:lnTo>
                  <a:lnTo>
                    <a:pt x="274" y="360"/>
                  </a:lnTo>
                  <a:lnTo>
                    <a:pt x="294" y="422"/>
                  </a:lnTo>
                  <a:lnTo>
                    <a:pt x="322" y="431"/>
                  </a:lnTo>
                  <a:lnTo>
                    <a:pt x="326" y="397"/>
                  </a:lnTo>
                  <a:lnTo>
                    <a:pt x="326" y="39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75" name="Freeform 5746"/>
            <p:cNvSpPr>
              <a:spLocks/>
            </p:cNvSpPr>
            <p:nvPr>
              <p:custDataLst>
                <p:tags r:id="rId111"/>
              </p:custDataLst>
            </p:nvPr>
          </p:nvSpPr>
          <p:spPr bwMode="gray">
            <a:xfrm>
              <a:off x="4690423" y="3934220"/>
              <a:ext cx="82118" cy="101480"/>
            </a:xfrm>
            <a:custGeom>
              <a:avLst/>
              <a:gdLst/>
              <a:ahLst/>
              <a:cxnLst>
                <a:cxn ang="0">
                  <a:pos x="45" y="64"/>
                </a:cxn>
                <a:cxn ang="0">
                  <a:pos x="34" y="77"/>
                </a:cxn>
                <a:cxn ang="0">
                  <a:pos x="34" y="79"/>
                </a:cxn>
                <a:cxn ang="0">
                  <a:pos x="4" y="68"/>
                </a:cxn>
                <a:cxn ang="0">
                  <a:pos x="0" y="62"/>
                </a:cxn>
                <a:cxn ang="0">
                  <a:pos x="15" y="34"/>
                </a:cxn>
                <a:cxn ang="0">
                  <a:pos x="32" y="30"/>
                </a:cxn>
                <a:cxn ang="0">
                  <a:pos x="23" y="12"/>
                </a:cxn>
                <a:cxn ang="0">
                  <a:pos x="32" y="2"/>
                </a:cxn>
                <a:cxn ang="0">
                  <a:pos x="56" y="0"/>
                </a:cxn>
                <a:cxn ang="0">
                  <a:pos x="51" y="32"/>
                </a:cxn>
                <a:cxn ang="0">
                  <a:pos x="55" y="36"/>
                </a:cxn>
                <a:cxn ang="0">
                  <a:pos x="64" y="42"/>
                </a:cxn>
                <a:cxn ang="0">
                  <a:pos x="45" y="64"/>
                </a:cxn>
                <a:cxn ang="0">
                  <a:pos x="45" y="64"/>
                </a:cxn>
              </a:cxnLst>
              <a:rect l="0" t="0" r="r" b="b"/>
              <a:pathLst>
                <a:path w="64" h="79">
                  <a:moveTo>
                    <a:pt x="45" y="64"/>
                  </a:moveTo>
                  <a:lnTo>
                    <a:pt x="34" y="77"/>
                  </a:lnTo>
                  <a:lnTo>
                    <a:pt x="34" y="79"/>
                  </a:lnTo>
                  <a:lnTo>
                    <a:pt x="4" y="68"/>
                  </a:lnTo>
                  <a:lnTo>
                    <a:pt x="0" y="62"/>
                  </a:lnTo>
                  <a:lnTo>
                    <a:pt x="15" y="34"/>
                  </a:lnTo>
                  <a:lnTo>
                    <a:pt x="32" y="30"/>
                  </a:lnTo>
                  <a:lnTo>
                    <a:pt x="23" y="12"/>
                  </a:lnTo>
                  <a:lnTo>
                    <a:pt x="32" y="2"/>
                  </a:lnTo>
                  <a:lnTo>
                    <a:pt x="56" y="0"/>
                  </a:lnTo>
                  <a:lnTo>
                    <a:pt x="51" y="32"/>
                  </a:lnTo>
                  <a:lnTo>
                    <a:pt x="55" y="36"/>
                  </a:lnTo>
                  <a:lnTo>
                    <a:pt x="64" y="42"/>
                  </a:lnTo>
                  <a:lnTo>
                    <a:pt x="45" y="64"/>
                  </a:lnTo>
                  <a:lnTo>
                    <a:pt x="45" y="6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76" name="Freeform 5747"/>
            <p:cNvSpPr>
              <a:spLocks/>
            </p:cNvSpPr>
            <p:nvPr>
              <p:custDataLst>
                <p:tags r:id="rId112"/>
              </p:custDataLst>
            </p:nvPr>
          </p:nvSpPr>
          <p:spPr bwMode="gray">
            <a:xfrm>
              <a:off x="4734049" y="4016432"/>
              <a:ext cx="46191" cy="30829"/>
            </a:xfrm>
            <a:custGeom>
              <a:avLst/>
              <a:gdLst/>
              <a:ahLst/>
              <a:cxnLst>
                <a:cxn ang="0">
                  <a:pos x="36" y="13"/>
                </a:cxn>
                <a:cxn ang="0">
                  <a:pos x="11" y="0"/>
                </a:cxn>
                <a:cxn ang="0">
                  <a:pos x="0" y="13"/>
                </a:cxn>
                <a:cxn ang="0">
                  <a:pos x="0" y="15"/>
                </a:cxn>
                <a:cxn ang="0">
                  <a:pos x="4" y="21"/>
                </a:cxn>
                <a:cxn ang="0">
                  <a:pos x="34" y="24"/>
                </a:cxn>
                <a:cxn ang="0">
                  <a:pos x="36" y="21"/>
                </a:cxn>
                <a:cxn ang="0">
                  <a:pos x="36" y="13"/>
                </a:cxn>
                <a:cxn ang="0">
                  <a:pos x="36" y="13"/>
                </a:cxn>
              </a:cxnLst>
              <a:rect l="0" t="0" r="r" b="b"/>
              <a:pathLst>
                <a:path w="36" h="24">
                  <a:moveTo>
                    <a:pt x="36" y="13"/>
                  </a:moveTo>
                  <a:lnTo>
                    <a:pt x="11" y="0"/>
                  </a:lnTo>
                  <a:lnTo>
                    <a:pt x="0" y="13"/>
                  </a:lnTo>
                  <a:lnTo>
                    <a:pt x="0" y="15"/>
                  </a:lnTo>
                  <a:lnTo>
                    <a:pt x="4" y="21"/>
                  </a:lnTo>
                  <a:lnTo>
                    <a:pt x="34" y="24"/>
                  </a:lnTo>
                  <a:lnTo>
                    <a:pt x="36" y="21"/>
                  </a:lnTo>
                  <a:lnTo>
                    <a:pt x="36" y="13"/>
                  </a:lnTo>
                  <a:lnTo>
                    <a:pt x="36" y="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77" name="Freeform 5748"/>
            <p:cNvSpPr>
              <a:spLocks/>
            </p:cNvSpPr>
            <p:nvPr>
              <p:custDataLst>
                <p:tags r:id="rId113"/>
              </p:custDataLst>
            </p:nvPr>
          </p:nvSpPr>
          <p:spPr bwMode="gray">
            <a:xfrm>
              <a:off x="4932928" y="4141035"/>
              <a:ext cx="10265" cy="12846"/>
            </a:xfrm>
            <a:custGeom>
              <a:avLst/>
              <a:gdLst/>
              <a:ahLst/>
              <a:cxnLst>
                <a:cxn ang="0">
                  <a:pos x="0" y="0"/>
                </a:cxn>
                <a:cxn ang="0">
                  <a:pos x="2" y="0"/>
                </a:cxn>
                <a:cxn ang="0">
                  <a:pos x="8" y="6"/>
                </a:cxn>
                <a:cxn ang="0">
                  <a:pos x="6" y="10"/>
                </a:cxn>
                <a:cxn ang="0">
                  <a:pos x="0" y="0"/>
                </a:cxn>
                <a:cxn ang="0">
                  <a:pos x="0" y="0"/>
                </a:cxn>
              </a:cxnLst>
              <a:rect l="0" t="0" r="r" b="b"/>
              <a:pathLst>
                <a:path w="8" h="10">
                  <a:moveTo>
                    <a:pt x="0" y="0"/>
                  </a:moveTo>
                  <a:lnTo>
                    <a:pt x="2" y="0"/>
                  </a:lnTo>
                  <a:lnTo>
                    <a:pt x="8" y="6"/>
                  </a:lnTo>
                  <a:lnTo>
                    <a:pt x="6" y="1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78" name="Freeform 5749"/>
            <p:cNvSpPr>
              <a:spLocks/>
            </p:cNvSpPr>
            <p:nvPr>
              <p:custDataLst>
                <p:tags r:id="rId114"/>
              </p:custDataLst>
            </p:nvPr>
          </p:nvSpPr>
          <p:spPr bwMode="gray">
            <a:xfrm>
              <a:off x="4935494" y="4134612"/>
              <a:ext cx="53890" cy="52667"/>
            </a:xfrm>
            <a:custGeom>
              <a:avLst/>
              <a:gdLst/>
              <a:ahLst/>
              <a:cxnLst>
                <a:cxn ang="0">
                  <a:pos x="40" y="17"/>
                </a:cxn>
                <a:cxn ang="0">
                  <a:pos x="27" y="4"/>
                </a:cxn>
                <a:cxn ang="0">
                  <a:pos x="13" y="0"/>
                </a:cxn>
                <a:cxn ang="0">
                  <a:pos x="0" y="5"/>
                </a:cxn>
                <a:cxn ang="0">
                  <a:pos x="6" y="11"/>
                </a:cxn>
                <a:cxn ang="0">
                  <a:pos x="27" y="22"/>
                </a:cxn>
                <a:cxn ang="0">
                  <a:pos x="23" y="28"/>
                </a:cxn>
                <a:cxn ang="0">
                  <a:pos x="30" y="41"/>
                </a:cxn>
                <a:cxn ang="0">
                  <a:pos x="42" y="28"/>
                </a:cxn>
                <a:cxn ang="0">
                  <a:pos x="40" y="17"/>
                </a:cxn>
                <a:cxn ang="0">
                  <a:pos x="40" y="17"/>
                </a:cxn>
              </a:cxnLst>
              <a:rect l="0" t="0" r="r" b="b"/>
              <a:pathLst>
                <a:path w="42" h="41">
                  <a:moveTo>
                    <a:pt x="40" y="17"/>
                  </a:moveTo>
                  <a:lnTo>
                    <a:pt x="27" y="4"/>
                  </a:lnTo>
                  <a:lnTo>
                    <a:pt x="13" y="0"/>
                  </a:lnTo>
                  <a:lnTo>
                    <a:pt x="0" y="5"/>
                  </a:lnTo>
                  <a:lnTo>
                    <a:pt x="6" y="11"/>
                  </a:lnTo>
                  <a:lnTo>
                    <a:pt x="27" y="22"/>
                  </a:lnTo>
                  <a:lnTo>
                    <a:pt x="23" y="28"/>
                  </a:lnTo>
                  <a:lnTo>
                    <a:pt x="30" y="41"/>
                  </a:lnTo>
                  <a:lnTo>
                    <a:pt x="42" y="28"/>
                  </a:lnTo>
                  <a:lnTo>
                    <a:pt x="40" y="17"/>
                  </a:lnTo>
                  <a:lnTo>
                    <a:pt x="40"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79" name="Freeform 5750"/>
            <p:cNvSpPr>
              <a:spLocks/>
            </p:cNvSpPr>
            <p:nvPr>
              <p:custDataLst>
                <p:tags r:id="rId115"/>
              </p:custDataLst>
            </p:nvPr>
          </p:nvSpPr>
          <p:spPr bwMode="gray">
            <a:xfrm>
              <a:off x="4871340" y="4134612"/>
              <a:ext cx="69287" cy="55236"/>
            </a:xfrm>
            <a:custGeom>
              <a:avLst/>
              <a:gdLst/>
              <a:ahLst/>
              <a:cxnLst>
                <a:cxn ang="0">
                  <a:pos x="2" y="0"/>
                </a:cxn>
                <a:cxn ang="0">
                  <a:pos x="7" y="0"/>
                </a:cxn>
                <a:cxn ang="0">
                  <a:pos x="13" y="9"/>
                </a:cxn>
                <a:cxn ang="0">
                  <a:pos x="24" y="13"/>
                </a:cxn>
                <a:cxn ang="0">
                  <a:pos x="48" y="5"/>
                </a:cxn>
                <a:cxn ang="0">
                  <a:pos x="54" y="15"/>
                </a:cxn>
                <a:cxn ang="0">
                  <a:pos x="39" y="24"/>
                </a:cxn>
                <a:cxn ang="0">
                  <a:pos x="47" y="37"/>
                </a:cxn>
                <a:cxn ang="0">
                  <a:pos x="32" y="43"/>
                </a:cxn>
                <a:cxn ang="0">
                  <a:pos x="30" y="32"/>
                </a:cxn>
                <a:cxn ang="0">
                  <a:pos x="0" y="22"/>
                </a:cxn>
                <a:cxn ang="0">
                  <a:pos x="2" y="0"/>
                </a:cxn>
                <a:cxn ang="0">
                  <a:pos x="2" y="0"/>
                </a:cxn>
              </a:cxnLst>
              <a:rect l="0" t="0" r="r" b="b"/>
              <a:pathLst>
                <a:path w="54" h="43">
                  <a:moveTo>
                    <a:pt x="2" y="0"/>
                  </a:moveTo>
                  <a:lnTo>
                    <a:pt x="7" y="0"/>
                  </a:lnTo>
                  <a:lnTo>
                    <a:pt x="13" y="9"/>
                  </a:lnTo>
                  <a:lnTo>
                    <a:pt x="24" y="13"/>
                  </a:lnTo>
                  <a:lnTo>
                    <a:pt x="48" y="5"/>
                  </a:lnTo>
                  <a:lnTo>
                    <a:pt x="54" y="15"/>
                  </a:lnTo>
                  <a:lnTo>
                    <a:pt x="39" y="24"/>
                  </a:lnTo>
                  <a:lnTo>
                    <a:pt x="47" y="37"/>
                  </a:lnTo>
                  <a:lnTo>
                    <a:pt x="32" y="43"/>
                  </a:lnTo>
                  <a:lnTo>
                    <a:pt x="30" y="32"/>
                  </a:lnTo>
                  <a:lnTo>
                    <a:pt x="0" y="22"/>
                  </a:lnTo>
                  <a:lnTo>
                    <a:pt x="2" y="0"/>
                  </a:lnTo>
                  <a:lnTo>
                    <a:pt x="2"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80" name="Freeform 5751"/>
            <p:cNvSpPr>
              <a:spLocks/>
            </p:cNvSpPr>
            <p:nvPr>
              <p:custDataLst>
                <p:tags r:id="rId116"/>
              </p:custDataLst>
            </p:nvPr>
          </p:nvSpPr>
          <p:spPr bwMode="gray">
            <a:xfrm>
              <a:off x="4816167" y="4098644"/>
              <a:ext cx="64155" cy="64228"/>
            </a:xfrm>
            <a:custGeom>
              <a:avLst/>
              <a:gdLst/>
              <a:ahLst/>
              <a:cxnLst>
                <a:cxn ang="0">
                  <a:pos x="45" y="28"/>
                </a:cxn>
                <a:cxn ang="0">
                  <a:pos x="50" y="28"/>
                </a:cxn>
                <a:cxn ang="0">
                  <a:pos x="41" y="18"/>
                </a:cxn>
                <a:cxn ang="0">
                  <a:pos x="33" y="2"/>
                </a:cxn>
                <a:cxn ang="0">
                  <a:pos x="2" y="0"/>
                </a:cxn>
                <a:cxn ang="0">
                  <a:pos x="0" y="20"/>
                </a:cxn>
                <a:cxn ang="0">
                  <a:pos x="7" y="26"/>
                </a:cxn>
                <a:cxn ang="0">
                  <a:pos x="13" y="18"/>
                </a:cxn>
                <a:cxn ang="0">
                  <a:pos x="32" y="37"/>
                </a:cxn>
                <a:cxn ang="0">
                  <a:pos x="30" y="47"/>
                </a:cxn>
                <a:cxn ang="0">
                  <a:pos x="43" y="50"/>
                </a:cxn>
                <a:cxn ang="0">
                  <a:pos x="45" y="28"/>
                </a:cxn>
                <a:cxn ang="0">
                  <a:pos x="45" y="28"/>
                </a:cxn>
              </a:cxnLst>
              <a:rect l="0" t="0" r="r" b="b"/>
              <a:pathLst>
                <a:path w="50" h="50">
                  <a:moveTo>
                    <a:pt x="45" y="28"/>
                  </a:moveTo>
                  <a:lnTo>
                    <a:pt x="50" y="28"/>
                  </a:lnTo>
                  <a:lnTo>
                    <a:pt x="41" y="18"/>
                  </a:lnTo>
                  <a:lnTo>
                    <a:pt x="33" y="2"/>
                  </a:lnTo>
                  <a:lnTo>
                    <a:pt x="2" y="0"/>
                  </a:lnTo>
                  <a:lnTo>
                    <a:pt x="0" y="20"/>
                  </a:lnTo>
                  <a:lnTo>
                    <a:pt x="7" y="26"/>
                  </a:lnTo>
                  <a:lnTo>
                    <a:pt x="13" y="18"/>
                  </a:lnTo>
                  <a:lnTo>
                    <a:pt x="32" y="37"/>
                  </a:lnTo>
                  <a:lnTo>
                    <a:pt x="30" y="47"/>
                  </a:lnTo>
                  <a:lnTo>
                    <a:pt x="43" y="50"/>
                  </a:lnTo>
                  <a:lnTo>
                    <a:pt x="45" y="28"/>
                  </a:lnTo>
                  <a:lnTo>
                    <a:pt x="45" y="2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81" name="Freeform 5752"/>
            <p:cNvSpPr>
              <a:spLocks/>
            </p:cNvSpPr>
            <p:nvPr>
              <p:custDataLst>
                <p:tags r:id="rId117"/>
              </p:custDataLst>
            </p:nvPr>
          </p:nvSpPr>
          <p:spPr bwMode="gray">
            <a:xfrm>
              <a:off x="4748163" y="3983034"/>
              <a:ext cx="125743" cy="66797"/>
            </a:xfrm>
            <a:custGeom>
              <a:avLst/>
              <a:gdLst/>
              <a:ahLst/>
              <a:cxnLst>
                <a:cxn ang="0">
                  <a:pos x="19" y="4"/>
                </a:cxn>
                <a:cxn ang="0">
                  <a:pos x="75" y="0"/>
                </a:cxn>
                <a:cxn ang="0">
                  <a:pos x="98" y="15"/>
                </a:cxn>
                <a:cxn ang="0">
                  <a:pos x="73" y="22"/>
                </a:cxn>
                <a:cxn ang="0">
                  <a:pos x="30" y="52"/>
                </a:cxn>
                <a:cxn ang="0">
                  <a:pos x="25" y="47"/>
                </a:cxn>
                <a:cxn ang="0">
                  <a:pos x="25" y="39"/>
                </a:cxn>
                <a:cxn ang="0">
                  <a:pos x="0" y="26"/>
                </a:cxn>
                <a:cxn ang="0">
                  <a:pos x="19" y="4"/>
                </a:cxn>
                <a:cxn ang="0">
                  <a:pos x="19" y="4"/>
                </a:cxn>
              </a:cxnLst>
              <a:rect l="0" t="0" r="r" b="b"/>
              <a:pathLst>
                <a:path w="98" h="52">
                  <a:moveTo>
                    <a:pt x="19" y="4"/>
                  </a:moveTo>
                  <a:lnTo>
                    <a:pt x="75" y="0"/>
                  </a:lnTo>
                  <a:lnTo>
                    <a:pt x="98" y="15"/>
                  </a:lnTo>
                  <a:lnTo>
                    <a:pt x="73" y="22"/>
                  </a:lnTo>
                  <a:lnTo>
                    <a:pt x="30" y="52"/>
                  </a:lnTo>
                  <a:lnTo>
                    <a:pt x="25" y="47"/>
                  </a:lnTo>
                  <a:lnTo>
                    <a:pt x="25" y="39"/>
                  </a:lnTo>
                  <a:lnTo>
                    <a:pt x="0" y="26"/>
                  </a:lnTo>
                  <a:lnTo>
                    <a:pt x="19" y="4"/>
                  </a:lnTo>
                  <a:lnTo>
                    <a:pt x="19"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82" name="Freeform 5753"/>
            <p:cNvSpPr>
              <a:spLocks/>
            </p:cNvSpPr>
            <p:nvPr>
              <p:custDataLst>
                <p:tags r:id="rId118"/>
              </p:custDataLst>
            </p:nvPr>
          </p:nvSpPr>
          <p:spPr bwMode="gray">
            <a:xfrm>
              <a:off x="5450014" y="5074909"/>
              <a:ext cx="101364" cy="109188"/>
            </a:xfrm>
            <a:custGeom>
              <a:avLst/>
              <a:gdLst/>
              <a:ahLst/>
              <a:cxnLst>
                <a:cxn ang="0">
                  <a:pos x="4" y="72"/>
                </a:cxn>
                <a:cxn ang="0">
                  <a:pos x="0" y="0"/>
                </a:cxn>
                <a:cxn ang="0">
                  <a:pos x="15" y="0"/>
                </a:cxn>
                <a:cxn ang="0">
                  <a:pos x="30" y="15"/>
                </a:cxn>
                <a:cxn ang="0">
                  <a:pos x="36" y="12"/>
                </a:cxn>
                <a:cxn ang="0">
                  <a:pos x="68" y="32"/>
                </a:cxn>
                <a:cxn ang="0">
                  <a:pos x="79" y="47"/>
                </a:cxn>
                <a:cxn ang="0">
                  <a:pos x="79" y="66"/>
                </a:cxn>
                <a:cxn ang="0">
                  <a:pos x="73" y="79"/>
                </a:cxn>
                <a:cxn ang="0">
                  <a:pos x="40" y="85"/>
                </a:cxn>
                <a:cxn ang="0">
                  <a:pos x="4" y="72"/>
                </a:cxn>
                <a:cxn ang="0">
                  <a:pos x="4" y="72"/>
                </a:cxn>
                <a:cxn ang="0">
                  <a:pos x="4" y="72"/>
                </a:cxn>
              </a:cxnLst>
              <a:rect l="0" t="0" r="r" b="b"/>
              <a:pathLst>
                <a:path w="79" h="85">
                  <a:moveTo>
                    <a:pt x="4" y="72"/>
                  </a:moveTo>
                  <a:lnTo>
                    <a:pt x="0" y="0"/>
                  </a:lnTo>
                  <a:lnTo>
                    <a:pt x="15" y="0"/>
                  </a:lnTo>
                  <a:lnTo>
                    <a:pt x="30" y="15"/>
                  </a:lnTo>
                  <a:lnTo>
                    <a:pt x="36" y="12"/>
                  </a:lnTo>
                  <a:lnTo>
                    <a:pt x="68" y="32"/>
                  </a:lnTo>
                  <a:lnTo>
                    <a:pt x="79" y="47"/>
                  </a:lnTo>
                  <a:lnTo>
                    <a:pt x="79" y="66"/>
                  </a:lnTo>
                  <a:lnTo>
                    <a:pt x="73" y="79"/>
                  </a:lnTo>
                  <a:lnTo>
                    <a:pt x="40" y="85"/>
                  </a:lnTo>
                  <a:lnTo>
                    <a:pt x="4" y="72"/>
                  </a:lnTo>
                  <a:lnTo>
                    <a:pt x="4" y="72"/>
                  </a:lnTo>
                  <a:lnTo>
                    <a:pt x="4" y="7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83" name="Freeform 5754"/>
            <p:cNvSpPr>
              <a:spLocks/>
            </p:cNvSpPr>
            <p:nvPr>
              <p:custDataLst>
                <p:tags r:id="rId119"/>
              </p:custDataLst>
            </p:nvPr>
          </p:nvSpPr>
          <p:spPr bwMode="gray">
            <a:xfrm>
              <a:off x="5061237" y="4237376"/>
              <a:ext cx="812198" cy="922314"/>
            </a:xfrm>
            <a:custGeom>
              <a:avLst/>
              <a:gdLst/>
              <a:ahLst/>
              <a:cxnLst>
                <a:cxn ang="0">
                  <a:pos x="335" y="53"/>
                </a:cxn>
                <a:cxn ang="0">
                  <a:pos x="311" y="53"/>
                </a:cxn>
                <a:cxn ang="0">
                  <a:pos x="284" y="62"/>
                </a:cxn>
                <a:cxn ang="0">
                  <a:pos x="268" y="58"/>
                </a:cxn>
                <a:cxn ang="0">
                  <a:pos x="232" y="68"/>
                </a:cxn>
                <a:cxn ang="0">
                  <a:pos x="228" y="19"/>
                </a:cxn>
                <a:cxn ang="0">
                  <a:pos x="211" y="0"/>
                </a:cxn>
                <a:cxn ang="0">
                  <a:pos x="172" y="25"/>
                </a:cxn>
                <a:cxn ang="0">
                  <a:pos x="151" y="28"/>
                </a:cxn>
                <a:cxn ang="0">
                  <a:pos x="163" y="57"/>
                </a:cxn>
                <a:cxn ang="0">
                  <a:pos x="116" y="81"/>
                </a:cxn>
                <a:cxn ang="0">
                  <a:pos x="97" y="62"/>
                </a:cxn>
                <a:cxn ang="0">
                  <a:pos x="60" y="75"/>
                </a:cxn>
                <a:cxn ang="0">
                  <a:pos x="56" y="90"/>
                </a:cxn>
                <a:cxn ang="0">
                  <a:pos x="58" y="173"/>
                </a:cxn>
                <a:cxn ang="0">
                  <a:pos x="11" y="203"/>
                </a:cxn>
                <a:cxn ang="0">
                  <a:pos x="15" y="261"/>
                </a:cxn>
                <a:cxn ang="0">
                  <a:pos x="32" y="280"/>
                </a:cxn>
                <a:cxn ang="0">
                  <a:pos x="56" y="296"/>
                </a:cxn>
                <a:cxn ang="0">
                  <a:pos x="92" y="296"/>
                </a:cxn>
                <a:cxn ang="0">
                  <a:pos x="136" y="274"/>
                </a:cxn>
                <a:cxn ang="0">
                  <a:pos x="146" y="317"/>
                </a:cxn>
                <a:cxn ang="0">
                  <a:pos x="226" y="366"/>
                </a:cxn>
                <a:cxn ang="0">
                  <a:pos x="230" y="394"/>
                </a:cxn>
                <a:cxn ang="0">
                  <a:pos x="260" y="409"/>
                </a:cxn>
                <a:cxn ang="0">
                  <a:pos x="271" y="467"/>
                </a:cxn>
                <a:cxn ang="0">
                  <a:pos x="307" y="506"/>
                </a:cxn>
                <a:cxn ang="0">
                  <a:pos x="320" y="534"/>
                </a:cxn>
                <a:cxn ang="0">
                  <a:pos x="341" y="566"/>
                </a:cxn>
                <a:cxn ang="0">
                  <a:pos x="356" y="592"/>
                </a:cxn>
                <a:cxn ang="0">
                  <a:pos x="303" y="652"/>
                </a:cxn>
                <a:cxn ang="0">
                  <a:pos x="333" y="667"/>
                </a:cxn>
                <a:cxn ang="0">
                  <a:pos x="371" y="684"/>
                </a:cxn>
                <a:cxn ang="0">
                  <a:pos x="382" y="718"/>
                </a:cxn>
                <a:cxn ang="0">
                  <a:pos x="412" y="677"/>
                </a:cxn>
                <a:cxn ang="0">
                  <a:pos x="438" y="620"/>
                </a:cxn>
                <a:cxn ang="0">
                  <a:pos x="459" y="540"/>
                </a:cxn>
                <a:cxn ang="0">
                  <a:pos x="479" y="534"/>
                </a:cxn>
                <a:cxn ang="0">
                  <a:pos x="494" y="527"/>
                </a:cxn>
                <a:cxn ang="0">
                  <a:pos x="534" y="517"/>
                </a:cxn>
                <a:cxn ang="0">
                  <a:pos x="547" y="501"/>
                </a:cxn>
                <a:cxn ang="0">
                  <a:pos x="565" y="456"/>
                </a:cxn>
                <a:cxn ang="0">
                  <a:pos x="571" y="420"/>
                </a:cxn>
                <a:cxn ang="0">
                  <a:pos x="620" y="272"/>
                </a:cxn>
                <a:cxn ang="0">
                  <a:pos x="633" y="223"/>
                </a:cxn>
                <a:cxn ang="0">
                  <a:pos x="595" y="190"/>
                </a:cxn>
                <a:cxn ang="0">
                  <a:pos x="522" y="150"/>
                </a:cxn>
                <a:cxn ang="0">
                  <a:pos x="472" y="148"/>
                </a:cxn>
                <a:cxn ang="0">
                  <a:pos x="468" y="122"/>
                </a:cxn>
                <a:cxn ang="0">
                  <a:pos x="457" y="120"/>
                </a:cxn>
                <a:cxn ang="0">
                  <a:pos x="414" y="111"/>
                </a:cxn>
                <a:cxn ang="0">
                  <a:pos x="402" y="122"/>
                </a:cxn>
                <a:cxn ang="0">
                  <a:pos x="399" y="98"/>
                </a:cxn>
                <a:cxn ang="0">
                  <a:pos x="374" y="126"/>
                </a:cxn>
                <a:cxn ang="0">
                  <a:pos x="359" y="118"/>
                </a:cxn>
                <a:cxn ang="0">
                  <a:pos x="382" y="77"/>
                </a:cxn>
                <a:cxn ang="0">
                  <a:pos x="374" y="62"/>
                </a:cxn>
                <a:cxn ang="0">
                  <a:pos x="358" y="21"/>
                </a:cxn>
              </a:cxnLst>
              <a:rect l="0" t="0" r="r" b="b"/>
              <a:pathLst>
                <a:path w="633" h="718">
                  <a:moveTo>
                    <a:pt x="358" y="21"/>
                  </a:moveTo>
                  <a:lnTo>
                    <a:pt x="335" y="53"/>
                  </a:lnTo>
                  <a:lnTo>
                    <a:pt x="320" y="58"/>
                  </a:lnTo>
                  <a:lnTo>
                    <a:pt x="311" y="53"/>
                  </a:lnTo>
                  <a:lnTo>
                    <a:pt x="290" y="51"/>
                  </a:lnTo>
                  <a:lnTo>
                    <a:pt x="284" y="62"/>
                  </a:lnTo>
                  <a:lnTo>
                    <a:pt x="279" y="58"/>
                  </a:lnTo>
                  <a:lnTo>
                    <a:pt x="268" y="58"/>
                  </a:lnTo>
                  <a:lnTo>
                    <a:pt x="241" y="72"/>
                  </a:lnTo>
                  <a:lnTo>
                    <a:pt x="232" y="68"/>
                  </a:lnTo>
                  <a:lnTo>
                    <a:pt x="223" y="47"/>
                  </a:lnTo>
                  <a:lnTo>
                    <a:pt x="228" y="19"/>
                  </a:lnTo>
                  <a:lnTo>
                    <a:pt x="223" y="2"/>
                  </a:lnTo>
                  <a:lnTo>
                    <a:pt x="211" y="0"/>
                  </a:lnTo>
                  <a:lnTo>
                    <a:pt x="208" y="10"/>
                  </a:lnTo>
                  <a:lnTo>
                    <a:pt x="172" y="25"/>
                  </a:lnTo>
                  <a:lnTo>
                    <a:pt x="144" y="21"/>
                  </a:lnTo>
                  <a:lnTo>
                    <a:pt x="151" y="28"/>
                  </a:lnTo>
                  <a:lnTo>
                    <a:pt x="151" y="47"/>
                  </a:lnTo>
                  <a:lnTo>
                    <a:pt x="163" y="57"/>
                  </a:lnTo>
                  <a:lnTo>
                    <a:pt x="127" y="81"/>
                  </a:lnTo>
                  <a:lnTo>
                    <a:pt x="116" y="81"/>
                  </a:lnTo>
                  <a:lnTo>
                    <a:pt x="108" y="72"/>
                  </a:lnTo>
                  <a:lnTo>
                    <a:pt x="97" y="62"/>
                  </a:lnTo>
                  <a:lnTo>
                    <a:pt x="62" y="64"/>
                  </a:lnTo>
                  <a:lnTo>
                    <a:pt x="60" y="75"/>
                  </a:lnTo>
                  <a:lnTo>
                    <a:pt x="71" y="85"/>
                  </a:lnTo>
                  <a:lnTo>
                    <a:pt x="56" y="90"/>
                  </a:lnTo>
                  <a:lnTo>
                    <a:pt x="65" y="120"/>
                  </a:lnTo>
                  <a:lnTo>
                    <a:pt x="58" y="173"/>
                  </a:lnTo>
                  <a:lnTo>
                    <a:pt x="22" y="188"/>
                  </a:lnTo>
                  <a:lnTo>
                    <a:pt x="11" y="203"/>
                  </a:lnTo>
                  <a:lnTo>
                    <a:pt x="0" y="238"/>
                  </a:lnTo>
                  <a:lnTo>
                    <a:pt x="15" y="261"/>
                  </a:lnTo>
                  <a:lnTo>
                    <a:pt x="13" y="266"/>
                  </a:lnTo>
                  <a:lnTo>
                    <a:pt x="32" y="280"/>
                  </a:lnTo>
                  <a:lnTo>
                    <a:pt x="52" y="268"/>
                  </a:lnTo>
                  <a:lnTo>
                    <a:pt x="56" y="296"/>
                  </a:lnTo>
                  <a:lnTo>
                    <a:pt x="69" y="296"/>
                  </a:lnTo>
                  <a:lnTo>
                    <a:pt x="92" y="296"/>
                  </a:lnTo>
                  <a:lnTo>
                    <a:pt x="116" y="276"/>
                  </a:lnTo>
                  <a:lnTo>
                    <a:pt x="136" y="274"/>
                  </a:lnTo>
                  <a:lnTo>
                    <a:pt x="138" y="304"/>
                  </a:lnTo>
                  <a:lnTo>
                    <a:pt x="146" y="317"/>
                  </a:lnTo>
                  <a:lnTo>
                    <a:pt x="213" y="345"/>
                  </a:lnTo>
                  <a:lnTo>
                    <a:pt x="226" y="366"/>
                  </a:lnTo>
                  <a:lnTo>
                    <a:pt x="225" y="377"/>
                  </a:lnTo>
                  <a:lnTo>
                    <a:pt x="230" y="394"/>
                  </a:lnTo>
                  <a:lnTo>
                    <a:pt x="258" y="398"/>
                  </a:lnTo>
                  <a:lnTo>
                    <a:pt x="260" y="409"/>
                  </a:lnTo>
                  <a:lnTo>
                    <a:pt x="273" y="431"/>
                  </a:lnTo>
                  <a:lnTo>
                    <a:pt x="271" y="467"/>
                  </a:lnTo>
                  <a:lnTo>
                    <a:pt x="277" y="499"/>
                  </a:lnTo>
                  <a:lnTo>
                    <a:pt x="307" y="506"/>
                  </a:lnTo>
                  <a:lnTo>
                    <a:pt x="314" y="510"/>
                  </a:lnTo>
                  <a:lnTo>
                    <a:pt x="320" y="534"/>
                  </a:lnTo>
                  <a:lnTo>
                    <a:pt x="339" y="538"/>
                  </a:lnTo>
                  <a:lnTo>
                    <a:pt x="341" y="566"/>
                  </a:lnTo>
                  <a:lnTo>
                    <a:pt x="348" y="568"/>
                  </a:lnTo>
                  <a:lnTo>
                    <a:pt x="356" y="592"/>
                  </a:lnTo>
                  <a:lnTo>
                    <a:pt x="341" y="604"/>
                  </a:lnTo>
                  <a:lnTo>
                    <a:pt x="303" y="652"/>
                  </a:lnTo>
                  <a:lnTo>
                    <a:pt x="318" y="652"/>
                  </a:lnTo>
                  <a:lnTo>
                    <a:pt x="333" y="667"/>
                  </a:lnTo>
                  <a:lnTo>
                    <a:pt x="339" y="664"/>
                  </a:lnTo>
                  <a:lnTo>
                    <a:pt x="371" y="684"/>
                  </a:lnTo>
                  <a:lnTo>
                    <a:pt x="382" y="699"/>
                  </a:lnTo>
                  <a:lnTo>
                    <a:pt x="382" y="718"/>
                  </a:lnTo>
                  <a:lnTo>
                    <a:pt x="393" y="695"/>
                  </a:lnTo>
                  <a:lnTo>
                    <a:pt x="412" y="677"/>
                  </a:lnTo>
                  <a:lnTo>
                    <a:pt x="423" y="639"/>
                  </a:lnTo>
                  <a:lnTo>
                    <a:pt x="438" y="620"/>
                  </a:lnTo>
                  <a:lnTo>
                    <a:pt x="434" y="572"/>
                  </a:lnTo>
                  <a:lnTo>
                    <a:pt x="459" y="540"/>
                  </a:lnTo>
                  <a:lnTo>
                    <a:pt x="474" y="532"/>
                  </a:lnTo>
                  <a:lnTo>
                    <a:pt x="479" y="534"/>
                  </a:lnTo>
                  <a:lnTo>
                    <a:pt x="487" y="527"/>
                  </a:lnTo>
                  <a:lnTo>
                    <a:pt x="494" y="527"/>
                  </a:lnTo>
                  <a:lnTo>
                    <a:pt x="491" y="519"/>
                  </a:lnTo>
                  <a:lnTo>
                    <a:pt x="534" y="517"/>
                  </a:lnTo>
                  <a:lnTo>
                    <a:pt x="534" y="510"/>
                  </a:lnTo>
                  <a:lnTo>
                    <a:pt x="547" y="501"/>
                  </a:lnTo>
                  <a:lnTo>
                    <a:pt x="549" y="484"/>
                  </a:lnTo>
                  <a:lnTo>
                    <a:pt x="565" y="456"/>
                  </a:lnTo>
                  <a:lnTo>
                    <a:pt x="565" y="428"/>
                  </a:lnTo>
                  <a:lnTo>
                    <a:pt x="571" y="420"/>
                  </a:lnTo>
                  <a:lnTo>
                    <a:pt x="569" y="341"/>
                  </a:lnTo>
                  <a:lnTo>
                    <a:pt x="620" y="272"/>
                  </a:lnTo>
                  <a:lnTo>
                    <a:pt x="633" y="246"/>
                  </a:lnTo>
                  <a:lnTo>
                    <a:pt x="633" y="223"/>
                  </a:lnTo>
                  <a:lnTo>
                    <a:pt x="622" y="191"/>
                  </a:lnTo>
                  <a:lnTo>
                    <a:pt x="595" y="190"/>
                  </a:lnTo>
                  <a:lnTo>
                    <a:pt x="547" y="148"/>
                  </a:lnTo>
                  <a:lnTo>
                    <a:pt x="522" y="150"/>
                  </a:lnTo>
                  <a:lnTo>
                    <a:pt x="489" y="141"/>
                  </a:lnTo>
                  <a:lnTo>
                    <a:pt x="472" y="148"/>
                  </a:lnTo>
                  <a:lnTo>
                    <a:pt x="474" y="139"/>
                  </a:lnTo>
                  <a:lnTo>
                    <a:pt x="468" y="122"/>
                  </a:lnTo>
                  <a:lnTo>
                    <a:pt x="459" y="126"/>
                  </a:lnTo>
                  <a:lnTo>
                    <a:pt x="457" y="120"/>
                  </a:lnTo>
                  <a:lnTo>
                    <a:pt x="427" y="109"/>
                  </a:lnTo>
                  <a:lnTo>
                    <a:pt x="414" y="111"/>
                  </a:lnTo>
                  <a:lnTo>
                    <a:pt x="406" y="124"/>
                  </a:lnTo>
                  <a:lnTo>
                    <a:pt x="402" y="122"/>
                  </a:lnTo>
                  <a:lnTo>
                    <a:pt x="408" y="102"/>
                  </a:lnTo>
                  <a:lnTo>
                    <a:pt x="399" y="98"/>
                  </a:lnTo>
                  <a:lnTo>
                    <a:pt x="376" y="103"/>
                  </a:lnTo>
                  <a:lnTo>
                    <a:pt x="374" y="126"/>
                  </a:lnTo>
                  <a:lnTo>
                    <a:pt x="369" y="115"/>
                  </a:lnTo>
                  <a:lnTo>
                    <a:pt x="359" y="118"/>
                  </a:lnTo>
                  <a:lnTo>
                    <a:pt x="365" y="98"/>
                  </a:lnTo>
                  <a:lnTo>
                    <a:pt x="382" y="77"/>
                  </a:lnTo>
                  <a:lnTo>
                    <a:pt x="384" y="64"/>
                  </a:lnTo>
                  <a:lnTo>
                    <a:pt x="374" y="62"/>
                  </a:lnTo>
                  <a:lnTo>
                    <a:pt x="367" y="27"/>
                  </a:lnTo>
                  <a:lnTo>
                    <a:pt x="358" y="21"/>
                  </a:lnTo>
                  <a:lnTo>
                    <a:pt x="358" y="2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84" name="Freeform 5755"/>
            <p:cNvSpPr>
              <a:spLocks/>
            </p:cNvSpPr>
            <p:nvPr>
              <p:custDataLst>
                <p:tags r:id="rId120"/>
              </p:custDataLst>
            </p:nvPr>
          </p:nvSpPr>
          <p:spPr bwMode="gray">
            <a:xfrm>
              <a:off x="5408955" y="5600294"/>
              <a:ext cx="87250" cy="66797"/>
            </a:xfrm>
            <a:custGeom>
              <a:avLst/>
              <a:gdLst/>
              <a:ahLst/>
              <a:cxnLst>
                <a:cxn ang="0">
                  <a:pos x="0" y="0"/>
                </a:cxn>
                <a:cxn ang="0">
                  <a:pos x="19" y="17"/>
                </a:cxn>
                <a:cxn ang="0">
                  <a:pos x="68" y="35"/>
                </a:cxn>
                <a:cxn ang="0">
                  <a:pos x="62" y="41"/>
                </a:cxn>
                <a:cxn ang="0">
                  <a:pos x="30" y="47"/>
                </a:cxn>
                <a:cxn ang="0">
                  <a:pos x="36" y="52"/>
                </a:cxn>
                <a:cxn ang="0">
                  <a:pos x="25" y="50"/>
                </a:cxn>
                <a:cxn ang="0">
                  <a:pos x="0" y="0"/>
                </a:cxn>
                <a:cxn ang="0">
                  <a:pos x="0" y="0"/>
                </a:cxn>
              </a:cxnLst>
              <a:rect l="0" t="0" r="r" b="b"/>
              <a:pathLst>
                <a:path w="68" h="52">
                  <a:moveTo>
                    <a:pt x="0" y="0"/>
                  </a:moveTo>
                  <a:lnTo>
                    <a:pt x="19" y="17"/>
                  </a:lnTo>
                  <a:lnTo>
                    <a:pt x="68" y="35"/>
                  </a:lnTo>
                  <a:lnTo>
                    <a:pt x="62" y="41"/>
                  </a:lnTo>
                  <a:lnTo>
                    <a:pt x="30" y="47"/>
                  </a:lnTo>
                  <a:lnTo>
                    <a:pt x="36" y="52"/>
                  </a:lnTo>
                  <a:lnTo>
                    <a:pt x="25" y="5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85" name="Freeform 5756"/>
            <p:cNvSpPr>
              <a:spLocks/>
            </p:cNvSpPr>
            <p:nvPr>
              <p:custDataLst>
                <p:tags r:id="rId121"/>
              </p:custDataLst>
            </p:nvPr>
          </p:nvSpPr>
          <p:spPr bwMode="gray">
            <a:xfrm>
              <a:off x="5330687" y="5600294"/>
              <a:ext cx="110346" cy="64228"/>
            </a:xfrm>
            <a:custGeom>
              <a:avLst/>
              <a:gdLst/>
              <a:ahLst/>
              <a:cxnLst>
                <a:cxn ang="0">
                  <a:pos x="61" y="0"/>
                </a:cxn>
                <a:cxn ang="0">
                  <a:pos x="43" y="3"/>
                </a:cxn>
                <a:cxn ang="0">
                  <a:pos x="44" y="11"/>
                </a:cxn>
                <a:cxn ang="0">
                  <a:pos x="61" y="15"/>
                </a:cxn>
                <a:cxn ang="0">
                  <a:pos x="52" y="18"/>
                </a:cxn>
                <a:cxn ang="0">
                  <a:pos x="46" y="17"/>
                </a:cxn>
                <a:cxn ang="0">
                  <a:pos x="43" y="26"/>
                </a:cxn>
                <a:cxn ang="0">
                  <a:pos x="1" y="11"/>
                </a:cxn>
                <a:cxn ang="0">
                  <a:pos x="0" y="17"/>
                </a:cxn>
                <a:cxn ang="0">
                  <a:pos x="11" y="26"/>
                </a:cxn>
                <a:cxn ang="0">
                  <a:pos x="20" y="26"/>
                </a:cxn>
                <a:cxn ang="0">
                  <a:pos x="48" y="41"/>
                </a:cxn>
                <a:cxn ang="0">
                  <a:pos x="65" y="41"/>
                </a:cxn>
                <a:cxn ang="0">
                  <a:pos x="71" y="47"/>
                </a:cxn>
                <a:cxn ang="0">
                  <a:pos x="86" y="50"/>
                </a:cxn>
                <a:cxn ang="0">
                  <a:pos x="61" y="0"/>
                </a:cxn>
                <a:cxn ang="0">
                  <a:pos x="61" y="0"/>
                </a:cxn>
              </a:cxnLst>
              <a:rect l="0" t="0" r="r" b="b"/>
              <a:pathLst>
                <a:path w="86" h="50">
                  <a:moveTo>
                    <a:pt x="61" y="0"/>
                  </a:moveTo>
                  <a:lnTo>
                    <a:pt x="43" y="3"/>
                  </a:lnTo>
                  <a:lnTo>
                    <a:pt x="44" y="11"/>
                  </a:lnTo>
                  <a:lnTo>
                    <a:pt x="61" y="15"/>
                  </a:lnTo>
                  <a:lnTo>
                    <a:pt x="52" y="18"/>
                  </a:lnTo>
                  <a:lnTo>
                    <a:pt x="46" y="17"/>
                  </a:lnTo>
                  <a:lnTo>
                    <a:pt x="43" y="26"/>
                  </a:lnTo>
                  <a:lnTo>
                    <a:pt x="1" y="11"/>
                  </a:lnTo>
                  <a:lnTo>
                    <a:pt x="0" y="17"/>
                  </a:lnTo>
                  <a:lnTo>
                    <a:pt x="11" y="26"/>
                  </a:lnTo>
                  <a:lnTo>
                    <a:pt x="20" y="26"/>
                  </a:lnTo>
                  <a:lnTo>
                    <a:pt x="48" y="41"/>
                  </a:lnTo>
                  <a:lnTo>
                    <a:pt x="65" y="41"/>
                  </a:lnTo>
                  <a:lnTo>
                    <a:pt x="71" y="47"/>
                  </a:lnTo>
                  <a:lnTo>
                    <a:pt x="86" y="50"/>
                  </a:lnTo>
                  <a:lnTo>
                    <a:pt x="61" y="0"/>
                  </a:lnTo>
                  <a:lnTo>
                    <a:pt x="61"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86" name="Freeform 5757"/>
            <p:cNvSpPr>
              <a:spLocks/>
            </p:cNvSpPr>
            <p:nvPr>
              <p:custDataLst>
                <p:tags r:id="rId122"/>
              </p:custDataLst>
            </p:nvPr>
          </p:nvSpPr>
          <p:spPr bwMode="gray">
            <a:xfrm>
              <a:off x="4899568" y="4363263"/>
              <a:ext cx="274582" cy="427758"/>
            </a:xfrm>
            <a:custGeom>
              <a:avLst/>
              <a:gdLst/>
              <a:ahLst/>
              <a:cxnLst>
                <a:cxn ang="0">
                  <a:pos x="15" y="62"/>
                </a:cxn>
                <a:cxn ang="0">
                  <a:pos x="0" y="75"/>
                </a:cxn>
                <a:cxn ang="0">
                  <a:pos x="10" y="101"/>
                </a:cxn>
                <a:cxn ang="0">
                  <a:pos x="4" y="108"/>
                </a:cxn>
                <a:cxn ang="0">
                  <a:pos x="23" y="123"/>
                </a:cxn>
                <a:cxn ang="0">
                  <a:pos x="47" y="157"/>
                </a:cxn>
                <a:cxn ang="0">
                  <a:pos x="101" y="268"/>
                </a:cxn>
                <a:cxn ang="0">
                  <a:pos x="193" y="333"/>
                </a:cxn>
                <a:cxn ang="0">
                  <a:pos x="208" y="320"/>
                </a:cxn>
                <a:cxn ang="0">
                  <a:pos x="214" y="301"/>
                </a:cxn>
                <a:cxn ang="0">
                  <a:pos x="206" y="286"/>
                </a:cxn>
                <a:cxn ang="0">
                  <a:pos x="212" y="225"/>
                </a:cxn>
                <a:cxn ang="0">
                  <a:pos x="195" y="198"/>
                </a:cxn>
                <a:cxn ang="0">
                  <a:pos x="182" y="198"/>
                </a:cxn>
                <a:cxn ang="0">
                  <a:pos x="178" y="170"/>
                </a:cxn>
                <a:cxn ang="0">
                  <a:pos x="158" y="182"/>
                </a:cxn>
                <a:cxn ang="0">
                  <a:pos x="139" y="168"/>
                </a:cxn>
                <a:cxn ang="0">
                  <a:pos x="141" y="163"/>
                </a:cxn>
                <a:cxn ang="0">
                  <a:pos x="126" y="140"/>
                </a:cxn>
                <a:cxn ang="0">
                  <a:pos x="137" y="105"/>
                </a:cxn>
                <a:cxn ang="0">
                  <a:pos x="148" y="90"/>
                </a:cxn>
                <a:cxn ang="0">
                  <a:pos x="184" y="75"/>
                </a:cxn>
                <a:cxn ang="0">
                  <a:pos x="174" y="64"/>
                </a:cxn>
                <a:cxn ang="0">
                  <a:pos x="182" y="52"/>
                </a:cxn>
                <a:cxn ang="0">
                  <a:pos x="180" y="47"/>
                </a:cxn>
                <a:cxn ang="0">
                  <a:pos x="169" y="41"/>
                </a:cxn>
                <a:cxn ang="0">
                  <a:pos x="133" y="43"/>
                </a:cxn>
                <a:cxn ang="0">
                  <a:pos x="124" y="22"/>
                </a:cxn>
                <a:cxn ang="0">
                  <a:pos x="96" y="0"/>
                </a:cxn>
                <a:cxn ang="0">
                  <a:pos x="92" y="4"/>
                </a:cxn>
                <a:cxn ang="0">
                  <a:pos x="98" y="15"/>
                </a:cxn>
                <a:cxn ang="0">
                  <a:pos x="90" y="30"/>
                </a:cxn>
                <a:cxn ang="0">
                  <a:pos x="79" y="43"/>
                </a:cxn>
                <a:cxn ang="0">
                  <a:pos x="55" y="54"/>
                </a:cxn>
                <a:cxn ang="0">
                  <a:pos x="34" y="90"/>
                </a:cxn>
                <a:cxn ang="0">
                  <a:pos x="13" y="78"/>
                </a:cxn>
                <a:cxn ang="0">
                  <a:pos x="15" y="62"/>
                </a:cxn>
                <a:cxn ang="0">
                  <a:pos x="15" y="62"/>
                </a:cxn>
              </a:cxnLst>
              <a:rect l="0" t="0" r="r" b="b"/>
              <a:pathLst>
                <a:path w="214" h="333">
                  <a:moveTo>
                    <a:pt x="15" y="62"/>
                  </a:moveTo>
                  <a:lnTo>
                    <a:pt x="0" y="75"/>
                  </a:lnTo>
                  <a:lnTo>
                    <a:pt x="10" y="101"/>
                  </a:lnTo>
                  <a:lnTo>
                    <a:pt x="4" y="108"/>
                  </a:lnTo>
                  <a:lnTo>
                    <a:pt x="23" y="123"/>
                  </a:lnTo>
                  <a:lnTo>
                    <a:pt x="47" y="157"/>
                  </a:lnTo>
                  <a:lnTo>
                    <a:pt x="101" y="268"/>
                  </a:lnTo>
                  <a:lnTo>
                    <a:pt x="193" y="333"/>
                  </a:lnTo>
                  <a:lnTo>
                    <a:pt x="208" y="320"/>
                  </a:lnTo>
                  <a:lnTo>
                    <a:pt x="214" y="301"/>
                  </a:lnTo>
                  <a:lnTo>
                    <a:pt x="206" y="286"/>
                  </a:lnTo>
                  <a:lnTo>
                    <a:pt x="212" y="225"/>
                  </a:lnTo>
                  <a:lnTo>
                    <a:pt x="195" y="198"/>
                  </a:lnTo>
                  <a:lnTo>
                    <a:pt x="182" y="198"/>
                  </a:lnTo>
                  <a:lnTo>
                    <a:pt x="178" y="170"/>
                  </a:lnTo>
                  <a:lnTo>
                    <a:pt x="158" y="182"/>
                  </a:lnTo>
                  <a:lnTo>
                    <a:pt x="139" y="168"/>
                  </a:lnTo>
                  <a:lnTo>
                    <a:pt x="141" y="163"/>
                  </a:lnTo>
                  <a:lnTo>
                    <a:pt x="126" y="140"/>
                  </a:lnTo>
                  <a:lnTo>
                    <a:pt x="137" y="105"/>
                  </a:lnTo>
                  <a:lnTo>
                    <a:pt x="148" y="90"/>
                  </a:lnTo>
                  <a:lnTo>
                    <a:pt x="184" y="75"/>
                  </a:lnTo>
                  <a:lnTo>
                    <a:pt x="174" y="64"/>
                  </a:lnTo>
                  <a:lnTo>
                    <a:pt x="182" y="52"/>
                  </a:lnTo>
                  <a:lnTo>
                    <a:pt x="180" y="47"/>
                  </a:lnTo>
                  <a:lnTo>
                    <a:pt x="169" y="41"/>
                  </a:lnTo>
                  <a:lnTo>
                    <a:pt x="133" y="43"/>
                  </a:lnTo>
                  <a:lnTo>
                    <a:pt x="124" y="22"/>
                  </a:lnTo>
                  <a:lnTo>
                    <a:pt x="96" y="0"/>
                  </a:lnTo>
                  <a:lnTo>
                    <a:pt x="92" y="4"/>
                  </a:lnTo>
                  <a:lnTo>
                    <a:pt x="98" y="15"/>
                  </a:lnTo>
                  <a:lnTo>
                    <a:pt x="90" y="30"/>
                  </a:lnTo>
                  <a:lnTo>
                    <a:pt x="79" y="43"/>
                  </a:lnTo>
                  <a:lnTo>
                    <a:pt x="55" y="54"/>
                  </a:lnTo>
                  <a:lnTo>
                    <a:pt x="34" y="90"/>
                  </a:lnTo>
                  <a:lnTo>
                    <a:pt x="13" y="78"/>
                  </a:lnTo>
                  <a:lnTo>
                    <a:pt x="15" y="62"/>
                  </a:lnTo>
                  <a:lnTo>
                    <a:pt x="15" y="6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87" name="Freeform 5758"/>
            <p:cNvSpPr>
              <a:spLocks/>
            </p:cNvSpPr>
            <p:nvPr>
              <p:custDataLst>
                <p:tags r:id="rId123"/>
              </p:custDataLst>
            </p:nvPr>
          </p:nvSpPr>
          <p:spPr bwMode="gray">
            <a:xfrm>
              <a:off x="4907266" y="4329865"/>
              <a:ext cx="118045" cy="149009"/>
            </a:xfrm>
            <a:custGeom>
              <a:avLst/>
              <a:gdLst/>
              <a:ahLst/>
              <a:cxnLst>
                <a:cxn ang="0">
                  <a:pos x="9" y="88"/>
                </a:cxn>
                <a:cxn ang="0">
                  <a:pos x="7" y="104"/>
                </a:cxn>
                <a:cxn ang="0">
                  <a:pos x="28" y="116"/>
                </a:cxn>
                <a:cxn ang="0">
                  <a:pos x="49" y="80"/>
                </a:cxn>
                <a:cxn ang="0">
                  <a:pos x="73" y="69"/>
                </a:cxn>
                <a:cxn ang="0">
                  <a:pos x="84" y="56"/>
                </a:cxn>
                <a:cxn ang="0">
                  <a:pos x="92" y="41"/>
                </a:cxn>
                <a:cxn ang="0">
                  <a:pos x="86" y="30"/>
                </a:cxn>
                <a:cxn ang="0">
                  <a:pos x="90" y="26"/>
                </a:cxn>
                <a:cxn ang="0">
                  <a:pos x="80" y="20"/>
                </a:cxn>
                <a:cxn ang="0">
                  <a:pos x="60" y="22"/>
                </a:cxn>
                <a:cxn ang="0">
                  <a:pos x="34" y="0"/>
                </a:cxn>
                <a:cxn ang="0">
                  <a:pos x="15" y="11"/>
                </a:cxn>
                <a:cxn ang="0">
                  <a:pos x="13" y="24"/>
                </a:cxn>
                <a:cxn ang="0">
                  <a:pos x="5" y="30"/>
                </a:cxn>
                <a:cxn ang="0">
                  <a:pos x="5" y="39"/>
                </a:cxn>
                <a:cxn ang="0">
                  <a:pos x="0" y="43"/>
                </a:cxn>
                <a:cxn ang="0">
                  <a:pos x="0" y="67"/>
                </a:cxn>
                <a:cxn ang="0">
                  <a:pos x="13" y="78"/>
                </a:cxn>
                <a:cxn ang="0">
                  <a:pos x="13" y="69"/>
                </a:cxn>
                <a:cxn ang="0">
                  <a:pos x="20" y="69"/>
                </a:cxn>
                <a:cxn ang="0">
                  <a:pos x="15" y="86"/>
                </a:cxn>
                <a:cxn ang="0">
                  <a:pos x="9" y="88"/>
                </a:cxn>
                <a:cxn ang="0">
                  <a:pos x="9" y="88"/>
                </a:cxn>
              </a:cxnLst>
              <a:rect l="0" t="0" r="r" b="b"/>
              <a:pathLst>
                <a:path w="92" h="116">
                  <a:moveTo>
                    <a:pt x="9" y="88"/>
                  </a:moveTo>
                  <a:lnTo>
                    <a:pt x="7" y="104"/>
                  </a:lnTo>
                  <a:lnTo>
                    <a:pt x="28" y="116"/>
                  </a:lnTo>
                  <a:lnTo>
                    <a:pt x="49" y="80"/>
                  </a:lnTo>
                  <a:lnTo>
                    <a:pt x="73" y="69"/>
                  </a:lnTo>
                  <a:lnTo>
                    <a:pt x="84" y="56"/>
                  </a:lnTo>
                  <a:lnTo>
                    <a:pt x="92" y="41"/>
                  </a:lnTo>
                  <a:lnTo>
                    <a:pt x="86" y="30"/>
                  </a:lnTo>
                  <a:lnTo>
                    <a:pt x="90" y="26"/>
                  </a:lnTo>
                  <a:lnTo>
                    <a:pt x="80" y="20"/>
                  </a:lnTo>
                  <a:lnTo>
                    <a:pt x="60" y="22"/>
                  </a:lnTo>
                  <a:lnTo>
                    <a:pt x="34" y="0"/>
                  </a:lnTo>
                  <a:lnTo>
                    <a:pt x="15" y="11"/>
                  </a:lnTo>
                  <a:lnTo>
                    <a:pt x="13" y="24"/>
                  </a:lnTo>
                  <a:lnTo>
                    <a:pt x="5" y="30"/>
                  </a:lnTo>
                  <a:lnTo>
                    <a:pt x="5" y="39"/>
                  </a:lnTo>
                  <a:lnTo>
                    <a:pt x="0" y="43"/>
                  </a:lnTo>
                  <a:lnTo>
                    <a:pt x="0" y="67"/>
                  </a:lnTo>
                  <a:lnTo>
                    <a:pt x="13" y="78"/>
                  </a:lnTo>
                  <a:lnTo>
                    <a:pt x="13" y="69"/>
                  </a:lnTo>
                  <a:lnTo>
                    <a:pt x="20" y="69"/>
                  </a:lnTo>
                  <a:lnTo>
                    <a:pt x="15" y="86"/>
                  </a:lnTo>
                  <a:lnTo>
                    <a:pt x="9" y="88"/>
                  </a:lnTo>
                  <a:lnTo>
                    <a:pt x="9" y="8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88" name="Freeform 5759"/>
            <p:cNvSpPr>
              <a:spLocks/>
            </p:cNvSpPr>
            <p:nvPr>
              <p:custDataLst>
                <p:tags r:id="rId124"/>
              </p:custDataLst>
            </p:nvPr>
          </p:nvSpPr>
          <p:spPr bwMode="gray">
            <a:xfrm>
              <a:off x="4948325" y="4066530"/>
              <a:ext cx="251486" cy="393075"/>
            </a:xfrm>
            <a:custGeom>
              <a:avLst/>
              <a:gdLst/>
              <a:ahLst/>
              <a:cxnLst>
                <a:cxn ang="0">
                  <a:pos x="2" y="205"/>
                </a:cxn>
                <a:cxn ang="0">
                  <a:pos x="0" y="197"/>
                </a:cxn>
                <a:cxn ang="0">
                  <a:pos x="5" y="197"/>
                </a:cxn>
                <a:cxn ang="0">
                  <a:pos x="9" y="178"/>
                </a:cxn>
                <a:cxn ang="0">
                  <a:pos x="20" y="178"/>
                </a:cxn>
                <a:cxn ang="0">
                  <a:pos x="30" y="161"/>
                </a:cxn>
                <a:cxn ang="0">
                  <a:pos x="24" y="154"/>
                </a:cxn>
                <a:cxn ang="0">
                  <a:pos x="28" y="107"/>
                </a:cxn>
                <a:cxn ang="0">
                  <a:pos x="20" y="94"/>
                </a:cxn>
                <a:cxn ang="0">
                  <a:pos x="32" y="81"/>
                </a:cxn>
                <a:cxn ang="0">
                  <a:pos x="30" y="70"/>
                </a:cxn>
                <a:cxn ang="0">
                  <a:pos x="39" y="85"/>
                </a:cxn>
                <a:cxn ang="0">
                  <a:pos x="41" y="70"/>
                </a:cxn>
                <a:cxn ang="0">
                  <a:pos x="60" y="53"/>
                </a:cxn>
                <a:cxn ang="0">
                  <a:pos x="67" y="28"/>
                </a:cxn>
                <a:cxn ang="0">
                  <a:pos x="80" y="27"/>
                </a:cxn>
                <a:cxn ang="0">
                  <a:pos x="86" y="21"/>
                </a:cxn>
                <a:cxn ang="0">
                  <a:pos x="95" y="23"/>
                </a:cxn>
                <a:cxn ang="0">
                  <a:pos x="127" y="0"/>
                </a:cxn>
                <a:cxn ang="0">
                  <a:pos x="135" y="6"/>
                </a:cxn>
                <a:cxn ang="0">
                  <a:pos x="121" y="15"/>
                </a:cxn>
                <a:cxn ang="0">
                  <a:pos x="121" y="17"/>
                </a:cxn>
                <a:cxn ang="0">
                  <a:pos x="112" y="27"/>
                </a:cxn>
                <a:cxn ang="0">
                  <a:pos x="99" y="55"/>
                </a:cxn>
                <a:cxn ang="0">
                  <a:pos x="110" y="79"/>
                </a:cxn>
                <a:cxn ang="0">
                  <a:pos x="110" y="92"/>
                </a:cxn>
                <a:cxn ang="0">
                  <a:pos x="120" y="98"/>
                </a:cxn>
                <a:cxn ang="0">
                  <a:pos x="146" y="100"/>
                </a:cxn>
                <a:cxn ang="0">
                  <a:pos x="161" y="117"/>
                </a:cxn>
                <a:cxn ang="0">
                  <a:pos x="189" y="115"/>
                </a:cxn>
                <a:cxn ang="0">
                  <a:pos x="181" y="143"/>
                </a:cxn>
                <a:cxn ang="0">
                  <a:pos x="189" y="167"/>
                </a:cxn>
                <a:cxn ang="0">
                  <a:pos x="181" y="176"/>
                </a:cxn>
                <a:cxn ang="0">
                  <a:pos x="196" y="205"/>
                </a:cxn>
                <a:cxn ang="0">
                  <a:pos x="196" y="205"/>
                </a:cxn>
                <a:cxn ang="0">
                  <a:pos x="185" y="195"/>
                </a:cxn>
                <a:cxn ang="0">
                  <a:pos x="150" y="197"/>
                </a:cxn>
                <a:cxn ang="0">
                  <a:pos x="148" y="208"/>
                </a:cxn>
                <a:cxn ang="0">
                  <a:pos x="159" y="218"/>
                </a:cxn>
                <a:cxn ang="0">
                  <a:pos x="144" y="223"/>
                </a:cxn>
                <a:cxn ang="0">
                  <a:pos x="153" y="253"/>
                </a:cxn>
                <a:cxn ang="0">
                  <a:pos x="146" y="306"/>
                </a:cxn>
                <a:cxn ang="0">
                  <a:pos x="136" y="295"/>
                </a:cxn>
                <a:cxn ang="0">
                  <a:pos x="144" y="283"/>
                </a:cxn>
                <a:cxn ang="0">
                  <a:pos x="142" y="278"/>
                </a:cxn>
                <a:cxn ang="0">
                  <a:pos x="131" y="272"/>
                </a:cxn>
                <a:cxn ang="0">
                  <a:pos x="95" y="274"/>
                </a:cxn>
                <a:cxn ang="0">
                  <a:pos x="86" y="253"/>
                </a:cxn>
                <a:cxn ang="0">
                  <a:pos x="58" y="231"/>
                </a:cxn>
                <a:cxn ang="0">
                  <a:pos x="48" y="225"/>
                </a:cxn>
                <a:cxn ang="0">
                  <a:pos x="28" y="227"/>
                </a:cxn>
                <a:cxn ang="0">
                  <a:pos x="2" y="205"/>
                </a:cxn>
                <a:cxn ang="0">
                  <a:pos x="2" y="205"/>
                </a:cxn>
              </a:cxnLst>
              <a:rect l="0" t="0" r="r" b="b"/>
              <a:pathLst>
                <a:path w="196" h="306">
                  <a:moveTo>
                    <a:pt x="2" y="205"/>
                  </a:moveTo>
                  <a:lnTo>
                    <a:pt x="0" y="197"/>
                  </a:lnTo>
                  <a:lnTo>
                    <a:pt x="5" y="197"/>
                  </a:lnTo>
                  <a:lnTo>
                    <a:pt x="9" y="178"/>
                  </a:lnTo>
                  <a:lnTo>
                    <a:pt x="20" y="178"/>
                  </a:lnTo>
                  <a:lnTo>
                    <a:pt x="30" y="161"/>
                  </a:lnTo>
                  <a:lnTo>
                    <a:pt x="24" y="154"/>
                  </a:lnTo>
                  <a:lnTo>
                    <a:pt x="28" y="107"/>
                  </a:lnTo>
                  <a:lnTo>
                    <a:pt x="20" y="94"/>
                  </a:lnTo>
                  <a:lnTo>
                    <a:pt x="32" y="81"/>
                  </a:lnTo>
                  <a:lnTo>
                    <a:pt x="30" y="70"/>
                  </a:lnTo>
                  <a:lnTo>
                    <a:pt x="39" y="85"/>
                  </a:lnTo>
                  <a:lnTo>
                    <a:pt x="41" y="70"/>
                  </a:lnTo>
                  <a:lnTo>
                    <a:pt x="60" y="53"/>
                  </a:lnTo>
                  <a:lnTo>
                    <a:pt x="67" y="28"/>
                  </a:lnTo>
                  <a:lnTo>
                    <a:pt x="80" y="27"/>
                  </a:lnTo>
                  <a:lnTo>
                    <a:pt x="86" y="21"/>
                  </a:lnTo>
                  <a:lnTo>
                    <a:pt x="95" y="23"/>
                  </a:lnTo>
                  <a:lnTo>
                    <a:pt x="127" y="0"/>
                  </a:lnTo>
                  <a:lnTo>
                    <a:pt x="135" y="6"/>
                  </a:lnTo>
                  <a:lnTo>
                    <a:pt x="121" y="15"/>
                  </a:lnTo>
                  <a:lnTo>
                    <a:pt x="121" y="17"/>
                  </a:lnTo>
                  <a:lnTo>
                    <a:pt x="112" y="27"/>
                  </a:lnTo>
                  <a:lnTo>
                    <a:pt x="99" y="55"/>
                  </a:lnTo>
                  <a:lnTo>
                    <a:pt x="110" y="79"/>
                  </a:lnTo>
                  <a:lnTo>
                    <a:pt x="110" y="92"/>
                  </a:lnTo>
                  <a:lnTo>
                    <a:pt x="120" y="98"/>
                  </a:lnTo>
                  <a:lnTo>
                    <a:pt x="146" y="100"/>
                  </a:lnTo>
                  <a:lnTo>
                    <a:pt x="161" y="117"/>
                  </a:lnTo>
                  <a:lnTo>
                    <a:pt x="189" y="115"/>
                  </a:lnTo>
                  <a:lnTo>
                    <a:pt x="181" y="143"/>
                  </a:lnTo>
                  <a:lnTo>
                    <a:pt x="189" y="167"/>
                  </a:lnTo>
                  <a:lnTo>
                    <a:pt x="181" y="176"/>
                  </a:lnTo>
                  <a:lnTo>
                    <a:pt x="196" y="205"/>
                  </a:lnTo>
                  <a:lnTo>
                    <a:pt x="196" y="205"/>
                  </a:lnTo>
                  <a:lnTo>
                    <a:pt x="185" y="195"/>
                  </a:lnTo>
                  <a:lnTo>
                    <a:pt x="150" y="197"/>
                  </a:lnTo>
                  <a:lnTo>
                    <a:pt x="148" y="208"/>
                  </a:lnTo>
                  <a:lnTo>
                    <a:pt x="159" y="218"/>
                  </a:lnTo>
                  <a:lnTo>
                    <a:pt x="144" y="223"/>
                  </a:lnTo>
                  <a:lnTo>
                    <a:pt x="153" y="253"/>
                  </a:lnTo>
                  <a:lnTo>
                    <a:pt x="146" y="306"/>
                  </a:lnTo>
                  <a:lnTo>
                    <a:pt x="136" y="295"/>
                  </a:lnTo>
                  <a:lnTo>
                    <a:pt x="144" y="283"/>
                  </a:lnTo>
                  <a:lnTo>
                    <a:pt x="142" y="278"/>
                  </a:lnTo>
                  <a:lnTo>
                    <a:pt x="131" y="272"/>
                  </a:lnTo>
                  <a:lnTo>
                    <a:pt x="95" y="274"/>
                  </a:lnTo>
                  <a:lnTo>
                    <a:pt x="86" y="253"/>
                  </a:lnTo>
                  <a:lnTo>
                    <a:pt x="58" y="231"/>
                  </a:lnTo>
                  <a:lnTo>
                    <a:pt x="48" y="225"/>
                  </a:lnTo>
                  <a:lnTo>
                    <a:pt x="28" y="227"/>
                  </a:lnTo>
                  <a:lnTo>
                    <a:pt x="2" y="205"/>
                  </a:lnTo>
                  <a:lnTo>
                    <a:pt x="2" y="20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89" name="Freeform 5760"/>
            <p:cNvSpPr>
              <a:spLocks/>
            </p:cNvSpPr>
            <p:nvPr>
              <p:custDataLst>
                <p:tags r:id="rId125"/>
              </p:custDataLst>
            </p:nvPr>
          </p:nvSpPr>
          <p:spPr bwMode="gray">
            <a:xfrm>
              <a:off x="5075351" y="4071668"/>
              <a:ext cx="275865" cy="269757"/>
            </a:xfrm>
            <a:custGeom>
              <a:avLst/>
              <a:gdLst/>
              <a:ahLst/>
              <a:cxnLst>
                <a:cxn ang="0">
                  <a:pos x="215" y="71"/>
                </a:cxn>
                <a:cxn ang="0">
                  <a:pos x="200" y="83"/>
                </a:cxn>
                <a:cxn ang="0">
                  <a:pos x="199" y="94"/>
                </a:cxn>
                <a:cxn ang="0">
                  <a:pos x="202" y="96"/>
                </a:cxn>
                <a:cxn ang="0">
                  <a:pos x="195" y="101"/>
                </a:cxn>
                <a:cxn ang="0">
                  <a:pos x="191" y="114"/>
                </a:cxn>
                <a:cxn ang="0">
                  <a:pos x="200" y="129"/>
                </a:cxn>
                <a:cxn ang="0">
                  <a:pos x="197" y="139"/>
                </a:cxn>
                <a:cxn ang="0">
                  <a:pos x="161" y="154"/>
                </a:cxn>
                <a:cxn ang="0">
                  <a:pos x="133" y="150"/>
                </a:cxn>
                <a:cxn ang="0">
                  <a:pos x="140" y="157"/>
                </a:cxn>
                <a:cxn ang="0">
                  <a:pos x="140" y="176"/>
                </a:cxn>
                <a:cxn ang="0">
                  <a:pos x="152" y="186"/>
                </a:cxn>
                <a:cxn ang="0">
                  <a:pos x="116" y="210"/>
                </a:cxn>
                <a:cxn ang="0">
                  <a:pos x="105" y="210"/>
                </a:cxn>
                <a:cxn ang="0">
                  <a:pos x="97" y="201"/>
                </a:cxn>
                <a:cxn ang="0">
                  <a:pos x="97" y="201"/>
                </a:cxn>
                <a:cxn ang="0">
                  <a:pos x="82" y="172"/>
                </a:cxn>
                <a:cxn ang="0">
                  <a:pos x="90" y="163"/>
                </a:cxn>
                <a:cxn ang="0">
                  <a:pos x="82" y="139"/>
                </a:cxn>
                <a:cxn ang="0">
                  <a:pos x="90" y="111"/>
                </a:cxn>
                <a:cxn ang="0">
                  <a:pos x="62" y="113"/>
                </a:cxn>
                <a:cxn ang="0">
                  <a:pos x="47" y="96"/>
                </a:cxn>
                <a:cxn ang="0">
                  <a:pos x="21" y="94"/>
                </a:cxn>
                <a:cxn ang="0">
                  <a:pos x="11" y="88"/>
                </a:cxn>
                <a:cxn ang="0">
                  <a:pos x="11" y="75"/>
                </a:cxn>
                <a:cxn ang="0">
                  <a:pos x="0" y="51"/>
                </a:cxn>
                <a:cxn ang="0">
                  <a:pos x="13" y="23"/>
                </a:cxn>
                <a:cxn ang="0">
                  <a:pos x="22" y="13"/>
                </a:cxn>
                <a:cxn ang="0">
                  <a:pos x="22" y="11"/>
                </a:cxn>
                <a:cxn ang="0">
                  <a:pos x="28" y="30"/>
                </a:cxn>
                <a:cxn ang="0">
                  <a:pos x="19" y="45"/>
                </a:cxn>
                <a:cxn ang="0">
                  <a:pos x="24" y="58"/>
                </a:cxn>
                <a:cxn ang="0">
                  <a:pos x="34" y="54"/>
                </a:cxn>
                <a:cxn ang="0">
                  <a:pos x="30" y="23"/>
                </a:cxn>
                <a:cxn ang="0">
                  <a:pos x="51" y="11"/>
                </a:cxn>
                <a:cxn ang="0">
                  <a:pos x="49" y="4"/>
                </a:cxn>
                <a:cxn ang="0">
                  <a:pos x="56" y="0"/>
                </a:cxn>
                <a:cxn ang="0">
                  <a:pos x="58" y="11"/>
                </a:cxn>
                <a:cxn ang="0">
                  <a:pos x="79" y="19"/>
                </a:cxn>
                <a:cxn ang="0">
                  <a:pos x="82" y="32"/>
                </a:cxn>
                <a:cxn ang="0">
                  <a:pos x="114" y="30"/>
                </a:cxn>
                <a:cxn ang="0">
                  <a:pos x="133" y="38"/>
                </a:cxn>
                <a:cxn ang="0">
                  <a:pos x="150" y="28"/>
                </a:cxn>
                <a:cxn ang="0">
                  <a:pos x="180" y="28"/>
                </a:cxn>
                <a:cxn ang="0">
                  <a:pos x="167" y="30"/>
                </a:cxn>
                <a:cxn ang="0">
                  <a:pos x="176" y="45"/>
                </a:cxn>
                <a:cxn ang="0">
                  <a:pos x="197" y="49"/>
                </a:cxn>
                <a:cxn ang="0">
                  <a:pos x="197" y="69"/>
                </a:cxn>
                <a:cxn ang="0">
                  <a:pos x="210" y="66"/>
                </a:cxn>
                <a:cxn ang="0">
                  <a:pos x="215" y="71"/>
                </a:cxn>
                <a:cxn ang="0">
                  <a:pos x="215" y="71"/>
                </a:cxn>
              </a:cxnLst>
              <a:rect l="0" t="0" r="r" b="b"/>
              <a:pathLst>
                <a:path w="215" h="210">
                  <a:moveTo>
                    <a:pt x="215" y="71"/>
                  </a:moveTo>
                  <a:lnTo>
                    <a:pt x="200" y="83"/>
                  </a:lnTo>
                  <a:lnTo>
                    <a:pt x="199" y="94"/>
                  </a:lnTo>
                  <a:lnTo>
                    <a:pt x="202" y="96"/>
                  </a:lnTo>
                  <a:lnTo>
                    <a:pt x="195" y="101"/>
                  </a:lnTo>
                  <a:lnTo>
                    <a:pt x="191" y="114"/>
                  </a:lnTo>
                  <a:lnTo>
                    <a:pt x="200" y="129"/>
                  </a:lnTo>
                  <a:lnTo>
                    <a:pt x="197" y="139"/>
                  </a:lnTo>
                  <a:lnTo>
                    <a:pt x="161" y="154"/>
                  </a:lnTo>
                  <a:lnTo>
                    <a:pt x="133" y="150"/>
                  </a:lnTo>
                  <a:lnTo>
                    <a:pt x="140" y="157"/>
                  </a:lnTo>
                  <a:lnTo>
                    <a:pt x="140" y="176"/>
                  </a:lnTo>
                  <a:lnTo>
                    <a:pt x="152" y="186"/>
                  </a:lnTo>
                  <a:lnTo>
                    <a:pt x="116" y="210"/>
                  </a:lnTo>
                  <a:lnTo>
                    <a:pt x="105" y="210"/>
                  </a:lnTo>
                  <a:lnTo>
                    <a:pt x="97" y="201"/>
                  </a:lnTo>
                  <a:lnTo>
                    <a:pt x="97" y="201"/>
                  </a:lnTo>
                  <a:lnTo>
                    <a:pt x="82" y="172"/>
                  </a:lnTo>
                  <a:lnTo>
                    <a:pt x="90" y="163"/>
                  </a:lnTo>
                  <a:lnTo>
                    <a:pt x="82" y="139"/>
                  </a:lnTo>
                  <a:lnTo>
                    <a:pt x="90" y="111"/>
                  </a:lnTo>
                  <a:lnTo>
                    <a:pt x="62" y="113"/>
                  </a:lnTo>
                  <a:lnTo>
                    <a:pt x="47" y="96"/>
                  </a:lnTo>
                  <a:lnTo>
                    <a:pt x="21" y="94"/>
                  </a:lnTo>
                  <a:lnTo>
                    <a:pt x="11" y="88"/>
                  </a:lnTo>
                  <a:lnTo>
                    <a:pt x="11" y="75"/>
                  </a:lnTo>
                  <a:lnTo>
                    <a:pt x="0" y="51"/>
                  </a:lnTo>
                  <a:lnTo>
                    <a:pt x="13" y="23"/>
                  </a:lnTo>
                  <a:lnTo>
                    <a:pt x="22" y="13"/>
                  </a:lnTo>
                  <a:lnTo>
                    <a:pt x="22" y="11"/>
                  </a:lnTo>
                  <a:lnTo>
                    <a:pt x="28" y="30"/>
                  </a:lnTo>
                  <a:lnTo>
                    <a:pt x="19" y="45"/>
                  </a:lnTo>
                  <a:lnTo>
                    <a:pt x="24" y="58"/>
                  </a:lnTo>
                  <a:lnTo>
                    <a:pt x="34" y="54"/>
                  </a:lnTo>
                  <a:lnTo>
                    <a:pt x="30" y="23"/>
                  </a:lnTo>
                  <a:lnTo>
                    <a:pt x="51" y="11"/>
                  </a:lnTo>
                  <a:lnTo>
                    <a:pt x="49" y="4"/>
                  </a:lnTo>
                  <a:lnTo>
                    <a:pt x="56" y="0"/>
                  </a:lnTo>
                  <a:lnTo>
                    <a:pt x="58" y="11"/>
                  </a:lnTo>
                  <a:lnTo>
                    <a:pt x="79" y="19"/>
                  </a:lnTo>
                  <a:lnTo>
                    <a:pt x="82" y="32"/>
                  </a:lnTo>
                  <a:lnTo>
                    <a:pt x="114" y="30"/>
                  </a:lnTo>
                  <a:lnTo>
                    <a:pt x="133" y="38"/>
                  </a:lnTo>
                  <a:lnTo>
                    <a:pt x="150" y="28"/>
                  </a:lnTo>
                  <a:lnTo>
                    <a:pt x="180" y="28"/>
                  </a:lnTo>
                  <a:lnTo>
                    <a:pt x="167" y="30"/>
                  </a:lnTo>
                  <a:lnTo>
                    <a:pt x="176" y="45"/>
                  </a:lnTo>
                  <a:lnTo>
                    <a:pt x="197" y="49"/>
                  </a:lnTo>
                  <a:lnTo>
                    <a:pt x="197" y="69"/>
                  </a:lnTo>
                  <a:lnTo>
                    <a:pt x="210" y="66"/>
                  </a:lnTo>
                  <a:lnTo>
                    <a:pt x="215" y="71"/>
                  </a:lnTo>
                  <a:lnTo>
                    <a:pt x="215" y="7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90" name="Freeform 5761"/>
            <p:cNvSpPr>
              <a:spLocks/>
            </p:cNvSpPr>
            <p:nvPr>
              <p:custDataLst>
                <p:tags r:id="rId126"/>
              </p:custDataLst>
            </p:nvPr>
          </p:nvSpPr>
          <p:spPr bwMode="gray">
            <a:xfrm>
              <a:off x="5147204" y="4774322"/>
              <a:ext cx="245071" cy="851663"/>
            </a:xfrm>
            <a:custGeom>
              <a:avLst/>
              <a:gdLst/>
              <a:ahLst/>
              <a:cxnLst>
                <a:cxn ang="0">
                  <a:pos x="15" y="0"/>
                </a:cxn>
                <a:cxn ang="0">
                  <a:pos x="32" y="47"/>
                </a:cxn>
                <a:cxn ang="0">
                  <a:pos x="64" y="99"/>
                </a:cxn>
                <a:cxn ang="0">
                  <a:pos x="49" y="131"/>
                </a:cxn>
                <a:cxn ang="0">
                  <a:pos x="43" y="199"/>
                </a:cxn>
                <a:cxn ang="0">
                  <a:pos x="62" y="304"/>
                </a:cxn>
                <a:cxn ang="0">
                  <a:pos x="64" y="343"/>
                </a:cxn>
                <a:cxn ang="0">
                  <a:pos x="69" y="390"/>
                </a:cxn>
                <a:cxn ang="0">
                  <a:pos x="81" y="452"/>
                </a:cxn>
                <a:cxn ang="0">
                  <a:pos x="96" y="495"/>
                </a:cxn>
                <a:cxn ang="0">
                  <a:pos x="99" y="502"/>
                </a:cxn>
                <a:cxn ang="0">
                  <a:pos x="116" y="592"/>
                </a:cxn>
                <a:cxn ang="0">
                  <a:pos x="137" y="607"/>
                </a:cxn>
                <a:cxn ang="0">
                  <a:pos x="189" y="635"/>
                </a:cxn>
                <a:cxn ang="0">
                  <a:pos x="191" y="641"/>
                </a:cxn>
                <a:cxn ang="0">
                  <a:pos x="184" y="661"/>
                </a:cxn>
                <a:cxn ang="0">
                  <a:pos x="163" y="656"/>
                </a:cxn>
                <a:cxn ang="0">
                  <a:pos x="174" y="646"/>
                </a:cxn>
                <a:cxn ang="0">
                  <a:pos x="159" y="656"/>
                </a:cxn>
                <a:cxn ang="0">
                  <a:pos x="122" y="639"/>
                </a:cxn>
                <a:cxn ang="0">
                  <a:pos x="109" y="628"/>
                </a:cxn>
                <a:cxn ang="0">
                  <a:pos x="118" y="622"/>
                </a:cxn>
                <a:cxn ang="0">
                  <a:pos x="113" y="620"/>
                </a:cxn>
                <a:cxn ang="0">
                  <a:pos x="101" y="607"/>
                </a:cxn>
                <a:cxn ang="0">
                  <a:pos x="101" y="596"/>
                </a:cxn>
                <a:cxn ang="0">
                  <a:pos x="92" y="594"/>
                </a:cxn>
                <a:cxn ang="0">
                  <a:pos x="71" y="562"/>
                </a:cxn>
                <a:cxn ang="0">
                  <a:pos x="77" y="555"/>
                </a:cxn>
                <a:cxn ang="0">
                  <a:pos x="83" y="538"/>
                </a:cxn>
                <a:cxn ang="0">
                  <a:pos x="62" y="540"/>
                </a:cxn>
                <a:cxn ang="0">
                  <a:pos x="66" y="527"/>
                </a:cxn>
                <a:cxn ang="0">
                  <a:pos x="68" y="521"/>
                </a:cxn>
                <a:cxn ang="0">
                  <a:pos x="62" y="485"/>
                </a:cxn>
                <a:cxn ang="0">
                  <a:pos x="71" y="506"/>
                </a:cxn>
                <a:cxn ang="0">
                  <a:pos x="77" y="484"/>
                </a:cxn>
                <a:cxn ang="0">
                  <a:pos x="58" y="442"/>
                </a:cxn>
                <a:cxn ang="0">
                  <a:pos x="53" y="448"/>
                </a:cxn>
                <a:cxn ang="0">
                  <a:pos x="41" y="405"/>
                </a:cxn>
                <a:cxn ang="0">
                  <a:pos x="23" y="362"/>
                </a:cxn>
                <a:cxn ang="0">
                  <a:pos x="34" y="298"/>
                </a:cxn>
                <a:cxn ang="0">
                  <a:pos x="19" y="244"/>
                </a:cxn>
                <a:cxn ang="0">
                  <a:pos x="15" y="212"/>
                </a:cxn>
                <a:cxn ang="0">
                  <a:pos x="13" y="101"/>
                </a:cxn>
                <a:cxn ang="0">
                  <a:pos x="0" y="13"/>
                </a:cxn>
              </a:cxnLst>
              <a:rect l="0" t="0" r="r" b="b"/>
              <a:pathLst>
                <a:path w="191" h="663">
                  <a:moveTo>
                    <a:pt x="0" y="13"/>
                  </a:moveTo>
                  <a:lnTo>
                    <a:pt x="15" y="0"/>
                  </a:lnTo>
                  <a:lnTo>
                    <a:pt x="34" y="32"/>
                  </a:lnTo>
                  <a:lnTo>
                    <a:pt x="32" y="47"/>
                  </a:lnTo>
                  <a:lnTo>
                    <a:pt x="53" y="98"/>
                  </a:lnTo>
                  <a:lnTo>
                    <a:pt x="64" y="99"/>
                  </a:lnTo>
                  <a:lnTo>
                    <a:pt x="64" y="120"/>
                  </a:lnTo>
                  <a:lnTo>
                    <a:pt x="49" y="131"/>
                  </a:lnTo>
                  <a:lnTo>
                    <a:pt x="56" y="169"/>
                  </a:lnTo>
                  <a:lnTo>
                    <a:pt x="43" y="199"/>
                  </a:lnTo>
                  <a:lnTo>
                    <a:pt x="40" y="255"/>
                  </a:lnTo>
                  <a:lnTo>
                    <a:pt x="62" y="304"/>
                  </a:lnTo>
                  <a:lnTo>
                    <a:pt x="58" y="328"/>
                  </a:lnTo>
                  <a:lnTo>
                    <a:pt x="64" y="343"/>
                  </a:lnTo>
                  <a:lnTo>
                    <a:pt x="58" y="356"/>
                  </a:lnTo>
                  <a:lnTo>
                    <a:pt x="69" y="390"/>
                  </a:lnTo>
                  <a:lnTo>
                    <a:pt x="71" y="435"/>
                  </a:lnTo>
                  <a:lnTo>
                    <a:pt x="81" y="452"/>
                  </a:lnTo>
                  <a:lnTo>
                    <a:pt x="81" y="467"/>
                  </a:lnTo>
                  <a:lnTo>
                    <a:pt x="96" y="495"/>
                  </a:lnTo>
                  <a:lnTo>
                    <a:pt x="105" y="502"/>
                  </a:lnTo>
                  <a:lnTo>
                    <a:pt x="99" y="502"/>
                  </a:lnTo>
                  <a:lnTo>
                    <a:pt x="114" y="536"/>
                  </a:lnTo>
                  <a:lnTo>
                    <a:pt x="116" y="592"/>
                  </a:lnTo>
                  <a:lnTo>
                    <a:pt x="124" y="609"/>
                  </a:lnTo>
                  <a:lnTo>
                    <a:pt x="137" y="607"/>
                  </a:lnTo>
                  <a:lnTo>
                    <a:pt x="156" y="632"/>
                  </a:lnTo>
                  <a:lnTo>
                    <a:pt x="189" y="635"/>
                  </a:lnTo>
                  <a:lnTo>
                    <a:pt x="189" y="635"/>
                  </a:lnTo>
                  <a:lnTo>
                    <a:pt x="191" y="641"/>
                  </a:lnTo>
                  <a:lnTo>
                    <a:pt x="178" y="645"/>
                  </a:lnTo>
                  <a:lnTo>
                    <a:pt x="184" y="661"/>
                  </a:lnTo>
                  <a:lnTo>
                    <a:pt x="180" y="663"/>
                  </a:lnTo>
                  <a:lnTo>
                    <a:pt x="163" y="656"/>
                  </a:lnTo>
                  <a:lnTo>
                    <a:pt x="173" y="652"/>
                  </a:lnTo>
                  <a:lnTo>
                    <a:pt x="174" y="646"/>
                  </a:lnTo>
                  <a:lnTo>
                    <a:pt x="167" y="645"/>
                  </a:lnTo>
                  <a:lnTo>
                    <a:pt x="159" y="656"/>
                  </a:lnTo>
                  <a:lnTo>
                    <a:pt x="126" y="633"/>
                  </a:lnTo>
                  <a:lnTo>
                    <a:pt x="122" y="639"/>
                  </a:lnTo>
                  <a:lnTo>
                    <a:pt x="113" y="635"/>
                  </a:lnTo>
                  <a:lnTo>
                    <a:pt x="109" y="628"/>
                  </a:lnTo>
                  <a:lnTo>
                    <a:pt x="118" y="628"/>
                  </a:lnTo>
                  <a:lnTo>
                    <a:pt x="118" y="622"/>
                  </a:lnTo>
                  <a:lnTo>
                    <a:pt x="113" y="613"/>
                  </a:lnTo>
                  <a:lnTo>
                    <a:pt x="113" y="620"/>
                  </a:lnTo>
                  <a:lnTo>
                    <a:pt x="103" y="624"/>
                  </a:lnTo>
                  <a:lnTo>
                    <a:pt x="101" y="607"/>
                  </a:lnTo>
                  <a:lnTo>
                    <a:pt x="107" y="609"/>
                  </a:lnTo>
                  <a:lnTo>
                    <a:pt x="101" y="596"/>
                  </a:lnTo>
                  <a:lnTo>
                    <a:pt x="96" y="609"/>
                  </a:lnTo>
                  <a:lnTo>
                    <a:pt x="92" y="594"/>
                  </a:lnTo>
                  <a:lnTo>
                    <a:pt x="84" y="594"/>
                  </a:lnTo>
                  <a:lnTo>
                    <a:pt x="71" y="562"/>
                  </a:lnTo>
                  <a:lnTo>
                    <a:pt x="71" y="557"/>
                  </a:lnTo>
                  <a:lnTo>
                    <a:pt x="77" y="555"/>
                  </a:lnTo>
                  <a:lnTo>
                    <a:pt x="86" y="566"/>
                  </a:lnTo>
                  <a:lnTo>
                    <a:pt x="83" y="538"/>
                  </a:lnTo>
                  <a:lnTo>
                    <a:pt x="66" y="536"/>
                  </a:lnTo>
                  <a:lnTo>
                    <a:pt x="62" y="540"/>
                  </a:lnTo>
                  <a:lnTo>
                    <a:pt x="58" y="534"/>
                  </a:lnTo>
                  <a:lnTo>
                    <a:pt x="66" y="527"/>
                  </a:lnTo>
                  <a:lnTo>
                    <a:pt x="60" y="523"/>
                  </a:lnTo>
                  <a:lnTo>
                    <a:pt x="68" y="521"/>
                  </a:lnTo>
                  <a:lnTo>
                    <a:pt x="58" y="491"/>
                  </a:lnTo>
                  <a:lnTo>
                    <a:pt x="62" y="485"/>
                  </a:lnTo>
                  <a:lnTo>
                    <a:pt x="69" y="491"/>
                  </a:lnTo>
                  <a:lnTo>
                    <a:pt x="71" y="506"/>
                  </a:lnTo>
                  <a:lnTo>
                    <a:pt x="79" y="515"/>
                  </a:lnTo>
                  <a:lnTo>
                    <a:pt x="77" y="484"/>
                  </a:lnTo>
                  <a:lnTo>
                    <a:pt x="66" y="446"/>
                  </a:lnTo>
                  <a:lnTo>
                    <a:pt x="58" y="442"/>
                  </a:lnTo>
                  <a:lnTo>
                    <a:pt x="58" y="448"/>
                  </a:lnTo>
                  <a:lnTo>
                    <a:pt x="53" y="448"/>
                  </a:lnTo>
                  <a:lnTo>
                    <a:pt x="43" y="433"/>
                  </a:lnTo>
                  <a:lnTo>
                    <a:pt x="41" y="405"/>
                  </a:lnTo>
                  <a:lnTo>
                    <a:pt x="25" y="373"/>
                  </a:lnTo>
                  <a:lnTo>
                    <a:pt x="23" y="362"/>
                  </a:lnTo>
                  <a:lnTo>
                    <a:pt x="30" y="362"/>
                  </a:lnTo>
                  <a:lnTo>
                    <a:pt x="34" y="298"/>
                  </a:lnTo>
                  <a:lnTo>
                    <a:pt x="34" y="277"/>
                  </a:lnTo>
                  <a:lnTo>
                    <a:pt x="19" y="244"/>
                  </a:lnTo>
                  <a:lnTo>
                    <a:pt x="23" y="231"/>
                  </a:lnTo>
                  <a:lnTo>
                    <a:pt x="15" y="212"/>
                  </a:lnTo>
                  <a:lnTo>
                    <a:pt x="21" y="163"/>
                  </a:lnTo>
                  <a:lnTo>
                    <a:pt x="13" y="101"/>
                  </a:lnTo>
                  <a:lnTo>
                    <a:pt x="15" y="73"/>
                  </a:lnTo>
                  <a:lnTo>
                    <a:pt x="0" y="13"/>
                  </a:lnTo>
                  <a:lnTo>
                    <a:pt x="0" y="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91" name="Freeform 5762"/>
            <p:cNvSpPr>
              <a:spLocks/>
            </p:cNvSpPr>
            <p:nvPr>
              <p:custDataLst>
                <p:tags r:id="rId127"/>
              </p:custDataLst>
            </p:nvPr>
          </p:nvSpPr>
          <p:spPr bwMode="gray">
            <a:xfrm>
              <a:off x="6798545" y="3236705"/>
              <a:ext cx="7699" cy="11561"/>
            </a:xfrm>
            <a:custGeom>
              <a:avLst/>
              <a:gdLst/>
              <a:ahLst/>
              <a:cxnLst>
                <a:cxn ang="0">
                  <a:pos x="0" y="0"/>
                </a:cxn>
                <a:cxn ang="0">
                  <a:pos x="4" y="9"/>
                </a:cxn>
                <a:cxn ang="0">
                  <a:pos x="4" y="9"/>
                </a:cxn>
                <a:cxn ang="0">
                  <a:pos x="6" y="6"/>
                </a:cxn>
                <a:cxn ang="0">
                  <a:pos x="4" y="2"/>
                </a:cxn>
                <a:cxn ang="0">
                  <a:pos x="0" y="0"/>
                </a:cxn>
                <a:cxn ang="0">
                  <a:pos x="0" y="0"/>
                </a:cxn>
              </a:cxnLst>
              <a:rect l="0" t="0" r="r" b="b"/>
              <a:pathLst>
                <a:path w="6" h="9">
                  <a:moveTo>
                    <a:pt x="0" y="0"/>
                  </a:moveTo>
                  <a:lnTo>
                    <a:pt x="4" y="9"/>
                  </a:lnTo>
                  <a:lnTo>
                    <a:pt x="4" y="9"/>
                  </a:lnTo>
                  <a:lnTo>
                    <a:pt x="6" y="6"/>
                  </a:lnTo>
                  <a:lnTo>
                    <a:pt x="4" y="2"/>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92" name="Freeform 5763"/>
            <p:cNvSpPr>
              <a:spLocks/>
            </p:cNvSpPr>
            <p:nvPr>
              <p:custDataLst>
                <p:tags r:id="rId128"/>
              </p:custDataLst>
            </p:nvPr>
          </p:nvSpPr>
          <p:spPr bwMode="gray">
            <a:xfrm>
              <a:off x="7029501" y="3126233"/>
              <a:ext cx="327189" cy="184977"/>
            </a:xfrm>
            <a:custGeom>
              <a:avLst/>
              <a:gdLst/>
              <a:ahLst/>
              <a:cxnLst>
                <a:cxn ang="0">
                  <a:pos x="95" y="120"/>
                </a:cxn>
                <a:cxn ang="0">
                  <a:pos x="97" y="125"/>
                </a:cxn>
                <a:cxn ang="0">
                  <a:pos x="114" y="125"/>
                </a:cxn>
                <a:cxn ang="0">
                  <a:pos x="112" y="120"/>
                </a:cxn>
                <a:cxn ang="0">
                  <a:pos x="122" y="116"/>
                </a:cxn>
                <a:cxn ang="0">
                  <a:pos x="129" y="103"/>
                </a:cxn>
                <a:cxn ang="0">
                  <a:pos x="148" y="103"/>
                </a:cxn>
                <a:cxn ang="0">
                  <a:pos x="144" y="109"/>
                </a:cxn>
                <a:cxn ang="0">
                  <a:pos x="172" y="116"/>
                </a:cxn>
                <a:cxn ang="0">
                  <a:pos x="157" y="125"/>
                </a:cxn>
                <a:cxn ang="0">
                  <a:pos x="172" y="133"/>
                </a:cxn>
                <a:cxn ang="0">
                  <a:pos x="170" y="139"/>
                </a:cxn>
                <a:cxn ang="0">
                  <a:pos x="176" y="144"/>
                </a:cxn>
                <a:cxn ang="0">
                  <a:pos x="200" y="131"/>
                </a:cxn>
                <a:cxn ang="0">
                  <a:pos x="213" y="131"/>
                </a:cxn>
                <a:cxn ang="0">
                  <a:pos x="213" y="127"/>
                </a:cxn>
                <a:cxn ang="0">
                  <a:pos x="200" y="127"/>
                </a:cxn>
                <a:cxn ang="0">
                  <a:pos x="182" y="116"/>
                </a:cxn>
                <a:cxn ang="0">
                  <a:pos x="225" y="94"/>
                </a:cxn>
                <a:cxn ang="0">
                  <a:pos x="234" y="94"/>
                </a:cxn>
                <a:cxn ang="0">
                  <a:pos x="234" y="84"/>
                </a:cxn>
                <a:cxn ang="0">
                  <a:pos x="241" y="79"/>
                </a:cxn>
                <a:cxn ang="0">
                  <a:pos x="253" y="80"/>
                </a:cxn>
                <a:cxn ang="0">
                  <a:pos x="251" y="64"/>
                </a:cxn>
                <a:cxn ang="0">
                  <a:pos x="255" y="62"/>
                </a:cxn>
                <a:cxn ang="0">
                  <a:pos x="249" y="60"/>
                </a:cxn>
                <a:cxn ang="0">
                  <a:pos x="255" y="50"/>
                </a:cxn>
                <a:cxn ang="0">
                  <a:pos x="223" y="41"/>
                </a:cxn>
                <a:cxn ang="0">
                  <a:pos x="213" y="34"/>
                </a:cxn>
                <a:cxn ang="0">
                  <a:pos x="187" y="34"/>
                </a:cxn>
                <a:cxn ang="0">
                  <a:pos x="178" y="19"/>
                </a:cxn>
                <a:cxn ang="0">
                  <a:pos x="167" y="17"/>
                </a:cxn>
                <a:cxn ang="0">
                  <a:pos x="168" y="9"/>
                </a:cxn>
                <a:cxn ang="0">
                  <a:pos x="157" y="0"/>
                </a:cxn>
                <a:cxn ang="0">
                  <a:pos x="131" y="4"/>
                </a:cxn>
                <a:cxn ang="0">
                  <a:pos x="120" y="5"/>
                </a:cxn>
                <a:cxn ang="0">
                  <a:pos x="112" y="19"/>
                </a:cxn>
                <a:cxn ang="0">
                  <a:pos x="93" y="13"/>
                </a:cxn>
                <a:cxn ang="0">
                  <a:pos x="75" y="17"/>
                </a:cxn>
                <a:cxn ang="0">
                  <a:pos x="49" y="7"/>
                </a:cxn>
                <a:cxn ang="0">
                  <a:pos x="17" y="13"/>
                </a:cxn>
                <a:cxn ang="0">
                  <a:pos x="24" y="34"/>
                </a:cxn>
                <a:cxn ang="0">
                  <a:pos x="4" y="58"/>
                </a:cxn>
                <a:cxn ang="0">
                  <a:pos x="0" y="69"/>
                </a:cxn>
                <a:cxn ang="0">
                  <a:pos x="2" y="71"/>
                </a:cxn>
                <a:cxn ang="0">
                  <a:pos x="11" y="79"/>
                </a:cxn>
                <a:cxn ang="0">
                  <a:pos x="41" y="80"/>
                </a:cxn>
                <a:cxn ang="0">
                  <a:pos x="64" y="73"/>
                </a:cxn>
                <a:cxn ang="0">
                  <a:pos x="77" y="69"/>
                </a:cxn>
                <a:cxn ang="0">
                  <a:pos x="101" y="77"/>
                </a:cxn>
                <a:cxn ang="0">
                  <a:pos x="103" y="86"/>
                </a:cxn>
                <a:cxn ang="0">
                  <a:pos x="114" y="99"/>
                </a:cxn>
                <a:cxn ang="0">
                  <a:pos x="116" y="107"/>
                </a:cxn>
                <a:cxn ang="0">
                  <a:pos x="103" y="107"/>
                </a:cxn>
                <a:cxn ang="0">
                  <a:pos x="95" y="120"/>
                </a:cxn>
                <a:cxn ang="0">
                  <a:pos x="95" y="120"/>
                </a:cxn>
              </a:cxnLst>
              <a:rect l="0" t="0" r="r" b="b"/>
              <a:pathLst>
                <a:path w="255" h="144">
                  <a:moveTo>
                    <a:pt x="95" y="120"/>
                  </a:moveTo>
                  <a:lnTo>
                    <a:pt x="97" y="125"/>
                  </a:lnTo>
                  <a:lnTo>
                    <a:pt x="114" y="125"/>
                  </a:lnTo>
                  <a:lnTo>
                    <a:pt x="112" y="120"/>
                  </a:lnTo>
                  <a:lnTo>
                    <a:pt x="122" y="116"/>
                  </a:lnTo>
                  <a:lnTo>
                    <a:pt x="129" y="103"/>
                  </a:lnTo>
                  <a:lnTo>
                    <a:pt x="148" y="103"/>
                  </a:lnTo>
                  <a:lnTo>
                    <a:pt x="144" y="109"/>
                  </a:lnTo>
                  <a:lnTo>
                    <a:pt x="172" y="116"/>
                  </a:lnTo>
                  <a:lnTo>
                    <a:pt x="157" y="125"/>
                  </a:lnTo>
                  <a:lnTo>
                    <a:pt x="172" y="133"/>
                  </a:lnTo>
                  <a:lnTo>
                    <a:pt x="170" y="139"/>
                  </a:lnTo>
                  <a:lnTo>
                    <a:pt x="176" y="144"/>
                  </a:lnTo>
                  <a:lnTo>
                    <a:pt x="200" y="131"/>
                  </a:lnTo>
                  <a:lnTo>
                    <a:pt x="213" y="131"/>
                  </a:lnTo>
                  <a:lnTo>
                    <a:pt x="213" y="127"/>
                  </a:lnTo>
                  <a:lnTo>
                    <a:pt x="200" y="127"/>
                  </a:lnTo>
                  <a:lnTo>
                    <a:pt x="182" y="116"/>
                  </a:lnTo>
                  <a:lnTo>
                    <a:pt x="225" y="94"/>
                  </a:lnTo>
                  <a:lnTo>
                    <a:pt x="234" y="94"/>
                  </a:lnTo>
                  <a:lnTo>
                    <a:pt x="234" y="84"/>
                  </a:lnTo>
                  <a:lnTo>
                    <a:pt x="241" y="79"/>
                  </a:lnTo>
                  <a:lnTo>
                    <a:pt x="253" y="80"/>
                  </a:lnTo>
                  <a:lnTo>
                    <a:pt x="251" y="64"/>
                  </a:lnTo>
                  <a:lnTo>
                    <a:pt x="255" y="62"/>
                  </a:lnTo>
                  <a:lnTo>
                    <a:pt x="249" y="60"/>
                  </a:lnTo>
                  <a:lnTo>
                    <a:pt x="255" y="50"/>
                  </a:lnTo>
                  <a:lnTo>
                    <a:pt x="223" y="41"/>
                  </a:lnTo>
                  <a:lnTo>
                    <a:pt x="213" y="34"/>
                  </a:lnTo>
                  <a:lnTo>
                    <a:pt x="187" y="34"/>
                  </a:lnTo>
                  <a:lnTo>
                    <a:pt x="178" y="19"/>
                  </a:lnTo>
                  <a:lnTo>
                    <a:pt x="167" y="17"/>
                  </a:lnTo>
                  <a:lnTo>
                    <a:pt x="168" y="9"/>
                  </a:lnTo>
                  <a:lnTo>
                    <a:pt x="157" y="0"/>
                  </a:lnTo>
                  <a:lnTo>
                    <a:pt x="131" y="4"/>
                  </a:lnTo>
                  <a:lnTo>
                    <a:pt x="120" y="5"/>
                  </a:lnTo>
                  <a:lnTo>
                    <a:pt x="112" y="19"/>
                  </a:lnTo>
                  <a:lnTo>
                    <a:pt x="93" y="13"/>
                  </a:lnTo>
                  <a:lnTo>
                    <a:pt x="75" y="17"/>
                  </a:lnTo>
                  <a:lnTo>
                    <a:pt x="49" y="7"/>
                  </a:lnTo>
                  <a:lnTo>
                    <a:pt x="17" y="13"/>
                  </a:lnTo>
                  <a:lnTo>
                    <a:pt x="24" y="34"/>
                  </a:lnTo>
                  <a:lnTo>
                    <a:pt x="4" y="58"/>
                  </a:lnTo>
                  <a:lnTo>
                    <a:pt x="0" y="69"/>
                  </a:lnTo>
                  <a:lnTo>
                    <a:pt x="2" y="71"/>
                  </a:lnTo>
                  <a:lnTo>
                    <a:pt x="11" y="79"/>
                  </a:lnTo>
                  <a:lnTo>
                    <a:pt x="41" y="80"/>
                  </a:lnTo>
                  <a:lnTo>
                    <a:pt x="64" y="73"/>
                  </a:lnTo>
                  <a:lnTo>
                    <a:pt x="77" y="69"/>
                  </a:lnTo>
                  <a:lnTo>
                    <a:pt x="101" y="77"/>
                  </a:lnTo>
                  <a:lnTo>
                    <a:pt x="103" y="86"/>
                  </a:lnTo>
                  <a:lnTo>
                    <a:pt x="114" y="99"/>
                  </a:lnTo>
                  <a:lnTo>
                    <a:pt x="116" y="107"/>
                  </a:lnTo>
                  <a:lnTo>
                    <a:pt x="103" y="107"/>
                  </a:lnTo>
                  <a:lnTo>
                    <a:pt x="95" y="120"/>
                  </a:lnTo>
                  <a:lnTo>
                    <a:pt x="95" y="12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93" name="Freeform 5764"/>
            <p:cNvSpPr>
              <a:spLocks/>
            </p:cNvSpPr>
            <p:nvPr>
              <p:custDataLst>
                <p:tags r:id="rId129"/>
              </p:custDataLst>
            </p:nvPr>
          </p:nvSpPr>
          <p:spPr bwMode="gray">
            <a:xfrm>
              <a:off x="7913552" y="3388283"/>
              <a:ext cx="159103" cy="101480"/>
            </a:xfrm>
            <a:custGeom>
              <a:avLst/>
              <a:gdLst/>
              <a:ahLst/>
              <a:cxnLst>
                <a:cxn ang="0">
                  <a:pos x="21" y="73"/>
                </a:cxn>
                <a:cxn ang="0">
                  <a:pos x="38" y="71"/>
                </a:cxn>
                <a:cxn ang="0">
                  <a:pos x="41" y="62"/>
                </a:cxn>
                <a:cxn ang="0">
                  <a:pos x="51" y="64"/>
                </a:cxn>
                <a:cxn ang="0">
                  <a:pos x="58" y="47"/>
                </a:cxn>
                <a:cxn ang="0">
                  <a:pos x="71" y="56"/>
                </a:cxn>
                <a:cxn ang="0">
                  <a:pos x="77" y="79"/>
                </a:cxn>
                <a:cxn ang="0">
                  <a:pos x="101" y="66"/>
                </a:cxn>
                <a:cxn ang="0">
                  <a:pos x="124" y="69"/>
                </a:cxn>
                <a:cxn ang="0">
                  <a:pos x="118" y="49"/>
                </a:cxn>
                <a:cxn ang="0">
                  <a:pos x="105" y="47"/>
                </a:cxn>
                <a:cxn ang="0">
                  <a:pos x="99" y="41"/>
                </a:cxn>
                <a:cxn ang="0">
                  <a:pos x="99" y="28"/>
                </a:cxn>
                <a:cxn ang="0">
                  <a:pos x="75" y="32"/>
                </a:cxn>
                <a:cxn ang="0">
                  <a:pos x="60" y="26"/>
                </a:cxn>
                <a:cxn ang="0">
                  <a:pos x="30" y="26"/>
                </a:cxn>
                <a:cxn ang="0">
                  <a:pos x="26" y="19"/>
                </a:cxn>
                <a:cxn ang="0">
                  <a:pos x="45" y="19"/>
                </a:cxn>
                <a:cxn ang="0">
                  <a:pos x="51" y="15"/>
                </a:cxn>
                <a:cxn ang="0">
                  <a:pos x="45" y="15"/>
                </a:cxn>
                <a:cxn ang="0">
                  <a:pos x="39" y="0"/>
                </a:cxn>
                <a:cxn ang="0">
                  <a:pos x="24" y="6"/>
                </a:cxn>
                <a:cxn ang="0">
                  <a:pos x="26" y="15"/>
                </a:cxn>
                <a:cxn ang="0">
                  <a:pos x="19" y="19"/>
                </a:cxn>
                <a:cxn ang="0">
                  <a:pos x="17" y="26"/>
                </a:cxn>
                <a:cxn ang="0">
                  <a:pos x="2" y="26"/>
                </a:cxn>
                <a:cxn ang="0">
                  <a:pos x="0" y="32"/>
                </a:cxn>
                <a:cxn ang="0">
                  <a:pos x="13" y="38"/>
                </a:cxn>
                <a:cxn ang="0">
                  <a:pos x="21" y="53"/>
                </a:cxn>
                <a:cxn ang="0">
                  <a:pos x="15" y="73"/>
                </a:cxn>
                <a:cxn ang="0">
                  <a:pos x="21" y="73"/>
                </a:cxn>
                <a:cxn ang="0">
                  <a:pos x="21" y="73"/>
                </a:cxn>
              </a:cxnLst>
              <a:rect l="0" t="0" r="r" b="b"/>
              <a:pathLst>
                <a:path w="124" h="79">
                  <a:moveTo>
                    <a:pt x="21" y="73"/>
                  </a:moveTo>
                  <a:lnTo>
                    <a:pt x="38" y="71"/>
                  </a:lnTo>
                  <a:lnTo>
                    <a:pt x="41" y="62"/>
                  </a:lnTo>
                  <a:lnTo>
                    <a:pt x="51" y="64"/>
                  </a:lnTo>
                  <a:lnTo>
                    <a:pt x="58" y="47"/>
                  </a:lnTo>
                  <a:lnTo>
                    <a:pt x="71" y="56"/>
                  </a:lnTo>
                  <a:lnTo>
                    <a:pt x="77" y="79"/>
                  </a:lnTo>
                  <a:lnTo>
                    <a:pt x="101" y="66"/>
                  </a:lnTo>
                  <a:lnTo>
                    <a:pt x="124" y="69"/>
                  </a:lnTo>
                  <a:lnTo>
                    <a:pt x="118" y="49"/>
                  </a:lnTo>
                  <a:lnTo>
                    <a:pt x="105" y="47"/>
                  </a:lnTo>
                  <a:lnTo>
                    <a:pt x="99" y="41"/>
                  </a:lnTo>
                  <a:lnTo>
                    <a:pt x="99" y="28"/>
                  </a:lnTo>
                  <a:lnTo>
                    <a:pt x="75" y="32"/>
                  </a:lnTo>
                  <a:lnTo>
                    <a:pt x="60" y="26"/>
                  </a:lnTo>
                  <a:lnTo>
                    <a:pt x="30" y="26"/>
                  </a:lnTo>
                  <a:lnTo>
                    <a:pt x="26" y="19"/>
                  </a:lnTo>
                  <a:lnTo>
                    <a:pt x="45" y="19"/>
                  </a:lnTo>
                  <a:lnTo>
                    <a:pt x="51" y="15"/>
                  </a:lnTo>
                  <a:lnTo>
                    <a:pt x="45" y="15"/>
                  </a:lnTo>
                  <a:lnTo>
                    <a:pt x="39" y="0"/>
                  </a:lnTo>
                  <a:lnTo>
                    <a:pt x="24" y="6"/>
                  </a:lnTo>
                  <a:lnTo>
                    <a:pt x="26" y="15"/>
                  </a:lnTo>
                  <a:lnTo>
                    <a:pt x="19" y="19"/>
                  </a:lnTo>
                  <a:lnTo>
                    <a:pt x="17" y="26"/>
                  </a:lnTo>
                  <a:lnTo>
                    <a:pt x="2" y="26"/>
                  </a:lnTo>
                  <a:lnTo>
                    <a:pt x="0" y="32"/>
                  </a:lnTo>
                  <a:lnTo>
                    <a:pt x="13" y="38"/>
                  </a:lnTo>
                  <a:lnTo>
                    <a:pt x="21" y="53"/>
                  </a:lnTo>
                  <a:lnTo>
                    <a:pt x="15" y="73"/>
                  </a:lnTo>
                  <a:lnTo>
                    <a:pt x="21" y="73"/>
                  </a:lnTo>
                  <a:lnTo>
                    <a:pt x="21" y="7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94" name="Freeform 5765"/>
            <p:cNvSpPr>
              <a:spLocks/>
            </p:cNvSpPr>
            <p:nvPr>
              <p:custDataLst>
                <p:tags r:id="rId130"/>
              </p:custDataLst>
            </p:nvPr>
          </p:nvSpPr>
          <p:spPr bwMode="gray">
            <a:xfrm>
              <a:off x="7946913" y="3338185"/>
              <a:ext cx="195030" cy="91204"/>
            </a:xfrm>
            <a:custGeom>
              <a:avLst/>
              <a:gdLst/>
              <a:ahLst/>
              <a:cxnLst>
                <a:cxn ang="0">
                  <a:pos x="25" y="54"/>
                </a:cxn>
                <a:cxn ang="0">
                  <a:pos x="19" y="58"/>
                </a:cxn>
                <a:cxn ang="0">
                  <a:pos x="0" y="58"/>
                </a:cxn>
                <a:cxn ang="0">
                  <a:pos x="4" y="65"/>
                </a:cxn>
                <a:cxn ang="0">
                  <a:pos x="34" y="65"/>
                </a:cxn>
                <a:cxn ang="0">
                  <a:pos x="49" y="71"/>
                </a:cxn>
                <a:cxn ang="0">
                  <a:pos x="73" y="67"/>
                </a:cxn>
                <a:cxn ang="0">
                  <a:pos x="73" y="58"/>
                </a:cxn>
                <a:cxn ang="0">
                  <a:pos x="83" y="48"/>
                </a:cxn>
                <a:cxn ang="0">
                  <a:pos x="109" y="48"/>
                </a:cxn>
                <a:cxn ang="0">
                  <a:pos x="111" y="41"/>
                </a:cxn>
                <a:cxn ang="0">
                  <a:pos x="128" y="39"/>
                </a:cxn>
                <a:cxn ang="0">
                  <a:pos x="152" y="22"/>
                </a:cxn>
                <a:cxn ang="0">
                  <a:pos x="152" y="17"/>
                </a:cxn>
                <a:cxn ang="0">
                  <a:pos x="135" y="7"/>
                </a:cxn>
                <a:cxn ang="0">
                  <a:pos x="77" y="5"/>
                </a:cxn>
                <a:cxn ang="0">
                  <a:pos x="57" y="0"/>
                </a:cxn>
                <a:cxn ang="0">
                  <a:pos x="49" y="3"/>
                </a:cxn>
                <a:cxn ang="0">
                  <a:pos x="49" y="13"/>
                </a:cxn>
                <a:cxn ang="0">
                  <a:pos x="15" y="9"/>
                </a:cxn>
                <a:cxn ang="0">
                  <a:pos x="13" y="15"/>
                </a:cxn>
                <a:cxn ang="0">
                  <a:pos x="19" y="18"/>
                </a:cxn>
                <a:cxn ang="0">
                  <a:pos x="8" y="32"/>
                </a:cxn>
                <a:cxn ang="0">
                  <a:pos x="27" y="37"/>
                </a:cxn>
                <a:cxn ang="0">
                  <a:pos x="28" y="30"/>
                </a:cxn>
                <a:cxn ang="0">
                  <a:pos x="55" y="43"/>
                </a:cxn>
                <a:cxn ang="0">
                  <a:pos x="40" y="52"/>
                </a:cxn>
                <a:cxn ang="0">
                  <a:pos x="25" y="54"/>
                </a:cxn>
                <a:cxn ang="0">
                  <a:pos x="25" y="54"/>
                </a:cxn>
              </a:cxnLst>
              <a:rect l="0" t="0" r="r" b="b"/>
              <a:pathLst>
                <a:path w="152" h="71">
                  <a:moveTo>
                    <a:pt x="25" y="54"/>
                  </a:moveTo>
                  <a:lnTo>
                    <a:pt x="19" y="58"/>
                  </a:lnTo>
                  <a:lnTo>
                    <a:pt x="0" y="58"/>
                  </a:lnTo>
                  <a:lnTo>
                    <a:pt x="4" y="65"/>
                  </a:lnTo>
                  <a:lnTo>
                    <a:pt x="34" y="65"/>
                  </a:lnTo>
                  <a:lnTo>
                    <a:pt x="49" y="71"/>
                  </a:lnTo>
                  <a:lnTo>
                    <a:pt x="73" y="67"/>
                  </a:lnTo>
                  <a:lnTo>
                    <a:pt x="73" y="58"/>
                  </a:lnTo>
                  <a:lnTo>
                    <a:pt x="83" y="48"/>
                  </a:lnTo>
                  <a:lnTo>
                    <a:pt x="109" y="48"/>
                  </a:lnTo>
                  <a:lnTo>
                    <a:pt x="111" y="41"/>
                  </a:lnTo>
                  <a:lnTo>
                    <a:pt x="128" y="39"/>
                  </a:lnTo>
                  <a:lnTo>
                    <a:pt x="152" y="22"/>
                  </a:lnTo>
                  <a:lnTo>
                    <a:pt x="152" y="17"/>
                  </a:lnTo>
                  <a:lnTo>
                    <a:pt x="135" y="7"/>
                  </a:lnTo>
                  <a:lnTo>
                    <a:pt x="77" y="5"/>
                  </a:lnTo>
                  <a:lnTo>
                    <a:pt x="57" y="0"/>
                  </a:lnTo>
                  <a:lnTo>
                    <a:pt x="49" y="3"/>
                  </a:lnTo>
                  <a:lnTo>
                    <a:pt x="49" y="13"/>
                  </a:lnTo>
                  <a:lnTo>
                    <a:pt x="15" y="9"/>
                  </a:lnTo>
                  <a:lnTo>
                    <a:pt x="13" y="15"/>
                  </a:lnTo>
                  <a:lnTo>
                    <a:pt x="19" y="18"/>
                  </a:lnTo>
                  <a:lnTo>
                    <a:pt x="8" y="32"/>
                  </a:lnTo>
                  <a:lnTo>
                    <a:pt x="27" y="37"/>
                  </a:lnTo>
                  <a:lnTo>
                    <a:pt x="28" y="30"/>
                  </a:lnTo>
                  <a:lnTo>
                    <a:pt x="55" y="43"/>
                  </a:lnTo>
                  <a:lnTo>
                    <a:pt x="40" y="52"/>
                  </a:lnTo>
                  <a:lnTo>
                    <a:pt x="25" y="54"/>
                  </a:lnTo>
                  <a:lnTo>
                    <a:pt x="25" y="5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95" name="Freeform 5766"/>
            <p:cNvSpPr>
              <a:spLocks/>
            </p:cNvSpPr>
            <p:nvPr>
              <p:custDataLst>
                <p:tags r:id="rId131"/>
              </p:custDataLst>
            </p:nvPr>
          </p:nvSpPr>
          <p:spPr bwMode="gray">
            <a:xfrm>
              <a:off x="7615875" y="3347177"/>
              <a:ext cx="292545" cy="170846"/>
            </a:xfrm>
            <a:custGeom>
              <a:avLst/>
              <a:gdLst/>
              <a:ahLst/>
              <a:cxnLst>
                <a:cxn ang="0">
                  <a:pos x="56" y="28"/>
                </a:cxn>
                <a:cxn ang="0">
                  <a:pos x="69" y="28"/>
                </a:cxn>
                <a:cxn ang="0">
                  <a:pos x="67" y="15"/>
                </a:cxn>
                <a:cxn ang="0">
                  <a:pos x="80" y="6"/>
                </a:cxn>
                <a:cxn ang="0">
                  <a:pos x="82" y="4"/>
                </a:cxn>
                <a:cxn ang="0">
                  <a:pos x="88" y="0"/>
                </a:cxn>
                <a:cxn ang="0">
                  <a:pos x="110" y="10"/>
                </a:cxn>
                <a:cxn ang="0">
                  <a:pos x="116" y="26"/>
                </a:cxn>
                <a:cxn ang="0">
                  <a:pos x="144" y="30"/>
                </a:cxn>
                <a:cxn ang="0">
                  <a:pos x="159" y="55"/>
                </a:cxn>
                <a:cxn ang="0">
                  <a:pos x="210" y="83"/>
                </a:cxn>
                <a:cxn ang="0">
                  <a:pos x="225" y="86"/>
                </a:cxn>
                <a:cxn ang="0">
                  <a:pos x="228" y="100"/>
                </a:cxn>
                <a:cxn ang="0">
                  <a:pos x="215" y="96"/>
                </a:cxn>
                <a:cxn ang="0">
                  <a:pos x="213" y="101"/>
                </a:cxn>
                <a:cxn ang="0">
                  <a:pos x="206" y="101"/>
                </a:cxn>
                <a:cxn ang="0">
                  <a:pos x="202" y="118"/>
                </a:cxn>
                <a:cxn ang="0">
                  <a:pos x="185" y="128"/>
                </a:cxn>
                <a:cxn ang="0">
                  <a:pos x="178" y="133"/>
                </a:cxn>
                <a:cxn ang="0">
                  <a:pos x="155" y="128"/>
                </a:cxn>
                <a:cxn ang="0">
                  <a:pos x="155" y="128"/>
                </a:cxn>
                <a:cxn ang="0">
                  <a:pos x="153" y="116"/>
                </a:cxn>
                <a:cxn ang="0">
                  <a:pos x="82" y="83"/>
                </a:cxn>
                <a:cxn ang="0">
                  <a:pos x="58" y="85"/>
                </a:cxn>
                <a:cxn ang="0">
                  <a:pos x="37" y="98"/>
                </a:cxn>
                <a:cxn ang="0">
                  <a:pos x="34" y="68"/>
                </a:cxn>
                <a:cxn ang="0">
                  <a:pos x="28" y="66"/>
                </a:cxn>
                <a:cxn ang="0">
                  <a:pos x="22" y="51"/>
                </a:cxn>
                <a:cxn ang="0">
                  <a:pos x="11" y="51"/>
                </a:cxn>
                <a:cxn ang="0">
                  <a:pos x="9" y="45"/>
                </a:cxn>
                <a:cxn ang="0">
                  <a:pos x="11" y="36"/>
                </a:cxn>
                <a:cxn ang="0">
                  <a:pos x="32" y="40"/>
                </a:cxn>
                <a:cxn ang="0">
                  <a:pos x="39" y="32"/>
                </a:cxn>
                <a:cxn ang="0">
                  <a:pos x="19" y="13"/>
                </a:cxn>
                <a:cxn ang="0">
                  <a:pos x="9" y="15"/>
                </a:cxn>
                <a:cxn ang="0">
                  <a:pos x="7" y="28"/>
                </a:cxn>
                <a:cxn ang="0">
                  <a:pos x="0" y="15"/>
                </a:cxn>
                <a:cxn ang="0">
                  <a:pos x="9" y="10"/>
                </a:cxn>
                <a:cxn ang="0">
                  <a:pos x="22" y="8"/>
                </a:cxn>
                <a:cxn ang="0">
                  <a:pos x="47" y="28"/>
                </a:cxn>
                <a:cxn ang="0">
                  <a:pos x="56" y="28"/>
                </a:cxn>
                <a:cxn ang="0">
                  <a:pos x="56" y="28"/>
                </a:cxn>
              </a:cxnLst>
              <a:rect l="0" t="0" r="r" b="b"/>
              <a:pathLst>
                <a:path w="228" h="133">
                  <a:moveTo>
                    <a:pt x="56" y="28"/>
                  </a:moveTo>
                  <a:lnTo>
                    <a:pt x="69" y="28"/>
                  </a:lnTo>
                  <a:lnTo>
                    <a:pt x="67" y="15"/>
                  </a:lnTo>
                  <a:lnTo>
                    <a:pt x="80" y="6"/>
                  </a:lnTo>
                  <a:lnTo>
                    <a:pt x="82" y="4"/>
                  </a:lnTo>
                  <a:lnTo>
                    <a:pt x="88" y="0"/>
                  </a:lnTo>
                  <a:lnTo>
                    <a:pt x="110" y="10"/>
                  </a:lnTo>
                  <a:lnTo>
                    <a:pt x="116" y="26"/>
                  </a:lnTo>
                  <a:lnTo>
                    <a:pt x="144" y="30"/>
                  </a:lnTo>
                  <a:lnTo>
                    <a:pt x="159" y="55"/>
                  </a:lnTo>
                  <a:lnTo>
                    <a:pt x="210" y="83"/>
                  </a:lnTo>
                  <a:lnTo>
                    <a:pt x="225" y="86"/>
                  </a:lnTo>
                  <a:lnTo>
                    <a:pt x="228" y="100"/>
                  </a:lnTo>
                  <a:lnTo>
                    <a:pt x="215" y="96"/>
                  </a:lnTo>
                  <a:lnTo>
                    <a:pt x="213" y="101"/>
                  </a:lnTo>
                  <a:lnTo>
                    <a:pt x="206" y="101"/>
                  </a:lnTo>
                  <a:lnTo>
                    <a:pt x="202" y="118"/>
                  </a:lnTo>
                  <a:lnTo>
                    <a:pt x="185" y="128"/>
                  </a:lnTo>
                  <a:lnTo>
                    <a:pt x="178" y="133"/>
                  </a:lnTo>
                  <a:lnTo>
                    <a:pt x="155" y="128"/>
                  </a:lnTo>
                  <a:lnTo>
                    <a:pt x="155" y="128"/>
                  </a:lnTo>
                  <a:lnTo>
                    <a:pt x="153" y="116"/>
                  </a:lnTo>
                  <a:lnTo>
                    <a:pt x="82" y="83"/>
                  </a:lnTo>
                  <a:lnTo>
                    <a:pt x="58" y="85"/>
                  </a:lnTo>
                  <a:lnTo>
                    <a:pt x="37" y="98"/>
                  </a:lnTo>
                  <a:lnTo>
                    <a:pt x="34" y="68"/>
                  </a:lnTo>
                  <a:lnTo>
                    <a:pt x="28" y="66"/>
                  </a:lnTo>
                  <a:lnTo>
                    <a:pt x="22" y="51"/>
                  </a:lnTo>
                  <a:lnTo>
                    <a:pt x="11" y="51"/>
                  </a:lnTo>
                  <a:lnTo>
                    <a:pt x="9" y="45"/>
                  </a:lnTo>
                  <a:lnTo>
                    <a:pt x="11" y="36"/>
                  </a:lnTo>
                  <a:lnTo>
                    <a:pt x="32" y="40"/>
                  </a:lnTo>
                  <a:lnTo>
                    <a:pt x="39" y="32"/>
                  </a:lnTo>
                  <a:lnTo>
                    <a:pt x="19" y="13"/>
                  </a:lnTo>
                  <a:lnTo>
                    <a:pt x="9" y="15"/>
                  </a:lnTo>
                  <a:lnTo>
                    <a:pt x="7" y="28"/>
                  </a:lnTo>
                  <a:lnTo>
                    <a:pt x="0" y="15"/>
                  </a:lnTo>
                  <a:lnTo>
                    <a:pt x="9" y="10"/>
                  </a:lnTo>
                  <a:lnTo>
                    <a:pt x="22" y="8"/>
                  </a:lnTo>
                  <a:lnTo>
                    <a:pt x="47" y="28"/>
                  </a:lnTo>
                  <a:lnTo>
                    <a:pt x="56" y="28"/>
                  </a:lnTo>
                  <a:lnTo>
                    <a:pt x="56" y="2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96" name="Freeform 5767"/>
            <p:cNvSpPr>
              <a:spLocks/>
            </p:cNvSpPr>
            <p:nvPr>
              <p:custDataLst>
                <p:tags r:id="rId132"/>
              </p:custDataLst>
            </p:nvPr>
          </p:nvSpPr>
          <p:spPr bwMode="gray">
            <a:xfrm>
              <a:off x="7046182" y="3038883"/>
              <a:ext cx="162953" cy="111757"/>
            </a:xfrm>
            <a:custGeom>
              <a:avLst/>
              <a:gdLst/>
              <a:ahLst/>
              <a:cxnLst>
                <a:cxn ang="0">
                  <a:pos x="6" y="59"/>
                </a:cxn>
                <a:cxn ang="0">
                  <a:pos x="0" y="72"/>
                </a:cxn>
                <a:cxn ang="0">
                  <a:pos x="4" y="81"/>
                </a:cxn>
                <a:cxn ang="0">
                  <a:pos x="36" y="75"/>
                </a:cxn>
                <a:cxn ang="0">
                  <a:pos x="62" y="85"/>
                </a:cxn>
                <a:cxn ang="0">
                  <a:pos x="80" y="81"/>
                </a:cxn>
                <a:cxn ang="0">
                  <a:pos x="99" y="87"/>
                </a:cxn>
                <a:cxn ang="0">
                  <a:pos x="107" y="73"/>
                </a:cxn>
                <a:cxn ang="0">
                  <a:pos x="118" y="72"/>
                </a:cxn>
                <a:cxn ang="0">
                  <a:pos x="109" y="55"/>
                </a:cxn>
                <a:cxn ang="0">
                  <a:pos x="122" y="55"/>
                </a:cxn>
                <a:cxn ang="0">
                  <a:pos x="127" y="47"/>
                </a:cxn>
                <a:cxn ang="0">
                  <a:pos x="114" y="42"/>
                </a:cxn>
                <a:cxn ang="0">
                  <a:pos x="99" y="25"/>
                </a:cxn>
                <a:cxn ang="0">
                  <a:pos x="97" y="12"/>
                </a:cxn>
                <a:cxn ang="0">
                  <a:pos x="60" y="0"/>
                </a:cxn>
                <a:cxn ang="0">
                  <a:pos x="41" y="10"/>
                </a:cxn>
                <a:cxn ang="0">
                  <a:pos x="41" y="19"/>
                </a:cxn>
                <a:cxn ang="0">
                  <a:pos x="30" y="23"/>
                </a:cxn>
                <a:cxn ang="0">
                  <a:pos x="30" y="36"/>
                </a:cxn>
                <a:cxn ang="0">
                  <a:pos x="0" y="38"/>
                </a:cxn>
                <a:cxn ang="0">
                  <a:pos x="6" y="59"/>
                </a:cxn>
                <a:cxn ang="0">
                  <a:pos x="6" y="59"/>
                </a:cxn>
              </a:cxnLst>
              <a:rect l="0" t="0" r="r" b="b"/>
              <a:pathLst>
                <a:path w="127" h="87">
                  <a:moveTo>
                    <a:pt x="6" y="59"/>
                  </a:moveTo>
                  <a:lnTo>
                    <a:pt x="0" y="72"/>
                  </a:lnTo>
                  <a:lnTo>
                    <a:pt x="4" y="81"/>
                  </a:lnTo>
                  <a:lnTo>
                    <a:pt x="36" y="75"/>
                  </a:lnTo>
                  <a:lnTo>
                    <a:pt x="62" y="85"/>
                  </a:lnTo>
                  <a:lnTo>
                    <a:pt x="80" y="81"/>
                  </a:lnTo>
                  <a:lnTo>
                    <a:pt x="99" y="87"/>
                  </a:lnTo>
                  <a:lnTo>
                    <a:pt x="107" y="73"/>
                  </a:lnTo>
                  <a:lnTo>
                    <a:pt x="118" y="72"/>
                  </a:lnTo>
                  <a:lnTo>
                    <a:pt x="109" y="55"/>
                  </a:lnTo>
                  <a:lnTo>
                    <a:pt x="122" y="55"/>
                  </a:lnTo>
                  <a:lnTo>
                    <a:pt x="127" y="47"/>
                  </a:lnTo>
                  <a:lnTo>
                    <a:pt x="114" y="42"/>
                  </a:lnTo>
                  <a:lnTo>
                    <a:pt x="99" y="25"/>
                  </a:lnTo>
                  <a:lnTo>
                    <a:pt x="97" y="12"/>
                  </a:lnTo>
                  <a:lnTo>
                    <a:pt x="60" y="0"/>
                  </a:lnTo>
                  <a:lnTo>
                    <a:pt x="41" y="10"/>
                  </a:lnTo>
                  <a:lnTo>
                    <a:pt x="41" y="19"/>
                  </a:lnTo>
                  <a:lnTo>
                    <a:pt x="30" y="23"/>
                  </a:lnTo>
                  <a:lnTo>
                    <a:pt x="30" y="36"/>
                  </a:lnTo>
                  <a:lnTo>
                    <a:pt x="0" y="38"/>
                  </a:lnTo>
                  <a:lnTo>
                    <a:pt x="6" y="59"/>
                  </a:lnTo>
                  <a:lnTo>
                    <a:pt x="6" y="5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97" name="Freeform 5768"/>
            <p:cNvSpPr>
              <a:spLocks/>
            </p:cNvSpPr>
            <p:nvPr>
              <p:custDataLst>
                <p:tags r:id="rId133"/>
              </p:custDataLst>
            </p:nvPr>
          </p:nvSpPr>
          <p:spPr bwMode="gray">
            <a:xfrm>
              <a:off x="7035917" y="2964378"/>
              <a:ext cx="75702" cy="43675"/>
            </a:xfrm>
            <a:custGeom>
              <a:avLst/>
              <a:gdLst/>
              <a:ahLst/>
              <a:cxnLst>
                <a:cxn ang="0">
                  <a:pos x="14" y="30"/>
                </a:cxn>
                <a:cxn ang="0">
                  <a:pos x="14" y="23"/>
                </a:cxn>
                <a:cxn ang="0">
                  <a:pos x="6" y="23"/>
                </a:cxn>
                <a:cxn ang="0">
                  <a:pos x="0" y="8"/>
                </a:cxn>
                <a:cxn ang="0">
                  <a:pos x="32" y="0"/>
                </a:cxn>
                <a:cxn ang="0">
                  <a:pos x="59" y="4"/>
                </a:cxn>
                <a:cxn ang="0">
                  <a:pos x="57" y="10"/>
                </a:cxn>
                <a:cxn ang="0">
                  <a:pos x="45" y="13"/>
                </a:cxn>
                <a:cxn ang="0">
                  <a:pos x="57" y="27"/>
                </a:cxn>
                <a:cxn ang="0">
                  <a:pos x="55" y="34"/>
                </a:cxn>
                <a:cxn ang="0">
                  <a:pos x="25" y="27"/>
                </a:cxn>
                <a:cxn ang="0">
                  <a:pos x="14" y="30"/>
                </a:cxn>
                <a:cxn ang="0">
                  <a:pos x="14" y="30"/>
                </a:cxn>
              </a:cxnLst>
              <a:rect l="0" t="0" r="r" b="b"/>
              <a:pathLst>
                <a:path w="59" h="34">
                  <a:moveTo>
                    <a:pt x="14" y="30"/>
                  </a:moveTo>
                  <a:lnTo>
                    <a:pt x="14" y="23"/>
                  </a:lnTo>
                  <a:lnTo>
                    <a:pt x="6" y="23"/>
                  </a:lnTo>
                  <a:lnTo>
                    <a:pt x="0" y="8"/>
                  </a:lnTo>
                  <a:lnTo>
                    <a:pt x="32" y="0"/>
                  </a:lnTo>
                  <a:lnTo>
                    <a:pt x="59" y="4"/>
                  </a:lnTo>
                  <a:lnTo>
                    <a:pt x="57" y="10"/>
                  </a:lnTo>
                  <a:lnTo>
                    <a:pt x="45" y="13"/>
                  </a:lnTo>
                  <a:lnTo>
                    <a:pt x="57" y="27"/>
                  </a:lnTo>
                  <a:lnTo>
                    <a:pt x="55" y="34"/>
                  </a:lnTo>
                  <a:lnTo>
                    <a:pt x="25" y="27"/>
                  </a:lnTo>
                  <a:lnTo>
                    <a:pt x="14" y="30"/>
                  </a:lnTo>
                  <a:lnTo>
                    <a:pt x="14" y="3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98" name="Freeform 5769"/>
            <p:cNvSpPr>
              <a:spLocks/>
            </p:cNvSpPr>
            <p:nvPr>
              <p:custDataLst>
                <p:tags r:id="rId134"/>
              </p:custDataLst>
            </p:nvPr>
          </p:nvSpPr>
          <p:spPr bwMode="gray">
            <a:xfrm>
              <a:off x="6997424" y="2999061"/>
              <a:ext cx="125743" cy="52667"/>
            </a:xfrm>
            <a:custGeom>
              <a:avLst/>
              <a:gdLst/>
              <a:ahLst/>
              <a:cxnLst>
                <a:cxn ang="0">
                  <a:pos x="0" y="33"/>
                </a:cxn>
                <a:cxn ang="0">
                  <a:pos x="2" y="22"/>
                </a:cxn>
                <a:cxn ang="0">
                  <a:pos x="10" y="9"/>
                </a:cxn>
                <a:cxn ang="0">
                  <a:pos x="19" y="7"/>
                </a:cxn>
                <a:cxn ang="0">
                  <a:pos x="38" y="18"/>
                </a:cxn>
                <a:cxn ang="0">
                  <a:pos x="45" y="15"/>
                </a:cxn>
                <a:cxn ang="0">
                  <a:pos x="44" y="3"/>
                </a:cxn>
                <a:cxn ang="0">
                  <a:pos x="55" y="0"/>
                </a:cxn>
                <a:cxn ang="0">
                  <a:pos x="85" y="7"/>
                </a:cxn>
                <a:cxn ang="0">
                  <a:pos x="98" y="31"/>
                </a:cxn>
                <a:cxn ang="0">
                  <a:pos x="79" y="41"/>
                </a:cxn>
                <a:cxn ang="0">
                  <a:pos x="53" y="28"/>
                </a:cxn>
                <a:cxn ang="0">
                  <a:pos x="15" y="28"/>
                </a:cxn>
                <a:cxn ang="0">
                  <a:pos x="0" y="33"/>
                </a:cxn>
                <a:cxn ang="0">
                  <a:pos x="0" y="33"/>
                </a:cxn>
                <a:cxn ang="0">
                  <a:pos x="0" y="33"/>
                </a:cxn>
              </a:cxnLst>
              <a:rect l="0" t="0" r="r" b="b"/>
              <a:pathLst>
                <a:path w="98" h="41">
                  <a:moveTo>
                    <a:pt x="0" y="33"/>
                  </a:moveTo>
                  <a:lnTo>
                    <a:pt x="2" y="22"/>
                  </a:lnTo>
                  <a:lnTo>
                    <a:pt x="10" y="9"/>
                  </a:lnTo>
                  <a:lnTo>
                    <a:pt x="19" y="7"/>
                  </a:lnTo>
                  <a:lnTo>
                    <a:pt x="38" y="18"/>
                  </a:lnTo>
                  <a:lnTo>
                    <a:pt x="45" y="15"/>
                  </a:lnTo>
                  <a:lnTo>
                    <a:pt x="44" y="3"/>
                  </a:lnTo>
                  <a:lnTo>
                    <a:pt x="55" y="0"/>
                  </a:lnTo>
                  <a:lnTo>
                    <a:pt x="85" y="7"/>
                  </a:lnTo>
                  <a:lnTo>
                    <a:pt x="98" y="31"/>
                  </a:lnTo>
                  <a:lnTo>
                    <a:pt x="79" y="41"/>
                  </a:lnTo>
                  <a:lnTo>
                    <a:pt x="53" y="28"/>
                  </a:lnTo>
                  <a:lnTo>
                    <a:pt x="15" y="28"/>
                  </a:lnTo>
                  <a:lnTo>
                    <a:pt x="0" y="33"/>
                  </a:lnTo>
                  <a:lnTo>
                    <a:pt x="0" y="33"/>
                  </a:lnTo>
                  <a:lnTo>
                    <a:pt x="0" y="3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099" name="Freeform 5770"/>
            <p:cNvSpPr>
              <a:spLocks/>
            </p:cNvSpPr>
            <p:nvPr>
              <p:custDataLst>
                <p:tags r:id="rId135"/>
              </p:custDataLst>
            </p:nvPr>
          </p:nvSpPr>
          <p:spPr bwMode="gray">
            <a:xfrm>
              <a:off x="6997424" y="3035029"/>
              <a:ext cx="101364" cy="52667"/>
            </a:xfrm>
            <a:custGeom>
              <a:avLst/>
              <a:gdLst/>
              <a:ahLst/>
              <a:cxnLst>
                <a:cxn ang="0">
                  <a:pos x="38" y="41"/>
                </a:cxn>
                <a:cxn ang="0">
                  <a:pos x="29" y="35"/>
                </a:cxn>
                <a:cxn ang="0">
                  <a:pos x="25" y="24"/>
                </a:cxn>
                <a:cxn ang="0">
                  <a:pos x="0" y="22"/>
                </a:cxn>
                <a:cxn ang="0">
                  <a:pos x="0" y="5"/>
                </a:cxn>
                <a:cxn ang="0">
                  <a:pos x="0" y="5"/>
                </a:cxn>
                <a:cxn ang="0">
                  <a:pos x="15" y="0"/>
                </a:cxn>
                <a:cxn ang="0">
                  <a:pos x="53" y="0"/>
                </a:cxn>
                <a:cxn ang="0">
                  <a:pos x="79" y="13"/>
                </a:cxn>
                <a:cxn ang="0">
                  <a:pos x="79" y="22"/>
                </a:cxn>
                <a:cxn ang="0">
                  <a:pos x="68" y="26"/>
                </a:cxn>
                <a:cxn ang="0">
                  <a:pos x="68" y="39"/>
                </a:cxn>
                <a:cxn ang="0">
                  <a:pos x="38" y="41"/>
                </a:cxn>
                <a:cxn ang="0">
                  <a:pos x="38" y="41"/>
                </a:cxn>
              </a:cxnLst>
              <a:rect l="0" t="0" r="r" b="b"/>
              <a:pathLst>
                <a:path w="79" h="41">
                  <a:moveTo>
                    <a:pt x="38" y="41"/>
                  </a:moveTo>
                  <a:lnTo>
                    <a:pt x="29" y="35"/>
                  </a:lnTo>
                  <a:lnTo>
                    <a:pt x="25" y="24"/>
                  </a:lnTo>
                  <a:lnTo>
                    <a:pt x="0" y="22"/>
                  </a:lnTo>
                  <a:lnTo>
                    <a:pt x="0" y="5"/>
                  </a:lnTo>
                  <a:lnTo>
                    <a:pt x="0" y="5"/>
                  </a:lnTo>
                  <a:lnTo>
                    <a:pt x="15" y="0"/>
                  </a:lnTo>
                  <a:lnTo>
                    <a:pt x="53" y="0"/>
                  </a:lnTo>
                  <a:lnTo>
                    <a:pt x="79" y="13"/>
                  </a:lnTo>
                  <a:lnTo>
                    <a:pt x="79" y="22"/>
                  </a:lnTo>
                  <a:lnTo>
                    <a:pt x="68" y="26"/>
                  </a:lnTo>
                  <a:lnTo>
                    <a:pt x="68" y="39"/>
                  </a:lnTo>
                  <a:lnTo>
                    <a:pt x="38" y="41"/>
                  </a:lnTo>
                  <a:lnTo>
                    <a:pt x="38" y="4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00" name="Freeform 5771"/>
            <p:cNvSpPr>
              <a:spLocks/>
            </p:cNvSpPr>
            <p:nvPr>
              <p:custDataLst>
                <p:tags r:id="rId136"/>
              </p:custDataLst>
            </p:nvPr>
          </p:nvSpPr>
          <p:spPr bwMode="gray">
            <a:xfrm>
              <a:off x="6976895" y="3063289"/>
              <a:ext cx="57739" cy="16699"/>
            </a:xfrm>
            <a:custGeom>
              <a:avLst/>
              <a:gdLst/>
              <a:ahLst/>
              <a:cxnLst>
                <a:cxn ang="0">
                  <a:pos x="0" y="11"/>
                </a:cxn>
                <a:cxn ang="0">
                  <a:pos x="45" y="13"/>
                </a:cxn>
                <a:cxn ang="0">
                  <a:pos x="41" y="2"/>
                </a:cxn>
                <a:cxn ang="0">
                  <a:pos x="16" y="0"/>
                </a:cxn>
                <a:cxn ang="0">
                  <a:pos x="0" y="11"/>
                </a:cxn>
                <a:cxn ang="0">
                  <a:pos x="0" y="11"/>
                </a:cxn>
              </a:cxnLst>
              <a:rect l="0" t="0" r="r" b="b"/>
              <a:pathLst>
                <a:path w="45" h="13">
                  <a:moveTo>
                    <a:pt x="0" y="11"/>
                  </a:moveTo>
                  <a:lnTo>
                    <a:pt x="45" y="13"/>
                  </a:lnTo>
                  <a:lnTo>
                    <a:pt x="41" y="2"/>
                  </a:lnTo>
                  <a:lnTo>
                    <a:pt x="16" y="0"/>
                  </a:lnTo>
                  <a:lnTo>
                    <a:pt x="0" y="11"/>
                  </a:lnTo>
                  <a:lnTo>
                    <a:pt x="0"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01" name="Freeform 5772"/>
            <p:cNvSpPr>
              <a:spLocks/>
            </p:cNvSpPr>
            <p:nvPr>
              <p:custDataLst>
                <p:tags r:id="rId137"/>
              </p:custDataLst>
            </p:nvPr>
          </p:nvSpPr>
          <p:spPr bwMode="gray">
            <a:xfrm>
              <a:off x="7111619" y="3214867"/>
              <a:ext cx="66721" cy="65513"/>
            </a:xfrm>
            <a:custGeom>
              <a:avLst/>
              <a:gdLst/>
              <a:ahLst/>
              <a:cxnLst>
                <a:cxn ang="0">
                  <a:pos x="31" y="51"/>
                </a:cxn>
                <a:cxn ang="0">
                  <a:pos x="24" y="30"/>
                </a:cxn>
                <a:cxn ang="0">
                  <a:pos x="7" y="6"/>
                </a:cxn>
                <a:cxn ang="0">
                  <a:pos x="0" y="4"/>
                </a:cxn>
                <a:cxn ang="0">
                  <a:pos x="13" y="0"/>
                </a:cxn>
                <a:cxn ang="0">
                  <a:pos x="37" y="8"/>
                </a:cxn>
                <a:cxn ang="0">
                  <a:pos x="39" y="17"/>
                </a:cxn>
                <a:cxn ang="0">
                  <a:pos x="50" y="30"/>
                </a:cxn>
                <a:cxn ang="0">
                  <a:pos x="52" y="38"/>
                </a:cxn>
                <a:cxn ang="0">
                  <a:pos x="39" y="38"/>
                </a:cxn>
                <a:cxn ang="0">
                  <a:pos x="31" y="51"/>
                </a:cxn>
                <a:cxn ang="0">
                  <a:pos x="31" y="51"/>
                </a:cxn>
              </a:cxnLst>
              <a:rect l="0" t="0" r="r" b="b"/>
              <a:pathLst>
                <a:path w="52" h="51">
                  <a:moveTo>
                    <a:pt x="31" y="51"/>
                  </a:moveTo>
                  <a:lnTo>
                    <a:pt x="24" y="30"/>
                  </a:lnTo>
                  <a:lnTo>
                    <a:pt x="7" y="6"/>
                  </a:lnTo>
                  <a:lnTo>
                    <a:pt x="0" y="4"/>
                  </a:lnTo>
                  <a:lnTo>
                    <a:pt x="13" y="0"/>
                  </a:lnTo>
                  <a:lnTo>
                    <a:pt x="37" y="8"/>
                  </a:lnTo>
                  <a:lnTo>
                    <a:pt x="39" y="17"/>
                  </a:lnTo>
                  <a:lnTo>
                    <a:pt x="50" y="30"/>
                  </a:lnTo>
                  <a:lnTo>
                    <a:pt x="52" y="38"/>
                  </a:lnTo>
                  <a:lnTo>
                    <a:pt x="39" y="38"/>
                  </a:lnTo>
                  <a:lnTo>
                    <a:pt x="31" y="51"/>
                  </a:lnTo>
                  <a:lnTo>
                    <a:pt x="31" y="5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02" name="Freeform 5773"/>
            <p:cNvSpPr>
              <a:spLocks/>
            </p:cNvSpPr>
            <p:nvPr>
              <p:custDataLst>
                <p:tags r:id="rId138"/>
              </p:custDataLst>
            </p:nvPr>
          </p:nvSpPr>
          <p:spPr bwMode="gray">
            <a:xfrm>
              <a:off x="7375936" y="3330478"/>
              <a:ext cx="129592" cy="57805"/>
            </a:xfrm>
            <a:custGeom>
              <a:avLst/>
              <a:gdLst/>
              <a:ahLst/>
              <a:cxnLst>
                <a:cxn ang="0">
                  <a:pos x="76" y="39"/>
                </a:cxn>
                <a:cxn ang="0">
                  <a:pos x="82" y="38"/>
                </a:cxn>
                <a:cxn ang="0">
                  <a:pos x="101" y="43"/>
                </a:cxn>
                <a:cxn ang="0">
                  <a:pos x="95" y="34"/>
                </a:cxn>
                <a:cxn ang="0">
                  <a:pos x="97" y="28"/>
                </a:cxn>
                <a:cxn ang="0">
                  <a:pos x="97" y="28"/>
                </a:cxn>
                <a:cxn ang="0">
                  <a:pos x="76" y="15"/>
                </a:cxn>
                <a:cxn ang="0">
                  <a:pos x="58" y="17"/>
                </a:cxn>
                <a:cxn ang="0">
                  <a:pos x="41" y="6"/>
                </a:cxn>
                <a:cxn ang="0">
                  <a:pos x="0" y="0"/>
                </a:cxn>
                <a:cxn ang="0">
                  <a:pos x="15" y="9"/>
                </a:cxn>
                <a:cxn ang="0">
                  <a:pos x="28" y="28"/>
                </a:cxn>
                <a:cxn ang="0">
                  <a:pos x="28" y="34"/>
                </a:cxn>
                <a:cxn ang="0">
                  <a:pos x="28" y="34"/>
                </a:cxn>
                <a:cxn ang="0">
                  <a:pos x="48" y="36"/>
                </a:cxn>
                <a:cxn ang="0">
                  <a:pos x="54" y="45"/>
                </a:cxn>
                <a:cxn ang="0">
                  <a:pos x="56" y="43"/>
                </a:cxn>
                <a:cxn ang="0">
                  <a:pos x="76" y="39"/>
                </a:cxn>
                <a:cxn ang="0">
                  <a:pos x="76" y="39"/>
                </a:cxn>
              </a:cxnLst>
              <a:rect l="0" t="0" r="r" b="b"/>
              <a:pathLst>
                <a:path w="101" h="45">
                  <a:moveTo>
                    <a:pt x="76" y="39"/>
                  </a:moveTo>
                  <a:lnTo>
                    <a:pt x="82" y="38"/>
                  </a:lnTo>
                  <a:lnTo>
                    <a:pt x="101" y="43"/>
                  </a:lnTo>
                  <a:lnTo>
                    <a:pt x="95" y="34"/>
                  </a:lnTo>
                  <a:lnTo>
                    <a:pt x="97" y="28"/>
                  </a:lnTo>
                  <a:lnTo>
                    <a:pt x="97" y="28"/>
                  </a:lnTo>
                  <a:lnTo>
                    <a:pt x="76" y="15"/>
                  </a:lnTo>
                  <a:lnTo>
                    <a:pt x="58" y="17"/>
                  </a:lnTo>
                  <a:lnTo>
                    <a:pt x="41" y="6"/>
                  </a:lnTo>
                  <a:lnTo>
                    <a:pt x="0" y="0"/>
                  </a:lnTo>
                  <a:lnTo>
                    <a:pt x="15" y="9"/>
                  </a:lnTo>
                  <a:lnTo>
                    <a:pt x="28" y="28"/>
                  </a:lnTo>
                  <a:lnTo>
                    <a:pt x="28" y="34"/>
                  </a:lnTo>
                  <a:lnTo>
                    <a:pt x="28" y="34"/>
                  </a:lnTo>
                  <a:lnTo>
                    <a:pt x="48" y="36"/>
                  </a:lnTo>
                  <a:lnTo>
                    <a:pt x="54" y="45"/>
                  </a:lnTo>
                  <a:lnTo>
                    <a:pt x="56" y="43"/>
                  </a:lnTo>
                  <a:lnTo>
                    <a:pt x="76" y="39"/>
                  </a:lnTo>
                  <a:lnTo>
                    <a:pt x="76" y="3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03" name="Freeform 5774"/>
            <p:cNvSpPr>
              <a:spLocks/>
            </p:cNvSpPr>
            <p:nvPr>
              <p:custDataLst>
                <p:tags r:id="rId139"/>
              </p:custDataLst>
            </p:nvPr>
          </p:nvSpPr>
          <p:spPr bwMode="gray">
            <a:xfrm>
              <a:off x="7445223" y="3380575"/>
              <a:ext cx="66721" cy="56521"/>
            </a:xfrm>
            <a:custGeom>
              <a:avLst/>
              <a:gdLst/>
              <a:ahLst/>
              <a:cxnLst>
                <a:cxn ang="0">
                  <a:pos x="22" y="27"/>
                </a:cxn>
                <a:cxn ang="0">
                  <a:pos x="11" y="19"/>
                </a:cxn>
                <a:cxn ang="0">
                  <a:pos x="0" y="6"/>
                </a:cxn>
                <a:cxn ang="0">
                  <a:pos x="2" y="4"/>
                </a:cxn>
                <a:cxn ang="0">
                  <a:pos x="22" y="0"/>
                </a:cxn>
                <a:cxn ang="0">
                  <a:pos x="39" y="15"/>
                </a:cxn>
                <a:cxn ang="0">
                  <a:pos x="39" y="23"/>
                </a:cxn>
                <a:cxn ang="0">
                  <a:pos x="50" y="29"/>
                </a:cxn>
                <a:cxn ang="0">
                  <a:pos x="52" y="44"/>
                </a:cxn>
                <a:cxn ang="0">
                  <a:pos x="47" y="44"/>
                </a:cxn>
                <a:cxn ang="0">
                  <a:pos x="39" y="30"/>
                </a:cxn>
                <a:cxn ang="0">
                  <a:pos x="22" y="27"/>
                </a:cxn>
                <a:cxn ang="0">
                  <a:pos x="22" y="27"/>
                </a:cxn>
              </a:cxnLst>
              <a:rect l="0" t="0" r="r" b="b"/>
              <a:pathLst>
                <a:path w="52" h="44">
                  <a:moveTo>
                    <a:pt x="22" y="27"/>
                  </a:moveTo>
                  <a:lnTo>
                    <a:pt x="11" y="19"/>
                  </a:lnTo>
                  <a:lnTo>
                    <a:pt x="0" y="6"/>
                  </a:lnTo>
                  <a:lnTo>
                    <a:pt x="2" y="4"/>
                  </a:lnTo>
                  <a:lnTo>
                    <a:pt x="22" y="0"/>
                  </a:lnTo>
                  <a:lnTo>
                    <a:pt x="39" y="15"/>
                  </a:lnTo>
                  <a:lnTo>
                    <a:pt x="39" y="23"/>
                  </a:lnTo>
                  <a:lnTo>
                    <a:pt x="50" y="29"/>
                  </a:lnTo>
                  <a:lnTo>
                    <a:pt x="52" y="44"/>
                  </a:lnTo>
                  <a:lnTo>
                    <a:pt x="47" y="44"/>
                  </a:lnTo>
                  <a:lnTo>
                    <a:pt x="39" y="30"/>
                  </a:lnTo>
                  <a:lnTo>
                    <a:pt x="22" y="27"/>
                  </a:lnTo>
                  <a:lnTo>
                    <a:pt x="22" y="2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04" name="Freeform 5775"/>
            <p:cNvSpPr>
              <a:spLocks/>
            </p:cNvSpPr>
            <p:nvPr>
              <p:custDataLst>
                <p:tags r:id="rId140"/>
              </p:custDataLst>
            </p:nvPr>
          </p:nvSpPr>
          <p:spPr bwMode="gray">
            <a:xfrm>
              <a:off x="7473451" y="3415258"/>
              <a:ext cx="32077" cy="21838"/>
            </a:xfrm>
            <a:custGeom>
              <a:avLst/>
              <a:gdLst/>
              <a:ahLst/>
              <a:cxnLst>
                <a:cxn ang="0">
                  <a:pos x="25" y="17"/>
                </a:cxn>
                <a:cxn ang="0">
                  <a:pos x="15" y="17"/>
                </a:cxn>
                <a:cxn ang="0">
                  <a:pos x="0" y="0"/>
                </a:cxn>
                <a:cxn ang="0">
                  <a:pos x="17" y="3"/>
                </a:cxn>
                <a:cxn ang="0">
                  <a:pos x="25" y="17"/>
                </a:cxn>
                <a:cxn ang="0">
                  <a:pos x="25" y="17"/>
                </a:cxn>
              </a:cxnLst>
              <a:rect l="0" t="0" r="r" b="b"/>
              <a:pathLst>
                <a:path w="25" h="17">
                  <a:moveTo>
                    <a:pt x="25" y="17"/>
                  </a:moveTo>
                  <a:lnTo>
                    <a:pt x="15" y="17"/>
                  </a:lnTo>
                  <a:lnTo>
                    <a:pt x="0" y="0"/>
                  </a:lnTo>
                  <a:lnTo>
                    <a:pt x="17" y="3"/>
                  </a:lnTo>
                  <a:lnTo>
                    <a:pt x="25" y="17"/>
                  </a:lnTo>
                  <a:lnTo>
                    <a:pt x="25"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05" name="Freeform 5776"/>
            <p:cNvSpPr>
              <a:spLocks/>
            </p:cNvSpPr>
            <p:nvPr>
              <p:custDataLst>
                <p:tags r:id="rId141"/>
              </p:custDataLst>
            </p:nvPr>
          </p:nvSpPr>
          <p:spPr bwMode="gray">
            <a:xfrm>
              <a:off x="7473451" y="3366445"/>
              <a:ext cx="109063" cy="82212"/>
            </a:xfrm>
            <a:custGeom>
              <a:avLst/>
              <a:gdLst/>
              <a:ahLst/>
              <a:cxnLst>
                <a:cxn ang="0">
                  <a:pos x="53" y="2"/>
                </a:cxn>
                <a:cxn ang="0">
                  <a:pos x="66" y="17"/>
                </a:cxn>
                <a:cxn ang="0">
                  <a:pos x="85" y="28"/>
                </a:cxn>
                <a:cxn ang="0">
                  <a:pos x="73" y="36"/>
                </a:cxn>
                <a:cxn ang="0">
                  <a:pos x="72" y="51"/>
                </a:cxn>
                <a:cxn ang="0">
                  <a:pos x="66" y="51"/>
                </a:cxn>
                <a:cxn ang="0">
                  <a:pos x="68" y="64"/>
                </a:cxn>
                <a:cxn ang="0">
                  <a:pos x="68" y="64"/>
                </a:cxn>
                <a:cxn ang="0">
                  <a:pos x="55" y="55"/>
                </a:cxn>
                <a:cxn ang="0">
                  <a:pos x="55" y="43"/>
                </a:cxn>
                <a:cxn ang="0">
                  <a:pos x="51" y="41"/>
                </a:cxn>
                <a:cxn ang="0">
                  <a:pos x="34" y="55"/>
                </a:cxn>
                <a:cxn ang="0">
                  <a:pos x="30" y="55"/>
                </a:cxn>
                <a:cxn ang="0">
                  <a:pos x="28" y="40"/>
                </a:cxn>
                <a:cxn ang="0">
                  <a:pos x="17" y="34"/>
                </a:cxn>
                <a:cxn ang="0">
                  <a:pos x="17" y="26"/>
                </a:cxn>
                <a:cxn ang="0">
                  <a:pos x="0" y="11"/>
                </a:cxn>
                <a:cxn ang="0">
                  <a:pos x="6" y="10"/>
                </a:cxn>
                <a:cxn ang="0">
                  <a:pos x="25" y="15"/>
                </a:cxn>
                <a:cxn ang="0">
                  <a:pos x="19" y="6"/>
                </a:cxn>
                <a:cxn ang="0">
                  <a:pos x="21" y="0"/>
                </a:cxn>
                <a:cxn ang="0">
                  <a:pos x="21" y="0"/>
                </a:cxn>
                <a:cxn ang="0">
                  <a:pos x="36" y="13"/>
                </a:cxn>
                <a:cxn ang="0">
                  <a:pos x="45" y="13"/>
                </a:cxn>
                <a:cxn ang="0">
                  <a:pos x="53" y="2"/>
                </a:cxn>
                <a:cxn ang="0">
                  <a:pos x="53" y="2"/>
                </a:cxn>
              </a:cxnLst>
              <a:rect l="0" t="0" r="r" b="b"/>
              <a:pathLst>
                <a:path w="85" h="64">
                  <a:moveTo>
                    <a:pt x="53" y="2"/>
                  </a:moveTo>
                  <a:lnTo>
                    <a:pt x="66" y="17"/>
                  </a:lnTo>
                  <a:lnTo>
                    <a:pt x="85" y="28"/>
                  </a:lnTo>
                  <a:lnTo>
                    <a:pt x="73" y="36"/>
                  </a:lnTo>
                  <a:lnTo>
                    <a:pt x="72" y="51"/>
                  </a:lnTo>
                  <a:lnTo>
                    <a:pt x="66" y="51"/>
                  </a:lnTo>
                  <a:lnTo>
                    <a:pt x="68" y="64"/>
                  </a:lnTo>
                  <a:lnTo>
                    <a:pt x="68" y="64"/>
                  </a:lnTo>
                  <a:lnTo>
                    <a:pt x="55" y="55"/>
                  </a:lnTo>
                  <a:lnTo>
                    <a:pt x="55" y="43"/>
                  </a:lnTo>
                  <a:lnTo>
                    <a:pt x="51" y="41"/>
                  </a:lnTo>
                  <a:lnTo>
                    <a:pt x="34" y="55"/>
                  </a:lnTo>
                  <a:lnTo>
                    <a:pt x="30" y="55"/>
                  </a:lnTo>
                  <a:lnTo>
                    <a:pt x="28" y="40"/>
                  </a:lnTo>
                  <a:lnTo>
                    <a:pt x="17" y="34"/>
                  </a:lnTo>
                  <a:lnTo>
                    <a:pt x="17" y="26"/>
                  </a:lnTo>
                  <a:lnTo>
                    <a:pt x="0" y="11"/>
                  </a:lnTo>
                  <a:lnTo>
                    <a:pt x="6" y="10"/>
                  </a:lnTo>
                  <a:lnTo>
                    <a:pt x="25" y="15"/>
                  </a:lnTo>
                  <a:lnTo>
                    <a:pt x="19" y="6"/>
                  </a:lnTo>
                  <a:lnTo>
                    <a:pt x="21" y="0"/>
                  </a:lnTo>
                  <a:lnTo>
                    <a:pt x="21" y="0"/>
                  </a:lnTo>
                  <a:lnTo>
                    <a:pt x="36" y="13"/>
                  </a:lnTo>
                  <a:lnTo>
                    <a:pt x="45" y="13"/>
                  </a:lnTo>
                  <a:lnTo>
                    <a:pt x="53" y="2"/>
                  </a:lnTo>
                  <a:lnTo>
                    <a:pt x="53"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06" name="Freeform 5777"/>
            <p:cNvSpPr>
              <a:spLocks/>
            </p:cNvSpPr>
            <p:nvPr>
              <p:custDataLst>
                <p:tags r:id="rId142"/>
              </p:custDataLst>
            </p:nvPr>
          </p:nvSpPr>
          <p:spPr bwMode="gray">
            <a:xfrm>
              <a:off x="5149771" y="4589346"/>
              <a:ext cx="261751" cy="312148"/>
            </a:xfrm>
            <a:custGeom>
              <a:avLst/>
              <a:gdLst/>
              <a:ahLst/>
              <a:cxnLst>
                <a:cxn ang="0">
                  <a:pos x="0" y="22"/>
                </a:cxn>
                <a:cxn ang="0">
                  <a:pos x="23" y="22"/>
                </a:cxn>
                <a:cxn ang="0">
                  <a:pos x="47" y="2"/>
                </a:cxn>
                <a:cxn ang="0">
                  <a:pos x="67" y="0"/>
                </a:cxn>
                <a:cxn ang="0">
                  <a:pos x="69" y="30"/>
                </a:cxn>
                <a:cxn ang="0">
                  <a:pos x="77" y="43"/>
                </a:cxn>
                <a:cxn ang="0">
                  <a:pos x="144" y="71"/>
                </a:cxn>
                <a:cxn ang="0">
                  <a:pos x="157" y="92"/>
                </a:cxn>
                <a:cxn ang="0">
                  <a:pos x="156" y="103"/>
                </a:cxn>
                <a:cxn ang="0">
                  <a:pos x="161" y="120"/>
                </a:cxn>
                <a:cxn ang="0">
                  <a:pos x="189" y="124"/>
                </a:cxn>
                <a:cxn ang="0">
                  <a:pos x="191" y="135"/>
                </a:cxn>
                <a:cxn ang="0">
                  <a:pos x="204" y="157"/>
                </a:cxn>
                <a:cxn ang="0">
                  <a:pos x="202" y="193"/>
                </a:cxn>
                <a:cxn ang="0">
                  <a:pos x="184" y="176"/>
                </a:cxn>
                <a:cxn ang="0">
                  <a:pos x="141" y="187"/>
                </a:cxn>
                <a:cxn ang="0">
                  <a:pos x="133" y="232"/>
                </a:cxn>
                <a:cxn ang="0">
                  <a:pos x="133" y="232"/>
                </a:cxn>
                <a:cxn ang="0">
                  <a:pos x="112" y="228"/>
                </a:cxn>
                <a:cxn ang="0">
                  <a:pos x="109" y="236"/>
                </a:cxn>
                <a:cxn ang="0">
                  <a:pos x="77" y="223"/>
                </a:cxn>
                <a:cxn ang="0">
                  <a:pos x="62" y="243"/>
                </a:cxn>
                <a:cxn ang="0">
                  <a:pos x="51" y="242"/>
                </a:cxn>
                <a:cxn ang="0">
                  <a:pos x="30" y="191"/>
                </a:cxn>
                <a:cxn ang="0">
                  <a:pos x="32" y="176"/>
                </a:cxn>
                <a:cxn ang="0">
                  <a:pos x="13" y="144"/>
                </a:cxn>
                <a:cxn ang="0">
                  <a:pos x="19" y="125"/>
                </a:cxn>
                <a:cxn ang="0">
                  <a:pos x="11" y="110"/>
                </a:cxn>
                <a:cxn ang="0">
                  <a:pos x="17" y="49"/>
                </a:cxn>
                <a:cxn ang="0">
                  <a:pos x="0" y="22"/>
                </a:cxn>
                <a:cxn ang="0">
                  <a:pos x="0" y="22"/>
                </a:cxn>
              </a:cxnLst>
              <a:rect l="0" t="0" r="r" b="b"/>
              <a:pathLst>
                <a:path w="204" h="243">
                  <a:moveTo>
                    <a:pt x="0" y="22"/>
                  </a:moveTo>
                  <a:lnTo>
                    <a:pt x="23" y="22"/>
                  </a:lnTo>
                  <a:lnTo>
                    <a:pt x="47" y="2"/>
                  </a:lnTo>
                  <a:lnTo>
                    <a:pt x="67" y="0"/>
                  </a:lnTo>
                  <a:lnTo>
                    <a:pt x="69" y="30"/>
                  </a:lnTo>
                  <a:lnTo>
                    <a:pt x="77" y="43"/>
                  </a:lnTo>
                  <a:lnTo>
                    <a:pt x="144" y="71"/>
                  </a:lnTo>
                  <a:lnTo>
                    <a:pt x="157" y="92"/>
                  </a:lnTo>
                  <a:lnTo>
                    <a:pt x="156" y="103"/>
                  </a:lnTo>
                  <a:lnTo>
                    <a:pt x="161" y="120"/>
                  </a:lnTo>
                  <a:lnTo>
                    <a:pt x="189" y="124"/>
                  </a:lnTo>
                  <a:lnTo>
                    <a:pt x="191" y="135"/>
                  </a:lnTo>
                  <a:lnTo>
                    <a:pt x="204" y="157"/>
                  </a:lnTo>
                  <a:lnTo>
                    <a:pt x="202" y="193"/>
                  </a:lnTo>
                  <a:lnTo>
                    <a:pt x="184" y="176"/>
                  </a:lnTo>
                  <a:lnTo>
                    <a:pt x="141" y="187"/>
                  </a:lnTo>
                  <a:lnTo>
                    <a:pt x="133" y="232"/>
                  </a:lnTo>
                  <a:lnTo>
                    <a:pt x="133" y="232"/>
                  </a:lnTo>
                  <a:lnTo>
                    <a:pt x="112" y="228"/>
                  </a:lnTo>
                  <a:lnTo>
                    <a:pt x="109" y="236"/>
                  </a:lnTo>
                  <a:lnTo>
                    <a:pt x="77" y="223"/>
                  </a:lnTo>
                  <a:lnTo>
                    <a:pt x="62" y="243"/>
                  </a:lnTo>
                  <a:lnTo>
                    <a:pt x="51" y="242"/>
                  </a:lnTo>
                  <a:lnTo>
                    <a:pt x="30" y="191"/>
                  </a:lnTo>
                  <a:lnTo>
                    <a:pt x="32" y="176"/>
                  </a:lnTo>
                  <a:lnTo>
                    <a:pt x="13" y="144"/>
                  </a:lnTo>
                  <a:lnTo>
                    <a:pt x="19" y="125"/>
                  </a:lnTo>
                  <a:lnTo>
                    <a:pt x="11" y="110"/>
                  </a:lnTo>
                  <a:lnTo>
                    <a:pt x="17" y="49"/>
                  </a:lnTo>
                  <a:lnTo>
                    <a:pt x="0" y="22"/>
                  </a:lnTo>
                  <a:lnTo>
                    <a:pt x="0" y="2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07" name="Freeform 5778"/>
            <p:cNvSpPr>
              <a:spLocks/>
            </p:cNvSpPr>
            <p:nvPr>
              <p:custDataLst>
                <p:tags r:id="rId143"/>
              </p:custDataLst>
            </p:nvPr>
          </p:nvSpPr>
          <p:spPr bwMode="gray">
            <a:xfrm>
              <a:off x="5320422" y="4815428"/>
              <a:ext cx="178350" cy="195253"/>
            </a:xfrm>
            <a:custGeom>
              <a:avLst/>
              <a:gdLst/>
              <a:ahLst/>
              <a:cxnLst>
                <a:cxn ang="0">
                  <a:pos x="139" y="116"/>
                </a:cxn>
                <a:cxn ang="0">
                  <a:pos x="137" y="88"/>
                </a:cxn>
                <a:cxn ang="0">
                  <a:pos x="118" y="84"/>
                </a:cxn>
                <a:cxn ang="0">
                  <a:pos x="112" y="60"/>
                </a:cxn>
                <a:cxn ang="0">
                  <a:pos x="105" y="56"/>
                </a:cxn>
                <a:cxn ang="0">
                  <a:pos x="75" y="49"/>
                </a:cxn>
                <a:cxn ang="0">
                  <a:pos x="69" y="17"/>
                </a:cxn>
                <a:cxn ang="0">
                  <a:pos x="51" y="0"/>
                </a:cxn>
                <a:cxn ang="0">
                  <a:pos x="8" y="11"/>
                </a:cxn>
                <a:cxn ang="0">
                  <a:pos x="0" y="56"/>
                </a:cxn>
                <a:cxn ang="0">
                  <a:pos x="0" y="56"/>
                </a:cxn>
                <a:cxn ang="0">
                  <a:pos x="34" y="88"/>
                </a:cxn>
                <a:cxn ang="0">
                  <a:pos x="54" y="92"/>
                </a:cxn>
                <a:cxn ang="0">
                  <a:pos x="81" y="109"/>
                </a:cxn>
                <a:cxn ang="0">
                  <a:pos x="86" y="122"/>
                </a:cxn>
                <a:cxn ang="0">
                  <a:pos x="79" y="146"/>
                </a:cxn>
                <a:cxn ang="0">
                  <a:pos x="111" y="152"/>
                </a:cxn>
                <a:cxn ang="0">
                  <a:pos x="122" y="150"/>
                </a:cxn>
                <a:cxn ang="0">
                  <a:pos x="135" y="137"/>
                </a:cxn>
                <a:cxn ang="0">
                  <a:pos x="139" y="116"/>
                </a:cxn>
                <a:cxn ang="0">
                  <a:pos x="139" y="116"/>
                </a:cxn>
              </a:cxnLst>
              <a:rect l="0" t="0" r="r" b="b"/>
              <a:pathLst>
                <a:path w="139" h="152">
                  <a:moveTo>
                    <a:pt x="139" y="116"/>
                  </a:moveTo>
                  <a:lnTo>
                    <a:pt x="137" y="88"/>
                  </a:lnTo>
                  <a:lnTo>
                    <a:pt x="118" y="84"/>
                  </a:lnTo>
                  <a:lnTo>
                    <a:pt x="112" y="60"/>
                  </a:lnTo>
                  <a:lnTo>
                    <a:pt x="105" y="56"/>
                  </a:lnTo>
                  <a:lnTo>
                    <a:pt x="75" y="49"/>
                  </a:lnTo>
                  <a:lnTo>
                    <a:pt x="69" y="17"/>
                  </a:lnTo>
                  <a:lnTo>
                    <a:pt x="51" y="0"/>
                  </a:lnTo>
                  <a:lnTo>
                    <a:pt x="8" y="11"/>
                  </a:lnTo>
                  <a:lnTo>
                    <a:pt x="0" y="56"/>
                  </a:lnTo>
                  <a:lnTo>
                    <a:pt x="0" y="56"/>
                  </a:lnTo>
                  <a:lnTo>
                    <a:pt x="34" y="88"/>
                  </a:lnTo>
                  <a:lnTo>
                    <a:pt x="54" y="92"/>
                  </a:lnTo>
                  <a:lnTo>
                    <a:pt x="81" y="109"/>
                  </a:lnTo>
                  <a:lnTo>
                    <a:pt x="86" y="122"/>
                  </a:lnTo>
                  <a:lnTo>
                    <a:pt x="79" y="146"/>
                  </a:lnTo>
                  <a:lnTo>
                    <a:pt x="111" y="152"/>
                  </a:lnTo>
                  <a:lnTo>
                    <a:pt x="122" y="150"/>
                  </a:lnTo>
                  <a:lnTo>
                    <a:pt x="135" y="137"/>
                  </a:lnTo>
                  <a:lnTo>
                    <a:pt x="139" y="116"/>
                  </a:lnTo>
                  <a:lnTo>
                    <a:pt x="139" y="11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08" name="Freeform 5779"/>
            <p:cNvSpPr>
              <a:spLocks/>
            </p:cNvSpPr>
            <p:nvPr>
              <p:custDataLst>
                <p:tags r:id="rId144"/>
              </p:custDataLst>
            </p:nvPr>
          </p:nvSpPr>
          <p:spPr bwMode="gray">
            <a:xfrm>
              <a:off x="5198528" y="4875802"/>
              <a:ext cx="319490" cy="716784"/>
            </a:xfrm>
            <a:custGeom>
              <a:avLst/>
              <a:gdLst/>
              <a:ahLst/>
              <a:cxnLst>
                <a:cxn ang="0">
                  <a:pos x="200" y="227"/>
                </a:cxn>
                <a:cxn ang="0">
                  <a:pos x="204" y="238"/>
                </a:cxn>
                <a:cxn ang="0">
                  <a:pos x="222" y="258"/>
                </a:cxn>
                <a:cxn ang="0">
                  <a:pos x="239" y="277"/>
                </a:cxn>
                <a:cxn ang="0">
                  <a:pos x="191" y="315"/>
                </a:cxn>
                <a:cxn ang="0">
                  <a:pos x="162" y="313"/>
                </a:cxn>
                <a:cxn ang="0">
                  <a:pos x="174" y="352"/>
                </a:cxn>
                <a:cxn ang="0">
                  <a:pos x="136" y="350"/>
                </a:cxn>
                <a:cxn ang="0">
                  <a:pos x="142" y="375"/>
                </a:cxn>
                <a:cxn ang="0">
                  <a:pos x="161" y="375"/>
                </a:cxn>
                <a:cxn ang="0">
                  <a:pos x="166" y="388"/>
                </a:cxn>
                <a:cxn ang="0">
                  <a:pos x="151" y="382"/>
                </a:cxn>
                <a:cxn ang="0">
                  <a:pos x="157" y="391"/>
                </a:cxn>
                <a:cxn ang="0">
                  <a:pos x="153" y="418"/>
                </a:cxn>
                <a:cxn ang="0">
                  <a:pos x="151" y="427"/>
                </a:cxn>
                <a:cxn ang="0">
                  <a:pos x="131" y="446"/>
                </a:cxn>
                <a:cxn ang="0">
                  <a:pos x="153" y="466"/>
                </a:cxn>
                <a:cxn ang="0">
                  <a:pos x="168" y="472"/>
                </a:cxn>
                <a:cxn ang="0">
                  <a:pos x="151" y="498"/>
                </a:cxn>
                <a:cxn ang="0">
                  <a:pos x="142" y="526"/>
                </a:cxn>
                <a:cxn ang="0">
                  <a:pos x="166" y="558"/>
                </a:cxn>
                <a:cxn ang="0">
                  <a:pos x="149" y="556"/>
                </a:cxn>
                <a:cxn ang="0">
                  <a:pos x="97" y="528"/>
                </a:cxn>
                <a:cxn ang="0">
                  <a:pos x="76" y="513"/>
                </a:cxn>
                <a:cxn ang="0">
                  <a:pos x="59" y="423"/>
                </a:cxn>
                <a:cxn ang="0">
                  <a:pos x="56" y="416"/>
                </a:cxn>
                <a:cxn ang="0">
                  <a:pos x="41" y="373"/>
                </a:cxn>
                <a:cxn ang="0">
                  <a:pos x="29" y="311"/>
                </a:cxn>
                <a:cxn ang="0">
                  <a:pos x="24" y="264"/>
                </a:cxn>
                <a:cxn ang="0">
                  <a:pos x="22" y="225"/>
                </a:cxn>
                <a:cxn ang="0">
                  <a:pos x="3" y="120"/>
                </a:cxn>
                <a:cxn ang="0">
                  <a:pos x="9" y="52"/>
                </a:cxn>
                <a:cxn ang="0">
                  <a:pos x="24" y="20"/>
                </a:cxn>
                <a:cxn ang="0">
                  <a:pos x="71" y="13"/>
                </a:cxn>
                <a:cxn ang="0">
                  <a:pos x="95" y="9"/>
                </a:cxn>
                <a:cxn ang="0">
                  <a:pos x="149" y="45"/>
                </a:cxn>
                <a:cxn ang="0">
                  <a:pos x="181" y="75"/>
                </a:cxn>
                <a:cxn ang="0">
                  <a:pos x="206" y="105"/>
                </a:cxn>
                <a:cxn ang="0">
                  <a:pos x="230" y="90"/>
                </a:cxn>
                <a:cxn ang="0">
                  <a:pos x="241" y="71"/>
                </a:cxn>
                <a:cxn ang="0">
                  <a:pos x="234" y="107"/>
                </a:cxn>
                <a:cxn ang="0">
                  <a:pos x="196" y="155"/>
                </a:cxn>
              </a:cxnLst>
              <a:rect l="0" t="0" r="r" b="b"/>
              <a:pathLst>
                <a:path w="249" h="558">
                  <a:moveTo>
                    <a:pt x="196" y="155"/>
                  </a:moveTo>
                  <a:lnTo>
                    <a:pt x="200" y="227"/>
                  </a:lnTo>
                  <a:lnTo>
                    <a:pt x="200" y="227"/>
                  </a:lnTo>
                  <a:lnTo>
                    <a:pt x="204" y="238"/>
                  </a:lnTo>
                  <a:lnTo>
                    <a:pt x="224" y="251"/>
                  </a:lnTo>
                  <a:lnTo>
                    <a:pt x="222" y="258"/>
                  </a:lnTo>
                  <a:lnTo>
                    <a:pt x="236" y="270"/>
                  </a:lnTo>
                  <a:lnTo>
                    <a:pt x="239" y="277"/>
                  </a:lnTo>
                  <a:lnTo>
                    <a:pt x="232" y="301"/>
                  </a:lnTo>
                  <a:lnTo>
                    <a:pt x="191" y="315"/>
                  </a:lnTo>
                  <a:lnTo>
                    <a:pt x="168" y="318"/>
                  </a:lnTo>
                  <a:lnTo>
                    <a:pt x="162" y="313"/>
                  </a:lnTo>
                  <a:lnTo>
                    <a:pt x="170" y="326"/>
                  </a:lnTo>
                  <a:lnTo>
                    <a:pt x="174" y="352"/>
                  </a:lnTo>
                  <a:lnTo>
                    <a:pt x="153" y="358"/>
                  </a:lnTo>
                  <a:lnTo>
                    <a:pt x="136" y="350"/>
                  </a:lnTo>
                  <a:lnTo>
                    <a:pt x="131" y="354"/>
                  </a:lnTo>
                  <a:lnTo>
                    <a:pt x="142" y="375"/>
                  </a:lnTo>
                  <a:lnTo>
                    <a:pt x="149" y="378"/>
                  </a:lnTo>
                  <a:lnTo>
                    <a:pt x="161" y="375"/>
                  </a:lnTo>
                  <a:lnTo>
                    <a:pt x="166" y="382"/>
                  </a:lnTo>
                  <a:lnTo>
                    <a:pt x="166" y="388"/>
                  </a:lnTo>
                  <a:lnTo>
                    <a:pt x="159" y="388"/>
                  </a:lnTo>
                  <a:lnTo>
                    <a:pt x="151" y="382"/>
                  </a:lnTo>
                  <a:lnTo>
                    <a:pt x="146" y="388"/>
                  </a:lnTo>
                  <a:lnTo>
                    <a:pt x="157" y="391"/>
                  </a:lnTo>
                  <a:lnTo>
                    <a:pt x="147" y="403"/>
                  </a:lnTo>
                  <a:lnTo>
                    <a:pt x="153" y="418"/>
                  </a:lnTo>
                  <a:lnTo>
                    <a:pt x="149" y="421"/>
                  </a:lnTo>
                  <a:lnTo>
                    <a:pt x="151" y="427"/>
                  </a:lnTo>
                  <a:lnTo>
                    <a:pt x="136" y="431"/>
                  </a:lnTo>
                  <a:lnTo>
                    <a:pt x="131" y="446"/>
                  </a:lnTo>
                  <a:lnTo>
                    <a:pt x="136" y="453"/>
                  </a:lnTo>
                  <a:lnTo>
                    <a:pt x="153" y="466"/>
                  </a:lnTo>
                  <a:lnTo>
                    <a:pt x="164" y="466"/>
                  </a:lnTo>
                  <a:lnTo>
                    <a:pt x="168" y="472"/>
                  </a:lnTo>
                  <a:lnTo>
                    <a:pt x="168" y="481"/>
                  </a:lnTo>
                  <a:lnTo>
                    <a:pt x="151" y="498"/>
                  </a:lnTo>
                  <a:lnTo>
                    <a:pt x="155" y="517"/>
                  </a:lnTo>
                  <a:lnTo>
                    <a:pt x="142" y="526"/>
                  </a:lnTo>
                  <a:lnTo>
                    <a:pt x="144" y="534"/>
                  </a:lnTo>
                  <a:lnTo>
                    <a:pt x="166" y="558"/>
                  </a:lnTo>
                  <a:lnTo>
                    <a:pt x="149" y="556"/>
                  </a:lnTo>
                  <a:lnTo>
                    <a:pt x="149" y="556"/>
                  </a:lnTo>
                  <a:lnTo>
                    <a:pt x="116" y="553"/>
                  </a:lnTo>
                  <a:lnTo>
                    <a:pt x="97" y="528"/>
                  </a:lnTo>
                  <a:lnTo>
                    <a:pt x="84" y="530"/>
                  </a:lnTo>
                  <a:lnTo>
                    <a:pt x="76" y="513"/>
                  </a:lnTo>
                  <a:lnTo>
                    <a:pt x="74" y="457"/>
                  </a:lnTo>
                  <a:lnTo>
                    <a:pt x="59" y="423"/>
                  </a:lnTo>
                  <a:lnTo>
                    <a:pt x="65" y="423"/>
                  </a:lnTo>
                  <a:lnTo>
                    <a:pt x="56" y="416"/>
                  </a:lnTo>
                  <a:lnTo>
                    <a:pt x="41" y="388"/>
                  </a:lnTo>
                  <a:lnTo>
                    <a:pt x="41" y="373"/>
                  </a:lnTo>
                  <a:lnTo>
                    <a:pt x="31" y="356"/>
                  </a:lnTo>
                  <a:lnTo>
                    <a:pt x="29" y="311"/>
                  </a:lnTo>
                  <a:lnTo>
                    <a:pt x="18" y="277"/>
                  </a:lnTo>
                  <a:lnTo>
                    <a:pt x="24" y="264"/>
                  </a:lnTo>
                  <a:lnTo>
                    <a:pt x="18" y="249"/>
                  </a:lnTo>
                  <a:lnTo>
                    <a:pt x="22" y="225"/>
                  </a:lnTo>
                  <a:lnTo>
                    <a:pt x="0" y="176"/>
                  </a:lnTo>
                  <a:lnTo>
                    <a:pt x="3" y="120"/>
                  </a:lnTo>
                  <a:lnTo>
                    <a:pt x="16" y="90"/>
                  </a:lnTo>
                  <a:lnTo>
                    <a:pt x="9" y="52"/>
                  </a:lnTo>
                  <a:lnTo>
                    <a:pt x="24" y="41"/>
                  </a:lnTo>
                  <a:lnTo>
                    <a:pt x="24" y="20"/>
                  </a:lnTo>
                  <a:lnTo>
                    <a:pt x="39" y="0"/>
                  </a:lnTo>
                  <a:lnTo>
                    <a:pt x="71" y="13"/>
                  </a:lnTo>
                  <a:lnTo>
                    <a:pt x="74" y="5"/>
                  </a:lnTo>
                  <a:lnTo>
                    <a:pt x="95" y="9"/>
                  </a:lnTo>
                  <a:lnTo>
                    <a:pt x="129" y="41"/>
                  </a:lnTo>
                  <a:lnTo>
                    <a:pt x="149" y="45"/>
                  </a:lnTo>
                  <a:lnTo>
                    <a:pt x="176" y="62"/>
                  </a:lnTo>
                  <a:lnTo>
                    <a:pt x="181" y="75"/>
                  </a:lnTo>
                  <a:lnTo>
                    <a:pt x="174" y="99"/>
                  </a:lnTo>
                  <a:lnTo>
                    <a:pt x="206" y="105"/>
                  </a:lnTo>
                  <a:lnTo>
                    <a:pt x="217" y="103"/>
                  </a:lnTo>
                  <a:lnTo>
                    <a:pt x="230" y="90"/>
                  </a:lnTo>
                  <a:lnTo>
                    <a:pt x="234" y="69"/>
                  </a:lnTo>
                  <a:lnTo>
                    <a:pt x="241" y="71"/>
                  </a:lnTo>
                  <a:lnTo>
                    <a:pt x="249" y="95"/>
                  </a:lnTo>
                  <a:lnTo>
                    <a:pt x="234" y="107"/>
                  </a:lnTo>
                  <a:lnTo>
                    <a:pt x="196" y="155"/>
                  </a:lnTo>
                  <a:lnTo>
                    <a:pt x="196" y="15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09" name="Freeform 5780"/>
            <p:cNvSpPr>
              <a:spLocks/>
            </p:cNvSpPr>
            <p:nvPr>
              <p:custDataLst>
                <p:tags r:id="rId145"/>
              </p:custDataLst>
            </p:nvPr>
          </p:nvSpPr>
          <p:spPr bwMode="gray">
            <a:xfrm>
              <a:off x="6495735" y="3065858"/>
              <a:ext cx="38493" cy="24407"/>
            </a:xfrm>
            <a:custGeom>
              <a:avLst/>
              <a:gdLst/>
              <a:ahLst/>
              <a:cxnLst>
                <a:cxn ang="0">
                  <a:pos x="6" y="0"/>
                </a:cxn>
                <a:cxn ang="0">
                  <a:pos x="0" y="9"/>
                </a:cxn>
                <a:cxn ang="0">
                  <a:pos x="7" y="17"/>
                </a:cxn>
                <a:cxn ang="0">
                  <a:pos x="21" y="11"/>
                </a:cxn>
                <a:cxn ang="0">
                  <a:pos x="24" y="19"/>
                </a:cxn>
                <a:cxn ang="0">
                  <a:pos x="30" y="13"/>
                </a:cxn>
                <a:cxn ang="0">
                  <a:pos x="26" y="0"/>
                </a:cxn>
                <a:cxn ang="0">
                  <a:pos x="6" y="0"/>
                </a:cxn>
                <a:cxn ang="0">
                  <a:pos x="6" y="0"/>
                </a:cxn>
              </a:cxnLst>
              <a:rect l="0" t="0" r="r" b="b"/>
              <a:pathLst>
                <a:path w="30" h="19">
                  <a:moveTo>
                    <a:pt x="6" y="0"/>
                  </a:moveTo>
                  <a:lnTo>
                    <a:pt x="0" y="9"/>
                  </a:lnTo>
                  <a:lnTo>
                    <a:pt x="7" y="17"/>
                  </a:lnTo>
                  <a:lnTo>
                    <a:pt x="21" y="11"/>
                  </a:lnTo>
                  <a:lnTo>
                    <a:pt x="24" y="19"/>
                  </a:lnTo>
                  <a:lnTo>
                    <a:pt x="30" y="13"/>
                  </a:lnTo>
                  <a:lnTo>
                    <a:pt x="26" y="0"/>
                  </a:lnTo>
                  <a:lnTo>
                    <a:pt x="6" y="0"/>
                  </a:lnTo>
                  <a:lnTo>
                    <a:pt x="6"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10" name="Freeform 5781"/>
            <p:cNvSpPr>
              <a:spLocks/>
            </p:cNvSpPr>
            <p:nvPr>
              <p:custDataLst>
                <p:tags r:id="rId146"/>
              </p:custDataLst>
            </p:nvPr>
          </p:nvSpPr>
          <p:spPr bwMode="gray">
            <a:xfrm>
              <a:off x="6776732" y="3010622"/>
              <a:ext cx="48758" cy="60374"/>
            </a:xfrm>
            <a:custGeom>
              <a:avLst/>
              <a:gdLst/>
              <a:ahLst/>
              <a:cxnLst>
                <a:cxn ang="0">
                  <a:pos x="10" y="47"/>
                </a:cxn>
                <a:cxn ang="0">
                  <a:pos x="19" y="47"/>
                </a:cxn>
                <a:cxn ang="0">
                  <a:pos x="19" y="47"/>
                </a:cxn>
                <a:cxn ang="0">
                  <a:pos x="28" y="26"/>
                </a:cxn>
                <a:cxn ang="0">
                  <a:pos x="38" y="24"/>
                </a:cxn>
                <a:cxn ang="0">
                  <a:pos x="38" y="19"/>
                </a:cxn>
                <a:cxn ang="0">
                  <a:pos x="30" y="19"/>
                </a:cxn>
                <a:cxn ang="0">
                  <a:pos x="32" y="0"/>
                </a:cxn>
                <a:cxn ang="0">
                  <a:pos x="8" y="7"/>
                </a:cxn>
                <a:cxn ang="0">
                  <a:pos x="0" y="19"/>
                </a:cxn>
                <a:cxn ang="0">
                  <a:pos x="2" y="34"/>
                </a:cxn>
                <a:cxn ang="0">
                  <a:pos x="8" y="37"/>
                </a:cxn>
                <a:cxn ang="0">
                  <a:pos x="10" y="47"/>
                </a:cxn>
                <a:cxn ang="0">
                  <a:pos x="10" y="47"/>
                </a:cxn>
                <a:cxn ang="0">
                  <a:pos x="10" y="47"/>
                </a:cxn>
              </a:cxnLst>
              <a:rect l="0" t="0" r="r" b="b"/>
              <a:pathLst>
                <a:path w="38" h="47">
                  <a:moveTo>
                    <a:pt x="10" y="47"/>
                  </a:moveTo>
                  <a:lnTo>
                    <a:pt x="19" y="47"/>
                  </a:lnTo>
                  <a:lnTo>
                    <a:pt x="19" y="47"/>
                  </a:lnTo>
                  <a:lnTo>
                    <a:pt x="28" y="26"/>
                  </a:lnTo>
                  <a:lnTo>
                    <a:pt x="38" y="24"/>
                  </a:lnTo>
                  <a:lnTo>
                    <a:pt x="38" y="19"/>
                  </a:lnTo>
                  <a:lnTo>
                    <a:pt x="30" y="19"/>
                  </a:lnTo>
                  <a:lnTo>
                    <a:pt x="32" y="0"/>
                  </a:lnTo>
                  <a:lnTo>
                    <a:pt x="8" y="7"/>
                  </a:lnTo>
                  <a:lnTo>
                    <a:pt x="0" y="19"/>
                  </a:lnTo>
                  <a:lnTo>
                    <a:pt x="2" y="34"/>
                  </a:lnTo>
                  <a:lnTo>
                    <a:pt x="8" y="37"/>
                  </a:lnTo>
                  <a:lnTo>
                    <a:pt x="10" y="47"/>
                  </a:lnTo>
                  <a:lnTo>
                    <a:pt x="10" y="47"/>
                  </a:lnTo>
                  <a:lnTo>
                    <a:pt x="10" y="4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11" name="Freeform 5782"/>
            <p:cNvSpPr>
              <a:spLocks/>
            </p:cNvSpPr>
            <p:nvPr>
              <p:custDataLst>
                <p:tags r:id="rId147"/>
              </p:custDataLst>
            </p:nvPr>
          </p:nvSpPr>
          <p:spPr bwMode="gray">
            <a:xfrm>
              <a:off x="6731824" y="3176330"/>
              <a:ext cx="8982" cy="14130"/>
            </a:xfrm>
            <a:custGeom>
              <a:avLst/>
              <a:gdLst/>
              <a:ahLst/>
              <a:cxnLst>
                <a:cxn ang="0">
                  <a:pos x="0" y="10"/>
                </a:cxn>
                <a:cxn ang="0">
                  <a:pos x="3" y="0"/>
                </a:cxn>
                <a:cxn ang="0">
                  <a:pos x="7" y="11"/>
                </a:cxn>
                <a:cxn ang="0">
                  <a:pos x="7" y="11"/>
                </a:cxn>
                <a:cxn ang="0">
                  <a:pos x="0" y="10"/>
                </a:cxn>
                <a:cxn ang="0">
                  <a:pos x="0" y="10"/>
                </a:cxn>
              </a:cxnLst>
              <a:rect l="0" t="0" r="r" b="b"/>
              <a:pathLst>
                <a:path w="7" h="11">
                  <a:moveTo>
                    <a:pt x="0" y="10"/>
                  </a:moveTo>
                  <a:lnTo>
                    <a:pt x="3" y="0"/>
                  </a:lnTo>
                  <a:lnTo>
                    <a:pt x="7" y="11"/>
                  </a:lnTo>
                  <a:lnTo>
                    <a:pt x="7" y="11"/>
                  </a:lnTo>
                  <a:lnTo>
                    <a:pt x="0" y="10"/>
                  </a:lnTo>
                  <a:lnTo>
                    <a:pt x="0" y="1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12" name="Freeform 5783"/>
            <p:cNvSpPr>
              <a:spLocks/>
            </p:cNvSpPr>
            <p:nvPr>
              <p:custDataLst>
                <p:tags r:id="rId148"/>
              </p:custDataLst>
            </p:nvPr>
          </p:nvSpPr>
          <p:spPr bwMode="gray">
            <a:xfrm>
              <a:off x="6798545" y="3203306"/>
              <a:ext cx="142423" cy="57805"/>
            </a:xfrm>
            <a:custGeom>
              <a:avLst/>
              <a:gdLst/>
              <a:ahLst/>
              <a:cxnLst>
                <a:cxn ang="0">
                  <a:pos x="0" y="26"/>
                </a:cxn>
                <a:cxn ang="0">
                  <a:pos x="4" y="28"/>
                </a:cxn>
                <a:cxn ang="0">
                  <a:pos x="6" y="32"/>
                </a:cxn>
                <a:cxn ang="0">
                  <a:pos x="4" y="35"/>
                </a:cxn>
                <a:cxn ang="0">
                  <a:pos x="4" y="35"/>
                </a:cxn>
                <a:cxn ang="0">
                  <a:pos x="13" y="39"/>
                </a:cxn>
                <a:cxn ang="0">
                  <a:pos x="15" y="39"/>
                </a:cxn>
                <a:cxn ang="0">
                  <a:pos x="37" y="34"/>
                </a:cxn>
                <a:cxn ang="0">
                  <a:pos x="39" y="39"/>
                </a:cxn>
                <a:cxn ang="0">
                  <a:pos x="60" y="45"/>
                </a:cxn>
                <a:cxn ang="0">
                  <a:pos x="96" y="37"/>
                </a:cxn>
                <a:cxn ang="0">
                  <a:pos x="111" y="17"/>
                </a:cxn>
                <a:cxn ang="0">
                  <a:pos x="105" y="4"/>
                </a:cxn>
                <a:cxn ang="0">
                  <a:pos x="81" y="0"/>
                </a:cxn>
                <a:cxn ang="0">
                  <a:pos x="75" y="5"/>
                </a:cxn>
                <a:cxn ang="0">
                  <a:pos x="62" y="4"/>
                </a:cxn>
                <a:cxn ang="0">
                  <a:pos x="47" y="17"/>
                </a:cxn>
                <a:cxn ang="0">
                  <a:pos x="49" y="22"/>
                </a:cxn>
                <a:cxn ang="0">
                  <a:pos x="0" y="26"/>
                </a:cxn>
                <a:cxn ang="0">
                  <a:pos x="0" y="26"/>
                </a:cxn>
              </a:cxnLst>
              <a:rect l="0" t="0" r="r" b="b"/>
              <a:pathLst>
                <a:path w="111" h="45">
                  <a:moveTo>
                    <a:pt x="0" y="26"/>
                  </a:moveTo>
                  <a:lnTo>
                    <a:pt x="4" y="28"/>
                  </a:lnTo>
                  <a:lnTo>
                    <a:pt x="6" y="32"/>
                  </a:lnTo>
                  <a:lnTo>
                    <a:pt x="4" y="35"/>
                  </a:lnTo>
                  <a:lnTo>
                    <a:pt x="4" y="35"/>
                  </a:lnTo>
                  <a:lnTo>
                    <a:pt x="13" y="39"/>
                  </a:lnTo>
                  <a:lnTo>
                    <a:pt x="15" y="39"/>
                  </a:lnTo>
                  <a:lnTo>
                    <a:pt x="37" y="34"/>
                  </a:lnTo>
                  <a:lnTo>
                    <a:pt x="39" y="39"/>
                  </a:lnTo>
                  <a:lnTo>
                    <a:pt x="60" y="45"/>
                  </a:lnTo>
                  <a:lnTo>
                    <a:pt x="96" y="37"/>
                  </a:lnTo>
                  <a:lnTo>
                    <a:pt x="111" y="17"/>
                  </a:lnTo>
                  <a:lnTo>
                    <a:pt x="105" y="4"/>
                  </a:lnTo>
                  <a:lnTo>
                    <a:pt x="81" y="0"/>
                  </a:lnTo>
                  <a:lnTo>
                    <a:pt x="75" y="5"/>
                  </a:lnTo>
                  <a:lnTo>
                    <a:pt x="62" y="4"/>
                  </a:lnTo>
                  <a:lnTo>
                    <a:pt x="47" y="17"/>
                  </a:lnTo>
                  <a:lnTo>
                    <a:pt x="49" y="22"/>
                  </a:lnTo>
                  <a:lnTo>
                    <a:pt x="0" y="26"/>
                  </a:lnTo>
                  <a:lnTo>
                    <a:pt x="0" y="2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13" name="Freeform 5784"/>
            <p:cNvSpPr>
              <a:spLocks/>
            </p:cNvSpPr>
            <p:nvPr>
              <p:custDataLst>
                <p:tags r:id="rId149"/>
              </p:custDataLst>
            </p:nvPr>
          </p:nvSpPr>
          <p:spPr bwMode="gray">
            <a:xfrm>
              <a:off x="6733107" y="3234136"/>
              <a:ext cx="82118" cy="41106"/>
            </a:xfrm>
            <a:custGeom>
              <a:avLst/>
              <a:gdLst/>
              <a:ahLst/>
              <a:cxnLst>
                <a:cxn ang="0">
                  <a:pos x="15" y="32"/>
                </a:cxn>
                <a:cxn ang="0">
                  <a:pos x="12" y="23"/>
                </a:cxn>
                <a:cxn ang="0">
                  <a:pos x="2" y="26"/>
                </a:cxn>
                <a:cxn ang="0">
                  <a:pos x="0" y="21"/>
                </a:cxn>
                <a:cxn ang="0">
                  <a:pos x="15" y="2"/>
                </a:cxn>
                <a:cxn ang="0">
                  <a:pos x="23" y="0"/>
                </a:cxn>
                <a:cxn ang="0">
                  <a:pos x="51" y="2"/>
                </a:cxn>
                <a:cxn ang="0">
                  <a:pos x="55" y="11"/>
                </a:cxn>
                <a:cxn ang="0">
                  <a:pos x="64" y="15"/>
                </a:cxn>
                <a:cxn ang="0">
                  <a:pos x="60" y="25"/>
                </a:cxn>
                <a:cxn ang="0">
                  <a:pos x="49" y="23"/>
                </a:cxn>
                <a:cxn ang="0">
                  <a:pos x="44" y="30"/>
                </a:cxn>
                <a:cxn ang="0">
                  <a:pos x="36" y="23"/>
                </a:cxn>
                <a:cxn ang="0">
                  <a:pos x="15" y="32"/>
                </a:cxn>
                <a:cxn ang="0">
                  <a:pos x="15" y="32"/>
                </a:cxn>
                <a:cxn ang="0">
                  <a:pos x="15" y="32"/>
                </a:cxn>
              </a:cxnLst>
              <a:rect l="0" t="0" r="r" b="b"/>
              <a:pathLst>
                <a:path w="64" h="32">
                  <a:moveTo>
                    <a:pt x="15" y="32"/>
                  </a:moveTo>
                  <a:lnTo>
                    <a:pt x="12" y="23"/>
                  </a:lnTo>
                  <a:lnTo>
                    <a:pt x="2" y="26"/>
                  </a:lnTo>
                  <a:lnTo>
                    <a:pt x="0" y="21"/>
                  </a:lnTo>
                  <a:lnTo>
                    <a:pt x="15" y="2"/>
                  </a:lnTo>
                  <a:lnTo>
                    <a:pt x="23" y="0"/>
                  </a:lnTo>
                  <a:lnTo>
                    <a:pt x="51" y="2"/>
                  </a:lnTo>
                  <a:lnTo>
                    <a:pt x="55" y="11"/>
                  </a:lnTo>
                  <a:lnTo>
                    <a:pt x="64" y="15"/>
                  </a:lnTo>
                  <a:lnTo>
                    <a:pt x="60" y="25"/>
                  </a:lnTo>
                  <a:lnTo>
                    <a:pt x="49" y="23"/>
                  </a:lnTo>
                  <a:lnTo>
                    <a:pt x="44" y="30"/>
                  </a:lnTo>
                  <a:lnTo>
                    <a:pt x="36" y="23"/>
                  </a:lnTo>
                  <a:lnTo>
                    <a:pt x="15" y="32"/>
                  </a:lnTo>
                  <a:lnTo>
                    <a:pt x="15" y="32"/>
                  </a:lnTo>
                  <a:lnTo>
                    <a:pt x="15" y="3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14" name="Freeform 5785"/>
            <p:cNvSpPr>
              <a:spLocks/>
            </p:cNvSpPr>
            <p:nvPr>
              <p:custDataLst>
                <p:tags r:id="rId150"/>
              </p:custDataLst>
            </p:nvPr>
          </p:nvSpPr>
          <p:spPr bwMode="gray">
            <a:xfrm>
              <a:off x="6985876" y="3349746"/>
              <a:ext cx="33360" cy="71935"/>
            </a:xfrm>
            <a:custGeom>
              <a:avLst/>
              <a:gdLst/>
              <a:ahLst/>
              <a:cxnLst>
                <a:cxn ang="0">
                  <a:pos x="19" y="19"/>
                </a:cxn>
                <a:cxn ang="0">
                  <a:pos x="26" y="34"/>
                </a:cxn>
                <a:cxn ang="0">
                  <a:pos x="26" y="39"/>
                </a:cxn>
                <a:cxn ang="0">
                  <a:pos x="13" y="54"/>
                </a:cxn>
                <a:cxn ang="0">
                  <a:pos x="13" y="56"/>
                </a:cxn>
                <a:cxn ang="0">
                  <a:pos x="0" y="43"/>
                </a:cxn>
                <a:cxn ang="0">
                  <a:pos x="0" y="15"/>
                </a:cxn>
                <a:cxn ang="0">
                  <a:pos x="0" y="15"/>
                </a:cxn>
                <a:cxn ang="0">
                  <a:pos x="4" y="0"/>
                </a:cxn>
                <a:cxn ang="0">
                  <a:pos x="11" y="4"/>
                </a:cxn>
                <a:cxn ang="0">
                  <a:pos x="19" y="19"/>
                </a:cxn>
                <a:cxn ang="0">
                  <a:pos x="19" y="19"/>
                </a:cxn>
              </a:cxnLst>
              <a:rect l="0" t="0" r="r" b="b"/>
              <a:pathLst>
                <a:path w="26" h="56">
                  <a:moveTo>
                    <a:pt x="19" y="19"/>
                  </a:moveTo>
                  <a:lnTo>
                    <a:pt x="26" y="34"/>
                  </a:lnTo>
                  <a:lnTo>
                    <a:pt x="26" y="39"/>
                  </a:lnTo>
                  <a:lnTo>
                    <a:pt x="13" y="54"/>
                  </a:lnTo>
                  <a:lnTo>
                    <a:pt x="13" y="56"/>
                  </a:lnTo>
                  <a:lnTo>
                    <a:pt x="0" y="43"/>
                  </a:lnTo>
                  <a:lnTo>
                    <a:pt x="0" y="15"/>
                  </a:lnTo>
                  <a:lnTo>
                    <a:pt x="0" y="15"/>
                  </a:lnTo>
                  <a:lnTo>
                    <a:pt x="4" y="0"/>
                  </a:lnTo>
                  <a:lnTo>
                    <a:pt x="11" y="4"/>
                  </a:lnTo>
                  <a:lnTo>
                    <a:pt x="19" y="19"/>
                  </a:lnTo>
                  <a:lnTo>
                    <a:pt x="19" y="1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15" name="Freeform 5786"/>
            <p:cNvSpPr>
              <a:spLocks/>
            </p:cNvSpPr>
            <p:nvPr>
              <p:custDataLst>
                <p:tags r:id="rId151"/>
              </p:custDataLst>
            </p:nvPr>
          </p:nvSpPr>
          <p:spPr bwMode="gray">
            <a:xfrm>
              <a:off x="6921722" y="3212298"/>
              <a:ext cx="121894" cy="65513"/>
            </a:xfrm>
            <a:custGeom>
              <a:avLst/>
              <a:gdLst/>
              <a:ahLst/>
              <a:cxnLst>
                <a:cxn ang="0">
                  <a:pos x="3" y="32"/>
                </a:cxn>
                <a:cxn ang="0">
                  <a:pos x="26" y="51"/>
                </a:cxn>
                <a:cxn ang="0">
                  <a:pos x="59" y="43"/>
                </a:cxn>
                <a:cxn ang="0">
                  <a:pos x="73" y="40"/>
                </a:cxn>
                <a:cxn ang="0">
                  <a:pos x="86" y="15"/>
                </a:cxn>
                <a:cxn ang="0">
                  <a:pos x="95" y="12"/>
                </a:cxn>
                <a:cxn ang="0">
                  <a:pos x="86" y="4"/>
                </a:cxn>
                <a:cxn ang="0">
                  <a:pos x="84" y="2"/>
                </a:cxn>
                <a:cxn ang="0">
                  <a:pos x="65" y="0"/>
                </a:cxn>
                <a:cxn ang="0">
                  <a:pos x="30" y="15"/>
                </a:cxn>
                <a:cxn ang="0">
                  <a:pos x="15" y="10"/>
                </a:cxn>
                <a:cxn ang="0">
                  <a:pos x="0" y="30"/>
                </a:cxn>
                <a:cxn ang="0">
                  <a:pos x="3" y="32"/>
                </a:cxn>
                <a:cxn ang="0">
                  <a:pos x="3" y="32"/>
                </a:cxn>
              </a:cxnLst>
              <a:rect l="0" t="0" r="r" b="b"/>
              <a:pathLst>
                <a:path w="95" h="51">
                  <a:moveTo>
                    <a:pt x="3" y="32"/>
                  </a:moveTo>
                  <a:lnTo>
                    <a:pt x="26" y="51"/>
                  </a:lnTo>
                  <a:lnTo>
                    <a:pt x="59" y="43"/>
                  </a:lnTo>
                  <a:lnTo>
                    <a:pt x="73" y="40"/>
                  </a:lnTo>
                  <a:lnTo>
                    <a:pt x="86" y="15"/>
                  </a:lnTo>
                  <a:lnTo>
                    <a:pt x="95" y="12"/>
                  </a:lnTo>
                  <a:lnTo>
                    <a:pt x="86" y="4"/>
                  </a:lnTo>
                  <a:lnTo>
                    <a:pt x="84" y="2"/>
                  </a:lnTo>
                  <a:lnTo>
                    <a:pt x="65" y="0"/>
                  </a:lnTo>
                  <a:lnTo>
                    <a:pt x="30" y="15"/>
                  </a:lnTo>
                  <a:lnTo>
                    <a:pt x="15" y="10"/>
                  </a:lnTo>
                  <a:lnTo>
                    <a:pt x="0" y="30"/>
                  </a:lnTo>
                  <a:lnTo>
                    <a:pt x="3" y="32"/>
                  </a:lnTo>
                  <a:lnTo>
                    <a:pt x="3" y="3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16" name="Freeform 5787"/>
            <p:cNvSpPr>
              <a:spLocks/>
            </p:cNvSpPr>
            <p:nvPr>
              <p:custDataLst>
                <p:tags r:id="rId152"/>
              </p:custDataLst>
            </p:nvPr>
          </p:nvSpPr>
          <p:spPr bwMode="gray">
            <a:xfrm>
              <a:off x="7544021" y="3650333"/>
              <a:ext cx="35927" cy="34683"/>
            </a:xfrm>
            <a:custGeom>
              <a:avLst/>
              <a:gdLst/>
              <a:ahLst/>
              <a:cxnLst>
                <a:cxn ang="0">
                  <a:pos x="0" y="15"/>
                </a:cxn>
                <a:cxn ang="0">
                  <a:pos x="11" y="0"/>
                </a:cxn>
                <a:cxn ang="0">
                  <a:pos x="28" y="0"/>
                </a:cxn>
                <a:cxn ang="0">
                  <a:pos x="28" y="0"/>
                </a:cxn>
                <a:cxn ang="0">
                  <a:pos x="26" y="8"/>
                </a:cxn>
                <a:cxn ang="0">
                  <a:pos x="17" y="10"/>
                </a:cxn>
                <a:cxn ang="0">
                  <a:pos x="28" y="27"/>
                </a:cxn>
                <a:cxn ang="0">
                  <a:pos x="28" y="25"/>
                </a:cxn>
                <a:cxn ang="0">
                  <a:pos x="0" y="15"/>
                </a:cxn>
                <a:cxn ang="0">
                  <a:pos x="0" y="15"/>
                </a:cxn>
                <a:cxn ang="0">
                  <a:pos x="0" y="15"/>
                </a:cxn>
              </a:cxnLst>
              <a:rect l="0" t="0" r="r" b="b"/>
              <a:pathLst>
                <a:path w="28" h="27">
                  <a:moveTo>
                    <a:pt x="0" y="15"/>
                  </a:moveTo>
                  <a:lnTo>
                    <a:pt x="11" y="0"/>
                  </a:lnTo>
                  <a:lnTo>
                    <a:pt x="28" y="0"/>
                  </a:lnTo>
                  <a:lnTo>
                    <a:pt x="28" y="0"/>
                  </a:lnTo>
                  <a:lnTo>
                    <a:pt x="26" y="8"/>
                  </a:lnTo>
                  <a:lnTo>
                    <a:pt x="17" y="10"/>
                  </a:lnTo>
                  <a:lnTo>
                    <a:pt x="28" y="27"/>
                  </a:lnTo>
                  <a:lnTo>
                    <a:pt x="28" y="25"/>
                  </a:lnTo>
                  <a:lnTo>
                    <a:pt x="0" y="15"/>
                  </a:lnTo>
                  <a:lnTo>
                    <a:pt x="0" y="15"/>
                  </a:lnTo>
                  <a:lnTo>
                    <a:pt x="0"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17" name="Freeform 5788"/>
            <p:cNvSpPr>
              <a:spLocks/>
            </p:cNvSpPr>
            <p:nvPr>
              <p:custDataLst>
                <p:tags r:id="rId153"/>
              </p:custDataLst>
            </p:nvPr>
          </p:nvSpPr>
          <p:spPr bwMode="gray">
            <a:xfrm>
              <a:off x="7508095" y="3663178"/>
              <a:ext cx="35927" cy="14130"/>
            </a:xfrm>
            <a:custGeom>
              <a:avLst/>
              <a:gdLst/>
              <a:ahLst/>
              <a:cxnLst>
                <a:cxn ang="0">
                  <a:pos x="0" y="3"/>
                </a:cxn>
                <a:cxn ang="0">
                  <a:pos x="9" y="0"/>
                </a:cxn>
                <a:cxn ang="0">
                  <a:pos x="28" y="5"/>
                </a:cxn>
                <a:cxn ang="0">
                  <a:pos x="28" y="5"/>
                </a:cxn>
                <a:cxn ang="0">
                  <a:pos x="11" y="11"/>
                </a:cxn>
                <a:cxn ang="0">
                  <a:pos x="0" y="3"/>
                </a:cxn>
                <a:cxn ang="0">
                  <a:pos x="0" y="3"/>
                </a:cxn>
              </a:cxnLst>
              <a:rect l="0" t="0" r="r" b="b"/>
              <a:pathLst>
                <a:path w="28" h="11">
                  <a:moveTo>
                    <a:pt x="0" y="3"/>
                  </a:moveTo>
                  <a:lnTo>
                    <a:pt x="9" y="0"/>
                  </a:lnTo>
                  <a:lnTo>
                    <a:pt x="28" y="5"/>
                  </a:lnTo>
                  <a:lnTo>
                    <a:pt x="28" y="5"/>
                  </a:lnTo>
                  <a:lnTo>
                    <a:pt x="11" y="11"/>
                  </a:lnTo>
                  <a:lnTo>
                    <a:pt x="0" y="3"/>
                  </a:lnTo>
                  <a:lnTo>
                    <a:pt x="0" y="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18" name="Freeform 5789"/>
            <p:cNvSpPr>
              <a:spLocks/>
            </p:cNvSpPr>
            <p:nvPr>
              <p:custDataLst>
                <p:tags r:id="rId154"/>
              </p:custDataLst>
            </p:nvPr>
          </p:nvSpPr>
          <p:spPr bwMode="gray">
            <a:xfrm>
              <a:off x="6344330" y="3511600"/>
              <a:ext cx="239938" cy="191399"/>
            </a:xfrm>
            <a:custGeom>
              <a:avLst/>
              <a:gdLst/>
              <a:ahLst/>
              <a:cxnLst>
                <a:cxn ang="0">
                  <a:pos x="182" y="18"/>
                </a:cxn>
                <a:cxn ang="0">
                  <a:pos x="187" y="63"/>
                </a:cxn>
                <a:cxn ang="0">
                  <a:pos x="148" y="75"/>
                </a:cxn>
                <a:cxn ang="0">
                  <a:pos x="148" y="86"/>
                </a:cxn>
                <a:cxn ang="0">
                  <a:pos x="120" y="106"/>
                </a:cxn>
                <a:cxn ang="0">
                  <a:pos x="79" y="121"/>
                </a:cxn>
                <a:cxn ang="0">
                  <a:pos x="71" y="127"/>
                </a:cxn>
                <a:cxn ang="0">
                  <a:pos x="69" y="149"/>
                </a:cxn>
                <a:cxn ang="0">
                  <a:pos x="0" y="149"/>
                </a:cxn>
                <a:cxn ang="0">
                  <a:pos x="22" y="140"/>
                </a:cxn>
                <a:cxn ang="0">
                  <a:pos x="51" y="112"/>
                </a:cxn>
                <a:cxn ang="0">
                  <a:pos x="54" y="101"/>
                </a:cxn>
                <a:cxn ang="0">
                  <a:pos x="52" y="80"/>
                </a:cxn>
                <a:cxn ang="0">
                  <a:pos x="62" y="61"/>
                </a:cxn>
                <a:cxn ang="0">
                  <a:pos x="75" y="48"/>
                </a:cxn>
                <a:cxn ang="0">
                  <a:pos x="101" y="33"/>
                </a:cxn>
                <a:cxn ang="0">
                  <a:pos x="118" y="1"/>
                </a:cxn>
                <a:cxn ang="0">
                  <a:pos x="125" y="0"/>
                </a:cxn>
                <a:cxn ang="0">
                  <a:pos x="139" y="11"/>
                </a:cxn>
                <a:cxn ang="0">
                  <a:pos x="161" y="9"/>
                </a:cxn>
                <a:cxn ang="0">
                  <a:pos x="176" y="11"/>
                </a:cxn>
                <a:cxn ang="0">
                  <a:pos x="182" y="18"/>
                </a:cxn>
                <a:cxn ang="0">
                  <a:pos x="182" y="18"/>
                </a:cxn>
              </a:cxnLst>
              <a:rect l="0" t="0" r="r" b="b"/>
              <a:pathLst>
                <a:path w="187" h="149">
                  <a:moveTo>
                    <a:pt x="182" y="18"/>
                  </a:moveTo>
                  <a:lnTo>
                    <a:pt x="187" y="63"/>
                  </a:lnTo>
                  <a:lnTo>
                    <a:pt x="148" y="75"/>
                  </a:lnTo>
                  <a:lnTo>
                    <a:pt x="148" y="86"/>
                  </a:lnTo>
                  <a:lnTo>
                    <a:pt x="120" y="106"/>
                  </a:lnTo>
                  <a:lnTo>
                    <a:pt x="79" y="121"/>
                  </a:lnTo>
                  <a:lnTo>
                    <a:pt x="71" y="127"/>
                  </a:lnTo>
                  <a:lnTo>
                    <a:pt x="69" y="149"/>
                  </a:lnTo>
                  <a:lnTo>
                    <a:pt x="0" y="149"/>
                  </a:lnTo>
                  <a:lnTo>
                    <a:pt x="22" y="140"/>
                  </a:lnTo>
                  <a:lnTo>
                    <a:pt x="51" y="112"/>
                  </a:lnTo>
                  <a:lnTo>
                    <a:pt x="54" y="101"/>
                  </a:lnTo>
                  <a:lnTo>
                    <a:pt x="52" y="80"/>
                  </a:lnTo>
                  <a:lnTo>
                    <a:pt x="62" y="61"/>
                  </a:lnTo>
                  <a:lnTo>
                    <a:pt x="75" y="48"/>
                  </a:lnTo>
                  <a:lnTo>
                    <a:pt x="101" y="33"/>
                  </a:lnTo>
                  <a:lnTo>
                    <a:pt x="118" y="1"/>
                  </a:lnTo>
                  <a:lnTo>
                    <a:pt x="125" y="0"/>
                  </a:lnTo>
                  <a:lnTo>
                    <a:pt x="139" y="11"/>
                  </a:lnTo>
                  <a:lnTo>
                    <a:pt x="161" y="9"/>
                  </a:lnTo>
                  <a:lnTo>
                    <a:pt x="176" y="11"/>
                  </a:lnTo>
                  <a:lnTo>
                    <a:pt x="182" y="18"/>
                  </a:lnTo>
                  <a:lnTo>
                    <a:pt x="182" y="1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19" name="Freeform 5790"/>
            <p:cNvSpPr>
              <a:spLocks/>
            </p:cNvSpPr>
            <p:nvPr>
              <p:custDataLst>
                <p:tags r:id="rId155"/>
              </p:custDataLst>
            </p:nvPr>
          </p:nvSpPr>
          <p:spPr bwMode="gray">
            <a:xfrm>
              <a:off x="7453727" y="4037083"/>
              <a:ext cx="30794" cy="44960"/>
            </a:xfrm>
            <a:custGeom>
              <a:avLst/>
              <a:gdLst/>
              <a:ahLst/>
              <a:cxnLst>
                <a:cxn ang="0">
                  <a:pos x="22" y="24"/>
                </a:cxn>
                <a:cxn ang="0">
                  <a:pos x="15" y="20"/>
                </a:cxn>
                <a:cxn ang="0">
                  <a:pos x="24" y="15"/>
                </a:cxn>
                <a:cxn ang="0">
                  <a:pos x="22" y="7"/>
                </a:cxn>
                <a:cxn ang="0">
                  <a:pos x="15" y="0"/>
                </a:cxn>
                <a:cxn ang="0">
                  <a:pos x="15" y="2"/>
                </a:cxn>
                <a:cxn ang="0">
                  <a:pos x="5" y="9"/>
                </a:cxn>
                <a:cxn ang="0">
                  <a:pos x="0" y="28"/>
                </a:cxn>
                <a:cxn ang="0">
                  <a:pos x="0" y="34"/>
                </a:cxn>
                <a:cxn ang="0">
                  <a:pos x="16" y="34"/>
                </a:cxn>
                <a:cxn ang="0">
                  <a:pos x="16" y="35"/>
                </a:cxn>
                <a:cxn ang="0">
                  <a:pos x="22" y="24"/>
                </a:cxn>
                <a:cxn ang="0">
                  <a:pos x="22" y="24"/>
                </a:cxn>
                <a:cxn ang="0">
                  <a:pos x="22" y="24"/>
                </a:cxn>
              </a:cxnLst>
              <a:rect l="0" t="0" r="r" b="b"/>
              <a:pathLst>
                <a:path w="24" h="35">
                  <a:moveTo>
                    <a:pt x="22" y="24"/>
                  </a:moveTo>
                  <a:lnTo>
                    <a:pt x="15" y="20"/>
                  </a:lnTo>
                  <a:lnTo>
                    <a:pt x="24" y="15"/>
                  </a:lnTo>
                  <a:lnTo>
                    <a:pt x="22" y="7"/>
                  </a:lnTo>
                  <a:lnTo>
                    <a:pt x="15" y="0"/>
                  </a:lnTo>
                  <a:lnTo>
                    <a:pt x="15" y="2"/>
                  </a:lnTo>
                  <a:lnTo>
                    <a:pt x="5" y="9"/>
                  </a:lnTo>
                  <a:lnTo>
                    <a:pt x="0" y="28"/>
                  </a:lnTo>
                  <a:lnTo>
                    <a:pt x="0" y="34"/>
                  </a:lnTo>
                  <a:lnTo>
                    <a:pt x="16" y="34"/>
                  </a:lnTo>
                  <a:lnTo>
                    <a:pt x="16" y="35"/>
                  </a:lnTo>
                  <a:lnTo>
                    <a:pt x="22" y="24"/>
                  </a:lnTo>
                  <a:lnTo>
                    <a:pt x="22" y="24"/>
                  </a:lnTo>
                  <a:lnTo>
                    <a:pt x="22" y="2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20" name="Freeform 5791"/>
            <p:cNvSpPr>
              <a:spLocks/>
            </p:cNvSpPr>
            <p:nvPr>
              <p:custDataLst>
                <p:tags r:id="rId156"/>
              </p:custDataLst>
            </p:nvPr>
          </p:nvSpPr>
          <p:spPr bwMode="gray">
            <a:xfrm>
              <a:off x="6254036" y="4015246"/>
              <a:ext cx="62872" cy="21838"/>
            </a:xfrm>
            <a:custGeom>
              <a:avLst/>
              <a:gdLst/>
              <a:ahLst/>
              <a:cxnLst>
                <a:cxn ang="0">
                  <a:pos x="2" y="17"/>
                </a:cxn>
                <a:cxn ang="0">
                  <a:pos x="26" y="10"/>
                </a:cxn>
                <a:cxn ang="0">
                  <a:pos x="47" y="12"/>
                </a:cxn>
                <a:cxn ang="0">
                  <a:pos x="49" y="8"/>
                </a:cxn>
                <a:cxn ang="0">
                  <a:pos x="26" y="0"/>
                </a:cxn>
                <a:cxn ang="0">
                  <a:pos x="2" y="6"/>
                </a:cxn>
                <a:cxn ang="0">
                  <a:pos x="2" y="6"/>
                </a:cxn>
                <a:cxn ang="0">
                  <a:pos x="0" y="15"/>
                </a:cxn>
                <a:cxn ang="0">
                  <a:pos x="2" y="17"/>
                </a:cxn>
                <a:cxn ang="0">
                  <a:pos x="2" y="17"/>
                </a:cxn>
              </a:cxnLst>
              <a:rect l="0" t="0" r="r" b="b"/>
              <a:pathLst>
                <a:path w="49" h="17">
                  <a:moveTo>
                    <a:pt x="2" y="17"/>
                  </a:moveTo>
                  <a:lnTo>
                    <a:pt x="26" y="10"/>
                  </a:lnTo>
                  <a:lnTo>
                    <a:pt x="47" y="12"/>
                  </a:lnTo>
                  <a:lnTo>
                    <a:pt x="49" y="8"/>
                  </a:lnTo>
                  <a:lnTo>
                    <a:pt x="26" y="0"/>
                  </a:lnTo>
                  <a:lnTo>
                    <a:pt x="2" y="6"/>
                  </a:lnTo>
                  <a:lnTo>
                    <a:pt x="2" y="6"/>
                  </a:lnTo>
                  <a:lnTo>
                    <a:pt x="0" y="15"/>
                  </a:lnTo>
                  <a:lnTo>
                    <a:pt x="2" y="17"/>
                  </a:lnTo>
                  <a:lnTo>
                    <a:pt x="2"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21" name="Freeform 5792"/>
            <p:cNvSpPr>
              <a:spLocks/>
            </p:cNvSpPr>
            <p:nvPr>
              <p:custDataLst>
                <p:tags r:id="rId157"/>
              </p:custDataLst>
            </p:nvPr>
          </p:nvSpPr>
          <p:spPr bwMode="gray">
            <a:xfrm>
              <a:off x="7190693" y="4395475"/>
              <a:ext cx="32077" cy="47529"/>
            </a:xfrm>
            <a:custGeom>
              <a:avLst/>
              <a:gdLst/>
              <a:ahLst/>
              <a:cxnLst>
                <a:cxn ang="0">
                  <a:pos x="0" y="6"/>
                </a:cxn>
                <a:cxn ang="0">
                  <a:pos x="25" y="0"/>
                </a:cxn>
                <a:cxn ang="0">
                  <a:pos x="25" y="19"/>
                </a:cxn>
                <a:cxn ang="0">
                  <a:pos x="10" y="37"/>
                </a:cxn>
                <a:cxn ang="0">
                  <a:pos x="6" y="37"/>
                </a:cxn>
                <a:cxn ang="0">
                  <a:pos x="2" y="19"/>
                </a:cxn>
                <a:cxn ang="0">
                  <a:pos x="0" y="6"/>
                </a:cxn>
                <a:cxn ang="0">
                  <a:pos x="0" y="6"/>
                </a:cxn>
              </a:cxnLst>
              <a:rect l="0" t="0" r="r" b="b"/>
              <a:pathLst>
                <a:path w="25" h="37">
                  <a:moveTo>
                    <a:pt x="0" y="6"/>
                  </a:moveTo>
                  <a:lnTo>
                    <a:pt x="25" y="0"/>
                  </a:lnTo>
                  <a:lnTo>
                    <a:pt x="25" y="19"/>
                  </a:lnTo>
                  <a:lnTo>
                    <a:pt x="10" y="37"/>
                  </a:lnTo>
                  <a:lnTo>
                    <a:pt x="6" y="37"/>
                  </a:lnTo>
                  <a:lnTo>
                    <a:pt x="2" y="19"/>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22" name="Freeform 5793"/>
            <p:cNvSpPr>
              <a:spLocks/>
            </p:cNvSpPr>
            <p:nvPr>
              <p:custDataLst>
                <p:tags r:id="rId158"/>
              </p:custDataLst>
            </p:nvPr>
          </p:nvSpPr>
          <p:spPr bwMode="gray">
            <a:xfrm>
              <a:off x="7189410" y="4364646"/>
              <a:ext cx="38493" cy="38537"/>
            </a:xfrm>
            <a:custGeom>
              <a:avLst/>
              <a:gdLst/>
              <a:ahLst/>
              <a:cxnLst>
                <a:cxn ang="0">
                  <a:pos x="26" y="24"/>
                </a:cxn>
                <a:cxn ang="0">
                  <a:pos x="1" y="30"/>
                </a:cxn>
                <a:cxn ang="0">
                  <a:pos x="0" y="24"/>
                </a:cxn>
                <a:cxn ang="0">
                  <a:pos x="11" y="3"/>
                </a:cxn>
                <a:cxn ang="0">
                  <a:pos x="22" y="0"/>
                </a:cxn>
                <a:cxn ang="0">
                  <a:pos x="22" y="0"/>
                </a:cxn>
                <a:cxn ang="0">
                  <a:pos x="30" y="13"/>
                </a:cxn>
                <a:cxn ang="0">
                  <a:pos x="26" y="24"/>
                </a:cxn>
                <a:cxn ang="0">
                  <a:pos x="26" y="24"/>
                </a:cxn>
              </a:cxnLst>
              <a:rect l="0" t="0" r="r" b="b"/>
              <a:pathLst>
                <a:path w="30" h="30">
                  <a:moveTo>
                    <a:pt x="26" y="24"/>
                  </a:moveTo>
                  <a:lnTo>
                    <a:pt x="1" y="30"/>
                  </a:lnTo>
                  <a:lnTo>
                    <a:pt x="0" y="24"/>
                  </a:lnTo>
                  <a:lnTo>
                    <a:pt x="11" y="3"/>
                  </a:lnTo>
                  <a:lnTo>
                    <a:pt x="22" y="0"/>
                  </a:lnTo>
                  <a:lnTo>
                    <a:pt x="22" y="0"/>
                  </a:lnTo>
                  <a:lnTo>
                    <a:pt x="30" y="13"/>
                  </a:lnTo>
                  <a:lnTo>
                    <a:pt x="26" y="24"/>
                  </a:lnTo>
                  <a:lnTo>
                    <a:pt x="26" y="2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23" name="Freeform 5794"/>
            <p:cNvSpPr>
              <a:spLocks/>
            </p:cNvSpPr>
            <p:nvPr>
              <p:custDataLst>
                <p:tags r:id="rId159"/>
              </p:custDataLst>
            </p:nvPr>
          </p:nvSpPr>
          <p:spPr bwMode="gray">
            <a:xfrm>
              <a:off x="7212506" y="4951689"/>
              <a:ext cx="24379" cy="30829"/>
            </a:xfrm>
            <a:custGeom>
              <a:avLst/>
              <a:gdLst/>
              <a:ahLst/>
              <a:cxnLst>
                <a:cxn ang="0">
                  <a:pos x="19" y="17"/>
                </a:cxn>
                <a:cxn ang="0">
                  <a:pos x="19" y="0"/>
                </a:cxn>
                <a:cxn ang="0">
                  <a:pos x="6" y="0"/>
                </a:cxn>
                <a:cxn ang="0">
                  <a:pos x="0" y="17"/>
                </a:cxn>
                <a:cxn ang="0">
                  <a:pos x="10" y="24"/>
                </a:cxn>
                <a:cxn ang="0">
                  <a:pos x="19" y="17"/>
                </a:cxn>
                <a:cxn ang="0">
                  <a:pos x="19" y="17"/>
                </a:cxn>
              </a:cxnLst>
              <a:rect l="0" t="0" r="r" b="b"/>
              <a:pathLst>
                <a:path w="19" h="24">
                  <a:moveTo>
                    <a:pt x="19" y="17"/>
                  </a:moveTo>
                  <a:lnTo>
                    <a:pt x="19" y="0"/>
                  </a:lnTo>
                  <a:lnTo>
                    <a:pt x="6" y="0"/>
                  </a:lnTo>
                  <a:lnTo>
                    <a:pt x="0" y="17"/>
                  </a:lnTo>
                  <a:lnTo>
                    <a:pt x="10" y="24"/>
                  </a:lnTo>
                  <a:lnTo>
                    <a:pt x="19" y="17"/>
                  </a:lnTo>
                  <a:lnTo>
                    <a:pt x="19"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24" name="Freeform 5795"/>
            <p:cNvSpPr>
              <a:spLocks/>
            </p:cNvSpPr>
            <p:nvPr>
              <p:custDataLst>
                <p:tags r:id="rId160"/>
              </p:custDataLst>
            </p:nvPr>
          </p:nvSpPr>
          <p:spPr bwMode="gray">
            <a:xfrm>
              <a:off x="6991814" y="4761575"/>
              <a:ext cx="192464" cy="211952"/>
            </a:xfrm>
            <a:custGeom>
              <a:avLst/>
              <a:gdLst/>
              <a:ahLst/>
              <a:cxnLst>
                <a:cxn ang="0">
                  <a:pos x="86" y="0"/>
                </a:cxn>
                <a:cxn ang="0">
                  <a:pos x="99" y="30"/>
                </a:cxn>
                <a:cxn ang="0">
                  <a:pos x="125" y="52"/>
                </a:cxn>
                <a:cxn ang="0">
                  <a:pos x="131" y="71"/>
                </a:cxn>
                <a:cxn ang="0">
                  <a:pos x="150" y="78"/>
                </a:cxn>
                <a:cxn ang="0">
                  <a:pos x="122" y="99"/>
                </a:cxn>
                <a:cxn ang="0">
                  <a:pos x="86" y="142"/>
                </a:cxn>
                <a:cxn ang="0">
                  <a:pos x="71" y="144"/>
                </a:cxn>
                <a:cxn ang="0">
                  <a:pos x="56" y="138"/>
                </a:cxn>
                <a:cxn ang="0">
                  <a:pos x="34" y="163"/>
                </a:cxn>
                <a:cxn ang="0">
                  <a:pos x="19" y="165"/>
                </a:cxn>
                <a:cxn ang="0">
                  <a:pos x="11" y="161"/>
                </a:cxn>
                <a:cxn ang="0">
                  <a:pos x="11" y="140"/>
                </a:cxn>
                <a:cxn ang="0">
                  <a:pos x="0" y="127"/>
                </a:cxn>
                <a:cxn ang="0">
                  <a:pos x="0" y="127"/>
                </a:cxn>
                <a:cxn ang="0">
                  <a:pos x="0" y="80"/>
                </a:cxn>
                <a:cxn ang="0">
                  <a:pos x="17" y="73"/>
                </a:cxn>
                <a:cxn ang="0">
                  <a:pos x="19" y="11"/>
                </a:cxn>
                <a:cxn ang="0">
                  <a:pos x="51" y="5"/>
                </a:cxn>
                <a:cxn ang="0">
                  <a:pos x="56" y="5"/>
                </a:cxn>
                <a:cxn ang="0">
                  <a:pos x="60" y="15"/>
                </a:cxn>
                <a:cxn ang="0">
                  <a:pos x="69" y="5"/>
                </a:cxn>
                <a:cxn ang="0">
                  <a:pos x="86" y="0"/>
                </a:cxn>
                <a:cxn ang="0">
                  <a:pos x="86" y="0"/>
                </a:cxn>
              </a:cxnLst>
              <a:rect l="0" t="0" r="r" b="b"/>
              <a:pathLst>
                <a:path w="150" h="165">
                  <a:moveTo>
                    <a:pt x="86" y="0"/>
                  </a:moveTo>
                  <a:lnTo>
                    <a:pt x="99" y="30"/>
                  </a:lnTo>
                  <a:lnTo>
                    <a:pt x="125" y="52"/>
                  </a:lnTo>
                  <a:lnTo>
                    <a:pt x="131" y="71"/>
                  </a:lnTo>
                  <a:lnTo>
                    <a:pt x="150" y="78"/>
                  </a:lnTo>
                  <a:lnTo>
                    <a:pt x="122" y="99"/>
                  </a:lnTo>
                  <a:lnTo>
                    <a:pt x="86" y="142"/>
                  </a:lnTo>
                  <a:lnTo>
                    <a:pt x="71" y="144"/>
                  </a:lnTo>
                  <a:lnTo>
                    <a:pt x="56" y="138"/>
                  </a:lnTo>
                  <a:lnTo>
                    <a:pt x="34" y="163"/>
                  </a:lnTo>
                  <a:lnTo>
                    <a:pt x="19" y="165"/>
                  </a:lnTo>
                  <a:lnTo>
                    <a:pt x="11" y="161"/>
                  </a:lnTo>
                  <a:lnTo>
                    <a:pt x="11" y="140"/>
                  </a:lnTo>
                  <a:lnTo>
                    <a:pt x="0" y="127"/>
                  </a:lnTo>
                  <a:lnTo>
                    <a:pt x="0" y="127"/>
                  </a:lnTo>
                  <a:lnTo>
                    <a:pt x="0" y="80"/>
                  </a:lnTo>
                  <a:lnTo>
                    <a:pt x="17" y="73"/>
                  </a:lnTo>
                  <a:lnTo>
                    <a:pt x="19" y="11"/>
                  </a:lnTo>
                  <a:lnTo>
                    <a:pt x="51" y="5"/>
                  </a:lnTo>
                  <a:lnTo>
                    <a:pt x="56" y="5"/>
                  </a:lnTo>
                  <a:lnTo>
                    <a:pt x="60" y="15"/>
                  </a:lnTo>
                  <a:lnTo>
                    <a:pt x="69" y="5"/>
                  </a:lnTo>
                  <a:lnTo>
                    <a:pt x="86" y="0"/>
                  </a:lnTo>
                  <a:lnTo>
                    <a:pt x="86"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25" name="Freeform 5798"/>
            <p:cNvSpPr>
              <a:spLocks/>
            </p:cNvSpPr>
            <p:nvPr>
              <p:custDataLst>
                <p:tags r:id="rId161"/>
              </p:custDataLst>
            </p:nvPr>
          </p:nvSpPr>
          <p:spPr bwMode="gray">
            <a:xfrm>
              <a:off x="4986818" y="498370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26" name="Freeform 5799"/>
            <p:cNvSpPr>
              <a:spLocks/>
            </p:cNvSpPr>
            <p:nvPr>
              <p:custDataLst>
                <p:tags r:id="rId162"/>
              </p:custDataLst>
            </p:nvPr>
          </p:nvSpPr>
          <p:spPr bwMode="gray">
            <a:xfrm>
              <a:off x="5009914" y="515969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27" name="Freeform 5800"/>
            <p:cNvSpPr>
              <a:spLocks/>
            </p:cNvSpPr>
            <p:nvPr>
              <p:custDataLst>
                <p:tags r:id="rId163"/>
              </p:custDataLst>
            </p:nvPr>
          </p:nvSpPr>
          <p:spPr bwMode="gray">
            <a:xfrm>
              <a:off x="5047123" y="515712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28" name="Freeform 5801"/>
            <p:cNvSpPr>
              <a:spLocks/>
            </p:cNvSpPr>
            <p:nvPr>
              <p:custDataLst>
                <p:tags r:id="rId164"/>
              </p:custDataLst>
            </p:nvPr>
          </p:nvSpPr>
          <p:spPr bwMode="gray">
            <a:xfrm>
              <a:off x="5204944" y="5349805"/>
              <a:ext cx="19246" cy="38537"/>
            </a:xfrm>
            <a:custGeom>
              <a:avLst/>
              <a:gdLst/>
              <a:ahLst/>
              <a:cxnLst>
                <a:cxn ang="0">
                  <a:pos x="0" y="0"/>
                </a:cxn>
                <a:cxn ang="0">
                  <a:pos x="8" y="28"/>
                </a:cxn>
                <a:cxn ang="0">
                  <a:pos x="15" y="30"/>
                </a:cxn>
                <a:cxn ang="0">
                  <a:pos x="15" y="9"/>
                </a:cxn>
                <a:cxn ang="0">
                  <a:pos x="0" y="0"/>
                </a:cxn>
                <a:cxn ang="0">
                  <a:pos x="0" y="0"/>
                </a:cxn>
              </a:cxnLst>
              <a:rect l="0" t="0" r="r" b="b"/>
              <a:pathLst>
                <a:path w="15" h="30">
                  <a:moveTo>
                    <a:pt x="0" y="0"/>
                  </a:moveTo>
                  <a:lnTo>
                    <a:pt x="8" y="28"/>
                  </a:lnTo>
                  <a:lnTo>
                    <a:pt x="15" y="30"/>
                  </a:lnTo>
                  <a:lnTo>
                    <a:pt x="15" y="9"/>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29" name="Freeform 5802"/>
            <p:cNvSpPr>
              <a:spLocks/>
            </p:cNvSpPr>
            <p:nvPr>
              <p:custDataLst>
                <p:tags r:id="rId165"/>
              </p:custDataLst>
            </p:nvPr>
          </p:nvSpPr>
          <p:spPr bwMode="gray">
            <a:xfrm>
              <a:off x="5537265" y="5570749"/>
              <a:ext cx="59022" cy="21838"/>
            </a:xfrm>
            <a:custGeom>
              <a:avLst/>
              <a:gdLst/>
              <a:ahLst/>
              <a:cxnLst>
                <a:cxn ang="0">
                  <a:pos x="0" y="8"/>
                </a:cxn>
                <a:cxn ang="0">
                  <a:pos x="26" y="17"/>
                </a:cxn>
                <a:cxn ang="0">
                  <a:pos x="46" y="8"/>
                </a:cxn>
                <a:cxn ang="0">
                  <a:pos x="35" y="0"/>
                </a:cxn>
                <a:cxn ang="0">
                  <a:pos x="16" y="0"/>
                </a:cxn>
                <a:cxn ang="0">
                  <a:pos x="5" y="2"/>
                </a:cxn>
                <a:cxn ang="0">
                  <a:pos x="11" y="8"/>
                </a:cxn>
                <a:cxn ang="0">
                  <a:pos x="9" y="12"/>
                </a:cxn>
                <a:cxn ang="0">
                  <a:pos x="0" y="8"/>
                </a:cxn>
                <a:cxn ang="0">
                  <a:pos x="0" y="8"/>
                </a:cxn>
              </a:cxnLst>
              <a:rect l="0" t="0" r="r" b="b"/>
              <a:pathLst>
                <a:path w="46" h="17">
                  <a:moveTo>
                    <a:pt x="0" y="8"/>
                  </a:moveTo>
                  <a:lnTo>
                    <a:pt x="26" y="17"/>
                  </a:lnTo>
                  <a:lnTo>
                    <a:pt x="46" y="8"/>
                  </a:lnTo>
                  <a:lnTo>
                    <a:pt x="35" y="0"/>
                  </a:lnTo>
                  <a:lnTo>
                    <a:pt x="16" y="0"/>
                  </a:lnTo>
                  <a:lnTo>
                    <a:pt x="5" y="2"/>
                  </a:lnTo>
                  <a:lnTo>
                    <a:pt x="11" y="8"/>
                  </a:lnTo>
                  <a:lnTo>
                    <a:pt x="9" y="12"/>
                  </a:lnTo>
                  <a:lnTo>
                    <a:pt x="0" y="8"/>
                  </a:lnTo>
                  <a:lnTo>
                    <a:pt x="0" y="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30" name="Freeform 5803"/>
            <p:cNvSpPr>
              <a:spLocks/>
            </p:cNvSpPr>
            <p:nvPr>
              <p:custDataLst>
                <p:tags r:id="rId166"/>
              </p:custDataLst>
            </p:nvPr>
          </p:nvSpPr>
          <p:spPr bwMode="gray">
            <a:xfrm>
              <a:off x="5312723" y="4105067"/>
              <a:ext cx="17963" cy="16699"/>
            </a:xfrm>
            <a:custGeom>
              <a:avLst/>
              <a:gdLst/>
              <a:ahLst/>
              <a:cxnLst>
                <a:cxn ang="0">
                  <a:pos x="0" y="13"/>
                </a:cxn>
                <a:cxn ang="0">
                  <a:pos x="10" y="13"/>
                </a:cxn>
                <a:cxn ang="0">
                  <a:pos x="14" y="0"/>
                </a:cxn>
                <a:cxn ang="0">
                  <a:pos x="2" y="2"/>
                </a:cxn>
                <a:cxn ang="0">
                  <a:pos x="6" y="12"/>
                </a:cxn>
                <a:cxn ang="0">
                  <a:pos x="0" y="13"/>
                </a:cxn>
                <a:cxn ang="0">
                  <a:pos x="0" y="13"/>
                </a:cxn>
              </a:cxnLst>
              <a:rect l="0" t="0" r="r" b="b"/>
              <a:pathLst>
                <a:path w="14" h="13">
                  <a:moveTo>
                    <a:pt x="0" y="13"/>
                  </a:moveTo>
                  <a:lnTo>
                    <a:pt x="10" y="13"/>
                  </a:lnTo>
                  <a:lnTo>
                    <a:pt x="14" y="0"/>
                  </a:lnTo>
                  <a:lnTo>
                    <a:pt x="2" y="2"/>
                  </a:lnTo>
                  <a:lnTo>
                    <a:pt x="6" y="12"/>
                  </a:lnTo>
                  <a:lnTo>
                    <a:pt x="0" y="13"/>
                  </a:lnTo>
                  <a:lnTo>
                    <a:pt x="0" y="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31" name="Freeform 5804"/>
            <p:cNvSpPr>
              <a:spLocks/>
            </p:cNvSpPr>
            <p:nvPr>
              <p:custDataLst>
                <p:tags r:id="rId167"/>
              </p:custDataLst>
            </p:nvPr>
          </p:nvSpPr>
          <p:spPr bwMode="gray">
            <a:xfrm>
              <a:off x="5180565" y="407166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32" name="Freeform 5805"/>
            <p:cNvSpPr>
              <a:spLocks/>
            </p:cNvSpPr>
            <p:nvPr>
              <p:custDataLst>
                <p:tags r:id="rId168"/>
              </p:custDataLst>
            </p:nvPr>
          </p:nvSpPr>
          <p:spPr bwMode="gray">
            <a:xfrm>
              <a:off x="5163885" y="4066530"/>
              <a:ext cx="5132" cy="7707"/>
            </a:xfrm>
            <a:custGeom>
              <a:avLst/>
              <a:gdLst/>
              <a:ahLst/>
              <a:cxnLst>
                <a:cxn ang="0">
                  <a:pos x="0" y="0"/>
                </a:cxn>
                <a:cxn ang="0">
                  <a:pos x="4" y="6"/>
                </a:cxn>
                <a:cxn ang="0">
                  <a:pos x="0" y="0"/>
                </a:cxn>
              </a:cxnLst>
              <a:rect l="0" t="0" r="r" b="b"/>
              <a:pathLst>
                <a:path w="4" h="6">
                  <a:moveTo>
                    <a:pt x="0" y="0"/>
                  </a:moveTo>
                  <a:lnTo>
                    <a:pt x="4" y="6"/>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33" name="Line 5806"/>
            <p:cNvSpPr>
              <a:spLocks noChangeShapeType="1"/>
            </p:cNvSpPr>
            <p:nvPr>
              <p:custDataLst>
                <p:tags r:id="rId169"/>
              </p:custDataLst>
            </p:nvPr>
          </p:nvSpPr>
          <p:spPr bwMode="gray">
            <a:xfrm>
              <a:off x="5163885" y="4066530"/>
              <a:ext cx="5132" cy="7707"/>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34" name="Freeform 5807"/>
            <p:cNvSpPr>
              <a:spLocks/>
            </p:cNvSpPr>
            <p:nvPr>
              <p:custDataLst>
                <p:tags r:id="rId170"/>
              </p:custDataLst>
            </p:nvPr>
          </p:nvSpPr>
          <p:spPr bwMode="gray">
            <a:xfrm>
              <a:off x="5147204" y="40626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35" name="Freeform 5809"/>
            <p:cNvSpPr>
              <a:spLocks/>
            </p:cNvSpPr>
            <p:nvPr>
              <p:custDataLst>
                <p:tags r:id="rId171"/>
              </p:custDataLst>
            </p:nvPr>
          </p:nvSpPr>
          <p:spPr bwMode="gray">
            <a:xfrm>
              <a:off x="4902134" y="3837878"/>
              <a:ext cx="11548" cy="15415"/>
            </a:xfrm>
            <a:custGeom>
              <a:avLst/>
              <a:gdLst/>
              <a:ahLst/>
              <a:cxnLst>
                <a:cxn ang="0">
                  <a:pos x="0" y="4"/>
                </a:cxn>
                <a:cxn ang="0">
                  <a:pos x="0" y="12"/>
                </a:cxn>
                <a:cxn ang="0">
                  <a:pos x="9" y="10"/>
                </a:cxn>
                <a:cxn ang="0">
                  <a:pos x="4" y="0"/>
                </a:cxn>
                <a:cxn ang="0">
                  <a:pos x="0" y="4"/>
                </a:cxn>
                <a:cxn ang="0">
                  <a:pos x="0" y="4"/>
                </a:cxn>
              </a:cxnLst>
              <a:rect l="0" t="0" r="r" b="b"/>
              <a:pathLst>
                <a:path w="9" h="12">
                  <a:moveTo>
                    <a:pt x="0" y="4"/>
                  </a:moveTo>
                  <a:lnTo>
                    <a:pt x="0" y="12"/>
                  </a:lnTo>
                  <a:lnTo>
                    <a:pt x="9" y="10"/>
                  </a:lnTo>
                  <a:lnTo>
                    <a:pt x="4" y="0"/>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36" name="Freeform 5821"/>
            <p:cNvSpPr>
              <a:spLocks/>
            </p:cNvSpPr>
            <p:nvPr>
              <p:custDataLst>
                <p:tags r:id="rId172"/>
              </p:custDataLst>
            </p:nvPr>
          </p:nvSpPr>
          <p:spPr bwMode="gray">
            <a:xfrm>
              <a:off x="5334536" y="403056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37" name="Freeform 5822"/>
            <p:cNvSpPr>
              <a:spLocks/>
            </p:cNvSpPr>
            <p:nvPr>
              <p:custDataLst>
                <p:tags r:id="rId173"/>
              </p:custDataLst>
            </p:nvPr>
          </p:nvSpPr>
          <p:spPr bwMode="gray">
            <a:xfrm>
              <a:off x="5330687" y="404597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38" name="Freeform 5823"/>
            <p:cNvSpPr>
              <a:spLocks/>
            </p:cNvSpPr>
            <p:nvPr>
              <p:custDataLst>
                <p:tags r:id="rId174"/>
              </p:custDataLst>
            </p:nvPr>
          </p:nvSpPr>
          <p:spPr bwMode="gray">
            <a:xfrm>
              <a:off x="5317856" y="407423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39" name="Freeform 5824"/>
            <p:cNvSpPr>
              <a:spLocks/>
            </p:cNvSpPr>
            <p:nvPr>
              <p:custDataLst>
                <p:tags r:id="rId175"/>
              </p:custDataLst>
            </p:nvPr>
          </p:nvSpPr>
          <p:spPr bwMode="gray">
            <a:xfrm>
              <a:off x="5364047" y="404726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40" name="Freeform 5825"/>
            <p:cNvSpPr>
              <a:spLocks/>
            </p:cNvSpPr>
            <p:nvPr>
              <p:custDataLst>
                <p:tags r:id="rId176"/>
              </p:custDataLst>
            </p:nvPr>
          </p:nvSpPr>
          <p:spPr bwMode="gray">
            <a:xfrm>
              <a:off x="5339668" y="409350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41" name="Freeform 5826"/>
            <p:cNvSpPr>
              <a:spLocks/>
            </p:cNvSpPr>
            <p:nvPr>
              <p:custDataLst>
                <p:tags r:id="rId177"/>
              </p:custDataLst>
            </p:nvPr>
          </p:nvSpPr>
          <p:spPr bwMode="gray">
            <a:xfrm>
              <a:off x="5008630" y="3763374"/>
              <a:ext cx="11548" cy="35968"/>
            </a:xfrm>
            <a:custGeom>
              <a:avLst/>
              <a:gdLst/>
              <a:ahLst/>
              <a:cxnLst>
                <a:cxn ang="0">
                  <a:pos x="3" y="0"/>
                </a:cxn>
                <a:cxn ang="0">
                  <a:pos x="0" y="12"/>
                </a:cxn>
                <a:cxn ang="0">
                  <a:pos x="9" y="28"/>
                </a:cxn>
                <a:cxn ang="0">
                  <a:pos x="9" y="10"/>
                </a:cxn>
                <a:cxn ang="0">
                  <a:pos x="3" y="0"/>
                </a:cxn>
                <a:cxn ang="0">
                  <a:pos x="3" y="0"/>
                </a:cxn>
              </a:cxnLst>
              <a:rect l="0" t="0" r="r" b="b"/>
              <a:pathLst>
                <a:path w="9" h="28">
                  <a:moveTo>
                    <a:pt x="3" y="0"/>
                  </a:moveTo>
                  <a:lnTo>
                    <a:pt x="0" y="12"/>
                  </a:lnTo>
                  <a:lnTo>
                    <a:pt x="9" y="28"/>
                  </a:lnTo>
                  <a:lnTo>
                    <a:pt x="9" y="10"/>
                  </a:lnTo>
                  <a:lnTo>
                    <a:pt x="3" y="0"/>
                  </a:lnTo>
                  <a:lnTo>
                    <a:pt x="3"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42" name="Freeform 5828"/>
            <p:cNvSpPr>
              <a:spLocks/>
            </p:cNvSpPr>
            <p:nvPr>
              <p:custDataLst>
                <p:tags r:id="rId178"/>
              </p:custDataLst>
            </p:nvPr>
          </p:nvSpPr>
          <p:spPr bwMode="gray">
            <a:xfrm>
              <a:off x="5006064" y="3727406"/>
              <a:ext cx="21813" cy="5138"/>
            </a:xfrm>
            <a:custGeom>
              <a:avLst/>
              <a:gdLst/>
              <a:ahLst/>
              <a:cxnLst>
                <a:cxn ang="0">
                  <a:pos x="0" y="0"/>
                </a:cxn>
                <a:cxn ang="0">
                  <a:pos x="17" y="4"/>
                </a:cxn>
                <a:cxn ang="0">
                  <a:pos x="0" y="0"/>
                </a:cxn>
              </a:cxnLst>
              <a:rect l="0" t="0" r="r" b="b"/>
              <a:pathLst>
                <a:path w="17" h="4">
                  <a:moveTo>
                    <a:pt x="0" y="0"/>
                  </a:moveTo>
                  <a:lnTo>
                    <a:pt x="17" y="4"/>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43" name="Line 5829"/>
            <p:cNvSpPr>
              <a:spLocks noChangeShapeType="1"/>
            </p:cNvSpPr>
            <p:nvPr>
              <p:custDataLst>
                <p:tags r:id="rId179"/>
              </p:custDataLst>
            </p:nvPr>
          </p:nvSpPr>
          <p:spPr bwMode="gray">
            <a:xfrm>
              <a:off x="5006064" y="3727406"/>
              <a:ext cx="21813" cy="5138"/>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44" name="Freeform 5834"/>
            <p:cNvSpPr>
              <a:spLocks/>
            </p:cNvSpPr>
            <p:nvPr>
              <p:custDataLst>
                <p:tags r:id="rId180"/>
              </p:custDataLst>
            </p:nvPr>
          </p:nvSpPr>
          <p:spPr bwMode="gray">
            <a:xfrm>
              <a:off x="5029160" y="376594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45" name="Freeform 5856"/>
            <p:cNvSpPr>
              <a:spLocks/>
            </p:cNvSpPr>
            <p:nvPr>
              <p:custDataLst>
                <p:tags r:id="rId181"/>
              </p:custDataLst>
            </p:nvPr>
          </p:nvSpPr>
          <p:spPr bwMode="gray">
            <a:xfrm>
              <a:off x="4938060" y="3776220"/>
              <a:ext cx="10265" cy="2569"/>
            </a:xfrm>
            <a:custGeom>
              <a:avLst/>
              <a:gdLst/>
              <a:ahLst/>
              <a:cxnLst>
                <a:cxn ang="0">
                  <a:pos x="0" y="2"/>
                </a:cxn>
                <a:cxn ang="0">
                  <a:pos x="8" y="0"/>
                </a:cxn>
                <a:cxn ang="0">
                  <a:pos x="0" y="2"/>
                </a:cxn>
              </a:cxnLst>
              <a:rect l="0" t="0" r="r" b="b"/>
              <a:pathLst>
                <a:path w="8" h="2">
                  <a:moveTo>
                    <a:pt x="0" y="2"/>
                  </a:moveTo>
                  <a:lnTo>
                    <a:pt x="8" y="0"/>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46" name="Line 5857"/>
            <p:cNvSpPr>
              <a:spLocks noChangeShapeType="1"/>
            </p:cNvSpPr>
            <p:nvPr>
              <p:custDataLst>
                <p:tags r:id="rId182"/>
              </p:custDataLst>
            </p:nvPr>
          </p:nvSpPr>
          <p:spPr bwMode="gray">
            <a:xfrm flipV="1">
              <a:off x="4938060" y="3776220"/>
              <a:ext cx="10265" cy="2569"/>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47" name="Freeform 5858"/>
            <p:cNvSpPr>
              <a:spLocks/>
            </p:cNvSpPr>
            <p:nvPr>
              <p:custDataLst>
                <p:tags r:id="rId183"/>
              </p:custDataLst>
            </p:nvPr>
          </p:nvSpPr>
          <p:spPr bwMode="gray">
            <a:xfrm>
              <a:off x="5195962" y="3385714"/>
              <a:ext cx="39776" cy="12846"/>
            </a:xfrm>
            <a:custGeom>
              <a:avLst/>
              <a:gdLst/>
              <a:ahLst/>
              <a:cxnLst>
                <a:cxn ang="0">
                  <a:pos x="0" y="10"/>
                </a:cxn>
                <a:cxn ang="0">
                  <a:pos x="31" y="2"/>
                </a:cxn>
                <a:cxn ang="0">
                  <a:pos x="28" y="0"/>
                </a:cxn>
                <a:cxn ang="0">
                  <a:pos x="0" y="10"/>
                </a:cxn>
                <a:cxn ang="0">
                  <a:pos x="0" y="10"/>
                </a:cxn>
              </a:cxnLst>
              <a:rect l="0" t="0" r="r" b="b"/>
              <a:pathLst>
                <a:path w="31" h="10">
                  <a:moveTo>
                    <a:pt x="0" y="10"/>
                  </a:moveTo>
                  <a:lnTo>
                    <a:pt x="31" y="2"/>
                  </a:lnTo>
                  <a:lnTo>
                    <a:pt x="28" y="0"/>
                  </a:lnTo>
                  <a:lnTo>
                    <a:pt x="0" y="10"/>
                  </a:lnTo>
                  <a:lnTo>
                    <a:pt x="0" y="1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48" name="Freeform 5859"/>
            <p:cNvSpPr>
              <a:spLocks/>
            </p:cNvSpPr>
            <p:nvPr>
              <p:custDataLst>
                <p:tags r:id="rId184"/>
              </p:custDataLst>
            </p:nvPr>
          </p:nvSpPr>
          <p:spPr bwMode="gray">
            <a:xfrm>
              <a:off x="5457713" y="3184038"/>
              <a:ext cx="43625" cy="16699"/>
            </a:xfrm>
            <a:custGeom>
              <a:avLst/>
              <a:gdLst/>
              <a:ahLst/>
              <a:cxnLst>
                <a:cxn ang="0">
                  <a:pos x="0" y="0"/>
                </a:cxn>
                <a:cxn ang="0">
                  <a:pos x="17" y="13"/>
                </a:cxn>
                <a:cxn ang="0">
                  <a:pos x="34" y="13"/>
                </a:cxn>
                <a:cxn ang="0">
                  <a:pos x="19" y="2"/>
                </a:cxn>
                <a:cxn ang="0">
                  <a:pos x="0" y="0"/>
                </a:cxn>
                <a:cxn ang="0">
                  <a:pos x="0" y="0"/>
                </a:cxn>
              </a:cxnLst>
              <a:rect l="0" t="0" r="r" b="b"/>
              <a:pathLst>
                <a:path w="34" h="13">
                  <a:moveTo>
                    <a:pt x="0" y="0"/>
                  </a:moveTo>
                  <a:lnTo>
                    <a:pt x="17" y="13"/>
                  </a:lnTo>
                  <a:lnTo>
                    <a:pt x="34" y="13"/>
                  </a:lnTo>
                  <a:lnTo>
                    <a:pt x="19" y="2"/>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49" name="Freeform 5860"/>
            <p:cNvSpPr>
              <a:spLocks/>
            </p:cNvSpPr>
            <p:nvPr>
              <p:custDataLst>
                <p:tags r:id="rId185"/>
              </p:custDataLst>
            </p:nvPr>
          </p:nvSpPr>
          <p:spPr bwMode="gray">
            <a:xfrm>
              <a:off x="5433334" y="3250835"/>
              <a:ext cx="38493" cy="24407"/>
            </a:xfrm>
            <a:custGeom>
              <a:avLst/>
              <a:gdLst/>
              <a:ahLst/>
              <a:cxnLst>
                <a:cxn ang="0">
                  <a:pos x="0" y="6"/>
                </a:cxn>
                <a:cxn ang="0">
                  <a:pos x="19" y="19"/>
                </a:cxn>
                <a:cxn ang="0">
                  <a:pos x="30" y="8"/>
                </a:cxn>
                <a:cxn ang="0">
                  <a:pos x="11" y="10"/>
                </a:cxn>
                <a:cxn ang="0">
                  <a:pos x="4" y="6"/>
                </a:cxn>
                <a:cxn ang="0">
                  <a:pos x="4" y="0"/>
                </a:cxn>
                <a:cxn ang="0">
                  <a:pos x="0" y="6"/>
                </a:cxn>
                <a:cxn ang="0">
                  <a:pos x="0" y="6"/>
                </a:cxn>
              </a:cxnLst>
              <a:rect l="0" t="0" r="r" b="b"/>
              <a:pathLst>
                <a:path w="30" h="19">
                  <a:moveTo>
                    <a:pt x="0" y="6"/>
                  </a:moveTo>
                  <a:lnTo>
                    <a:pt x="19" y="19"/>
                  </a:lnTo>
                  <a:lnTo>
                    <a:pt x="30" y="8"/>
                  </a:lnTo>
                  <a:lnTo>
                    <a:pt x="11" y="10"/>
                  </a:lnTo>
                  <a:lnTo>
                    <a:pt x="4" y="6"/>
                  </a:lnTo>
                  <a:lnTo>
                    <a:pt x="4"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50" name="Freeform 5861"/>
            <p:cNvSpPr>
              <a:spLocks/>
            </p:cNvSpPr>
            <p:nvPr>
              <p:custDataLst>
                <p:tags r:id="rId186"/>
              </p:custDataLst>
            </p:nvPr>
          </p:nvSpPr>
          <p:spPr bwMode="gray">
            <a:xfrm>
              <a:off x="5279363" y="2897581"/>
              <a:ext cx="38493" cy="14130"/>
            </a:xfrm>
            <a:custGeom>
              <a:avLst/>
              <a:gdLst/>
              <a:ahLst/>
              <a:cxnLst>
                <a:cxn ang="0">
                  <a:pos x="0" y="11"/>
                </a:cxn>
                <a:cxn ang="0">
                  <a:pos x="30" y="0"/>
                </a:cxn>
                <a:cxn ang="0">
                  <a:pos x="10" y="2"/>
                </a:cxn>
                <a:cxn ang="0">
                  <a:pos x="0" y="11"/>
                </a:cxn>
                <a:cxn ang="0">
                  <a:pos x="0" y="11"/>
                </a:cxn>
              </a:cxnLst>
              <a:rect l="0" t="0" r="r" b="b"/>
              <a:pathLst>
                <a:path w="30" h="11">
                  <a:moveTo>
                    <a:pt x="0" y="11"/>
                  </a:moveTo>
                  <a:lnTo>
                    <a:pt x="30" y="0"/>
                  </a:lnTo>
                  <a:lnTo>
                    <a:pt x="10" y="2"/>
                  </a:lnTo>
                  <a:lnTo>
                    <a:pt x="0" y="11"/>
                  </a:lnTo>
                  <a:lnTo>
                    <a:pt x="0"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51" name="Freeform 5862"/>
            <p:cNvSpPr>
              <a:spLocks/>
            </p:cNvSpPr>
            <p:nvPr>
              <p:custDataLst>
                <p:tags r:id="rId187"/>
              </p:custDataLst>
            </p:nvPr>
          </p:nvSpPr>
          <p:spPr bwMode="gray">
            <a:xfrm>
              <a:off x="5330687" y="2906573"/>
              <a:ext cx="23096" cy="17984"/>
            </a:xfrm>
            <a:custGeom>
              <a:avLst/>
              <a:gdLst/>
              <a:ahLst/>
              <a:cxnLst>
                <a:cxn ang="0">
                  <a:pos x="9" y="0"/>
                </a:cxn>
                <a:cxn ang="0">
                  <a:pos x="0" y="10"/>
                </a:cxn>
                <a:cxn ang="0">
                  <a:pos x="3" y="14"/>
                </a:cxn>
                <a:cxn ang="0">
                  <a:pos x="18" y="0"/>
                </a:cxn>
                <a:cxn ang="0">
                  <a:pos x="9" y="0"/>
                </a:cxn>
                <a:cxn ang="0">
                  <a:pos x="9" y="0"/>
                </a:cxn>
              </a:cxnLst>
              <a:rect l="0" t="0" r="r" b="b"/>
              <a:pathLst>
                <a:path w="18" h="14">
                  <a:moveTo>
                    <a:pt x="9" y="0"/>
                  </a:moveTo>
                  <a:lnTo>
                    <a:pt x="0" y="10"/>
                  </a:lnTo>
                  <a:lnTo>
                    <a:pt x="3" y="14"/>
                  </a:lnTo>
                  <a:lnTo>
                    <a:pt x="18" y="0"/>
                  </a:lnTo>
                  <a:lnTo>
                    <a:pt x="9" y="0"/>
                  </a:lnTo>
                  <a:lnTo>
                    <a:pt x="9"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52" name="Freeform 5863"/>
            <p:cNvSpPr>
              <a:spLocks/>
            </p:cNvSpPr>
            <p:nvPr>
              <p:custDataLst>
                <p:tags r:id="rId188"/>
              </p:custDataLst>
            </p:nvPr>
          </p:nvSpPr>
          <p:spPr bwMode="gray">
            <a:xfrm>
              <a:off x="5534698" y="3142932"/>
              <a:ext cx="119328" cy="115610"/>
            </a:xfrm>
            <a:custGeom>
              <a:avLst/>
              <a:gdLst/>
              <a:ahLst/>
              <a:cxnLst>
                <a:cxn ang="0">
                  <a:pos x="0" y="67"/>
                </a:cxn>
                <a:cxn ang="0">
                  <a:pos x="0" y="73"/>
                </a:cxn>
                <a:cxn ang="0">
                  <a:pos x="52" y="73"/>
                </a:cxn>
                <a:cxn ang="0">
                  <a:pos x="43" y="84"/>
                </a:cxn>
                <a:cxn ang="0">
                  <a:pos x="50" y="86"/>
                </a:cxn>
                <a:cxn ang="0">
                  <a:pos x="60" y="77"/>
                </a:cxn>
                <a:cxn ang="0">
                  <a:pos x="73" y="77"/>
                </a:cxn>
                <a:cxn ang="0">
                  <a:pos x="67" y="86"/>
                </a:cxn>
                <a:cxn ang="0">
                  <a:pos x="75" y="81"/>
                </a:cxn>
                <a:cxn ang="0">
                  <a:pos x="73" y="90"/>
                </a:cxn>
                <a:cxn ang="0">
                  <a:pos x="82" y="90"/>
                </a:cxn>
                <a:cxn ang="0">
                  <a:pos x="92" y="71"/>
                </a:cxn>
                <a:cxn ang="0">
                  <a:pos x="84" y="73"/>
                </a:cxn>
                <a:cxn ang="0">
                  <a:pos x="92" y="64"/>
                </a:cxn>
                <a:cxn ang="0">
                  <a:pos x="78" y="73"/>
                </a:cxn>
                <a:cxn ang="0">
                  <a:pos x="77" y="69"/>
                </a:cxn>
                <a:cxn ang="0">
                  <a:pos x="93" y="54"/>
                </a:cxn>
                <a:cxn ang="0">
                  <a:pos x="82" y="56"/>
                </a:cxn>
                <a:cxn ang="0">
                  <a:pos x="80" y="51"/>
                </a:cxn>
                <a:cxn ang="0">
                  <a:pos x="92" y="43"/>
                </a:cxn>
                <a:cxn ang="0">
                  <a:pos x="65" y="41"/>
                </a:cxn>
                <a:cxn ang="0">
                  <a:pos x="60" y="34"/>
                </a:cxn>
                <a:cxn ang="0">
                  <a:pos x="67" y="30"/>
                </a:cxn>
                <a:cxn ang="0">
                  <a:pos x="60" y="28"/>
                </a:cxn>
                <a:cxn ang="0">
                  <a:pos x="47" y="34"/>
                </a:cxn>
                <a:cxn ang="0">
                  <a:pos x="78" y="0"/>
                </a:cxn>
                <a:cxn ang="0">
                  <a:pos x="60" y="6"/>
                </a:cxn>
                <a:cxn ang="0">
                  <a:pos x="11" y="54"/>
                </a:cxn>
                <a:cxn ang="0">
                  <a:pos x="15" y="56"/>
                </a:cxn>
                <a:cxn ang="0">
                  <a:pos x="0" y="67"/>
                </a:cxn>
                <a:cxn ang="0">
                  <a:pos x="0" y="67"/>
                </a:cxn>
              </a:cxnLst>
              <a:rect l="0" t="0" r="r" b="b"/>
              <a:pathLst>
                <a:path w="93" h="90">
                  <a:moveTo>
                    <a:pt x="0" y="67"/>
                  </a:moveTo>
                  <a:lnTo>
                    <a:pt x="0" y="73"/>
                  </a:lnTo>
                  <a:lnTo>
                    <a:pt x="52" y="73"/>
                  </a:lnTo>
                  <a:lnTo>
                    <a:pt x="43" y="84"/>
                  </a:lnTo>
                  <a:lnTo>
                    <a:pt x="50" y="86"/>
                  </a:lnTo>
                  <a:lnTo>
                    <a:pt x="60" y="77"/>
                  </a:lnTo>
                  <a:lnTo>
                    <a:pt x="73" y="77"/>
                  </a:lnTo>
                  <a:lnTo>
                    <a:pt x="67" y="86"/>
                  </a:lnTo>
                  <a:lnTo>
                    <a:pt x="75" y="81"/>
                  </a:lnTo>
                  <a:lnTo>
                    <a:pt x="73" y="90"/>
                  </a:lnTo>
                  <a:lnTo>
                    <a:pt x="82" y="90"/>
                  </a:lnTo>
                  <a:lnTo>
                    <a:pt x="92" y="71"/>
                  </a:lnTo>
                  <a:lnTo>
                    <a:pt x="84" y="73"/>
                  </a:lnTo>
                  <a:lnTo>
                    <a:pt x="92" y="64"/>
                  </a:lnTo>
                  <a:lnTo>
                    <a:pt x="78" y="73"/>
                  </a:lnTo>
                  <a:lnTo>
                    <a:pt x="77" y="69"/>
                  </a:lnTo>
                  <a:lnTo>
                    <a:pt x="93" y="54"/>
                  </a:lnTo>
                  <a:lnTo>
                    <a:pt x="82" y="56"/>
                  </a:lnTo>
                  <a:lnTo>
                    <a:pt x="80" y="51"/>
                  </a:lnTo>
                  <a:lnTo>
                    <a:pt x="92" y="43"/>
                  </a:lnTo>
                  <a:lnTo>
                    <a:pt x="65" y="41"/>
                  </a:lnTo>
                  <a:lnTo>
                    <a:pt x="60" y="34"/>
                  </a:lnTo>
                  <a:lnTo>
                    <a:pt x="67" y="30"/>
                  </a:lnTo>
                  <a:lnTo>
                    <a:pt x="60" y="28"/>
                  </a:lnTo>
                  <a:lnTo>
                    <a:pt x="47" y="34"/>
                  </a:lnTo>
                  <a:lnTo>
                    <a:pt x="78" y="0"/>
                  </a:lnTo>
                  <a:lnTo>
                    <a:pt x="60" y="6"/>
                  </a:lnTo>
                  <a:lnTo>
                    <a:pt x="11" y="54"/>
                  </a:lnTo>
                  <a:lnTo>
                    <a:pt x="15" y="56"/>
                  </a:lnTo>
                  <a:lnTo>
                    <a:pt x="0" y="67"/>
                  </a:lnTo>
                  <a:lnTo>
                    <a:pt x="0" y="6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53" name="Freeform 5864"/>
            <p:cNvSpPr>
              <a:spLocks/>
            </p:cNvSpPr>
            <p:nvPr>
              <p:custDataLst>
                <p:tags r:id="rId189"/>
              </p:custDataLst>
            </p:nvPr>
          </p:nvSpPr>
          <p:spPr bwMode="gray">
            <a:xfrm>
              <a:off x="5248569" y="2828215"/>
              <a:ext cx="112912" cy="59090"/>
            </a:xfrm>
            <a:custGeom>
              <a:avLst/>
              <a:gdLst/>
              <a:ahLst/>
              <a:cxnLst>
                <a:cxn ang="0">
                  <a:pos x="0" y="39"/>
                </a:cxn>
                <a:cxn ang="0">
                  <a:pos x="15" y="39"/>
                </a:cxn>
                <a:cxn ang="0">
                  <a:pos x="11" y="46"/>
                </a:cxn>
                <a:cxn ang="0">
                  <a:pos x="49" y="33"/>
                </a:cxn>
                <a:cxn ang="0">
                  <a:pos x="58" y="33"/>
                </a:cxn>
                <a:cxn ang="0">
                  <a:pos x="71" y="43"/>
                </a:cxn>
                <a:cxn ang="0">
                  <a:pos x="88" y="35"/>
                </a:cxn>
                <a:cxn ang="0">
                  <a:pos x="54" y="7"/>
                </a:cxn>
                <a:cxn ang="0">
                  <a:pos x="56" y="0"/>
                </a:cxn>
                <a:cxn ang="0">
                  <a:pos x="30" y="15"/>
                </a:cxn>
                <a:cxn ang="0">
                  <a:pos x="17" y="31"/>
                </a:cxn>
                <a:cxn ang="0">
                  <a:pos x="0" y="39"/>
                </a:cxn>
                <a:cxn ang="0">
                  <a:pos x="0" y="39"/>
                </a:cxn>
              </a:cxnLst>
              <a:rect l="0" t="0" r="r" b="b"/>
              <a:pathLst>
                <a:path w="88" h="46">
                  <a:moveTo>
                    <a:pt x="0" y="39"/>
                  </a:moveTo>
                  <a:lnTo>
                    <a:pt x="15" y="39"/>
                  </a:lnTo>
                  <a:lnTo>
                    <a:pt x="11" y="46"/>
                  </a:lnTo>
                  <a:lnTo>
                    <a:pt x="49" y="33"/>
                  </a:lnTo>
                  <a:lnTo>
                    <a:pt x="58" y="33"/>
                  </a:lnTo>
                  <a:lnTo>
                    <a:pt x="71" y="43"/>
                  </a:lnTo>
                  <a:lnTo>
                    <a:pt x="88" y="35"/>
                  </a:lnTo>
                  <a:lnTo>
                    <a:pt x="54" y="7"/>
                  </a:lnTo>
                  <a:lnTo>
                    <a:pt x="56" y="0"/>
                  </a:lnTo>
                  <a:lnTo>
                    <a:pt x="30" y="15"/>
                  </a:lnTo>
                  <a:lnTo>
                    <a:pt x="17" y="31"/>
                  </a:lnTo>
                  <a:lnTo>
                    <a:pt x="0" y="39"/>
                  </a:lnTo>
                  <a:lnTo>
                    <a:pt x="0" y="3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54" name="Freeform 5865"/>
            <p:cNvSpPr>
              <a:spLocks/>
            </p:cNvSpPr>
            <p:nvPr>
              <p:custDataLst>
                <p:tags r:id="rId190"/>
              </p:custDataLst>
            </p:nvPr>
          </p:nvSpPr>
          <p:spPr bwMode="gray">
            <a:xfrm>
              <a:off x="5464128" y="2784540"/>
              <a:ext cx="43625" cy="21838"/>
            </a:xfrm>
            <a:custGeom>
              <a:avLst/>
              <a:gdLst/>
              <a:ahLst/>
              <a:cxnLst>
                <a:cxn ang="0">
                  <a:pos x="2" y="9"/>
                </a:cxn>
                <a:cxn ang="0">
                  <a:pos x="0" y="17"/>
                </a:cxn>
                <a:cxn ang="0">
                  <a:pos x="15" y="15"/>
                </a:cxn>
                <a:cxn ang="0">
                  <a:pos x="34" y="5"/>
                </a:cxn>
                <a:cxn ang="0">
                  <a:pos x="32" y="0"/>
                </a:cxn>
                <a:cxn ang="0">
                  <a:pos x="17" y="0"/>
                </a:cxn>
                <a:cxn ang="0">
                  <a:pos x="2" y="9"/>
                </a:cxn>
                <a:cxn ang="0">
                  <a:pos x="2" y="9"/>
                </a:cxn>
              </a:cxnLst>
              <a:rect l="0" t="0" r="r" b="b"/>
              <a:pathLst>
                <a:path w="34" h="17">
                  <a:moveTo>
                    <a:pt x="2" y="9"/>
                  </a:moveTo>
                  <a:lnTo>
                    <a:pt x="0" y="17"/>
                  </a:lnTo>
                  <a:lnTo>
                    <a:pt x="15" y="15"/>
                  </a:lnTo>
                  <a:lnTo>
                    <a:pt x="34" y="5"/>
                  </a:lnTo>
                  <a:lnTo>
                    <a:pt x="32" y="0"/>
                  </a:lnTo>
                  <a:lnTo>
                    <a:pt x="17" y="0"/>
                  </a:lnTo>
                  <a:lnTo>
                    <a:pt x="2" y="9"/>
                  </a:lnTo>
                  <a:lnTo>
                    <a:pt x="2" y="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55" name="Freeform 5866"/>
            <p:cNvSpPr>
              <a:spLocks/>
            </p:cNvSpPr>
            <p:nvPr>
              <p:custDataLst>
                <p:tags r:id="rId191"/>
              </p:custDataLst>
            </p:nvPr>
          </p:nvSpPr>
          <p:spPr bwMode="gray">
            <a:xfrm>
              <a:off x="5342235" y="2674068"/>
              <a:ext cx="355417" cy="242782"/>
            </a:xfrm>
            <a:custGeom>
              <a:avLst/>
              <a:gdLst/>
              <a:ahLst/>
              <a:cxnLst>
                <a:cxn ang="0">
                  <a:pos x="0" y="32"/>
                </a:cxn>
                <a:cxn ang="0">
                  <a:pos x="11" y="52"/>
                </a:cxn>
                <a:cxn ang="0">
                  <a:pos x="26" y="56"/>
                </a:cxn>
                <a:cxn ang="0">
                  <a:pos x="77" y="58"/>
                </a:cxn>
                <a:cxn ang="0">
                  <a:pos x="88" y="65"/>
                </a:cxn>
                <a:cxn ang="0">
                  <a:pos x="118" y="54"/>
                </a:cxn>
                <a:cxn ang="0">
                  <a:pos x="120" y="61"/>
                </a:cxn>
                <a:cxn ang="0">
                  <a:pos x="133" y="69"/>
                </a:cxn>
                <a:cxn ang="0">
                  <a:pos x="122" y="78"/>
                </a:cxn>
                <a:cxn ang="0">
                  <a:pos x="139" y="73"/>
                </a:cxn>
                <a:cxn ang="0">
                  <a:pos x="142" y="80"/>
                </a:cxn>
                <a:cxn ang="0">
                  <a:pos x="154" y="88"/>
                </a:cxn>
                <a:cxn ang="0">
                  <a:pos x="152" y="101"/>
                </a:cxn>
                <a:cxn ang="0">
                  <a:pos x="110" y="118"/>
                </a:cxn>
                <a:cxn ang="0">
                  <a:pos x="116" y="127"/>
                </a:cxn>
                <a:cxn ang="0">
                  <a:pos x="101" y="131"/>
                </a:cxn>
                <a:cxn ang="0">
                  <a:pos x="67" y="129"/>
                </a:cxn>
                <a:cxn ang="0">
                  <a:pos x="45" y="142"/>
                </a:cxn>
                <a:cxn ang="0">
                  <a:pos x="49" y="150"/>
                </a:cxn>
                <a:cxn ang="0">
                  <a:pos x="79" y="146"/>
                </a:cxn>
                <a:cxn ang="0">
                  <a:pos x="110" y="153"/>
                </a:cxn>
                <a:cxn ang="0">
                  <a:pos x="118" y="159"/>
                </a:cxn>
                <a:cxn ang="0">
                  <a:pos x="112" y="165"/>
                </a:cxn>
                <a:cxn ang="0">
                  <a:pos x="122" y="170"/>
                </a:cxn>
                <a:cxn ang="0">
                  <a:pos x="150" y="185"/>
                </a:cxn>
                <a:cxn ang="0">
                  <a:pos x="172" y="189"/>
                </a:cxn>
                <a:cxn ang="0">
                  <a:pos x="176" y="181"/>
                </a:cxn>
                <a:cxn ang="0">
                  <a:pos x="157" y="163"/>
                </a:cxn>
                <a:cxn ang="0">
                  <a:pos x="155" y="155"/>
                </a:cxn>
                <a:cxn ang="0">
                  <a:pos x="187" y="172"/>
                </a:cxn>
                <a:cxn ang="0">
                  <a:pos x="202" y="172"/>
                </a:cxn>
                <a:cxn ang="0">
                  <a:pos x="212" y="161"/>
                </a:cxn>
                <a:cxn ang="0">
                  <a:pos x="206" y="153"/>
                </a:cxn>
                <a:cxn ang="0">
                  <a:pos x="210" y="146"/>
                </a:cxn>
                <a:cxn ang="0">
                  <a:pos x="195" y="125"/>
                </a:cxn>
                <a:cxn ang="0">
                  <a:pos x="204" y="114"/>
                </a:cxn>
                <a:cxn ang="0">
                  <a:pos x="221" y="123"/>
                </a:cxn>
                <a:cxn ang="0">
                  <a:pos x="221" y="131"/>
                </a:cxn>
                <a:cxn ang="0">
                  <a:pos x="232" y="138"/>
                </a:cxn>
                <a:cxn ang="0">
                  <a:pos x="277" y="110"/>
                </a:cxn>
                <a:cxn ang="0">
                  <a:pos x="245" y="88"/>
                </a:cxn>
                <a:cxn ang="0">
                  <a:pos x="227" y="88"/>
                </a:cxn>
                <a:cxn ang="0">
                  <a:pos x="215" y="80"/>
                </a:cxn>
                <a:cxn ang="0">
                  <a:pos x="221" y="73"/>
                </a:cxn>
                <a:cxn ang="0">
                  <a:pos x="238" y="71"/>
                </a:cxn>
                <a:cxn ang="0">
                  <a:pos x="228" y="65"/>
                </a:cxn>
                <a:cxn ang="0">
                  <a:pos x="238" y="58"/>
                </a:cxn>
                <a:cxn ang="0">
                  <a:pos x="212" y="37"/>
                </a:cxn>
                <a:cxn ang="0">
                  <a:pos x="183" y="32"/>
                </a:cxn>
                <a:cxn ang="0">
                  <a:pos x="189" y="18"/>
                </a:cxn>
                <a:cxn ang="0">
                  <a:pos x="154" y="17"/>
                </a:cxn>
                <a:cxn ang="0">
                  <a:pos x="107" y="26"/>
                </a:cxn>
                <a:cxn ang="0">
                  <a:pos x="127" y="3"/>
                </a:cxn>
                <a:cxn ang="0">
                  <a:pos x="109" y="2"/>
                </a:cxn>
                <a:cxn ang="0">
                  <a:pos x="71" y="13"/>
                </a:cxn>
                <a:cxn ang="0">
                  <a:pos x="52" y="32"/>
                </a:cxn>
                <a:cxn ang="0">
                  <a:pos x="47" y="28"/>
                </a:cxn>
                <a:cxn ang="0">
                  <a:pos x="56" y="17"/>
                </a:cxn>
                <a:cxn ang="0">
                  <a:pos x="99" y="2"/>
                </a:cxn>
                <a:cxn ang="0">
                  <a:pos x="65" y="0"/>
                </a:cxn>
                <a:cxn ang="0">
                  <a:pos x="32" y="11"/>
                </a:cxn>
                <a:cxn ang="0">
                  <a:pos x="0" y="32"/>
                </a:cxn>
                <a:cxn ang="0">
                  <a:pos x="0" y="32"/>
                </a:cxn>
              </a:cxnLst>
              <a:rect l="0" t="0" r="r" b="b"/>
              <a:pathLst>
                <a:path w="277" h="189">
                  <a:moveTo>
                    <a:pt x="0" y="32"/>
                  </a:moveTo>
                  <a:lnTo>
                    <a:pt x="11" y="52"/>
                  </a:lnTo>
                  <a:lnTo>
                    <a:pt x="26" y="56"/>
                  </a:lnTo>
                  <a:lnTo>
                    <a:pt x="77" y="58"/>
                  </a:lnTo>
                  <a:lnTo>
                    <a:pt x="88" y="65"/>
                  </a:lnTo>
                  <a:lnTo>
                    <a:pt x="118" y="54"/>
                  </a:lnTo>
                  <a:lnTo>
                    <a:pt x="120" y="61"/>
                  </a:lnTo>
                  <a:lnTo>
                    <a:pt x="133" y="69"/>
                  </a:lnTo>
                  <a:lnTo>
                    <a:pt x="122" y="78"/>
                  </a:lnTo>
                  <a:lnTo>
                    <a:pt x="139" y="73"/>
                  </a:lnTo>
                  <a:lnTo>
                    <a:pt x="142" y="80"/>
                  </a:lnTo>
                  <a:lnTo>
                    <a:pt x="154" y="88"/>
                  </a:lnTo>
                  <a:lnTo>
                    <a:pt x="152" y="101"/>
                  </a:lnTo>
                  <a:lnTo>
                    <a:pt x="110" y="118"/>
                  </a:lnTo>
                  <a:lnTo>
                    <a:pt x="116" y="127"/>
                  </a:lnTo>
                  <a:lnTo>
                    <a:pt x="101" y="131"/>
                  </a:lnTo>
                  <a:lnTo>
                    <a:pt x="67" y="129"/>
                  </a:lnTo>
                  <a:lnTo>
                    <a:pt x="45" y="142"/>
                  </a:lnTo>
                  <a:lnTo>
                    <a:pt x="49" y="150"/>
                  </a:lnTo>
                  <a:lnTo>
                    <a:pt x="79" y="146"/>
                  </a:lnTo>
                  <a:lnTo>
                    <a:pt x="110" y="153"/>
                  </a:lnTo>
                  <a:lnTo>
                    <a:pt x="118" y="159"/>
                  </a:lnTo>
                  <a:lnTo>
                    <a:pt x="112" y="165"/>
                  </a:lnTo>
                  <a:lnTo>
                    <a:pt x="122" y="170"/>
                  </a:lnTo>
                  <a:lnTo>
                    <a:pt x="150" y="185"/>
                  </a:lnTo>
                  <a:lnTo>
                    <a:pt x="172" y="189"/>
                  </a:lnTo>
                  <a:lnTo>
                    <a:pt x="176" y="181"/>
                  </a:lnTo>
                  <a:lnTo>
                    <a:pt x="157" y="163"/>
                  </a:lnTo>
                  <a:lnTo>
                    <a:pt x="155" y="155"/>
                  </a:lnTo>
                  <a:lnTo>
                    <a:pt x="187" y="172"/>
                  </a:lnTo>
                  <a:lnTo>
                    <a:pt x="202" y="172"/>
                  </a:lnTo>
                  <a:lnTo>
                    <a:pt x="212" y="161"/>
                  </a:lnTo>
                  <a:lnTo>
                    <a:pt x="206" y="153"/>
                  </a:lnTo>
                  <a:lnTo>
                    <a:pt x="210" y="146"/>
                  </a:lnTo>
                  <a:lnTo>
                    <a:pt x="195" y="125"/>
                  </a:lnTo>
                  <a:lnTo>
                    <a:pt x="204" y="114"/>
                  </a:lnTo>
                  <a:lnTo>
                    <a:pt x="221" y="123"/>
                  </a:lnTo>
                  <a:lnTo>
                    <a:pt x="221" y="131"/>
                  </a:lnTo>
                  <a:lnTo>
                    <a:pt x="232" y="138"/>
                  </a:lnTo>
                  <a:lnTo>
                    <a:pt x="277" y="110"/>
                  </a:lnTo>
                  <a:lnTo>
                    <a:pt x="245" y="88"/>
                  </a:lnTo>
                  <a:lnTo>
                    <a:pt x="227" y="88"/>
                  </a:lnTo>
                  <a:lnTo>
                    <a:pt x="215" y="80"/>
                  </a:lnTo>
                  <a:lnTo>
                    <a:pt x="221" y="73"/>
                  </a:lnTo>
                  <a:lnTo>
                    <a:pt x="238" y="71"/>
                  </a:lnTo>
                  <a:lnTo>
                    <a:pt x="228" y="65"/>
                  </a:lnTo>
                  <a:lnTo>
                    <a:pt x="238" y="58"/>
                  </a:lnTo>
                  <a:lnTo>
                    <a:pt x="212" y="37"/>
                  </a:lnTo>
                  <a:lnTo>
                    <a:pt x="183" y="32"/>
                  </a:lnTo>
                  <a:lnTo>
                    <a:pt x="189" y="18"/>
                  </a:lnTo>
                  <a:lnTo>
                    <a:pt x="154" y="17"/>
                  </a:lnTo>
                  <a:lnTo>
                    <a:pt x="107" y="26"/>
                  </a:lnTo>
                  <a:lnTo>
                    <a:pt x="127" y="3"/>
                  </a:lnTo>
                  <a:lnTo>
                    <a:pt x="109" y="2"/>
                  </a:lnTo>
                  <a:lnTo>
                    <a:pt x="71" y="13"/>
                  </a:lnTo>
                  <a:lnTo>
                    <a:pt x="52" y="32"/>
                  </a:lnTo>
                  <a:lnTo>
                    <a:pt x="47" y="28"/>
                  </a:lnTo>
                  <a:lnTo>
                    <a:pt x="56" y="17"/>
                  </a:lnTo>
                  <a:lnTo>
                    <a:pt x="99" y="2"/>
                  </a:lnTo>
                  <a:lnTo>
                    <a:pt x="65" y="0"/>
                  </a:lnTo>
                  <a:lnTo>
                    <a:pt x="32" y="11"/>
                  </a:lnTo>
                  <a:lnTo>
                    <a:pt x="0" y="32"/>
                  </a:lnTo>
                  <a:lnTo>
                    <a:pt x="0" y="3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56" name="Freeform 5867"/>
            <p:cNvSpPr>
              <a:spLocks/>
            </p:cNvSpPr>
            <p:nvPr>
              <p:custDataLst>
                <p:tags r:id="rId192"/>
              </p:custDataLst>
            </p:nvPr>
          </p:nvSpPr>
          <p:spPr bwMode="gray">
            <a:xfrm>
              <a:off x="5502621" y="2676637"/>
              <a:ext cx="65438" cy="19268"/>
            </a:xfrm>
            <a:custGeom>
              <a:avLst/>
              <a:gdLst/>
              <a:ahLst/>
              <a:cxnLst>
                <a:cxn ang="0">
                  <a:pos x="12" y="0"/>
                </a:cxn>
                <a:cxn ang="0">
                  <a:pos x="0" y="11"/>
                </a:cxn>
                <a:cxn ang="0">
                  <a:pos x="14" y="15"/>
                </a:cxn>
                <a:cxn ang="0">
                  <a:pos x="43" y="13"/>
                </a:cxn>
                <a:cxn ang="0">
                  <a:pos x="51" y="1"/>
                </a:cxn>
                <a:cxn ang="0">
                  <a:pos x="12" y="0"/>
                </a:cxn>
                <a:cxn ang="0">
                  <a:pos x="12" y="0"/>
                </a:cxn>
              </a:cxnLst>
              <a:rect l="0" t="0" r="r" b="b"/>
              <a:pathLst>
                <a:path w="51" h="15">
                  <a:moveTo>
                    <a:pt x="12" y="0"/>
                  </a:moveTo>
                  <a:lnTo>
                    <a:pt x="0" y="11"/>
                  </a:lnTo>
                  <a:lnTo>
                    <a:pt x="14" y="15"/>
                  </a:lnTo>
                  <a:lnTo>
                    <a:pt x="43" y="13"/>
                  </a:lnTo>
                  <a:lnTo>
                    <a:pt x="51" y="1"/>
                  </a:lnTo>
                  <a:lnTo>
                    <a:pt x="12" y="0"/>
                  </a:lnTo>
                  <a:lnTo>
                    <a:pt x="12"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57" name="Freeform 5868"/>
            <p:cNvSpPr>
              <a:spLocks/>
            </p:cNvSpPr>
            <p:nvPr>
              <p:custDataLst>
                <p:tags r:id="rId193"/>
              </p:custDataLst>
            </p:nvPr>
          </p:nvSpPr>
          <p:spPr bwMode="gray">
            <a:xfrm>
              <a:off x="5243436" y="2603417"/>
              <a:ext cx="21813" cy="12846"/>
            </a:xfrm>
            <a:custGeom>
              <a:avLst/>
              <a:gdLst/>
              <a:ahLst/>
              <a:cxnLst>
                <a:cxn ang="0">
                  <a:pos x="6" y="2"/>
                </a:cxn>
                <a:cxn ang="0">
                  <a:pos x="0" y="8"/>
                </a:cxn>
                <a:cxn ang="0">
                  <a:pos x="13" y="10"/>
                </a:cxn>
                <a:cxn ang="0">
                  <a:pos x="17" y="0"/>
                </a:cxn>
                <a:cxn ang="0">
                  <a:pos x="6" y="2"/>
                </a:cxn>
                <a:cxn ang="0">
                  <a:pos x="6" y="2"/>
                </a:cxn>
              </a:cxnLst>
              <a:rect l="0" t="0" r="r" b="b"/>
              <a:pathLst>
                <a:path w="17" h="10">
                  <a:moveTo>
                    <a:pt x="6" y="2"/>
                  </a:moveTo>
                  <a:lnTo>
                    <a:pt x="0" y="8"/>
                  </a:lnTo>
                  <a:lnTo>
                    <a:pt x="13" y="10"/>
                  </a:lnTo>
                  <a:lnTo>
                    <a:pt x="17" y="0"/>
                  </a:lnTo>
                  <a:lnTo>
                    <a:pt x="6" y="2"/>
                  </a:lnTo>
                  <a:lnTo>
                    <a:pt x="6"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58" name="Freeform 5869"/>
            <p:cNvSpPr>
              <a:spLocks/>
            </p:cNvSpPr>
            <p:nvPr>
              <p:custDataLst>
                <p:tags r:id="rId194"/>
              </p:custDataLst>
            </p:nvPr>
          </p:nvSpPr>
          <p:spPr bwMode="gray">
            <a:xfrm>
              <a:off x="5234455" y="2620116"/>
              <a:ext cx="91100" cy="32114"/>
            </a:xfrm>
            <a:custGeom>
              <a:avLst/>
              <a:gdLst/>
              <a:ahLst/>
              <a:cxnLst>
                <a:cxn ang="0">
                  <a:pos x="0" y="2"/>
                </a:cxn>
                <a:cxn ang="0">
                  <a:pos x="0" y="19"/>
                </a:cxn>
                <a:cxn ang="0">
                  <a:pos x="18" y="17"/>
                </a:cxn>
                <a:cxn ang="0">
                  <a:pos x="18" y="25"/>
                </a:cxn>
                <a:cxn ang="0">
                  <a:pos x="45" y="25"/>
                </a:cxn>
                <a:cxn ang="0">
                  <a:pos x="71" y="6"/>
                </a:cxn>
                <a:cxn ang="0">
                  <a:pos x="41" y="0"/>
                </a:cxn>
                <a:cxn ang="0">
                  <a:pos x="20" y="12"/>
                </a:cxn>
                <a:cxn ang="0">
                  <a:pos x="11" y="2"/>
                </a:cxn>
                <a:cxn ang="0">
                  <a:pos x="0" y="2"/>
                </a:cxn>
                <a:cxn ang="0">
                  <a:pos x="0" y="2"/>
                </a:cxn>
              </a:cxnLst>
              <a:rect l="0" t="0" r="r" b="b"/>
              <a:pathLst>
                <a:path w="71" h="25">
                  <a:moveTo>
                    <a:pt x="0" y="2"/>
                  </a:moveTo>
                  <a:lnTo>
                    <a:pt x="0" y="19"/>
                  </a:lnTo>
                  <a:lnTo>
                    <a:pt x="18" y="17"/>
                  </a:lnTo>
                  <a:lnTo>
                    <a:pt x="18" y="25"/>
                  </a:lnTo>
                  <a:lnTo>
                    <a:pt x="45" y="25"/>
                  </a:lnTo>
                  <a:lnTo>
                    <a:pt x="71" y="6"/>
                  </a:lnTo>
                  <a:lnTo>
                    <a:pt x="41" y="0"/>
                  </a:lnTo>
                  <a:lnTo>
                    <a:pt x="20" y="12"/>
                  </a:lnTo>
                  <a:lnTo>
                    <a:pt x="11" y="2"/>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59" name="Freeform 5870"/>
            <p:cNvSpPr>
              <a:spLocks/>
            </p:cNvSpPr>
            <p:nvPr>
              <p:custDataLst>
                <p:tags r:id="rId195"/>
              </p:custDataLst>
            </p:nvPr>
          </p:nvSpPr>
          <p:spPr bwMode="gray">
            <a:xfrm>
              <a:off x="5199811" y="2644523"/>
              <a:ext cx="19246" cy="5138"/>
            </a:xfrm>
            <a:custGeom>
              <a:avLst/>
              <a:gdLst/>
              <a:ahLst/>
              <a:cxnLst>
                <a:cxn ang="0">
                  <a:pos x="0" y="4"/>
                </a:cxn>
                <a:cxn ang="0">
                  <a:pos x="15" y="4"/>
                </a:cxn>
                <a:cxn ang="0">
                  <a:pos x="14" y="0"/>
                </a:cxn>
                <a:cxn ang="0">
                  <a:pos x="0" y="4"/>
                </a:cxn>
                <a:cxn ang="0">
                  <a:pos x="0" y="4"/>
                </a:cxn>
              </a:cxnLst>
              <a:rect l="0" t="0" r="r" b="b"/>
              <a:pathLst>
                <a:path w="15" h="4">
                  <a:moveTo>
                    <a:pt x="0" y="4"/>
                  </a:moveTo>
                  <a:lnTo>
                    <a:pt x="15" y="4"/>
                  </a:lnTo>
                  <a:lnTo>
                    <a:pt x="14" y="0"/>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60" name="Freeform 5871"/>
            <p:cNvSpPr>
              <a:spLocks/>
            </p:cNvSpPr>
            <p:nvPr>
              <p:custDataLst>
                <p:tags r:id="rId196"/>
              </p:custDataLst>
            </p:nvPr>
          </p:nvSpPr>
          <p:spPr bwMode="gray">
            <a:xfrm>
              <a:off x="5176716" y="2668929"/>
              <a:ext cx="102647" cy="55236"/>
            </a:xfrm>
            <a:custGeom>
              <a:avLst/>
              <a:gdLst/>
              <a:ahLst/>
              <a:cxnLst>
                <a:cxn ang="0">
                  <a:pos x="2" y="19"/>
                </a:cxn>
                <a:cxn ang="0">
                  <a:pos x="0" y="28"/>
                </a:cxn>
                <a:cxn ang="0">
                  <a:pos x="13" y="28"/>
                </a:cxn>
                <a:cxn ang="0">
                  <a:pos x="20" y="43"/>
                </a:cxn>
                <a:cxn ang="0">
                  <a:pos x="58" y="34"/>
                </a:cxn>
                <a:cxn ang="0">
                  <a:pos x="73" y="17"/>
                </a:cxn>
                <a:cxn ang="0">
                  <a:pos x="60" y="15"/>
                </a:cxn>
                <a:cxn ang="0">
                  <a:pos x="78" y="7"/>
                </a:cxn>
                <a:cxn ang="0">
                  <a:pos x="80" y="0"/>
                </a:cxn>
                <a:cxn ang="0">
                  <a:pos x="35" y="4"/>
                </a:cxn>
                <a:cxn ang="0">
                  <a:pos x="28" y="9"/>
                </a:cxn>
                <a:cxn ang="0">
                  <a:pos x="32" y="17"/>
                </a:cxn>
                <a:cxn ang="0">
                  <a:pos x="2" y="19"/>
                </a:cxn>
                <a:cxn ang="0">
                  <a:pos x="2" y="19"/>
                </a:cxn>
              </a:cxnLst>
              <a:rect l="0" t="0" r="r" b="b"/>
              <a:pathLst>
                <a:path w="80" h="43">
                  <a:moveTo>
                    <a:pt x="2" y="19"/>
                  </a:moveTo>
                  <a:lnTo>
                    <a:pt x="0" y="28"/>
                  </a:lnTo>
                  <a:lnTo>
                    <a:pt x="13" y="28"/>
                  </a:lnTo>
                  <a:lnTo>
                    <a:pt x="20" y="43"/>
                  </a:lnTo>
                  <a:lnTo>
                    <a:pt x="58" y="34"/>
                  </a:lnTo>
                  <a:lnTo>
                    <a:pt x="73" y="17"/>
                  </a:lnTo>
                  <a:lnTo>
                    <a:pt x="60" y="15"/>
                  </a:lnTo>
                  <a:lnTo>
                    <a:pt x="78" y="7"/>
                  </a:lnTo>
                  <a:lnTo>
                    <a:pt x="80" y="0"/>
                  </a:lnTo>
                  <a:lnTo>
                    <a:pt x="35" y="4"/>
                  </a:lnTo>
                  <a:lnTo>
                    <a:pt x="28" y="9"/>
                  </a:lnTo>
                  <a:lnTo>
                    <a:pt x="32" y="17"/>
                  </a:lnTo>
                  <a:lnTo>
                    <a:pt x="2" y="19"/>
                  </a:lnTo>
                  <a:lnTo>
                    <a:pt x="2" y="1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61" name="Freeform 5872"/>
            <p:cNvSpPr>
              <a:spLocks/>
            </p:cNvSpPr>
            <p:nvPr>
              <p:custDataLst>
                <p:tags r:id="rId197"/>
              </p:custDataLst>
            </p:nvPr>
          </p:nvSpPr>
          <p:spPr bwMode="gray">
            <a:xfrm>
              <a:off x="5160035" y="2591856"/>
              <a:ext cx="66721" cy="5138"/>
            </a:xfrm>
            <a:custGeom>
              <a:avLst/>
              <a:gdLst/>
              <a:ahLst/>
              <a:cxnLst>
                <a:cxn ang="0">
                  <a:pos x="0" y="4"/>
                </a:cxn>
                <a:cxn ang="0">
                  <a:pos x="52" y="0"/>
                </a:cxn>
                <a:cxn ang="0">
                  <a:pos x="0" y="4"/>
                </a:cxn>
                <a:cxn ang="0">
                  <a:pos x="0" y="4"/>
                </a:cxn>
              </a:cxnLst>
              <a:rect l="0" t="0" r="r" b="b"/>
              <a:pathLst>
                <a:path w="52" h="4">
                  <a:moveTo>
                    <a:pt x="0" y="4"/>
                  </a:moveTo>
                  <a:lnTo>
                    <a:pt x="52" y="0"/>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62" name="Freeform 5873"/>
            <p:cNvSpPr>
              <a:spLocks/>
            </p:cNvSpPr>
            <p:nvPr>
              <p:custDataLst>
                <p:tags r:id="rId198"/>
              </p:custDataLst>
            </p:nvPr>
          </p:nvSpPr>
          <p:spPr bwMode="gray">
            <a:xfrm>
              <a:off x="5125392" y="2599563"/>
              <a:ext cx="21813" cy="3854"/>
            </a:xfrm>
            <a:custGeom>
              <a:avLst/>
              <a:gdLst/>
              <a:ahLst/>
              <a:cxnLst>
                <a:cxn ang="0">
                  <a:pos x="0" y="1"/>
                </a:cxn>
                <a:cxn ang="0">
                  <a:pos x="12" y="3"/>
                </a:cxn>
                <a:cxn ang="0">
                  <a:pos x="17" y="0"/>
                </a:cxn>
                <a:cxn ang="0">
                  <a:pos x="0" y="1"/>
                </a:cxn>
                <a:cxn ang="0">
                  <a:pos x="0" y="1"/>
                </a:cxn>
              </a:cxnLst>
              <a:rect l="0" t="0" r="r" b="b"/>
              <a:pathLst>
                <a:path w="17" h="3">
                  <a:moveTo>
                    <a:pt x="0" y="1"/>
                  </a:moveTo>
                  <a:lnTo>
                    <a:pt x="12" y="3"/>
                  </a:lnTo>
                  <a:lnTo>
                    <a:pt x="17" y="0"/>
                  </a:lnTo>
                  <a:lnTo>
                    <a:pt x="0" y="1"/>
                  </a:lnTo>
                  <a:lnTo>
                    <a:pt x="0" y="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63" name="Freeform 5874"/>
            <p:cNvSpPr>
              <a:spLocks/>
            </p:cNvSpPr>
            <p:nvPr>
              <p:custDataLst>
                <p:tags r:id="rId199"/>
              </p:custDataLst>
            </p:nvPr>
          </p:nvSpPr>
          <p:spPr bwMode="gray">
            <a:xfrm>
              <a:off x="5142072" y="2599563"/>
              <a:ext cx="60305" cy="11561"/>
            </a:xfrm>
            <a:custGeom>
              <a:avLst/>
              <a:gdLst/>
              <a:ahLst/>
              <a:cxnLst>
                <a:cxn ang="0">
                  <a:pos x="4" y="3"/>
                </a:cxn>
                <a:cxn ang="0">
                  <a:pos x="0" y="7"/>
                </a:cxn>
                <a:cxn ang="0">
                  <a:pos x="14" y="9"/>
                </a:cxn>
                <a:cxn ang="0">
                  <a:pos x="47" y="0"/>
                </a:cxn>
                <a:cxn ang="0">
                  <a:pos x="4" y="3"/>
                </a:cxn>
                <a:cxn ang="0">
                  <a:pos x="4" y="3"/>
                </a:cxn>
              </a:cxnLst>
              <a:rect l="0" t="0" r="r" b="b"/>
              <a:pathLst>
                <a:path w="47" h="9">
                  <a:moveTo>
                    <a:pt x="4" y="3"/>
                  </a:moveTo>
                  <a:lnTo>
                    <a:pt x="0" y="7"/>
                  </a:lnTo>
                  <a:lnTo>
                    <a:pt x="14" y="9"/>
                  </a:lnTo>
                  <a:lnTo>
                    <a:pt x="47" y="0"/>
                  </a:lnTo>
                  <a:lnTo>
                    <a:pt x="4" y="3"/>
                  </a:lnTo>
                  <a:lnTo>
                    <a:pt x="4" y="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64" name="Freeform 5875"/>
            <p:cNvSpPr>
              <a:spLocks/>
            </p:cNvSpPr>
            <p:nvPr>
              <p:custDataLst>
                <p:tags r:id="rId200"/>
              </p:custDataLst>
            </p:nvPr>
          </p:nvSpPr>
          <p:spPr bwMode="gray">
            <a:xfrm>
              <a:off x="5008630" y="2632962"/>
              <a:ext cx="38493" cy="11561"/>
            </a:xfrm>
            <a:custGeom>
              <a:avLst/>
              <a:gdLst/>
              <a:ahLst/>
              <a:cxnLst>
                <a:cxn ang="0">
                  <a:pos x="0" y="7"/>
                </a:cxn>
                <a:cxn ang="0">
                  <a:pos x="7" y="9"/>
                </a:cxn>
                <a:cxn ang="0">
                  <a:pos x="30" y="0"/>
                </a:cxn>
                <a:cxn ang="0">
                  <a:pos x="0" y="7"/>
                </a:cxn>
                <a:cxn ang="0">
                  <a:pos x="0" y="7"/>
                </a:cxn>
              </a:cxnLst>
              <a:rect l="0" t="0" r="r" b="b"/>
              <a:pathLst>
                <a:path w="30" h="9">
                  <a:moveTo>
                    <a:pt x="0" y="7"/>
                  </a:moveTo>
                  <a:lnTo>
                    <a:pt x="7" y="9"/>
                  </a:lnTo>
                  <a:lnTo>
                    <a:pt x="30" y="0"/>
                  </a:lnTo>
                  <a:lnTo>
                    <a:pt x="0" y="7"/>
                  </a:lnTo>
                  <a:lnTo>
                    <a:pt x="0" y="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65" name="Freeform 5876"/>
            <p:cNvSpPr>
              <a:spLocks/>
            </p:cNvSpPr>
            <p:nvPr>
              <p:custDataLst>
                <p:tags r:id="rId201"/>
              </p:custDataLst>
            </p:nvPr>
          </p:nvSpPr>
          <p:spPr bwMode="gray">
            <a:xfrm>
              <a:off x="4959873" y="2611124"/>
              <a:ext cx="148839" cy="26976"/>
            </a:xfrm>
            <a:custGeom>
              <a:avLst/>
              <a:gdLst/>
              <a:ahLst/>
              <a:cxnLst>
                <a:cxn ang="0">
                  <a:pos x="0" y="15"/>
                </a:cxn>
                <a:cxn ang="0">
                  <a:pos x="4" y="21"/>
                </a:cxn>
                <a:cxn ang="0">
                  <a:pos x="30" y="21"/>
                </a:cxn>
                <a:cxn ang="0">
                  <a:pos x="62" y="11"/>
                </a:cxn>
                <a:cxn ang="0">
                  <a:pos x="73" y="15"/>
                </a:cxn>
                <a:cxn ang="0">
                  <a:pos x="116" y="0"/>
                </a:cxn>
                <a:cxn ang="0">
                  <a:pos x="77" y="0"/>
                </a:cxn>
                <a:cxn ang="0">
                  <a:pos x="0" y="15"/>
                </a:cxn>
                <a:cxn ang="0">
                  <a:pos x="0" y="15"/>
                </a:cxn>
              </a:cxnLst>
              <a:rect l="0" t="0" r="r" b="b"/>
              <a:pathLst>
                <a:path w="116" h="21">
                  <a:moveTo>
                    <a:pt x="0" y="15"/>
                  </a:moveTo>
                  <a:lnTo>
                    <a:pt x="4" y="21"/>
                  </a:lnTo>
                  <a:lnTo>
                    <a:pt x="30" y="21"/>
                  </a:lnTo>
                  <a:lnTo>
                    <a:pt x="62" y="11"/>
                  </a:lnTo>
                  <a:lnTo>
                    <a:pt x="73" y="15"/>
                  </a:lnTo>
                  <a:lnTo>
                    <a:pt x="116" y="0"/>
                  </a:lnTo>
                  <a:lnTo>
                    <a:pt x="77" y="0"/>
                  </a:lnTo>
                  <a:lnTo>
                    <a:pt x="0" y="15"/>
                  </a:lnTo>
                  <a:lnTo>
                    <a:pt x="0"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66" name="Freeform 5877"/>
            <p:cNvSpPr>
              <a:spLocks/>
            </p:cNvSpPr>
            <p:nvPr>
              <p:custDataLst>
                <p:tags r:id="rId202"/>
              </p:custDataLst>
            </p:nvPr>
          </p:nvSpPr>
          <p:spPr bwMode="gray">
            <a:xfrm>
              <a:off x="5022744" y="2620116"/>
              <a:ext cx="182199" cy="43675"/>
            </a:xfrm>
            <a:custGeom>
              <a:avLst/>
              <a:gdLst/>
              <a:ahLst/>
              <a:cxnLst>
                <a:cxn ang="0">
                  <a:pos x="0" y="21"/>
                </a:cxn>
                <a:cxn ang="0">
                  <a:pos x="20" y="25"/>
                </a:cxn>
                <a:cxn ang="0">
                  <a:pos x="37" y="21"/>
                </a:cxn>
                <a:cxn ang="0">
                  <a:pos x="43" y="27"/>
                </a:cxn>
                <a:cxn ang="0">
                  <a:pos x="24" y="30"/>
                </a:cxn>
                <a:cxn ang="0">
                  <a:pos x="39" y="34"/>
                </a:cxn>
                <a:cxn ang="0">
                  <a:pos x="122" y="25"/>
                </a:cxn>
                <a:cxn ang="0">
                  <a:pos x="142" y="14"/>
                </a:cxn>
                <a:cxn ang="0">
                  <a:pos x="120" y="8"/>
                </a:cxn>
                <a:cxn ang="0">
                  <a:pos x="123" y="0"/>
                </a:cxn>
                <a:cxn ang="0">
                  <a:pos x="95" y="8"/>
                </a:cxn>
                <a:cxn ang="0">
                  <a:pos x="103" y="10"/>
                </a:cxn>
                <a:cxn ang="0">
                  <a:pos x="95" y="14"/>
                </a:cxn>
                <a:cxn ang="0">
                  <a:pos x="95" y="19"/>
                </a:cxn>
                <a:cxn ang="0">
                  <a:pos x="75" y="17"/>
                </a:cxn>
                <a:cxn ang="0">
                  <a:pos x="73" y="10"/>
                </a:cxn>
                <a:cxn ang="0">
                  <a:pos x="47" y="6"/>
                </a:cxn>
                <a:cxn ang="0">
                  <a:pos x="0" y="21"/>
                </a:cxn>
                <a:cxn ang="0">
                  <a:pos x="0" y="21"/>
                </a:cxn>
              </a:cxnLst>
              <a:rect l="0" t="0" r="r" b="b"/>
              <a:pathLst>
                <a:path w="142" h="34">
                  <a:moveTo>
                    <a:pt x="0" y="21"/>
                  </a:moveTo>
                  <a:lnTo>
                    <a:pt x="20" y="25"/>
                  </a:lnTo>
                  <a:lnTo>
                    <a:pt x="37" y="21"/>
                  </a:lnTo>
                  <a:lnTo>
                    <a:pt x="43" y="27"/>
                  </a:lnTo>
                  <a:lnTo>
                    <a:pt x="24" y="30"/>
                  </a:lnTo>
                  <a:lnTo>
                    <a:pt x="39" y="34"/>
                  </a:lnTo>
                  <a:lnTo>
                    <a:pt x="122" y="25"/>
                  </a:lnTo>
                  <a:lnTo>
                    <a:pt x="142" y="14"/>
                  </a:lnTo>
                  <a:lnTo>
                    <a:pt x="120" y="8"/>
                  </a:lnTo>
                  <a:lnTo>
                    <a:pt x="123" y="0"/>
                  </a:lnTo>
                  <a:lnTo>
                    <a:pt x="95" y="8"/>
                  </a:lnTo>
                  <a:lnTo>
                    <a:pt x="103" y="10"/>
                  </a:lnTo>
                  <a:lnTo>
                    <a:pt x="95" y="14"/>
                  </a:lnTo>
                  <a:lnTo>
                    <a:pt x="95" y="19"/>
                  </a:lnTo>
                  <a:lnTo>
                    <a:pt x="75" y="17"/>
                  </a:lnTo>
                  <a:lnTo>
                    <a:pt x="73" y="10"/>
                  </a:lnTo>
                  <a:lnTo>
                    <a:pt x="47" y="6"/>
                  </a:lnTo>
                  <a:lnTo>
                    <a:pt x="0" y="21"/>
                  </a:lnTo>
                  <a:lnTo>
                    <a:pt x="0" y="2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67" name="Freeform 5878"/>
            <p:cNvSpPr>
              <a:spLocks/>
            </p:cNvSpPr>
            <p:nvPr>
              <p:custDataLst>
                <p:tags r:id="rId203"/>
              </p:custDataLst>
            </p:nvPr>
          </p:nvSpPr>
          <p:spPr bwMode="gray">
            <a:xfrm>
              <a:off x="4902134" y="2677921"/>
              <a:ext cx="269449" cy="98911"/>
            </a:xfrm>
            <a:custGeom>
              <a:avLst/>
              <a:gdLst/>
              <a:ahLst/>
              <a:cxnLst>
                <a:cxn ang="0">
                  <a:pos x="9" y="30"/>
                </a:cxn>
                <a:cxn ang="0">
                  <a:pos x="19" y="34"/>
                </a:cxn>
                <a:cxn ang="0">
                  <a:pos x="9" y="40"/>
                </a:cxn>
                <a:cxn ang="0">
                  <a:pos x="15" y="44"/>
                </a:cxn>
                <a:cxn ang="0">
                  <a:pos x="60" y="49"/>
                </a:cxn>
                <a:cxn ang="0">
                  <a:pos x="8" y="53"/>
                </a:cxn>
                <a:cxn ang="0">
                  <a:pos x="0" y="62"/>
                </a:cxn>
                <a:cxn ang="0">
                  <a:pos x="28" y="66"/>
                </a:cxn>
                <a:cxn ang="0">
                  <a:pos x="24" y="77"/>
                </a:cxn>
                <a:cxn ang="0">
                  <a:pos x="124" y="62"/>
                </a:cxn>
                <a:cxn ang="0">
                  <a:pos x="139" y="72"/>
                </a:cxn>
                <a:cxn ang="0">
                  <a:pos x="156" y="70"/>
                </a:cxn>
                <a:cxn ang="0">
                  <a:pos x="197" y="51"/>
                </a:cxn>
                <a:cxn ang="0">
                  <a:pos x="167" y="45"/>
                </a:cxn>
                <a:cxn ang="0">
                  <a:pos x="163" y="40"/>
                </a:cxn>
                <a:cxn ang="0">
                  <a:pos x="174" y="30"/>
                </a:cxn>
                <a:cxn ang="0">
                  <a:pos x="180" y="15"/>
                </a:cxn>
                <a:cxn ang="0">
                  <a:pos x="210" y="4"/>
                </a:cxn>
                <a:cxn ang="0">
                  <a:pos x="187" y="0"/>
                </a:cxn>
                <a:cxn ang="0">
                  <a:pos x="154" y="15"/>
                </a:cxn>
                <a:cxn ang="0">
                  <a:pos x="116" y="10"/>
                </a:cxn>
                <a:cxn ang="0">
                  <a:pos x="94" y="14"/>
                </a:cxn>
                <a:cxn ang="0">
                  <a:pos x="101" y="4"/>
                </a:cxn>
                <a:cxn ang="0">
                  <a:pos x="88" y="4"/>
                </a:cxn>
                <a:cxn ang="0">
                  <a:pos x="39" y="15"/>
                </a:cxn>
                <a:cxn ang="0">
                  <a:pos x="9" y="30"/>
                </a:cxn>
                <a:cxn ang="0">
                  <a:pos x="9" y="30"/>
                </a:cxn>
              </a:cxnLst>
              <a:rect l="0" t="0" r="r" b="b"/>
              <a:pathLst>
                <a:path w="210" h="77">
                  <a:moveTo>
                    <a:pt x="9" y="30"/>
                  </a:moveTo>
                  <a:lnTo>
                    <a:pt x="19" y="34"/>
                  </a:lnTo>
                  <a:lnTo>
                    <a:pt x="9" y="40"/>
                  </a:lnTo>
                  <a:lnTo>
                    <a:pt x="15" y="44"/>
                  </a:lnTo>
                  <a:lnTo>
                    <a:pt x="60" y="49"/>
                  </a:lnTo>
                  <a:lnTo>
                    <a:pt x="8" y="53"/>
                  </a:lnTo>
                  <a:lnTo>
                    <a:pt x="0" y="62"/>
                  </a:lnTo>
                  <a:lnTo>
                    <a:pt x="28" y="66"/>
                  </a:lnTo>
                  <a:lnTo>
                    <a:pt x="24" y="77"/>
                  </a:lnTo>
                  <a:lnTo>
                    <a:pt x="124" y="62"/>
                  </a:lnTo>
                  <a:lnTo>
                    <a:pt x="139" y="72"/>
                  </a:lnTo>
                  <a:lnTo>
                    <a:pt x="156" y="70"/>
                  </a:lnTo>
                  <a:lnTo>
                    <a:pt x="197" y="51"/>
                  </a:lnTo>
                  <a:lnTo>
                    <a:pt x="167" y="45"/>
                  </a:lnTo>
                  <a:lnTo>
                    <a:pt x="163" y="40"/>
                  </a:lnTo>
                  <a:lnTo>
                    <a:pt x="174" y="30"/>
                  </a:lnTo>
                  <a:lnTo>
                    <a:pt x="180" y="15"/>
                  </a:lnTo>
                  <a:lnTo>
                    <a:pt x="210" y="4"/>
                  </a:lnTo>
                  <a:lnTo>
                    <a:pt x="187" y="0"/>
                  </a:lnTo>
                  <a:lnTo>
                    <a:pt x="154" y="15"/>
                  </a:lnTo>
                  <a:lnTo>
                    <a:pt x="116" y="10"/>
                  </a:lnTo>
                  <a:lnTo>
                    <a:pt x="94" y="14"/>
                  </a:lnTo>
                  <a:lnTo>
                    <a:pt x="101" y="4"/>
                  </a:lnTo>
                  <a:lnTo>
                    <a:pt x="88" y="4"/>
                  </a:lnTo>
                  <a:lnTo>
                    <a:pt x="39" y="15"/>
                  </a:lnTo>
                  <a:lnTo>
                    <a:pt x="9" y="30"/>
                  </a:lnTo>
                  <a:lnTo>
                    <a:pt x="9" y="3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68" name="Freeform 5879"/>
            <p:cNvSpPr>
              <a:spLocks/>
            </p:cNvSpPr>
            <p:nvPr>
              <p:custDataLst>
                <p:tags r:id="rId204"/>
              </p:custDataLst>
            </p:nvPr>
          </p:nvSpPr>
          <p:spPr bwMode="gray">
            <a:xfrm>
              <a:off x="4832847" y="2661222"/>
              <a:ext cx="182199" cy="68082"/>
            </a:xfrm>
            <a:custGeom>
              <a:avLst/>
              <a:gdLst/>
              <a:ahLst/>
              <a:cxnLst>
                <a:cxn ang="0">
                  <a:pos x="0" y="36"/>
                </a:cxn>
                <a:cxn ang="0">
                  <a:pos x="9" y="42"/>
                </a:cxn>
                <a:cxn ang="0">
                  <a:pos x="5" y="53"/>
                </a:cxn>
                <a:cxn ang="0">
                  <a:pos x="41" y="47"/>
                </a:cxn>
                <a:cxn ang="0">
                  <a:pos x="78" y="28"/>
                </a:cxn>
                <a:cxn ang="0">
                  <a:pos x="142" y="15"/>
                </a:cxn>
                <a:cxn ang="0">
                  <a:pos x="131" y="4"/>
                </a:cxn>
                <a:cxn ang="0">
                  <a:pos x="95" y="0"/>
                </a:cxn>
                <a:cxn ang="0">
                  <a:pos x="50" y="8"/>
                </a:cxn>
                <a:cxn ang="0">
                  <a:pos x="47" y="15"/>
                </a:cxn>
                <a:cxn ang="0">
                  <a:pos x="0" y="36"/>
                </a:cxn>
                <a:cxn ang="0">
                  <a:pos x="0" y="36"/>
                </a:cxn>
              </a:cxnLst>
              <a:rect l="0" t="0" r="r" b="b"/>
              <a:pathLst>
                <a:path w="142" h="53">
                  <a:moveTo>
                    <a:pt x="0" y="36"/>
                  </a:moveTo>
                  <a:lnTo>
                    <a:pt x="9" y="42"/>
                  </a:lnTo>
                  <a:lnTo>
                    <a:pt x="5" y="53"/>
                  </a:lnTo>
                  <a:lnTo>
                    <a:pt x="41" y="47"/>
                  </a:lnTo>
                  <a:lnTo>
                    <a:pt x="78" y="28"/>
                  </a:lnTo>
                  <a:lnTo>
                    <a:pt x="142" y="15"/>
                  </a:lnTo>
                  <a:lnTo>
                    <a:pt x="131" y="4"/>
                  </a:lnTo>
                  <a:lnTo>
                    <a:pt x="95" y="0"/>
                  </a:lnTo>
                  <a:lnTo>
                    <a:pt x="50" y="8"/>
                  </a:lnTo>
                  <a:lnTo>
                    <a:pt x="47" y="15"/>
                  </a:lnTo>
                  <a:lnTo>
                    <a:pt x="0" y="36"/>
                  </a:lnTo>
                  <a:lnTo>
                    <a:pt x="0" y="3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69" name="Freeform 5885"/>
            <p:cNvSpPr>
              <a:spLocks/>
            </p:cNvSpPr>
            <p:nvPr>
              <p:custDataLst>
                <p:tags r:id="rId205"/>
              </p:custDataLst>
            </p:nvPr>
          </p:nvSpPr>
          <p:spPr bwMode="gray">
            <a:xfrm>
              <a:off x="9680371" y="2878313"/>
              <a:ext cx="55173" cy="11561"/>
            </a:xfrm>
            <a:custGeom>
              <a:avLst/>
              <a:gdLst/>
              <a:ahLst/>
              <a:cxnLst>
                <a:cxn ang="0">
                  <a:pos x="0" y="0"/>
                </a:cxn>
                <a:cxn ang="0">
                  <a:pos x="7" y="6"/>
                </a:cxn>
                <a:cxn ang="0">
                  <a:pos x="37" y="9"/>
                </a:cxn>
                <a:cxn ang="0">
                  <a:pos x="43" y="6"/>
                </a:cxn>
                <a:cxn ang="0">
                  <a:pos x="0" y="0"/>
                </a:cxn>
              </a:cxnLst>
              <a:rect l="0" t="0" r="r" b="b"/>
              <a:pathLst>
                <a:path w="43" h="9">
                  <a:moveTo>
                    <a:pt x="0" y="0"/>
                  </a:moveTo>
                  <a:lnTo>
                    <a:pt x="7" y="6"/>
                  </a:lnTo>
                  <a:lnTo>
                    <a:pt x="37" y="9"/>
                  </a:lnTo>
                  <a:lnTo>
                    <a:pt x="43" y="6"/>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70" name="Freeform 5886"/>
            <p:cNvSpPr>
              <a:spLocks/>
            </p:cNvSpPr>
            <p:nvPr>
              <p:custDataLst>
                <p:tags r:id="rId206"/>
              </p:custDataLst>
            </p:nvPr>
          </p:nvSpPr>
          <p:spPr bwMode="gray">
            <a:xfrm>
              <a:off x="9680371" y="2878313"/>
              <a:ext cx="55173" cy="11561"/>
            </a:xfrm>
            <a:custGeom>
              <a:avLst/>
              <a:gdLst/>
              <a:ahLst/>
              <a:cxnLst>
                <a:cxn ang="0">
                  <a:pos x="0" y="0"/>
                </a:cxn>
                <a:cxn ang="0">
                  <a:pos x="7" y="6"/>
                </a:cxn>
                <a:cxn ang="0">
                  <a:pos x="37" y="9"/>
                </a:cxn>
                <a:cxn ang="0">
                  <a:pos x="43" y="6"/>
                </a:cxn>
              </a:cxnLst>
              <a:rect l="0" t="0" r="r" b="b"/>
              <a:pathLst>
                <a:path w="43" h="9">
                  <a:moveTo>
                    <a:pt x="0" y="0"/>
                  </a:moveTo>
                  <a:lnTo>
                    <a:pt x="7" y="6"/>
                  </a:lnTo>
                  <a:lnTo>
                    <a:pt x="37" y="9"/>
                  </a:lnTo>
                  <a:lnTo>
                    <a:pt x="43" y="6"/>
                  </a:lnTo>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71" name="Freeform 5889"/>
            <p:cNvSpPr>
              <a:spLocks/>
            </p:cNvSpPr>
            <p:nvPr>
              <p:custDataLst>
                <p:tags r:id="rId207"/>
              </p:custDataLst>
            </p:nvPr>
          </p:nvSpPr>
          <p:spPr bwMode="gray">
            <a:xfrm>
              <a:off x="9680371" y="2878313"/>
              <a:ext cx="52607" cy="7707"/>
            </a:xfrm>
            <a:custGeom>
              <a:avLst/>
              <a:gdLst/>
              <a:ahLst/>
              <a:cxnLst>
                <a:cxn ang="0">
                  <a:pos x="41" y="6"/>
                </a:cxn>
                <a:cxn ang="0">
                  <a:pos x="0" y="0"/>
                </a:cxn>
                <a:cxn ang="0">
                  <a:pos x="41" y="6"/>
                </a:cxn>
              </a:cxnLst>
              <a:rect l="0" t="0" r="r" b="b"/>
              <a:pathLst>
                <a:path w="41" h="6">
                  <a:moveTo>
                    <a:pt x="41" y="6"/>
                  </a:moveTo>
                  <a:lnTo>
                    <a:pt x="0" y="0"/>
                  </a:lnTo>
                  <a:lnTo>
                    <a:pt x="41"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72" name="Line 5890"/>
            <p:cNvSpPr>
              <a:spLocks noChangeShapeType="1"/>
            </p:cNvSpPr>
            <p:nvPr>
              <p:custDataLst>
                <p:tags r:id="rId208"/>
              </p:custDataLst>
            </p:nvPr>
          </p:nvSpPr>
          <p:spPr bwMode="gray">
            <a:xfrm flipH="1" flipV="1">
              <a:off x="9680371" y="2878313"/>
              <a:ext cx="52607" cy="7707"/>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73" name="Freeform 5892"/>
            <p:cNvSpPr>
              <a:spLocks/>
            </p:cNvSpPr>
            <p:nvPr>
              <p:custDataLst>
                <p:tags r:id="rId209"/>
              </p:custDataLst>
            </p:nvPr>
          </p:nvSpPr>
          <p:spPr bwMode="gray">
            <a:xfrm>
              <a:off x="3988572" y="2991354"/>
              <a:ext cx="70570" cy="35968"/>
            </a:xfrm>
            <a:custGeom>
              <a:avLst/>
              <a:gdLst/>
              <a:ahLst/>
              <a:cxnLst>
                <a:cxn ang="0">
                  <a:pos x="0" y="21"/>
                </a:cxn>
                <a:cxn ang="0">
                  <a:pos x="0" y="28"/>
                </a:cxn>
                <a:cxn ang="0">
                  <a:pos x="40" y="15"/>
                </a:cxn>
                <a:cxn ang="0">
                  <a:pos x="43" y="11"/>
                </a:cxn>
                <a:cxn ang="0">
                  <a:pos x="38" y="9"/>
                </a:cxn>
                <a:cxn ang="0">
                  <a:pos x="55" y="4"/>
                </a:cxn>
                <a:cxn ang="0">
                  <a:pos x="55" y="0"/>
                </a:cxn>
                <a:cxn ang="0">
                  <a:pos x="0" y="21"/>
                </a:cxn>
                <a:cxn ang="0">
                  <a:pos x="0" y="21"/>
                </a:cxn>
              </a:cxnLst>
              <a:rect l="0" t="0" r="r" b="b"/>
              <a:pathLst>
                <a:path w="55" h="28">
                  <a:moveTo>
                    <a:pt x="0" y="21"/>
                  </a:moveTo>
                  <a:lnTo>
                    <a:pt x="0" y="28"/>
                  </a:lnTo>
                  <a:lnTo>
                    <a:pt x="40" y="15"/>
                  </a:lnTo>
                  <a:lnTo>
                    <a:pt x="43" y="11"/>
                  </a:lnTo>
                  <a:lnTo>
                    <a:pt x="38" y="9"/>
                  </a:lnTo>
                  <a:lnTo>
                    <a:pt x="55" y="4"/>
                  </a:lnTo>
                  <a:lnTo>
                    <a:pt x="55" y="0"/>
                  </a:lnTo>
                  <a:lnTo>
                    <a:pt x="0" y="21"/>
                  </a:lnTo>
                  <a:lnTo>
                    <a:pt x="0" y="2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74" name="Freeform 5893"/>
            <p:cNvSpPr>
              <a:spLocks/>
            </p:cNvSpPr>
            <p:nvPr>
              <p:custDataLst>
                <p:tags r:id="rId210"/>
              </p:custDataLst>
            </p:nvPr>
          </p:nvSpPr>
          <p:spPr bwMode="gray">
            <a:xfrm>
              <a:off x="4282400" y="3085127"/>
              <a:ext cx="35927" cy="50098"/>
            </a:xfrm>
            <a:custGeom>
              <a:avLst/>
              <a:gdLst/>
              <a:ahLst/>
              <a:cxnLst>
                <a:cxn ang="0">
                  <a:pos x="9" y="0"/>
                </a:cxn>
                <a:cxn ang="0">
                  <a:pos x="2" y="11"/>
                </a:cxn>
                <a:cxn ang="0">
                  <a:pos x="0" y="30"/>
                </a:cxn>
                <a:cxn ang="0">
                  <a:pos x="5" y="39"/>
                </a:cxn>
                <a:cxn ang="0">
                  <a:pos x="5" y="24"/>
                </a:cxn>
                <a:cxn ang="0">
                  <a:pos x="28" y="2"/>
                </a:cxn>
                <a:cxn ang="0">
                  <a:pos x="9" y="0"/>
                </a:cxn>
                <a:cxn ang="0">
                  <a:pos x="9" y="0"/>
                </a:cxn>
              </a:cxnLst>
              <a:rect l="0" t="0" r="r" b="b"/>
              <a:pathLst>
                <a:path w="28" h="39">
                  <a:moveTo>
                    <a:pt x="9" y="0"/>
                  </a:moveTo>
                  <a:lnTo>
                    <a:pt x="2" y="11"/>
                  </a:lnTo>
                  <a:lnTo>
                    <a:pt x="0" y="30"/>
                  </a:lnTo>
                  <a:lnTo>
                    <a:pt x="5" y="39"/>
                  </a:lnTo>
                  <a:lnTo>
                    <a:pt x="5" y="24"/>
                  </a:lnTo>
                  <a:lnTo>
                    <a:pt x="28" y="2"/>
                  </a:lnTo>
                  <a:lnTo>
                    <a:pt x="9" y="0"/>
                  </a:lnTo>
                  <a:lnTo>
                    <a:pt x="9"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75" name="Freeform 5894"/>
            <p:cNvSpPr>
              <a:spLocks/>
            </p:cNvSpPr>
            <p:nvPr>
              <p:custDataLst>
                <p:tags r:id="rId211"/>
              </p:custDataLst>
            </p:nvPr>
          </p:nvSpPr>
          <p:spPr bwMode="gray">
            <a:xfrm>
              <a:off x="4313194" y="3162200"/>
              <a:ext cx="55173" cy="55236"/>
            </a:xfrm>
            <a:custGeom>
              <a:avLst/>
              <a:gdLst/>
              <a:ahLst/>
              <a:cxnLst>
                <a:cxn ang="0">
                  <a:pos x="0" y="2"/>
                </a:cxn>
                <a:cxn ang="0">
                  <a:pos x="0" y="11"/>
                </a:cxn>
                <a:cxn ang="0">
                  <a:pos x="11" y="19"/>
                </a:cxn>
                <a:cxn ang="0">
                  <a:pos x="8" y="24"/>
                </a:cxn>
                <a:cxn ang="0">
                  <a:pos x="25" y="32"/>
                </a:cxn>
                <a:cxn ang="0">
                  <a:pos x="21" y="36"/>
                </a:cxn>
                <a:cxn ang="0">
                  <a:pos x="34" y="43"/>
                </a:cxn>
                <a:cxn ang="0">
                  <a:pos x="43" y="41"/>
                </a:cxn>
                <a:cxn ang="0">
                  <a:pos x="34" y="9"/>
                </a:cxn>
                <a:cxn ang="0">
                  <a:pos x="8" y="0"/>
                </a:cxn>
                <a:cxn ang="0">
                  <a:pos x="0" y="2"/>
                </a:cxn>
                <a:cxn ang="0">
                  <a:pos x="0" y="2"/>
                </a:cxn>
              </a:cxnLst>
              <a:rect l="0" t="0" r="r" b="b"/>
              <a:pathLst>
                <a:path w="43" h="43">
                  <a:moveTo>
                    <a:pt x="0" y="2"/>
                  </a:moveTo>
                  <a:lnTo>
                    <a:pt x="0" y="11"/>
                  </a:lnTo>
                  <a:lnTo>
                    <a:pt x="11" y="19"/>
                  </a:lnTo>
                  <a:lnTo>
                    <a:pt x="8" y="24"/>
                  </a:lnTo>
                  <a:lnTo>
                    <a:pt x="25" y="32"/>
                  </a:lnTo>
                  <a:lnTo>
                    <a:pt x="21" y="36"/>
                  </a:lnTo>
                  <a:lnTo>
                    <a:pt x="34" y="43"/>
                  </a:lnTo>
                  <a:lnTo>
                    <a:pt x="43" y="41"/>
                  </a:lnTo>
                  <a:lnTo>
                    <a:pt x="34" y="9"/>
                  </a:lnTo>
                  <a:lnTo>
                    <a:pt x="8"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76" name="Freeform 5895"/>
            <p:cNvSpPr>
              <a:spLocks/>
            </p:cNvSpPr>
            <p:nvPr>
              <p:custDataLst>
                <p:tags r:id="rId212"/>
              </p:custDataLst>
            </p:nvPr>
          </p:nvSpPr>
          <p:spPr bwMode="gray">
            <a:xfrm>
              <a:off x="6269911" y="2820507"/>
              <a:ext cx="168085" cy="62943"/>
            </a:xfrm>
            <a:custGeom>
              <a:avLst/>
              <a:gdLst/>
              <a:ahLst/>
              <a:cxnLst>
                <a:cxn ang="0">
                  <a:pos x="0" y="15"/>
                </a:cxn>
                <a:cxn ang="0">
                  <a:pos x="26" y="17"/>
                </a:cxn>
                <a:cxn ang="0">
                  <a:pos x="0" y="28"/>
                </a:cxn>
                <a:cxn ang="0">
                  <a:pos x="17" y="28"/>
                </a:cxn>
                <a:cxn ang="0">
                  <a:pos x="22" y="36"/>
                </a:cxn>
                <a:cxn ang="0">
                  <a:pos x="11" y="41"/>
                </a:cxn>
                <a:cxn ang="0">
                  <a:pos x="60" y="49"/>
                </a:cxn>
                <a:cxn ang="0">
                  <a:pos x="116" y="32"/>
                </a:cxn>
                <a:cxn ang="0">
                  <a:pos x="129" y="24"/>
                </a:cxn>
                <a:cxn ang="0">
                  <a:pos x="131" y="15"/>
                </a:cxn>
                <a:cxn ang="0">
                  <a:pos x="120" y="11"/>
                </a:cxn>
                <a:cxn ang="0">
                  <a:pos x="120" y="2"/>
                </a:cxn>
                <a:cxn ang="0">
                  <a:pos x="103" y="0"/>
                </a:cxn>
                <a:cxn ang="0">
                  <a:pos x="84" y="7"/>
                </a:cxn>
                <a:cxn ang="0">
                  <a:pos x="58" y="9"/>
                </a:cxn>
                <a:cxn ang="0">
                  <a:pos x="52" y="6"/>
                </a:cxn>
                <a:cxn ang="0">
                  <a:pos x="49" y="13"/>
                </a:cxn>
                <a:cxn ang="0">
                  <a:pos x="36" y="17"/>
                </a:cxn>
                <a:cxn ang="0">
                  <a:pos x="37" y="7"/>
                </a:cxn>
                <a:cxn ang="0">
                  <a:pos x="21" y="0"/>
                </a:cxn>
                <a:cxn ang="0">
                  <a:pos x="0" y="15"/>
                </a:cxn>
                <a:cxn ang="0">
                  <a:pos x="0" y="15"/>
                </a:cxn>
              </a:cxnLst>
              <a:rect l="0" t="0" r="r" b="b"/>
              <a:pathLst>
                <a:path w="131" h="49">
                  <a:moveTo>
                    <a:pt x="0" y="15"/>
                  </a:moveTo>
                  <a:lnTo>
                    <a:pt x="26" y="17"/>
                  </a:lnTo>
                  <a:lnTo>
                    <a:pt x="0" y="28"/>
                  </a:lnTo>
                  <a:lnTo>
                    <a:pt x="17" y="28"/>
                  </a:lnTo>
                  <a:lnTo>
                    <a:pt x="22" y="36"/>
                  </a:lnTo>
                  <a:lnTo>
                    <a:pt x="11" y="41"/>
                  </a:lnTo>
                  <a:lnTo>
                    <a:pt x="60" y="49"/>
                  </a:lnTo>
                  <a:lnTo>
                    <a:pt x="116" y="32"/>
                  </a:lnTo>
                  <a:lnTo>
                    <a:pt x="129" y="24"/>
                  </a:lnTo>
                  <a:lnTo>
                    <a:pt x="131" y="15"/>
                  </a:lnTo>
                  <a:lnTo>
                    <a:pt x="120" y="11"/>
                  </a:lnTo>
                  <a:lnTo>
                    <a:pt x="120" y="2"/>
                  </a:lnTo>
                  <a:lnTo>
                    <a:pt x="103" y="0"/>
                  </a:lnTo>
                  <a:lnTo>
                    <a:pt x="84" y="7"/>
                  </a:lnTo>
                  <a:lnTo>
                    <a:pt x="58" y="9"/>
                  </a:lnTo>
                  <a:lnTo>
                    <a:pt x="52" y="6"/>
                  </a:lnTo>
                  <a:lnTo>
                    <a:pt x="49" y="13"/>
                  </a:lnTo>
                  <a:lnTo>
                    <a:pt x="36" y="17"/>
                  </a:lnTo>
                  <a:lnTo>
                    <a:pt x="37" y="7"/>
                  </a:lnTo>
                  <a:lnTo>
                    <a:pt x="21" y="0"/>
                  </a:lnTo>
                  <a:lnTo>
                    <a:pt x="0" y="15"/>
                  </a:lnTo>
                  <a:lnTo>
                    <a:pt x="0"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77" name="Freeform 5896"/>
            <p:cNvSpPr>
              <a:spLocks/>
            </p:cNvSpPr>
            <p:nvPr>
              <p:custDataLst>
                <p:tags r:id="rId213"/>
              </p:custDataLst>
            </p:nvPr>
          </p:nvSpPr>
          <p:spPr bwMode="gray">
            <a:xfrm>
              <a:off x="6529095" y="2726735"/>
              <a:ext cx="16680" cy="5138"/>
            </a:xfrm>
            <a:custGeom>
              <a:avLst/>
              <a:gdLst/>
              <a:ahLst/>
              <a:cxnLst>
                <a:cxn ang="0">
                  <a:pos x="0" y="4"/>
                </a:cxn>
                <a:cxn ang="0">
                  <a:pos x="13" y="0"/>
                </a:cxn>
                <a:cxn ang="0">
                  <a:pos x="0" y="4"/>
                </a:cxn>
              </a:cxnLst>
              <a:rect l="0" t="0" r="r" b="b"/>
              <a:pathLst>
                <a:path w="13" h="4">
                  <a:moveTo>
                    <a:pt x="0" y="4"/>
                  </a:moveTo>
                  <a:lnTo>
                    <a:pt x="13" y="0"/>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78" name="Line 5897"/>
            <p:cNvSpPr>
              <a:spLocks noChangeShapeType="1"/>
            </p:cNvSpPr>
            <p:nvPr>
              <p:custDataLst>
                <p:tags r:id="rId214"/>
              </p:custDataLst>
            </p:nvPr>
          </p:nvSpPr>
          <p:spPr bwMode="gray">
            <a:xfrm flipV="1">
              <a:off x="6529095" y="2726735"/>
              <a:ext cx="16680" cy="5138"/>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79" name="Freeform 5898"/>
            <p:cNvSpPr>
              <a:spLocks/>
            </p:cNvSpPr>
            <p:nvPr>
              <p:custDataLst>
                <p:tags r:id="rId215"/>
              </p:custDataLst>
            </p:nvPr>
          </p:nvSpPr>
          <p:spPr bwMode="gray">
            <a:xfrm>
              <a:off x="6407201" y="2644523"/>
              <a:ext cx="14114" cy="7707"/>
            </a:xfrm>
            <a:custGeom>
              <a:avLst/>
              <a:gdLst/>
              <a:ahLst/>
              <a:cxnLst>
                <a:cxn ang="0">
                  <a:pos x="2" y="0"/>
                </a:cxn>
                <a:cxn ang="0">
                  <a:pos x="0" y="6"/>
                </a:cxn>
                <a:cxn ang="0">
                  <a:pos x="11" y="6"/>
                </a:cxn>
                <a:cxn ang="0">
                  <a:pos x="2" y="0"/>
                </a:cxn>
                <a:cxn ang="0">
                  <a:pos x="2" y="0"/>
                </a:cxn>
              </a:cxnLst>
              <a:rect l="0" t="0" r="r" b="b"/>
              <a:pathLst>
                <a:path w="11" h="6">
                  <a:moveTo>
                    <a:pt x="2" y="0"/>
                  </a:moveTo>
                  <a:lnTo>
                    <a:pt x="0" y="6"/>
                  </a:lnTo>
                  <a:lnTo>
                    <a:pt x="11" y="6"/>
                  </a:lnTo>
                  <a:lnTo>
                    <a:pt x="2" y="0"/>
                  </a:lnTo>
                  <a:lnTo>
                    <a:pt x="2"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80" name="Freeform 5899"/>
            <p:cNvSpPr>
              <a:spLocks/>
            </p:cNvSpPr>
            <p:nvPr>
              <p:custDataLst>
                <p:tags r:id="rId216"/>
              </p:custDataLst>
            </p:nvPr>
          </p:nvSpPr>
          <p:spPr bwMode="gray">
            <a:xfrm>
              <a:off x="7470407" y="4624127"/>
              <a:ext cx="155254" cy="319855"/>
            </a:xfrm>
            <a:custGeom>
              <a:avLst/>
              <a:gdLst/>
              <a:ahLst/>
              <a:cxnLst>
                <a:cxn ang="0">
                  <a:pos x="0" y="184"/>
                </a:cxn>
                <a:cxn ang="0">
                  <a:pos x="5" y="230"/>
                </a:cxn>
                <a:cxn ang="0">
                  <a:pos x="18" y="245"/>
                </a:cxn>
                <a:cxn ang="0">
                  <a:pos x="24" y="249"/>
                </a:cxn>
                <a:cxn ang="0">
                  <a:pos x="54" y="242"/>
                </a:cxn>
                <a:cxn ang="0">
                  <a:pos x="60" y="234"/>
                </a:cxn>
                <a:cxn ang="0">
                  <a:pos x="99" y="120"/>
                </a:cxn>
                <a:cxn ang="0">
                  <a:pos x="110" y="64"/>
                </a:cxn>
                <a:cxn ang="0">
                  <a:pos x="116" y="71"/>
                </a:cxn>
                <a:cxn ang="0">
                  <a:pos x="121" y="64"/>
                </a:cxn>
                <a:cxn ang="0">
                  <a:pos x="114" y="19"/>
                </a:cxn>
                <a:cxn ang="0">
                  <a:pos x="105" y="0"/>
                </a:cxn>
                <a:cxn ang="0">
                  <a:pos x="97" y="7"/>
                </a:cxn>
                <a:cxn ang="0">
                  <a:pos x="95" y="24"/>
                </a:cxn>
                <a:cxn ang="0">
                  <a:pos x="82" y="28"/>
                </a:cxn>
                <a:cxn ang="0">
                  <a:pos x="77" y="51"/>
                </a:cxn>
                <a:cxn ang="0">
                  <a:pos x="26" y="77"/>
                </a:cxn>
                <a:cxn ang="0">
                  <a:pos x="15" y="99"/>
                </a:cxn>
                <a:cxn ang="0">
                  <a:pos x="20" y="148"/>
                </a:cxn>
                <a:cxn ang="0">
                  <a:pos x="0" y="184"/>
                </a:cxn>
                <a:cxn ang="0">
                  <a:pos x="0" y="184"/>
                </a:cxn>
              </a:cxnLst>
              <a:rect l="0" t="0" r="r" b="b"/>
              <a:pathLst>
                <a:path w="121" h="249">
                  <a:moveTo>
                    <a:pt x="0" y="184"/>
                  </a:moveTo>
                  <a:lnTo>
                    <a:pt x="5" y="230"/>
                  </a:lnTo>
                  <a:lnTo>
                    <a:pt x="18" y="245"/>
                  </a:lnTo>
                  <a:lnTo>
                    <a:pt x="24" y="249"/>
                  </a:lnTo>
                  <a:lnTo>
                    <a:pt x="54" y="242"/>
                  </a:lnTo>
                  <a:lnTo>
                    <a:pt x="60" y="234"/>
                  </a:lnTo>
                  <a:lnTo>
                    <a:pt x="99" y="120"/>
                  </a:lnTo>
                  <a:lnTo>
                    <a:pt x="110" y="64"/>
                  </a:lnTo>
                  <a:lnTo>
                    <a:pt x="116" y="71"/>
                  </a:lnTo>
                  <a:lnTo>
                    <a:pt x="121" y="64"/>
                  </a:lnTo>
                  <a:lnTo>
                    <a:pt x="114" y="19"/>
                  </a:lnTo>
                  <a:lnTo>
                    <a:pt x="105" y="0"/>
                  </a:lnTo>
                  <a:lnTo>
                    <a:pt x="97" y="7"/>
                  </a:lnTo>
                  <a:lnTo>
                    <a:pt x="95" y="24"/>
                  </a:lnTo>
                  <a:lnTo>
                    <a:pt x="82" y="28"/>
                  </a:lnTo>
                  <a:lnTo>
                    <a:pt x="77" y="51"/>
                  </a:lnTo>
                  <a:lnTo>
                    <a:pt x="26" y="77"/>
                  </a:lnTo>
                  <a:lnTo>
                    <a:pt x="15" y="99"/>
                  </a:lnTo>
                  <a:lnTo>
                    <a:pt x="20" y="148"/>
                  </a:lnTo>
                  <a:lnTo>
                    <a:pt x="0" y="184"/>
                  </a:lnTo>
                  <a:lnTo>
                    <a:pt x="0" y="18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81" name="Freeform 5903"/>
            <p:cNvSpPr>
              <a:spLocks/>
            </p:cNvSpPr>
            <p:nvPr>
              <p:custDataLst>
                <p:tags r:id="rId217"/>
              </p:custDataLst>
            </p:nvPr>
          </p:nvSpPr>
          <p:spPr bwMode="gray">
            <a:xfrm>
              <a:off x="7688533" y="4039652"/>
              <a:ext cx="26945" cy="8992"/>
            </a:xfrm>
            <a:custGeom>
              <a:avLst/>
              <a:gdLst/>
              <a:ahLst/>
              <a:cxnLst>
                <a:cxn ang="0">
                  <a:pos x="0" y="5"/>
                </a:cxn>
                <a:cxn ang="0">
                  <a:pos x="13" y="7"/>
                </a:cxn>
                <a:cxn ang="0">
                  <a:pos x="21" y="2"/>
                </a:cxn>
                <a:cxn ang="0">
                  <a:pos x="6" y="0"/>
                </a:cxn>
                <a:cxn ang="0">
                  <a:pos x="0" y="5"/>
                </a:cxn>
                <a:cxn ang="0">
                  <a:pos x="0" y="5"/>
                </a:cxn>
              </a:cxnLst>
              <a:rect l="0" t="0" r="r" b="b"/>
              <a:pathLst>
                <a:path w="21" h="7">
                  <a:moveTo>
                    <a:pt x="0" y="5"/>
                  </a:moveTo>
                  <a:lnTo>
                    <a:pt x="13" y="7"/>
                  </a:lnTo>
                  <a:lnTo>
                    <a:pt x="21" y="2"/>
                  </a:lnTo>
                  <a:lnTo>
                    <a:pt x="6" y="0"/>
                  </a:lnTo>
                  <a:lnTo>
                    <a:pt x="0" y="5"/>
                  </a:lnTo>
                  <a:lnTo>
                    <a:pt x="0"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82" name="Freeform 5904"/>
            <p:cNvSpPr>
              <a:spLocks/>
            </p:cNvSpPr>
            <p:nvPr>
              <p:custDataLst>
                <p:tags r:id="rId218"/>
              </p:custDataLst>
            </p:nvPr>
          </p:nvSpPr>
          <p:spPr bwMode="gray">
            <a:xfrm>
              <a:off x="8521738" y="4045977"/>
              <a:ext cx="5132" cy="33399"/>
            </a:xfrm>
            <a:custGeom>
              <a:avLst/>
              <a:gdLst/>
              <a:ahLst/>
              <a:cxnLst>
                <a:cxn ang="0">
                  <a:pos x="4" y="0"/>
                </a:cxn>
                <a:cxn ang="0">
                  <a:pos x="0" y="26"/>
                </a:cxn>
                <a:cxn ang="0">
                  <a:pos x="4" y="0"/>
                </a:cxn>
              </a:cxnLst>
              <a:rect l="0" t="0" r="r" b="b"/>
              <a:pathLst>
                <a:path w="4" h="26">
                  <a:moveTo>
                    <a:pt x="4" y="0"/>
                  </a:moveTo>
                  <a:lnTo>
                    <a:pt x="0" y="26"/>
                  </a:lnTo>
                  <a:lnTo>
                    <a:pt x="4"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83" name="Line 5905"/>
            <p:cNvSpPr>
              <a:spLocks noChangeShapeType="1"/>
            </p:cNvSpPr>
            <p:nvPr>
              <p:custDataLst>
                <p:tags r:id="rId219"/>
              </p:custDataLst>
            </p:nvPr>
          </p:nvSpPr>
          <p:spPr bwMode="gray">
            <a:xfrm flipH="1">
              <a:off x="8521738" y="4045977"/>
              <a:ext cx="5132" cy="33399"/>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84" name="Freeform 5906"/>
            <p:cNvSpPr>
              <a:spLocks/>
            </p:cNvSpPr>
            <p:nvPr>
              <p:custDataLst>
                <p:tags r:id="rId220"/>
              </p:custDataLst>
            </p:nvPr>
          </p:nvSpPr>
          <p:spPr bwMode="gray">
            <a:xfrm>
              <a:off x="8521738" y="410763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85" name="Freeform 5907"/>
            <p:cNvSpPr>
              <a:spLocks/>
            </p:cNvSpPr>
            <p:nvPr>
              <p:custDataLst>
                <p:tags r:id="rId221"/>
              </p:custDataLst>
            </p:nvPr>
          </p:nvSpPr>
          <p:spPr bwMode="gray">
            <a:xfrm>
              <a:off x="8551249" y="419241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86" name="Freeform 5911"/>
            <p:cNvSpPr>
              <a:spLocks/>
            </p:cNvSpPr>
            <p:nvPr>
              <p:custDataLst>
                <p:tags r:id="rId222"/>
              </p:custDataLst>
            </p:nvPr>
          </p:nvSpPr>
          <p:spPr bwMode="gray">
            <a:xfrm>
              <a:off x="8661595" y="4382532"/>
              <a:ext cx="11548" cy="19268"/>
            </a:xfrm>
            <a:custGeom>
              <a:avLst/>
              <a:gdLst/>
              <a:ahLst/>
              <a:cxnLst>
                <a:cxn ang="0">
                  <a:pos x="0" y="2"/>
                </a:cxn>
                <a:cxn ang="0">
                  <a:pos x="3" y="15"/>
                </a:cxn>
                <a:cxn ang="0">
                  <a:pos x="9" y="13"/>
                </a:cxn>
                <a:cxn ang="0">
                  <a:pos x="3" y="0"/>
                </a:cxn>
                <a:cxn ang="0">
                  <a:pos x="0" y="2"/>
                </a:cxn>
                <a:cxn ang="0">
                  <a:pos x="0" y="2"/>
                </a:cxn>
              </a:cxnLst>
              <a:rect l="0" t="0" r="r" b="b"/>
              <a:pathLst>
                <a:path w="9" h="15">
                  <a:moveTo>
                    <a:pt x="0" y="2"/>
                  </a:moveTo>
                  <a:lnTo>
                    <a:pt x="3" y="15"/>
                  </a:lnTo>
                  <a:lnTo>
                    <a:pt x="9" y="13"/>
                  </a:lnTo>
                  <a:lnTo>
                    <a:pt x="3"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87" name="Freeform 5912"/>
            <p:cNvSpPr>
              <a:spLocks/>
            </p:cNvSpPr>
            <p:nvPr>
              <p:custDataLst>
                <p:tags r:id="rId223"/>
              </p:custDataLst>
            </p:nvPr>
          </p:nvSpPr>
          <p:spPr bwMode="gray">
            <a:xfrm>
              <a:off x="8733448" y="448786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88" name="Freeform 5913"/>
            <p:cNvSpPr>
              <a:spLocks/>
            </p:cNvSpPr>
            <p:nvPr>
              <p:custDataLst>
                <p:tags r:id="rId224"/>
              </p:custDataLst>
            </p:nvPr>
          </p:nvSpPr>
          <p:spPr bwMode="gray">
            <a:xfrm>
              <a:off x="8796320" y="460604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89" name="Freeform 5914"/>
            <p:cNvSpPr>
              <a:spLocks/>
            </p:cNvSpPr>
            <p:nvPr>
              <p:custDataLst>
                <p:tags r:id="rId225"/>
              </p:custDataLst>
            </p:nvPr>
          </p:nvSpPr>
          <p:spPr bwMode="gray">
            <a:xfrm>
              <a:off x="8259987" y="4126904"/>
              <a:ext cx="43625" cy="89919"/>
            </a:xfrm>
            <a:custGeom>
              <a:avLst/>
              <a:gdLst/>
              <a:ahLst/>
              <a:cxnLst>
                <a:cxn ang="0">
                  <a:pos x="0" y="32"/>
                </a:cxn>
                <a:cxn ang="0">
                  <a:pos x="9" y="70"/>
                </a:cxn>
                <a:cxn ang="0">
                  <a:pos x="24" y="68"/>
                </a:cxn>
                <a:cxn ang="0">
                  <a:pos x="32" y="62"/>
                </a:cxn>
                <a:cxn ang="0">
                  <a:pos x="34" y="41"/>
                </a:cxn>
                <a:cxn ang="0">
                  <a:pos x="11" y="6"/>
                </a:cxn>
                <a:cxn ang="0">
                  <a:pos x="2" y="0"/>
                </a:cxn>
                <a:cxn ang="0">
                  <a:pos x="5" y="8"/>
                </a:cxn>
                <a:cxn ang="0">
                  <a:pos x="0" y="32"/>
                </a:cxn>
                <a:cxn ang="0">
                  <a:pos x="0" y="32"/>
                </a:cxn>
              </a:cxnLst>
              <a:rect l="0" t="0" r="r" b="b"/>
              <a:pathLst>
                <a:path w="34" h="70">
                  <a:moveTo>
                    <a:pt x="0" y="32"/>
                  </a:moveTo>
                  <a:lnTo>
                    <a:pt x="9" y="70"/>
                  </a:lnTo>
                  <a:lnTo>
                    <a:pt x="24" y="68"/>
                  </a:lnTo>
                  <a:lnTo>
                    <a:pt x="32" y="62"/>
                  </a:lnTo>
                  <a:lnTo>
                    <a:pt x="34" y="41"/>
                  </a:lnTo>
                  <a:lnTo>
                    <a:pt x="11" y="6"/>
                  </a:lnTo>
                  <a:lnTo>
                    <a:pt x="2" y="0"/>
                  </a:lnTo>
                  <a:lnTo>
                    <a:pt x="5" y="8"/>
                  </a:lnTo>
                  <a:lnTo>
                    <a:pt x="0" y="32"/>
                  </a:lnTo>
                  <a:lnTo>
                    <a:pt x="0" y="3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90" name="Freeform 5915"/>
            <p:cNvSpPr>
              <a:spLocks/>
            </p:cNvSpPr>
            <p:nvPr>
              <p:custDataLst>
                <p:tags r:id="rId226"/>
              </p:custDataLst>
            </p:nvPr>
          </p:nvSpPr>
          <p:spPr bwMode="gray">
            <a:xfrm>
              <a:off x="8834813" y="3886692"/>
              <a:ext cx="44908" cy="41106"/>
            </a:xfrm>
            <a:custGeom>
              <a:avLst/>
              <a:gdLst/>
              <a:ahLst/>
              <a:cxnLst>
                <a:cxn ang="0">
                  <a:pos x="0" y="11"/>
                </a:cxn>
                <a:cxn ang="0">
                  <a:pos x="3" y="28"/>
                </a:cxn>
                <a:cxn ang="0">
                  <a:pos x="18" y="32"/>
                </a:cxn>
                <a:cxn ang="0">
                  <a:pos x="30" y="22"/>
                </a:cxn>
                <a:cxn ang="0">
                  <a:pos x="35" y="0"/>
                </a:cxn>
                <a:cxn ang="0">
                  <a:pos x="13" y="2"/>
                </a:cxn>
                <a:cxn ang="0">
                  <a:pos x="0" y="11"/>
                </a:cxn>
                <a:cxn ang="0">
                  <a:pos x="0" y="11"/>
                </a:cxn>
              </a:cxnLst>
              <a:rect l="0" t="0" r="r" b="b"/>
              <a:pathLst>
                <a:path w="35" h="32">
                  <a:moveTo>
                    <a:pt x="0" y="11"/>
                  </a:moveTo>
                  <a:lnTo>
                    <a:pt x="3" y="28"/>
                  </a:lnTo>
                  <a:lnTo>
                    <a:pt x="18" y="32"/>
                  </a:lnTo>
                  <a:lnTo>
                    <a:pt x="30" y="22"/>
                  </a:lnTo>
                  <a:lnTo>
                    <a:pt x="35" y="0"/>
                  </a:lnTo>
                  <a:lnTo>
                    <a:pt x="13" y="2"/>
                  </a:lnTo>
                  <a:lnTo>
                    <a:pt x="0" y="11"/>
                  </a:lnTo>
                  <a:lnTo>
                    <a:pt x="0"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91" name="Freeform 5916"/>
            <p:cNvSpPr>
              <a:spLocks/>
            </p:cNvSpPr>
            <p:nvPr>
              <p:custDataLst>
                <p:tags r:id="rId227"/>
              </p:custDataLst>
            </p:nvPr>
          </p:nvSpPr>
          <p:spPr bwMode="gray">
            <a:xfrm>
              <a:off x="9052938" y="3760805"/>
              <a:ext cx="28228" cy="77074"/>
            </a:xfrm>
            <a:custGeom>
              <a:avLst/>
              <a:gdLst/>
              <a:ahLst/>
              <a:cxnLst>
                <a:cxn ang="0">
                  <a:pos x="0" y="30"/>
                </a:cxn>
                <a:cxn ang="0">
                  <a:pos x="6" y="49"/>
                </a:cxn>
                <a:cxn ang="0">
                  <a:pos x="15" y="60"/>
                </a:cxn>
                <a:cxn ang="0">
                  <a:pos x="22" y="4"/>
                </a:cxn>
                <a:cxn ang="0">
                  <a:pos x="17" y="0"/>
                </a:cxn>
                <a:cxn ang="0">
                  <a:pos x="9" y="6"/>
                </a:cxn>
                <a:cxn ang="0">
                  <a:pos x="0" y="30"/>
                </a:cxn>
                <a:cxn ang="0">
                  <a:pos x="0" y="30"/>
                </a:cxn>
              </a:cxnLst>
              <a:rect l="0" t="0" r="r" b="b"/>
              <a:pathLst>
                <a:path w="22" h="60">
                  <a:moveTo>
                    <a:pt x="0" y="30"/>
                  </a:moveTo>
                  <a:lnTo>
                    <a:pt x="6" y="49"/>
                  </a:lnTo>
                  <a:lnTo>
                    <a:pt x="15" y="60"/>
                  </a:lnTo>
                  <a:lnTo>
                    <a:pt x="22" y="4"/>
                  </a:lnTo>
                  <a:lnTo>
                    <a:pt x="17" y="0"/>
                  </a:lnTo>
                  <a:lnTo>
                    <a:pt x="9" y="6"/>
                  </a:lnTo>
                  <a:lnTo>
                    <a:pt x="0" y="30"/>
                  </a:lnTo>
                  <a:lnTo>
                    <a:pt x="0" y="3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92" name="Freeform 5917"/>
            <p:cNvSpPr>
              <a:spLocks/>
            </p:cNvSpPr>
            <p:nvPr>
              <p:custDataLst>
                <p:tags r:id="rId228"/>
              </p:custDataLst>
            </p:nvPr>
          </p:nvSpPr>
          <p:spPr bwMode="gray">
            <a:xfrm>
              <a:off x="9177398" y="3559129"/>
              <a:ext cx="51324" cy="65513"/>
            </a:xfrm>
            <a:custGeom>
              <a:avLst/>
              <a:gdLst/>
              <a:ahLst/>
              <a:cxnLst>
                <a:cxn ang="0">
                  <a:pos x="0" y="11"/>
                </a:cxn>
                <a:cxn ang="0">
                  <a:pos x="8" y="19"/>
                </a:cxn>
                <a:cxn ang="0">
                  <a:pos x="14" y="19"/>
                </a:cxn>
                <a:cxn ang="0">
                  <a:pos x="14" y="13"/>
                </a:cxn>
                <a:cxn ang="0">
                  <a:pos x="19" y="19"/>
                </a:cxn>
                <a:cxn ang="0">
                  <a:pos x="23" y="47"/>
                </a:cxn>
                <a:cxn ang="0">
                  <a:pos x="34" y="51"/>
                </a:cxn>
                <a:cxn ang="0">
                  <a:pos x="40" y="43"/>
                </a:cxn>
                <a:cxn ang="0">
                  <a:pos x="40" y="17"/>
                </a:cxn>
                <a:cxn ang="0">
                  <a:pos x="30" y="2"/>
                </a:cxn>
                <a:cxn ang="0">
                  <a:pos x="10" y="0"/>
                </a:cxn>
                <a:cxn ang="0">
                  <a:pos x="0" y="11"/>
                </a:cxn>
                <a:cxn ang="0">
                  <a:pos x="0" y="11"/>
                </a:cxn>
              </a:cxnLst>
              <a:rect l="0" t="0" r="r" b="b"/>
              <a:pathLst>
                <a:path w="40" h="51">
                  <a:moveTo>
                    <a:pt x="0" y="11"/>
                  </a:moveTo>
                  <a:lnTo>
                    <a:pt x="8" y="19"/>
                  </a:lnTo>
                  <a:lnTo>
                    <a:pt x="14" y="19"/>
                  </a:lnTo>
                  <a:lnTo>
                    <a:pt x="14" y="13"/>
                  </a:lnTo>
                  <a:lnTo>
                    <a:pt x="19" y="19"/>
                  </a:lnTo>
                  <a:lnTo>
                    <a:pt x="23" y="47"/>
                  </a:lnTo>
                  <a:lnTo>
                    <a:pt x="34" y="51"/>
                  </a:lnTo>
                  <a:lnTo>
                    <a:pt x="40" y="43"/>
                  </a:lnTo>
                  <a:lnTo>
                    <a:pt x="40" y="17"/>
                  </a:lnTo>
                  <a:lnTo>
                    <a:pt x="30" y="2"/>
                  </a:lnTo>
                  <a:lnTo>
                    <a:pt x="10" y="0"/>
                  </a:lnTo>
                  <a:lnTo>
                    <a:pt x="0" y="11"/>
                  </a:lnTo>
                  <a:lnTo>
                    <a:pt x="0"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93" name="Freeform 5918"/>
            <p:cNvSpPr>
              <a:spLocks/>
            </p:cNvSpPr>
            <p:nvPr>
              <p:custDataLst>
                <p:tags r:id="rId229"/>
              </p:custDataLst>
            </p:nvPr>
          </p:nvSpPr>
          <p:spPr bwMode="gray">
            <a:xfrm>
              <a:off x="9231288" y="3550137"/>
              <a:ext cx="42342" cy="33399"/>
            </a:xfrm>
            <a:custGeom>
              <a:avLst/>
              <a:gdLst/>
              <a:ahLst/>
              <a:cxnLst>
                <a:cxn ang="0">
                  <a:pos x="0" y="15"/>
                </a:cxn>
                <a:cxn ang="0">
                  <a:pos x="15" y="26"/>
                </a:cxn>
                <a:cxn ang="0">
                  <a:pos x="16" y="16"/>
                </a:cxn>
                <a:cxn ang="0">
                  <a:pos x="22" y="13"/>
                </a:cxn>
                <a:cxn ang="0">
                  <a:pos x="28" y="18"/>
                </a:cxn>
                <a:cxn ang="0">
                  <a:pos x="33" y="7"/>
                </a:cxn>
                <a:cxn ang="0">
                  <a:pos x="30" y="0"/>
                </a:cxn>
                <a:cxn ang="0">
                  <a:pos x="15" y="0"/>
                </a:cxn>
                <a:cxn ang="0">
                  <a:pos x="13" y="5"/>
                </a:cxn>
                <a:cxn ang="0">
                  <a:pos x="3" y="3"/>
                </a:cxn>
                <a:cxn ang="0">
                  <a:pos x="0" y="15"/>
                </a:cxn>
                <a:cxn ang="0">
                  <a:pos x="0" y="15"/>
                </a:cxn>
              </a:cxnLst>
              <a:rect l="0" t="0" r="r" b="b"/>
              <a:pathLst>
                <a:path w="33" h="26">
                  <a:moveTo>
                    <a:pt x="0" y="15"/>
                  </a:moveTo>
                  <a:lnTo>
                    <a:pt x="15" y="26"/>
                  </a:lnTo>
                  <a:lnTo>
                    <a:pt x="16" y="16"/>
                  </a:lnTo>
                  <a:lnTo>
                    <a:pt x="22" y="13"/>
                  </a:lnTo>
                  <a:lnTo>
                    <a:pt x="28" y="18"/>
                  </a:lnTo>
                  <a:lnTo>
                    <a:pt x="33" y="7"/>
                  </a:lnTo>
                  <a:lnTo>
                    <a:pt x="30" y="0"/>
                  </a:lnTo>
                  <a:lnTo>
                    <a:pt x="15" y="0"/>
                  </a:lnTo>
                  <a:lnTo>
                    <a:pt x="13" y="5"/>
                  </a:lnTo>
                  <a:lnTo>
                    <a:pt x="3" y="3"/>
                  </a:lnTo>
                  <a:lnTo>
                    <a:pt x="0" y="15"/>
                  </a:lnTo>
                  <a:lnTo>
                    <a:pt x="0"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94" name="Freeform 5919"/>
            <p:cNvSpPr>
              <a:spLocks/>
            </p:cNvSpPr>
            <p:nvPr>
              <p:custDataLst>
                <p:tags r:id="rId230"/>
              </p:custDataLst>
            </p:nvPr>
          </p:nvSpPr>
          <p:spPr bwMode="gray">
            <a:xfrm>
              <a:off x="9195362" y="3379291"/>
              <a:ext cx="179633" cy="190115"/>
            </a:xfrm>
            <a:custGeom>
              <a:avLst/>
              <a:gdLst/>
              <a:ahLst/>
              <a:cxnLst>
                <a:cxn ang="0">
                  <a:pos x="0" y="131"/>
                </a:cxn>
                <a:cxn ang="0">
                  <a:pos x="3" y="138"/>
                </a:cxn>
                <a:cxn ang="0">
                  <a:pos x="20" y="138"/>
                </a:cxn>
                <a:cxn ang="0">
                  <a:pos x="22" y="133"/>
                </a:cxn>
                <a:cxn ang="0">
                  <a:pos x="52" y="121"/>
                </a:cxn>
                <a:cxn ang="0">
                  <a:pos x="67" y="123"/>
                </a:cxn>
                <a:cxn ang="0">
                  <a:pos x="69" y="138"/>
                </a:cxn>
                <a:cxn ang="0">
                  <a:pos x="82" y="148"/>
                </a:cxn>
                <a:cxn ang="0">
                  <a:pos x="89" y="131"/>
                </a:cxn>
                <a:cxn ang="0">
                  <a:pos x="84" y="125"/>
                </a:cxn>
                <a:cxn ang="0">
                  <a:pos x="84" y="118"/>
                </a:cxn>
                <a:cxn ang="0">
                  <a:pos x="95" y="125"/>
                </a:cxn>
                <a:cxn ang="0">
                  <a:pos x="108" y="125"/>
                </a:cxn>
                <a:cxn ang="0">
                  <a:pos x="114" y="116"/>
                </a:cxn>
                <a:cxn ang="0">
                  <a:pos x="119" y="125"/>
                </a:cxn>
                <a:cxn ang="0">
                  <a:pos x="119" y="114"/>
                </a:cxn>
                <a:cxn ang="0">
                  <a:pos x="127" y="108"/>
                </a:cxn>
                <a:cxn ang="0">
                  <a:pos x="131" y="119"/>
                </a:cxn>
                <a:cxn ang="0">
                  <a:pos x="138" y="114"/>
                </a:cxn>
                <a:cxn ang="0">
                  <a:pos x="140" y="104"/>
                </a:cxn>
                <a:cxn ang="0">
                  <a:pos x="121" y="61"/>
                </a:cxn>
                <a:cxn ang="0">
                  <a:pos x="123" y="58"/>
                </a:cxn>
                <a:cxn ang="0">
                  <a:pos x="129" y="58"/>
                </a:cxn>
                <a:cxn ang="0">
                  <a:pos x="127" y="43"/>
                </a:cxn>
                <a:cxn ang="0">
                  <a:pos x="99" y="1"/>
                </a:cxn>
                <a:cxn ang="0">
                  <a:pos x="88" y="0"/>
                </a:cxn>
                <a:cxn ang="0">
                  <a:pos x="97" y="9"/>
                </a:cxn>
                <a:cxn ang="0">
                  <a:pos x="84" y="5"/>
                </a:cxn>
                <a:cxn ang="0">
                  <a:pos x="97" y="45"/>
                </a:cxn>
                <a:cxn ang="0">
                  <a:pos x="93" y="75"/>
                </a:cxn>
                <a:cxn ang="0">
                  <a:pos x="74" y="86"/>
                </a:cxn>
                <a:cxn ang="0">
                  <a:pos x="71" y="73"/>
                </a:cxn>
                <a:cxn ang="0">
                  <a:pos x="67" y="76"/>
                </a:cxn>
                <a:cxn ang="0">
                  <a:pos x="69" y="106"/>
                </a:cxn>
                <a:cxn ang="0">
                  <a:pos x="65" y="108"/>
                </a:cxn>
                <a:cxn ang="0">
                  <a:pos x="56" y="104"/>
                </a:cxn>
                <a:cxn ang="0">
                  <a:pos x="20" y="108"/>
                </a:cxn>
                <a:cxn ang="0">
                  <a:pos x="0" y="131"/>
                </a:cxn>
                <a:cxn ang="0">
                  <a:pos x="0" y="131"/>
                </a:cxn>
              </a:cxnLst>
              <a:rect l="0" t="0" r="r" b="b"/>
              <a:pathLst>
                <a:path w="140" h="148">
                  <a:moveTo>
                    <a:pt x="0" y="131"/>
                  </a:moveTo>
                  <a:lnTo>
                    <a:pt x="3" y="138"/>
                  </a:lnTo>
                  <a:lnTo>
                    <a:pt x="20" y="138"/>
                  </a:lnTo>
                  <a:lnTo>
                    <a:pt x="22" y="133"/>
                  </a:lnTo>
                  <a:lnTo>
                    <a:pt x="52" y="121"/>
                  </a:lnTo>
                  <a:lnTo>
                    <a:pt x="67" y="123"/>
                  </a:lnTo>
                  <a:lnTo>
                    <a:pt x="69" y="138"/>
                  </a:lnTo>
                  <a:lnTo>
                    <a:pt x="82" y="148"/>
                  </a:lnTo>
                  <a:lnTo>
                    <a:pt x="89" y="131"/>
                  </a:lnTo>
                  <a:lnTo>
                    <a:pt x="84" y="125"/>
                  </a:lnTo>
                  <a:lnTo>
                    <a:pt x="84" y="118"/>
                  </a:lnTo>
                  <a:lnTo>
                    <a:pt x="95" y="125"/>
                  </a:lnTo>
                  <a:lnTo>
                    <a:pt x="108" y="125"/>
                  </a:lnTo>
                  <a:lnTo>
                    <a:pt x="114" y="116"/>
                  </a:lnTo>
                  <a:lnTo>
                    <a:pt x="119" y="125"/>
                  </a:lnTo>
                  <a:lnTo>
                    <a:pt x="119" y="114"/>
                  </a:lnTo>
                  <a:lnTo>
                    <a:pt x="127" y="108"/>
                  </a:lnTo>
                  <a:lnTo>
                    <a:pt x="131" y="119"/>
                  </a:lnTo>
                  <a:lnTo>
                    <a:pt x="138" y="114"/>
                  </a:lnTo>
                  <a:lnTo>
                    <a:pt x="140" y="104"/>
                  </a:lnTo>
                  <a:lnTo>
                    <a:pt x="121" y="61"/>
                  </a:lnTo>
                  <a:lnTo>
                    <a:pt x="123" y="58"/>
                  </a:lnTo>
                  <a:lnTo>
                    <a:pt x="129" y="58"/>
                  </a:lnTo>
                  <a:lnTo>
                    <a:pt x="127" y="43"/>
                  </a:lnTo>
                  <a:lnTo>
                    <a:pt x="99" y="1"/>
                  </a:lnTo>
                  <a:lnTo>
                    <a:pt x="88" y="0"/>
                  </a:lnTo>
                  <a:lnTo>
                    <a:pt x="97" y="9"/>
                  </a:lnTo>
                  <a:lnTo>
                    <a:pt x="84" y="5"/>
                  </a:lnTo>
                  <a:lnTo>
                    <a:pt x="97" y="45"/>
                  </a:lnTo>
                  <a:lnTo>
                    <a:pt x="93" y="75"/>
                  </a:lnTo>
                  <a:lnTo>
                    <a:pt x="74" y="86"/>
                  </a:lnTo>
                  <a:lnTo>
                    <a:pt x="71" y="73"/>
                  </a:lnTo>
                  <a:lnTo>
                    <a:pt x="67" y="76"/>
                  </a:lnTo>
                  <a:lnTo>
                    <a:pt x="69" y="106"/>
                  </a:lnTo>
                  <a:lnTo>
                    <a:pt x="65" y="108"/>
                  </a:lnTo>
                  <a:lnTo>
                    <a:pt x="56" y="104"/>
                  </a:lnTo>
                  <a:lnTo>
                    <a:pt x="20" y="108"/>
                  </a:lnTo>
                  <a:lnTo>
                    <a:pt x="0" y="131"/>
                  </a:lnTo>
                  <a:lnTo>
                    <a:pt x="0" y="13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95" name="Freeform 5920"/>
            <p:cNvSpPr>
              <a:spLocks/>
            </p:cNvSpPr>
            <p:nvPr>
              <p:custDataLst>
                <p:tags r:id="rId231"/>
              </p:custDataLst>
            </p:nvPr>
          </p:nvSpPr>
          <p:spPr bwMode="gray">
            <a:xfrm>
              <a:off x="9267215" y="3285518"/>
              <a:ext cx="110346" cy="95057"/>
            </a:xfrm>
            <a:custGeom>
              <a:avLst/>
              <a:gdLst/>
              <a:ahLst/>
              <a:cxnLst>
                <a:cxn ang="0">
                  <a:pos x="5" y="52"/>
                </a:cxn>
                <a:cxn ang="0">
                  <a:pos x="20" y="74"/>
                </a:cxn>
                <a:cxn ang="0">
                  <a:pos x="32" y="65"/>
                </a:cxn>
                <a:cxn ang="0">
                  <a:pos x="15" y="54"/>
                </a:cxn>
                <a:cxn ang="0">
                  <a:pos x="24" y="56"/>
                </a:cxn>
                <a:cxn ang="0">
                  <a:pos x="35" y="52"/>
                </a:cxn>
                <a:cxn ang="0">
                  <a:pos x="62" y="63"/>
                </a:cxn>
                <a:cxn ang="0">
                  <a:pos x="65" y="44"/>
                </a:cxn>
                <a:cxn ang="0">
                  <a:pos x="75" y="44"/>
                </a:cxn>
                <a:cxn ang="0">
                  <a:pos x="86" y="37"/>
                </a:cxn>
                <a:cxn ang="0">
                  <a:pos x="77" y="39"/>
                </a:cxn>
                <a:cxn ang="0">
                  <a:pos x="69" y="31"/>
                </a:cxn>
                <a:cxn ang="0">
                  <a:pos x="67" y="22"/>
                </a:cxn>
                <a:cxn ang="0">
                  <a:pos x="62" y="28"/>
                </a:cxn>
                <a:cxn ang="0">
                  <a:pos x="43" y="24"/>
                </a:cxn>
                <a:cxn ang="0">
                  <a:pos x="3" y="0"/>
                </a:cxn>
                <a:cxn ang="0">
                  <a:pos x="0" y="3"/>
                </a:cxn>
                <a:cxn ang="0">
                  <a:pos x="9" y="13"/>
                </a:cxn>
                <a:cxn ang="0">
                  <a:pos x="20" y="41"/>
                </a:cxn>
                <a:cxn ang="0">
                  <a:pos x="5" y="39"/>
                </a:cxn>
                <a:cxn ang="0">
                  <a:pos x="11" y="44"/>
                </a:cxn>
                <a:cxn ang="0">
                  <a:pos x="5" y="52"/>
                </a:cxn>
                <a:cxn ang="0">
                  <a:pos x="5" y="52"/>
                </a:cxn>
              </a:cxnLst>
              <a:rect l="0" t="0" r="r" b="b"/>
              <a:pathLst>
                <a:path w="86" h="74">
                  <a:moveTo>
                    <a:pt x="5" y="52"/>
                  </a:moveTo>
                  <a:lnTo>
                    <a:pt x="20" y="74"/>
                  </a:lnTo>
                  <a:lnTo>
                    <a:pt x="32" y="65"/>
                  </a:lnTo>
                  <a:lnTo>
                    <a:pt x="15" y="54"/>
                  </a:lnTo>
                  <a:lnTo>
                    <a:pt x="24" y="56"/>
                  </a:lnTo>
                  <a:lnTo>
                    <a:pt x="35" y="52"/>
                  </a:lnTo>
                  <a:lnTo>
                    <a:pt x="62" y="63"/>
                  </a:lnTo>
                  <a:lnTo>
                    <a:pt x="65" y="44"/>
                  </a:lnTo>
                  <a:lnTo>
                    <a:pt x="75" y="44"/>
                  </a:lnTo>
                  <a:lnTo>
                    <a:pt x="86" y="37"/>
                  </a:lnTo>
                  <a:lnTo>
                    <a:pt x="77" y="39"/>
                  </a:lnTo>
                  <a:lnTo>
                    <a:pt x="69" y="31"/>
                  </a:lnTo>
                  <a:lnTo>
                    <a:pt x="67" y="22"/>
                  </a:lnTo>
                  <a:lnTo>
                    <a:pt x="62" y="28"/>
                  </a:lnTo>
                  <a:lnTo>
                    <a:pt x="43" y="24"/>
                  </a:lnTo>
                  <a:lnTo>
                    <a:pt x="3" y="0"/>
                  </a:lnTo>
                  <a:lnTo>
                    <a:pt x="0" y="3"/>
                  </a:lnTo>
                  <a:lnTo>
                    <a:pt x="9" y="13"/>
                  </a:lnTo>
                  <a:lnTo>
                    <a:pt x="20" y="41"/>
                  </a:lnTo>
                  <a:lnTo>
                    <a:pt x="5" y="39"/>
                  </a:lnTo>
                  <a:lnTo>
                    <a:pt x="11" y="44"/>
                  </a:lnTo>
                  <a:lnTo>
                    <a:pt x="5" y="52"/>
                  </a:lnTo>
                  <a:lnTo>
                    <a:pt x="5" y="5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96" name="Freeform 5921"/>
            <p:cNvSpPr>
              <a:spLocks/>
            </p:cNvSpPr>
            <p:nvPr>
              <p:custDataLst>
                <p:tags r:id="rId232"/>
              </p:custDataLst>
            </p:nvPr>
          </p:nvSpPr>
          <p:spPr bwMode="gray">
            <a:xfrm>
              <a:off x="9124792" y="37852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97" name="Freeform 5922"/>
            <p:cNvSpPr>
              <a:spLocks/>
            </p:cNvSpPr>
            <p:nvPr>
              <p:custDataLst>
                <p:tags r:id="rId233"/>
              </p:custDataLst>
            </p:nvPr>
          </p:nvSpPr>
          <p:spPr bwMode="gray">
            <a:xfrm>
              <a:off x="9156869" y="377365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98" name="Freeform 5923"/>
            <p:cNvSpPr>
              <a:spLocks/>
            </p:cNvSpPr>
            <p:nvPr>
              <p:custDataLst>
                <p:tags r:id="rId234"/>
              </p:custDataLst>
            </p:nvPr>
          </p:nvSpPr>
          <p:spPr bwMode="gray">
            <a:xfrm>
              <a:off x="9195362" y="3724837"/>
              <a:ext cx="3849" cy="16699"/>
            </a:xfrm>
            <a:custGeom>
              <a:avLst/>
              <a:gdLst/>
              <a:ahLst/>
              <a:cxnLst>
                <a:cxn ang="0">
                  <a:pos x="0" y="13"/>
                </a:cxn>
                <a:cxn ang="0">
                  <a:pos x="3" y="0"/>
                </a:cxn>
                <a:cxn ang="0">
                  <a:pos x="0" y="13"/>
                </a:cxn>
              </a:cxnLst>
              <a:rect l="0" t="0" r="r" b="b"/>
              <a:pathLst>
                <a:path w="3" h="13">
                  <a:moveTo>
                    <a:pt x="0" y="13"/>
                  </a:moveTo>
                  <a:lnTo>
                    <a:pt x="3" y="0"/>
                  </a:lnTo>
                  <a:lnTo>
                    <a:pt x="0" y="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199" name="Line 5924"/>
            <p:cNvSpPr>
              <a:spLocks noChangeShapeType="1"/>
            </p:cNvSpPr>
            <p:nvPr>
              <p:custDataLst>
                <p:tags r:id="rId235"/>
              </p:custDataLst>
            </p:nvPr>
          </p:nvSpPr>
          <p:spPr bwMode="gray">
            <a:xfrm flipV="1">
              <a:off x="9195362" y="3724837"/>
              <a:ext cx="3849" cy="16699"/>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00" name="Freeform 5925"/>
            <p:cNvSpPr>
              <a:spLocks/>
            </p:cNvSpPr>
            <p:nvPr>
              <p:custDataLst>
                <p:tags r:id="rId236"/>
              </p:custDataLst>
            </p:nvPr>
          </p:nvSpPr>
          <p:spPr bwMode="gray">
            <a:xfrm>
              <a:off x="9214608" y="3686300"/>
              <a:ext cx="3849" cy="7707"/>
            </a:xfrm>
            <a:custGeom>
              <a:avLst/>
              <a:gdLst/>
              <a:ahLst/>
              <a:cxnLst>
                <a:cxn ang="0">
                  <a:pos x="0" y="6"/>
                </a:cxn>
                <a:cxn ang="0">
                  <a:pos x="3" y="0"/>
                </a:cxn>
                <a:cxn ang="0">
                  <a:pos x="0" y="6"/>
                </a:cxn>
              </a:cxnLst>
              <a:rect l="0" t="0" r="r" b="b"/>
              <a:pathLst>
                <a:path w="3" h="6">
                  <a:moveTo>
                    <a:pt x="0" y="6"/>
                  </a:moveTo>
                  <a:lnTo>
                    <a:pt x="3" y="0"/>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01" name="Line 5926"/>
            <p:cNvSpPr>
              <a:spLocks noChangeShapeType="1"/>
            </p:cNvSpPr>
            <p:nvPr>
              <p:custDataLst>
                <p:tags r:id="rId237"/>
              </p:custDataLst>
            </p:nvPr>
          </p:nvSpPr>
          <p:spPr bwMode="gray">
            <a:xfrm flipV="1">
              <a:off x="9214608" y="3686300"/>
              <a:ext cx="3849" cy="7707"/>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02" name="Freeform 5927"/>
            <p:cNvSpPr>
              <a:spLocks/>
            </p:cNvSpPr>
            <p:nvPr>
              <p:custDataLst>
                <p:tags r:id="rId238"/>
              </p:custDataLst>
            </p:nvPr>
          </p:nvSpPr>
          <p:spPr bwMode="gray">
            <a:xfrm>
              <a:off x="9221024" y="364134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03" name="Freeform 5928"/>
            <p:cNvSpPr>
              <a:spLocks/>
            </p:cNvSpPr>
            <p:nvPr>
              <p:custDataLst>
                <p:tags r:id="rId239"/>
              </p:custDataLst>
            </p:nvPr>
          </p:nvSpPr>
          <p:spPr bwMode="gray">
            <a:xfrm>
              <a:off x="9385259" y="357582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04" name="Freeform 5929"/>
            <p:cNvSpPr>
              <a:spLocks/>
            </p:cNvSpPr>
            <p:nvPr>
              <p:custDataLst>
                <p:tags r:id="rId240"/>
              </p:custDataLst>
            </p:nvPr>
          </p:nvSpPr>
          <p:spPr bwMode="gray">
            <a:xfrm>
              <a:off x="9389109" y="358995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05" name="Freeform 5930"/>
            <p:cNvSpPr>
              <a:spLocks/>
            </p:cNvSpPr>
            <p:nvPr>
              <p:custDataLst>
                <p:tags r:id="rId241"/>
              </p:custDataLst>
            </p:nvPr>
          </p:nvSpPr>
          <p:spPr bwMode="gray">
            <a:xfrm>
              <a:off x="9416054" y="363877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06" name="Freeform 5931"/>
            <p:cNvSpPr>
              <a:spLocks/>
            </p:cNvSpPr>
            <p:nvPr>
              <p:custDataLst>
                <p:tags r:id="rId242"/>
              </p:custDataLst>
            </p:nvPr>
          </p:nvSpPr>
          <p:spPr bwMode="gray">
            <a:xfrm>
              <a:off x="9480208" y="371841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07" name="Freeform 5932"/>
            <p:cNvSpPr>
              <a:spLocks/>
            </p:cNvSpPr>
            <p:nvPr>
              <p:custDataLst>
                <p:tags r:id="rId243"/>
              </p:custDataLst>
            </p:nvPr>
          </p:nvSpPr>
          <p:spPr bwMode="gray">
            <a:xfrm>
              <a:off x="9482774" y="37299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08" name="Freeform 5933"/>
            <p:cNvSpPr>
              <a:spLocks/>
            </p:cNvSpPr>
            <p:nvPr>
              <p:custDataLst>
                <p:tags r:id="rId244"/>
              </p:custDataLst>
            </p:nvPr>
          </p:nvSpPr>
          <p:spPr bwMode="gray">
            <a:xfrm>
              <a:off x="9478925" y="377365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09" name="Freeform 5934"/>
            <p:cNvSpPr>
              <a:spLocks/>
            </p:cNvSpPr>
            <p:nvPr>
              <p:custDataLst>
                <p:tags r:id="rId245"/>
              </p:custDataLst>
            </p:nvPr>
          </p:nvSpPr>
          <p:spPr bwMode="gray">
            <a:xfrm>
              <a:off x="9363447" y="3311209"/>
              <a:ext cx="6415" cy="11561"/>
            </a:xfrm>
            <a:custGeom>
              <a:avLst/>
              <a:gdLst/>
              <a:ahLst/>
              <a:cxnLst>
                <a:cxn ang="0">
                  <a:pos x="0" y="9"/>
                </a:cxn>
                <a:cxn ang="0">
                  <a:pos x="5" y="0"/>
                </a:cxn>
                <a:cxn ang="0">
                  <a:pos x="0" y="9"/>
                </a:cxn>
              </a:cxnLst>
              <a:rect l="0" t="0" r="r" b="b"/>
              <a:pathLst>
                <a:path w="5" h="9">
                  <a:moveTo>
                    <a:pt x="0" y="9"/>
                  </a:moveTo>
                  <a:lnTo>
                    <a:pt x="5" y="0"/>
                  </a:lnTo>
                  <a:lnTo>
                    <a:pt x="0" y="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10" name="Line 5935"/>
            <p:cNvSpPr>
              <a:spLocks noChangeShapeType="1"/>
            </p:cNvSpPr>
            <p:nvPr>
              <p:custDataLst>
                <p:tags r:id="rId246"/>
              </p:custDataLst>
            </p:nvPr>
          </p:nvSpPr>
          <p:spPr bwMode="gray">
            <a:xfrm flipV="1">
              <a:off x="9363447" y="3311209"/>
              <a:ext cx="6415" cy="11561"/>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11" name="Freeform 5936"/>
            <p:cNvSpPr>
              <a:spLocks/>
            </p:cNvSpPr>
            <p:nvPr>
              <p:custDataLst>
                <p:tags r:id="rId247"/>
              </p:custDataLst>
            </p:nvPr>
          </p:nvSpPr>
          <p:spPr bwMode="gray">
            <a:xfrm>
              <a:off x="9382693" y="3285518"/>
              <a:ext cx="19246" cy="23122"/>
            </a:xfrm>
            <a:custGeom>
              <a:avLst/>
              <a:gdLst/>
              <a:ahLst/>
              <a:cxnLst>
                <a:cxn ang="0">
                  <a:pos x="0" y="18"/>
                </a:cxn>
                <a:cxn ang="0">
                  <a:pos x="15" y="0"/>
                </a:cxn>
                <a:cxn ang="0">
                  <a:pos x="3" y="1"/>
                </a:cxn>
                <a:cxn ang="0">
                  <a:pos x="0" y="18"/>
                </a:cxn>
                <a:cxn ang="0">
                  <a:pos x="0" y="18"/>
                </a:cxn>
              </a:cxnLst>
              <a:rect l="0" t="0" r="r" b="b"/>
              <a:pathLst>
                <a:path w="15" h="18">
                  <a:moveTo>
                    <a:pt x="0" y="18"/>
                  </a:moveTo>
                  <a:lnTo>
                    <a:pt x="15" y="0"/>
                  </a:lnTo>
                  <a:lnTo>
                    <a:pt x="3" y="1"/>
                  </a:lnTo>
                  <a:lnTo>
                    <a:pt x="0" y="18"/>
                  </a:lnTo>
                  <a:lnTo>
                    <a:pt x="0" y="1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12" name="Freeform 5937"/>
            <p:cNvSpPr>
              <a:spLocks/>
            </p:cNvSpPr>
            <p:nvPr>
              <p:custDataLst>
                <p:tags r:id="rId248"/>
              </p:custDataLst>
            </p:nvPr>
          </p:nvSpPr>
          <p:spPr bwMode="gray">
            <a:xfrm>
              <a:off x="9410921" y="3266250"/>
              <a:ext cx="7699" cy="14130"/>
            </a:xfrm>
            <a:custGeom>
              <a:avLst/>
              <a:gdLst/>
              <a:ahLst/>
              <a:cxnLst>
                <a:cxn ang="0">
                  <a:pos x="0" y="11"/>
                </a:cxn>
                <a:cxn ang="0">
                  <a:pos x="6" y="0"/>
                </a:cxn>
                <a:cxn ang="0">
                  <a:pos x="0" y="11"/>
                </a:cxn>
                <a:cxn ang="0">
                  <a:pos x="0" y="11"/>
                </a:cxn>
              </a:cxnLst>
              <a:rect l="0" t="0" r="r" b="b"/>
              <a:pathLst>
                <a:path w="6" h="11">
                  <a:moveTo>
                    <a:pt x="0" y="11"/>
                  </a:moveTo>
                  <a:lnTo>
                    <a:pt x="6" y="0"/>
                  </a:lnTo>
                  <a:lnTo>
                    <a:pt x="0" y="11"/>
                  </a:lnTo>
                  <a:lnTo>
                    <a:pt x="0"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13" name="Freeform 5938"/>
            <p:cNvSpPr>
              <a:spLocks/>
            </p:cNvSpPr>
            <p:nvPr>
              <p:custDataLst>
                <p:tags r:id="rId249"/>
              </p:custDataLst>
            </p:nvPr>
          </p:nvSpPr>
          <p:spPr bwMode="gray">
            <a:xfrm>
              <a:off x="9432734" y="3246981"/>
              <a:ext cx="2566" cy="6423"/>
            </a:xfrm>
            <a:custGeom>
              <a:avLst/>
              <a:gdLst/>
              <a:ahLst/>
              <a:cxnLst>
                <a:cxn ang="0">
                  <a:pos x="0" y="5"/>
                </a:cxn>
                <a:cxn ang="0">
                  <a:pos x="2" y="0"/>
                </a:cxn>
                <a:cxn ang="0">
                  <a:pos x="0" y="5"/>
                </a:cxn>
              </a:cxnLst>
              <a:rect l="0" t="0" r="r" b="b"/>
              <a:pathLst>
                <a:path w="2" h="5">
                  <a:moveTo>
                    <a:pt x="0" y="5"/>
                  </a:moveTo>
                  <a:lnTo>
                    <a:pt x="2" y="0"/>
                  </a:lnTo>
                  <a:lnTo>
                    <a:pt x="0"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14" name="Line 5939"/>
            <p:cNvSpPr>
              <a:spLocks noChangeShapeType="1"/>
            </p:cNvSpPr>
            <p:nvPr>
              <p:custDataLst>
                <p:tags r:id="rId250"/>
              </p:custDataLst>
            </p:nvPr>
          </p:nvSpPr>
          <p:spPr bwMode="gray">
            <a:xfrm flipV="1">
              <a:off x="9432734" y="3246981"/>
              <a:ext cx="2566" cy="6423"/>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15" name="Freeform 5940"/>
            <p:cNvSpPr>
              <a:spLocks/>
            </p:cNvSpPr>
            <p:nvPr>
              <p:custDataLst>
                <p:tags r:id="rId251"/>
              </p:custDataLst>
            </p:nvPr>
          </p:nvSpPr>
          <p:spPr bwMode="gray">
            <a:xfrm>
              <a:off x="9437866" y="322514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16" name="Freeform 5941"/>
            <p:cNvSpPr>
              <a:spLocks/>
            </p:cNvSpPr>
            <p:nvPr>
              <p:custDataLst>
                <p:tags r:id="rId252"/>
              </p:custDataLst>
            </p:nvPr>
          </p:nvSpPr>
          <p:spPr bwMode="gray">
            <a:xfrm>
              <a:off x="9437866" y="3164769"/>
              <a:ext cx="11548" cy="14130"/>
            </a:xfrm>
            <a:custGeom>
              <a:avLst/>
              <a:gdLst/>
              <a:ahLst/>
              <a:cxnLst>
                <a:cxn ang="0">
                  <a:pos x="0" y="7"/>
                </a:cxn>
                <a:cxn ang="0">
                  <a:pos x="3" y="11"/>
                </a:cxn>
                <a:cxn ang="0">
                  <a:pos x="9" y="9"/>
                </a:cxn>
                <a:cxn ang="0">
                  <a:pos x="5" y="0"/>
                </a:cxn>
                <a:cxn ang="0">
                  <a:pos x="0" y="7"/>
                </a:cxn>
                <a:cxn ang="0">
                  <a:pos x="0" y="7"/>
                </a:cxn>
              </a:cxnLst>
              <a:rect l="0" t="0" r="r" b="b"/>
              <a:pathLst>
                <a:path w="9" h="11">
                  <a:moveTo>
                    <a:pt x="0" y="7"/>
                  </a:moveTo>
                  <a:lnTo>
                    <a:pt x="3" y="11"/>
                  </a:lnTo>
                  <a:lnTo>
                    <a:pt x="9" y="9"/>
                  </a:lnTo>
                  <a:lnTo>
                    <a:pt x="5" y="0"/>
                  </a:lnTo>
                  <a:lnTo>
                    <a:pt x="0" y="7"/>
                  </a:lnTo>
                  <a:lnTo>
                    <a:pt x="0" y="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17" name="Freeform 5942"/>
            <p:cNvSpPr>
              <a:spLocks/>
            </p:cNvSpPr>
            <p:nvPr>
              <p:custDataLst>
                <p:tags r:id="rId253"/>
              </p:custDataLst>
            </p:nvPr>
          </p:nvSpPr>
          <p:spPr bwMode="gray">
            <a:xfrm>
              <a:off x="9399373" y="2974655"/>
              <a:ext cx="14114" cy="14130"/>
            </a:xfrm>
            <a:custGeom>
              <a:avLst/>
              <a:gdLst/>
              <a:ahLst/>
              <a:cxnLst>
                <a:cxn ang="0">
                  <a:pos x="5" y="11"/>
                </a:cxn>
                <a:cxn ang="0">
                  <a:pos x="11" y="5"/>
                </a:cxn>
                <a:cxn ang="0">
                  <a:pos x="3" y="0"/>
                </a:cxn>
                <a:cxn ang="0">
                  <a:pos x="0" y="4"/>
                </a:cxn>
                <a:cxn ang="0">
                  <a:pos x="5" y="11"/>
                </a:cxn>
                <a:cxn ang="0">
                  <a:pos x="5" y="11"/>
                </a:cxn>
              </a:cxnLst>
              <a:rect l="0" t="0" r="r" b="b"/>
              <a:pathLst>
                <a:path w="11" h="11">
                  <a:moveTo>
                    <a:pt x="5" y="11"/>
                  </a:moveTo>
                  <a:lnTo>
                    <a:pt x="11" y="5"/>
                  </a:lnTo>
                  <a:lnTo>
                    <a:pt x="3" y="0"/>
                  </a:lnTo>
                  <a:lnTo>
                    <a:pt x="0" y="4"/>
                  </a:lnTo>
                  <a:lnTo>
                    <a:pt x="5" y="11"/>
                  </a:lnTo>
                  <a:lnTo>
                    <a:pt x="5"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18" name="Freeform 5943"/>
            <p:cNvSpPr>
              <a:spLocks/>
            </p:cNvSpPr>
            <p:nvPr>
              <p:custDataLst>
                <p:tags r:id="rId254"/>
              </p:custDataLst>
            </p:nvPr>
          </p:nvSpPr>
          <p:spPr bwMode="gray">
            <a:xfrm>
              <a:off x="9309557" y="2719027"/>
              <a:ext cx="24379" cy="10276"/>
            </a:xfrm>
            <a:custGeom>
              <a:avLst/>
              <a:gdLst/>
              <a:ahLst/>
              <a:cxnLst>
                <a:cxn ang="0">
                  <a:pos x="6" y="0"/>
                </a:cxn>
                <a:cxn ang="0">
                  <a:pos x="0" y="6"/>
                </a:cxn>
                <a:cxn ang="0">
                  <a:pos x="19" y="8"/>
                </a:cxn>
                <a:cxn ang="0">
                  <a:pos x="6" y="0"/>
                </a:cxn>
              </a:cxnLst>
              <a:rect l="0" t="0" r="r" b="b"/>
              <a:pathLst>
                <a:path w="19" h="8">
                  <a:moveTo>
                    <a:pt x="6" y="0"/>
                  </a:moveTo>
                  <a:lnTo>
                    <a:pt x="0" y="6"/>
                  </a:lnTo>
                  <a:lnTo>
                    <a:pt x="19" y="8"/>
                  </a:lnTo>
                  <a:lnTo>
                    <a:pt x="6"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19" name="Freeform 5944"/>
            <p:cNvSpPr>
              <a:spLocks/>
            </p:cNvSpPr>
            <p:nvPr>
              <p:custDataLst>
                <p:tags r:id="rId255"/>
              </p:custDataLst>
            </p:nvPr>
          </p:nvSpPr>
          <p:spPr bwMode="gray">
            <a:xfrm>
              <a:off x="9309557" y="2719027"/>
              <a:ext cx="24379" cy="10276"/>
            </a:xfrm>
            <a:custGeom>
              <a:avLst/>
              <a:gdLst/>
              <a:ahLst/>
              <a:cxnLst>
                <a:cxn ang="0">
                  <a:pos x="6" y="0"/>
                </a:cxn>
                <a:cxn ang="0">
                  <a:pos x="0" y="6"/>
                </a:cxn>
                <a:cxn ang="0">
                  <a:pos x="19" y="8"/>
                </a:cxn>
              </a:cxnLst>
              <a:rect l="0" t="0" r="r" b="b"/>
              <a:pathLst>
                <a:path w="19" h="8">
                  <a:moveTo>
                    <a:pt x="6" y="0"/>
                  </a:moveTo>
                  <a:lnTo>
                    <a:pt x="0" y="6"/>
                  </a:lnTo>
                  <a:lnTo>
                    <a:pt x="19" y="8"/>
                  </a:lnTo>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20" name="Freeform 5945"/>
            <p:cNvSpPr>
              <a:spLocks/>
            </p:cNvSpPr>
            <p:nvPr>
              <p:custDataLst>
                <p:tags r:id="rId256"/>
              </p:custDataLst>
            </p:nvPr>
          </p:nvSpPr>
          <p:spPr bwMode="gray">
            <a:xfrm>
              <a:off x="9317255" y="2719027"/>
              <a:ext cx="48758" cy="10276"/>
            </a:xfrm>
            <a:custGeom>
              <a:avLst/>
              <a:gdLst/>
              <a:ahLst/>
              <a:cxnLst>
                <a:cxn ang="0">
                  <a:pos x="13" y="8"/>
                </a:cxn>
                <a:cxn ang="0">
                  <a:pos x="38" y="6"/>
                </a:cxn>
                <a:cxn ang="0">
                  <a:pos x="0" y="0"/>
                </a:cxn>
                <a:cxn ang="0">
                  <a:pos x="13" y="8"/>
                </a:cxn>
              </a:cxnLst>
              <a:rect l="0" t="0" r="r" b="b"/>
              <a:pathLst>
                <a:path w="38" h="8">
                  <a:moveTo>
                    <a:pt x="13" y="8"/>
                  </a:moveTo>
                  <a:lnTo>
                    <a:pt x="38" y="6"/>
                  </a:lnTo>
                  <a:lnTo>
                    <a:pt x="0" y="0"/>
                  </a:lnTo>
                  <a:lnTo>
                    <a:pt x="13" y="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21" name="Freeform 5946"/>
            <p:cNvSpPr>
              <a:spLocks/>
            </p:cNvSpPr>
            <p:nvPr>
              <p:custDataLst>
                <p:tags r:id="rId257"/>
              </p:custDataLst>
            </p:nvPr>
          </p:nvSpPr>
          <p:spPr bwMode="gray">
            <a:xfrm>
              <a:off x="9317255" y="2719027"/>
              <a:ext cx="48758" cy="10276"/>
            </a:xfrm>
            <a:custGeom>
              <a:avLst/>
              <a:gdLst/>
              <a:ahLst/>
              <a:cxnLst>
                <a:cxn ang="0">
                  <a:pos x="13" y="8"/>
                </a:cxn>
                <a:cxn ang="0">
                  <a:pos x="38" y="6"/>
                </a:cxn>
                <a:cxn ang="0">
                  <a:pos x="0" y="0"/>
                </a:cxn>
              </a:cxnLst>
              <a:rect l="0" t="0" r="r" b="b"/>
              <a:pathLst>
                <a:path w="38" h="8">
                  <a:moveTo>
                    <a:pt x="13" y="8"/>
                  </a:moveTo>
                  <a:lnTo>
                    <a:pt x="38" y="6"/>
                  </a:lnTo>
                  <a:lnTo>
                    <a:pt x="0" y="0"/>
                  </a:lnTo>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22" name="Freeform 5947"/>
            <p:cNvSpPr>
              <a:spLocks/>
            </p:cNvSpPr>
            <p:nvPr>
              <p:custDataLst>
                <p:tags r:id="rId258"/>
              </p:custDataLst>
            </p:nvPr>
          </p:nvSpPr>
          <p:spPr bwMode="gray">
            <a:xfrm>
              <a:off x="8684691" y="2674068"/>
              <a:ext cx="53890" cy="14130"/>
            </a:xfrm>
            <a:custGeom>
              <a:avLst/>
              <a:gdLst/>
              <a:ahLst/>
              <a:cxnLst>
                <a:cxn ang="0">
                  <a:pos x="2" y="5"/>
                </a:cxn>
                <a:cxn ang="0">
                  <a:pos x="42" y="11"/>
                </a:cxn>
                <a:cxn ang="0">
                  <a:pos x="14" y="0"/>
                </a:cxn>
                <a:cxn ang="0">
                  <a:pos x="0" y="0"/>
                </a:cxn>
                <a:cxn ang="0">
                  <a:pos x="2" y="5"/>
                </a:cxn>
                <a:cxn ang="0">
                  <a:pos x="2" y="5"/>
                </a:cxn>
              </a:cxnLst>
              <a:rect l="0" t="0" r="r" b="b"/>
              <a:pathLst>
                <a:path w="42" h="11">
                  <a:moveTo>
                    <a:pt x="2" y="5"/>
                  </a:moveTo>
                  <a:lnTo>
                    <a:pt x="42" y="11"/>
                  </a:lnTo>
                  <a:lnTo>
                    <a:pt x="14" y="0"/>
                  </a:lnTo>
                  <a:lnTo>
                    <a:pt x="0" y="0"/>
                  </a:lnTo>
                  <a:lnTo>
                    <a:pt x="2" y="5"/>
                  </a:lnTo>
                  <a:lnTo>
                    <a:pt x="2"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23" name="Freeform 5948"/>
            <p:cNvSpPr>
              <a:spLocks/>
            </p:cNvSpPr>
            <p:nvPr>
              <p:custDataLst>
                <p:tags r:id="rId259"/>
              </p:custDataLst>
            </p:nvPr>
          </p:nvSpPr>
          <p:spPr bwMode="gray">
            <a:xfrm>
              <a:off x="8664161" y="2666360"/>
              <a:ext cx="19246" cy="5138"/>
            </a:xfrm>
            <a:custGeom>
              <a:avLst/>
              <a:gdLst/>
              <a:ahLst/>
              <a:cxnLst>
                <a:cxn ang="0">
                  <a:pos x="0" y="0"/>
                </a:cxn>
                <a:cxn ang="0">
                  <a:pos x="15" y="4"/>
                </a:cxn>
                <a:cxn ang="0">
                  <a:pos x="0" y="0"/>
                </a:cxn>
                <a:cxn ang="0">
                  <a:pos x="0" y="0"/>
                </a:cxn>
              </a:cxnLst>
              <a:rect l="0" t="0" r="r" b="b"/>
              <a:pathLst>
                <a:path w="15" h="4">
                  <a:moveTo>
                    <a:pt x="0" y="0"/>
                  </a:moveTo>
                  <a:lnTo>
                    <a:pt x="15" y="4"/>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24" name="Freeform 5949"/>
            <p:cNvSpPr>
              <a:spLocks/>
            </p:cNvSpPr>
            <p:nvPr>
              <p:custDataLst>
                <p:tags r:id="rId260"/>
              </p:custDataLst>
            </p:nvPr>
          </p:nvSpPr>
          <p:spPr bwMode="gray">
            <a:xfrm>
              <a:off x="8716768" y="2641954"/>
              <a:ext cx="79552" cy="16699"/>
            </a:xfrm>
            <a:custGeom>
              <a:avLst/>
              <a:gdLst/>
              <a:ahLst/>
              <a:cxnLst>
                <a:cxn ang="0">
                  <a:pos x="0" y="0"/>
                </a:cxn>
                <a:cxn ang="0">
                  <a:pos x="62" y="13"/>
                </a:cxn>
                <a:cxn ang="0">
                  <a:pos x="58" y="6"/>
                </a:cxn>
                <a:cxn ang="0">
                  <a:pos x="0" y="0"/>
                </a:cxn>
                <a:cxn ang="0">
                  <a:pos x="0" y="0"/>
                </a:cxn>
              </a:cxnLst>
              <a:rect l="0" t="0" r="r" b="b"/>
              <a:pathLst>
                <a:path w="62" h="13">
                  <a:moveTo>
                    <a:pt x="0" y="0"/>
                  </a:moveTo>
                  <a:lnTo>
                    <a:pt x="62" y="13"/>
                  </a:lnTo>
                  <a:lnTo>
                    <a:pt x="58" y="6"/>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25" name="Freeform 5950"/>
            <p:cNvSpPr>
              <a:spLocks/>
            </p:cNvSpPr>
            <p:nvPr>
              <p:custDataLst>
                <p:tags r:id="rId261"/>
              </p:custDataLst>
            </p:nvPr>
          </p:nvSpPr>
          <p:spPr bwMode="gray">
            <a:xfrm>
              <a:off x="8582043" y="2632962"/>
              <a:ext cx="118045" cy="25691"/>
            </a:xfrm>
            <a:custGeom>
              <a:avLst/>
              <a:gdLst/>
              <a:ahLst/>
              <a:cxnLst>
                <a:cxn ang="0">
                  <a:pos x="11" y="11"/>
                </a:cxn>
                <a:cxn ang="0">
                  <a:pos x="45" y="20"/>
                </a:cxn>
                <a:cxn ang="0">
                  <a:pos x="80" y="19"/>
                </a:cxn>
                <a:cxn ang="0">
                  <a:pos x="92" y="9"/>
                </a:cxn>
                <a:cxn ang="0">
                  <a:pos x="43" y="0"/>
                </a:cxn>
                <a:cxn ang="0">
                  <a:pos x="41" y="5"/>
                </a:cxn>
                <a:cxn ang="0">
                  <a:pos x="11" y="0"/>
                </a:cxn>
                <a:cxn ang="0">
                  <a:pos x="0" y="4"/>
                </a:cxn>
                <a:cxn ang="0">
                  <a:pos x="11" y="11"/>
                </a:cxn>
                <a:cxn ang="0">
                  <a:pos x="11" y="11"/>
                </a:cxn>
              </a:cxnLst>
              <a:rect l="0" t="0" r="r" b="b"/>
              <a:pathLst>
                <a:path w="92" h="20">
                  <a:moveTo>
                    <a:pt x="11" y="11"/>
                  </a:moveTo>
                  <a:lnTo>
                    <a:pt x="45" y="20"/>
                  </a:lnTo>
                  <a:lnTo>
                    <a:pt x="80" y="19"/>
                  </a:lnTo>
                  <a:lnTo>
                    <a:pt x="92" y="9"/>
                  </a:lnTo>
                  <a:lnTo>
                    <a:pt x="43" y="0"/>
                  </a:lnTo>
                  <a:lnTo>
                    <a:pt x="41" y="5"/>
                  </a:lnTo>
                  <a:lnTo>
                    <a:pt x="11" y="0"/>
                  </a:lnTo>
                  <a:lnTo>
                    <a:pt x="0" y="4"/>
                  </a:lnTo>
                  <a:lnTo>
                    <a:pt x="11" y="11"/>
                  </a:lnTo>
                  <a:lnTo>
                    <a:pt x="11"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26" name="Freeform 5951"/>
            <p:cNvSpPr>
              <a:spLocks/>
            </p:cNvSpPr>
            <p:nvPr>
              <p:custDataLst>
                <p:tags r:id="rId262"/>
              </p:custDataLst>
            </p:nvPr>
          </p:nvSpPr>
          <p:spPr bwMode="gray">
            <a:xfrm>
              <a:off x="8014916" y="2575157"/>
              <a:ext cx="66721" cy="25691"/>
            </a:xfrm>
            <a:custGeom>
              <a:avLst/>
              <a:gdLst/>
              <a:ahLst/>
              <a:cxnLst>
                <a:cxn ang="0">
                  <a:pos x="0" y="20"/>
                </a:cxn>
                <a:cxn ang="0">
                  <a:pos x="52" y="15"/>
                </a:cxn>
                <a:cxn ang="0">
                  <a:pos x="45" y="7"/>
                </a:cxn>
                <a:cxn ang="0">
                  <a:pos x="7" y="0"/>
                </a:cxn>
                <a:cxn ang="0">
                  <a:pos x="0" y="2"/>
                </a:cxn>
                <a:cxn ang="0">
                  <a:pos x="0" y="20"/>
                </a:cxn>
                <a:cxn ang="0">
                  <a:pos x="0" y="20"/>
                </a:cxn>
              </a:cxnLst>
              <a:rect l="0" t="0" r="r" b="b"/>
              <a:pathLst>
                <a:path w="52" h="20">
                  <a:moveTo>
                    <a:pt x="0" y="20"/>
                  </a:moveTo>
                  <a:lnTo>
                    <a:pt x="52" y="15"/>
                  </a:lnTo>
                  <a:lnTo>
                    <a:pt x="45" y="7"/>
                  </a:lnTo>
                  <a:lnTo>
                    <a:pt x="7" y="0"/>
                  </a:lnTo>
                  <a:lnTo>
                    <a:pt x="0" y="2"/>
                  </a:lnTo>
                  <a:lnTo>
                    <a:pt x="0" y="20"/>
                  </a:lnTo>
                  <a:lnTo>
                    <a:pt x="0" y="2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27" name="Freeform 5952"/>
            <p:cNvSpPr>
              <a:spLocks/>
            </p:cNvSpPr>
            <p:nvPr>
              <p:custDataLst>
                <p:tags r:id="rId263"/>
              </p:custDataLst>
            </p:nvPr>
          </p:nvSpPr>
          <p:spPr bwMode="gray">
            <a:xfrm>
              <a:off x="7866078" y="2545612"/>
              <a:ext cx="138574" cy="38537"/>
            </a:xfrm>
            <a:custGeom>
              <a:avLst/>
              <a:gdLst/>
              <a:ahLst/>
              <a:cxnLst>
                <a:cxn ang="0">
                  <a:pos x="0" y="15"/>
                </a:cxn>
                <a:cxn ang="0">
                  <a:pos x="50" y="27"/>
                </a:cxn>
                <a:cxn ang="0">
                  <a:pos x="108" y="30"/>
                </a:cxn>
                <a:cxn ang="0">
                  <a:pos x="97" y="25"/>
                </a:cxn>
                <a:cxn ang="0">
                  <a:pos x="97" y="19"/>
                </a:cxn>
                <a:cxn ang="0">
                  <a:pos x="30" y="0"/>
                </a:cxn>
                <a:cxn ang="0">
                  <a:pos x="9" y="4"/>
                </a:cxn>
                <a:cxn ang="0">
                  <a:pos x="11" y="10"/>
                </a:cxn>
                <a:cxn ang="0">
                  <a:pos x="0" y="15"/>
                </a:cxn>
                <a:cxn ang="0">
                  <a:pos x="0" y="15"/>
                </a:cxn>
              </a:cxnLst>
              <a:rect l="0" t="0" r="r" b="b"/>
              <a:pathLst>
                <a:path w="108" h="30">
                  <a:moveTo>
                    <a:pt x="0" y="15"/>
                  </a:moveTo>
                  <a:lnTo>
                    <a:pt x="50" y="27"/>
                  </a:lnTo>
                  <a:lnTo>
                    <a:pt x="108" y="30"/>
                  </a:lnTo>
                  <a:lnTo>
                    <a:pt x="97" y="25"/>
                  </a:lnTo>
                  <a:lnTo>
                    <a:pt x="97" y="19"/>
                  </a:lnTo>
                  <a:lnTo>
                    <a:pt x="30" y="0"/>
                  </a:lnTo>
                  <a:lnTo>
                    <a:pt x="9" y="4"/>
                  </a:lnTo>
                  <a:lnTo>
                    <a:pt x="11" y="10"/>
                  </a:lnTo>
                  <a:lnTo>
                    <a:pt x="0" y="15"/>
                  </a:lnTo>
                  <a:lnTo>
                    <a:pt x="0"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28" name="Freeform 5953"/>
            <p:cNvSpPr>
              <a:spLocks/>
            </p:cNvSpPr>
            <p:nvPr>
              <p:custDataLst>
                <p:tags r:id="rId264"/>
              </p:custDataLst>
            </p:nvPr>
          </p:nvSpPr>
          <p:spPr bwMode="gray">
            <a:xfrm>
              <a:off x="7420845" y="2616263"/>
              <a:ext cx="204012" cy="118179"/>
            </a:xfrm>
            <a:custGeom>
              <a:avLst/>
              <a:gdLst/>
              <a:ahLst/>
              <a:cxnLst>
                <a:cxn ang="0">
                  <a:pos x="4" y="78"/>
                </a:cxn>
                <a:cxn ang="0">
                  <a:pos x="34" y="90"/>
                </a:cxn>
                <a:cxn ang="0">
                  <a:pos x="79" y="92"/>
                </a:cxn>
                <a:cxn ang="0">
                  <a:pos x="51" y="80"/>
                </a:cxn>
                <a:cxn ang="0">
                  <a:pos x="43" y="65"/>
                </a:cxn>
                <a:cxn ang="0">
                  <a:pos x="47" y="60"/>
                </a:cxn>
                <a:cxn ang="0">
                  <a:pos x="83" y="28"/>
                </a:cxn>
                <a:cxn ang="0">
                  <a:pos x="159" y="11"/>
                </a:cxn>
                <a:cxn ang="0">
                  <a:pos x="158" y="3"/>
                </a:cxn>
                <a:cxn ang="0">
                  <a:pos x="141" y="0"/>
                </a:cxn>
                <a:cxn ang="0">
                  <a:pos x="118" y="9"/>
                </a:cxn>
                <a:cxn ang="0">
                  <a:pos x="77" y="11"/>
                </a:cxn>
                <a:cxn ang="0">
                  <a:pos x="26" y="28"/>
                </a:cxn>
                <a:cxn ang="0">
                  <a:pos x="25" y="41"/>
                </a:cxn>
                <a:cxn ang="0">
                  <a:pos x="15" y="47"/>
                </a:cxn>
                <a:cxn ang="0">
                  <a:pos x="23" y="52"/>
                </a:cxn>
                <a:cxn ang="0">
                  <a:pos x="6" y="63"/>
                </a:cxn>
                <a:cxn ang="0">
                  <a:pos x="11" y="67"/>
                </a:cxn>
                <a:cxn ang="0">
                  <a:pos x="0" y="71"/>
                </a:cxn>
                <a:cxn ang="0">
                  <a:pos x="4" y="78"/>
                </a:cxn>
                <a:cxn ang="0">
                  <a:pos x="4" y="78"/>
                </a:cxn>
              </a:cxnLst>
              <a:rect l="0" t="0" r="r" b="b"/>
              <a:pathLst>
                <a:path w="159" h="92">
                  <a:moveTo>
                    <a:pt x="4" y="78"/>
                  </a:moveTo>
                  <a:lnTo>
                    <a:pt x="34" y="90"/>
                  </a:lnTo>
                  <a:lnTo>
                    <a:pt x="79" y="92"/>
                  </a:lnTo>
                  <a:lnTo>
                    <a:pt x="51" y="80"/>
                  </a:lnTo>
                  <a:lnTo>
                    <a:pt x="43" y="65"/>
                  </a:lnTo>
                  <a:lnTo>
                    <a:pt x="47" y="60"/>
                  </a:lnTo>
                  <a:lnTo>
                    <a:pt x="83" y="28"/>
                  </a:lnTo>
                  <a:lnTo>
                    <a:pt x="159" y="11"/>
                  </a:lnTo>
                  <a:lnTo>
                    <a:pt x="158" y="3"/>
                  </a:lnTo>
                  <a:lnTo>
                    <a:pt x="141" y="0"/>
                  </a:lnTo>
                  <a:lnTo>
                    <a:pt x="118" y="9"/>
                  </a:lnTo>
                  <a:lnTo>
                    <a:pt x="77" y="11"/>
                  </a:lnTo>
                  <a:lnTo>
                    <a:pt x="26" y="28"/>
                  </a:lnTo>
                  <a:lnTo>
                    <a:pt x="25" y="41"/>
                  </a:lnTo>
                  <a:lnTo>
                    <a:pt x="15" y="47"/>
                  </a:lnTo>
                  <a:lnTo>
                    <a:pt x="23" y="52"/>
                  </a:lnTo>
                  <a:lnTo>
                    <a:pt x="6" y="63"/>
                  </a:lnTo>
                  <a:lnTo>
                    <a:pt x="11" y="67"/>
                  </a:lnTo>
                  <a:lnTo>
                    <a:pt x="0" y="71"/>
                  </a:lnTo>
                  <a:lnTo>
                    <a:pt x="4" y="78"/>
                  </a:lnTo>
                  <a:lnTo>
                    <a:pt x="4" y="7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29" name="Freeform 5954"/>
            <p:cNvSpPr>
              <a:spLocks/>
            </p:cNvSpPr>
            <p:nvPr>
              <p:custDataLst>
                <p:tags r:id="rId265"/>
              </p:custDataLst>
            </p:nvPr>
          </p:nvSpPr>
          <p:spPr bwMode="gray">
            <a:xfrm>
              <a:off x="7395183" y="2757564"/>
              <a:ext cx="28228" cy="14130"/>
            </a:xfrm>
            <a:custGeom>
              <a:avLst/>
              <a:gdLst/>
              <a:ahLst/>
              <a:cxnLst>
                <a:cxn ang="0">
                  <a:pos x="5" y="11"/>
                </a:cxn>
                <a:cxn ang="0">
                  <a:pos x="18" y="10"/>
                </a:cxn>
                <a:cxn ang="0">
                  <a:pos x="22" y="4"/>
                </a:cxn>
                <a:cxn ang="0">
                  <a:pos x="7" y="0"/>
                </a:cxn>
                <a:cxn ang="0">
                  <a:pos x="0" y="4"/>
                </a:cxn>
                <a:cxn ang="0">
                  <a:pos x="5" y="11"/>
                </a:cxn>
                <a:cxn ang="0">
                  <a:pos x="5" y="11"/>
                </a:cxn>
              </a:cxnLst>
              <a:rect l="0" t="0" r="r" b="b"/>
              <a:pathLst>
                <a:path w="22" h="11">
                  <a:moveTo>
                    <a:pt x="5" y="11"/>
                  </a:moveTo>
                  <a:lnTo>
                    <a:pt x="18" y="10"/>
                  </a:lnTo>
                  <a:lnTo>
                    <a:pt x="22" y="4"/>
                  </a:lnTo>
                  <a:lnTo>
                    <a:pt x="7" y="0"/>
                  </a:lnTo>
                  <a:lnTo>
                    <a:pt x="0" y="4"/>
                  </a:lnTo>
                  <a:lnTo>
                    <a:pt x="5" y="11"/>
                  </a:lnTo>
                  <a:lnTo>
                    <a:pt x="5"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30" name="Freeform 5955"/>
            <p:cNvSpPr>
              <a:spLocks/>
            </p:cNvSpPr>
            <p:nvPr>
              <p:custDataLst>
                <p:tags r:id="rId266"/>
              </p:custDataLst>
            </p:nvPr>
          </p:nvSpPr>
          <p:spPr bwMode="gray">
            <a:xfrm>
              <a:off x="7411863" y="2544327"/>
              <a:ext cx="107780" cy="20553"/>
            </a:xfrm>
            <a:custGeom>
              <a:avLst/>
              <a:gdLst/>
              <a:ahLst/>
              <a:cxnLst>
                <a:cxn ang="0">
                  <a:pos x="0" y="16"/>
                </a:cxn>
                <a:cxn ang="0">
                  <a:pos x="52" y="13"/>
                </a:cxn>
                <a:cxn ang="0">
                  <a:pos x="60" y="11"/>
                </a:cxn>
                <a:cxn ang="0">
                  <a:pos x="56" y="5"/>
                </a:cxn>
                <a:cxn ang="0">
                  <a:pos x="84" y="5"/>
                </a:cxn>
                <a:cxn ang="0">
                  <a:pos x="75" y="0"/>
                </a:cxn>
                <a:cxn ang="0">
                  <a:pos x="0" y="16"/>
                </a:cxn>
                <a:cxn ang="0">
                  <a:pos x="0" y="16"/>
                </a:cxn>
              </a:cxnLst>
              <a:rect l="0" t="0" r="r" b="b"/>
              <a:pathLst>
                <a:path w="84" h="16">
                  <a:moveTo>
                    <a:pt x="0" y="16"/>
                  </a:moveTo>
                  <a:lnTo>
                    <a:pt x="52" y="13"/>
                  </a:lnTo>
                  <a:lnTo>
                    <a:pt x="60" y="11"/>
                  </a:lnTo>
                  <a:lnTo>
                    <a:pt x="56" y="5"/>
                  </a:lnTo>
                  <a:lnTo>
                    <a:pt x="84" y="5"/>
                  </a:lnTo>
                  <a:lnTo>
                    <a:pt x="75" y="0"/>
                  </a:lnTo>
                  <a:lnTo>
                    <a:pt x="0" y="16"/>
                  </a:lnTo>
                  <a:lnTo>
                    <a:pt x="0" y="1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31" name="Freeform 5956"/>
            <p:cNvSpPr>
              <a:spLocks/>
            </p:cNvSpPr>
            <p:nvPr>
              <p:custDataLst>
                <p:tags r:id="rId267"/>
              </p:custDataLst>
            </p:nvPr>
          </p:nvSpPr>
          <p:spPr bwMode="gray">
            <a:xfrm>
              <a:off x="7382352" y="2539189"/>
              <a:ext cx="52607" cy="14130"/>
            </a:xfrm>
            <a:custGeom>
              <a:avLst/>
              <a:gdLst/>
              <a:ahLst/>
              <a:cxnLst>
                <a:cxn ang="0">
                  <a:pos x="0" y="11"/>
                </a:cxn>
                <a:cxn ang="0">
                  <a:pos x="41" y="11"/>
                </a:cxn>
                <a:cxn ang="0">
                  <a:pos x="32" y="9"/>
                </a:cxn>
                <a:cxn ang="0">
                  <a:pos x="41" y="5"/>
                </a:cxn>
                <a:cxn ang="0">
                  <a:pos x="34" y="0"/>
                </a:cxn>
                <a:cxn ang="0">
                  <a:pos x="17" y="4"/>
                </a:cxn>
                <a:cxn ang="0">
                  <a:pos x="21" y="7"/>
                </a:cxn>
                <a:cxn ang="0">
                  <a:pos x="0" y="11"/>
                </a:cxn>
                <a:cxn ang="0">
                  <a:pos x="0" y="11"/>
                </a:cxn>
              </a:cxnLst>
              <a:rect l="0" t="0" r="r" b="b"/>
              <a:pathLst>
                <a:path w="41" h="11">
                  <a:moveTo>
                    <a:pt x="0" y="11"/>
                  </a:moveTo>
                  <a:lnTo>
                    <a:pt x="41" y="11"/>
                  </a:lnTo>
                  <a:lnTo>
                    <a:pt x="32" y="9"/>
                  </a:lnTo>
                  <a:lnTo>
                    <a:pt x="41" y="5"/>
                  </a:lnTo>
                  <a:lnTo>
                    <a:pt x="34" y="0"/>
                  </a:lnTo>
                  <a:lnTo>
                    <a:pt x="17" y="4"/>
                  </a:lnTo>
                  <a:lnTo>
                    <a:pt x="21" y="7"/>
                  </a:lnTo>
                  <a:lnTo>
                    <a:pt x="0" y="11"/>
                  </a:lnTo>
                  <a:lnTo>
                    <a:pt x="0"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32" name="Freeform 5957"/>
            <p:cNvSpPr>
              <a:spLocks/>
            </p:cNvSpPr>
            <p:nvPr>
              <p:custDataLst>
                <p:tags r:id="rId268"/>
              </p:custDataLst>
            </p:nvPr>
          </p:nvSpPr>
          <p:spPr bwMode="gray">
            <a:xfrm>
              <a:off x="7373370" y="2561027"/>
              <a:ext cx="21813" cy="0"/>
            </a:xfrm>
            <a:custGeom>
              <a:avLst/>
              <a:gdLst/>
              <a:ahLst/>
              <a:cxnLst>
                <a:cxn ang="0">
                  <a:pos x="0" y="0"/>
                </a:cxn>
                <a:cxn ang="0">
                  <a:pos x="17" y="0"/>
                </a:cxn>
                <a:cxn ang="0">
                  <a:pos x="0" y="0"/>
                </a:cxn>
                <a:cxn ang="0">
                  <a:pos x="0" y="0"/>
                </a:cxn>
              </a:cxnLst>
              <a:rect l="0" t="0" r="r" b="b"/>
              <a:pathLst>
                <a:path w="17">
                  <a:moveTo>
                    <a:pt x="0" y="0"/>
                  </a:moveTo>
                  <a:lnTo>
                    <a:pt x="17" y="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33" name="Freeform 5958"/>
            <p:cNvSpPr>
              <a:spLocks/>
            </p:cNvSpPr>
            <p:nvPr>
              <p:custDataLst>
                <p:tags r:id="rId269"/>
              </p:custDataLst>
            </p:nvPr>
          </p:nvSpPr>
          <p:spPr bwMode="gray">
            <a:xfrm>
              <a:off x="7257892" y="2550750"/>
              <a:ext cx="85967" cy="14130"/>
            </a:xfrm>
            <a:custGeom>
              <a:avLst/>
              <a:gdLst/>
              <a:ahLst/>
              <a:cxnLst>
                <a:cxn ang="0">
                  <a:pos x="0" y="4"/>
                </a:cxn>
                <a:cxn ang="0">
                  <a:pos x="43" y="11"/>
                </a:cxn>
                <a:cxn ang="0">
                  <a:pos x="58" y="11"/>
                </a:cxn>
                <a:cxn ang="0">
                  <a:pos x="56" y="6"/>
                </a:cxn>
                <a:cxn ang="0">
                  <a:pos x="67" y="4"/>
                </a:cxn>
                <a:cxn ang="0">
                  <a:pos x="22" y="0"/>
                </a:cxn>
                <a:cxn ang="0">
                  <a:pos x="0" y="4"/>
                </a:cxn>
                <a:cxn ang="0">
                  <a:pos x="0" y="4"/>
                </a:cxn>
              </a:cxnLst>
              <a:rect l="0" t="0" r="r" b="b"/>
              <a:pathLst>
                <a:path w="67" h="11">
                  <a:moveTo>
                    <a:pt x="0" y="4"/>
                  </a:moveTo>
                  <a:lnTo>
                    <a:pt x="43" y="11"/>
                  </a:lnTo>
                  <a:lnTo>
                    <a:pt x="58" y="11"/>
                  </a:lnTo>
                  <a:lnTo>
                    <a:pt x="56" y="6"/>
                  </a:lnTo>
                  <a:lnTo>
                    <a:pt x="67" y="4"/>
                  </a:lnTo>
                  <a:lnTo>
                    <a:pt x="22" y="0"/>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34" name="Freeform 5959"/>
            <p:cNvSpPr>
              <a:spLocks/>
            </p:cNvSpPr>
            <p:nvPr>
              <p:custDataLst>
                <p:tags r:id="rId270"/>
              </p:custDataLst>
            </p:nvPr>
          </p:nvSpPr>
          <p:spPr bwMode="gray">
            <a:xfrm>
              <a:off x="6826773" y="2558457"/>
              <a:ext cx="209144" cy="66797"/>
            </a:xfrm>
            <a:custGeom>
              <a:avLst/>
              <a:gdLst/>
              <a:ahLst/>
              <a:cxnLst>
                <a:cxn ang="0">
                  <a:pos x="0" y="9"/>
                </a:cxn>
                <a:cxn ang="0">
                  <a:pos x="6" y="22"/>
                </a:cxn>
                <a:cxn ang="0">
                  <a:pos x="23" y="30"/>
                </a:cxn>
                <a:cxn ang="0">
                  <a:pos x="44" y="30"/>
                </a:cxn>
                <a:cxn ang="0">
                  <a:pos x="29" y="33"/>
                </a:cxn>
                <a:cxn ang="0">
                  <a:pos x="30" y="39"/>
                </a:cxn>
                <a:cxn ang="0">
                  <a:pos x="64" y="52"/>
                </a:cxn>
                <a:cxn ang="0">
                  <a:pos x="83" y="26"/>
                </a:cxn>
                <a:cxn ang="0">
                  <a:pos x="96" y="22"/>
                </a:cxn>
                <a:cxn ang="0">
                  <a:pos x="113" y="33"/>
                </a:cxn>
                <a:cxn ang="0">
                  <a:pos x="104" y="39"/>
                </a:cxn>
                <a:cxn ang="0">
                  <a:pos x="124" y="43"/>
                </a:cxn>
                <a:cxn ang="0">
                  <a:pos x="145" y="35"/>
                </a:cxn>
                <a:cxn ang="0">
                  <a:pos x="83" y="17"/>
                </a:cxn>
                <a:cxn ang="0">
                  <a:pos x="79" y="9"/>
                </a:cxn>
                <a:cxn ang="0">
                  <a:pos x="132" y="17"/>
                </a:cxn>
                <a:cxn ang="0">
                  <a:pos x="163" y="7"/>
                </a:cxn>
                <a:cxn ang="0">
                  <a:pos x="162" y="3"/>
                </a:cxn>
                <a:cxn ang="0">
                  <a:pos x="90" y="0"/>
                </a:cxn>
                <a:cxn ang="0">
                  <a:pos x="45" y="9"/>
                </a:cxn>
                <a:cxn ang="0">
                  <a:pos x="0" y="9"/>
                </a:cxn>
                <a:cxn ang="0">
                  <a:pos x="0" y="9"/>
                </a:cxn>
              </a:cxnLst>
              <a:rect l="0" t="0" r="r" b="b"/>
              <a:pathLst>
                <a:path w="163" h="52">
                  <a:moveTo>
                    <a:pt x="0" y="9"/>
                  </a:moveTo>
                  <a:lnTo>
                    <a:pt x="6" y="22"/>
                  </a:lnTo>
                  <a:lnTo>
                    <a:pt x="23" y="30"/>
                  </a:lnTo>
                  <a:lnTo>
                    <a:pt x="44" y="30"/>
                  </a:lnTo>
                  <a:lnTo>
                    <a:pt x="29" y="33"/>
                  </a:lnTo>
                  <a:lnTo>
                    <a:pt x="30" y="39"/>
                  </a:lnTo>
                  <a:lnTo>
                    <a:pt x="64" y="52"/>
                  </a:lnTo>
                  <a:lnTo>
                    <a:pt x="83" y="26"/>
                  </a:lnTo>
                  <a:lnTo>
                    <a:pt x="96" y="22"/>
                  </a:lnTo>
                  <a:lnTo>
                    <a:pt x="113" y="33"/>
                  </a:lnTo>
                  <a:lnTo>
                    <a:pt x="104" y="39"/>
                  </a:lnTo>
                  <a:lnTo>
                    <a:pt x="124" y="43"/>
                  </a:lnTo>
                  <a:lnTo>
                    <a:pt x="145" y="35"/>
                  </a:lnTo>
                  <a:lnTo>
                    <a:pt x="83" y="17"/>
                  </a:lnTo>
                  <a:lnTo>
                    <a:pt x="79" y="9"/>
                  </a:lnTo>
                  <a:lnTo>
                    <a:pt x="132" y="17"/>
                  </a:lnTo>
                  <a:lnTo>
                    <a:pt x="163" y="7"/>
                  </a:lnTo>
                  <a:lnTo>
                    <a:pt x="162" y="3"/>
                  </a:lnTo>
                  <a:lnTo>
                    <a:pt x="90" y="0"/>
                  </a:lnTo>
                  <a:lnTo>
                    <a:pt x="45" y="9"/>
                  </a:lnTo>
                  <a:lnTo>
                    <a:pt x="0" y="9"/>
                  </a:lnTo>
                  <a:lnTo>
                    <a:pt x="0" y="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35" name="Freeform 5960"/>
            <p:cNvSpPr>
              <a:spLocks/>
            </p:cNvSpPr>
            <p:nvPr>
              <p:custDataLst>
                <p:tags r:id="rId271"/>
              </p:custDataLst>
            </p:nvPr>
          </p:nvSpPr>
          <p:spPr bwMode="gray">
            <a:xfrm>
              <a:off x="6526529" y="2905288"/>
              <a:ext cx="16680" cy="6423"/>
            </a:xfrm>
            <a:custGeom>
              <a:avLst/>
              <a:gdLst/>
              <a:ahLst/>
              <a:cxnLst>
                <a:cxn ang="0">
                  <a:pos x="0" y="5"/>
                </a:cxn>
                <a:cxn ang="0">
                  <a:pos x="13" y="0"/>
                </a:cxn>
                <a:cxn ang="0">
                  <a:pos x="0" y="5"/>
                </a:cxn>
                <a:cxn ang="0">
                  <a:pos x="0" y="5"/>
                </a:cxn>
              </a:cxnLst>
              <a:rect l="0" t="0" r="r" b="b"/>
              <a:pathLst>
                <a:path w="13" h="5">
                  <a:moveTo>
                    <a:pt x="0" y="5"/>
                  </a:moveTo>
                  <a:lnTo>
                    <a:pt x="13" y="0"/>
                  </a:lnTo>
                  <a:lnTo>
                    <a:pt x="0" y="5"/>
                  </a:lnTo>
                  <a:lnTo>
                    <a:pt x="0"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36" name="Freeform 5961"/>
            <p:cNvSpPr>
              <a:spLocks/>
            </p:cNvSpPr>
            <p:nvPr>
              <p:custDataLst>
                <p:tags r:id="rId272"/>
              </p:custDataLst>
            </p:nvPr>
          </p:nvSpPr>
          <p:spPr bwMode="gray">
            <a:xfrm>
              <a:off x="6534228" y="291941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37" name="Freeform 5962"/>
            <p:cNvSpPr>
              <a:spLocks/>
            </p:cNvSpPr>
            <p:nvPr>
              <p:custDataLst>
                <p:tags r:id="rId273"/>
              </p:custDataLst>
            </p:nvPr>
          </p:nvSpPr>
          <p:spPr bwMode="gray">
            <a:xfrm>
              <a:off x="6531661" y="292455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38" name="Freeform 5963"/>
            <p:cNvSpPr>
              <a:spLocks/>
            </p:cNvSpPr>
            <p:nvPr>
              <p:custDataLst>
                <p:tags r:id="rId274"/>
              </p:custDataLst>
            </p:nvPr>
          </p:nvSpPr>
          <p:spPr bwMode="gray">
            <a:xfrm>
              <a:off x="6618912" y="2947679"/>
              <a:ext cx="3849" cy="10276"/>
            </a:xfrm>
            <a:custGeom>
              <a:avLst/>
              <a:gdLst/>
              <a:ahLst/>
              <a:cxnLst>
                <a:cxn ang="0">
                  <a:pos x="0" y="4"/>
                </a:cxn>
                <a:cxn ang="0">
                  <a:pos x="3" y="0"/>
                </a:cxn>
                <a:cxn ang="0">
                  <a:pos x="3" y="8"/>
                </a:cxn>
                <a:cxn ang="0">
                  <a:pos x="0" y="4"/>
                </a:cxn>
                <a:cxn ang="0">
                  <a:pos x="0" y="4"/>
                </a:cxn>
              </a:cxnLst>
              <a:rect l="0" t="0" r="r" b="b"/>
              <a:pathLst>
                <a:path w="3" h="8">
                  <a:moveTo>
                    <a:pt x="0" y="4"/>
                  </a:moveTo>
                  <a:lnTo>
                    <a:pt x="3" y="0"/>
                  </a:lnTo>
                  <a:lnTo>
                    <a:pt x="3" y="8"/>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39" name="Freeform 5964"/>
            <p:cNvSpPr>
              <a:spLocks/>
            </p:cNvSpPr>
            <p:nvPr>
              <p:custDataLst>
                <p:tags r:id="rId275"/>
              </p:custDataLst>
            </p:nvPr>
          </p:nvSpPr>
          <p:spPr bwMode="gray">
            <a:xfrm>
              <a:off x="6620195" y="294511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40" name="Freeform 5965"/>
            <p:cNvSpPr>
              <a:spLocks/>
            </p:cNvSpPr>
            <p:nvPr>
              <p:custDataLst>
                <p:tags r:id="rId276"/>
              </p:custDataLst>
            </p:nvPr>
          </p:nvSpPr>
          <p:spPr bwMode="gray">
            <a:xfrm>
              <a:off x="6627893" y="294254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41" name="Freeform 5966"/>
            <p:cNvSpPr>
              <a:spLocks/>
            </p:cNvSpPr>
            <p:nvPr>
              <p:custDataLst>
                <p:tags r:id="rId277"/>
              </p:custDataLst>
            </p:nvPr>
          </p:nvSpPr>
          <p:spPr bwMode="gray">
            <a:xfrm>
              <a:off x="6586834" y="2974655"/>
              <a:ext cx="10265" cy="5138"/>
            </a:xfrm>
            <a:custGeom>
              <a:avLst/>
              <a:gdLst/>
              <a:ahLst/>
              <a:cxnLst>
                <a:cxn ang="0">
                  <a:pos x="0" y="0"/>
                </a:cxn>
                <a:cxn ang="0">
                  <a:pos x="8" y="4"/>
                </a:cxn>
                <a:cxn ang="0">
                  <a:pos x="0" y="0"/>
                </a:cxn>
              </a:cxnLst>
              <a:rect l="0" t="0" r="r" b="b"/>
              <a:pathLst>
                <a:path w="8" h="4">
                  <a:moveTo>
                    <a:pt x="0" y="0"/>
                  </a:moveTo>
                  <a:lnTo>
                    <a:pt x="8" y="4"/>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42" name="Line 5967"/>
            <p:cNvSpPr>
              <a:spLocks noChangeShapeType="1"/>
            </p:cNvSpPr>
            <p:nvPr>
              <p:custDataLst>
                <p:tags r:id="rId278"/>
              </p:custDataLst>
            </p:nvPr>
          </p:nvSpPr>
          <p:spPr bwMode="gray">
            <a:xfrm>
              <a:off x="6586834" y="2974655"/>
              <a:ext cx="10265" cy="5138"/>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43" name="Freeform 5968"/>
            <p:cNvSpPr>
              <a:spLocks/>
            </p:cNvSpPr>
            <p:nvPr>
              <p:custDataLst>
                <p:tags r:id="rId279"/>
              </p:custDataLst>
            </p:nvPr>
          </p:nvSpPr>
          <p:spPr bwMode="gray">
            <a:xfrm>
              <a:off x="6597099" y="297465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44" name="Freeform 5969"/>
            <p:cNvSpPr>
              <a:spLocks/>
            </p:cNvSpPr>
            <p:nvPr>
              <p:custDataLst>
                <p:tags r:id="rId280"/>
              </p:custDataLst>
            </p:nvPr>
          </p:nvSpPr>
          <p:spPr bwMode="gray">
            <a:xfrm>
              <a:off x="6514981" y="2988785"/>
              <a:ext cx="21813" cy="21838"/>
            </a:xfrm>
            <a:custGeom>
              <a:avLst/>
              <a:gdLst/>
              <a:ahLst/>
              <a:cxnLst>
                <a:cxn ang="0">
                  <a:pos x="0" y="17"/>
                </a:cxn>
                <a:cxn ang="0">
                  <a:pos x="7" y="15"/>
                </a:cxn>
                <a:cxn ang="0">
                  <a:pos x="17" y="0"/>
                </a:cxn>
                <a:cxn ang="0">
                  <a:pos x="6" y="6"/>
                </a:cxn>
                <a:cxn ang="0">
                  <a:pos x="0" y="17"/>
                </a:cxn>
                <a:cxn ang="0">
                  <a:pos x="0" y="17"/>
                </a:cxn>
              </a:cxnLst>
              <a:rect l="0" t="0" r="r" b="b"/>
              <a:pathLst>
                <a:path w="17" h="17">
                  <a:moveTo>
                    <a:pt x="0" y="17"/>
                  </a:moveTo>
                  <a:lnTo>
                    <a:pt x="7" y="15"/>
                  </a:lnTo>
                  <a:lnTo>
                    <a:pt x="17" y="0"/>
                  </a:lnTo>
                  <a:lnTo>
                    <a:pt x="6" y="6"/>
                  </a:lnTo>
                  <a:lnTo>
                    <a:pt x="0" y="17"/>
                  </a:lnTo>
                  <a:lnTo>
                    <a:pt x="0"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45" name="Freeform 5970"/>
            <p:cNvSpPr>
              <a:spLocks/>
            </p:cNvSpPr>
            <p:nvPr>
              <p:custDataLst>
                <p:tags r:id="rId281"/>
              </p:custDataLst>
            </p:nvPr>
          </p:nvSpPr>
          <p:spPr bwMode="gray">
            <a:xfrm>
              <a:off x="6512415" y="301833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46" name="Freeform 5971"/>
            <p:cNvSpPr>
              <a:spLocks/>
            </p:cNvSpPr>
            <p:nvPr>
              <p:custDataLst>
                <p:tags r:id="rId282"/>
              </p:custDataLst>
            </p:nvPr>
          </p:nvSpPr>
          <p:spPr bwMode="gray">
            <a:xfrm>
              <a:off x="6947383" y="3002915"/>
              <a:ext cx="19246" cy="16699"/>
            </a:xfrm>
            <a:custGeom>
              <a:avLst/>
              <a:gdLst/>
              <a:ahLst/>
              <a:cxnLst>
                <a:cxn ang="0">
                  <a:pos x="0" y="6"/>
                </a:cxn>
                <a:cxn ang="0">
                  <a:pos x="2" y="13"/>
                </a:cxn>
                <a:cxn ang="0">
                  <a:pos x="10" y="10"/>
                </a:cxn>
                <a:cxn ang="0">
                  <a:pos x="15" y="0"/>
                </a:cxn>
                <a:cxn ang="0">
                  <a:pos x="0" y="6"/>
                </a:cxn>
                <a:cxn ang="0">
                  <a:pos x="0" y="6"/>
                </a:cxn>
              </a:cxnLst>
              <a:rect l="0" t="0" r="r" b="b"/>
              <a:pathLst>
                <a:path w="15" h="13">
                  <a:moveTo>
                    <a:pt x="0" y="6"/>
                  </a:moveTo>
                  <a:lnTo>
                    <a:pt x="2" y="13"/>
                  </a:lnTo>
                  <a:lnTo>
                    <a:pt x="10" y="10"/>
                  </a:lnTo>
                  <a:lnTo>
                    <a:pt x="15"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47" name="Freeform 5972"/>
            <p:cNvSpPr>
              <a:spLocks/>
            </p:cNvSpPr>
            <p:nvPr>
              <p:custDataLst>
                <p:tags r:id="rId283"/>
              </p:custDataLst>
            </p:nvPr>
          </p:nvSpPr>
          <p:spPr bwMode="gray">
            <a:xfrm>
              <a:off x="6974328" y="295024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48" name="Freeform 5973"/>
            <p:cNvSpPr>
              <a:spLocks/>
            </p:cNvSpPr>
            <p:nvPr>
              <p:custDataLst>
                <p:tags r:id="rId284"/>
              </p:custDataLst>
            </p:nvPr>
          </p:nvSpPr>
          <p:spPr bwMode="gray">
            <a:xfrm>
              <a:off x="7010255" y="2986216"/>
              <a:ext cx="24379" cy="12846"/>
            </a:xfrm>
            <a:custGeom>
              <a:avLst/>
              <a:gdLst/>
              <a:ahLst/>
              <a:cxnLst>
                <a:cxn ang="0">
                  <a:pos x="0" y="6"/>
                </a:cxn>
                <a:cxn ang="0">
                  <a:pos x="5" y="10"/>
                </a:cxn>
                <a:cxn ang="0">
                  <a:pos x="19" y="2"/>
                </a:cxn>
                <a:cxn ang="0">
                  <a:pos x="5" y="0"/>
                </a:cxn>
                <a:cxn ang="0">
                  <a:pos x="0" y="6"/>
                </a:cxn>
                <a:cxn ang="0">
                  <a:pos x="0" y="6"/>
                </a:cxn>
              </a:cxnLst>
              <a:rect l="0" t="0" r="r" b="b"/>
              <a:pathLst>
                <a:path w="19" h="10">
                  <a:moveTo>
                    <a:pt x="0" y="6"/>
                  </a:moveTo>
                  <a:lnTo>
                    <a:pt x="5" y="10"/>
                  </a:lnTo>
                  <a:lnTo>
                    <a:pt x="19" y="2"/>
                  </a:lnTo>
                  <a:lnTo>
                    <a:pt x="5"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49" name="Freeform 5974"/>
            <p:cNvSpPr>
              <a:spLocks/>
            </p:cNvSpPr>
            <p:nvPr>
              <p:custDataLst>
                <p:tags r:id="rId285"/>
              </p:custDataLst>
            </p:nvPr>
          </p:nvSpPr>
          <p:spPr bwMode="gray">
            <a:xfrm>
              <a:off x="7016670" y="2977224"/>
              <a:ext cx="12831" cy="3854"/>
            </a:xfrm>
            <a:custGeom>
              <a:avLst/>
              <a:gdLst/>
              <a:ahLst/>
              <a:cxnLst>
                <a:cxn ang="0">
                  <a:pos x="0" y="3"/>
                </a:cxn>
                <a:cxn ang="0">
                  <a:pos x="10" y="3"/>
                </a:cxn>
                <a:cxn ang="0">
                  <a:pos x="2" y="0"/>
                </a:cxn>
                <a:cxn ang="0">
                  <a:pos x="0" y="3"/>
                </a:cxn>
                <a:cxn ang="0">
                  <a:pos x="0" y="3"/>
                </a:cxn>
              </a:cxnLst>
              <a:rect l="0" t="0" r="r" b="b"/>
              <a:pathLst>
                <a:path w="10" h="3">
                  <a:moveTo>
                    <a:pt x="0" y="3"/>
                  </a:moveTo>
                  <a:lnTo>
                    <a:pt x="10" y="3"/>
                  </a:lnTo>
                  <a:lnTo>
                    <a:pt x="2" y="0"/>
                  </a:lnTo>
                  <a:lnTo>
                    <a:pt x="0" y="3"/>
                  </a:lnTo>
                  <a:lnTo>
                    <a:pt x="0" y="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50" name="Freeform 5975"/>
            <p:cNvSpPr>
              <a:spLocks/>
            </p:cNvSpPr>
            <p:nvPr>
              <p:custDataLst>
                <p:tags r:id="rId286"/>
              </p:custDataLst>
            </p:nvPr>
          </p:nvSpPr>
          <p:spPr bwMode="gray">
            <a:xfrm>
              <a:off x="6526529" y="2986216"/>
              <a:ext cx="137291" cy="192684"/>
            </a:xfrm>
            <a:custGeom>
              <a:avLst/>
              <a:gdLst/>
              <a:ahLst/>
              <a:cxnLst>
                <a:cxn ang="0">
                  <a:pos x="0" y="150"/>
                </a:cxn>
                <a:cxn ang="0">
                  <a:pos x="15" y="144"/>
                </a:cxn>
                <a:cxn ang="0">
                  <a:pos x="27" y="148"/>
                </a:cxn>
                <a:cxn ang="0">
                  <a:pos x="30" y="141"/>
                </a:cxn>
                <a:cxn ang="0">
                  <a:pos x="40" y="139"/>
                </a:cxn>
                <a:cxn ang="0">
                  <a:pos x="51" y="143"/>
                </a:cxn>
                <a:cxn ang="0">
                  <a:pos x="92" y="137"/>
                </a:cxn>
                <a:cxn ang="0">
                  <a:pos x="100" y="128"/>
                </a:cxn>
                <a:cxn ang="0">
                  <a:pos x="88" y="128"/>
                </a:cxn>
                <a:cxn ang="0">
                  <a:pos x="107" y="107"/>
                </a:cxn>
                <a:cxn ang="0">
                  <a:pos x="96" y="100"/>
                </a:cxn>
                <a:cxn ang="0">
                  <a:pos x="83" y="101"/>
                </a:cxn>
                <a:cxn ang="0">
                  <a:pos x="87" y="96"/>
                </a:cxn>
                <a:cxn ang="0">
                  <a:pos x="77" y="73"/>
                </a:cxn>
                <a:cxn ang="0">
                  <a:pos x="68" y="70"/>
                </a:cxn>
                <a:cxn ang="0">
                  <a:pos x="58" y="49"/>
                </a:cxn>
                <a:cxn ang="0">
                  <a:pos x="42" y="45"/>
                </a:cxn>
                <a:cxn ang="0">
                  <a:pos x="62" y="23"/>
                </a:cxn>
                <a:cxn ang="0">
                  <a:pos x="62" y="17"/>
                </a:cxn>
                <a:cxn ang="0">
                  <a:pos x="32" y="19"/>
                </a:cxn>
                <a:cxn ang="0">
                  <a:pos x="49" y="6"/>
                </a:cxn>
                <a:cxn ang="0">
                  <a:pos x="47" y="0"/>
                </a:cxn>
                <a:cxn ang="0">
                  <a:pos x="23" y="2"/>
                </a:cxn>
                <a:cxn ang="0">
                  <a:pos x="10" y="21"/>
                </a:cxn>
                <a:cxn ang="0">
                  <a:pos x="13" y="25"/>
                </a:cxn>
                <a:cxn ang="0">
                  <a:pos x="6" y="40"/>
                </a:cxn>
                <a:cxn ang="0">
                  <a:pos x="13" y="38"/>
                </a:cxn>
                <a:cxn ang="0">
                  <a:pos x="12" y="45"/>
                </a:cxn>
                <a:cxn ang="0">
                  <a:pos x="2" y="49"/>
                </a:cxn>
                <a:cxn ang="0">
                  <a:pos x="10" y="49"/>
                </a:cxn>
                <a:cxn ang="0">
                  <a:pos x="10" y="55"/>
                </a:cxn>
                <a:cxn ang="0">
                  <a:pos x="17" y="49"/>
                </a:cxn>
                <a:cxn ang="0">
                  <a:pos x="21" y="55"/>
                </a:cxn>
                <a:cxn ang="0">
                  <a:pos x="15" y="64"/>
                </a:cxn>
                <a:cxn ang="0">
                  <a:pos x="19" y="70"/>
                </a:cxn>
                <a:cxn ang="0">
                  <a:pos x="40" y="64"/>
                </a:cxn>
                <a:cxn ang="0">
                  <a:pos x="36" y="71"/>
                </a:cxn>
                <a:cxn ang="0">
                  <a:pos x="47" y="77"/>
                </a:cxn>
                <a:cxn ang="0">
                  <a:pos x="42" y="92"/>
                </a:cxn>
                <a:cxn ang="0">
                  <a:pos x="21" y="92"/>
                </a:cxn>
                <a:cxn ang="0">
                  <a:pos x="17" y="101"/>
                </a:cxn>
                <a:cxn ang="0">
                  <a:pos x="27" y="101"/>
                </a:cxn>
                <a:cxn ang="0">
                  <a:pos x="25" y="111"/>
                </a:cxn>
                <a:cxn ang="0">
                  <a:pos x="8" y="118"/>
                </a:cxn>
                <a:cxn ang="0">
                  <a:pos x="12" y="122"/>
                </a:cxn>
                <a:cxn ang="0">
                  <a:pos x="34" y="128"/>
                </a:cxn>
                <a:cxn ang="0">
                  <a:pos x="43" y="122"/>
                </a:cxn>
                <a:cxn ang="0">
                  <a:pos x="38" y="129"/>
                </a:cxn>
                <a:cxn ang="0">
                  <a:pos x="23" y="129"/>
                </a:cxn>
                <a:cxn ang="0">
                  <a:pos x="0" y="150"/>
                </a:cxn>
                <a:cxn ang="0">
                  <a:pos x="0" y="150"/>
                </a:cxn>
              </a:cxnLst>
              <a:rect l="0" t="0" r="r" b="b"/>
              <a:pathLst>
                <a:path w="107" h="150">
                  <a:moveTo>
                    <a:pt x="0" y="150"/>
                  </a:moveTo>
                  <a:lnTo>
                    <a:pt x="15" y="144"/>
                  </a:lnTo>
                  <a:lnTo>
                    <a:pt x="27" y="148"/>
                  </a:lnTo>
                  <a:lnTo>
                    <a:pt x="30" y="141"/>
                  </a:lnTo>
                  <a:lnTo>
                    <a:pt x="40" y="139"/>
                  </a:lnTo>
                  <a:lnTo>
                    <a:pt x="51" y="143"/>
                  </a:lnTo>
                  <a:lnTo>
                    <a:pt x="92" y="137"/>
                  </a:lnTo>
                  <a:lnTo>
                    <a:pt x="100" y="128"/>
                  </a:lnTo>
                  <a:lnTo>
                    <a:pt x="88" y="128"/>
                  </a:lnTo>
                  <a:lnTo>
                    <a:pt x="107" y="107"/>
                  </a:lnTo>
                  <a:lnTo>
                    <a:pt x="96" y="100"/>
                  </a:lnTo>
                  <a:lnTo>
                    <a:pt x="83" y="101"/>
                  </a:lnTo>
                  <a:lnTo>
                    <a:pt x="87" y="96"/>
                  </a:lnTo>
                  <a:lnTo>
                    <a:pt x="77" y="73"/>
                  </a:lnTo>
                  <a:lnTo>
                    <a:pt x="68" y="70"/>
                  </a:lnTo>
                  <a:lnTo>
                    <a:pt x="58" y="49"/>
                  </a:lnTo>
                  <a:lnTo>
                    <a:pt x="42" y="45"/>
                  </a:lnTo>
                  <a:lnTo>
                    <a:pt x="62" y="23"/>
                  </a:lnTo>
                  <a:lnTo>
                    <a:pt x="62" y="17"/>
                  </a:lnTo>
                  <a:lnTo>
                    <a:pt x="32" y="19"/>
                  </a:lnTo>
                  <a:lnTo>
                    <a:pt x="49" y="6"/>
                  </a:lnTo>
                  <a:lnTo>
                    <a:pt x="47" y="0"/>
                  </a:lnTo>
                  <a:lnTo>
                    <a:pt x="23" y="2"/>
                  </a:lnTo>
                  <a:lnTo>
                    <a:pt x="10" y="21"/>
                  </a:lnTo>
                  <a:lnTo>
                    <a:pt x="13" y="25"/>
                  </a:lnTo>
                  <a:lnTo>
                    <a:pt x="6" y="40"/>
                  </a:lnTo>
                  <a:lnTo>
                    <a:pt x="13" y="38"/>
                  </a:lnTo>
                  <a:lnTo>
                    <a:pt x="12" y="45"/>
                  </a:lnTo>
                  <a:lnTo>
                    <a:pt x="2" y="49"/>
                  </a:lnTo>
                  <a:lnTo>
                    <a:pt x="10" y="49"/>
                  </a:lnTo>
                  <a:lnTo>
                    <a:pt x="10" y="55"/>
                  </a:lnTo>
                  <a:lnTo>
                    <a:pt x="17" y="49"/>
                  </a:lnTo>
                  <a:lnTo>
                    <a:pt x="21" y="55"/>
                  </a:lnTo>
                  <a:lnTo>
                    <a:pt x="15" y="64"/>
                  </a:lnTo>
                  <a:lnTo>
                    <a:pt x="19" y="70"/>
                  </a:lnTo>
                  <a:lnTo>
                    <a:pt x="40" y="64"/>
                  </a:lnTo>
                  <a:lnTo>
                    <a:pt x="36" y="71"/>
                  </a:lnTo>
                  <a:lnTo>
                    <a:pt x="47" y="77"/>
                  </a:lnTo>
                  <a:lnTo>
                    <a:pt x="42" y="92"/>
                  </a:lnTo>
                  <a:lnTo>
                    <a:pt x="21" y="92"/>
                  </a:lnTo>
                  <a:lnTo>
                    <a:pt x="17" y="101"/>
                  </a:lnTo>
                  <a:lnTo>
                    <a:pt x="27" y="101"/>
                  </a:lnTo>
                  <a:lnTo>
                    <a:pt x="25" y="111"/>
                  </a:lnTo>
                  <a:lnTo>
                    <a:pt x="8" y="118"/>
                  </a:lnTo>
                  <a:lnTo>
                    <a:pt x="12" y="122"/>
                  </a:lnTo>
                  <a:lnTo>
                    <a:pt x="34" y="128"/>
                  </a:lnTo>
                  <a:lnTo>
                    <a:pt x="43" y="122"/>
                  </a:lnTo>
                  <a:lnTo>
                    <a:pt x="38" y="129"/>
                  </a:lnTo>
                  <a:lnTo>
                    <a:pt x="23" y="129"/>
                  </a:lnTo>
                  <a:lnTo>
                    <a:pt x="0" y="150"/>
                  </a:lnTo>
                  <a:lnTo>
                    <a:pt x="0" y="15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51" name="Freeform 5976"/>
            <p:cNvSpPr>
              <a:spLocks/>
            </p:cNvSpPr>
            <p:nvPr>
              <p:custDataLst>
                <p:tags r:id="rId287"/>
              </p:custDataLst>
            </p:nvPr>
          </p:nvSpPr>
          <p:spPr bwMode="gray">
            <a:xfrm>
              <a:off x="6781864" y="3342039"/>
              <a:ext cx="14114" cy="38537"/>
            </a:xfrm>
            <a:custGeom>
              <a:avLst/>
              <a:gdLst/>
              <a:ahLst/>
              <a:cxnLst>
                <a:cxn ang="0">
                  <a:pos x="0" y="10"/>
                </a:cxn>
                <a:cxn ang="0">
                  <a:pos x="0" y="23"/>
                </a:cxn>
                <a:cxn ang="0">
                  <a:pos x="7" y="30"/>
                </a:cxn>
                <a:cxn ang="0">
                  <a:pos x="11" y="0"/>
                </a:cxn>
                <a:cxn ang="0">
                  <a:pos x="0" y="10"/>
                </a:cxn>
                <a:cxn ang="0">
                  <a:pos x="0" y="10"/>
                </a:cxn>
              </a:cxnLst>
              <a:rect l="0" t="0" r="r" b="b"/>
              <a:pathLst>
                <a:path w="11" h="30">
                  <a:moveTo>
                    <a:pt x="0" y="10"/>
                  </a:moveTo>
                  <a:lnTo>
                    <a:pt x="0" y="23"/>
                  </a:lnTo>
                  <a:lnTo>
                    <a:pt x="7" y="30"/>
                  </a:lnTo>
                  <a:lnTo>
                    <a:pt x="11" y="0"/>
                  </a:lnTo>
                  <a:lnTo>
                    <a:pt x="0" y="10"/>
                  </a:lnTo>
                  <a:lnTo>
                    <a:pt x="0" y="1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52" name="Freeform 5977"/>
            <p:cNvSpPr>
              <a:spLocks/>
            </p:cNvSpPr>
            <p:nvPr>
              <p:custDataLst>
                <p:tags r:id="rId288"/>
              </p:custDataLst>
            </p:nvPr>
          </p:nvSpPr>
          <p:spPr bwMode="gray">
            <a:xfrm>
              <a:off x="6771600" y="3383144"/>
              <a:ext cx="29511" cy="57805"/>
            </a:xfrm>
            <a:custGeom>
              <a:avLst/>
              <a:gdLst/>
              <a:ahLst/>
              <a:cxnLst>
                <a:cxn ang="0">
                  <a:pos x="0" y="6"/>
                </a:cxn>
                <a:cxn ang="0">
                  <a:pos x="4" y="38"/>
                </a:cxn>
                <a:cxn ang="0">
                  <a:pos x="10" y="45"/>
                </a:cxn>
                <a:cxn ang="0">
                  <a:pos x="21" y="38"/>
                </a:cxn>
                <a:cxn ang="0">
                  <a:pos x="23" y="8"/>
                </a:cxn>
                <a:cxn ang="0">
                  <a:pos x="17" y="0"/>
                </a:cxn>
                <a:cxn ang="0">
                  <a:pos x="0" y="6"/>
                </a:cxn>
                <a:cxn ang="0">
                  <a:pos x="0" y="6"/>
                </a:cxn>
              </a:cxnLst>
              <a:rect l="0" t="0" r="r" b="b"/>
              <a:pathLst>
                <a:path w="23" h="45">
                  <a:moveTo>
                    <a:pt x="0" y="6"/>
                  </a:moveTo>
                  <a:lnTo>
                    <a:pt x="4" y="38"/>
                  </a:lnTo>
                  <a:lnTo>
                    <a:pt x="10" y="45"/>
                  </a:lnTo>
                  <a:lnTo>
                    <a:pt x="21" y="38"/>
                  </a:lnTo>
                  <a:lnTo>
                    <a:pt x="23" y="8"/>
                  </a:lnTo>
                  <a:lnTo>
                    <a:pt x="17"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53" name="Freeform 5978"/>
            <p:cNvSpPr>
              <a:spLocks/>
            </p:cNvSpPr>
            <p:nvPr>
              <p:custDataLst>
                <p:tags r:id="rId289"/>
              </p:custDataLst>
            </p:nvPr>
          </p:nvSpPr>
          <p:spPr bwMode="gray">
            <a:xfrm>
              <a:off x="6853718" y="3453795"/>
              <a:ext cx="62872" cy="38537"/>
            </a:xfrm>
            <a:custGeom>
              <a:avLst/>
              <a:gdLst/>
              <a:ahLst/>
              <a:cxnLst>
                <a:cxn ang="0">
                  <a:pos x="0" y="5"/>
                </a:cxn>
                <a:cxn ang="0">
                  <a:pos x="4" y="15"/>
                </a:cxn>
                <a:cxn ang="0">
                  <a:pos x="43" y="30"/>
                </a:cxn>
                <a:cxn ang="0">
                  <a:pos x="49" y="0"/>
                </a:cxn>
                <a:cxn ang="0">
                  <a:pos x="28" y="5"/>
                </a:cxn>
                <a:cxn ang="0">
                  <a:pos x="6" y="2"/>
                </a:cxn>
                <a:cxn ang="0">
                  <a:pos x="0" y="5"/>
                </a:cxn>
                <a:cxn ang="0">
                  <a:pos x="0" y="5"/>
                </a:cxn>
              </a:cxnLst>
              <a:rect l="0" t="0" r="r" b="b"/>
              <a:pathLst>
                <a:path w="49" h="30">
                  <a:moveTo>
                    <a:pt x="0" y="5"/>
                  </a:moveTo>
                  <a:lnTo>
                    <a:pt x="4" y="15"/>
                  </a:lnTo>
                  <a:lnTo>
                    <a:pt x="43" y="30"/>
                  </a:lnTo>
                  <a:lnTo>
                    <a:pt x="49" y="0"/>
                  </a:lnTo>
                  <a:lnTo>
                    <a:pt x="28" y="5"/>
                  </a:lnTo>
                  <a:lnTo>
                    <a:pt x="6" y="2"/>
                  </a:lnTo>
                  <a:lnTo>
                    <a:pt x="0" y="5"/>
                  </a:lnTo>
                  <a:lnTo>
                    <a:pt x="0"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54" name="Freeform 5979"/>
            <p:cNvSpPr>
              <a:spLocks/>
            </p:cNvSpPr>
            <p:nvPr>
              <p:custDataLst>
                <p:tags r:id="rId290"/>
              </p:custDataLst>
            </p:nvPr>
          </p:nvSpPr>
          <p:spPr bwMode="gray">
            <a:xfrm>
              <a:off x="7021803" y="3453795"/>
              <a:ext cx="43625" cy="42390"/>
            </a:xfrm>
            <a:custGeom>
              <a:avLst/>
              <a:gdLst/>
              <a:ahLst/>
              <a:cxnLst>
                <a:cxn ang="0">
                  <a:pos x="0" y="9"/>
                </a:cxn>
                <a:cxn ang="0">
                  <a:pos x="10" y="17"/>
                </a:cxn>
                <a:cxn ang="0">
                  <a:pos x="11" y="28"/>
                </a:cxn>
                <a:cxn ang="0">
                  <a:pos x="21" y="33"/>
                </a:cxn>
                <a:cxn ang="0">
                  <a:pos x="25" y="28"/>
                </a:cxn>
                <a:cxn ang="0">
                  <a:pos x="32" y="33"/>
                </a:cxn>
                <a:cxn ang="0">
                  <a:pos x="25" y="17"/>
                </a:cxn>
                <a:cxn ang="0">
                  <a:pos x="34" y="18"/>
                </a:cxn>
                <a:cxn ang="0">
                  <a:pos x="28" y="7"/>
                </a:cxn>
                <a:cxn ang="0">
                  <a:pos x="11" y="0"/>
                </a:cxn>
                <a:cxn ang="0">
                  <a:pos x="0" y="9"/>
                </a:cxn>
                <a:cxn ang="0">
                  <a:pos x="0" y="9"/>
                </a:cxn>
              </a:cxnLst>
              <a:rect l="0" t="0" r="r" b="b"/>
              <a:pathLst>
                <a:path w="34" h="33">
                  <a:moveTo>
                    <a:pt x="0" y="9"/>
                  </a:moveTo>
                  <a:lnTo>
                    <a:pt x="10" y="17"/>
                  </a:lnTo>
                  <a:lnTo>
                    <a:pt x="11" y="28"/>
                  </a:lnTo>
                  <a:lnTo>
                    <a:pt x="21" y="33"/>
                  </a:lnTo>
                  <a:lnTo>
                    <a:pt x="25" y="28"/>
                  </a:lnTo>
                  <a:lnTo>
                    <a:pt x="32" y="33"/>
                  </a:lnTo>
                  <a:lnTo>
                    <a:pt x="25" y="17"/>
                  </a:lnTo>
                  <a:lnTo>
                    <a:pt x="34" y="18"/>
                  </a:lnTo>
                  <a:lnTo>
                    <a:pt x="28" y="7"/>
                  </a:lnTo>
                  <a:lnTo>
                    <a:pt x="11" y="0"/>
                  </a:lnTo>
                  <a:lnTo>
                    <a:pt x="0" y="9"/>
                  </a:lnTo>
                  <a:lnTo>
                    <a:pt x="0" y="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55" name="Freeform 5980"/>
            <p:cNvSpPr>
              <a:spLocks/>
            </p:cNvSpPr>
            <p:nvPr>
              <p:custDataLst>
                <p:tags r:id="rId291"/>
              </p:custDataLst>
            </p:nvPr>
          </p:nvSpPr>
          <p:spPr bwMode="gray">
            <a:xfrm>
              <a:off x="7073126" y="3515454"/>
              <a:ext cx="55173" cy="16699"/>
            </a:xfrm>
            <a:custGeom>
              <a:avLst/>
              <a:gdLst/>
              <a:ahLst/>
              <a:cxnLst>
                <a:cxn ang="0">
                  <a:pos x="0" y="8"/>
                </a:cxn>
                <a:cxn ang="0">
                  <a:pos x="20" y="13"/>
                </a:cxn>
                <a:cxn ang="0">
                  <a:pos x="41" y="12"/>
                </a:cxn>
                <a:cxn ang="0">
                  <a:pos x="43" y="8"/>
                </a:cxn>
                <a:cxn ang="0">
                  <a:pos x="33" y="10"/>
                </a:cxn>
                <a:cxn ang="0">
                  <a:pos x="33" y="6"/>
                </a:cxn>
                <a:cxn ang="0">
                  <a:pos x="1" y="0"/>
                </a:cxn>
                <a:cxn ang="0">
                  <a:pos x="0" y="8"/>
                </a:cxn>
                <a:cxn ang="0">
                  <a:pos x="0" y="8"/>
                </a:cxn>
              </a:cxnLst>
              <a:rect l="0" t="0" r="r" b="b"/>
              <a:pathLst>
                <a:path w="43" h="13">
                  <a:moveTo>
                    <a:pt x="0" y="8"/>
                  </a:moveTo>
                  <a:lnTo>
                    <a:pt x="20" y="13"/>
                  </a:lnTo>
                  <a:lnTo>
                    <a:pt x="41" y="12"/>
                  </a:lnTo>
                  <a:lnTo>
                    <a:pt x="43" y="8"/>
                  </a:lnTo>
                  <a:lnTo>
                    <a:pt x="33" y="10"/>
                  </a:lnTo>
                  <a:lnTo>
                    <a:pt x="33" y="6"/>
                  </a:lnTo>
                  <a:lnTo>
                    <a:pt x="1" y="0"/>
                  </a:lnTo>
                  <a:lnTo>
                    <a:pt x="0" y="8"/>
                  </a:lnTo>
                  <a:lnTo>
                    <a:pt x="0" y="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56" name="Freeform 5981"/>
            <p:cNvSpPr>
              <a:spLocks/>
            </p:cNvSpPr>
            <p:nvPr>
              <p:custDataLst>
                <p:tags r:id="rId292"/>
              </p:custDataLst>
            </p:nvPr>
          </p:nvSpPr>
          <p:spPr bwMode="gray">
            <a:xfrm>
              <a:off x="7245061" y="3515454"/>
              <a:ext cx="43625" cy="24407"/>
            </a:xfrm>
            <a:custGeom>
              <a:avLst/>
              <a:gdLst/>
              <a:ahLst/>
              <a:cxnLst>
                <a:cxn ang="0">
                  <a:pos x="0" y="12"/>
                </a:cxn>
                <a:cxn ang="0">
                  <a:pos x="4" y="19"/>
                </a:cxn>
                <a:cxn ang="0">
                  <a:pos x="19" y="17"/>
                </a:cxn>
                <a:cxn ang="0">
                  <a:pos x="29" y="13"/>
                </a:cxn>
                <a:cxn ang="0">
                  <a:pos x="27" y="8"/>
                </a:cxn>
                <a:cxn ang="0">
                  <a:pos x="34" y="0"/>
                </a:cxn>
                <a:cxn ang="0">
                  <a:pos x="0" y="12"/>
                </a:cxn>
                <a:cxn ang="0">
                  <a:pos x="0" y="12"/>
                </a:cxn>
              </a:cxnLst>
              <a:rect l="0" t="0" r="r" b="b"/>
              <a:pathLst>
                <a:path w="34" h="19">
                  <a:moveTo>
                    <a:pt x="0" y="12"/>
                  </a:moveTo>
                  <a:lnTo>
                    <a:pt x="4" y="19"/>
                  </a:lnTo>
                  <a:lnTo>
                    <a:pt x="19" y="17"/>
                  </a:lnTo>
                  <a:lnTo>
                    <a:pt x="29" y="13"/>
                  </a:lnTo>
                  <a:lnTo>
                    <a:pt x="27" y="8"/>
                  </a:lnTo>
                  <a:lnTo>
                    <a:pt x="34" y="0"/>
                  </a:lnTo>
                  <a:lnTo>
                    <a:pt x="0" y="12"/>
                  </a:lnTo>
                  <a:lnTo>
                    <a:pt x="0" y="1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57" name="Freeform 5982"/>
            <p:cNvSpPr>
              <a:spLocks/>
            </p:cNvSpPr>
            <p:nvPr>
              <p:custDataLst>
                <p:tags r:id="rId293"/>
              </p:custDataLst>
            </p:nvPr>
          </p:nvSpPr>
          <p:spPr bwMode="gray">
            <a:xfrm>
              <a:off x="6639441" y="343709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58" name="Freeform 5983"/>
            <p:cNvSpPr>
              <a:spLocks/>
            </p:cNvSpPr>
            <p:nvPr>
              <p:custDataLst>
                <p:tags r:id="rId294"/>
              </p:custDataLst>
            </p:nvPr>
          </p:nvSpPr>
          <p:spPr bwMode="gray">
            <a:xfrm>
              <a:off x="6658688" y="3415258"/>
              <a:ext cx="21813" cy="14130"/>
            </a:xfrm>
            <a:custGeom>
              <a:avLst/>
              <a:gdLst/>
              <a:ahLst/>
              <a:cxnLst>
                <a:cxn ang="0">
                  <a:pos x="0" y="5"/>
                </a:cxn>
                <a:cxn ang="0">
                  <a:pos x="12" y="11"/>
                </a:cxn>
                <a:cxn ang="0">
                  <a:pos x="17" y="5"/>
                </a:cxn>
                <a:cxn ang="0">
                  <a:pos x="10" y="0"/>
                </a:cxn>
                <a:cxn ang="0">
                  <a:pos x="0" y="5"/>
                </a:cxn>
                <a:cxn ang="0">
                  <a:pos x="0" y="5"/>
                </a:cxn>
              </a:cxnLst>
              <a:rect l="0" t="0" r="r" b="b"/>
              <a:pathLst>
                <a:path w="17" h="11">
                  <a:moveTo>
                    <a:pt x="0" y="5"/>
                  </a:moveTo>
                  <a:lnTo>
                    <a:pt x="12" y="11"/>
                  </a:lnTo>
                  <a:lnTo>
                    <a:pt x="17" y="5"/>
                  </a:lnTo>
                  <a:lnTo>
                    <a:pt x="10" y="0"/>
                  </a:lnTo>
                  <a:lnTo>
                    <a:pt x="0" y="5"/>
                  </a:lnTo>
                  <a:lnTo>
                    <a:pt x="0"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59" name="Freeform 5984"/>
            <p:cNvSpPr>
              <a:spLocks/>
            </p:cNvSpPr>
            <p:nvPr>
              <p:custDataLst>
                <p:tags r:id="rId295"/>
              </p:custDataLst>
            </p:nvPr>
          </p:nvSpPr>
          <p:spPr bwMode="gray">
            <a:xfrm>
              <a:off x="6693331" y="341525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60" name="Freeform 5985"/>
            <p:cNvSpPr>
              <a:spLocks/>
            </p:cNvSpPr>
            <p:nvPr>
              <p:custDataLst>
                <p:tags r:id="rId296"/>
              </p:custDataLst>
            </p:nvPr>
          </p:nvSpPr>
          <p:spPr bwMode="gray">
            <a:xfrm>
              <a:off x="6846019" y="348976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61" name="Freeform 5986"/>
            <p:cNvSpPr>
              <a:spLocks/>
            </p:cNvSpPr>
            <p:nvPr>
              <p:custDataLst>
                <p:tags r:id="rId297"/>
              </p:custDataLst>
            </p:nvPr>
          </p:nvSpPr>
          <p:spPr bwMode="gray">
            <a:xfrm>
              <a:off x="6894777" y="351160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62" name="Freeform 5987"/>
            <p:cNvSpPr>
              <a:spLocks/>
            </p:cNvSpPr>
            <p:nvPr>
              <p:custDataLst>
                <p:tags r:id="rId298"/>
              </p:custDataLst>
            </p:nvPr>
          </p:nvSpPr>
          <p:spPr bwMode="gray">
            <a:xfrm>
              <a:off x="7012821" y="345636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63" name="Freeform 5988"/>
            <p:cNvSpPr>
              <a:spLocks/>
            </p:cNvSpPr>
            <p:nvPr>
              <p:custDataLst>
                <p:tags r:id="rId299"/>
              </p:custDataLst>
            </p:nvPr>
          </p:nvSpPr>
          <p:spPr bwMode="gray">
            <a:xfrm>
              <a:off x="7016670" y="346535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64" name="Freeform 5989"/>
            <p:cNvSpPr>
              <a:spLocks/>
            </p:cNvSpPr>
            <p:nvPr>
              <p:custDataLst>
                <p:tags r:id="rId300"/>
              </p:custDataLst>
            </p:nvPr>
          </p:nvSpPr>
          <p:spPr bwMode="gray">
            <a:xfrm>
              <a:off x="7109053" y="349875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65" name="Freeform 5990"/>
            <p:cNvSpPr>
              <a:spLocks/>
            </p:cNvSpPr>
            <p:nvPr>
              <p:custDataLst>
                <p:tags r:id="rId301"/>
              </p:custDataLst>
            </p:nvPr>
          </p:nvSpPr>
          <p:spPr bwMode="gray">
            <a:xfrm>
              <a:off x="7098788" y="341782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66" name="Freeform 5991"/>
            <p:cNvSpPr>
              <a:spLocks/>
            </p:cNvSpPr>
            <p:nvPr>
              <p:custDataLst>
                <p:tags r:id="rId302"/>
              </p:custDataLst>
            </p:nvPr>
          </p:nvSpPr>
          <p:spPr bwMode="gray">
            <a:xfrm>
              <a:off x="6245532" y="367987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67" name="Freeform 5992"/>
            <p:cNvSpPr>
              <a:spLocks/>
            </p:cNvSpPr>
            <p:nvPr>
              <p:custDataLst>
                <p:tags r:id="rId303"/>
              </p:custDataLst>
            </p:nvPr>
          </p:nvSpPr>
          <p:spPr bwMode="gray">
            <a:xfrm>
              <a:off x="6264778" y="3682447"/>
              <a:ext cx="14114" cy="14130"/>
            </a:xfrm>
            <a:custGeom>
              <a:avLst/>
              <a:gdLst/>
              <a:ahLst/>
              <a:cxnLst>
                <a:cxn ang="0">
                  <a:pos x="0" y="5"/>
                </a:cxn>
                <a:cxn ang="0">
                  <a:pos x="4" y="11"/>
                </a:cxn>
                <a:cxn ang="0">
                  <a:pos x="11" y="0"/>
                </a:cxn>
                <a:cxn ang="0">
                  <a:pos x="0" y="5"/>
                </a:cxn>
                <a:cxn ang="0">
                  <a:pos x="0" y="5"/>
                </a:cxn>
              </a:cxnLst>
              <a:rect l="0" t="0" r="r" b="b"/>
              <a:pathLst>
                <a:path w="11" h="11">
                  <a:moveTo>
                    <a:pt x="0" y="5"/>
                  </a:moveTo>
                  <a:lnTo>
                    <a:pt x="4" y="11"/>
                  </a:lnTo>
                  <a:lnTo>
                    <a:pt x="11" y="0"/>
                  </a:lnTo>
                  <a:lnTo>
                    <a:pt x="0" y="5"/>
                  </a:lnTo>
                  <a:lnTo>
                    <a:pt x="0"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68" name="Freeform 5993"/>
            <p:cNvSpPr>
              <a:spLocks/>
            </p:cNvSpPr>
            <p:nvPr>
              <p:custDataLst>
                <p:tags r:id="rId304"/>
              </p:custDataLst>
            </p:nvPr>
          </p:nvSpPr>
          <p:spPr bwMode="gray">
            <a:xfrm>
              <a:off x="6286591" y="3694008"/>
              <a:ext cx="10265" cy="8992"/>
            </a:xfrm>
            <a:custGeom>
              <a:avLst/>
              <a:gdLst/>
              <a:ahLst/>
              <a:cxnLst>
                <a:cxn ang="0">
                  <a:pos x="0" y="2"/>
                </a:cxn>
                <a:cxn ang="0">
                  <a:pos x="2" y="7"/>
                </a:cxn>
                <a:cxn ang="0">
                  <a:pos x="8" y="6"/>
                </a:cxn>
                <a:cxn ang="0">
                  <a:pos x="6" y="0"/>
                </a:cxn>
                <a:cxn ang="0">
                  <a:pos x="0" y="2"/>
                </a:cxn>
                <a:cxn ang="0">
                  <a:pos x="0" y="2"/>
                </a:cxn>
              </a:cxnLst>
              <a:rect l="0" t="0" r="r" b="b"/>
              <a:pathLst>
                <a:path w="8" h="7">
                  <a:moveTo>
                    <a:pt x="0" y="2"/>
                  </a:moveTo>
                  <a:lnTo>
                    <a:pt x="2" y="7"/>
                  </a:lnTo>
                  <a:lnTo>
                    <a:pt x="8" y="6"/>
                  </a:lnTo>
                  <a:lnTo>
                    <a:pt x="6"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69" name="Freeform 5994"/>
            <p:cNvSpPr>
              <a:spLocks/>
            </p:cNvSpPr>
            <p:nvPr>
              <p:custDataLst>
                <p:tags r:id="rId305"/>
              </p:custDataLst>
            </p:nvPr>
          </p:nvSpPr>
          <p:spPr bwMode="gray">
            <a:xfrm>
              <a:off x="6317385" y="3669601"/>
              <a:ext cx="17963" cy="24407"/>
            </a:xfrm>
            <a:custGeom>
              <a:avLst/>
              <a:gdLst/>
              <a:ahLst/>
              <a:cxnLst>
                <a:cxn ang="0">
                  <a:pos x="0" y="19"/>
                </a:cxn>
                <a:cxn ang="0">
                  <a:pos x="6" y="17"/>
                </a:cxn>
                <a:cxn ang="0">
                  <a:pos x="8" y="6"/>
                </a:cxn>
                <a:cxn ang="0">
                  <a:pos x="14" y="0"/>
                </a:cxn>
                <a:cxn ang="0">
                  <a:pos x="0" y="19"/>
                </a:cxn>
                <a:cxn ang="0">
                  <a:pos x="0" y="19"/>
                </a:cxn>
              </a:cxnLst>
              <a:rect l="0" t="0" r="r" b="b"/>
              <a:pathLst>
                <a:path w="14" h="19">
                  <a:moveTo>
                    <a:pt x="0" y="19"/>
                  </a:moveTo>
                  <a:lnTo>
                    <a:pt x="6" y="17"/>
                  </a:lnTo>
                  <a:lnTo>
                    <a:pt x="8" y="6"/>
                  </a:lnTo>
                  <a:lnTo>
                    <a:pt x="14" y="0"/>
                  </a:lnTo>
                  <a:lnTo>
                    <a:pt x="0" y="19"/>
                  </a:lnTo>
                  <a:lnTo>
                    <a:pt x="0" y="1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70" name="Freeform 5998"/>
            <p:cNvSpPr>
              <a:spLocks/>
            </p:cNvSpPr>
            <p:nvPr>
              <p:custDataLst>
                <p:tags r:id="rId306"/>
              </p:custDataLst>
            </p:nvPr>
          </p:nvSpPr>
          <p:spPr bwMode="gray">
            <a:xfrm>
              <a:off x="8884853" y="4616321"/>
              <a:ext cx="823745" cy="670540"/>
            </a:xfrm>
            <a:custGeom>
              <a:avLst/>
              <a:gdLst/>
              <a:ahLst/>
              <a:cxnLst>
                <a:cxn ang="0">
                  <a:pos x="19" y="445"/>
                </a:cxn>
                <a:cxn ang="0">
                  <a:pos x="79" y="427"/>
                </a:cxn>
                <a:cxn ang="0">
                  <a:pos x="146" y="410"/>
                </a:cxn>
                <a:cxn ang="0">
                  <a:pos x="268" y="384"/>
                </a:cxn>
                <a:cxn ang="0">
                  <a:pos x="301" y="410"/>
                </a:cxn>
                <a:cxn ang="0">
                  <a:pos x="311" y="445"/>
                </a:cxn>
                <a:cxn ang="0">
                  <a:pos x="356" y="419"/>
                </a:cxn>
                <a:cxn ang="0">
                  <a:pos x="341" y="449"/>
                </a:cxn>
                <a:cxn ang="0">
                  <a:pos x="356" y="445"/>
                </a:cxn>
                <a:cxn ang="0">
                  <a:pos x="354" y="457"/>
                </a:cxn>
                <a:cxn ang="0">
                  <a:pos x="361" y="479"/>
                </a:cxn>
                <a:cxn ang="0">
                  <a:pos x="369" y="509"/>
                </a:cxn>
                <a:cxn ang="0">
                  <a:pos x="395" y="517"/>
                </a:cxn>
                <a:cxn ang="0">
                  <a:pos x="423" y="509"/>
                </a:cxn>
                <a:cxn ang="0">
                  <a:pos x="429" y="513"/>
                </a:cxn>
                <a:cxn ang="0">
                  <a:pos x="476" y="500"/>
                </a:cxn>
                <a:cxn ang="0">
                  <a:pos x="528" y="460"/>
                </a:cxn>
                <a:cxn ang="0">
                  <a:pos x="635" y="329"/>
                </a:cxn>
                <a:cxn ang="0">
                  <a:pos x="631" y="245"/>
                </a:cxn>
                <a:cxn ang="0">
                  <a:pos x="622" y="219"/>
                </a:cxn>
                <a:cxn ang="0">
                  <a:pos x="607" y="213"/>
                </a:cxn>
                <a:cxn ang="0">
                  <a:pos x="582" y="159"/>
                </a:cxn>
                <a:cxn ang="0">
                  <a:pos x="566" y="119"/>
                </a:cxn>
                <a:cxn ang="0">
                  <a:pos x="562" y="76"/>
                </a:cxn>
                <a:cxn ang="0">
                  <a:pos x="537" y="65"/>
                </a:cxn>
                <a:cxn ang="0">
                  <a:pos x="526" y="0"/>
                </a:cxn>
                <a:cxn ang="0">
                  <a:pos x="496" y="97"/>
                </a:cxn>
                <a:cxn ang="0">
                  <a:pos x="476" y="127"/>
                </a:cxn>
                <a:cxn ang="0">
                  <a:pos x="457" y="114"/>
                </a:cxn>
                <a:cxn ang="0">
                  <a:pos x="418" y="95"/>
                </a:cxn>
                <a:cxn ang="0">
                  <a:pos x="404" y="76"/>
                </a:cxn>
                <a:cxn ang="0">
                  <a:pos x="416" y="46"/>
                </a:cxn>
                <a:cxn ang="0">
                  <a:pos x="434" y="29"/>
                </a:cxn>
                <a:cxn ang="0">
                  <a:pos x="418" y="33"/>
                </a:cxn>
                <a:cxn ang="0">
                  <a:pos x="406" y="28"/>
                </a:cxn>
                <a:cxn ang="0">
                  <a:pos x="365" y="18"/>
                </a:cxn>
                <a:cxn ang="0">
                  <a:pos x="339" y="28"/>
                </a:cxn>
                <a:cxn ang="0">
                  <a:pos x="324" y="50"/>
                </a:cxn>
                <a:cxn ang="0">
                  <a:pos x="305" y="67"/>
                </a:cxn>
                <a:cxn ang="0">
                  <a:pos x="309" y="82"/>
                </a:cxn>
                <a:cxn ang="0">
                  <a:pos x="285" y="82"/>
                </a:cxn>
                <a:cxn ang="0">
                  <a:pos x="275" y="59"/>
                </a:cxn>
                <a:cxn ang="0">
                  <a:pos x="249" y="71"/>
                </a:cxn>
                <a:cxn ang="0">
                  <a:pos x="219" y="103"/>
                </a:cxn>
                <a:cxn ang="0">
                  <a:pos x="208" y="108"/>
                </a:cxn>
                <a:cxn ang="0">
                  <a:pos x="202" y="123"/>
                </a:cxn>
                <a:cxn ang="0">
                  <a:pos x="183" y="121"/>
                </a:cxn>
                <a:cxn ang="0">
                  <a:pos x="155" y="164"/>
                </a:cxn>
                <a:cxn ang="0">
                  <a:pos x="43" y="213"/>
                </a:cxn>
                <a:cxn ang="0">
                  <a:pos x="30" y="219"/>
                </a:cxn>
                <a:cxn ang="0">
                  <a:pos x="22" y="241"/>
                </a:cxn>
                <a:cxn ang="0">
                  <a:pos x="19" y="273"/>
                </a:cxn>
                <a:cxn ang="0">
                  <a:pos x="13" y="282"/>
                </a:cxn>
                <a:cxn ang="0">
                  <a:pos x="26" y="385"/>
                </a:cxn>
                <a:cxn ang="0">
                  <a:pos x="4" y="419"/>
                </a:cxn>
                <a:cxn ang="0">
                  <a:pos x="0" y="430"/>
                </a:cxn>
              </a:cxnLst>
              <a:rect l="0" t="0" r="r" b="b"/>
              <a:pathLst>
                <a:path w="642" h="522">
                  <a:moveTo>
                    <a:pt x="0" y="430"/>
                  </a:moveTo>
                  <a:lnTo>
                    <a:pt x="19" y="445"/>
                  </a:lnTo>
                  <a:lnTo>
                    <a:pt x="45" y="445"/>
                  </a:lnTo>
                  <a:lnTo>
                    <a:pt x="79" y="427"/>
                  </a:lnTo>
                  <a:lnTo>
                    <a:pt x="133" y="425"/>
                  </a:lnTo>
                  <a:lnTo>
                    <a:pt x="146" y="410"/>
                  </a:lnTo>
                  <a:lnTo>
                    <a:pt x="185" y="393"/>
                  </a:lnTo>
                  <a:lnTo>
                    <a:pt x="268" y="384"/>
                  </a:lnTo>
                  <a:lnTo>
                    <a:pt x="307" y="402"/>
                  </a:lnTo>
                  <a:lnTo>
                    <a:pt x="301" y="410"/>
                  </a:lnTo>
                  <a:lnTo>
                    <a:pt x="311" y="414"/>
                  </a:lnTo>
                  <a:lnTo>
                    <a:pt x="311" y="445"/>
                  </a:lnTo>
                  <a:lnTo>
                    <a:pt x="360" y="406"/>
                  </a:lnTo>
                  <a:lnTo>
                    <a:pt x="356" y="419"/>
                  </a:lnTo>
                  <a:lnTo>
                    <a:pt x="328" y="451"/>
                  </a:lnTo>
                  <a:lnTo>
                    <a:pt x="341" y="449"/>
                  </a:lnTo>
                  <a:lnTo>
                    <a:pt x="354" y="432"/>
                  </a:lnTo>
                  <a:lnTo>
                    <a:pt x="356" y="445"/>
                  </a:lnTo>
                  <a:lnTo>
                    <a:pt x="343" y="459"/>
                  </a:lnTo>
                  <a:lnTo>
                    <a:pt x="354" y="457"/>
                  </a:lnTo>
                  <a:lnTo>
                    <a:pt x="360" y="462"/>
                  </a:lnTo>
                  <a:lnTo>
                    <a:pt x="361" y="479"/>
                  </a:lnTo>
                  <a:lnTo>
                    <a:pt x="356" y="488"/>
                  </a:lnTo>
                  <a:lnTo>
                    <a:pt x="369" y="509"/>
                  </a:lnTo>
                  <a:lnTo>
                    <a:pt x="388" y="509"/>
                  </a:lnTo>
                  <a:lnTo>
                    <a:pt x="395" y="517"/>
                  </a:lnTo>
                  <a:lnTo>
                    <a:pt x="427" y="498"/>
                  </a:lnTo>
                  <a:lnTo>
                    <a:pt x="423" y="509"/>
                  </a:lnTo>
                  <a:lnTo>
                    <a:pt x="433" y="505"/>
                  </a:lnTo>
                  <a:lnTo>
                    <a:pt x="429" y="513"/>
                  </a:lnTo>
                  <a:lnTo>
                    <a:pt x="436" y="522"/>
                  </a:lnTo>
                  <a:lnTo>
                    <a:pt x="476" y="500"/>
                  </a:lnTo>
                  <a:lnTo>
                    <a:pt x="506" y="492"/>
                  </a:lnTo>
                  <a:lnTo>
                    <a:pt x="528" y="460"/>
                  </a:lnTo>
                  <a:lnTo>
                    <a:pt x="611" y="372"/>
                  </a:lnTo>
                  <a:lnTo>
                    <a:pt x="635" y="329"/>
                  </a:lnTo>
                  <a:lnTo>
                    <a:pt x="642" y="282"/>
                  </a:lnTo>
                  <a:lnTo>
                    <a:pt x="631" y="245"/>
                  </a:lnTo>
                  <a:lnTo>
                    <a:pt x="622" y="236"/>
                  </a:lnTo>
                  <a:lnTo>
                    <a:pt x="622" y="219"/>
                  </a:lnTo>
                  <a:lnTo>
                    <a:pt x="611" y="207"/>
                  </a:lnTo>
                  <a:lnTo>
                    <a:pt x="607" y="213"/>
                  </a:lnTo>
                  <a:lnTo>
                    <a:pt x="599" y="176"/>
                  </a:lnTo>
                  <a:lnTo>
                    <a:pt x="582" y="159"/>
                  </a:lnTo>
                  <a:lnTo>
                    <a:pt x="566" y="151"/>
                  </a:lnTo>
                  <a:lnTo>
                    <a:pt x="566" y="119"/>
                  </a:lnTo>
                  <a:lnTo>
                    <a:pt x="560" y="106"/>
                  </a:lnTo>
                  <a:lnTo>
                    <a:pt x="562" y="76"/>
                  </a:lnTo>
                  <a:lnTo>
                    <a:pt x="552" y="65"/>
                  </a:lnTo>
                  <a:lnTo>
                    <a:pt x="537" y="65"/>
                  </a:lnTo>
                  <a:lnTo>
                    <a:pt x="532" y="5"/>
                  </a:lnTo>
                  <a:lnTo>
                    <a:pt x="526" y="0"/>
                  </a:lnTo>
                  <a:lnTo>
                    <a:pt x="519" y="9"/>
                  </a:lnTo>
                  <a:lnTo>
                    <a:pt x="496" y="97"/>
                  </a:lnTo>
                  <a:lnTo>
                    <a:pt x="485" y="123"/>
                  </a:lnTo>
                  <a:lnTo>
                    <a:pt x="476" y="127"/>
                  </a:lnTo>
                  <a:lnTo>
                    <a:pt x="466" y="131"/>
                  </a:lnTo>
                  <a:lnTo>
                    <a:pt x="457" y="114"/>
                  </a:lnTo>
                  <a:lnTo>
                    <a:pt x="431" y="95"/>
                  </a:lnTo>
                  <a:lnTo>
                    <a:pt x="418" y="95"/>
                  </a:lnTo>
                  <a:lnTo>
                    <a:pt x="416" y="86"/>
                  </a:lnTo>
                  <a:lnTo>
                    <a:pt x="404" y="76"/>
                  </a:lnTo>
                  <a:lnTo>
                    <a:pt x="414" y="63"/>
                  </a:lnTo>
                  <a:lnTo>
                    <a:pt x="416" y="46"/>
                  </a:lnTo>
                  <a:lnTo>
                    <a:pt x="425" y="46"/>
                  </a:lnTo>
                  <a:lnTo>
                    <a:pt x="434" y="29"/>
                  </a:lnTo>
                  <a:lnTo>
                    <a:pt x="427" y="24"/>
                  </a:lnTo>
                  <a:lnTo>
                    <a:pt x="418" y="33"/>
                  </a:lnTo>
                  <a:lnTo>
                    <a:pt x="416" y="24"/>
                  </a:lnTo>
                  <a:lnTo>
                    <a:pt x="406" y="28"/>
                  </a:lnTo>
                  <a:lnTo>
                    <a:pt x="361" y="11"/>
                  </a:lnTo>
                  <a:lnTo>
                    <a:pt x="365" y="18"/>
                  </a:lnTo>
                  <a:lnTo>
                    <a:pt x="360" y="28"/>
                  </a:lnTo>
                  <a:lnTo>
                    <a:pt x="339" y="28"/>
                  </a:lnTo>
                  <a:lnTo>
                    <a:pt x="328" y="35"/>
                  </a:lnTo>
                  <a:lnTo>
                    <a:pt x="324" y="50"/>
                  </a:lnTo>
                  <a:lnTo>
                    <a:pt x="316" y="52"/>
                  </a:lnTo>
                  <a:lnTo>
                    <a:pt x="305" y="67"/>
                  </a:lnTo>
                  <a:lnTo>
                    <a:pt x="313" y="74"/>
                  </a:lnTo>
                  <a:lnTo>
                    <a:pt x="309" y="82"/>
                  </a:lnTo>
                  <a:lnTo>
                    <a:pt x="294" y="74"/>
                  </a:lnTo>
                  <a:lnTo>
                    <a:pt x="285" y="82"/>
                  </a:lnTo>
                  <a:lnTo>
                    <a:pt x="281" y="67"/>
                  </a:lnTo>
                  <a:lnTo>
                    <a:pt x="275" y="59"/>
                  </a:lnTo>
                  <a:lnTo>
                    <a:pt x="266" y="58"/>
                  </a:lnTo>
                  <a:lnTo>
                    <a:pt x="249" y="71"/>
                  </a:lnTo>
                  <a:lnTo>
                    <a:pt x="240" y="71"/>
                  </a:lnTo>
                  <a:lnTo>
                    <a:pt x="219" y="103"/>
                  </a:lnTo>
                  <a:lnTo>
                    <a:pt x="212" y="99"/>
                  </a:lnTo>
                  <a:lnTo>
                    <a:pt x="208" y="108"/>
                  </a:lnTo>
                  <a:lnTo>
                    <a:pt x="212" y="114"/>
                  </a:lnTo>
                  <a:lnTo>
                    <a:pt x="202" y="123"/>
                  </a:lnTo>
                  <a:lnTo>
                    <a:pt x="198" y="104"/>
                  </a:lnTo>
                  <a:lnTo>
                    <a:pt x="183" y="121"/>
                  </a:lnTo>
                  <a:lnTo>
                    <a:pt x="183" y="136"/>
                  </a:lnTo>
                  <a:lnTo>
                    <a:pt x="155" y="164"/>
                  </a:lnTo>
                  <a:lnTo>
                    <a:pt x="77" y="185"/>
                  </a:lnTo>
                  <a:lnTo>
                    <a:pt x="43" y="213"/>
                  </a:lnTo>
                  <a:lnTo>
                    <a:pt x="39" y="204"/>
                  </a:lnTo>
                  <a:lnTo>
                    <a:pt x="30" y="219"/>
                  </a:lnTo>
                  <a:lnTo>
                    <a:pt x="30" y="234"/>
                  </a:lnTo>
                  <a:lnTo>
                    <a:pt x="22" y="241"/>
                  </a:lnTo>
                  <a:lnTo>
                    <a:pt x="26" y="288"/>
                  </a:lnTo>
                  <a:lnTo>
                    <a:pt x="19" y="273"/>
                  </a:lnTo>
                  <a:lnTo>
                    <a:pt x="19" y="290"/>
                  </a:lnTo>
                  <a:lnTo>
                    <a:pt x="13" y="282"/>
                  </a:lnTo>
                  <a:lnTo>
                    <a:pt x="26" y="337"/>
                  </a:lnTo>
                  <a:lnTo>
                    <a:pt x="26" y="385"/>
                  </a:lnTo>
                  <a:lnTo>
                    <a:pt x="17" y="414"/>
                  </a:lnTo>
                  <a:lnTo>
                    <a:pt x="4" y="419"/>
                  </a:lnTo>
                  <a:lnTo>
                    <a:pt x="0" y="430"/>
                  </a:lnTo>
                  <a:lnTo>
                    <a:pt x="0" y="43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71" name="Freeform 5999"/>
            <p:cNvSpPr>
              <a:spLocks/>
            </p:cNvSpPr>
            <p:nvPr>
              <p:custDataLst>
                <p:tags r:id="rId307"/>
              </p:custDataLst>
            </p:nvPr>
          </p:nvSpPr>
          <p:spPr bwMode="gray">
            <a:xfrm>
              <a:off x="9290311" y="5205934"/>
              <a:ext cx="29511" cy="8992"/>
            </a:xfrm>
            <a:custGeom>
              <a:avLst/>
              <a:gdLst/>
              <a:ahLst/>
              <a:cxnLst>
                <a:cxn ang="0">
                  <a:pos x="0" y="3"/>
                </a:cxn>
                <a:cxn ang="0">
                  <a:pos x="2" y="7"/>
                </a:cxn>
                <a:cxn ang="0">
                  <a:pos x="14" y="7"/>
                </a:cxn>
                <a:cxn ang="0">
                  <a:pos x="23" y="3"/>
                </a:cxn>
                <a:cxn ang="0">
                  <a:pos x="15" y="0"/>
                </a:cxn>
                <a:cxn ang="0">
                  <a:pos x="0" y="3"/>
                </a:cxn>
                <a:cxn ang="0">
                  <a:pos x="0" y="3"/>
                </a:cxn>
              </a:cxnLst>
              <a:rect l="0" t="0" r="r" b="b"/>
              <a:pathLst>
                <a:path w="23" h="7">
                  <a:moveTo>
                    <a:pt x="0" y="3"/>
                  </a:moveTo>
                  <a:lnTo>
                    <a:pt x="2" y="7"/>
                  </a:lnTo>
                  <a:lnTo>
                    <a:pt x="14" y="7"/>
                  </a:lnTo>
                  <a:lnTo>
                    <a:pt x="23" y="3"/>
                  </a:lnTo>
                  <a:lnTo>
                    <a:pt x="15" y="0"/>
                  </a:lnTo>
                  <a:lnTo>
                    <a:pt x="0" y="3"/>
                  </a:lnTo>
                  <a:lnTo>
                    <a:pt x="0" y="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72" name="Freeform 6000"/>
            <p:cNvSpPr>
              <a:spLocks/>
            </p:cNvSpPr>
            <p:nvPr>
              <p:custDataLst>
                <p:tags r:id="rId308"/>
              </p:custDataLst>
            </p:nvPr>
          </p:nvSpPr>
          <p:spPr bwMode="gray">
            <a:xfrm>
              <a:off x="9377561" y="5322829"/>
              <a:ext cx="79552" cy="68082"/>
            </a:xfrm>
            <a:custGeom>
              <a:avLst/>
              <a:gdLst/>
              <a:ahLst/>
              <a:cxnLst>
                <a:cxn ang="0">
                  <a:pos x="13" y="0"/>
                </a:cxn>
                <a:cxn ang="0">
                  <a:pos x="0" y="42"/>
                </a:cxn>
                <a:cxn ang="0">
                  <a:pos x="4" y="51"/>
                </a:cxn>
                <a:cxn ang="0">
                  <a:pos x="11" y="53"/>
                </a:cxn>
                <a:cxn ang="0">
                  <a:pos x="30" y="40"/>
                </a:cxn>
                <a:cxn ang="0">
                  <a:pos x="34" y="45"/>
                </a:cxn>
                <a:cxn ang="0">
                  <a:pos x="62" y="6"/>
                </a:cxn>
                <a:cxn ang="0">
                  <a:pos x="28" y="10"/>
                </a:cxn>
                <a:cxn ang="0">
                  <a:pos x="13" y="0"/>
                </a:cxn>
                <a:cxn ang="0">
                  <a:pos x="13" y="0"/>
                </a:cxn>
              </a:cxnLst>
              <a:rect l="0" t="0" r="r" b="b"/>
              <a:pathLst>
                <a:path w="62" h="53">
                  <a:moveTo>
                    <a:pt x="13" y="0"/>
                  </a:moveTo>
                  <a:lnTo>
                    <a:pt x="0" y="42"/>
                  </a:lnTo>
                  <a:lnTo>
                    <a:pt x="4" y="51"/>
                  </a:lnTo>
                  <a:lnTo>
                    <a:pt x="11" y="53"/>
                  </a:lnTo>
                  <a:lnTo>
                    <a:pt x="30" y="40"/>
                  </a:lnTo>
                  <a:lnTo>
                    <a:pt x="34" y="45"/>
                  </a:lnTo>
                  <a:lnTo>
                    <a:pt x="62" y="6"/>
                  </a:lnTo>
                  <a:lnTo>
                    <a:pt x="28" y="10"/>
                  </a:lnTo>
                  <a:lnTo>
                    <a:pt x="13" y="0"/>
                  </a:lnTo>
                  <a:lnTo>
                    <a:pt x="13"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73" name="Freeform 6001"/>
            <p:cNvSpPr>
              <a:spLocks/>
            </p:cNvSpPr>
            <p:nvPr>
              <p:custDataLst>
                <p:tags r:id="rId309"/>
              </p:custDataLst>
            </p:nvPr>
          </p:nvSpPr>
          <p:spPr bwMode="gray">
            <a:xfrm>
              <a:off x="9958802" y="5176389"/>
              <a:ext cx="129592" cy="165708"/>
            </a:xfrm>
            <a:custGeom>
              <a:avLst/>
              <a:gdLst/>
              <a:ahLst/>
              <a:cxnLst>
                <a:cxn ang="0">
                  <a:pos x="10" y="90"/>
                </a:cxn>
                <a:cxn ang="0">
                  <a:pos x="21" y="101"/>
                </a:cxn>
                <a:cxn ang="0">
                  <a:pos x="0" y="126"/>
                </a:cxn>
                <a:cxn ang="0">
                  <a:pos x="4" y="129"/>
                </a:cxn>
                <a:cxn ang="0">
                  <a:pos x="15" y="127"/>
                </a:cxn>
                <a:cxn ang="0">
                  <a:pos x="62" y="88"/>
                </a:cxn>
                <a:cxn ang="0">
                  <a:pos x="88" y="75"/>
                </a:cxn>
                <a:cxn ang="0">
                  <a:pos x="101" y="60"/>
                </a:cxn>
                <a:cxn ang="0">
                  <a:pos x="96" y="56"/>
                </a:cxn>
                <a:cxn ang="0">
                  <a:pos x="79" y="66"/>
                </a:cxn>
                <a:cxn ang="0">
                  <a:pos x="64" y="60"/>
                </a:cxn>
                <a:cxn ang="0">
                  <a:pos x="71" y="43"/>
                </a:cxn>
                <a:cxn ang="0">
                  <a:pos x="66" y="39"/>
                </a:cxn>
                <a:cxn ang="0">
                  <a:pos x="60" y="51"/>
                </a:cxn>
                <a:cxn ang="0">
                  <a:pos x="54" y="47"/>
                </a:cxn>
                <a:cxn ang="0">
                  <a:pos x="62" y="17"/>
                </a:cxn>
                <a:cxn ang="0">
                  <a:pos x="60" y="11"/>
                </a:cxn>
                <a:cxn ang="0">
                  <a:pos x="53" y="9"/>
                </a:cxn>
                <a:cxn ang="0">
                  <a:pos x="49" y="0"/>
                </a:cxn>
                <a:cxn ang="0">
                  <a:pos x="47" y="45"/>
                </a:cxn>
                <a:cxn ang="0">
                  <a:pos x="54" y="47"/>
                </a:cxn>
                <a:cxn ang="0">
                  <a:pos x="28" y="81"/>
                </a:cxn>
                <a:cxn ang="0">
                  <a:pos x="10" y="90"/>
                </a:cxn>
                <a:cxn ang="0">
                  <a:pos x="10" y="90"/>
                </a:cxn>
              </a:cxnLst>
              <a:rect l="0" t="0" r="r" b="b"/>
              <a:pathLst>
                <a:path w="101" h="129">
                  <a:moveTo>
                    <a:pt x="10" y="90"/>
                  </a:moveTo>
                  <a:lnTo>
                    <a:pt x="21" y="101"/>
                  </a:lnTo>
                  <a:lnTo>
                    <a:pt x="0" y="126"/>
                  </a:lnTo>
                  <a:lnTo>
                    <a:pt x="4" y="129"/>
                  </a:lnTo>
                  <a:lnTo>
                    <a:pt x="15" y="127"/>
                  </a:lnTo>
                  <a:lnTo>
                    <a:pt x="62" y="88"/>
                  </a:lnTo>
                  <a:lnTo>
                    <a:pt x="88" y="75"/>
                  </a:lnTo>
                  <a:lnTo>
                    <a:pt x="101" y="60"/>
                  </a:lnTo>
                  <a:lnTo>
                    <a:pt x="96" y="56"/>
                  </a:lnTo>
                  <a:lnTo>
                    <a:pt x="79" y="66"/>
                  </a:lnTo>
                  <a:lnTo>
                    <a:pt x="64" y="60"/>
                  </a:lnTo>
                  <a:lnTo>
                    <a:pt x="71" y="43"/>
                  </a:lnTo>
                  <a:lnTo>
                    <a:pt x="66" y="39"/>
                  </a:lnTo>
                  <a:lnTo>
                    <a:pt x="60" y="51"/>
                  </a:lnTo>
                  <a:lnTo>
                    <a:pt x="54" y="47"/>
                  </a:lnTo>
                  <a:lnTo>
                    <a:pt x="62" y="17"/>
                  </a:lnTo>
                  <a:lnTo>
                    <a:pt x="60" y="11"/>
                  </a:lnTo>
                  <a:lnTo>
                    <a:pt x="53" y="9"/>
                  </a:lnTo>
                  <a:lnTo>
                    <a:pt x="49" y="0"/>
                  </a:lnTo>
                  <a:lnTo>
                    <a:pt x="47" y="45"/>
                  </a:lnTo>
                  <a:lnTo>
                    <a:pt x="54" y="47"/>
                  </a:lnTo>
                  <a:lnTo>
                    <a:pt x="28" y="81"/>
                  </a:lnTo>
                  <a:lnTo>
                    <a:pt x="10" y="90"/>
                  </a:lnTo>
                  <a:lnTo>
                    <a:pt x="10" y="9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74" name="Freeform 6002"/>
            <p:cNvSpPr>
              <a:spLocks/>
            </p:cNvSpPr>
            <p:nvPr>
              <p:custDataLst>
                <p:tags r:id="rId310"/>
              </p:custDataLst>
            </p:nvPr>
          </p:nvSpPr>
          <p:spPr bwMode="gray">
            <a:xfrm>
              <a:off x="9723996" y="5322829"/>
              <a:ext cx="225824" cy="140017"/>
            </a:xfrm>
            <a:custGeom>
              <a:avLst/>
              <a:gdLst/>
              <a:ahLst/>
              <a:cxnLst>
                <a:cxn ang="0">
                  <a:pos x="0" y="96"/>
                </a:cxn>
                <a:cxn ang="0">
                  <a:pos x="0" y="100"/>
                </a:cxn>
                <a:cxn ang="0">
                  <a:pos x="11" y="100"/>
                </a:cxn>
                <a:cxn ang="0">
                  <a:pos x="11" y="105"/>
                </a:cxn>
                <a:cxn ang="0">
                  <a:pos x="24" y="109"/>
                </a:cxn>
                <a:cxn ang="0">
                  <a:pos x="48" y="101"/>
                </a:cxn>
                <a:cxn ang="0">
                  <a:pos x="93" y="68"/>
                </a:cxn>
                <a:cxn ang="0">
                  <a:pos x="125" y="57"/>
                </a:cxn>
                <a:cxn ang="0">
                  <a:pos x="129" y="45"/>
                </a:cxn>
                <a:cxn ang="0">
                  <a:pos x="170" y="21"/>
                </a:cxn>
                <a:cxn ang="0">
                  <a:pos x="176" y="12"/>
                </a:cxn>
                <a:cxn ang="0">
                  <a:pos x="172" y="10"/>
                </a:cxn>
                <a:cxn ang="0">
                  <a:pos x="174" y="4"/>
                </a:cxn>
                <a:cxn ang="0">
                  <a:pos x="159" y="12"/>
                </a:cxn>
                <a:cxn ang="0">
                  <a:pos x="164" y="4"/>
                </a:cxn>
                <a:cxn ang="0">
                  <a:pos x="159" y="0"/>
                </a:cxn>
                <a:cxn ang="0">
                  <a:pos x="149" y="4"/>
                </a:cxn>
                <a:cxn ang="0">
                  <a:pos x="110" y="36"/>
                </a:cxn>
                <a:cxn ang="0">
                  <a:pos x="52" y="62"/>
                </a:cxn>
                <a:cxn ang="0">
                  <a:pos x="0" y="96"/>
                </a:cxn>
                <a:cxn ang="0">
                  <a:pos x="0" y="96"/>
                </a:cxn>
              </a:cxnLst>
              <a:rect l="0" t="0" r="r" b="b"/>
              <a:pathLst>
                <a:path w="176" h="109">
                  <a:moveTo>
                    <a:pt x="0" y="96"/>
                  </a:moveTo>
                  <a:lnTo>
                    <a:pt x="0" y="100"/>
                  </a:lnTo>
                  <a:lnTo>
                    <a:pt x="11" y="100"/>
                  </a:lnTo>
                  <a:lnTo>
                    <a:pt x="11" y="105"/>
                  </a:lnTo>
                  <a:lnTo>
                    <a:pt x="24" y="109"/>
                  </a:lnTo>
                  <a:lnTo>
                    <a:pt x="48" y="101"/>
                  </a:lnTo>
                  <a:lnTo>
                    <a:pt x="93" y="68"/>
                  </a:lnTo>
                  <a:lnTo>
                    <a:pt x="125" y="57"/>
                  </a:lnTo>
                  <a:lnTo>
                    <a:pt x="129" y="45"/>
                  </a:lnTo>
                  <a:lnTo>
                    <a:pt x="170" y="21"/>
                  </a:lnTo>
                  <a:lnTo>
                    <a:pt x="176" y="12"/>
                  </a:lnTo>
                  <a:lnTo>
                    <a:pt x="172" y="10"/>
                  </a:lnTo>
                  <a:lnTo>
                    <a:pt x="174" y="4"/>
                  </a:lnTo>
                  <a:lnTo>
                    <a:pt x="159" y="12"/>
                  </a:lnTo>
                  <a:lnTo>
                    <a:pt x="164" y="4"/>
                  </a:lnTo>
                  <a:lnTo>
                    <a:pt x="159" y="0"/>
                  </a:lnTo>
                  <a:lnTo>
                    <a:pt x="149" y="4"/>
                  </a:lnTo>
                  <a:lnTo>
                    <a:pt x="110" y="36"/>
                  </a:lnTo>
                  <a:lnTo>
                    <a:pt x="52" y="62"/>
                  </a:lnTo>
                  <a:lnTo>
                    <a:pt x="0" y="96"/>
                  </a:lnTo>
                  <a:lnTo>
                    <a:pt x="0" y="9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75" name="Freeform 6003"/>
            <p:cNvSpPr>
              <a:spLocks/>
            </p:cNvSpPr>
            <p:nvPr>
              <p:custDataLst>
                <p:tags r:id="rId311"/>
              </p:custDataLst>
            </p:nvPr>
          </p:nvSpPr>
          <p:spPr bwMode="gray">
            <a:xfrm>
              <a:off x="9718863" y="5462846"/>
              <a:ext cx="19246" cy="16699"/>
            </a:xfrm>
            <a:custGeom>
              <a:avLst/>
              <a:gdLst/>
              <a:ahLst/>
              <a:cxnLst>
                <a:cxn ang="0">
                  <a:pos x="0" y="13"/>
                </a:cxn>
                <a:cxn ang="0">
                  <a:pos x="13" y="7"/>
                </a:cxn>
                <a:cxn ang="0">
                  <a:pos x="15" y="0"/>
                </a:cxn>
                <a:cxn ang="0">
                  <a:pos x="0" y="13"/>
                </a:cxn>
                <a:cxn ang="0">
                  <a:pos x="0" y="13"/>
                </a:cxn>
              </a:cxnLst>
              <a:rect l="0" t="0" r="r" b="b"/>
              <a:pathLst>
                <a:path w="15" h="13">
                  <a:moveTo>
                    <a:pt x="0" y="13"/>
                  </a:moveTo>
                  <a:lnTo>
                    <a:pt x="13" y="7"/>
                  </a:lnTo>
                  <a:lnTo>
                    <a:pt x="15" y="0"/>
                  </a:lnTo>
                  <a:lnTo>
                    <a:pt x="0" y="13"/>
                  </a:lnTo>
                  <a:lnTo>
                    <a:pt x="0" y="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76" name="Freeform 6004"/>
            <p:cNvSpPr>
              <a:spLocks/>
            </p:cNvSpPr>
            <p:nvPr>
              <p:custDataLst>
                <p:tags r:id="rId312"/>
              </p:custDataLst>
            </p:nvPr>
          </p:nvSpPr>
          <p:spPr bwMode="gray">
            <a:xfrm>
              <a:off x="8587176" y="4225815"/>
              <a:ext cx="228390" cy="269757"/>
            </a:xfrm>
            <a:custGeom>
              <a:avLst/>
              <a:gdLst/>
              <a:ahLst/>
              <a:cxnLst>
                <a:cxn ang="0">
                  <a:pos x="0" y="0"/>
                </a:cxn>
                <a:cxn ang="0">
                  <a:pos x="5" y="17"/>
                </a:cxn>
                <a:cxn ang="0">
                  <a:pos x="26" y="36"/>
                </a:cxn>
                <a:cxn ang="0">
                  <a:pos x="41" y="60"/>
                </a:cxn>
                <a:cxn ang="0">
                  <a:pos x="58" y="71"/>
                </a:cxn>
                <a:cxn ang="0">
                  <a:pos x="65" y="99"/>
                </a:cxn>
                <a:cxn ang="0">
                  <a:pos x="84" y="118"/>
                </a:cxn>
                <a:cxn ang="0">
                  <a:pos x="91" y="142"/>
                </a:cxn>
                <a:cxn ang="0">
                  <a:pos x="105" y="163"/>
                </a:cxn>
                <a:cxn ang="0">
                  <a:pos x="148" y="208"/>
                </a:cxn>
                <a:cxn ang="0">
                  <a:pos x="153" y="210"/>
                </a:cxn>
                <a:cxn ang="0">
                  <a:pos x="163" y="206"/>
                </a:cxn>
                <a:cxn ang="0">
                  <a:pos x="168" y="210"/>
                </a:cxn>
                <a:cxn ang="0">
                  <a:pos x="178" y="159"/>
                </a:cxn>
                <a:cxn ang="0">
                  <a:pos x="168" y="148"/>
                </a:cxn>
                <a:cxn ang="0">
                  <a:pos x="159" y="148"/>
                </a:cxn>
                <a:cxn ang="0">
                  <a:pos x="149" y="124"/>
                </a:cxn>
                <a:cxn ang="0">
                  <a:pos x="140" y="124"/>
                </a:cxn>
                <a:cxn ang="0">
                  <a:pos x="134" y="118"/>
                </a:cxn>
                <a:cxn ang="0">
                  <a:pos x="140" y="101"/>
                </a:cxn>
                <a:cxn ang="0">
                  <a:pos x="127" y="94"/>
                </a:cxn>
                <a:cxn ang="0">
                  <a:pos x="127" y="84"/>
                </a:cxn>
                <a:cxn ang="0">
                  <a:pos x="97" y="62"/>
                </a:cxn>
                <a:cxn ang="0">
                  <a:pos x="90" y="64"/>
                </a:cxn>
                <a:cxn ang="0">
                  <a:pos x="35" y="8"/>
                </a:cxn>
                <a:cxn ang="0">
                  <a:pos x="0" y="0"/>
                </a:cxn>
                <a:cxn ang="0">
                  <a:pos x="0" y="0"/>
                </a:cxn>
              </a:cxnLst>
              <a:rect l="0" t="0" r="r" b="b"/>
              <a:pathLst>
                <a:path w="178" h="210">
                  <a:moveTo>
                    <a:pt x="0" y="0"/>
                  </a:moveTo>
                  <a:lnTo>
                    <a:pt x="5" y="17"/>
                  </a:lnTo>
                  <a:lnTo>
                    <a:pt x="26" y="36"/>
                  </a:lnTo>
                  <a:lnTo>
                    <a:pt x="41" y="60"/>
                  </a:lnTo>
                  <a:lnTo>
                    <a:pt x="58" y="71"/>
                  </a:lnTo>
                  <a:lnTo>
                    <a:pt x="65" y="99"/>
                  </a:lnTo>
                  <a:lnTo>
                    <a:pt x="84" y="118"/>
                  </a:lnTo>
                  <a:lnTo>
                    <a:pt x="91" y="142"/>
                  </a:lnTo>
                  <a:lnTo>
                    <a:pt x="105" y="163"/>
                  </a:lnTo>
                  <a:lnTo>
                    <a:pt x="148" y="208"/>
                  </a:lnTo>
                  <a:lnTo>
                    <a:pt x="153" y="210"/>
                  </a:lnTo>
                  <a:lnTo>
                    <a:pt x="163" y="206"/>
                  </a:lnTo>
                  <a:lnTo>
                    <a:pt x="168" y="210"/>
                  </a:lnTo>
                  <a:lnTo>
                    <a:pt x="178" y="159"/>
                  </a:lnTo>
                  <a:lnTo>
                    <a:pt x="168" y="148"/>
                  </a:lnTo>
                  <a:lnTo>
                    <a:pt x="159" y="148"/>
                  </a:lnTo>
                  <a:lnTo>
                    <a:pt x="149" y="124"/>
                  </a:lnTo>
                  <a:lnTo>
                    <a:pt x="140" y="124"/>
                  </a:lnTo>
                  <a:lnTo>
                    <a:pt x="134" y="118"/>
                  </a:lnTo>
                  <a:lnTo>
                    <a:pt x="140" y="101"/>
                  </a:lnTo>
                  <a:lnTo>
                    <a:pt x="127" y="94"/>
                  </a:lnTo>
                  <a:lnTo>
                    <a:pt x="127" y="84"/>
                  </a:lnTo>
                  <a:lnTo>
                    <a:pt x="97" y="62"/>
                  </a:lnTo>
                  <a:lnTo>
                    <a:pt x="90" y="64"/>
                  </a:lnTo>
                  <a:lnTo>
                    <a:pt x="35" y="8"/>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77" name="Freeform 6005"/>
            <p:cNvSpPr>
              <a:spLocks/>
            </p:cNvSpPr>
            <p:nvPr>
              <p:custDataLst>
                <p:tags r:id="rId313"/>
              </p:custDataLst>
            </p:nvPr>
          </p:nvSpPr>
          <p:spPr bwMode="gray">
            <a:xfrm>
              <a:off x="8796320" y="4498142"/>
              <a:ext cx="184765" cy="64228"/>
            </a:xfrm>
            <a:custGeom>
              <a:avLst/>
              <a:gdLst/>
              <a:ahLst/>
              <a:cxnLst>
                <a:cxn ang="0">
                  <a:pos x="0" y="15"/>
                </a:cxn>
                <a:cxn ang="0">
                  <a:pos x="41" y="33"/>
                </a:cxn>
                <a:cxn ang="0">
                  <a:pos x="67" y="33"/>
                </a:cxn>
                <a:cxn ang="0">
                  <a:pos x="112" y="47"/>
                </a:cxn>
                <a:cxn ang="0">
                  <a:pos x="121" y="43"/>
                </a:cxn>
                <a:cxn ang="0">
                  <a:pos x="144" y="50"/>
                </a:cxn>
                <a:cxn ang="0">
                  <a:pos x="144" y="33"/>
                </a:cxn>
                <a:cxn ang="0">
                  <a:pos x="119" y="32"/>
                </a:cxn>
                <a:cxn ang="0">
                  <a:pos x="114" y="18"/>
                </a:cxn>
                <a:cxn ang="0">
                  <a:pos x="88" y="9"/>
                </a:cxn>
                <a:cxn ang="0">
                  <a:pos x="82" y="18"/>
                </a:cxn>
                <a:cxn ang="0">
                  <a:pos x="60" y="17"/>
                </a:cxn>
                <a:cxn ang="0">
                  <a:pos x="33" y="2"/>
                </a:cxn>
                <a:cxn ang="0">
                  <a:pos x="11" y="0"/>
                </a:cxn>
                <a:cxn ang="0">
                  <a:pos x="0" y="15"/>
                </a:cxn>
                <a:cxn ang="0">
                  <a:pos x="0" y="15"/>
                </a:cxn>
              </a:cxnLst>
              <a:rect l="0" t="0" r="r" b="b"/>
              <a:pathLst>
                <a:path w="144" h="50">
                  <a:moveTo>
                    <a:pt x="0" y="15"/>
                  </a:moveTo>
                  <a:lnTo>
                    <a:pt x="41" y="33"/>
                  </a:lnTo>
                  <a:lnTo>
                    <a:pt x="67" y="33"/>
                  </a:lnTo>
                  <a:lnTo>
                    <a:pt x="112" y="47"/>
                  </a:lnTo>
                  <a:lnTo>
                    <a:pt x="121" y="43"/>
                  </a:lnTo>
                  <a:lnTo>
                    <a:pt x="144" y="50"/>
                  </a:lnTo>
                  <a:lnTo>
                    <a:pt x="144" y="33"/>
                  </a:lnTo>
                  <a:lnTo>
                    <a:pt x="119" y="32"/>
                  </a:lnTo>
                  <a:lnTo>
                    <a:pt x="114" y="18"/>
                  </a:lnTo>
                  <a:lnTo>
                    <a:pt x="88" y="9"/>
                  </a:lnTo>
                  <a:lnTo>
                    <a:pt x="82" y="18"/>
                  </a:lnTo>
                  <a:lnTo>
                    <a:pt x="60" y="17"/>
                  </a:lnTo>
                  <a:lnTo>
                    <a:pt x="33" y="2"/>
                  </a:lnTo>
                  <a:lnTo>
                    <a:pt x="11" y="0"/>
                  </a:lnTo>
                  <a:lnTo>
                    <a:pt x="0" y="15"/>
                  </a:lnTo>
                  <a:lnTo>
                    <a:pt x="0"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78" name="Freeform 6006"/>
            <p:cNvSpPr>
              <a:spLocks/>
            </p:cNvSpPr>
            <p:nvPr>
              <p:custDataLst>
                <p:tags r:id="rId314"/>
              </p:custDataLst>
            </p:nvPr>
          </p:nvSpPr>
          <p:spPr bwMode="gray">
            <a:xfrm>
              <a:off x="8981085" y="4548240"/>
              <a:ext cx="25662" cy="16699"/>
            </a:xfrm>
            <a:custGeom>
              <a:avLst/>
              <a:gdLst/>
              <a:ahLst/>
              <a:cxnLst>
                <a:cxn ang="0">
                  <a:pos x="0" y="4"/>
                </a:cxn>
                <a:cxn ang="0">
                  <a:pos x="11" y="13"/>
                </a:cxn>
                <a:cxn ang="0">
                  <a:pos x="20" y="6"/>
                </a:cxn>
                <a:cxn ang="0">
                  <a:pos x="15" y="0"/>
                </a:cxn>
                <a:cxn ang="0">
                  <a:pos x="0" y="4"/>
                </a:cxn>
                <a:cxn ang="0">
                  <a:pos x="0" y="4"/>
                </a:cxn>
              </a:cxnLst>
              <a:rect l="0" t="0" r="r" b="b"/>
              <a:pathLst>
                <a:path w="20" h="13">
                  <a:moveTo>
                    <a:pt x="0" y="4"/>
                  </a:moveTo>
                  <a:lnTo>
                    <a:pt x="11" y="13"/>
                  </a:lnTo>
                  <a:lnTo>
                    <a:pt x="20" y="6"/>
                  </a:lnTo>
                  <a:lnTo>
                    <a:pt x="15" y="0"/>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79" name="Freeform 6007"/>
            <p:cNvSpPr>
              <a:spLocks/>
            </p:cNvSpPr>
            <p:nvPr>
              <p:custDataLst>
                <p:tags r:id="rId315"/>
              </p:custDataLst>
            </p:nvPr>
          </p:nvSpPr>
          <p:spPr bwMode="gray">
            <a:xfrm>
              <a:off x="9011879" y="4550809"/>
              <a:ext cx="161670" cy="24407"/>
            </a:xfrm>
            <a:custGeom>
              <a:avLst/>
              <a:gdLst/>
              <a:ahLst/>
              <a:cxnLst>
                <a:cxn ang="0">
                  <a:pos x="0" y="17"/>
                </a:cxn>
                <a:cxn ang="0">
                  <a:pos x="19" y="19"/>
                </a:cxn>
                <a:cxn ang="0">
                  <a:pos x="58" y="9"/>
                </a:cxn>
                <a:cxn ang="0">
                  <a:pos x="98" y="15"/>
                </a:cxn>
                <a:cxn ang="0">
                  <a:pos x="126" y="6"/>
                </a:cxn>
                <a:cxn ang="0">
                  <a:pos x="114" y="2"/>
                </a:cxn>
                <a:cxn ang="0">
                  <a:pos x="105" y="11"/>
                </a:cxn>
                <a:cxn ang="0">
                  <a:pos x="75" y="2"/>
                </a:cxn>
                <a:cxn ang="0">
                  <a:pos x="58" y="9"/>
                </a:cxn>
                <a:cxn ang="0">
                  <a:pos x="30" y="0"/>
                </a:cxn>
                <a:cxn ang="0">
                  <a:pos x="34" y="7"/>
                </a:cxn>
                <a:cxn ang="0">
                  <a:pos x="10" y="4"/>
                </a:cxn>
                <a:cxn ang="0">
                  <a:pos x="2" y="6"/>
                </a:cxn>
                <a:cxn ang="0">
                  <a:pos x="0" y="17"/>
                </a:cxn>
                <a:cxn ang="0">
                  <a:pos x="0" y="17"/>
                </a:cxn>
              </a:cxnLst>
              <a:rect l="0" t="0" r="r" b="b"/>
              <a:pathLst>
                <a:path w="126" h="19">
                  <a:moveTo>
                    <a:pt x="0" y="17"/>
                  </a:moveTo>
                  <a:lnTo>
                    <a:pt x="19" y="19"/>
                  </a:lnTo>
                  <a:lnTo>
                    <a:pt x="58" y="9"/>
                  </a:lnTo>
                  <a:lnTo>
                    <a:pt x="98" y="15"/>
                  </a:lnTo>
                  <a:lnTo>
                    <a:pt x="126" y="6"/>
                  </a:lnTo>
                  <a:lnTo>
                    <a:pt x="114" y="2"/>
                  </a:lnTo>
                  <a:lnTo>
                    <a:pt x="105" y="11"/>
                  </a:lnTo>
                  <a:lnTo>
                    <a:pt x="75" y="2"/>
                  </a:lnTo>
                  <a:lnTo>
                    <a:pt x="58" y="9"/>
                  </a:lnTo>
                  <a:lnTo>
                    <a:pt x="30" y="0"/>
                  </a:lnTo>
                  <a:lnTo>
                    <a:pt x="34" y="7"/>
                  </a:lnTo>
                  <a:lnTo>
                    <a:pt x="10" y="4"/>
                  </a:lnTo>
                  <a:lnTo>
                    <a:pt x="2" y="6"/>
                  </a:lnTo>
                  <a:lnTo>
                    <a:pt x="0" y="17"/>
                  </a:lnTo>
                  <a:lnTo>
                    <a:pt x="0"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80" name="Freeform 6008"/>
            <p:cNvSpPr>
              <a:spLocks/>
            </p:cNvSpPr>
            <p:nvPr>
              <p:custDataLst>
                <p:tags r:id="rId316"/>
              </p:custDataLst>
            </p:nvPr>
          </p:nvSpPr>
          <p:spPr bwMode="gray">
            <a:xfrm>
              <a:off x="9187663" y="4550809"/>
              <a:ext cx="16680" cy="7707"/>
            </a:xfrm>
            <a:custGeom>
              <a:avLst/>
              <a:gdLst/>
              <a:ahLst/>
              <a:cxnLst>
                <a:cxn ang="0">
                  <a:pos x="0" y="6"/>
                </a:cxn>
                <a:cxn ang="0">
                  <a:pos x="13" y="4"/>
                </a:cxn>
                <a:cxn ang="0">
                  <a:pos x="4" y="0"/>
                </a:cxn>
                <a:cxn ang="0">
                  <a:pos x="0" y="6"/>
                </a:cxn>
                <a:cxn ang="0">
                  <a:pos x="0" y="6"/>
                </a:cxn>
              </a:cxnLst>
              <a:rect l="0" t="0" r="r" b="b"/>
              <a:pathLst>
                <a:path w="13" h="6">
                  <a:moveTo>
                    <a:pt x="0" y="6"/>
                  </a:moveTo>
                  <a:lnTo>
                    <a:pt x="13" y="4"/>
                  </a:lnTo>
                  <a:lnTo>
                    <a:pt x="4"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81" name="Freeform 6009"/>
            <p:cNvSpPr>
              <a:spLocks/>
            </p:cNvSpPr>
            <p:nvPr>
              <p:custDataLst>
                <p:tags r:id="rId317"/>
              </p:custDataLst>
            </p:nvPr>
          </p:nvSpPr>
          <p:spPr bwMode="gray">
            <a:xfrm>
              <a:off x="9218457" y="4539248"/>
              <a:ext cx="16680" cy="8992"/>
            </a:xfrm>
            <a:custGeom>
              <a:avLst/>
              <a:gdLst/>
              <a:ahLst/>
              <a:cxnLst>
                <a:cxn ang="0">
                  <a:pos x="0" y="7"/>
                </a:cxn>
                <a:cxn ang="0">
                  <a:pos x="10" y="7"/>
                </a:cxn>
                <a:cxn ang="0">
                  <a:pos x="13" y="0"/>
                </a:cxn>
                <a:cxn ang="0">
                  <a:pos x="4" y="1"/>
                </a:cxn>
                <a:cxn ang="0">
                  <a:pos x="0" y="7"/>
                </a:cxn>
                <a:cxn ang="0">
                  <a:pos x="0" y="7"/>
                </a:cxn>
              </a:cxnLst>
              <a:rect l="0" t="0" r="r" b="b"/>
              <a:pathLst>
                <a:path w="13" h="7">
                  <a:moveTo>
                    <a:pt x="0" y="7"/>
                  </a:moveTo>
                  <a:lnTo>
                    <a:pt x="10" y="7"/>
                  </a:lnTo>
                  <a:lnTo>
                    <a:pt x="13" y="0"/>
                  </a:lnTo>
                  <a:lnTo>
                    <a:pt x="4" y="1"/>
                  </a:lnTo>
                  <a:lnTo>
                    <a:pt x="0" y="7"/>
                  </a:lnTo>
                  <a:lnTo>
                    <a:pt x="0" y="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82" name="Freeform 6010"/>
            <p:cNvSpPr>
              <a:spLocks/>
            </p:cNvSpPr>
            <p:nvPr>
              <p:custDataLst>
                <p:tags r:id="rId318"/>
              </p:custDataLst>
            </p:nvPr>
          </p:nvSpPr>
          <p:spPr bwMode="gray">
            <a:xfrm>
              <a:off x="9074751" y="4581638"/>
              <a:ext cx="38493" cy="21838"/>
            </a:xfrm>
            <a:custGeom>
              <a:avLst/>
              <a:gdLst/>
              <a:ahLst/>
              <a:cxnLst>
                <a:cxn ang="0">
                  <a:pos x="0" y="0"/>
                </a:cxn>
                <a:cxn ang="0">
                  <a:pos x="2" y="6"/>
                </a:cxn>
                <a:cxn ang="0">
                  <a:pos x="22" y="17"/>
                </a:cxn>
                <a:cxn ang="0">
                  <a:pos x="30" y="12"/>
                </a:cxn>
                <a:cxn ang="0">
                  <a:pos x="17" y="0"/>
                </a:cxn>
                <a:cxn ang="0">
                  <a:pos x="0" y="0"/>
                </a:cxn>
                <a:cxn ang="0">
                  <a:pos x="0" y="0"/>
                </a:cxn>
              </a:cxnLst>
              <a:rect l="0" t="0" r="r" b="b"/>
              <a:pathLst>
                <a:path w="30" h="17">
                  <a:moveTo>
                    <a:pt x="0" y="0"/>
                  </a:moveTo>
                  <a:lnTo>
                    <a:pt x="2" y="6"/>
                  </a:lnTo>
                  <a:lnTo>
                    <a:pt x="22" y="17"/>
                  </a:lnTo>
                  <a:lnTo>
                    <a:pt x="30" y="12"/>
                  </a:lnTo>
                  <a:lnTo>
                    <a:pt x="17" y="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83" name="Freeform 6011"/>
            <p:cNvSpPr>
              <a:spLocks/>
            </p:cNvSpPr>
            <p:nvPr>
              <p:custDataLst>
                <p:tags r:id="rId319"/>
              </p:custDataLst>
            </p:nvPr>
          </p:nvSpPr>
          <p:spPr bwMode="gray">
            <a:xfrm>
              <a:off x="9328803" y="4526402"/>
              <a:ext cx="12831" cy="21838"/>
            </a:xfrm>
            <a:custGeom>
              <a:avLst/>
              <a:gdLst/>
              <a:ahLst/>
              <a:cxnLst>
                <a:cxn ang="0">
                  <a:pos x="0" y="17"/>
                </a:cxn>
                <a:cxn ang="0">
                  <a:pos x="8" y="11"/>
                </a:cxn>
                <a:cxn ang="0">
                  <a:pos x="10" y="0"/>
                </a:cxn>
                <a:cxn ang="0">
                  <a:pos x="0" y="17"/>
                </a:cxn>
                <a:cxn ang="0">
                  <a:pos x="0" y="17"/>
                </a:cxn>
              </a:cxnLst>
              <a:rect l="0" t="0" r="r" b="b"/>
              <a:pathLst>
                <a:path w="10" h="17">
                  <a:moveTo>
                    <a:pt x="0" y="17"/>
                  </a:moveTo>
                  <a:lnTo>
                    <a:pt x="8" y="11"/>
                  </a:lnTo>
                  <a:lnTo>
                    <a:pt x="10" y="0"/>
                  </a:lnTo>
                  <a:lnTo>
                    <a:pt x="0" y="17"/>
                  </a:lnTo>
                  <a:lnTo>
                    <a:pt x="0"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84" name="Freeform 6012"/>
            <p:cNvSpPr>
              <a:spLocks/>
            </p:cNvSpPr>
            <p:nvPr>
              <p:custDataLst>
                <p:tags r:id="rId320"/>
              </p:custDataLst>
            </p:nvPr>
          </p:nvSpPr>
          <p:spPr bwMode="gray">
            <a:xfrm>
              <a:off x="9391675" y="4487866"/>
              <a:ext cx="14114" cy="35968"/>
            </a:xfrm>
            <a:custGeom>
              <a:avLst/>
              <a:gdLst/>
              <a:ahLst/>
              <a:cxnLst>
                <a:cxn ang="0">
                  <a:pos x="0" y="28"/>
                </a:cxn>
                <a:cxn ang="0">
                  <a:pos x="11" y="10"/>
                </a:cxn>
                <a:cxn ang="0">
                  <a:pos x="9" y="0"/>
                </a:cxn>
                <a:cxn ang="0">
                  <a:pos x="0" y="28"/>
                </a:cxn>
                <a:cxn ang="0">
                  <a:pos x="0" y="28"/>
                </a:cxn>
              </a:cxnLst>
              <a:rect l="0" t="0" r="r" b="b"/>
              <a:pathLst>
                <a:path w="11" h="28">
                  <a:moveTo>
                    <a:pt x="0" y="28"/>
                  </a:moveTo>
                  <a:lnTo>
                    <a:pt x="11" y="10"/>
                  </a:lnTo>
                  <a:lnTo>
                    <a:pt x="9" y="0"/>
                  </a:lnTo>
                  <a:lnTo>
                    <a:pt x="0" y="28"/>
                  </a:lnTo>
                  <a:lnTo>
                    <a:pt x="0" y="2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85" name="Freeform 6013"/>
            <p:cNvSpPr>
              <a:spLocks/>
            </p:cNvSpPr>
            <p:nvPr>
              <p:custDataLst>
                <p:tags r:id="rId321"/>
              </p:custDataLst>
            </p:nvPr>
          </p:nvSpPr>
          <p:spPr bwMode="gray">
            <a:xfrm>
              <a:off x="8855342" y="426435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86" name="Freeform 6014"/>
            <p:cNvSpPr>
              <a:spLocks/>
            </p:cNvSpPr>
            <p:nvPr>
              <p:custDataLst>
                <p:tags r:id="rId322"/>
              </p:custDataLst>
            </p:nvPr>
          </p:nvSpPr>
          <p:spPr bwMode="gray">
            <a:xfrm>
              <a:off x="8780923" y="433114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87" name="Freeform 6015"/>
            <p:cNvSpPr>
              <a:spLocks/>
            </p:cNvSpPr>
            <p:nvPr>
              <p:custDataLst>
                <p:tags r:id="rId323"/>
              </p:custDataLst>
            </p:nvPr>
          </p:nvSpPr>
          <p:spPr bwMode="gray">
            <a:xfrm>
              <a:off x="8796320" y="4394093"/>
              <a:ext cx="30794" cy="35968"/>
            </a:xfrm>
            <a:custGeom>
              <a:avLst/>
              <a:gdLst/>
              <a:ahLst/>
              <a:cxnLst>
                <a:cxn ang="0">
                  <a:pos x="0" y="8"/>
                </a:cxn>
                <a:cxn ang="0">
                  <a:pos x="9" y="11"/>
                </a:cxn>
                <a:cxn ang="0">
                  <a:pos x="11" y="23"/>
                </a:cxn>
                <a:cxn ang="0">
                  <a:pos x="22" y="28"/>
                </a:cxn>
                <a:cxn ang="0">
                  <a:pos x="24" y="19"/>
                </a:cxn>
                <a:cxn ang="0">
                  <a:pos x="18" y="19"/>
                </a:cxn>
                <a:cxn ang="0">
                  <a:pos x="13" y="0"/>
                </a:cxn>
                <a:cxn ang="0">
                  <a:pos x="0" y="8"/>
                </a:cxn>
                <a:cxn ang="0">
                  <a:pos x="0" y="8"/>
                </a:cxn>
              </a:cxnLst>
              <a:rect l="0" t="0" r="r" b="b"/>
              <a:pathLst>
                <a:path w="24" h="28">
                  <a:moveTo>
                    <a:pt x="0" y="8"/>
                  </a:moveTo>
                  <a:lnTo>
                    <a:pt x="9" y="11"/>
                  </a:lnTo>
                  <a:lnTo>
                    <a:pt x="11" y="23"/>
                  </a:lnTo>
                  <a:lnTo>
                    <a:pt x="22" y="28"/>
                  </a:lnTo>
                  <a:lnTo>
                    <a:pt x="24" y="19"/>
                  </a:lnTo>
                  <a:lnTo>
                    <a:pt x="18" y="19"/>
                  </a:lnTo>
                  <a:lnTo>
                    <a:pt x="13" y="0"/>
                  </a:lnTo>
                  <a:lnTo>
                    <a:pt x="0" y="8"/>
                  </a:lnTo>
                  <a:lnTo>
                    <a:pt x="0" y="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88" name="Freeform 6016"/>
            <p:cNvSpPr>
              <a:spLocks/>
            </p:cNvSpPr>
            <p:nvPr>
              <p:custDataLst>
                <p:tags r:id="rId324"/>
              </p:custDataLst>
            </p:nvPr>
          </p:nvSpPr>
          <p:spPr bwMode="gray">
            <a:xfrm>
              <a:off x="8846360" y="4418499"/>
              <a:ext cx="11548" cy="16699"/>
            </a:xfrm>
            <a:custGeom>
              <a:avLst/>
              <a:gdLst/>
              <a:ahLst/>
              <a:cxnLst>
                <a:cxn ang="0">
                  <a:pos x="0" y="11"/>
                </a:cxn>
                <a:cxn ang="0">
                  <a:pos x="6" y="13"/>
                </a:cxn>
                <a:cxn ang="0">
                  <a:pos x="9" y="4"/>
                </a:cxn>
                <a:cxn ang="0">
                  <a:pos x="2" y="0"/>
                </a:cxn>
                <a:cxn ang="0">
                  <a:pos x="0" y="11"/>
                </a:cxn>
                <a:cxn ang="0">
                  <a:pos x="0" y="11"/>
                </a:cxn>
              </a:cxnLst>
              <a:rect l="0" t="0" r="r" b="b"/>
              <a:pathLst>
                <a:path w="9" h="13">
                  <a:moveTo>
                    <a:pt x="0" y="11"/>
                  </a:moveTo>
                  <a:lnTo>
                    <a:pt x="6" y="13"/>
                  </a:lnTo>
                  <a:lnTo>
                    <a:pt x="9" y="4"/>
                  </a:lnTo>
                  <a:lnTo>
                    <a:pt x="2" y="0"/>
                  </a:lnTo>
                  <a:lnTo>
                    <a:pt x="0" y="11"/>
                  </a:lnTo>
                  <a:lnTo>
                    <a:pt x="0"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89" name="Freeform 6017"/>
            <p:cNvSpPr>
              <a:spLocks/>
            </p:cNvSpPr>
            <p:nvPr>
              <p:custDataLst>
                <p:tags r:id="rId325"/>
              </p:custDataLst>
            </p:nvPr>
          </p:nvSpPr>
          <p:spPr bwMode="gray">
            <a:xfrm>
              <a:off x="8951574" y="4523833"/>
              <a:ext cx="21813" cy="0"/>
            </a:xfrm>
            <a:custGeom>
              <a:avLst/>
              <a:gdLst/>
              <a:ahLst/>
              <a:cxnLst>
                <a:cxn ang="0">
                  <a:pos x="0" y="0"/>
                </a:cxn>
                <a:cxn ang="0">
                  <a:pos x="17" y="0"/>
                </a:cxn>
                <a:cxn ang="0">
                  <a:pos x="0" y="0"/>
                </a:cxn>
              </a:cxnLst>
              <a:rect l="0" t="0" r="r" b="b"/>
              <a:pathLst>
                <a:path w="17">
                  <a:moveTo>
                    <a:pt x="0" y="0"/>
                  </a:moveTo>
                  <a:lnTo>
                    <a:pt x="17"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90" name="Line 6018"/>
            <p:cNvSpPr>
              <a:spLocks noChangeShapeType="1"/>
            </p:cNvSpPr>
            <p:nvPr>
              <p:custDataLst>
                <p:tags r:id="rId326"/>
              </p:custDataLst>
            </p:nvPr>
          </p:nvSpPr>
          <p:spPr bwMode="gray">
            <a:xfrm>
              <a:off x="8951574" y="4523833"/>
              <a:ext cx="21813" cy="0"/>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91" name="Freeform 6019"/>
            <p:cNvSpPr>
              <a:spLocks/>
            </p:cNvSpPr>
            <p:nvPr>
              <p:custDataLst>
                <p:tags r:id="rId327"/>
              </p:custDataLst>
            </p:nvPr>
          </p:nvSpPr>
          <p:spPr bwMode="gray">
            <a:xfrm>
              <a:off x="9079883" y="4319588"/>
              <a:ext cx="134725" cy="173416"/>
            </a:xfrm>
            <a:custGeom>
              <a:avLst/>
              <a:gdLst/>
              <a:ahLst/>
              <a:cxnLst>
                <a:cxn ang="0">
                  <a:pos x="0" y="84"/>
                </a:cxn>
                <a:cxn ang="0">
                  <a:pos x="1" y="96"/>
                </a:cxn>
                <a:cxn ang="0">
                  <a:pos x="11" y="96"/>
                </a:cxn>
                <a:cxn ang="0">
                  <a:pos x="13" y="105"/>
                </a:cxn>
                <a:cxn ang="0">
                  <a:pos x="9" y="135"/>
                </a:cxn>
                <a:cxn ang="0">
                  <a:pos x="22" y="133"/>
                </a:cxn>
                <a:cxn ang="0">
                  <a:pos x="22" y="86"/>
                </a:cxn>
                <a:cxn ang="0">
                  <a:pos x="30" y="81"/>
                </a:cxn>
                <a:cxn ang="0">
                  <a:pos x="37" y="81"/>
                </a:cxn>
                <a:cxn ang="0">
                  <a:pos x="33" y="96"/>
                </a:cxn>
                <a:cxn ang="0">
                  <a:pos x="45" y="107"/>
                </a:cxn>
                <a:cxn ang="0">
                  <a:pos x="43" y="118"/>
                </a:cxn>
                <a:cxn ang="0">
                  <a:pos x="48" y="122"/>
                </a:cxn>
                <a:cxn ang="0">
                  <a:pos x="56" y="116"/>
                </a:cxn>
                <a:cxn ang="0">
                  <a:pos x="54" y="129"/>
                </a:cxn>
                <a:cxn ang="0">
                  <a:pos x="60" y="135"/>
                </a:cxn>
                <a:cxn ang="0">
                  <a:pos x="67" y="129"/>
                </a:cxn>
                <a:cxn ang="0">
                  <a:pos x="69" y="120"/>
                </a:cxn>
                <a:cxn ang="0">
                  <a:pos x="52" y="96"/>
                </a:cxn>
                <a:cxn ang="0">
                  <a:pos x="58" y="90"/>
                </a:cxn>
                <a:cxn ang="0">
                  <a:pos x="43" y="66"/>
                </a:cxn>
                <a:cxn ang="0">
                  <a:pos x="67" y="49"/>
                </a:cxn>
                <a:cxn ang="0">
                  <a:pos x="76" y="49"/>
                </a:cxn>
                <a:cxn ang="0">
                  <a:pos x="71" y="41"/>
                </a:cxn>
                <a:cxn ang="0">
                  <a:pos x="30" y="56"/>
                </a:cxn>
                <a:cxn ang="0">
                  <a:pos x="28" y="49"/>
                </a:cxn>
                <a:cxn ang="0">
                  <a:pos x="20" y="45"/>
                </a:cxn>
                <a:cxn ang="0">
                  <a:pos x="20" y="34"/>
                </a:cxn>
                <a:cxn ang="0">
                  <a:pos x="31" y="23"/>
                </a:cxn>
                <a:cxn ang="0">
                  <a:pos x="76" y="26"/>
                </a:cxn>
                <a:cxn ang="0">
                  <a:pos x="93" y="21"/>
                </a:cxn>
                <a:cxn ang="0">
                  <a:pos x="105" y="4"/>
                </a:cxn>
                <a:cxn ang="0">
                  <a:pos x="101" y="0"/>
                </a:cxn>
                <a:cxn ang="0">
                  <a:pos x="84" y="15"/>
                </a:cxn>
                <a:cxn ang="0">
                  <a:pos x="67" y="15"/>
                </a:cxn>
                <a:cxn ang="0">
                  <a:pos x="33" y="8"/>
                </a:cxn>
                <a:cxn ang="0">
                  <a:pos x="30" y="17"/>
                </a:cxn>
                <a:cxn ang="0">
                  <a:pos x="18" y="17"/>
                </a:cxn>
                <a:cxn ang="0">
                  <a:pos x="16" y="41"/>
                </a:cxn>
                <a:cxn ang="0">
                  <a:pos x="0" y="84"/>
                </a:cxn>
                <a:cxn ang="0">
                  <a:pos x="0" y="84"/>
                </a:cxn>
              </a:cxnLst>
              <a:rect l="0" t="0" r="r" b="b"/>
              <a:pathLst>
                <a:path w="105" h="135">
                  <a:moveTo>
                    <a:pt x="0" y="84"/>
                  </a:moveTo>
                  <a:lnTo>
                    <a:pt x="1" y="96"/>
                  </a:lnTo>
                  <a:lnTo>
                    <a:pt x="11" y="96"/>
                  </a:lnTo>
                  <a:lnTo>
                    <a:pt x="13" y="105"/>
                  </a:lnTo>
                  <a:lnTo>
                    <a:pt x="9" y="135"/>
                  </a:lnTo>
                  <a:lnTo>
                    <a:pt x="22" y="133"/>
                  </a:lnTo>
                  <a:lnTo>
                    <a:pt x="22" y="86"/>
                  </a:lnTo>
                  <a:lnTo>
                    <a:pt x="30" y="81"/>
                  </a:lnTo>
                  <a:lnTo>
                    <a:pt x="37" y="81"/>
                  </a:lnTo>
                  <a:lnTo>
                    <a:pt x="33" y="96"/>
                  </a:lnTo>
                  <a:lnTo>
                    <a:pt x="45" y="107"/>
                  </a:lnTo>
                  <a:lnTo>
                    <a:pt x="43" y="118"/>
                  </a:lnTo>
                  <a:lnTo>
                    <a:pt x="48" y="122"/>
                  </a:lnTo>
                  <a:lnTo>
                    <a:pt x="56" y="116"/>
                  </a:lnTo>
                  <a:lnTo>
                    <a:pt x="54" y="129"/>
                  </a:lnTo>
                  <a:lnTo>
                    <a:pt x="60" y="135"/>
                  </a:lnTo>
                  <a:lnTo>
                    <a:pt x="67" y="129"/>
                  </a:lnTo>
                  <a:lnTo>
                    <a:pt x="69" y="120"/>
                  </a:lnTo>
                  <a:lnTo>
                    <a:pt x="52" y="96"/>
                  </a:lnTo>
                  <a:lnTo>
                    <a:pt x="58" y="90"/>
                  </a:lnTo>
                  <a:lnTo>
                    <a:pt x="43" y="66"/>
                  </a:lnTo>
                  <a:lnTo>
                    <a:pt x="67" y="49"/>
                  </a:lnTo>
                  <a:lnTo>
                    <a:pt x="76" y="49"/>
                  </a:lnTo>
                  <a:lnTo>
                    <a:pt x="71" y="41"/>
                  </a:lnTo>
                  <a:lnTo>
                    <a:pt x="30" y="56"/>
                  </a:lnTo>
                  <a:lnTo>
                    <a:pt x="28" y="49"/>
                  </a:lnTo>
                  <a:lnTo>
                    <a:pt x="20" y="45"/>
                  </a:lnTo>
                  <a:lnTo>
                    <a:pt x="20" y="34"/>
                  </a:lnTo>
                  <a:lnTo>
                    <a:pt x="31" y="23"/>
                  </a:lnTo>
                  <a:lnTo>
                    <a:pt x="76" y="26"/>
                  </a:lnTo>
                  <a:lnTo>
                    <a:pt x="93" y="21"/>
                  </a:lnTo>
                  <a:lnTo>
                    <a:pt x="105" y="4"/>
                  </a:lnTo>
                  <a:lnTo>
                    <a:pt x="101" y="0"/>
                  </a:lnTo>
                  <a:lnTo>
                    <a:pt x="84" y="15"/>
                  </a:lnTo>
                  <a:lnTo>
                    <a:pt x="67" y="15"/>
                  </a:lnTo>
                  <a:lnTo>
                    <a:pt x="33" y="8"/>
                  </a:lnTo>
                  <a:lnTo>
                    <a:pt x="30" y="17"/>
                  </a:lnTo>
                  <a:lnTo>
                    <a:pt x="18" y="17"/>
                  </a:lnTo>
                  <a:lnTo>
                    <a:pt x="16" y="41"/>
                  </a:lnTo>
                  <a:lnTo>
                    <a:pt x="0" y="84"/>
                  </a:lnTo>
                  <a:lnTo>
                    <a:pt x="0" y="8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92" name="Freeform 6020"/>
            <p:cNvSpPr>
              <a:spLocks/>
            </p:cNvSpPr>
            <p:nvPr>
              <p:custDataLst>
                <p:tags r:id="rId328"/>
              </p:custDataLst>
            </p:nvPr>
          </p:nvSpPr>
          <p:spPr bwMode="gray">
            <a:xfrm>
              <a:off x="9256950" y="4308027"/>
              <a:ext cx="29511" cy="74504"/>
            </a:xfrm>
            <a:custGeom>
              <a:avLst/>
              <a:gdLst/>
              <a:ahLst/>
              <a:cxnLst>
                <a:cxn ang="0">
                  <a:pos x="0" y="20"/>
                </a:cxn>
                <a:cxn ang="0">
                  <a:pos x="4" y="43"/>
                </a:cxn>
                <a:cxn ang="0">
                  <a:pos x="19" y="58"/>
                </a:cxn>
                <a:cxn ang="0">
                  <a:pos x="10" y="41"/>
                </a:cxn>
                <a:cxn ang="0">
                  <a:pos x="11" y="32"/>
                </a:cxn>
                <a:cxn ang="0">
                  <a:pos x="19" y="32"/>
                </a:cxn>
                <a:cxn ang="0">
                  <a:pos x="15" y="24"/>
                </a:cxn>
                <a:cxn ang="0">
                  <a:pos x="23" y="20"/>
                </a:cxn>
                <a:cxn ang="0">
                  <a:pos x="23" y="11"/>
                </a:cxn>
                <a:cxn ang="0">
                  <a:pos x="11" y="17"/>
                </a:cxn>
                <a:cxn ang="0">
                  <a:pos x="10" y="0"/>
                </a:cxn>
                <a:cxn ang="0">
                  <a:pos x="4" y="5"/>
                </a:cxn>
                <a:cxn ang="0">
                  <a:pos x="0" y="20"/>
                </a:cxn>
                <a:cxn ang="0">
                  <a:pos x="0" y="20"/>
                </a:cxn>
              </a:cxnLst>
              <a:rect l="0" t="0" r="r" b="b"/>
              <a:pathLst>
                <a:path w="23" h="58">
                  <a:moveTo>
                    <a:pt x="0" y="20"/>
                  </a:moveTo>
                  <a:lnTo>
                    <a:pt x="4" y="43"/>
                  </a:lnTo>
                  <a:lnTo>
                    <a:pt x="19" y="58"/>
                  </a:lnTo>
                  <a:lnTo>
                    <a:pt x="10" y="41"/>
                  </a:lnTo>
                  <a:lnTo>
                    <a:pt x="11" y="32"/>
                  </a:lnTo>
                  <a:lnTo>
                    <a:pt x="19" y="32"/>
                  </a:lnTo>
                  <a:lnTo>
                    <a:pt x="15" y="24"/>
                  </a:lnTo>
                  <a:lnTo>
                    <a:pt x="23" y="20"/>
                  </a:lnTo>
                  <a:lnTo>
                    <a:pt x="23" y="11"/>
                  </a:lnTo>
                  <a:lnTo>
                    <a:pt x="11" y="17"/>
                  </a:lnTo>
                  <a:lnTo>
                    <a:pt x="10" y="0"/>
                  </a:lnTo>
                  <a:lnTo>
                    <a:pt x="4" y="5"/>
                  </a:lnTo>
                  <a:lnTo>
                    <a:pt x="0" y="20"/>
                  </a:lnTo>
                  <a:lnTo>
                    <a:pt x="0" y="2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93" name="Freeform 6021"/>
            <p:cNvSpPr>
              <a:spLocks/>
            </p:cNvSpPr>
            <p:nvPr>
              <p:custDataLst>
                <p:tags r:id="rId329"/>
              </p:custDataLst>
            </p:nvPr>
          </p:nvSpPr>
          <p:spPr bwMode="gray">
            <a:xfrm>
              <a:off x="9228722" y="4435199"/>
              <a:ext cx="23096" cy="16699"/>
            </a:xfrm>
            <a:custGeom>
              <a:avLst/>
              <a:gdLst/>
              <a:ahLst/>
              <a:cxnLst>
                <a:cxn ang="0">
                  <a:pos x="0" y="2"/>
                </a:cxn>
                <a:cxn ang="0">
                  <a:pos x="13" y="13"/>
                </a:cxn>
                <a:cxn ang="0">
                  <a:pos x="18" y="8"/>
                </a:cxn>
                <a:cxn ang="0">
                  <a:pos x="17" y="0"/>
                </a:cxn>
                <a:cxn ang="0">
                  <a:pos x="0" y="2"/>
                </a:cxn>
                <a:cxn ang="0">
                  <a:pos x="0" y="2"/>
                </a:cxn>
              </a:cxnLst>
              <a:rect l="0" t="0" r="r" b="b"/>
              <a:pathLst>
                <a:path w="18" h="13">
                  <a:moveTo>
                    <a:pt x="0" y="2"/>
                  </a:moveTo>
                  <a:lnTo>
                    <a:pt x="13" y="13"/>
                  </a:lnTo>
                  <a:lnTo>
                    <a:pt x="18" y="8"/>
                  </a:lnTo>
                  <a:lnTo>
                    <a:pt x="17"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94" name="Freeform 6022"/>
            <p:cNvSpPr>
              <a:spLocks/>
            </p:cNvSpPr>
            <p:nvPr>
              <p:custDataLst>
                <p:tags r:id="rId330"/>
              </p:custDataLst>
            </p:nvPr>
          </p:nvSpPr>
          <p:spPr bwMode="gray">
            <a:xfrm>
              <a:off x="9269781" y="4426207"/>
              <a:ext cx="57739" cy="25691"/>
            </a:xfrm>
            <a:custGeom>
              <a:avLst/>
              <a:gdLst/>
              <a:ahLst/>
              <a:cxnLst>
                <a:cxn ang="0">
                  <a:pos x="0" y="7"/>
                </a:cxn>
                <a:cxn ang="0">
                  <a:pos x="45" y="20"/>
                </a:cxn>
                <a:cxn ang="0">
                  <a:pos x="39" y="3"/>
                </a:cxn>
                <a:cxn ang="0">
                  <a:pos x="24" y="0"/>
                </a:cxn>
                <a:cxn ang="0">
                  <a:pos x="5" y="1"/>
                </a:cxn>
                <a:cxn ang="0">
                  <a:pos x="0" y="7"/>
                </a:cxn>
                <a:cxn ang="0">
                  <a:pos x="0" y="7"/>
                </a:cxn>
              </a:cxnLst>
              <a:rect l="0" t="0" r="r" b="b"/>
              <a:pathLst>
                <a:path w="45" h="20">
                  <a:moveTo>
                    <a:pt x="0" y="7"/>
                  </a:moveTo>
                  <a:lnTo>
                    <a:pt x="45" y="20"/>
                  </a:lnTo>
                  <a:lnTo>
                    <a:pt x="39" y="3"/>
                  </a:lnTo>
                  <a:lnTo>
                    <a:pt x="24" y="0"/>
                  </a:lnTo>
                  <a:lnTo>
                    <a:pt x="5" y="1"/>
                  </a:lnTo>
                  <a:lnTo>
                    <a:pt x="0" y="7"/>
                  </a:lnTo>
                  <a:lnTo>
                    <a:pt x="0" y="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95" name="Freeform 6023"/>
            <p:cNvSpPr>
              <a:spLocks/>
            </p:cNvSpPr>
            <p:nvPr>
              <p:custDataLst>
                <p:tags r:id="rId331"/>
              </p:custDataLst>
            </p:nvPr>
          </p:nvSpPr>
          <p:spPr bwMode="gray">
            <a:xfrm>
              <a:off x="9196645" y="4401800"/>
              <a:ext cx="17963" cy="0"/>
            </a:xfrm>
            <a:custGeom>
              <a:avLst/>
              <a:gdLst/>
              <a:ahLst/>
              <a:cxnLst>
                <a:cxn ang="0">
                  <a:pos x="0" y="0"/>
                </a:cxn>
                <a:cxn ang="0">
                  <a:pos x="14" y="0"/>
                </a:cxn>
                <a:cxn ang="0">
                  <a:pos x="0" y="0"/>
                </a:cxn>
              </a:cxnLst>
              <a:rect l="0" t="0" r="r" b="b"/>
              <a:pathLst>
                <a:path w="14">
                  <a:moveTo>
                    <a:pt x="0" y="0"/>
                  </a:moveTo>
                  <a:lnTo>
                    <a:pt x="14"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96" name="Line 6024"/>
            <p:cNvSpPr>
              <a:spLocks noChangeShapeType="1"/>
            </p:cNvSpPr>
            <p:nvPr>
              <p:custDataLst>
                <p:tags r:id="rId332"/>
              </p:custDataLst>
            </p:nvPr>
          </p:nvSpPr>
          <p:spPr bwMode="gray">
            <a:xfrm>
              <a:off x="9196645" y="4401800"/>
              <a:ext cx="17963" cy="0"/>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97" name="Freeform 6025"/>
            <p:cNvSpPr>
              <a:spLocks/>
            </p:cNvSpPr>
            <p:nvPr>
              <p:custDataLst>
                <p:tags r:id="rId333"/>
              </p:custDataLst>
            </p:nvPr>
          </p:nvSpPr>
          <p:spPr bwMode="gray">
            <a:xfrm>
              <a:off x="9256950" y="4391524"/>
              <a:ext cx="16680" cy="7707"/>
            </a:xfrm>
            <a:custGeom>
              <a:avLst/>
              <a:gdLst/>
              <a:ahLst/>
              <a:cxnLst>
                <a:cxn ang="0">
                  <a:pos x="0" y="6"/>
                </a:cxn>
                <a:cxn ang="0">
                  <a:pos x="13" y="6"/>
                </a:cxn>
                <a:cxn ang="0">
                  <a:pos x="4" y="0"/>
                </a:cxn>
                <a:cxn ang="0">
                  <a:pos x="0" y="6"/>
                </a:cxn>
                <a:cxn ang="0">
                  <a:pos x="0" y="6"/>
                </a:cxn>
              </a:cxnLst>
              <a:rect l="0" t="0" r="r" b="b"/>
              <a:pathLst>
                <a:path w="13" h="6">
                  <a:moveTo>
                    <a:pt x="0" y="6"/>
                  </a:moveTo>
                  <a:lnTo>
                    <a:pt x="13" y="6"/>
                  </a:lnTo>
                  <a:lnTo>
                    <a:pt x="4"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98" name="Freeform 6026"/>
            <p:cNvSpPr>
              <a:spLocks/>
            </p:cNvSpPr>
            <p:nvPr>
              <p:custDataLst>
                <p:tags r:id="rId334"/>
              </p:custDataLst>
            </p:nvPr>
          </p:nvSpPr>
          <p:spPr bwMode="gray">
            <a:xfrm>
              <a:off x="9317255" y="440436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299" name="Freeform 6027"/>
            <p:cNvSpPr>
              <a:spLocks/>
            </p:cNvSpPr>
            <p:nvPr>
              <p:custDataLst>
                <p:tags r:id="rId335"/>
              </p:custDataLst>
            </p:nvPr>
          </p:nvSpPr>
          <p:spPr bwMode="gray">
            <a:xfrm>
              <a:off x="9319822" y="4360694"/>
              <a:ext cx="19246" cy="8992"/>
            </a:xfrm>
            <a:custGeom>
              <a:avLst/>
              <a:gdLst/>
              <a:ahLst/>
              <a:cxnLst>
                <a:cxn ang="0">
                  <a:pos x="0" y="2"/>
                </a:cxn>
                <a:cxn ang="0">
                  <a:pos x="7" y="7"/>
                </a:cxn>
                <a:cxn ang="0">
                  <a:pos x="15" y="4"/>
                </a:cxn>
                <a:cxn ang="0">
                  <a:pos x="7" y="0"/>
                </a:cxn>
                <a:cxn ang="0">
                  <a:pos x="0" y="2"/>
                </a:cxn>
                <a:cxn ang="0">
                  <a:pos x="0" y="2"/>
                </a:cxn>
              </a:cxnLst>
              <a:rect l="0" t="0" r="r" b="b"/>
              <a:pathLst>
                <a:path w="15" h="7">
                  <a:moveTo>
                    <a:pt x="0" y="2"/>
                  </a:moveTo>
                  <a:lnTo>
                    <a:pt x="7" y="7"/>
                  </a:lnTo>
                  <a:lnTo>
                    <a:pt x="15" y="4"/>
                  </a:lnTo>
                  <a:lnTo>
                    <a:pt x="7"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00" name="Freeform 6028"/>
            <p:cNvSpPr>
              <a:spLocks/>
            </p:cNvSpPr>
            <p:nvPr>
              <p:custDataLst>
                <p:tags r:id="rId336"/>
              </p:custDataLst>
            </p:nvPr>
          </p:nvSpPr>
          <p:spPr bwMode="gray">
            <a:xfrm>
              <a:off x="9425035" y="4377393"/>
              <a:ext cx="19246" cy="10276"/>
            </a:xfrm>
            <a:custGeom>
              <a:avLst/>
              <a:gdLst/>
              <a:ahLst/>
              <a:cxnLst>
                <a:cxn ang="0">
                  <a:pos x="0" y="0"/>
                </a:cxn>
                <a:cxn ang="0">
                  <a:pos x="8" y="8"/>
                </a:cxn>
                <a:cxn ang="0">
                  <a:pos x="15" y="8"/>
                </a:cxn>
                <a:cxn ang="0">
                  <a:pos x="10" y="0"/>
                </a:cxn>
                <a:cxn ang="0">
                  <a:pos x="0" y="0"/>
                </a:cxn>
                <a:cxn ang="0">
                  <a:pos x="0" y="0"/>
                </a:cxn>
              </a:cxnLst>
              <a:rect l="0" t="0" r="r" b="b"/>
              <a:pathLst>
                <a:path w="15" h="8">
                  <a:moveTo>
                    <a:pt x="0" y="0"/>
                  </a:moveTo>
                  <a:lnTo>
                    <a:pt x="8" y="8"/>
                  </a:lnTo>
                  <a:lnTo>
                    <a:pt x="15" y="8"/>
                  </a:lnTo>
                  <a:lnTo>
                    <a:pt x="10" y="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01" name="Freeform 6029"/>
            <p:cNvSpPr>
              <a:spLocks/>
            </p:cNvSpPr>
            <p:nvPr>
              <p:custDataLst>
                <p:tags r:id="rId337"/>
              </p:custDataLst>
            </p:nvPr>
          </p:nvSpPr>
          <p:spPr bwMode="gray">
            <a:xfrm>
              <a:off x="9074751" y="3922659"/>
              <a:ext cx="98798" cy="132310"/>
            </a:xfrm>
            <a:custGeom>
              <a:avLst/>
              <a:gdLst/>
              <a:ahLst/>
              <a:cxnLst>
                <a:cxn ang="0">
                  <a:pos x="0" y="41"/>
                </a:cxn>
                <a:cxn ang="0">
                  <a:pos x="7" y="69"/>
                </a:cxn>
                <a:cxn ang="0">
                  <a:pos x="22" y="73"/>
                </a:cxn>
                <a:cxn ang="0">
                  <a:pos x="19" y="88"/>
                </a:cxn>
                <a:cxn ang="0">
                  <a:pos x="28" y="90"/>
                </a:cxn>
                <a:cxn ang="0">
                  <a:pos x="37" y="84"/>
                </a:cxn>
                <a:cxn ang="0">
                  <a:pos x="52" y="99"/>
                </a:cxn>
                <a:cxn ang="0">
                  <a:pos x="50" y="84"/>
                </a:cxn>
                <a:cxn ang="0">
                  <a:pos x="65" y="101"/>
                </a:cxn>
                <a:cxn ang="0">
                  <a:pos x="77" y="103"/>
                </a:cxn>
                <a:cxn ang="0">
                  <a:pos x="67" y="88"/>
                </a:cxn>
                <a:cxn ang="0">
                  <a:pos x="71" y="88"/>
                </a:cxn>
                <a:cxn ang="0">
                  <a:pos x="54" y="79"/>
                </a:cxn>
                <a:cxn ang="0">
                  <a:pos x="45" y="84"/>
                </a:cxn>
                <a:cxn ang="0">
                  <a:pos x="37" y="81"/>
                </a:cxn>
                <a:cxn ang="0">
                  <a:pos x="28" y="58"/>
                </a:cxn>
                <a:cxn ang="0">
                  <a:pos x="41" y="26"/>
                </a:cxn>
                <a:cxn ang="0">
                  <a:pos x="35" y="19"/>
                </a:cxn>
                <a:cxn ang="0">
                  <a:pos x="34" y="0"/>
                </a:cxn>
                <a:cxn ang="0">
                  <a:pos x="28" y="4"/>
                </a:cxn>
                <a:cxn ang="0">
                  <a:pos x="7" y="0"/>
                </a:cxn>
                <a:cxn ang="0">
                  <a:pos x="7" y="45"/>
                </a:cxn>
                <a:cxn ang="0">
                  <a:pos x="0" y="41"/>
                </a:cxn>
                <a:cxn ang="0">
                  <a:pos x="0" y="41"/>
                </a:cxn>
              </a:cxnLst>
              <a:rect l="0" t="0" r="r" b="b"/>
              <a:pathLst>
                <a:path w="77" h="103">
                  <a:moveTo>
                    <a:pt x="0" y="41"/>
                  </a:moveTo>
                  <a:lnTo>
                    <a:pt x="7" y="69"/>
                  </a:lnTo>
                  <a:lnTo>
                    <a:pt x="22" y="73"/>
                  </a:lnTo>
                  <a:lnTo>
                    <a:pt x="19" y="88"/>
                  </a:lnTo>
                  <a:lnTo>
                    <a:pt x="28" y="90"/>
                  </a:lnTo>
                  <a:lnTo>
                    <a:pt x="37" y="84"/>
                  </a:lnTo>
                  <a:lnTo>
                    <a:pt x="52" y="99"/>
                  </a:lnTo>
                  <a:lnTo>
                    <a:pt x="50" y="84"/>
                  </a:lnTo>
                  <a:lnTo>
                    <a:pt x="65" y="101"/>
                  </a:lnTo>
                  <a:lnTo>
                    <a:pt x="77" y="103"/>
                  </a:lnTo>
                  <a:lnTo>
                    <a:pt x="67" y="88"/>
                  </a:lnTo>
                  <a:lnTo>
                    <a:pt x="71" y="88"/>
                  </a:lnTo>
                  <a:lnTo>
                    <a:pt x="54" y="79"/>
                  </a:lnTo>
                  <a:lnTo>
                    <a:pt x="45" y="84"/>
                  </a:lnTo>
                  <a:lnTo>
                    <a:pt x="37" y="81"/>
                  </a:lnTo>
                  <a:lnTo>
                    <a:pt x="28" y="58"/>
                  </a:lnTo>
                  <a:lnTo>
                    <a:pt x="41" y="26"/>
                  </a:lnTo>
                  <a:lnTo>
                    <a:pt x="35" y="19"/>
                  </a:lnTo>
                  <a:lnTo>
                    <a:pt x="34" y="0"/>
                  </a:lnTo>
                  <a:lnTo>
                    <a:pt x="28" y="4"/>
                  </a:lnTo>
                  <a:lnTo>
                    <a:pt x="7" y="0"/>
                  </a:lnTo>
                  <a:lnTo>
                    <a:pt x="7" y="45"/>
                  </a:lnTo>
                  <a:lnTo>
                    <a:pt x="0" y="41"/>
                  </a:lnTo>
                  <a:lnTo>
                    <a:pt x="0" y="4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02" name="Freeform 6030"/>
            <p:cNvSpPr>
              <a:spLocks/>
            </p:cNvSpPr>
            <p:nvPr>
              <p:custDataLst>
                <p:tags r:id="rId338"/>
              </p:custDataLst>
            </p:nvPr>
          </p:nvSpPr>
          <p:spPr bwMode="gray">
            <a:xfrm>
              <a:off x="9038824" y="4093506"/>
              <a:ext cx="47474" cy="66797"/>
            </a:xfrm>
            <a:custGeom>
              <a:avLst/>
              <a:gdLst/>
              <a:ahLst/>
              <a:cxnLst>
                <a:cxn ang="0">
                  <a:pos x="0" y="52"/>
                </a:cxn>
                <a:cxn ang="0">
                  <a:pos x="37" y="13"/>
                </a:cxn>
                <a:cxn ang="0">
                  <a:pos x="33" y="0"/>
                </a:cxn>
                <a:cxn ang="0">
                  <a:pos x="28" y="13"/>
                </a:cxn>
                <a:cxn ang="0">
                  <a:pos x="0" y="52"/>
                </a:cxn>
                <a:cxn ang="0">
                  <a:pos x="0" y="52"/>
                </a:cxn>
              </a:cxnLst>
              <a:rect l="0" t="0" r="r" b="b"/>
              <a:pathLst>
                <a:path w="37" h="52">
                  <a:moveTo>
                    <a:pt x="0" y="52"/>
                  </a:moveTo>
                  <a:lnTo>
                    <a:pt x="37" y="13"/>
                  </a:lnTo>
                  <a:lnTo>
                    <a:pt x="33" y="0"/>
                  </a:lnTo>
                  <a:lnTo>
                    <a:pt x="28" y="13"/>
                  </a:lnTo>
                  <a:lnTo>
                    <a:pt x="0" y="52"/>
                  </a:lnTo>
                  <a:lnTo>
                    <a:pt x="0" y="5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03" name="Freeform 6031"/>
            <p:cNvSpPr>
              <a:spLocks/>
            </p:cNvSpPr>
            <p:nvPr>
              <p:custDataLst>
                <p:tags r:id="rId339"/>
              </p:custDataLst>
            </p:nvPr>
          </p:nvSpPr>
          <p:spPr bwMode="gray">
            <a:xfrm>
              <a:off x="9096564" y="4043408"/>
              <a:ext cx="25662" cy="28260"/>
            </a:xfrm>
            <a:custGeom>
              <a:avLst/>
              <a:gdLst/>
              <a:ahLst/>
              <a:cxnLst>
                <a:cxn ang="0">
                  <a:pos x="0" y="0"/>
                </a:cxn>
                <a:cxn ang="0">
                  <a:pos x="13" y="22"/>
                </a:cxn>
                <a:cxn ang="0">
                  <a:pos x="20" y="15"/>
                </a:cxn>
                <a:cxn ang="0">
                  <a:pos x="18" y="7"/>
                </a:cxn>
                <a:cxn ang="0">
                  <a:pos x="13" y="2"/>
                </a:cxn>
                <a:cxn ang="0">
                  <a:pos x="0" y="0"/>
                </a:cxn>
                <a:cxn ang="0">
                  <a:pos x="0" y="0"/>
                </a:cxn>
              </a:cxnLst>
              <a:rect l="0" t="0" r="r" b="b"/>
              <a:pathLst>
                <a:path w="20" h="22">
                  <a:moveTo>
                    <a:pt x="0" y="0"/>
                  </a:moveTo>
                  <a:lnTo>
                    <a:pt x="13" y="22"/>
                  </a:lnTo>
                  <a:lnTo>
                    <a:pt x="20" y="15"/>
                  </a:lnTo>
                  <a:lnTo>
                    <a:pt x="18" y="7"/>
                  </a:lnTo>
                  <a:lnTo>
                    <a:pt x="13" y="2"/>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04" name="Freeform 6032"/>
            <p:cNvSpPr>
              <a:spLocks/>
            </p:cNvSpPr>
            <p:nvPr>
              <p:custDataLst>
                <p:tags r:id="rId340"/>
              </p:custDataLst>
            </p:nvPr>
          </p:nvSpPr>
          <p:spPr bwMode="gray">
            <a:xfrm>
              <a:off x="9177398" y="4062676"/>
              <a:ext cx="32077" cy="57805"/>
            </a:xfrm>
            <a:custGeom>
              <a:avLst/>
              <a:gdLst/>
              <a:ahLst/>
              <a:cxnLst>
                <a:cxn ang="0">
                  <a:pos x="0" y="0"/>
                </a:cxn>
                <a:cxn ang="0">
                  <a:pos x="14" y="15"/>
                </a:cxn>
                <a:cxn ang="0">
                  <a:pos x="12" y="22"/>
                </a:cxn>
                <a:cxn ang="0">
                  <a:pos x="4" y="20"/>
                </a:cxn>
                <a:cxn ang="0">
                  <a:pos x="6" y="31"/>
                </a:cxn>
                <a:cxn ang="0">
                  <a:pos x="12" y="33"/>
                </a:cxn>
                <a:cxn ang="0">
                  <a:pos x="12" y="45"/>
                </a:cxn>
                <a:cxn ang="0">
                  <a:pos x="19" y="43"/>
                </a:cxn>
                <a:cxn ang="0">
                  <a:pos x="14" y="28"/>
                </a:cxn>
                <a:cxn ang="0">
                  <a:pos x="25" y="28"/>
                </a:cxn>
                <a:cxn ang="0">
                  <a:pos x="21" y="9"/>
                </a:cxn>
                <a:cxn ang="0">
                  <a:pos x="15" y="0"/>
                </a:cxn>
                <a:cxn ang="0">
                  <a:pos x="0" y="0"/>
                </a:cxn>
                <a:cxn ang="0">
                  <a:pos x="0" y="0"/>
                </a:cxn>
              </a:cxnLst>
              <a:rect l="0" t="0" r="r" b="b"/>
              <a:pathLst>
                <a:path w="25" h="45">
                  <a:moveTo>
                    <a:pt x="0" y="0"/>
                  </a:moveTo>
                  <a:lnTo>
                    <a:pt x="14" y="15"/>
                  </a:lnTo>
                  <a:lnTo>
                    <a:pt x="12" y="22"/>
                  </a:lnTo>
                  <a:lnTo>
                    <a:pt x="4" y="20"/>
                  </a:lnTo>
                  <a:lnTo>
                    <a:pt x="6" y="31"/>
                  </a:lnTo>
                  <a:lnTo>
                    <a:pt x="12" y="33"/>
                  </a:lnTo>
                  <a:lnTo>
                    <a:pt x="12" y="45"/>
                  </a:lnTo>
                  <a:lnTo>
                    <a:pt x="19" y="43"/>
                  </a:lnTo>
                  <a:lnTo>
                    <a:pt x="14" y="28"/>
                  </a:lnTo>
                  <a:lnTo>
                    <a:pt x="25" y="28"/>
                  </a:lnTo>
                  <a:lnTo>
                    <a:pt x="21" y="9"/>
                  </a:lnTo>
                  <a:lnTo>
                    <a:pt x="15" y="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05" name="Freeform 6033"/>
            <p:cNvSpPr>
              <a:spLocks/>
            </p:cNvSpPr>
            <p:nvPr>
              <p:custDataLst>
                <p:tags r:id="rId341"/>
              </p:custDataLst>
            </p:nvPr>
          </p:nvSpPr>
          <p:spPr bwMode="gray">
            <a:xfrm>
              <a:off x="9129924" y="4079376"/>
              <a:ext cx="60305" cy="66797"/>
            </a:xfrm>
            <a:custGeom>
              <a:avLst/>
              <a:gdLst/>
              <a:ahLst/>
              <a:cxnLst>
                <a:cxn ang="0">
                  <a:pos x="2" y="24"/>
                </a:cxn>
                <a:cxn ang="0">
                  <a:pos x="17" y="26"/>
                </a:cxn>
                <a:cxn ang="0">
                  <a:pos x="19" y="33"/>
                </a:cxn>
                <a:cxn ang="0">
                  <a:pos x="11" y="39"/>
                </a:cxn>
                <a:cxn ang="0">
                  <a:pos x="22" y="52"/>
                </a:cxn>
                <a:cxn ang="0">
                  <a:pos x="28" y="48"/>
                </a:cxn>
                <a:cxn ang="0">
                  <a:pos x="24" y="39"/>
                </a:cxn>
                <a:cxn ang="0">
                  <a:pos x="30" y="43"/>
                </a:cxn>
                <a:cxn ang="0">
                  <a:pos x="34" y="35"/>
                </a:cxn>
                <a:cxn ang="0">
                  <a:pos x="37" y="43"/>
                </a:cxn>
                <a:cxn ang="0">
                  <a:pos x="47" y="41"/>
                </a:cxn>
                <a:cxn ang="0">
                  <a:pos x="45" y="32"/>
                </a:cxn>
                <a:cxn ang="0">
                  <a:pos x="36" y="32"/>
                </a:cxn>
                <a:cxn ang="0">
                  <a:pos x="36" y="15"/>
                </a:cxn>
                <a:cxn ang="0">
                  <a:pos x="26" y="26"/>
                </a:cxn>
                <a:cxn ang="0">
                  <a:pos x="21" y="5"/>
                </a:cxn>
                <a:cxn ang="0">
                  <a:pos x="11" y="5"/>
                </a:cxn>
                <a:cxn ang="0">
                  <a:pos x="9" y="2"/>
                </a:cxn>
                <a:cxn ang="0">
                  <a:pos x="0" y="0"/>
                </a:cxn>
                <a:cxn ang="0">
                  <a:pos x="2" y="24"/>
                </a:cxn>
                <a:cxn ang="0">
                  <a:pos x="2" y="24"/>
                </a:cxn>
              </a:cxnLst>
              <a:rect l="0" t="0" r="r" b="b"/>
              <a:pathLst>
                <a:path w="47" h="52">
                  <a:moveTo>
                    <a:pt x="2" y="24"/>
                  </a:moveTo>
                  <a:lnTo>
                    <a:pt x="17" y="26"/>
                  </a:lnTo>
                  <a:lnTo>
                    <a:pt x="19" y="33"/>
                  </a:lnTo>
                  <a:lnTo>
                    <a:pt x="11" y="39"/>
                  </a:lnTo>
                  <a:lnTo>
                    <a:pt x="22" y="52"/>
                  </a:lnTo>
                  <a:lnTo>
                    <a:pt x="28" y="48"/>
                  </a:lnTo>
                  <a:lnTo>
                    <a:pt x="24" y="39"/>
                  </a:lnTo>
                  <a:lnTo>
                    <a:pt x="30" y="43"/>
                  </a:lnTo>
                  <a:lnTo>
                    <a:pt x="34" y="35"/>
                  </a:lnTo>
                  <a:lnTo>
                    <a:pt x="37" y="43"/>
                  </a:lnTo>
                  <a:lnTo>
                    <a:pt x="47" y="41"/>
                  </a:lnTo>
                  <a:lnTo>
                    <a:pt x="45" y="32"/>
                  </a:lnTo>
                  <a:lnTo>
                    <a:pt x="36" y="32"/>
                  </a:lnTo>
                  <a:lnTo>
                    <a:pt x="36" y="15"/>
                  </a:lnTo>
                  <a:lnTo>
                    <a:pt x="26" y="26"/>
                  </a:lnTo>
                  <a:lnTo>
                    <a:pt x="21" y="5"/>
                  </a:lnTo>
                  <a:lnTo>
                    <a:pt x="11" y="5"/>
                  </a:lnTo>
                  <a:lnTo>
                    <a:pt x="9" y="2"/>
                  </a:lnTo>
                  <a:lnTo>
                    <a:pt x="0" y="0"/>
                  </a:lnTo>
                  <a:lnTo>
                    <a:pt x="2" y="24"/>
                  </a:lnTo>
                  <a:lnTo>
                    <a:pt x="2" y="2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06" name="Freeform 6034"/>
            <p:cNvSpPr>
              <a:spLocks/>
            </p:cNvSpPr>
            <p:nvPr>
              <p:custDataLst>
                <p:tags r:id="rId342"/>
              </p:custDataLst>
            </p:nvPr>
          </p:nvSpPr>
          <p:spPr bwMode="gray">
            <a:xfrm>
              <a:off x="9138906" y="4129473"/>
              <a:ext cx="96232" cy="98911"/>
            </a:xfrm>
            <a:custGeom>
              <a:avLst/>
              <a:gdLst/>
              <a:ahLst/>
              <a:cxnLst>
                <a:cxn ang="0">
                  <a:pos x="0" y="47"/>
                </a:cxn>
                <a:cxn ang="0">
                  <a:pos x="2" y="54"/>
                </a:cxn>
                <a:cxn ang="0">
                  <a:pos x="10" y="38"/>
                </a:cxn>
                <a:cxn ang="0">
                  <a:pos x="14" y="36"/>
                </a:cxn>
                <a:cxn ang="0">
                  <a:pos x="15" y="43"/>
                </a:cxn>
                <a:cxn ang="0">
                  <a:pos x="27" y="36"/>
                </a:cxn>
                <a:cxn ang="0">
                  <a:pos x="34" y="39"/>
                </a:cxn>
                <a:cxn ang="0">
                  <a:pos x="38" y="43"/>
                </a:cxn>
                <a:cxn ang="0">
                  <a:pos x="34" y="60"/>
                </a:cxn>
                <a:cxn ang="0">
                  <a:pos x="59" y="77"/>
                </a:cxn>
                <a:cxn ang="0">
                  <a:pos x="64" y="68"/>
                </a:cxn>
                <a:cxn ang="0">
                  <a:pos x="55" y="54"/>
                </a:cxn>
                <a:cxn ang="0">
                  <a:pos x="59" y="51"/>
                </a:cxn>
                <a:cxn ang="0">
                  <a:pos x="62" y="43"/>
                </a:cxn>
                <a:cxn ang="0">
                  <a:pos x="70" y="62"/>
                </a:cxn>
                <a:cxn ang="0">
                  <a:pos x="75" y="45"/>
                </a:cxn>
                <a:cxn ang="0">
                  <a:pos x="70" y="17"/>
                </a:cxn>
                <a:cxn ang="0">
                  <a:pos x="53" y="0"/>
                </a:cxn>
                <a:cxn ang="0">
                  <a:pos x="55" y="11"/>
                </a:cxn>
                <a:cxn ang="0">
                  <a:pos x="51" y="17"/>
                </a:cxn>
                <a:cxn ang="0">
                  <a:pos x="45" y="13"/>
                </a:cxn>
                <a:cxn ang="0">
                  <a:pos x="44" y="23"/>
                </a:cxn>
                <a:cxn ang="0">
                  <a:pos x="30" y="30"/>
                </a:cxn>
                <a:cxn ang="0">
                  <a:pos x="29" y="23"/>
                </a:cxn>
                <a:cxn ang="0">
                  <a:pos x="17" y="23"/>
                </a:cxn>
                <a:cxn ang="0">
                  <a:pos x="2" y="36"/>
                </a:cxn>
                <a:cxn ang="0">
                  <a:pos x="0" y="47"/>
                </a:cxn>
                <a:cxn ang="0">
                  <a:pos x="0" y="47"/>
                </a:cxn>
              </a:cxnLst>
              <a:rect l="0" t="0" r="r" b="b"/>
              <a:pathLst>
                <a:path w="75" h="77">
                  <a:moveTo>
                    <a:pt x="0" y="47"/>
                  </a:moveTo>
                  <a:lnTo>
                    <a:pt x="2" y="54"/>
                  </a:lnTo>
                  <a:lnTo>
                    <a:pt x="10" y="38"/>
                  </a:lnTo>
                  <a:lnTo>
                    <a:pt x="14" y="36"/>
                  </a:lnTo>
                  <a:lnTo>
                    <a:pt x="15" y="43"/>
                  </a:lnTo>
                  <a:lnTo>
                    <a:pt x="27" y="36"/>
                  </a:lnTo>
                  <a:lnTo>
                    <a:pt x="34" y="39"/>
                  </a:lnTo>
                  <a:lnTo>
                    <a:pt x="38" y="43"/>
                  </a:lnTo>
                  <a:lnTo>
                    <a:pt x="34" y="60"/>
                  </a:lnTo>
                  <a:lnTo>
                    <a:pt x="59" y="77"/>
                  </a:lnTo>
                  <a:lnTo>
                    <a:pt x="64" y="68"/>
                  </a:lnTo>
                  <a:lnTo>
                    <a:pt x="55" y="54"/>
                  </a:lnTo>
                  <a:lnTo>
                    <a:pt x="59" y="51"/>
                  </a:lnTo>
                  <a:lnTo>
                    <a:pt x="62" y="43"/>
                  </a:lnTo>
                  <a:lnTo>
                    <a:pt x="70" y="62"/>
                  </a:lnTo>
                  <a:lnTo>
                    <a:pt x="75" y="45"/>
                  </a:lnTo>
                  <a:lnTo>
                    <a:pt x="70" y="17"/>
                  </a:lnTo>
                  <a:lnTo>
                    <a:pt x="53" y="0"/>
                  </a:lnTo>
                  <a:lnTo>
                    <a:pt x="55" y="11"/>
                  </a:lnTo>
                  <a:lnTo>
                    <a:pt x="51" y="17"/>
                  </a:lnTo>
                  <a:lnTo>
                    <a:pt x="45" y="13"/>
                  </a:lnTo>
                  <a:lnTo>
                    <a:pt x="44" y="23"/>
                  </a:lnTo>
                  <a:lnTo>
                    <a:pt x="30" y="30"/>
                  </a:lnTo>
                  <a:lnTo>
                    <a:pt x="29" y="23"/>
                  </a:lnTo>
                  <a:lnTo>
                    <a:pt x="17" y="23"/>
                  </a:lnTo>
                  <a:lnTo>
                    <a:pt x="2" y="36"/>
                  </a:lnTo>
                  <a:lnTo>
                    <a:pt x="0" y="47"/>
                  </a:lnTo>
                  <a:lnTo>
                    <a:pt x="0" y="4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07" name="Freeform 6035"/>
            <p:cNvSpPr>
              <a:spLocks/>
            </p:cNvSpPr>
            <p:nvPr>
              <p:custDataLst>
                <p:tags r:id="rId343"/>
              </p:custDataLst>
            </p:nvPr>
          </p:nvSpPr>
          <p:spPr bwMode="gray">
            <a:xfrm>
              <a:off x="9689352" y="4459605"/>
              <a:ext cx="89816" cy="47529"/>
            </a:xfrm>
            <a:custGeom>
              <a:avLst/>
              <a:gdLst/>
              <a:ahLst/>
              <a:cxnLst>
                <a:cxn ang="0">
                  <a:pos x="0" y="24"/>
                </a:cxn>
                <a:cxn ang="0">
                  <a:pos x="15" y="37"/>
                </a:cxn>
                <a:cxn ang="0">
                  <a:pos x="38" y="37"/>
                </a:cxn>
                <a:cxn ang="0">
                  <a:pos x="62" y="26"/>
                </a:cxn>
                <a:cxn ang="0">
                  <a:pos x="70" y="9"/>
                </a:cxn>
                <a:cxn ang="0">
                  <a:pos x="68" y="0"/>
                </a:cxn>
                <a:cxn ang="0">
                  <a:pos x="55" y="0"/>
                </a:cxn>
                <a:cxn ang="0">
                  <a:pos x="57" y="13"/>
                </a:cxn>
                <a:cxn ang="0">
                  <a:pos x="51" y="13"/>
                </a:cxn>
                <a:cxn ang="0">
                  <a:pos x="43" y="24"/>
                </a:cxn>
                <a:cxn ang="0">
                  <a:pos x="0" y="24"/>
                </a:cxn>
                <a:cxn ang="0">
                  <a:pos x="0" y="24"/>
                </a:cxn>
              </a:cxnLst>
              <a:rect l="0" t="0" r="r" b="b"/>
              <a:pathLst>
                <a:path w="70" h="37">
                  <a:moveTo>
                    <a:pt x="0" y="24"/>
                  </a:moveTo>
                  <a:lnTo>
                    <a:pt x="15" y="37"/>
                  </a:lnTo>
                  <a:lnTo>
                    <a:pt x="38" y="37"/>
                  </a:lnTo>
                  <a:lnTo>
                    <a:pt x="62" y="26"/>
                  </a:lnTo>
                  <a:lnTo>
                    <a:pt x="70" y="9"/>
                  </a:lnTo>
                  <a:lnTo>
                    <a:pt x="68" y="0"/>
                  </a:lnTo>
                  <a:lnTo>
                    <a:pt x="55" y="0"/>
                  </a:lnTo>
                  <a:lnTo>
                    <a:pt x="57" y="13"/>
                  </a:lnTo>
                  <a:lnTo>
                    <a:pt x="51" y="13"/>
                  </a:lnTo>
                  <a:lnTo>
                    <a:pt x="43" y="24"/>
                  </a:lnTo>
                  <a:lnTo>
                    <a:pt x="0" y="24"/>
                  </a:lnTo>
                  <a:lnTo>
                    <a:pt x="0" y="2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08" name="Freeform 6036"/>
            <p:cNvSpPr>
              <a:spLocks/>
            </p:cNvSpPr>
            <p:nvPr>
              <p:custDataLst>
                <p:tags r:id="rId344"/>
              </p:custDataLst>
            </p:nvPr>
          </p:nvSpPr>
          <p:spPr bwMode="gray">
            <a:xfrm>
              <a:off x="9661124" y="4408223"/>
              <a:ext cx="8982" cy="0"/>
            </a:xfrm>
            <a:custGeom>
              <a:avLst/>
              <a:gdLst/>
              <a:ahLst/>
              <a:cxnLst>
                <a:cxn ang="0">
                  <a:pos x="0" y="0"/>
                </a:cxn>
                <a:cxn ang="0">
                  <a:pos x="7" y="0"/>
                </a:cxn>
                <a:cxn ang="0">
                  <a:pos x="0" y="0"/>
                </a:cxn>
              </a:cxnLst>
              <a:rect l="0" t="0" r="r" b="b"/>
              <a:pathLst>
                <a:path w="7">
                  <a:moveTo>
                    <a:pt x="0" y="0"/>
                  </a:moveTo>
                  <a:lnTo>
                    <a:pt x="7"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09" name="Line 6037"/>
            <p:cNvSpPr>
              <a:spLocks noChangeShapeType="1"/>
            </p:cNvSpPr>
            <p:nvPr>
              <p:custDataLst>
                <p:tags r:id="rId345"/>
              </p:custDataLst>
            </p:nvPr>
          </p:nvSpPr>
          <p:spPr bwMode="gray">
            <a:xfrm>
              <a:off x="9661124" y="4408223"/>
              <a:ext cx="8982" cy="0"/>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10" name="Freeform 6038"/>
            <p:cNvSpPr>
              <a:spLocks/>
            </p:cNvSpPr>
            <p:nvPr>
              <p:custDataLst>
                <p:tags r:id="rId346"/>
              </p:custDataLst>
            </p:nvPr>
          </p:nvSpPr>
          <p:spPr bwMode="gray">
            <a:xfrm>
              <a:off x="9747091" y="4421068"/>
              <a:ext cx="43625" cy="55236"/>
            </a:xfrm>
            <a:custGeom>
              <a:avLst/>
              <a:gdLst/>
              <a:ahLst/>
              <a:cxnLst>
                <a:cxn ang="0">
                  <a:pos x="0" y="0"/>
                </a:cxn>
                <a:cxn ang="0">
                  <a:pos x="23" y="20"/>
                </a:cxn>
                <a:cxn ang="0">
                  <a:pos x="32" y="43"/>
                </a:cxn>
                <a:cxn ang="0">
                  <a:pos x="34" y="24"/>
                </a:cxn>
                <a:cxn ang="0">
                  <a:pos x="12" y="5"/>
                </a:cxn>
                <a:cxn ang="0">
                  <a:pos x="0" y="0"/>
                </a:cxn>
                <a:cxn ang="0">
                  <a:pos x="0" y="0"/>
                </a:cxn>
              </a:cxnLst>
              <a:rect l="0" t="0" r="r" b="b"/>
              <a:pathLst>
                <a:path w="34" h="43">
                  <a:moveTo>
                    <a:pt x="0" y="0"/>
                  </a:moveTo>
                  <a:lnTo>
                    <a:pt x="23" y="20"/>
                  </a:lnTo>
                  <a:lnTo>
                    <a:pt x="32" y="43"/>
                  </a:lnTo>
                  <a:lnTo>
                    <a:pt x="34" y="24"/>
                  </a:lnTo>
                  <a:lnTo>
                    <a:pt x="12" y="5"/>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11" name="Freeform 6059"/>
            <p:cNvSpPr>
              <a:spLocks/>
            </p:cNvSpPr>
            <p:nvPr>
              <p:custDataLst>
                <p:tags r:id="rId347"/>
              </p:custDataLst>
            </p:nvPr>
          </p:nvSpPr>
          <p:spPr bwMode="gray">
            <a:xfrm>
              <a:off x="9783018" y="510702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12" name="Freeform 6060"/>
            <p:cNvSpPr>
              <a:spLocks/>
            </p:cNvSpPr>
            <p:nvPr>
              <p:custDataLst>
                <p:tags r:id="rId348"/>
              </p:custDataLst>
            </p:nvPr>
          </p:nvSpPr>
          <p:spPr bwMode="gray">
            <a:xfrm>
              <a:off x="10071714" y="5396049"/>
              <a:ext cx="16680" cy="8992"/>
            </a:xfrm>
            <a:custGeom>
              <a:avLst/>
              <a:gdLst/>
              <a:ahLst/>
              <a:cxnLst>
                <a:cxn ang="0">
                  <a:pos x="2" y="0"/>
                </a:cxn>
                <a:cxn ang="0">
                  <a:pos x="6" y="1"/>
                </a:cxn>
                <a:cxn ang="0">
                  <a:pos x="0" y="7"/>
                </a:cxn>
                <a:cxn ang="0">
                  <a:pos x="13" y="0"/>
                </a:cxn>
                <a:cxn ang="0">
                  <a:pos x="2" y="0"/>
                </a:cxn>
                <a:cxn ang="0">
                  <a:pos x="2" y="0"/>
                </a:cxn>
              </a:cxnLst>
              <a:rect l="0" t="0" r="r" b="b"/>
              <a:pathLst>
                <a:path w="13" h="7">
                  <a:moveTo>
                    <a:pt x="2" y="0"/>
                  </a:moveTo>
                  <a:lnTo>
                    <a:pt x="6" y="1"/>
                  </a:lnTo>
                  <a:lnTo>
                    <a:pt x="0" y="7"/>
                  </a:lnTo>
                  <a:lnTo>
                    <a:pt x="13" y="0"/>
                  </a:lnTo>
                  <a:lnTo>
                    <a:pt x="2" y="0"/>
                  </a:lnTo>
                  <a:lnTo>
                    <a:pt x="2"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13" name="Freeform 6062"/>
            <p:cNvSpPr>
              <a:spLocks/>
            </p:cNvSpPr>
            <p:nvPr>
              <p:custDataLst>
                <p:tags r:id="rId349"/>
              </p:custDataLst>
            </p:nvPr>
          </p:nvSpPr>
          <p:spPr bwMode="gray">
            <a:xfrm>
              <a:off x="9876684" y="55322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14" name="Freeform 6073"/>
            <p:cNvSpPr>
              <a:spLocks/>
            </p:cNvSpPr>
            <p:nvPr>
              <p:custDataLst>
                <p:tags r:id="rId350"/>
              </p:custDataLst>
            </p:nvPr>
          </p:nvSpPr>
          <p:spPr bwMode="gray">
            <a:xfrm>
              <a:off x="9336502" y="428875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15" name="Freeform 6074"/>
            <p:cNvSpPr>
              <a:spLocks/>
            </p:cNvSpPr>
            <p:nvPr>
              <p:custDataLst>
                <p:tags r:id="rId351"/>
              </p:custDataLst>
            </p:nvPr>
          </p:nvSpPr>
          <p:spPr bwMode="gray">
            <a:xfrm>
              <a:off x="9358314" y="425664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16" name="Freeform 6075"/>
            <p:cNvSpPr>
              <a:spLocks/>
            </p:cNvSpPr>
            <p:nvPr>
              <p:custDataLst>
                <p:tags r:id="rId352"/>
              </p:custDataLst>
            </p:nvPr>
          </p:nvSpPr>
          <p:spPr bwMode="gray">
            <a:xfrm>
              <a:off x="9355748" y="423352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17" name="Freeform 6076"/>
            <p:cNvSpPr>
              <a:spLocks/>
            </p:cNvSpPr>
            <p:nvPr>
              <p:custDataLst>
                <p:tags r:id="rId353"/>
              </p:custDataLst>
            </p:nvPr>
          </p:nvSpPr>
          <p:spPr bwMode="gray">
            <a:xfrm>
              <a:off x="9394241" y="419755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18" name="Freeform 6077"/>
            <p:cNvSpPr>
              <a:spLocks/>
            </p:cNvSpPr>
            <p:nvPr>
              <p:custDataLst>
                <p:tags r:id="rId354"/>
              </p:custDataLst>
            </p:nvPr>
          </p:nvSpPr>
          <p:spPr bwMode="gray">
            <a:xfrm>
              <a:off x="9396807" y="419498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19" name="Freeform 6078"/>
            <p:cNvSpPr>
              <a:spLocks/>
            </p:cNvSpPr>
            <p:nvPr>
              <p:custDataLst>
                <p:tags r:id="rId355"/>
              </p:custDataLst>
            </p:nvPr>
          </p:nvSpPr>
          <p:spPr bwMode="gray">
            <a:xfrm>
              <a:off x="9401940" y="418214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20" name="Freeform 6079"/>
            <p:cNvSpPr>
              <a:spLocks/>
            </p:cNvSpPr>
            <p:nvPr>
              <p:custDataLst>
                <p:tags r:id="rId356"/>
              </p:custDataLst>
            </p:nvPr>
          </p:nvSpPr>
          <p:spPr bwMode="gray">
            <a:xfrm>
              <a:off x="9473793" y="41346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21" name="Freeform 6080"/>
            <p:cNvSpPr>
              <a:spLocks/>
            </p:cNvSpPr>
            <p:nvPr>
              <p:custDataLst>
                <p:tags r:id="rId357"/>
              </p:custDataLst>
            </p:nvPr>
          </p:nvSpPr>
          <p:spPr bwMode="gray">
            <a:xfrm>
              <a:off x="9502021" y="412176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22" name="Freeform 6095"/>
            <p:cNvSpPr>
              <a:spLocks/>
            </p:cNvSpPr>
            <p:nvPr>
              <p:custDataLst>
                <p:tags r:id="rId358"/>
              </p:custDataLst>
            </p:nvPr>
          </p:nvSpPr>
          <p:spPr bwMode="gray">
            <a:xfrm>
              <a:off x="5251135" y="3032460"/>
              <a:ext cx="23096" cy="16699"/>
            </a:xfrm>
            <a:custGeom>
              <a:avLst/>
              <a:gdLst/>
              <a:ahLst/>
              <a:cxnLst>
                <a:cxn ang="0">
                  <a:pos x="3" y="5"/>
                </a:cxn>
                <a:cxn ang="0">
                  <a:pos x="13" y="4"/>
                </a:cxn>
                <a:cxn ang="0">
                  <a:pos x="0" y="11"/>
                </a:cxn>
                <a:cxn ang="0">
                  <a:pos x="13" y="7"/>
                </a:cxn>
                <a:cxn ang="0">
                  <a:pos x="9" y="13"/>
                </a:cxn>
                <a:cxn ang="0">
                  <a:pos x="18" y="0"/>
                </a:cxn>
                <a:cxn ang="0">
                  <a:pos x="3" y="5"/>
                </a:cxn>
                <a:cxn ang="0">
                  <a:pos x="3" y="5"/>
                </a:cxn>
              </a:cxnLst>
              <a:rect l="0" t="0" r="r" b="b"/>
              <a:pathLst>
                <a:path w="18" h="13">
                  <a:moveTo>
                    <a:pt x="3" y="5"/>
                  </a:moveTo>
                  <a:lnTo>
                    <a:pt x="13" y="4"/>
                  </a:lnTo>
                  <a:lnTo>
                    <a:pt x="0" y="11"/>
                  </a:lnTo>
                  <a:lnTo>
                    <a:pt x="13" y="7"/>
                  </a:lnTo>
                  <a:lnTo>
                    <a:pt x="9" y="13"/>
                  </a:lnTo>
                  <a:lnTo>
                    <a:pt x="18" y="0"/>
                  </a:lnTo>
                  <a:lnTo>
                    <a:pt x="3" y="5"/>
                  </a:lnTo>
                  <a:lnTo>
                    <a:pt x="3"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23" name="Freeform 6096"/>
            <p:cNvSpPr>
              <a:spLocks/>
            </p:cNvSpPr>
            <p:nvPr>
              <p:custDataLst>
                <p:tags r:id="rId359"/>
              </p:custDataLst>
            </p:nvPr>
          </p:nvSpPr>
          <p:spPr bwMode="gray">
            <a:xfrm>
              <a:off x="5176716" y="3109533"/>
              <a:ext cx="19246" cy="8992"/>
            </a:xfrm>
            <a:custGeom>
              <a:avLst/>
              <a:gdLst/>
              <a:ahLst/>
              <a:cxnLst>
                <a:cxn ang="0">
                  <a:pos x="0" y="2"/>
                </a:cxn>
                <a:cxn ang="0">
                  <a:pos x="15" y="7"/>
                </a:cxn>
                <a:cxn ang="0">
                  <a:pos x="15" y="0"/>
                </a:cxn>
                <a:cxn ang="0">
                  <a:pos x="0" y="2"/>
                </a:cxn>
                <a:cxn ang="0">
                  <a:pos x="0" y="2"/>
                </a:cxn>
              </a:cxnLst>
              <a:rect l="0" t="0" r="r" b="b"/>
              <a:pathLst>
                <a:path w="15" h="7">
                  <a:moveTo>
                    <a:pt x="0" y="2"/>
                  </a:moveTo>
                  <a:lnTo>
                    <a:pt x="15" y="7"/>
                  </a:lnTo>
                  <a:lnTo>
                    <a:pt x="15"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24" name="Freeform 6099"/>
            <p:cNvSpPr>
              <a:spLocks/>
            </p:cNvSpPr>
            <p:nvPr>
              <p:custDataLst>
                <p:tags r:id="rId360"/>
              </p:custDataLst>
            </p:nvPr>
          </p:nvSpPr>
          <p:spPr bwMode="gray">
            <a:xfrm>
              <a:off x="9441715" y="319046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25" name="Freeform 6100"/>
            <p:cNvSpPr>
              <a:spLocks/>
            </p:cNvSpPr>
            <p:nvPr>
              <p:custDataLst>
                <p:tags r:id="rId361"/>
              </p:custDataLst>
            </p:nvPr>
          </p:nvSpPr>
          <p:spPr bwMode="gray">
            <a:xfrm>
              <a:off x="9132490" y="3082558"/>
              <a:ext cx="156537" cy="192684"/>
            </a:xfrm>
            <a:custGeom>
              <a:avLst/>
              <a:gdLst/>
              <a:ahLst/>
              <a:cxnLst>
                <a:cxn ang="0">
                  <a:pos x="5" y="17"/>
                </a:cxn>
                <a:cxn ang="0">
                  <a:pos x="82" y="113"/>
                </a:cxn>
                <a:cxn ang="0">
                  <a:pos x="93" y="137"/>
                </a:cxn>
                <a:cxn ang="0">
                  <a:pos x="105" y="150"/>
                </a:cxn>
                <a:cxn ang="0">
                  <a:pos x="105" y="137"/>
                </a:cxn>
                <a:cxn ang="0">
                  <a:pos x="122" y="143"/>
                </a:cxn>
                <a:cxn ang="0">
                  <a:pos x="84" y="105"/>
                </a:cxn>
                <a:cxn ang="0">
                  <a:pos x="80" y="88"/>
                </a:cxn>
                <a:cxn ang="0">
                  <a:pos x="99" y="92"/>
                </a:cxn>
                <a:cxn ang="0">
                  <a:pos x="11" y="6"/>
                </a:cxn>
                <a:cxn ang="0">
                  <a:pos x="0" y="0"/>
                </a:cxn>
                <a:cxn ang="0">
                  <a:pos x="9" y="8"/>
                </a:cxn>
                <a:cxn ang="0">
                  <a:pos x="5" y="17"/>
                </a:cxn>
                <a:cxn ang="0">
                  <a:pos x="5" y="17"/>
                </a:cxn>
              </a:cxnLst>
              <a:rect l="0" t="0" r="r" b="b"/>
              <a:pathLst>
                <a:path w="122" h="150">
                  <a:moveTo>
                    <a:pt x="5" y="17"/>
                  </a:moveTo>
                  <a:lnTo>
                    <a:pt x="82" y="113"/>
                  </a:lnTo>
                  <a:lnTo>
                    <a:pt x="93" y="137"/>
                  </a:lnTo>
                  <a:lnTo>
                    <a:pt x="105" y="150"/>
                  </a:lnTo>
                  <a:lnTo>
                    <a:pt x="105" y="137"/>
                  </a:lnTo>
                  <a:lnTo>
                    <a:pt x="122" y="143"/>
                  </a:lnTo>
                  <a:lnTo>
                    <a:pt x="84" y="105"/>
                  </a:lnTo>
                  <a:lnTo>
                    <a:pt x="80" y="88"/>
                  </a:lnTo>
                  <a:lnTo>
                    <a:pt x="99" y="92"/>
                  </a:lnTo>
                  <a:lnTo>
                    <a:pt x="11" y="6"/>
                  </a:lnTo>
                  <a:lnTo>
                    <a:pt x="0" y="0"/>
                  </a:lnTo>
                  <a:lnTo>
                    <a:pt x="9" y="8"/>
                  </a:lnTo>
                  <a:lnTo>
                    <a:pt x="5" y="17"/>
                  </a:lnTo>
                  <a:lnTo>
                    <a:pt x="5"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26" name="Freeform 6101"/>
            <p:cNvSpPr>
              <a:spLocks/>
            </p:cNvSpPr>
            <p:nvPr>
              <p:custDataLst>
                <p:tags r:id="rId362"/>
              </p:custDataLst>
            </p:nvPr>
          </p:nvSpPr>
          <p:spPr bwMode="gray">
            <a:xfrm>
              <a:off x="6815225" y="334974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27" name="Freeform 6102"/>
            <p:cNvSpPr>
              <a:spLocks/>
            </p:cNvSpPr>
            <p:nvPr>
              <p:custDataLst>
                <p:tags r:id="rId363"/>
              </p:custDataLst>
            </p:nvPr>
          </p:nvSpPr>
          <p:spPr bwMode="gray">
            <a:xfrm>
              <a:off x="7144980" y="351802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28" name="Freeform 6103"/>
            <p:cNvSpPr>
              <a:spLocks/>
            </p:cNvSpPr>
            <p:nvPr>
              <p:custDataLst>
                <p:tags r:id="rId364"/>
              </p:custDataLst>
            </p:nvPr>
          </p:nvSpPr>
          <p:spPr bwMode="gray">
            <a:xfrm>
              <a:off x="7153961" y="3496186"/>
              <a:ext cx="10265" cy="15415"/>
            </a:xfrm>
            <a:custGeom>
              <a:avLst/>
              <a:gdLst/>
              <a:ahLst/>
              <a:cxnLst>
                <a:cxn ang="0">
                  <a:pos x="0" y="6"/>
                </a:cxn>
                <a:cxn ang="0">
                  <a:pos x="2" y="12"/>
                </a:cxn>
                <a:cxn ang="0">
                  <a:pos x="8" y="0"/>
                </a:cxn>
                <a:cxn ang="0">
                  <a:pos x="0" y="6"/>
                </a:cxn>
                <a:cxn ang="0">
                  <a:pos x="0" y="6"/>
                </a:cxn>
              </a:cxnLst>
              <a:rect l="0" t="0" r="r" b="b"/>
              <a:pathLst>
                <a:path w="8" h="12">
                  <a:moveTo>
                    <a:pt x="0" y="6"/>
                  </a:moveTo>
                  <a:lnTo>
                    <a:pt x="2" y="12"/>
                  </a:lnTo>
                  <a:lnTo>
                    <a:pt x="8"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29" name="Freeform 6104"/>
            <p:cNvSpPr>
              <a:spLocks/>
            </p:cNvSpPr>
            <p:nvPr>
              <p:custDataLst>
                <p:tags r:id="rId365"/>
              </p:custDataLst>
            </p:nvPr>
          </p:nvSpPr>
          <p:spPr bwMode="gray">
            <a:xfrm>
              <a:off x="7092373" y="349233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30" name="Freeform 6105"/>
            <p:cNvSpPr>
              <a:spLocks/>
            </p:cNvSpPr>
            <p:nvPr>
              <p:custDataLst>
                <p:tags r:id="rId366"/>
              </p:custDataLst>
            </p:nvPr>
          </p:nvSpPr>
          <p:spPr bwMode="gray">
            <a:xfrm>
              <a:off x="7109053" y="348462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31" name="Freeform 6106"/>
            <p:cNvSpPr>
              <a:spLocks/>
            </p:cNvSpPr>
            <p:nvPr>
              <p:custDataLst>
                <p:tags r:id="rId367"/>
              </p:custDataLst>
            </p:nvPr>
          </p:nvSpPr>
          <p:spPr bwMode="gray">
            <a:xfrm>
              <a:off x="7101355" y="347049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32" name="Freeform 6107"/>
            <p:cNvSpPr>
              <a:spLocks/>
            </p:cNvSpPr>
            <p:nvPr>
              <p:custDataLst>
                <p:tags r:id="rId368"/>
              </p:custDataLst>
            </p:nvPr>
          </p:nvSpPr>
          <p:spPr bwMode="gray">
            <a:xfrm>
              <a:off x="7115469" y="3431958"/>
              <a:ext cx="7699" cy="2569"/>
            </a:xfrm>
            <a:custGeom>
              <a:avLst/>
              <a:gdLst/>
              <a:ahLst/>
              <a:cxnLst>
                <a:cxn ang="0">
                  <a:pos x="0" y="0"/>
                </a:cxn>
                <a:cxn ang="0">
                  <a:pos x="6" y="2"/>
                </a:cxn>
                <a:cxn ang="0">
                  <a:pos x="0" y="0"/>
                </a:cxn>
              </a:cxnLst>
              <a:rect l="0" t="0" r="r" b="b"/>
              <a:pathLst>
                <a:path w="6" h="2">
                  <a:moveTo>
                    <a:pt x="0" y="0"/>
                  </a:moveTo>
                  <a:lnTo>
                    <a:pt x="6" y="2"/>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33" name="Line 6108"/>
            <p:cNvSpPr>
              <a:spLocks noChangeShapeType="1"/>
            </p:cNvSpPr>
            <p:nvPr>
              <p:custDataLst>
                <p:tags r:id="rId369"/>
              </p:custDataLst>
            </p:nvPr>
          </p:nvSpPr>
          <p:spPr bwMode="gray">
            <a:xfrm>
              <a:off x="7115469" y="3431958"/>
              <a:ext cx="7699" cy="2569"/>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34" name="Freeform 6109"/>
            <p:cNvSpPr>
              <a:spLocks/>
            </p:cNvSpPr>
            <p:nvPr>
              <p:custDataLst>
                <p:tags r:id="rId370"/>
              </p:custDataLst>
            </p:nvPr>
          </p:nvSpPr>
          <p:spPr bwMode="gray">
            <a:xfrm>
              <a:off x="7118035" y="3448657"/>
              <a:ext cx="0" cy="5138"/>
            </a:xfrm>
            <a:custGeom>
              <a:avLst/>
              <a:gdLst/>
              <a:ahLst/>
              <a:cxnLst>
                <a:cxn ang="0">
                  <a:pos x="0" y="0"/>
                </a:cxn>
                <a:cxn ang="0">
                  <a:pos x="0" y="4"/>
                </a:cxn>
                <a:cxn ang="0">
                  <a:pos x="0" y="0"/>
                </a:cxn>
              </a:cxnLst>
              <a:rect l="0" t="0" r="r" b="b"/>
              <a:pathLst>
                <a:path h="4">
                  <a:moveTo>
                    <a:pt x="0" y="0"/>
                  </a:moveTo>
                  <a:lnTo>
                    <a:pt x="0" y="4"/>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35" name="Line 6110"/>
            <p:cNvSpPr>
              <a:spLocks noChangeShapeType="1"/>
            </p:cNvSpPr>
            <p:nvPr>
              <p:custDataLst>
                <p:tags r:id="rId371"/>
              </p:custDataLst>
            </p:nvPr>
          </p:nvSpPr>
          <p:spPr bwMode="gray">
            <a:xfrm>
              <a:off x="7118035" y="3448657"/>
              <a:ext cx="0" cy="5138"/>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36" name="Freeform 6111"/>
            <p:cNvSpPr>
              <a:spLocks/>
            </p:cNvSpPr>
            <p:nvPr>
              <p:custDataLst>
                <p:tags r:id="rId372"/>
              </p:custDataLst>
            </p:nvPr>
          </p:nvSpPr>
          <p:spPr bwMode="gray">
            <a:xfrm>
              <a:off x="7132149" y="346535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37" name="Freeform 6112"/>
            <p:cNvSpPr>
              <a:spLocks/>
            </p:cNvSpPr>
            <p:nvPr>
              <p:custDataLst>
                <p:tags r:id="rId373"/>
              </p:custDataLst>
            </p:nvPr>
          </p:nvSpPr>
          <p:spPr bwMode="gray">
            <a:xfrm>
              <a:off x="6717232" y="43351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38" name="Freeform 6113"/>
            <p:cNvSpPr>
              <a:spLocks/>
            </p:cNvSpPr>
            <p:nvPr>
              <p:custDataLst>
                <p:tags r:id="rId374"/>
              </p:custDataLst>
            </p:nvPr>
          </p:nvSpPr>
          <p:spPr bwMode="gray">
            <a:xfrm>
              <a:off x="6758291" y="4251605"/>
              <a:ext cx="10265" cy="8992"/>
            </a:xfrm>
            <a:custGeom>
              <a:avLst/>
              <a:gdLst/>
              <a:ahLst/>
              <a:cxnLst>
                <a:cxn ang="0">
                  <a:pos x="0" y="7"/>
                </a:cxn>
                <a:cxn ang="0">
                  <a:pos x="4" y="7"/>
                </a:cxn>
                <a:cxn ang="0">
                  <a:pos x="8" y="1"/>
                </a:cxn>
                <a:cxn ang="0">
                  <a:pos x="4" y="0"/>
                </a:cxn>
                <a:cxn ang="0">
                  <a:pos x="0" y="7"/>
                </a:cxn>
                <a:cxn ang="0">
                  <a:pos x="0" y="7"/>
                </a:cxn>
              </a:cxnLst>
              <a:rect l="0" t="0" r="r" b="b"/>
              <a:pathLst>
                <a:path w="8" h="7">
                  <a:moveTo>
                    <a:pt x="0" y="7"/>
                  </a:moveTo>
                  <a:lnTo>
                    <a:pt x="4" y="7"/>
                  </a:lnTo>
                  <a:lnTo>
                    <a:pt x="8" y="1"/>
                  </a:lnTo>
                  <a:lnTo>
                    <a:pt x="4" y="0"/>
                  </a:lnTo>
                  <a:lnTo>
                    <a:pt x="0" y="7"/>
                  </a:lnTo>
                  <a:lnTo>
                    <a:pt x="0" y="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39" name="Freeform 6114"/>
            <p:cNvSpPr>
              <a:spLocks/>
            </p:cNvSpPr>
            <p:nvPr>
              <p:custDataLst>
                <p:tags r:id="rId375"/>
              </p:custDataLst>
            </p:nvPr>
          </p:nvSpPr>
          <p:spPr bwMode="gray">
            <a:xfrm>
              <a:off x="9298009" y="4627882"/>
              <a:ext cx="30794" cy="16699"/>
            </a:xfrm>
            <a:custGeom>
              <a:avLst/>
              <a:gdLst/>
              <a:ahLst/>
              <a:cxnLst>
                <a:cxn ang="0">
                  <a:pos x="0" y="9"/>
                </a:cxn>
                <a:cxn ang="0">
                  <a:pos x="15" y="13"/>
                </a:cxn>
                <a:cxn ang="0">
                  <a:pos x="24" y="6"/>
                </a:cxn>
                <a:cxn ang="0">
                  <a:pos x="23" y="0"/>
                </a:cxn>
                <a:cxn ang="0">
                  <a:pos x="8" y="0"/>
                </a:cxn>
                <a:cxn ang="0">
                  <a:pos x="0" y="9"/>
                </a:cxn>
                <a:cxn ang="0">
                  <a:pos x="0" y="9"/>
                </a:cxn>
              </a:cxnLst>
              <a:rect l="0" t="0" r="r" b="b"/>
              <a:pathLst>
                <a:path w="24" h="13">
                  <a:moveTo>
                    <a:pt x="0" y="9"/>
                  </a:moveTo>
                  <a:lnTo>
                    <a:pt x="15" y="13"/>
                  </a:lnTo>
                  <a:lnTo>
                    <a:pt x="24" y="6"/>
                  </a:lnTo>
                  <a:lnTo>
                    <a:pt x="23" y="0"/>
                  </a:lnTo>
                  <a:lnTo>
                    <a:pt x="8" y="0"/>
                  </a:lnTo>
                  <a:lnTo>
                    <a:pt x="0" y="9"/>
                  </a:lnTo>
                  <a:lnTo>
                    <a:pt x="0" y="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40" name="Freeform 6115"/>
            <p:cNvSpPr>
              <a:spLocks/>
            </p:cNvSpPr>
            <p:nvPr>
              <p:custDataLst>
                <p:tags r:id="rId376"/>
              </p:custDataLst>
            </p:nvPr>
          </p:nvSpPr>
          <p:spPr bwMode="gray">
            <a:xfrm>
              <a:off x="9165851" y="4558516"/>
              <a:ext cx="82118" cy="47529"/>
            </a:xfrm>
            <a:custGeom>
              <a:avLst/>
              <a:gdLst/>
              <a:ahLst/>
              <a:cxnLst>
                <a:cxn ang="0">
                  <a:pos x="0" y="37"/>
                </a:cxn>
                <a:cxn ang="0">
                  <a:pos x="17" y="31"/>
                </a:cxn>
                <a:cxn ang="0">
                  <a:pos x="32" y="16"/>
                </a:cxn>
                <a:cxn ang="0">
                  <a:pos x="64" y="0"/>
                </a:cxn>
                <a:cxn ang="0">
                  <a:pos x="28" y="5"/>
                </a:cxn>
                <a:cxn ang="0">
                  <a:pos x="8" y="18"/>
                </a:cxn>
                <a:cxn ang="0">
                  <a:pos x="0" y="37"/>
                </a:cxn>
                <a:cxn ang="0">
                  <a:pos x="0" y="37"/>
                </a:cxn>
              </a:cxnLst>
              <a:rect l="0" t="0" r="r" b="b"/>
              <a:pathLst>
                <a:path w="64" h="37">
                  <a:moveTo>
                    <a:pt x="0" y="37"/>
                  </a:moveTo>
                  <a:lnTo>
                    <a:pt x="17" y="31"/>
                  </a:lnTo>
                  <a:lnTo>
                    <a:pt x="32" y="16"/>
                  </a:lnTo>
                  <a:lnTo>
                    <a:pt x="64" y="0"/>
                  </a:lnTo>
                  <a:lnTo>
                    <a:pt x="28" y="5"/>
                  </a:lnTo>
                  <a:lnTo>
                    <a:pt x="8" y="18"/>
                  </a:lnTo>
                  <a:lnTo>
                    <a:pt x="0" y="37"/>
                  </a:lnTo>
                  <a:lnTo>
                    <a:pt x="0" y="3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41" name="Freeform 6116"/>
            <p:cNvSpPr>
              <a:spLocks/>
            </p:cNvSpPr>
            <p:nvPr>
              <p:custDataLst>
                <p:tags r:id="rId377"/>
              </p:custDataLst>
            </p:nvPr>
          </p:nvSpPr>
          <p:spPr bwMode="gray">
            <a:xfrm>
              <a:off x="9100413" y="42373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42" name="Freeform 6117"/>
            <p:cNvSpPr>
              <a:spLocks/>
            </p:cNvSpPr>
            <p:nvPr>
              <p:custDataLst>
                <p:tags r:id="rId378"/>
              </p:custDataLst>
            </p:nvPr>
          </p:nvSpPr>
          <p:spPr bwMode="gray">
            <a:xfrm>
              <a:off x="9122225" y="421810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43" name="Freeform 6118"/>
            <p:cNvSpPr>
              <a:spLocks/>
            </p:cNvSpPr>
            <p:nvPr>
              <p:custDataLst>
                <p:tags r:id="rId379"/>
              </p:custDataLst>
            </p:nvPr>
          </p:nvSpPr>
          <p:spPr bwMode="gray">
            <a:xfrm>
              <a:off x="5072785" y="3275242"/>
              <a:ext cx="26945" cy="10276"/>
            </a:xfrm>
            <a:custGeom>
              <a:avLst/>
              <a:gdLst/>
              <a:ahLst/>
              <a:cxnLst>
                <a:cxn ang="0">
                  <a:pos x="0" y="0"/>
                </a:cxn>
                <a:cxn ang="0">
                  <a:pos x="15" y="8"/>
                </a:cxn>
                <a:cxn ang="0">
                  <a:pos x="21" y="0"/>
                </a:cxn>
                <a:cxn ang="0">
                  <a:pos x="0" y="0"/>
                </a:cxn>
                <a:cxn ang="0">
                  <a:pos x="0" y="0"/>
                </a:cxn>
              </a:cxnLst>
              <a:rect l="0" t="0" r="r" b="b"/>
              <a:pathLst>
                <a:path w="21" h="8">
                  <a:moveTo>
                    <a:pt x="0" y="0"/>
                  </a:moveTo>
                  <a:lnTo>
                    <a:pt x="15" y="8"/>
                  </a:lnTo>
                  <a:lnTo>
                    <a:pt x="21" y="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44" name="Freeform 6119"/>
            <p:cNvSpPr>
              <a:spLocks/>
            </p:cNvSpPr>
            <p:nvPr>
              <p:custDataLst>
                <p:tags r:id="rId380"/>
              </p:custDataLst>
            </p:nvPr>
          </p:nvSpPr>
          <p:spPr bwMode="gray">
            <a:xfrm>
              <a:off x="7402403" y="448667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45" name="Freeform 6120"/>
            <p:cNvSpPr>
              <a:spLocks/>
            </p:cNvSpPr>
            <p:nvPr>
              <p:custDataLst>
                <p:tags r:id="rId381"/>
              </p:custDataLst>
            </p:nvPr>
          </p:nvSpPr>
          <p:spPr bwMode="gray">
            <a:xfrm>
              <a:off x="9031126" y="3063289"/>
              <a:ext cx="12831" cy="12846"/>
            </a:xfrm>
            <a:custGeom>
              <a:avLst/>
              <a:gdLst/>
              <a:ahLst/>
              <a:cxnLst>
                <a:cxn ang="0">
                  <a:pos x="2" y="6"/>
                </a:cxn>
                <a:cxn ang="0">
                  <a:pos x="10" y="10"/>
                </a:cxn>
                <a:cxn ang="0">
                  <a:pos x="10" y="4"/>
                </a:cxn>
                <a:cxn ang="0">
                  <a:pos x="0" y="0"/>
                </a:cxn>
                <a:cxn ang="0">
                  <a:pos x="2" y="6"/>
                </a:cxn>
                <a:cxn ang="0">
                  <a:pos x="2" y="6"/>
                </a:cxn>
              </a:cxnLst>
              <a:rect l="0" t="0" r="r" b="b"/>
              <a:pathLst>
                <a:path w="10" h="10">
                  <a:moveTo>
                    <a:pt x="2" y="6"/>
                  </a:moveTo>
                  <a:lnTo>
                    <a:pt x="10" y="10"/>
                  </a:lnTo>
                  <a:lnTo>
                    <a:pt x="10" y="4"/>
                  </a:lnTo>
                  <a:lnTo>
                    <a:pt x="0" y="0"/>
                  </a:lnTo>
                  <a:lnTo>
                    <a:pt x="2" y="6"/>
                  </a:lnTo>
                  <a:lnTo>
                    <a:pt x="2"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46" name="Freeform 6121"/>
            <p:cNvSpPr>
              <a:spLocks/>
            </p:cNvSpPr>
            <p:nvPr>
              <p:custDataLst>
                <p:tags r:id="rId382"/>
              </p:custDataLst>
            </p:nvPr>
          </p:nvSpPr>
          <p:spPr bwMode="gray">
            <a:xfrm>
              <a:off x="6584268" y="298107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47" name="Freeform 6122"/>
            <p:cNvSpPr>
              <a:spLocks/>
            </p:cNvSpPr>
            <p:nvPr>
              <p:custDataLst>
                <p:tags r:id="rId383"/>
              </p:custDataLst>
            </p:nvPr>
          </p:nvSpPr>
          <p:spPr bwMode="gray">
            <a:xfrm>
              <a:off x="6810092" y="3054297"/>
              <a:ext cx="12831" cy="11561"/>
            </a:xfrm>
            <a:custGeom>
              <a:avLst/>
              <a:gdLst/>
              <a:ahLst/>
              <a:cxnLst>
                <a:cxn ang="0">
                  <a:pos x="0" y="2"/>
                </a:cxn>
                <a:cxn ang="0">
                  <a:pos x="0" y="9"/>
                </a:cxn>
                <a:cxn ang="0">
                  <a:pos x="10" y="9"/>
                </a:cxn>
                <a:cxn ang="0">
                  <a:pos x="4" y="0"/>
                </a:cxn>
                <a:cxn ang="0">
                  <a:pos x="0" y="2"/>
                </a:cxn>
                <a:cxn ang="0">
                  <a:pos x="0" y="2"/>
                </a:cxn>
              </a:cxnLst>
              <a:rect l="0" t="0" r="r" b="b"/>
              <a:pathLst>
                <a:path w="10" h="9">
                  <a:moveTo>
                    <a:pt x="0" y="2"/>
                  </a:moveTo>
                  <a:lnTo>
                    <a:pt x="0" y="9"/>
                  </a:lnTo>
                  <a:lnTo>
                    <a:pt x="10" y="9"/>
                  </a:lnTo>
                  <a:lnTo>
                    <a:pt x="4"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48" name="Freeform 6123"/>
            <p:cNvSpPr>
              <a:spLocks/>
            </p:cNvSpPr>
            <p:nvPr>
              <p:custDataLst>
                <p:tags r:id="rId384"/>
              </p:custDataLst>
            </p:nvPr>
          </p:nvSpPr>
          <p:spPr bwMode="gray">
            <a:xfrm>
              <a:off x="6826773" y="3041452"/>
              <a:ext cx="26945" cy="21838"/>
            </a:xfrm>
            <a:custGeom>
              <a:avLst/>
              <a:gdLst/>
              <a:ahLst/>
              <a:cxnLst>
                <a:cxn ang="0">
                  <a:pos x="0" y="8"/>
                </a:cxn>
                <a:cxn ang="0">
                  <a:pos x="4" y="15"/>
                </a:cxn>
                <a:cxn ang="0">
                  <a:pos x="12" y="17"/>
                </a:cxn>
                <a:cxn ang="0">
                  <a:pos x="19" y="15"/>
                </a:cxn>
                <a:cxn ang="0">
                  <a:pos x="15" y="12"/>
                </a:cxn>
                <a:cxn ang="0">
                  <a:pos x="21" y="8"/>
                </a:cxn>
                <a:cxn ang="0">
                  <a:pos x="19" y="0"/>
                </a:cxn>
                <a:cxn ang="0">
                  <a:pos x="0" y="8"/>
                </a:cxn>
                <a:cxn ang="0">
                  <a:pos x="0" y="8"/>
                </a:cxn>
              </a:cxnLst>
              <a:rect l="0" t="0" r="r" b="b"/>
              <a:pathLst>
                <a:path w="21" h="17">
                  <a:moveTo>
                    <a:pt x="0" y="8"/>
                  </a:moveTo>
                  <a:lnTo>
                    <a:pt x="4" y="15"/>
                  </a:lnTo>
                  <a:lnTo>
                    <a:pt x="12" y="17"/>
                  </a:lnTo>
                  <a:lnTo>
                    <a:pt x="19" y="15"/>
                  </a:lnTo>
                  <a:lnTo>
                    <a:pt x="15" y="12"/>
                  </a:lnTo>
                  <a:lnTo>
                    <a:pt x="21" y="8"/>
                  </a:lnTo>
                  <a:lnTo>
                    <a:pt x="19" y="0"/>
                  </a:lnTo>
                  <a:lnTo>
                    <a:pt x="0" y="8"/>
                  </a:lnTo>
                  <a:lnTo>
                    <a:pt x="0" y="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49" name="Freeform 6124"/>
            <p:cNvSpPr>
              <a:spLocks/>
            </p:cNvSpPr>
            <p:nvPr>
              <p:custDataLst>
                <p:tags r:id="rId385"/>
              </p:custDataLst>
            </p:nvPr>
          </p:nvSpPr>
          <p:spPr bwMode="gray">
            <a:xfrm>
              <a:off x="6826773" y="3070997"/>
              <a:ext cx="19246" cy="5138"/>
            </a:xfrm>
            <a:custGeom>
              <a:avLst/>
              <a:gdLst/>
              <a:ahLst/>
              <a:cxnLst>
                <a:cxn ang="0">
                  <a:pos x="0" y="0"/>
                </a:cxn>
                <a:cxn ang="0">
                  <a:pos x="4" y="4"/>
                </a:cxn>
                <a:cxn ang="0">
                  <a:pos x="15" y="0"/>
                </a:cxn>
                <a:cxn ang="0">
                  <a:pos x="0" y="0"/>
                </a:cxn>
                <a:cxn ang="0">
                  <a:pos x="0" y="0"/>
                </a:cxn>
              </a:cxnLst>
              <a:rect l="0" t="0" r="r" b="b"/>
              <a:pathLst>
                <a:path w="15" h="4">
                  <a:moveTo>
                    <a:pt x="0" y="0"/>
                  </a:moveTo>
                  <a:lnTo>
                    <a:pt x="4" y="4"/>
                  </a:lnTo>
                  <a:lnTo>
                    <a:pt x="15" y="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50" name="Freeform 6125"/>
            <p:cNvSpPr>
              <a:spLocks/>
            </p:cNvSpPr>
            <p:nvPr>
              <p:custDataLst>
                <p:tags r:id="rId386"/>
              </p:custDataLst>
            </p:nvPr>
          </p:nvSpPr>
          <p:spPr bwMode="gray">
            <a:xfrm>
              <a:off x="6894777" y="306585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51" name="Freeform 6126"/>
            <p:cNvSpPr>
              <a:spLocks/>
            </p:cNvSpPr>
            <p:nvPr>
              <p:custDataLst>
                <p:tags r:id="rId387"/>
              </p:custDataLst>
            </p:nvPr>
          </p:nvSpPr>
          <p:spPr bwMode="gray">
            <a:xfrm>
              <a:off x="7132954" y="5013348"/>
              <a:ext cx="48758" cy="48813"/>
            </a:xfrm>
            <a:custGeom>
              <a:avLst/>
              <a:gdLst/>
              <a:ahLst/>
              <a:cxnLst>
                <a:cxn ang="0">
                  <a:pos x="38" y="15"/>
                </a:cxn>
                <a:cxn ang="0">
                  <a:pos x="32" y="27"/>
                </a:cxn>
                <a:cxn ang="0">
                  <a:pos x="12" y="38"/>
                </a:cxn>
                <a:cxn ang="0">
                  <a:pos x="0" y="21"/>
                </a:cxn>
                <a:cxn ang="0">
                  <a:pos x="21" y="0"/>
                </a:cxn>
                <a:cxn ang="0">
                  <a:pos x="30" y="2"/>
                </a:cxn>
                <a:cxn ang="0">
                  <a:pos x="38" y="15"/>
                </a:cxn>
                <a:cxn ang="0">
                  <a:pos x="38" y="15"/>
                </a:cxn>
              </a:cxnLst>
              <a:rect l="0" t="0" r="r" b="b"/>
              <a:pathLst>
                <a:path w="38" h="38">
                  <a:moveTo>
                    <a:pt x="38" y="15"/>
                  </a:moveTo>
                  <a:lnTo>
                    <a:pt x="32" y="27"/>
                  </a:lnTo>
                  <a:lnTo>
                    <a:pt x="12" y="38"/>
                  </a:lnTo>
                  <a:lnTo>
                    <a:pt x="0" y="21"/>
                  </a:lnTo>
                  <a:lnTo>
                    <a:pt x="21" y="0"/>
                  </a:lnTo>
                  <a:lnTo>
                    <a:pt x="30" y="2"/>
                  </a:lnTo>
                  <a:lnTo>
                    <a:pt x="38" y="15"/>
                  </a:lnTo>
                  <a:lnTo>
                    <a:pt x="38"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52" name="Freeform 6127"/>
            <p:cNvSpPr>
              <a:spLocks/>
            </p:cNvSpPr>
            <p:nvPr>
              <p:custDataLst>
                <p:tags r:id="rId388"/>
              </p:custDataLst>
            </p:nvPr>
          </p:nvSpPr>
          <p:spPr bwMode="gray">
            <a:xfrm>
              <a:off x="5113844" y="3515454"/>
              <a:ext cx="14114" cy="12846"/>
            </a:xfrm>
            <a:custGeom>
              <a:avLst/>
              <a:gdLst/>
              <a:ahLst/>
              <a:cxnLst>
                <a:cxn ang="0">
                  <a:pos x="0" y="10"/>
                </a:cxn>
                <a:cxn ang="0">
                  <a:pos x="11" y="0"/>
                </a:cxn>
                <a:cxn ang="0">
                  <a:pos x="0" y="10"/>
                </a:cxn>
              </a:cxnLst>
              <a:rect l="0" t="0" r="r" b="b"/>
              <a:pathLst>
                <a:path w="11" h="10">
                  <a:moveTo>
                    <a:pt x="0" y="10"/>
                  </a:moveTo>
                  <a:lnTo>
                    <a:pt x="11" y="0"/>
                  </a:lnTo>
                  <a:lnTo>
                    <a:pt x="0" y="1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53" name="Line 6128"/>
            <p:cNvSpPr>
              <a:spLocks noChangeShapeType="1"/>
            </p:cNvSpPr>
            <p:nvPr>
              <p:custDataLst>
                <p:tags r:id="rId389"/>
              </p:custDataLst>
            </p:nvPr>
          </p:nvSpPr>
          <p:spPr bwMode="gray">
            <a:xfrm flipV="1">
              <a:off x="5113844" y="3515454"/>
              <a:ext cx="14114" cy="12846"/>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54" name="Freeform 6129"/>
            <p:cNvSpPr>
              <a:spLocks/>
            </p:cNvSpPr>
            <p:nvPr>
              <p:custDataLst>
                <p:tags r:id="rId390"/>
              </p:custDataLst>
            </p:nvPr>
          </p:nvSpPr>
          <p:spPr bwMode="gray">
            <a:xfrm>
              <a:off x="8928478" y="3828887"/>
              <a:ext cx="14114" cy="7707"/>
            </a:xfrm>
            <a:custGeom>
              <a:avLst/>
              <a:gdLst/>
              <a:ahLst/>
              <a:cxnLst>
                <a:cxn ang="0">
                  <a:pos x="0" y="0"/>
                </a:cxn>
                <a:cxn ang="0">
                  <a:pos x="1" y="6"/>
                </a:cxn>
                <a:cxn ang="0">
                  <a:pos x="11" y="6"/>
                </a:cxn>
                <a:cxn ang="0">
                  <a:pos x="11" y="0"/>
                </a:cxn>
                <a:cxn ang="0">
                  <a:pos x="0" y="0"/>
                </a:cxn>
              </a:cxnLst>
              <a:rect l="0" t="0" r="r" b="b"/>
              <a:pathLst>
                <a:path w="11" h="6">
                  <a:moveTo>
                    <a:pt x="0" y="0"/>
                  </a:moveTo>
                  <a:lnTo>
                    <a:pt x="1" y="6"/>
                  </a:lnTo>
                  <a:lnTo>
                    <a:pt x="11" y="6"/>
                  </a:lnTo>
                  <a:lnTo>
                    <a:pt x="11"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55" name="Freeform 6130"/>
            <p:cNvSpPr>
              <a:spLocks/>
            </p:cNvSpPr>
            <p:nvPr>
              <p:custDataLst>
                <p:tags r:id="rId391"/>
              </p:custDataLst>
            </p:nvPr>
          </p:nvSpPr>
          <p:spPr bwMode="gray">
            <a:xfrm>
              <a:off x="8928478" y="3828887"/>
              <a:ext cx="14114" cy="7707"/>
            </a:xfrm>
            <a:custGeom>
              <a:avLst/>
              <a:gdLst/>
              <a:ahLst/>
              <a:cxnLst>
                <a:cxn ang="0">
                  <a:pos x="0" y="0"/>
                </a:cxn>
                <a:cxn ang="0">
                  <a:pos x="1" y="6"/>
                </a:cxn>
                <a:cxn ang="0">
                  <a:pos x="11" y="6"/>
                </a:cxn>
                <a:cxn ang="0">
                  <a:pos x="11" y="0"/>
                </a:cxn>
              </a:cxnLst>
              <a:rect l="0" t="0" r="r" b="b"/>
              <a:pathLst>
                <a:path w="11" h="6">
                  <a:moveTo>
                    <a:pt x="0" y="0"/>
                  </a:moveTo>
                  <a:lnTo>
                    <a:pt x="1" y="6"/>
                  </a:lnTo>
                  <a:lnTo>
                    <a:pt x="11" y="6"/>
                  </a:lnTo>
                  <a:lnTo>
                    <a:pt x="11" y="0"/>
                  </a:lnTo>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56" name="Freeform 6131"/>
            <p:cNvSpPr>
              <a:spLocks/>
            </p:cNvSpPr>
            <p:nvPr>
              <p:custDataLst>
                <p:tags r:id="rId392"/>
              </p:custDataLst>
            </p:nvPr>
          </p:nvSpPr>
          <p:spPr bwMode="gray">
            <a:xfrm>
              <a:off x="8928478" y="3828887"/>
              <a:ext cx="14114" cy="0"/>
            </a:xfrm>
            <a:custGeom>
              <a:avLst/>
              <a:gdLst/>
              <a:ahLst/>
              <a:cxnLst>
                <a:cxn ang="0">
                  <a:pos x="11" y="0"/>
                </a:cxn>
                <a:cxn ang="0">
                  <a:pos x="0" y="0"/>
                </a:cxn>
                <a:cxn ang="0">
                  <a:pos x="11" y="0"/>
                </a:cxn>
              </a:cxnLst>
              <a:rect l="0" t="0" r="r" b="b"/>
              <a:pathLst>
                <a:path w="11">
                  <a:moveTo>
                    <a:pt x="11" y="0"/>
                  </a:moveTo>
                  <a:lnTo>
                    <a:pt x="0" y="0"/>
                  </a:lnTo>
                  <a:lnTo>
                    <a:pt x="11"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57" name="Line 6132"/>
            <p:cNvSpPr>
              <a:spLocks noChangeShapeType="1"/>
            </p:cNvSpPr>
            <p:nvPr>
              <p:custDataLst>
                <p:tags r:id="rId393"/>
              </p:custDataLst>
            </p:nvPr>
          </p:nvSpPr>
          <p:spPr bwMode="gray">
            <a:xfrm flipH="1">
              <a:off x="8928478" y="3828887"/>
              <a:ext cx="14114" cy="0"/>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58" name="Freeform 6133"/>
            <p:cNvSpPr>
              <a:spLocks/>
            </p:cNvSpPr>
            <p:nvPr>
              <p:custDataLst>
                <p:tags r:id="rId394"/>
              </p:custDataLst>
            </p:nvPr>
          </p:nvSpPr>
          <p:spPr bwMode="gray">
            <a:xfrm>
              <a:off x="6445694" y="3065858"/>
              <a:ext cx="80835" cy="79643"/>
            </a:xfrm>
            <a:custGeom>
              <a:avLst/>
              <a:gdLst/>
              <a:ahLst/>
              <a:cxnLst>
                <a:cxn ang="0">
                  <a:pos x="39" y="9"/>
                </a:cxn>
                <a:cxn ang="0">
                  <a:pos x="46" y="17"/>
                </a:cxn>
                <a:cxn ang="0">
                  <a:pos x="60" y="11"/>
                </a:cxn>
                <a:cxn ang="0">
                  <a:pos x="63" y="19"/>
                </a:cxn>
                <a:cxn ang="0">
                  <a:pos x="63" y="36"/>
                </a:cxn>
                <a:cxn ang="0">
                  <a:pos x="56" y="51"/>
                </a:cxn>
                <a:cxn ang="0">
                  <a:pos x="9" y="62"/>
                </a:cxn>
                <a:cxn ang="0">
                  <a:pos x="0" y="51"/>
                </a:cxn>
                <a:cxn ang="0">
                  <a:pos x="9" y="51"/>
                </a:cxn>
                <a:cxn ang="0">
                  <a:pos x="22" y="34"/>
                </a:cxn>
                <a:cxn ang="0">
                  <a:pos x="7" y="28"/>
                </a:cxn>
                <a:cxn ang="0">
                  <a:pos x="17" y="23"/>
                </a:cxn>
                <a:cxn ang="0">
                  <a:pos x="9" y="19"/>
                </a:cxn>
                <a:cxn ang="0">
                  <a:pos x="13" y="13"/>
                </a:cxn>
                <a:cxn ang="0">
                  <a:pos x="30" y="13"/>
                </a:cxn>
                <a:cxn ang="0">
                  <a:pos x="35" y="9"/>
                </a:cxn>
                <a:cxn ang="0">
                  <a:pos x="30" y="8"/>
                </a:cxn>
                <a:cxn ang="0">
                  <a:pos x="35" y="0"/>
                </a:cxn>
                <a:cxn ang="0">
                  <a:pos x="45" y="0"/>
                </a:cxn>
                <a:cxn ang="0">
                  <a:pos x="39" y="9"/>
                </a:cxn>
                <a:cxn ang="0">
                  <a:pos x="39" y="9"/>
                </a:cxn>
              </a:cxnLst>
              <a:rect l="0" t="0" r="r" b="b"/>
              <a:pathLst>
                <a:path w="63" h="62">
                  <a:moveTo>
                    <a:pt x="39" y="9"/>
                  </a:moveTo>
                  <a:lnTo>
                    <a:pt x="46" y="17"/>
                  </a:lnTo>
                  <a:lnTo>
                    <a:pt x="60" y="11"/>
                  </a:lnTo>
                  <a:lnTo>
                    <a:pt x="63" y="19"/>
                  </a:lnTo>
                  <a:lnTo>
                    <a:pt x="63" y="36"/>
                  </a:lnTo>
                  <a:lnTo>
                    <a:pt x="56" y="51"/>
                  </a:lnTo>
                  <a:lnTo>
                    <a:pt x="9" y="62"/>
                  </a:lnTo>
                  <a:lnTo>
                    <a:pt x="0" y="51"/>
                  </a:lnTo>
                  <a:lnTo>
                    <a:pt x="9" y="51"/>
                  </a:lnTo>
                  <a:lnTo>
                    <a:pt x="22" y="34"/>
                  </a:lnTo>
                  <a:lnTo>
                    <a:pt x="7" y="28"/>
                  </a:lnTo>
                  <a:lnTo>
                    <a:pt x="17" y="23"/>
                  </a:lnTo>
                  <a:lnTo>
                    <a:pt x="9" y="19"/>
                  </a:lnTo>
                  <a:lnTo>
                    <a:pt x="13" y="13"/>
                  </a:lnTo>
                  <a:lnTo>
                    <a:pt x="30" y="13"/>
                  </a:lnTo>
                  <a:lnTo>
                    <a:pt x="35" y="9"/>
                  </a:lnTo>
                  <a:lnTo>
                    <a:pt x="30" y="8"/>
                  </a:lnTo>
                  <a:lnTo>
                    <a:pt x="35" y="0"/>
                  </a:lnTo>
                  <a:lnTo>
                    <a:pt x="45" y="0"/>
                  </a:lnTo>
                  <a:lnTo>
                    <a:pt x="39" y="9"/>
                  </a:lnTo>
                  <a:lnTo>
                    <a:pt x="39" y="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59" name="Freeform 6134"/>
            <p:cNvSpPr>
              <a:spLocks/>
            </p:cNvSpPr>
            <p:nvPr>
              <p:custDataLst>
                <p:tags r:id="rId395"/>
              </p:custDataLst>
            </p:nvPr>
          </p:nvSpPr>
          <p:spPr bwMode="gray">
            <a:xfrm>
              <a:off x="6694614" y="3096688"/>
              <a:ext cx="68004" cy="65513"/>
            </a:xfrm>
            <a:custGeom>
              <a:avLst/>
              <a:gdLst/>
              <a:ahLst/>
              <a:cxnLst>
                <a:cxn ang="0">
                  <a:pos x="0" y="40"/>
                </a:cxn>
                <a:cxn ang="0">
                  <a:pos x="17" y="15"/>
                </a:cxn>
                <a:cxn ang="0">
                  <a:pos x="21" y="14"/>
                </a:cxn>
                <a:cxn ang="0">
                  <a:pos x="21" y="21"/>
                </a:cxn>
                <a:cxn ang="0">
                  <a:pos x="27" y="25"/>
                </a:cxn>
                <a:cxn ang="0">
                  <a:pos x="32" y="21"/>
                </a:cxn>
                <a:cxn ang="0">
                  <a:pos x="27" y="8"/>
                </a:cxn>
                <a:cxn ang="0">
                  <a:pos x="53" y="0"/>
                </a:cxn>
                <a:cxn ang="0">
                  <a:pos x="44" y="19"/>
                </a:cxn>
                <a:cxn ang="0">
                  <a:pos x="47" y="25"/>
                </a:cxn>
                <a:cxn ang="0">
                  <a:pos x="32" y="32"/>
                </a:cxn>
                <a:cxn ang="0">
                  <a:pos x="32" y="51"/>
                </a:cxn>
                <a:cxn ang="0">
                  <a:pos x="21" y="40"/>
                </a:cxn>
                <a:cxn ang="0">
                  <a:pos x="21" y="40"/>
                </a:cxn>
                <a:cxn ang="0">
                  <a:pos x="0" y="40"/>
                </a:cxn>
                <a:cxn ang="0">
                  <a:pos x="0" y="40"/>
                </a:cxn>
                <a:cxn ang="0">
                  <a:pos x="0" y="40"/>
                </a:cxn>
              </a:cxnLst>
              <a:rect l="0" t="0" r="r" b="b"/>
              <a:pathLst>
                <a:path w="53" h="51">
                  <a:moveTo>
                    <a:pt x="0" y="40"/>
                  </a:moveTo>
                  <a:lnTo>
                    <a:pt x="17" y="15"/>
                  </a:lnTo>
                  <a:lnTo>
                    <a:pt x="21" y="14"/>
                  </a:lnTo>
                  <a:lnTo>
                    <a:pt x="21" y="21"/>
                  </a:lnTo>
                  <a:lnTo>
                    <a:pt x="27" y="25"/>
                  </a:lnTo>
                  <a:lnTo>
                    <a:pt x="32" y="21"/>
                  </a:lnTo>
                  <a:lnTo>
                    <a:pt x="27" y="8"/>
                  </a:lnTo>
                  <a:lnTo>
                    <a:pt x="53" y="0"/>
                  </a:lnTo>
                  <a:lnTo>
                    <a:pt x="44" y="19"/>
                  </a:lnTo>
                  <a:lnTo>
                    <a:pt x="47" y="25"/>
                  </a:lnTo>
                  <a:lnTo>
                    <a:pt x="32" y="32"/>
                  </a:lnTo>
                  <a:lnTo>
                    <a:pt x="32" y="51"/>
                  </a:lnTo>
                  <a:lnTo>
                    <a:pt x="21" y="40"/>
                  </a:lnTo>
                  <a:lnTo>
                    <a:pt x="21" y="40"/>
                  </a:lnTo>
                  <a:lnTo>
                    <a:pt x="0" y="40"/>
                  </a:lnTo>
                  <a:lnTo>
                    <a:pt x="0" y="40"/>
                  </a:lnTo>
                  <a:lnTo>
                    <a:pt x="0" y="4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60" name="Freeform 6135"/>
            <p:cNvSpPr>
              <a:spLocks/>
            </p:cNvSpPr>
            <p:nvPr>
              <p:custDataLst>
                <p:tags r:id="rId396"/>
              </p:custDataLst>
            </p:nvPr>
          </p:nvSpPr>
          <p:spPr bwMode="gray">
            <a:xfrm>
              <a:off x="6933269" y="3178900"/>
              <a:ext cx="101364" cy="52667"/>
            </a:xfrm>
            <a:custGeom>
              <a:avLst/>
              <a:gdLst/>
              <a:ahLst/>
              <a:cxnLst>
                <a:cxn ang="0">
                  <a:pos x="0" y="23"/>
                </a:cxn>
                <a:cxn ang="0">
                  <a:pos x="6" y="36"/>
                </a:cxn>
                <a:cxn ang="0">
                  <a:pos x="21" y="41"/>
                </a:cxn>
                <a:cxn ang="0">
                  <a:pos x="56" y="26"/>
                </a:cxn>
                <a:cxn ang="0">
                  <a:pos x="75" y="28"/>
                </a:cxn>
                <a:cxn ang="0">
                  <a:pos x="79" y="17"/>
                </a:cxn>
                <a:cxn ang="0">
                  <a:pos x="65" y="11"/>
                </a:cxn>
                <a:cxn ang="0">
                  <a:pos x="45" y="15"/>
                </a:cxn>
                <a:cxn ang="0">
                  <a:pos x="17" y="0"/>
                </a:cxn>
                <a:cxn ang="0">
                  <a:pos x="0" y="23"/>
                </a:cxn>
                <a:cxn ang="0">
                  <a:pos x="0" y="23"/>
                </a:cxn>
              </a:cxnLst>
              <a:rect l="0" t="0" r="r" b="b"/>
              <a:pathLst>
                <a:path w="79" h="41">
                  <a:moveTo>
                    <a:pt x="0" y="23"/>
                  </a:moveTo>
                  <a:lnTo>
                    <a:pt x="6" y="36"/>
                  </a:lnTo>
                  <a:lnTo>
                    <a:pt x="21" y="41"/>
                  </a:lnTo>
                  <a:lnTo>
                    <a:pt x="56" y="26"/>
                  </a:lnTo>
                  <a:lnTo>
                    <a:pt x="75" y="28"/>
                  </a:lnTo>
                  <a:lnTo>
                    <a:pt x="79" y="17"/>
                  </a:lnTo>
                  <a:lnTo>
                    <a:pt x="65" y="11"/>
                  </a:lnTo>
                  <a:lnTo>
                    <a:pt x="45" y="15"/>
                  </a:lnTo>
                  <a:lnTo>
                    <a:pt x="17" y="0"/>
                  </a:lnTo>
                  <a:lnTo>
                    <a:pt x="0" y="23"/>
                  </a:lnTo>
                  <a:lnTo>
                    <a:pt x="0" y="2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61" name="Freeform 6136"/>
            <p:cNvSpPr>
              <a:spLocks/>
            </p:cNvSpPr>
            <p:nvPr>
              <p:custDataLst>
                <p:tags r:id="rId397"/>
              </p:custDataLst>
            </p:nvPr>
          </p:nvSpPr>
          <p:spPr bwMode="gray">
            <a:xfrm>
              <a:off x="6844736" y="3151924"/>
              <a:ext cx="110346" cy="57805"/>
            </a:xfrm>
            <a:custGeom>
              <a:avLst/>
              <a:gdLst/>
              <a:ahLst/>
              <a:cxnLst>
                <a:cxn ang="0">
                  <a:pos x="86" y="21"/>
                </a:cxn>
                <a:cxn ang="0">
                  <a:pos x="69" y="14"/>
                </a:cxn>
                <a:cxn ang="0">
                  <a:pos x="67" y="19"/>
                </a:cxn>
                <a:cxn ang="0">
                  <a:pos x="52" y="8"/>
                </a:cxn>
                <a:cxn ang="0">
                  <a:pos x="37" y="6"/>
                </a:cxn>
                <a:cxn ang="0">
                  <a:pos x="31" y="0"/>
                </a:cxn>
                <a:cxn ang="0">
                  <a:pos x="0" y="15"/>
                </a:cxn>
                <a:cxn ang="0">
                  <a:pos x="7" y="30"/>
                </a:cxn>
                <a:cxn ang="0">
                  <a:pos x="26" y="44"/>
                </a:cxn>
                <a:cxn ang="0">
                  <a:pos x="39" y="45"/>
                </a:cxn>
                <a:cxn ang="0">
                  <a:pos x="45" y="40"/>
                </a:cxn>
                <a:cxn ang="0">
                  <a:pos x="69" y="44"/>
                </a:cxn>
                <a:cxn ang="0">
                  <a:pos x="86" y="21"/>
                </a:cxn>
                <a:cxn ang="0">
                  <a:pos x="86" y="21"/>
                </a:cxn>
              </a:cxnLst>
              <a:rect l="0" t="0" r="r" b="b"/>
              <a:pathLst>
                <a:path w="86" h="45">
                  <a:moveTo>
                    <a:pt x="86" y="21"/>
                  </a:moveTo>
                  <a:lnTo>
                    <a:pt x="69" y="14"/>
                  </a:lnTo>
                  <a:lnTo>
                    <a:pt x="67" y="19"/>
                  </a:lnTo>
                  <a:lnTo>
                    <a:pt x="52" y="8"/>
                  </a:lnTo>
                  <a:lnTo>
                    <a:pt x="37" y="6"/>
                  </a:lnTo>
                  <a:lnTo>
                    <a:pt x="31" y="0"/>
                  </a:lnTo>
                  <a:lnTo>
                    <a:pt x="0" y="15"/>
                  </a:lnTo>
                  <a:lnTo>
                    <a:pt x="7" y="30"/>
                  </a:lnTo>
                  <a:lnTo>
                    <a:pt x="26" y="44"/>
                  </a:lnTo>
                  <a:lnTo>
                    <a:pt x="39" y="45"/>
                  </a:lnTo>
                  <a:lnTo>
                    <a:pt x="45" y="40"/>
                  </a:lnTo>
                  <a:lnTo>
                    <a:pt x="69" y="44"/>
                  </a:lnTo>
                  <a:lnTo>
                    <a:pt x="86" y="21"/>
                  </a:lnTo>
                  <a:lnTo>
                    <a:pt x="86" y="2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62" name="Freeform 6137"/>
            <p:cNvSpPr>
              <a:spLocks noEditPoints="1"/>
            </p:cNvSpPr>
            <p:nvPr>
              <p:custDataLst>
                <p:tags r:id="rId398"/>
              </p:custDataLst>
            </p:nvPr>
          </p:nvSpPr>
          <p:spPr bwMode="gray">
            <a:xfrm>
              <a:off x="4299080" y="2668929"/>
              <a:ext cx="1343398" cy="700085"/>
            </a:xfrm>
            <a:custGeom>
              <a:avLst/>
              <a:gdLst/>
              <a:ahLst/>
              <a:cxnLst>
                <a:cxn ang="0">
                  <a:pos x="1041" y="333"/>
                </a:cxn>
                <a:cxn ang="0">
                  <a:pos x="1017" y="313"/>
                </a:cxn>
                <a:cxn ang="0">
                  <a:pos x="1004" y="273"/>
                </a:cxn>
                <a:cxn ang="0">
                  <a:pos x="927" y="255"/>
                </a:cxn>
                <a:cxn ang="0">
                  <a:pos x="895" y="184"/>
                </a:cxn>
                <a:cxn ang="0">
                  <a:pos x="820" y="212"/>
                </a:cxn>
                <a:cxn ang="0">
                  <a:pos x="787" y="292"/>
                </a:cxn>
                <a:cxn ang="0">
                  <a:pos x="680" y="347"/>
                </a:cxn>
                <a:cxn ang="0">
                  <a:pos x="599" y="247"/>
                </a:cxn>
                <a:cxn ang="0">
                  <a:pos x="657" y="180"/>
                </a:cxn>
                <a:cxn ang="0">
                  <a:pos x="785" y="122"/>
                </a:cxn>
                <a:cxn ang="0">
                  <a:pos x="862" y="99"/>
                </a:cxn>
                <a:cxn ang="0">
                  <a:pos x="839" y="65"/>
                </a:cxn>
                <a:cxn ang="0">
                  <a:pos x="790" y="73"/>
                </a:cxn>
                <a:cxn ang="0">
                  <a:pos x="768" y="34"/>
                </a:cxn>
                <a:cxn ang="0">
                  <a:pos x="815" y="0"/>
                </a:cxn>
                <a:cxn ang="0">
                  <a:pos x="732" y="71"/>
                </a:cxn>
                <a:cxn ang="0">
                  <a:pos x="684" y="86"/>
                </a:cxn>
                <a:cxn ang="0">
                  <a:pos x="674" y="84"/>
                </a:cxn>
                <a:cxn ang="0">
                  <a:pos x="538" y="90"/>
                </a:cxn>
                <a:cxn ang="0">
                  <a:pos x="455" y="95"/>
                </a:cxn>
                <a:cxn ang="0">
                  <a:pos x="399" y="65"/>
                </a:cxn>
                <a:cxn ang="0">
                  <a:pos x="358" y="69"/>
                </a:cxn>
                <a:cxn ang="0">
                  <a:pos x="268" y="71"/>
                </a:cxn>
                <a:cxn ang="0">
                  <a:pos x="0" y="221"/>
                </a:cxn>
                <a:cxn ang="0">
                  <a:pos x="58" y="243"/>
                </a:cxn>
                <a:cxn ang="0">
                  <a:pos x="24" y="328"/>
                </a:cxn>
                <a:cxn ang="0">
                  <a:pos x="67" y="416"/>
                </a:cxn>
                <a:cxn ang="0">
                  <a:pos x="524" y="435"/>
                </a:cxn>
                <a:cxn ang="0">
                  <a:pos x="588" y="461"/>
                </a:cxn>
                <a:cxn ang="0">
                  <a:pos x="637" y="496"/>
                </a:cxn>
                <a:cxn ang="0">
                  <a:pos x="569" y="545"/>
                </a:cxn>
                <a:cxn ang="0">
                  <a:pos x="641" y="511"/>
                </a:cxn>
                <a:cxn ang="0">
                  <a:pos x="781" y="483"/>
                </a:cxn>
                <a:cxn ang="0">
                  <a:pos x="867" y="476"/>
                </a:cxn>
                <a:cxn ang="0">
                  <a:pos x="869" y="496"/>
                </a:cxn>
                <a:cxn ang="0">
                  <a:pos x="918" y="474"/>
                </a:cxn>
                <a:cxn ang="0">
                  <a:pos x="869" y="442"/>
                </a:cxn>
                <a:cxn ang="0">
                  <a:pos x="832" y="425"/>
                </a:cxn>
                <a:cxn ang="0">
                  <a:pos x="871" y="397"/>
                </a:cxn>
                <a:cxn ang="0">
                  <a:pos x="1047" y="343"/>
                </a:cxn>
                <a:cxn ang="0">
                  <a:pos x="395" y="110"/>
                </a:cxn>
                <a:cxn ang="0">
                  <a:pos x="363" y="135"/>
                </a:cxn>
                <a:cxn ang="0">
                  <a:pos x="354" y="125"/>
                </a:cxn>
                <a:cxn ang="0">
                  <a:pos x="365" y="184"/>
                </a:cxn>
                <a:cxn ang="0">
                  <a:pos x="435" y="184"/>
                </a:cxn>
                <a:cxn ang="0">
                  <a:pos x="397" y="228"/>
                </a:cxn>
                <a:cxn ang="0">
                  <a:pos x="431" y="375"/>
                </a:cxn>
                <a:cxn ang="0">
                  <a:pos x="431" y="352"/>
                </a:cxn>
                <a:cxn ang="0">
                  <a:pos x="438" y="348"/>
                </a:cxn>
                <a:cxn ang="0">
                  <a:pos x="463" y="369"/>
                </a:cxn>
                <a:cxn ang="0">
                  <a:pos x="459" y="332"/>
                </a:cxn>
                <a:cxn ang="0">
                  <a:pos x="451" y="283"/>
                </a:cxn>
              </a:cxnLst>
              <a:rect l="0" t="0" r="r" b="b"/>
              <a:pathLst>
                <a:path w="1047" h="545">
                  <a:moveTo>
                    <a:pt x="834" y="485"/>
                  </a:moveTo>
                  <a:lnTo>
                    <a:pt x="834" y="485"/>
                  </a:lnTo>
                  <a:lnTo>
                    <a:pt x="832" y="485"/>
                  </a:lnTo>
                  <a:lnTo>
                    <a:pt x="834" y="485"/>
                  </a:lnTo>
                  <a:close/>
                  <a:moveTo>
                    <a:pt x="1041" y="333"/>
                  </a:moveTo>
                  <a:lnTo>
                    <a:pt x="1032" y="333"/>
                  </a:lnTo>
                  <a:lnTo>
                    <a:pt x="1034" y="326"/>
                  </a:lnTo>
                  <a:lnTo>
                    <a:pt x="1021" y="324"/>
                  </a:lnTo>
                  <a:lnTo>
                    <a:pt x="1036" y="318"/>
                  </a:lnTo>
                  <a:lnTo>
                    <a:pt x="1017" y="313"/>
                  </a:lnTo>
                  <a:lnTo>
                    <a:pt x="1017" y="307"/>
                  </a:lnTo>
                  <a:lnTo>
                    <a:pt x="1002" y="305"/>
                  </a:lnTo>
                  <a:lnTo>
                    <a:pt x="1002" y="298"/>
                  </a:lnTo>
                  <a:lnTo>
                    <a:pt x="991" y="288"/>
                  </a:lnTo>
                  <a:lnTo>
                    <a:pt x="1004" y="273"/>
                  </a:lnTo>
                  <a:lnTo>
                    <a:pt x="989" y="219"/>
                  </a:lnTo>
                  <a:lnTo>
                    <a:pt x="972" y="228"/>
                  </a:lnTo>
                  <a:lnTo>
                    <a:pt x="972" y="234"/>
                  </a:lnTo>
                  <a:lnTo>
                    <a:pt x="965" y="242"/>
                  </a:lnTo>
                  <a:lnTo>
                    <a:pt x="927" y="255"/>
                  </a:lnTo>
                  <a:lnTo>
                    <a:pt x="916" y="238"/>
                  </a:lnTo>
                  <a:lnTo>
                    <a:pt x="933" y="208"/>
                  </a:lnTo>
                  <a:lnTo>
                    <a:pt x="907" y="202"/>
                  </a:lnTo>
                  <a:lnTo>
                    <a:pt x="914" y="197"/>
                  </a:lnTo>
                  <a:lnTo>
                    <a:pt x="895" y="184"/>
                  </a:lnTo>
                  <a:lnTo>
                    <a:pt x="848" y="182"/>
                  </a:lnTo>
                  <a:lnTo>
                    <a:pt x="837" y="187"/>
                  </a:lnTo>
                  <a:lnTo>
                    <a:pt x="832" y="193"/>
                  </a:lnTo>
                  <a:lnTo>
                    <a:pt x="837" y="197"/>
                  </a:lnTo>
                  <a:lnTo>
                    <a:pt x="820" y="212"/>
                  </a:lnTo>
                  <a:lnTo>
                    <a:pt x="824" y="215"/>
                  </a:lnTo>
                  <a:lnTo>
                    <a:pt x="817" y="230"/>
                  </a:lnTo>
                  <a:lnTo>
                    <a:pt x="790" y="245"/>
                  </a:lnTo>
                  <a:lnTo>
                    <a:pt x="800" y="253"/>
                  </a:lnTo>
                  <a:lnTo>
                    <a:pt x="787" y="292"/>
                  </a:lnTo>
                  <a:lnTo>
                    <a:pt x="734" y="317"/>
                  </a:lnTo>
                  <a:lnTo>
                    <a:pt x="727" y="360"/>
                  </a:lnTo>
                  <a:lnTo>
                    <a:pt x="699" y="375"/>
                  </a:lnTo>
                  <a:lnTo>
                    <a:pt x="697" y="380"/>
                  </a:lnTo>
                  <a:lnTo>
                    <a:pt x="680" y="347"/>
                  </a:lnTo>
                  <a:lnTo>
                    <a:pt x="702" y="311"/>
                  </a:lnTo>
                  <a:lnTo>
                    <a:pt x="667" y="305"/>
                  </a:lnTo>
                  <a:lnTo>
                    <a:pt x="609" y="272"/>
                  </a:lnTo>
                  <a:lnTo>
                    <a:pt x="588" y="277"/>
                  </a:lnTo>
                  <a:lnTo>
                    <a:pt x="599" y="247"/>
                  </a:lnTo>
                  <a:lnTo>
                    <a:pt x="583" y="247"/>
                  </a:lnTo>
                  <a:lnTo>
                    <a:pt x="583" y="240"/>
                  </a:lnTo>
                  <a:lnTo>
                    <a:pt x="616" y="206"/>
                  </a:lnTo>
                  <a:lnTo>
                    <a:pt x="652" y="189"/>
                  </a:lnTo>
                  <a:lnTo>
                    <a:pt x="657" y="180"/>
                  </a:lnTo>
                  <a:lnTo>
                    <a:pt x="686" y="176"/>
                  </a:lnTo>
                  <a:lnTo>
                    <a:pt x="708" y="157"/>
                  </a:lnTo>
                  <a:lnTo>
                    <a:pt x="727" y="157"/>
                  </a:lnTo>
                  <a:lnTo>
                    <a:pt x="757" y="142"/>
                  </a:lnTo>
                  <a:lnTo>
                    <a:pt x="785" y="122"/>
                  </a:lnTo>
                  <a:lnTo>
                    <a:pt x="779" y="118"/>
                  </a:lnTo>
                  <a:lnTo>
                    <a:pt x="796" y="116"/>
                  </a:lnTo>
                  <a:lnTo>
                    <a:pt x="813" y="122"/>
                  </a:lnTo>
                  <a:lnTo>
                    <a:pt x="850" y="109"/>
                  </a:lnTo>
                  <a:lnTo>
                    <a:pt x="862" y="99"/>
                  </a:lnTo>
                  <a:lnTo>
                    <a:pt x="848" y="95"/>
                  </a:lnTo>
                  <a:lnTo>
                    <a:pt x="878" y="75"/>
                  </a:lnTo>
                  <a:lnTo>
                    <a:pt x="865" y="73"/>
                  </a:lnTo>
                  <a:lnTo>
                    <a:pt x="867" y="67"/>
                  </a:lnTo>
                  <a:lnTo>
                    <a:pt x="839" y="65"/>
                  </a:lnTo>
                  <a:lnTo>
                    <a:pt x="819" y="92"/>
                  </a:lnTo>
                  <a:lnTo>
                    <a:pt x="783" y="105"/>
                  </a:lnTo>
                  <a:lnTo>
                    <a:pt x="781" y="95"/>
                  </a:lnTo>
                  <a:lnTo>
                    <a:pt x="794" y="80"/>
                  </a:lnTo>
                  <a:lnTo>
                    <a:pt x="790" y="73"/>
                  </a:lnTo>
                  <a:lnTo>
                    <a:pt x="770" y="84"/>
                  </a:lnTo>
                  <a:lnTo>
                    <a:pt x="766" y="69"/>
                  </a:lnTo>
                  <a:lnTo>
                    <a:pt x="757" y="65"/>
                  </a:lnTo>
                  <a:lnTo>
                    <a:pt x="775" y="60"/>
                  </a:lnTo>
                  <a:lnTo>
                    <a:pt x="768" y="34"/>
                  </a:lnTo>
                  <a:lnTo>
                    <a:pt x="781" y="28"/>
                  </a:lnTo>
                  <a:lnTo>
                    <a:pt x="781" y="22"/>
                  </a:lnTo>
                  <a:lnTo>
                    <a:pt x="807" y="21"/>
                  </a:lnTo>
                  <a:lnTo>
                    <a:pt x="843" y="4"/>
                  </a:lnTo>
                  <a:lnTo>
                    <a:pt x="815" y="0"/>
                  </a:lnTo>
                  <a:lnTo>
                    <a:pt x="779" y="7"/>
                  </a:lnTo>
                  <a:lnTo>
                    <a:pt x="757" y="36"/>
                  </a:lnTo>
                  <a:lnTo>
                    <a:pt x="716" y="56"/>
                  </a:lnTo>
                  <a:lnTo>
                    <a:pt x="719" y="65"/>
                  </a:lnTo>
                  <a:lnTo>
                    <a:pt x="732" y="71"/>
                  </a:lnTo>
                  <a:lnTo>
                    <a:pt x="719" y="77"/>
                  </a:lnTo>
                  <a:lnTo>
                    <a:pt x="717" y="84"/>
                  </a:lnTo>
                  <a:lnTo>
                    <a:pt x="684" y="101"/>
                  </a:lnTo>
                  <a:lnTo>
                    <a:pt x="676" y="95"/>
                  </a:lnTo>
                  <a:lnTo>
                    <a:pt x="684" y="86"/>
                  </a:lnTo>
                  <a:lnTo>
                    <a:pt x="704" y="80"/>
                  </a:lnTo>
                  <a:lnTo>
                    <a:pt x="702" y="73"/>
                  </a:lnTo>
                  <a:lnTo>
                    <a:pt x="693" y="65"/>
                  </a:lnTo>
                  <a:lnTo>
                    <a:pt x="661" y="77"/>
                  </a:lnTo>
                  <a:lnTo>
                    <a:pt x="674" y="84"/>
                  </a:lnTo>
                  <a:lnTo>
                    <a:pt x="652" y="99"/>
                  </a:lnTo>
                  <a:lnTo>
                    <a:pt x="616" y="97"/>
                  </a:lnTo>
                  <a:lnTo>
                    <a:pt x="592" y="88"/>
                  </a:lnTo>
                  <a:lnTo>
                    <a:pt x="586" y="79"/>
                  </a:lnTo>
                  <a:lnTo>
                    <a:pt x="538" y="90"/>
                  </a:lnTo>
                  <a:lnTo>
                    <a:pt x="547" y="94"/>
                  </a:lnTo>
                  <a:lnTo>
                    <a:pt x="536" y="99"/>
                  </a:lnTo>
                  <a:lnTo>
                    <a:pt x="519" y="94"/>
                  </a:lnTo>
                  <a:lnTo>
                    <a:pt x="479" y="99"/>
                  </a:lnTo>
                  <a:lnTo>
                    <a:pt x="455" y="95"/>
                  </a:lnTo>
                  <a:lnTo>
                    <a:pt x="478" y="90"/>
                  </a:lnTo>
                  <a:lnTo>
                    <a:pt x="478" y="82"/>
                  </a:lnTo>
                  <a:lnTo>
                    <a:pt x="436" y="75"/>
                  </a:lnTo>
                  <a:lnTo>
                    <a:pt x="418" y="65"/>
                  </a:lnTo>
                  <a:lnTo>
                    <a:pt x="399" y="65"/>
                  </a:lnTo>
                  <a:lnTo>
                    <a:pt x="384" y="71"/>
                  </a:lnTo>
                  <a:lnTo>
                    <a:pt x="376" y="71"/>
                  </a:lnTo>
                  <a:lnTo>
                    <a:pt x="386" y="62"/>
                  </a:lnTo>
                  <a:lnTo>
                    <a:pt x="363" y="71"/>
                  </a:lnTo>
                  <a:lnTo>
                    <a:pt x="358" y="69"/>
                  </a:lnTo>
                  <a:lnTo>
                    <a:pt x="361" y="60"/>
                  </a:lnTo>
                  <a:lnTo>
                    <a:pt x="356" y="52"/>
                  </a:lnTo>
                  <a:lnTo>
                    <a:pt x="324" y="65"/>
                  </a:lnTo>
                  <a:lnTo>
                    <a:pt x="328" y="58"/>
                  </a:lnTo>
                  <a:lnTo>
                    <a:pt x="268" y="71"/>
                  </a:lnTo>
                  <a:lnTo>
                    <a:pt x="251" y="69"/>
                  </a:lnTo>
                  <a:lnTo>
                    <a:pt x="225" y="80"/>
                  </a:lnTo>
                  <a:lnTo>
                    <a:pt x="185" y="67"/>
                  </a:lnTo>
                  <a:lnTo>
                    <a:pt x="2" y="217"/>
                  </a:lnTo>
                  <a:lnTo>
                    <a:pt x="0" y="221"/>
                  </a:lnTo>
                  <a:lnTo>
                    <a:pt x="22" y="219"/>
                  </a:lnTo>
                  <a:lnTo>
                    <a:pt x="17" y="223"/>
                  </a:lnTo>
                  <a:lnTo>
                    <a:pt x="22" y="242"/>
                  </a:lnTo>
                  <a:lnTo>
                    <a:pt x="62" y="228"/>
                  </a:lnTo>
                  <a:lnTo>
                    <a:pt x="58" y="243"/>
                  </a:lnTo>
                  <a:lnTo>
                    <a:pt x="64" y="247"/>
                  </a:lnTo>
                  <a:lnTo>
                    <a:pt x="52" y="281"/>
                  </a:lnTo>
                  <a:lnTo>
                    <a:pt x="67" y="294"/>
                  </a:lnTo>
                  <a:lnTo>
                    <a:pt x="51" y="311"/>
                  </a:lnTo>
                  <a:lnTo>
                    <a:pt x="24" y="328"/>
                  </a:lnTo>
                  <a:lnTo>
                    <a:pt x="26" y="352"/>
                  </a:lnTo>
                  <a:lnTo>
                    <a:pt x="34" y="358"/>
                  </a:lnTo>
                  <a:lnTo>
                    <a:pt x="26" y="376"/>
                  </a:lnTo>
                  <a:lnTo>
                    <a:pt x="47" y="391"/>
                  </a:lnTo>
                  <a:lnTo>
                    <a:pt x="67" y="416"/>
                  </a:lnTo>
                  <a:lnTo>
                    <a:pt x="455" y="416"/>
                  </a:lnTo>
                  <a:lnTo>
                    <a:pt x="465" y="408"/>
                  </a:lnTo>
                  <a:lnTo>
                    <a:pt x="468" y="421"/>
                  </a:lnTo>
                  <a:lnTo>
                    <a:pt x="526" y="435"/>
                  </a:lnTo>
                  <a:lnTo>
                    <a:pt x="524" y="435"/>
                  </a:lnTo>
                  <a:lnTo>
                    <a:pt x="560" y="416"/>
                  </a:lnTo>
                  <a:lnTo>
                    <a:pt x="581" y="420"/>
                  </a:lnTo>
                  <a:lnTo>
                    <a:pt x="583" y="436"/>
                  </a:lnTo>
                  <a:lnTo>
                    <a:pt x="596" y="436"/>
                  </a:lnTo>
                  <a:lnTo>
                    <a:pt x="588" y="461"/>
                  </a:lnTo>
                  <a:lnTo>
                    <a:pt x="594" y="465"/>
                  </a:lnTo>
                  <a:lnTo>
                    <a:pt x="592" y="465"/>
                  </a:lnTo>
                  <a:lnTo>
                    <a:pt x="639" y="472"/>
                  </a:lnTo>
                  <a:lnTo>
                    <a:pt x="644" y="491"/>
                  </a:lnTo>
                  <a:lnTo>
                    <a:pt x="637" y="496"/>
                  </a:lnTo>
                  <a:lnTo>
                    <a:pt x="622" y="485"/>
                  </a:lnTo>
                  <a:lnTo>
                    <a:pt x="603" y="519"/>
                  </a:lnTo>
                  <a:lnTo>
                    <a:pt x="592" y="523"/>
                  </a:lnTo>
                  <a:lnTo>
                    <a:pt x="592" y="523"/>
                  </a:lnTo>
                  <a:lnTo>
                    <a:pt x="569" y="545"/>
                  </a:lnTo>
                  <a:lnTo>
                    <a:pt x="601" y="532"/>
                  </a:lnTo>
                  <a:lnTo>
                    <a:pt x="642" y="528"/>
                  </a:lnTo>
                  <a:lnTo>
                    <a:pt x="642" y="519"/>
                  </a:lnTo>
                  <a:lnTo>
                    <a:pt x="631" y="519"/>
                  </a:lnTo>
                  <a:lnTo>
                    <a:pt x="641" y="511"/>
                  </a:lnTo>
                  <a:lnTo>
                    <a:pt x="678" y="508"/>
                  </a:lnTo>
                  <a:lnTo>
                    <a:pt x="695" y="500"/>
                  </a:lnTo>
                  <a:lnTo>
                    <a:pt x="717" y="489"/>
                  </a:lnTo>
                  <a:lnTo>
                    <a:pt x="762" y="489"/>
                  </a:lnTo>
                  <a:lnTo>
                    <a:pt x="781" y="483"/>
                  </a:lnTo>
                  <a:lnTo>
                    <a:pt x="813" y="444"/>
                  </a:lnTo>
                  <a:lnTo>
                    <a:pt x="834" y="450"/>
                  </a:lnTo>
                  <a:lnTo>
                    <a:pt x="826" y="476"/>
                  </a:lnTo>
                  <a:lnTo>
                    <a:pt x="834" y="485"/>
                  </a:lnTo>
                  <a:lnTo>
                    <a:pt x="867" y="476"/>
                  </a:lnTo>
                  <a:lnTo>
                    <a:pt x="865" y="481"/>
                  </a:lnTo>
                  <a:lnTo>
                    <a:pt x="875" y="481"/>
                  </a:lnTo>
                  <a:lnTo>
                    <a:pt x="839" y="504"/>
                  </a:lnTo>
                  <a:lnTo>
                    <a:pt x="843" y="515"/>
                  </a:lnTo>
                  <a:lnTo>
                    <a:pt x="869" y="496"/>
                  </a:lnTo>
                  <a:lnTo>
                    <a:pt x="918" y="485"/>
                  </a:lnTo>
                  <a:lnTo>
                    <a:pt x="942" y="470"/>
                  </a:lnTo>
                  <a:lnTo>
                    <a:pt x="935" y="465"/>
                  </a:lnTo>
                  <a:lnTo>
                    <a:pt x="937" y="451"/>
                  </a:lnTo>
                  <a:lnTo>
                    <a:pt x="918" y="474"/>
                  </a:lnTo>
                  <a:lnTo>
                    <a:pt x="892" y="474"/>
                  </a:lnTo>
                  <a:lnTo>
                    <a:pt x="875" y="465"/>
                  </a:lnTo>
                  <a:lnTo>
                    <a:pt x="875" y="457"/>
                  </a:lnTo>
                  <a:lnTo>
                    <a:pt x="882" y="438"/>
                  </a:lnTo>
                  <a:lnTo>
                    <a:pt x="869" y="442"/>
                  </a:lnTo>
                  <a:lnTo>
                    <a:pt x="863" y="433"/>
                  </a:lnTo>
                  <a:lnTo>
                    <a:pt x="895" y="425"/>
                  </a:lnTo>
                  <a:lnTo>
                    <a:pt x="897" y="420"/>
                  </a:lnTo>
                  <a:lnTo>
                    <a:pt x="888" y="412"/>
                  </a:lnTo>
                  <a:lnTo>
                    <a:pt x="832" y="425"/>
                  </a:lnTo>
                  <a:lnTo>
                    <a:pt x="785" y="455"/>
                  </a:lnTo>
                  <a:lnTo>
                    <a:pt x="824" y="423"/>
                  </a:lnTo>
                  <a:lnTo>
                    <a:pt x="848" y="410"/>
                  </a:lnTo>
                  <a:lnTo>
                    <a:pt x="858" y="410"/>
                  </a:lnTo>
                  <a:lnTo>
                    <a:pt x="871" y="397"/>
                  </a:lnTo>
                  <a:lnTo>
                    <a:pt x="912" y="391"/>
                  </a:lnTo>
                  <a:lnTo>
                    <a:pt x="968" y="395"/>
                  </a:lnTo>
                  <a:lnTo>
                    <a:pt x="995" y="376"/>
                  </a:lnTo>
                  <a:lnTo>
                    <a:pt x="1041" y="361"/>
                  </a:lnTo>
                  <a:lnTo>
                    <a:pt x="1047" y="343"/>
                  </a:lnTo>
                  <a:lnTo>
                    <a:pt x="1041" y="333"/>
                  </a:lnTo>
                  <a:close/>
                  <a:moveTo>
                    <a:pt x="346" y="122"/>
                  </a:moveTo>
                  <a:lnTo>
                    <a:pt x="305" y="124"/>
                  </a:lnTo>
                  <a:lnTo>
                    <a:pt x="386" y="107"/>
                  </a:lnTo>
                  <a:lnTo>
                    <a:pt x="395" y="110"/>
                  </a:lnTo>
                  <a:lnTo>
                    <a:pt x="367" y="118"/>
                  </a:lnTo>
                  <a:lnTo>
                    <a:pt x="403" y="118"/>
                  </a:lnTo>
                  <a:lnTo>
                    <a:pt x="380" y="131"/>
                  </a:lnTo>
                  <a:lnTo>
                    <a:pt x="363" y="127"/>
                  </a:lnTo>
                  <a:lnTo>
                    <a:pt x="363" y="135"/>
                  </a:lnTo>
                  <a:lnTo>
                    <a:pt x="333" y="144"/>
                  </a:lnTo>
                  <a:lnTo>
                    <a:pt x="352" y="131"/>
                  </a:lnTo>
                  <a:lnTo>
                    <a:pt x="328" y="142"/>
                  </a:lnTo>
                  <a:lnTo>
                    <a:pt x="309" y="142"/>
                  </a:lnTo>
                  <a:lnTo>
                    <a:pt x="354" y="125"/>
                  </a:lnTo>
                  <a:lnTo>
                    <a:pt x="346" y="122"/>
                  </a:lnTo>
                  <a:close/>
                  <a:moveTo>
                    <a:pt x="324" y="204"/>
                  </a:moveTo>
                  <a:lnTo>
                    <a:pt x="339" y="204"/>
                  </a:lnTo>
                  <a:lnTo>
                    <a:pt x="367" y="193"/>
                  </a:lnTo>
                  <a:lnTo>
                    <a:pt x="365" y="184"/>
                  </a:lnTo>
                  <a:lnTo>
                    <a:pt x="380" y="184"/>
                  </a:lnTo>
                  <a:lnTo>
                    <a:pt x="388" y="191"/>
                  </a:lnTo>
                  <a:lnTo>
                    <a:pt x="431" y="176"/>
                  </a:lnTo>
                  <a:lnTo>
                    <a:pt x="435" y="180"/>
                  </a:lnTo>
                  <a:lnTo>
                    <a:pt x="435" y="184"/>
                  </a:lnTo>
                  <a:lnTo>
                    <a:pt x="406" y="189"/>
                  </a:lnTo>
                  <a:lnTo>
                    <a:pt x="360" y="208"/>
                  </a:lnTo>
                  <a:lnTo>
                    <a:pt x="332" y="210"/>
                  </a:lnTo>
                  <a:lnTo>
                    <a:pt x="324" y="204"/>
                  </a:lnTo>
                  <a:close/>
                  <a:moveTo>
                    <a:pt x="397" y="228"/>
                  </a:moveTo>
                  <a:lnTo>
                    <a:pt x="420" y="238"/>
                  </a:lnTo>
                  <a:lnTo>
                    <a:pt x="360" y="247"/>
                  </a:lnTo>
                  <a:lnTo>
                    <a:pt x="397" y="228"/>
                  </a:lnTo>
                  <a:close/>
                  <a:moveTo>
                    <a:pt x="438" y="369"/>
                  </a:moveTo>
                  <a:lnTo>
                    <a:pt x="431" y="375"/>
                  </a:lnTo>
                  <a:lnTo>
                    <a:pt x="433" y="393"/>
                  </a:lnTo>
                  <a:lnTo>
                    <a:pt x="421" y="395"/>
                  </a:lnTo>
                  <a:lnTo>
                    <a:pt x="429" y="376"/>
                  </a:lnTo>
                  <a:lnTo>
                    <a:pt x="418" y="365"/>
                  </a:lnTo>
                  <a:lnTo>
                    <a:pt x="431" y="352"/>
                  </a:lnTo>
                  <a:lnTo>
                    <a:pt x="429" y="348"/>
                  </a:lnTo>
                  <a:lnTo>
                    <a:pt x="420" y="352"/>
                  </a:lnTo>
                  <a:lnTo>
                    <a:pt x="421" y="343"/>
                  </a:lnTo>
                  <a:lnTo>
                    <a:pt x="433" y="343"/>
                  </a:lnTo>
                  <a:lnTo>
                    <a:pt x="438" y="348"/>
                  </a:lnTo>
                  <a:lnTo>
                    <a:pt x="423" y="369"/>
                  </a:lnTo>
                  <a:lnTo>
                    <a:pt x="438" y="369"/>
                  </a:lnTo>
                  <a:close/>
                  <a:moveTo>
                    <a:pt x="468" y="376"/>
                  </a:moveTo>
                  <a:lnTo>
                    <a:pt x="448" y="391"/>
                  </a:lnTo>
                  <a:lnTo>
                    <a:pt x="463" y="369"/>
                  </a:lnTo>
                  <a:lnTo>
                    <a:pt x="455" y="373"/>
                  </a:lnTo>
                  <a:lnTo>
                    <a:pt x="459" y="363"/>
                  </a:lnTo>
                  <a:lnTo>
                    <a:pt x="450" y="363"/>
                  </a:lnTo>
                  <a:lnTo>
                    <a:pt x="451" y="339"/>
                  </a:lnTo>
                  <a:lnTo>
                    <a:pt x="459" y="332"/>
                  </a:lnTo>
                  <a:lnTo>
                    <a:pt x="474" y="333"/>
                  </a:lnTo>
                  <a:lnTo>
                    <a:pt x="468" y="376"/>
                  </a:lnTo>
                  <a:close/>
                  <a:moveTo>
                    <a:pt x="474" y="264"/>
                  </a:moveTo>
                  <a:lnTo>
                    <a:pt x="463" y="268"/>
                  </a:lnTo>
                  <a:lnTo>
                    <a:pt x="451" y="283"/>
                  </a:lnTo>
                  <a:lnTo>
                    <a:pt x="436" y="287"/>
                  </a:lnTo>
                  <a:lnTo>
                    <a:pt x="474" y="255"/>
                  </a:lnTo>
                  <a:lnTo>
                    <a:pt x="474" y="26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63" name="Freeform 6138"/>
            <p:cNvSpPr>
              <a:spLocks noEditPoints="1"/>
            </p:cNvSpPr>
            <p:nvPr>
              <p:custDataLst>
                <p:tags r:id="rId399"/>
              </p:custDataLst>
            </p:nvPr>
          </p:nvSpPr>
          <p:spPr bwMode="gray">
            <a:xfrm>
              <a:off x="7476018" y="3056866"/>
              <a:ext cx="740344" cy="331416"/>
            </a:xfrm>
            <a:custGeom>
              <a:avLst/>
              <a:gdLst/>
              <a:ahLst/>
              <a:cxnLst>
                <a:cxn ang="0">
                  <a:pos x="564" y="101"/>
                </a:cxn>
                <a:cxn ang="0">
                  <a:pos x="545" y="103"/>
                </a:cxn>
                <a:cxn ang="0">
                  <a:pos x="484" y="84"/>
                </a:cxn>
                <a:cxn ang="0">
                  <a:pos x="465" y="82"/>
                </a:cxn>
                <a:cxn ang="0">
                  <a:pos x="392" y="26"/>
                </a:cxn>
                <a:cxn ang="0">
                  <a:pos x="377" y="22"/>
                </a:cxn>
                <a:cxn ang="0">
                  <a:pos x="352" y="35"/>
                </a:cxn>
                <a:cxn ang="0">
                  <a:pos x="336" y="26"/>
                </a:cxn>
                <a:cxn ang="0">
                  <a:pos x="317" y="22"/>
                </a:cxn>
                <a:cxn ang="0">
                  <a:pos x="304" y="3"/>
                </a:cxn>
                <a:cxn ang="0">
                  <a:pos x="272" y="9"/>
                </a:cxn>
                <a:cxn ang="0">
                  <a:pos x="201" y="26"/>
                </a:cxn>
                <a:cxn ang="0">
                  <a:pos x="182" y="33"/>
                </a:cxn>
                <a:cxn ang="0">
                  <a:pos x="186" y="43"/>
                </a:cxn>
                <a:cxn ang="0">
                  <a:pos x="188" y="56"/>
                </a:cxn>
                <a:cxn ang="0">
                  <a:pos x="203" y="73"/>
                </a:cxn>
                <a:cxn ang="0">
                  <a:pos x="174" y="84"/>
                </a:cxn>
                <a:cxn ang="0">
                  <a:pos x="135" y="76"/>
                </a:cxn>
                <a:cxn ang="0">
                  <a:pos x="105" y="76"/>
                </a:cxn>
                <a:cxn ang="0">
                  <a:pos x="88" y="69"/>
                </a:cxn>
                <a:cxn ang="0">
                  <a:pos x="62" y="69"/>
                </a:cxn>
                <a:cxn ang="0">
                  <a:pos x="32" y="76"/>
                </a:cxn>
                <a:cxn ang="0">
                  <a:pos x="28" y="95"/>
                </a:cxn>
                <a:cxn ang="0">
                  <a:pos x="8" y="88"/>
                </a:cxn>
                <a:cxn ang="0">
                  <a:pos x="8" y="125"/>
                </a:cxn>
                <a:cxn ang="0">
                  <a:pos x="26" y="136"/>
                </a:cxn>
                <a:cxn ang="0">
                  <a:pos x="32" y="157"/>
                </a:cxn>
                <a:cxn ang="0">
                  <a:pos x="43" y="157"/>
                </a:cxn>
                <a:cxn ang="0">
                  <a:pos x="94" y="148"/>
                </a:cxn>
                <a:cxn ang="0">
                  <a:pos x="124" y="181"/>
                </a:cxn>
                <a:cxn ang="0">
                  <a:pos x="81" y="187"/>
                </a:cxn>
                <a:cxn ang="0">
                  <a:pos x="70" y="193"/>
                </a:cxn>
                <a:cxn ang="0">
                  <a:pos x="77" y="202"/>
                </a:cxn>
                <a:cxn ang="0">
                  <a:pos x="107" y="226"/>
                </a:cxn>
                <a:cxn ang="0">
                  <a:pos x="109" y="241"/>
                </a:cxn>
                <a:cxn ang="0">
                  <a:pos x="131" y="234"/>
                </a:cxn>
                <a:cxn ang="0">
                  <a:pos x="165" y="254"/>
                </a:cxn>
                <a:cxn ang="0">
                  <a:pos x="186" y="174"/>
                </a:cxn>
                <a:cxn ang="0">
                  <a:pos x="188" y="170"/>
                </a:cxn>
                <a:cxn ang="0">
                  <a:pos x="201" y="163"/>
                </a:cxn>
                <a:cxn ang="0">
                  <a:pos x="204" y="159"/>
                </a:cxn>
                <a:cxn ang="0">
                  <a:pos x="221" y="172"/>
                </a:cxn>
                <a:cxn ang="0">
                  <a:pos x="227" y="193"/>
                </a:cxn>
                <a:cxn ang="0">
                  <a:pos x="227" y="202"/>
                </a:cxn>
                <a:cxn ang="0">
                  <a:pos x="287" y="209"/>
                </a:cxn>
                <a:cxn ang="0">
                  <a:pos x="311" y="241"/>
                </a:cxn>
                <a:cxn ang="0">
                  <a:pos x="326" y="254"/>
                </a:cxn>
                <a:cxn ang="0">
                  <a:pos x="379" y="239"/>
                </a:cxn>
                <a:cxn ang="0">
                  <a:pos x="382" y="228"/>
                </a:cxn>
                <a:cxn ang="0">
                  <a:pos x="416" y="222"/>
                </a:cxn>
                <a:cxn ang="0">
                  <a:pos x="444" y="224"/>
                </a:cxn>
                <a:cxn ang="0">
                  <a:pos x="519" y="236"/>
                </a:cxn>
                <a:cxn ang="0">
                  <a:pos x="504" y="191"/>
                </a:cxn>
                <a:cxn ang="0">
                  <a:pos x="532" y="183"/>
                </a:cxn>
                <a:cxn ang="0">
                  <a:pos x="560" y="153"/>
                </a:cxn>
                <a:cxn ang="0">
                  <a:pos x="564" y="125"/>
                </a:cxn>
                <a:cxn ang="0">
                  <a:pos x="577" y="112"/>
                </a:cxn>
                <a:cxn ang="0">
                  <a:pos x="454" y="157"/>
                </a:cxn>
                <a:cxn ang="0">
                  <a:pos x="410" y="168"/>
                </a:cxn>
                <a:cxn ang="0">
                  <a:pos x="401" y="176"/>
                </a:cxn>
                <a:cxn ang="0">
                  <a:pos x="414" y="155"/>
                </a:cxn>
                <a:cxn ang="0">
                  <a:pos x="465" y="163"/>
                </a:cxn>
              </a:cxnLst>
              <a:rect l="0" t="0" r="r" b="b"/>
              <a:pathLst>
                <a:path w="577" h="258">
                  <a:moveTo>
                    <a:pt x="577" y="112"/>
                  </a:moveTo>
                  <a:lnTo>
                    <a:pt x="564" y="101"/>
                  </a:lnTo>
                  <a:lnTo>
                    <a:pt x="560" y="106"/>
                  </a:lnTo>
                  <a:lnTo>
                    <a:pt x="545" y="103"/>
                  </a:lnTo>
                  <a:lnTo>
                    <a:pt x="512" y="80"/>
                  </a:lnTo>
                  <a:lnTo>
                    <a:pt x="484" y="84"/>
                  </a:lnTo>
                  <a:lnTo>
                    <a:pt x="470" y="73"/>
                  </a:lnTo>
                  <a:lnTo>
                    <a:pt x="465" y="82"/>
                  </a:lnTo>
                  <a:lnTo>
                    <a:pt x="416" y="39"/>
                  </a:lnTo>
                  <a:lnTo>
                    <a:pt x="392" y="26"/>
                  </a:lnTo>
                  <a:lnTo>
                    <a:pt x="392" y="18"/>
                  </a:lnTo>
                  <a:lnTo>
                    <a:pt x="377" y="22"/>
                  </a:lnTo>
                  <a:lnTo>
                    <a:pt x="367" y="33"/>
                  </a:lnTo>
                  <a:lnTo>
                    <a:pt x="352" y="35"/>
                  </a:lnTo>
                  <a:lnTo>
                    <a:pt x="352" y="24"/>
                  </a:lnTo>
                  <a:lnTo>
                    <a:pt x="336" y="26"/>
                  </a:lnTo>
                  <a:lnTo>
                    <a:pt x="328" y="18"/>
                  </a:lnTo>
                  <a:lnTo>
                    <a:pt x="317" y="22"/>
                  </a:lnTo>
                  <a:lnTo>
                    <a:pt x="315" y="13"/>
                  </a:lnTo>
                  <a:lnTo>
                    <a:pt x="304" y="3"/>
                  </a:lnTo>
                  <a:lnTo>
                    <a:pt x="279" y="0"/>
                  </a:lnTo>
                  <a:lnTo>
                    <a:pt x="272" y="9"/>
                  </a:lnTo>
                  <a:lnTo>
                    <a:pt x="244" y="13"/>
                  </a:lnTo>
                  <a:lnTo>
                    <a:pt x="201" y="26"/>
                  </a:lnTo>
                  <a:lnTo>
                    <a:pt x="178" y="26"/>
                  </a:lnTo>
                  <a:lnTo>
                    <a:pt x="182" y="33"/>
                  </a:lnTo>
                  <a:lnTo>
                    <a:pt x="189" y="33"/>
                  </a:lnTo>
                  <a:lnTo>
                    <a:pt x="186" y="43"/>
                  </a:lnTo>
                  <a:lnTo>
                    <a:pt x="182" y="46"/>
                  </a:lnTo>
                  <a:lnTo>
                    <a:pt x="188" y="56"/>
                  </a:lnTo>
                  <a:lnTo>
                    <a:pt x="176" y="63"/>
                  </a:lnTo>
                  <a:lnTo>
                    <a:pt x="203" y="73"/>
                  </a:lnTo>
                  <a:lnTo>
                    <a:pt x="197" y="84"/>
                  </a:lnTo>
                  <a:lnTo>
                    <a:pt x="174" y="84"/>
                  </a:lnTo>
                  <a:lnTo>
                    <a:pt x="156" y="76"/>
                  </a:lnTo>
                  <a:lnTo>
                    <a:pt x="135" y="76"/>
                  </a:lnTo>
                  <a:lnTo>
                    <a:pt x="122" y="86"/>
                  </a:lnTo>
                  <a:lnTo>
                    <a:pt x="105" y="76"/>
                  </a:lnTo>
                  <a:lnTo>
                    <a:pt x="105" y="86"/>
                  </a:lnTo>
                  <a:lnTo>
                    <a:pt x="88" y="69"/>
                  </a:lnTo>
                  <a:lnTo>
                    <a:pt x="68" y="65"/>
                  </a:lnTo>
                  <a:lnTo>
                    <a:pt x="62" y="69"/>
                  </a:lnTo>
                  <a:lnTo>
                    <a:pt x="47" y="67"/>
                  </a:lnTo>
                  <a:lnTo>
                    <a:pt x="32" y="76"/>
                  </a:lnTo>
                  <a:lnTo>
                    <a:pt x="21" y="86"/>
                  </a:lnTo>
                  <a:lnTo>
                    <a:pt x="28" y="95"/>
                  </a:lnTo>
                  <a:lnTo>
                    <a:pt x="23" y="99"/>
                  </a:lnTo>
                  <a:lnTo>
                    <a:pt x="8" y="88"/>
                  </a:lnTo>
                  <a:lnTo>
                    <a:pt x="0" y="123"/>
                  </a:lnTo>
                  <a:lnTo>
                    <a:pt x="8" y="125"/>
                  </a:lnTo>
                  <a:lnTo>
                    <a:pt x="15" y="136"/>
                  </a:lnTo>
                  <a:lnTo>
                    <a:pt x="26" y="136"/>
                  </a:lnTo>
                  <a:lnTo>
                    <a:pt x="41" y="155"/>
                  </a:lnTo>
                  <a:lnTo>
                    <a:pt x="32" y="157"/>
                  </a:lnTo>
                  <a:lnTo>
                    <a:pt x="45" y="163"/>
                  </a:lnTo>
                  <a:lnTo>
                    <a:pt x="43" y="157"/>
                  </a:lnTo>
                  <a:lnTo>
                    <a:pt x="70" y="146"/>
                  </a:lnTo>
                  <a:lnTo>
                    <a:pt x="94" y="148"/>
                  </a:lnTo>
                  <a:lnTo>
                    <a:pt x="113" y="161"/>
                  </a:lnTo>
                  <a:lnTo>
                    <a:pt x="124" y="181"/>
                  </a:lnTo>
                  <a:lnTo>
                    <a:pt x="88" y="179"/>
                  </a:lnTo>
                  <a:lnTo>
                    <a:pt x="81" y="187"/>
                  </a:lnTo>
                  <a:lnTo>
                    <a:pt x="86" y="194"/>
                  </a:lnTo>
                  <a:lnTo>
                    <a:pt x="70" y="193"/>
                  </a:lnTo>
                  <a:lnTo>
                    <a:pt x="68" y="198"/>
                  </a:lnTo>
                  <a:lnTo>
                    <a:pt x="77" y="202"/>
                  </a:lnTo>
                  <a:lnTo>
                    <a:pt x="98" y="226"/>
                  </a:lnTo>
                  <a:lnTo>
                    <a:pt x="107" y="226"/>
                  </a:lnTo>
                  <a:lnTo>
                    <a:pt x="107" y="237"/>
                  </a:lnTo>
                  <a:lnTo>
                    <a:pt x="109" y="241"/>
                  </a:lnTo>
                  <a:lnTo>
                    <a:pt x="118" y="236"/>
                  </a:lnTo>
                  <a:lnTo>
                    <a:pt x="131" y="234"/>
                  </a:lnTo>
                  <a:lnTo>
                    <a:pt x="156" y="254"/>
                  </a:lnTo>
                  <a:lnTo>
                    <a:pt x="165" y="254"/>
                  </a:lnTo>
                  <a:lnTo>
                    <a:pt x="148" y="185"/>
                  </a:lnTo>
                  <a:lnTo>
                    <a:pt x="186" y="174"/>
                  </a:lnTo>
                  <a:lnTo>
                    <a:pt x="186" y="176"/>
                  </a:lnTo>
                  <a:lnTo>
                    <a:pt x="188" y="170"/>
                  </a:lnTo>
                  <a:lnTo>
                    <a:pt x="199" y="170"/>
                  </a:lnTo>
                  <a:lnTo>
                    <a:pt x="201" y="163"/>
                  </a:lnTo>
                  <a:lnTo>
                    <a:pt x="204" y="164"/>
                  </a:lnTo>
                  <a:lnTo>
                    <a:pt x="204" y="159"/>
                  </a:lnTo>
                  <a:lnTo>
                    <a:pt x="225" y="155"/>
                  </a:lnTo>
                  <a:lnTo>
                    <a:pt x="221" y="172"/>
                  </a:lnTo>
                  <a:lnTo>
                    <a:pt x="236" y="187"/>
                  </a:lnTo>
                  <a:lnTo>
                    <a:pt x="227" y="193"/>
                  </a:lnTo>
                  <a:lnTo>
                    <a:pt x="229" y="202"/>
                  </a:lnTo>
                  <a:lnTo>
                    <a:pt x="227" y="202"/>
                  </a:lnTo>
                  <a:lnTo>
                    <a:pt x="244" y="213"/>
                  </a:lnTo>
                  <a:lnTo>
                    <a:pt x="287" y="209"/>
                  </a:lnTo>
                  <a:lnTo>
                    <a:pt x="309" y="222"/>
                  </a:lnTo>
                  <a:lnTo>
                    <a:pt x="311" y="241"/>
                  </a:lnTo>
                  <a:lnTo>
                    <a:pt x="321" y="243"/>
                  </a:lnTo>
                  <a:lnTo>
                    <a:pt x="326" y="254"/>
                  </a:lnTo>
                  <a:lnTo>
                    <a:pt x="356" y="258"/>
                  </a:lnTo>
                  <a:lnTo>
                    <a:pt x="379" y="239"/>
                  </a:lnTo>
                  <a:lnTo>
                    <a:pt x="380" y="234"/>
                  </a:lnTo>
                  <a:lnTo>
                    <a:pt x="382" y="228"/>
                  </a:lnTo>
                  <a:lnTo>
                    <a:pt x="416" y="232"/>
                  </a:lnTo>
                  <a:lnTo>
                    <a:pt x="416" y="222"/>
                  </a:lnTo>
                  <a:lnTo>
                    <a:pt x="424" y="219"/>
                  </a:lnTo>
                  <a:lnTo>
                    <a:pt x="444" y="224"/>
                  </a:lnTo>
                  <a:lnTo>
                    <a:pt x="502" y="226"/>
                  </a:lnTo>
                  <a:lnTo>
                    <a:pt x="519" y="236"/>
                  </a:lnTo>
                  <a:lnTo>
                    <a:pt x="523" y="219"/>
                  </a:lnTo>
                  <a:lnTo>
                    <a:pt x="504" y="191"/>
                  </a:lnTo>
                  <a:lnTo>
                    <a:pt x="508" y="185"/>
                  </a:lnTo>
                  <a:lnTo>
                    <a:pt x="532" y="183"/>
                  </a:lnTo>
                  <a:lnTo>
                    <a:pt x="530" y="146"/>
                  </a:lnTo>
                  <a:lnTo>
                    <a:pt x="560" y="153"/>
                  </a:lnTo>
                  <a:lnTo>
                    <a:pt x="568" y="148"/>
                  </a:lnTo>
                  <a:lnTo>
                    <a:pt x="564" y="125"/>
                  </a:lnTo>
                  <a:lnTo>
                    <a:pt x="575" y="119"/>
                  </a:lnTo>
                  <a:lnTo>
                    <a:pt x="577" y="112"/>
                  </a:lnTo>
                  <a:close/>
                  <a:moveTo>
                    <a:pt x="465" y="163"/>
                  </a:moveTo>
                  <a:lnTo>
                    <a:pt x="454" y="157"/>
                  </a:lnTo>
                  <a:lnTo>
                    <a:pt x="422" y="161"/>
                  </a:lnTo>
                  <a:lnTo>
                    <a:pt x="410" y="168"/>
                  </a:lnTo>
                  <a:lnTo>
                    <a:pt x="416" y="187"/>
                  </a:lnTo>
                  <a:lnTo>
                    <a:pt x="401" y="176"/>
                  </a:lnTo>
                  <a:lnTo>
                    <a:pt x="401" y="164"/>
                  </a:lnTo>
                  <a:lnTo>
                    <a:pt x="414" y="155"/>
                  </a:lnTo>
                  <a:lnTo>
                    <a:pt x="480" y="155"/>
                  </a:lnTo>
                  <a:lnTo>
                    <a:pt x="465" y="16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64" name="Freeform 6139"/>
            <p:cNvSpPr>
              <a:spLocks noEditPoints="1"/>
            </p:cNvSpPr>
            <p:nvPr>
              <p:custDataLst>
                <p:tags r:id="rId400"/>
              </p:custDataLst>
            </p:nvPr>
          </p:nvSpPr>
          <p:spPr bwMode="gray">
            <a:xfrm>
              <a:off x="7093656" y="2603417"/>
              <a:ext cx="2548222" cy="779728"/>
            </a:xfrm>
            <a:custGeom>
              <a:avLst/>
              <a:gdLst/>
              <a:ahLst/>
              <a:cxnLst>
                <a:cxn ang="0">
                  <a:pos x="1890" y="184"/>
                </a:cxn>
                <a:cxn ang="0">
                  <a:pos x="1904" y="158"/>
                </a:cxn>
                <a:cxn ang="0">
                  <a:pos x="1653" y="120"/>
                </a:cxn>
                <a:cxn ang="0">
                  <a:pos x="1430" y="100"/>
                </a:cxn>
                <a:cxn ang="0">
                  <a:pos x="1214" y="94"/>
                </a:cxn>
                <a:cxn ang="0">
                  <a:pos x="1044" y="58"/>
                </a:cxn>
                <a:cxn ang="0">
                  <a:pos x="909" y="45"/>
                </a:cxn>
                <a:cxn ang="0">
                  <a:pos x="868" y="58"/>
                </a:cxn>
                <a:cxn ang="0">
                  <a:pos x="770" y="0"/>
                </a:cxn>
                <a:cxn ang="0">
                  <a:pos x="568" y="60"/>
                </a:cxn>
                <a:cxn ang="0">
                  <a:pos x="532" y="94"/>
                </a:cxn>
                <a:cxn ang="0">
                  <a:pos x="560" y="150"/>
                </a:cxn>
                <a:cxn ang="0">
                  <a:pos x="504" y="98"/>
                </a:cxn>
                <a:cxn ang="0">
                  <a:pos x="448" y="107"/>
                </a:cxn>
                <a:cxn ang="0">
                  <a:pos x="373" y="133"/>
                </a:cxn>
                <a:cxn ang="0">
                  <a:pos x="240" y="150"/>
                </a:cxn>
                <a:cxn ang="0">
                  <a:pos x="188" y="141"/>
                </a:cxn>
                <a:cxn ang="0">
                  <a:pos x="160" y="199"/>
                </a:cxn>
                <a:cxn ang="0">
                  <a:pos x="81" y="176"/>
                </a:cxn>
                <a:cxn ang="0">
                  <a:pos x="27" y="118"/>
                </a:cxn>
                <a:cxn ang="0">
                  <a:pos x="25" y="193"/>
                </a:cxn>
                <a:cxn ang="0">
                  <a:pos x="14" y="285"/>
                </a:cxn>
                <a:cxn ang="0">
                  <a:pos x="62" y="364"/>
                </a:cxn>
                <a:cxn ang="0">
                  <a:pos x="118" y="416"/>
                </a:cxn>
                <a:cxn ang="0">
                  <a:pos x="199" y="467"/>
                </a:cxn>
                <a:cxn ang="0">
                  <a:pos x="201" y="501"/>
                </a:cxn>
                <a:cxn ang="0">
                  <a:pos x="220" y="566"/>
                </a:cxn>
                <a:cxn ang="0">
                  <a:pos x="349" y="596"/>
                </a:cxn>
                <a:cxn ang="0">
                  <a:pos x="330" y="510"/>
                </a:cxn>
                <a:cxn ang="0">
                  <a:pos x="321" y="452"/>
                </a:cxn>
                <a:cxn ang="0">
                  <a:pos x="386" y="422"/>
                </a:cxn>
                <a:cxn ang="0">
                  <a:pos x="495" y="437"/>
                </a:cxn>
                <a:cxn ang="0">
                  <a:pos x="480" y="386"/>
                </a:cxn>
                <a:cxn ang="0">
                  <a:pos x="613" y="366"/>
                </a:cxn>
                <a:cxn ang="0">
                  <a:pos x="675" y="375"/>
                </a:cxn>
                <a:cxn ang="0">
                  <a:pos x="810" y="433"/>
                </a:cxn>
                <a:cxn ang="0">
                  <a:pos x="888" y="459"/>
                </a:cxn>
                <a:cxn ang="0">
                  <a:pos x="1019" y="411"/>
                </a:cxn>
                <a:cxn ang="0">
                  <a:pos x="1282" y="450"/>
                </a:cxn>
                <a:cxn ang="0">
                  <a:pos x="1340" y="388"/>
                </a:cxn>
                <a:cxn ang="0">
                  <a:pos x="1531" y="491"/>
                </a:cxn>
                <a:cxn ang="0">
                  <a:pos x="1564" y="568"/>
                </a:cxn>
                <a:cxn ang="0">
                  <a:pos x="1632" y="527"/>
                </a:cxn>
                <a:cxn ang="0">
                  <a:pos x="1533" y="388"/>
                </a:cxn>
                <a:cxn ang="0">
                  <a:pos x="1512" y="293"/>
                </a:cxn>
                <a:cxn ang="0">
                  <a:pos x="1682" y="289"/>
                </a:cxn>
                <a:cxn ang="0">
                  <a:pos x="1729" y="248"/>
                </a:cxn>
                <a:cxn ang="0">
                  <a:pos x="1742" y="309"/>
                </a:cxn>
                <a:cxn ang="0">
                  <a:pos x="1834" y="399"/>
                </a:cxn>
                <a:cxn ang="0">
                  <a:pos x="1827" y="343"/>
                </a:cxn>
                <a:cxn ang="0">
                  <a:pos x="1776" y="278"/>
                </a:cxn>
                <a:cxn ang="0">
                  <a:pos x="1860" y="268"/>
                </a:cxn>
                <a:cxn ang="0">
                  <a:pos x="53" y="276"/>
                </a:cxn>
                <a:cxn ang="0">
                  <a:pos x="107" y="259"/>
                </a:cxn>
                <a:cxn ang="0">
                  <a:pos x="107" y="235"/>
                </a:cxn>
                <a:cxn ang="0">
                  <a:pos x="1085" y="420"/>
                </a:cxn>
              </a:cxnLst>
              <a:rect l="0" t="0" r="r" b="b"/>
              <a:pathLst>
                <a:path w="1986" h="607">
                  <a:moveTo>
                    <a:pt x="1857" y="197"/>
                  </a:moveTo>
                  <a:lnTo>
                    <a:pt x="1874" y="197"/>
                  </a:lnTo>
                  <a:lnTo>
                    <a:pt x="1883" y="191"/>
                  </a:lnTo>
                  <a:lnTo>
                    <a:pt x="1877" y="182"/>
                  </a:lnTo>
                  <a:lnTo>
                    <a:pt x="1862" y="176"/>
                  </a:lnTo>
                  <a:lnTo>
                    <a:pt x="1866" y="171"/>
                  </a:lnTo>
                  <a:lnTo>
                    <a:pt x="1890" y="184"/>
                  </a:lnTo>
                  <a:lnTo>
                    <a:pt x="1924" y="186"/>
                  </a:lnTo>
                  <a:lnTo>
                    <a:pt x="1986" y="205"/>
                  </a:lnTo>
                  <a:lnTo>
                    <a:pt x="1969" y="184"/>
                  </a:lnTo>
                  <a:lnTo>
                    <a:pt x="1982" y="184"/>
                  </a:lnTo>
                  <a:lnTo>
                    <a:pt x="1984" y="175"/>
                  </a:lnTo>
                  <a:lnTo>
                    <a:pt x="1941" y="161"/>
                  </a:lnTo>
                  <a:lnTo>
                    <a:pt x="1904" y="158"/>
                  </a:lnTo>
                  <a:lnTo>
                    <a:pt x="1791" y="128"/>
                  </a:lnTo>
                  <a:lnTo>
                    <a:pt x="1729" y="116"/>
                  </a:lnTo>
                  <a:lnTo>
                    <a:pt x="1658" y="111"/>
                  </a:lnTo>
                  <a:lnTo>
                    <a:pt x="1684" y="128"/>
                  </a:lnTo>
                  <a:lnTo>
                    <a:pt x="1675" y="131"/>
                  </a:lnTo>
                  <a:lnTo>
                    <a:pt x="1641" y="120"/>
                  </a:lnTo>
                  <a:lnTo>
                    <a:pt x="1653" y="120"/>
                  </a:lnTo>
                  <a:lnTo>
                    <a:pt x="1649" y="116"/>
                  </a:lnTo>
                  <a:lnTo>
                    <a:pt x="1632" y="113"/>
                  </a:lnTo>
                  <a:lnTo>
                    <a:pt x="1630" y="122"/>
                  </a:lnTo>
                  <a:lnTo>
                    <a:pt x="1551" y="120"/>
                  </a:lnTo>
                  <a:lnTo>
                    <a:pt x="1531" y="109"/>
                  </a:lnTo>
                  <a:lnTo>
                    <a:pt x="1503" y="100"/>
                  </a:lnTo>
                  <a:lnTo>
                    <a:pt x="1430" y="100"/>
                  </a:lnTo>
                  <a:lnTo>
                    <a:pt x="1373" y="81"/>
                  </a:lnTo>
                  <a:lnTo>
                    <a:pt x="1255" y="72"/>
                  </a:lnTo>
                  <a:lnTo>
                    <a:pt x="1252" y="75"/>
                  </a:lnTo>
                  <a:lnTo>
                    <a:pt x="1252" y="79"/>
                  </a:lnTo>
                  <a:lnTo>
                    <a:pt x="1276" y="90"/>
                  </a:lnTo>
                  <a:lnTo>
                    <a:pt x="1224" y="87"/>
                  </a:lnTo>
                  <a:lnTo>
                    <a:pt x="1214" y="94"/>
                  </a:lnTo>
                  <a:lnTo>
                    <a:pt x="1180" y="85"/>
                  </a:lnTo>
                  <a:lnTo>
                    <a:pt x="1190" y="98"/>
                  </a:lnTo>
                  <a:lnTo>
                    <a:pt x="1186" y="102"/>
                  </a:lnTo>
                  <a:lnTo>
                    <a:pt x="1139" y="85"/>
                  </a:lnTo>
                  <a:lnTo>
                    <a:pt x="1136" y="72"/>
                  </a:lnTo>
                  <a:lnTo>
                    <a:pt x="1113" y="64"/>
                  </a:lnTo>
                  <a:lnTo>
                    <a:pt x="1044" y="58"/>
                  </a:lnTo>
                  <a:lnTo>
                    <a:pt x="1059" y="68"/>
                  </a:lnTo>
                  <a:lnTo>
                    <a:pt x="1021" y="68"/>
                  </a:lnTo>
                  <a:lnTo>
                    <a:pt x="1001" y="66"/>
                  </a:lnTo>
                  <a:lnTo>
                    <a:pt x="997" y="58"/>
                  </a:lnTo>
                  <a:lnTo>
                    <a:pt x="941" y="60"/>
                  </a:lnTo>
                  <a:lnTo>
                    <a:pt x="924" y="47"/>
                  </a:lnTo>
                  <a:lnTo>
                    <a:pt x="909" y="45"/>
                  </a:lnTo>
                  <a:lnTo>
                    <a:pt x="905" y="49"/>
                  </a:lnTo>
                  <a:lnTo>
                    <a:pt x="931" y="58"/>
                  </a:lnTo>
                  <a:lnTo>
                    <a:pt x="894" y="53"/>
                  </a:lnTo>
                  <a:lnTo>
                    <a:pt x="890" y="57"/>
                  </a:lnTo>
                  <a:lnTo>
                    <a:pt x="903" y="60"/>
                  </a:lnTo>
                  <a:lnTo>
                    <a:pt x="866" y="66"/>
                  </a:lnTo>
                  <a:lnTo>
                    <a:pt x="868" y="58"/>
                  </a:lnTo>
                  <a:lnTo>
                    <a:pt x="913" y="34"/>
                  </a:lnTo>
                  <a:lnTo>
                    <a:pt x="907" y="28"/>
                  </a:lnTo>
                  <a:lnTo>
                    <a:pt x="864" y="15"/>
                  </a:lnTo>
                  <a:lnTo>
                    <a:pt x="815" y="17"/>
                  </a:lnTo>
                  <a:lnTo>
                    <a:pt x="819" y="10"/>
                  </a:lnTo>
                  <a:lnTo>
                    <a:pt x="796" y="4"/>
                  </a:lnTo>
                  <a:lnTo>
                    <a:pt x="770" y="0"/>
                  </a:lnTo>
                  <a:lnTo>
                    <a:pt x="750" y="10"/>
                  </a:lnTo>
                  <a:lnTo>
                    <a:pt x="744" y="23"/>
                  </a:lnTo>
                  <a:lnTo>
                    <a:pt x="680" y="23"/>
                  </a:lnTo>
                  <a:lnTo>
                    <a:pt x="639" y="34"/>
                  </a:lnTo>
                  <a:lnTo>
                    <a:pt x="624" y="43"/>
                  </a:lnTo>
                  <a:lnTo>
                    <a:pt x="637" y="55"/>
                  </a:lnTo>
                  <a:lnTo>
                    <a:pt x="568" y="60"/>
                  </a:lnTo>
                  <a:lnTo>
                    <a:pt x="585" y="77"/>
                  </a:lnTo>
                  <a:lnTo>
                    <a:pt x="615" y="85"/>
                  </a:lnTo>
                  <a:lnTo>
                    <a:pt x="602" y="87"/>
                  </a:lnTo>
                  <a:lnTo>
                    <a:pt x="547" y="73"/>
                  </a:lnTo>
                  <a:lnTo>
                    <a:pt x="536" y="85"/>
                  </a:lnTo>
                  <a:lnTo>
                    <a:pt x="572" y="98"/>
                  </a:lnTo>
                  <a:lnTo>
                    <a:pt x="532" y="94"/>
                  </a:lnTo>
                  <a:lnTo>
                    <a:pt x="521" y="77"/>
                  </a:lnTo>
                  <a:lnTo>
                    <a:pt x="508" y="94"/>
                  </a:lnTo>
                  <a:lnTo>
                    <a:pt x="529" y="103"/>
                  </a:lnTo>
                  <a:lnTo>
                    <a:pt x="529" y="118"/>
                  </a:lnTo>
                  <a:lnTo>
                    <a:pt x="536" y="128"/>
                  </a:lnTo>
                  <a:lnTo>
                    <a:pt x="547" y="131"/>
                  </a:lnTo>
                  <a:lnTo>
                    <a:pt x="560" y="150"/>
                  </a:lnTo>
                  <a:lnTo>
                    <a:pt x="549" y="161"/>
                  </a:lnTo>
                  <a:lnTo>
                    <a:pt x="532" y="173"/>
                  </a:lnTo>
                  <a:lnTo>
                    <a:pt x="516" y="165"/>
                  </a:lnTo>
                  <a:lnTo>
                    <a:pt x="534" y="154"/>
                  </a:lnTo>
                  <a:lnTo>
                    <a:pt x="536" y="135"/>
                  </a:lnTo>
                  <a:lnTo>
                    <a:pt x="521" y="128"/>
                  </a:lnTo>
                  <a:lnTo>
                    <a:pt x="504" y="98"/>
                  </a:lnTo>
                  <a:lnTo>
                    <a:pt x="491" y="90"/>
                  </a:lnTo>
                  <a:lnTo>
                    <a:pt x="491" y="73"/>
                  </a:lnTo>
                  <a:lnTo>
                    <a:pt x="474" y="66"/>
                  </a:lnTo>
                  <a:lnTo>
                    <a:pt x="465" y="60"/>
                  </a:lnTo>
                  <a:lnTo>
                    <a:pt x="454" y="62"/>
                  </a:lnTo>
                  <a:lnTo>
                    <a:pt x="439" y="94"/>
                  </a:lnTo>
                  <a:lnTo>
                    <a:pt x="448" y="107"/>
                  </a:lnTo>
                  <a:lnTo>
                    <a:pt x="448" y="118"/>
                  </a:lnTo>
                  <a:lnTo>
                    <a:pt x="482" y="131"/>
                  </a:lnTo>
                  <a:lnTo>
                    <a:pt x="480" y="141"/>
                  </a:lnTo>
                  <a:lnTo>
                    <a:pt x="351" y="105"/>
                  </a:lnTo>
                  <a:lnTo>
                    <a:pt x="349" y="111"/>
                  </a:lnTo>
                  <a:lnTo>
                    <a:pt x="386" y="128"/>
                  </a:lnTo>
                  <a:lnTo>
                    <a:pt x="373" y="133"/>
                  </a:lnTo>
                  <a:lnTo>
                    <a:pt x="375" y="139"/>
                  </a:lnTo>
                  <a:lnTo>
                    <a:pt x="366" y="137"/>
                  </a:lnTo>
                  <a:lnTo>
                    <a:pt x="362" y="128"/>
                  </a:lnTo>
                  <a:lnTo>
                    <a:pt x="319" y="135"/>
                  </a:lnTo>
                  <a:lnTo>
                    <a:pt x="317" y="143"/>
                  </a:lnTo>
                  <a:lnTo>
                    <a:pt x="300" y="128"/>
                  </a:lnTo>
                  <a:lnTo>
                    <a:pt x="240" y="150"/>
                  </a:lnTo>
                  <a:lnTo>
                    <a:pt x="242" y="158"/>
                  </a:lnTo>
                  <a:lnTo>
                    <a:pt x="233" y="161"/>
                  </a:lnTo>
                  <a:lnTo>
                    <a:pt x="201" y="154"/>
                  </a:lnTo>
                  <a:lnTo>
                    <a:pt x="220" y="146"/>
                  </a:lnTo>
                  <a:lnTo>
                    <a:pt x="212" y="141"/>
                  </a:lnTo>
                  <a:lnTo>
                    <a:pt x="176" y="133"/>
                  </a:lnTo>
                  <a:lnTo>
                    <a:pt x="188" y="141"/>
                  </a:lnTo>
                  <a:lnTo>
                    <a:pt x="188" y="158"/>
                  </a:lnTo>
                  <a:lnTo>
                    <a:pt x="197" y="160"/>
                  </a:lnTo>
                  <a:lnTo>
                    <a:pt x="201" y="169"/>
                  </a:lnTo>
                  <a:lnTo>
                    <a:pt x="195" y="173"/>
                  </a:lnTo>
                  <a:lnTo>
                    <a:pt x="173" y="169"/>
                  </a:lnTo>
                  <a:lnTo>
                    <a:pt x="145" y="184"/>
                  </a:lnTo>
                  <a:lnTo>
                    <a:pt x="160" y="199"/>
                  </a:lnTo>
                  <a:lnTo>
                    <a:pt x="113" y="190"/>
                  </a:lnTo>
                  <a:lnTo>
                    <a:pt x="107" y="195"/>
                  </a:lnTo>
                  <a:lnTo>
                    <a:pt x="128" y="201"/>
                  </a:lnTo>
                  <a:lnTo>
                    <a:pt x="130" y="210"/>
                  </a:lnTo>
                  <a:lnTo>
                    <a:pt x="115" y="210"/>
                  </a:lnTo>
                  <a:lnTo>
                    <a:pt x="87" y="199"/>
                  </a:lnTo>
                  <a:lnTo>
                    <a:pt x="81" y="176"/>
                  </a:lnTo>
                  <a:lnTo>
                    <a:pt x="49" y="158"/>
                  </a:lnTo>
                  <a:lnTo>
                    <a:pt x="126" y="175"/>
                  </a:lnTo>
                  <a:lnTo>
                    <a:pt x="160" y="165"/>
                  </a:lnTo>
                  <a:lnTo>
                    <a:pt x="152" y="150"/>
                  </a:lnTo>
                  <a:lnTo>
                    <a:pt x="100" y="130"/>
                  </a:lnTo>
                  <a:lnTo>
                    <a:pt x="51" y="116"/>
                  </a:lnTo>
                  <a:lnTo>
                    <a:pt x="27" y="118"/>
                  </a:lnTo>
                  <a:lnTo>
                    <a:pt x="6" y="128"/>
                  </a:lnTo>
                  <a:lnTo>
                    <a:pt x="2" y="130"/>
                  </a:lnTo>
                  <a:lnTo>
                    <a:pt x="2" y="141"/>
                  </a:lnTo>
                  <a:lnTo>
                    <a:pt x="21" y="148"/>
                  </a:lnTo>
                  <a:lnTo>
                    <a:pt x="14" y="160"/>
                  </a:lnTo>
                  <a:lnTo>
                    <a:pt x="27" y="176"/>
                  </a:lnTo>
                  <a:lnTo>
                    <a:pt x="25" y="193"/>
                  </a:lnTo>
                  <a:lnTo>
                    <a:pt x="36" y="205"/>
                  </a:lnTo>
                  <a:lnTo>
                    <a:pt x="34" y="214"/>
                  </a:lnTo>
                  <a:lnTo>
                    <a:pt x="51" y="229"/>
                  </a:lnTo>
                  <a:lnTo>
                    <a:pt x="8" y="266"/>
                  </a:lnTo>
                  <a:lnTo>
                    <a:pt x="15" y="266"/>
                  </a:lnTo>
                  <a:lnTo>
                    <a:pt x="29" y="276"/>
                  </a:lnTo>
                  <a:lnTo>
                    <a:pt x="14" y="285"/>
                  </a:lnTo>
                  <a:lnTo>
                    <a:pt x="12" y="291"/>
                  </a:lnTo>
                  <a:lnTo>
                    <a:pt x="0" y="294"/>
                  </a:lnTo>
                  <a:lnTo>
                    <a:pt x="12" y="308"/>
                  </a:lnTo>
                  <a:lnTo>
                    <a:pt x="10" y="315"/>
                  </a:lnTo>
                  <a:lnTo>
                    <a:pt x="23" y="339"/>
                  </a:lnTo>
                  <a:lnTo>
                    <a:pt x="60" y="351"/>
                  </a:lnTo>
                  <a:lnTo>
                    <a:pt x="62" y="364"/>
                  </a:lnTo>
                  <a:lnTo>
                    <a:pt x="77" y="381"/>
                  </a:lnTo>
                  <a:lnTo>
                    <a:pt x="90" y="386"/>
                  </a:lnTo>
                  <a:lnTo>
                    <a:pt x="85" y="394"/>
                  </a:lnTo>
                  <a:lnTo>
                    <a:pt x="72" y="394"/>
                  </a:lnTo>
                  <a:lnTo>
                    <a:pt x="81" y="411"/>
                  </a:lnTo>
                  <a:lnTo>
                    <a:pt x="107" y="407"/>
                  </a:lnTo>
                  <a:lnTo>
                    <a:pt x="118" y="416"/>
                  </a:lnTo>
                  <a:lnTo>
                    <a:pt x="117" y="424"/>
                  </a:lnTo>
                  <a:lnTo>
                    <a:pt x="128" y="426"/>
                  </a:lnTo>
                  <a:lnTo>
                    <a:pt x="137" y="441"/>
                  </a:lnTo>
                  <a:lnTo>
                    <a:pt x="163" y="441"/>
                  </a:lnTo>
                  <a:lnTo>
                    <a:pt x="173" y="448"/>
                  </a:lnTo>
                  <a:lnTo>
                    <a:pt x="205" y="457"/>
                  </a:lnTo>
                  <a:lnTo>
                    <a:pt x="199" y="467"/>
                  </a:lnTo>
                  <a:lnTo>
                    <a:pt x="205" y="469"/>
                  </a:lnTo>
                  <a:lnTo>
                    <a:pt x="201" y="471"/>
                  </a:lnTo>
                  <a:lnTo>
                    <a:pt x="203" y="487"/>
                  </a:lnTo>
                  <a:lnTo>
                    <a:pt x="191" y="486"/>
                  </a:lnTo>
                  <a:lnTo>
                    <a:pt x="184" y="491"/>
                  </a:lnTo>
                  <a:lnTo>
                    <a:pt x="184" y="501"/>
                  </a:lnTo>
                  <a:lnTo>
                    <a:pt x="201" y="501"/>
                  </a:lnTo>
                  <a:lnTo>
                    <a:pt x="178" y="510"/>
                  </a:lnTo>
                  <a:lnTo>
                    <a:pt x="186" y="516"/>
                  </a:lnTo>
                  <a:lnTo>
                    <a:pt x="176" y="532"/>
                  </a:lnTo>
                  <a:lnTo>
                    <a:pt x="169" y="534"/>
                  </a:lnTo>
                  <a:lnTo>
                    <a:pt x="169" y="538"/>
                  </a:lnTo>
                  <a:lnTo>
                    <a:pt x="171" y="538"/>
                  </a:lnTo>
                  <a:lnTo>
                    <a:pt x="220" y="566"/>
                  </a:lnTo>
                  <a:lnTo>
                    <a:pt x="261" y="572"/>
                  </a:lnTo>
                  <a:lnTo>
                    <a:pt x="278" y="583"/>
                  </a:lnTo>
                  <a:lnTo>
                    <a:pt x="296" y="581"/>
                  </a:lnTo>
                  <a:lnTo>
                    <a:pt x="317" y="594"/>
                  </a:lnTo>
                  <a:lnTo>
                    <a:pt x="332" y="607"/>
                  </a:lnTo>
                  <a:lnTo>
                    <a:pt x="341" y="607"/>
                  </a:lnTo>
                  <a:lnTo>
                    <a:pt x="349" y="596"/>
                  </a:lnTo>
                  <a:lnTo>
                    <a:pt x="330" y="575"/>
                  </a:lnTo>
                  <a:lnTo>
                    <a:pt x="328" y="562"/>
                  </a:lnTo>
                  <a:lnTo>
                    <a:pt x="313" y="544"/>
                  </a:lnTo>
                  <a:lnTo>
                    <a:pt x="323" y="519"/>
                  </a:lnTo>
                  <a:lnTo>
                    <a:pt x="332" y="523"/>
                  </a:lnTo>
                  <a:lnTo>
                    <a:pt x="343" y="516"/>
                  </a:lnTo>
                  <a:lnTo>
                    <a:pt x="330" y="510"/>
                  </a:lnTo>
                  <a:lnTo>
                    <a:pt x="339" y="508"/>
                  </a:lnTo>
                  <a:lnTo>
                    <a:pt x="324" y="489"/>
                  </a:lnTo>
                  <a:lnTo>
                    <a:pt x="313" y="489"/>
                  </a:lnTo>
                  <a:lnTo>
                    <a:pt x="306" y="478"/>
                  </a:lnTo>
                  <a:lnTo>
                    <a:pt x="298" y="476"/>
                  </a:lnTo>
                  <a:lnTo>
                    <a:pt x="306" y="441"/>
                  </a:lnTo>
                  <a:lnTo>
                    <a:pt x="321" y="452"/>
                  </a:lnTo>
                  <a:lnTo>
                    <a:pt x="326" y="448"/>
                  </a:lnTo>
                  <a:lnTo>
                    <a:pt x="319" y="439"/>
                  </a:lnTo>
                  <a:lnTo>
                    <a:pt x="330" y="429"/>
                  </a:lnTo>
                  <a:lnTo>
                    <a:pt x="345" y="420"/>
                  </a:lnTo>
                  <a:lnTo>
                    <a:pt x="360" y="422"/>
                  </a:lnTo>
                  <a:lnTo>
                    <a:pt x="366" y="418"/>
                  </a:lnTo>
                  <a:lnTo>
                    <a:pt x="386" y="422"/>
                  </a:lnTo>
                  <a:lnTo>
                    <a:pt x="403" y="439"/>
                  </a:lnTo>
                  <a:lnTo>
                    <a:pt x="403" y="429"/>
                  </a:lnTo>
                  <a:lnTo>
                    <a:pt x="420" y="439"/>
                  </a:lnTo>
                  <a:lnTo>
                    <a:pt x="433" y="429"/>
                  </a:lnTo>
                  <a:lnTo>
                    <a:pt x="454" y="429"/>
                  </a:lnTo>
                  <a:lnTo>
                    <a:pt x="472" y="437"/>
                  </a:lnTo>
                  <a:lnTo>
                    <a:pt x="495" y="437"/>
                  </a:lnTo>
                  <a:lnTo>
                    <a:pt x="501" y="426"/>
                  </a:lnTo>
                  <a:lnTo>
                    <a:pt x="474" y="416"/>
                  </a:lnTo>
                  <a:lnTo>
                    <a:pt x="486" y="409"/>
                  </a:lnTo>
                  <a:lnTo>
                    <a:pt x="480" y="399"/>
                  </a:lnTo>
                  <a:lnTo>
                    <a:pt x="484" y="396"/>
                  </a:lnTo>
                  <a:lnTo>
                    <a:pt x="487" y="386"/>
                  </a:lnTo>
                  <a:lnTo>
                    <a:pt x="480" y="386"/>
                  </a:lnTo>
                  <a:lnTo>
                    <a:pt x="476" y="379"/>
                  </a:lnTo>
                  <a:lnTo>
                    <a:pt x="499" y="379"/>
                  </a:lnTo>
                  <a:lnTo>
                    <a:pt x="542" y="366"/>
                  </a:lnTo>
                  <a:lnTo>
                    <a:pt x="570" y="362"/>
                  </a:lnTo>
                  <a:lnTo>
                    <a:pt x="577" y="353"/>
                  </a:lnTo>
                  <a:lnTo>
                    <a:pt x="602" y="356"/>
                  </a:lnTo>
                  <a:lnTo>
                    <a:pt x="613" y="366"/>
                  </a:lnTo>
                  <a:lnTo>
                    <a:pt x="615" y="375"/>
                  </a:lnTo>
                  <a:lnTo>
                    <a:pt x="626" y="371"/>
                  </a:lnTo>
                  <a:lnTo>
                    <a:pt x="634" y="379"/>
                  </a:lnTo>
                  <a:lnTo>
                    <a:pt x="650" y="377"/>
                  </a:lnTo>
                  <a:lnTo>
                    <a:pt x="650" y="388"/>
                  </a:lnTo>
                  <a:lnTo>
                    <a:pt x="665" y="386"/>
                  </a:lnTo>
                  <a:lnTo>
                    <a:pt x="675" y="375"/>
                  </a:lnTo>
                  <a:lnTo>
                    <a:pt x="690" y="371"/>
                  </a:lnTo>
                  <a:lnTo>
                    <a:pt x="690" y="379"/>
                  </a:lnTo>
                  <a:lnTo>
                    <a:pt x="714" y="392"/>
                  </a:lnTo>
                  <a:lnTo>
                    <a:pt x="763" y="435"/>
                  </a:lnTo>
                  <a:lnTo>
                    <a:pt x="768" y="426"/>
                  </a:lnTo>
                  <a:lnTo>
                    <a:pt x="782" y="437"/>
                  </a:lnTo>
                  <a:lnTo>
                    <a:pt x="810" y="433"/>
                  </a:lnTo>
                  <a:lnTo>
                    <a:pt x="843" y="456"/>
                  </a:lnTo>
                  <a:lnTo>
                    <a:pt x="858" y="459"/>
                  </a:lnTo>
                  <a:lnTo>
                    <a:pt x="862" y="454"/>
                  </a:lnTo>
                  <a:lnTo>
                    <a:pt x="875" y="465"/>
                  </a:lnTo>
                  <a:lnTo>
                    <a:pt x="873" y="472"/>
                  </a:lnTo>
                  <a:lnTo>
                    <a:pt x="885" y="467"/>
                  </a:lnTo>
                  <a:lnTo>
                    <a:pt x="888" y="459"/>
                  </a:lnTo>
                  <a:lnTo>
                    <a:pt x="929" y="439"/>
                  </a:lnTo>
                  <a:lnTo>
                    <a:pt x="965" y="441"/>
                  </a:lnTo>
                  <a:lnTo>
                    <a:pt x="982" y="450"/>
                  </a:lnTo>
                  <a:lnTo>
                    <a:pt x="1019" y="448"/>
                  </a:lnTo>
                  <a:lnTo>
                    <a:pt x="1018" y="437"/>
                  </a:lnTo>
                  <a:lnTo>
                    <a:pt x="1008" y="424"/>
                  </a:lnTo>
                  <a:lnTo>
                    <a:pt x="1019" y="411"/>
                  </a:lnTo>
                  <a:lnTo>
                    <a:pt x="1062" y="422"/>
                  </a:lnTo>
                  <a:lnTo>
                    <a:pt x="1089" y="442"/>
                  </a:lnTo>
                  <a:lnTo>
                    <a:pt x="1124" y="439"/>
                  </a:lnTo>
                  <a:lnTo>
                    <a:pt x="1199" y="463"/>
                  </a:lnTo>
                  <a:lnTo>
                    <a:pt x="1239" y="457"/>
                  </a:lnTo>
                  <a:lnTo>
                    <a:pt x="1255" y="444"/>
                  </a:lnTo>
                  <a:lnTo>
                    <a:pt x="1282" y="450"/>
                  </a:lnTo>
                  <a:lnTo>
                    <a:pt x="1306" y="457"/>
                  </a:lnTo>
                  <a:lnTo>
                    <a:pt x="1321" y="448"/>
                  </a:lnTo>
                  <a:lnTo>
                    <a:pt x="1315" y="422"/>
                  </a:lnTo>
                  <a:lnTo>
                    <a:pt x="1319" y="416"/>
                  </a:lnTo>
                  <a:lnTo>
                    <a:pt x="1304" y="399"/>
                  </a:lnTo>
                  <a:lnTo>
                    <a:pt x="1310" y="394"/>
                  </a:lnTo>
                  <a:lnTo>
                    <a:pt x="1340" y="388"/>
                  </a:lnTo>
                  <a:lnTo>
                    <a:pt x="1381" y="399"/>
                  </a:lnTo>
                  <a:lnTo>
                    <a:pt x="1424" y="433"/>
                  </a:lnTo>
                  <a:lnTo>
                    <a:pt x="1443" y="456"/>
                  </a:lnTo>
                  <a:lnTo>
                    <a:pt x="1469" y="459"/>
                  </a:lnTo>
                  <a:lnTo>
                    <a:pt x="1497" y="471"/>
                  </a:lnTo>
                  <a:lnTo>
                    <a:pt x="1516" y="489"/>
                  </a:lnTo>
                  <a:lnTo>
                    <a:pt x="1531" y="491"/>
                  </a:lnTo>
                  <a:lnTo>
                    <a:pt x="1561" y="476"/>
                  </a:lnTo>
                  <a:lnTo>
                    <a:pt x="1570" y="493"/>
                  </a:lnTo>
                  <a:lnTo>
                    <a:pt x="1566" y="497"/>
                  </a:lnTo>
                  <a:lnTo>
                    <a:pt x="1572" y="538"/>
                  </a:lnTo>
                  <a:lnTo>
                    <a:pt x="1555" y="536"/>
                  </a:lnTo>
                  <a:lnTo>
                    <a:pt x="1548" y="546"/>
                  </a:lnTo>
                  <a:lnTo>
                    <a:pt x="1564" y="568"/>
                  </a:lnTo>
                  <a:lnTo>
                    <a:pt x="1566" y="583"/>
                  </a:lnTo>
                  <a:lnTo>
                    <a:pt x="1570" y="583"/>
                  </a:lnTo>
                  <a:lnTo>
                    <a:pt x="1572" y="570"/>
                  </a:lnTo>
                  <a:lnTo>
                    <a:pt x="1598" y="581"/>
                  </a:lnTo>
                  <a:lnTo>
                    <a:pt x="1619" y="568"/>
                  </a:lnTo>
                  <a:lnTo>
                    <a:pt x="1619" y="551"/>
                  </a:lnTo>
                  <a:lnTo>
                    <a:pt x="1632" y="527"/>
                  </a:lnTo>
                  <a:lnTo>
                    <a:pt x="1636" y="476"/>
                  </a:lnTo>
                  <a:lnTo>
                    <a:pt x="1609" y="431"/>
                  </a:lnTo>
                  <a:lnTo>
                    <a:pt x="1591" y="392"/>
                  </a:lnTo>
                  <a:lnTo>
                    <a:pt x="1551" y="375"/>
                  </a:lnTo>
                  <a:lnTo>
                    <a:pt x="1542" y="375"/>
                  </a:lnTo>
                  <a:lnTo>
                    <a:pt x="1542" y="384"/>
                  </a:lnTo>
                  <a:lnTo>
                    <a:pt x="1533" y="388"/>
                  </a:lnTo>
                  <a:lnTo>
                    <a:pt x="1525" y="373"/>
                  </a:lnTo>
                  <a:lnTo>
                    <a:pt x="1518" y="375"/>
                  </a:lnTo>
                  <a:lnTo>
                    <a:pt x="1520" y="383"/>
                  </a:lnTo>
                  <a:lnTo>
                    <a:pt x="1506" y="368"/>
                  </a:lnTo>
                  <a:lnTo>
                    <a:pt x="1482" y="362"/>
                  </a:lnTo>
                  <a:lnTo>
                    <a:pt x="1495" y="345"/>
                  </a:lnTo>
                  <a:lnTo>
                    <a:pt x="1512" y="293"/>
                  </a:lnTo>
                  <a:lnTo>
                    <a:pt x="1529" y="287"/>
                  </a:lnTo>
                  <a:lnTo>
                    <a:pt x="1598" y="289"/>
                  </a:lnTo>
                  <a:lnTo>
                    <a:pt x="1593" y="279"/>
                  </a:lnTo>
                  <a:lnTo>
                    <a:pt x="1598" y="279"/>
                  </a:lnTo>
                  <a:lnTo>
                    <a:pt x="1624" y="281"/>
                  </a:lnTo>
                  <a:lnTo>
                    <a:pt x="1638" y="294"/>
                  </a:lnTo>
                  <a:lnTo>
                    <a:pt x="1682" y="289"/>
                  </a:lnTo>
                  <a:lnTo>
                    <a:pt x="1664" y="283"/>
                  </a:lnTo>
                  <a:lnTo>
                    <a:pt x="1658" y="276"/>
                  </a:lnTo>
                  <a:lnTo>
                    <a:pt x="1662" y="248"/>
                  </a:lnTo>
                  <a:lnTo>
                    <a:pt x="1701" y="244"/>
                  </a:lnTo>
                  <a:lnTo>
                    <a:pt x="1705" y="253"/>
                  </a:lnTo>
                  <a:lnTo>
                    <a:pt x="1722" y="266"/>
                  </a:lnTo>
                  <a:lnTo>
                    <a:pt x="1729" y="248"/>
                  </a:lnTo>
                  <a:lnTo>
                    <a:pt x="1737" y="248"/>
                  </a:lnTo>
                  <a:lnTo>
                    <a:pt x="1726" y="233"/>
                  </a:lnTo>
                  <a:lnTo>
                    <a:pt x="1744" y="233"/>
                  </a:lnTo>
                  <a:lnTo>
                    <a:pt x="1741" y="238"/>
                  </a:lnTo>
                  <a:lnTo>
                    <a:pt x="1759" y="261"/>
                  </a:lnTo>
                  <a:lnTo>
                    <a:pt x="1746" y="268"/>
                  </a:lnTo>
                  <a:lnTo>
                    <a:pt x="1742" y="309"/>
                  </a:lnTo>
                  <a:lnTo>
                    <a:pt x="1729" y="313"/>
                  </a:lnTo>
                  <a:lnTo>
                    <a:pt x="1739" y="326"/>
                  </a:lnTo>
                  <a:lnTo>
                    <a:pt x="1733" y="328"/>
                  </a:lnTo>
                  <a:lnTo>
                    <a:pt x="1752" y="356"/>
                  </a:lnTo>
                  <a:lnTo>
                    <a:pt x="1838" y="433"/>
                  </a:lnTo>
                  <a:lnTo>
                    <a:pt x="1844" y="420"/>
                  </a:lnTo>
                  <a:lnTo>
                    <a:pt x="1834" y="399"/>
                  </a:lnTo>
                  <a:lnTo>
                    <a:pt x="1838" y="394"/>
                  </a:lnTo>
                  <a:lnTo>
                    <a:pt x="1847" y="394"/>
                  </a:lnTo>
                  <a:lnTo>
                    <a:pt x="1832" y="377"/>
                  </a:lnTo>
                  <a:lnTo>
                    <a:pt x="1834" y="371"/>
                  </a:lnTo>
                  <a:lnTo>
                    <a:pt x="1849" y="369"/>
                  </a:lnTo>
                  <a:lnTo>
                    <a:pt x="1851" y="366"/>
                  </a:lnTo>
                  <a:lnTo>
                    <a:pt x="1827" y="343"/>
                  </a:lnTo>
                  <a:lnTo>
                    <a:pt x="1842" y="341"/>
                  </a:lnTo>
                  <a:lnTo>
                    <a:pt x="1823" y="328"/>
                  </a:lnTo>
                  <a:lnTo>
                    <a:pt x="1814" y="315"/>
                  </a:lnTo>
                  <a:lnTo>
                    <a:pt x="1799" y="313"/>
                  </a:lnTo>
                  <a:lnTo>
                    <a:pt x="1789" y="306"/>
                  </a:lnTo>
                  <a:lnTo>
                    <a:pt x="1787" y="293"/>
                  </a:lnTo>
                  <a:lnTo>
                    <a:pt x="1776" y="278"/>
                  </a:lnTo>
                  <a:lnTo>
                    <a:pt x="1795" y="278"/>
                  </a:lnTo>
                  <a:lnTo>
                    <a:pt x="1804" y="270"/>
                  </a:lnTo>
                  <a:lnTo>
                    <a:pt x="1815" y="279"/>
                  </a:lnTo>
                  <a:lnTo>
                    <a:pt x="1815" y="272"/>
                  </a:lnTo>
                  <a:lnTo>
                    <a:pt x="1827" y="266"/>
                  </a:lnTo>
                  <a:lnTo>
                    <a:pt x="1866" y="276"/>
                  </a:lnTo>
                  <a:lnTo>
                    <a:pt x="1860" y="268"/>
                  </a:lnTo>
                  <a:lnTo>
                    <a:pt x="1887" y="240"/>
                  </a:lnTo>
                  <a:lnTo>
                    <a:pt x="1900" y="233"/>
                  </a:lnTo>
                  <a:lnTo>
                    <a:pt x="1930" y="238"/>
                  </a:lnTo>
                  <a:lnTo>
                    <a:pt x="1930" y="231"/>
                  </a:lnTo>
                  <a:lnTo>
                    <a:pt x="1857" y="197"/>
                  </a:lnTo>
                  <a:close/>
                  <a:moveTo>
                    <a:pt x="72" y="272"/>
                  </a:moveTo>
                  <a:lnTo>
                    <a:pt x="53" y="276"/>
                  </a:lnTo>
                  <a:lnTo>
                    <a:pt x="36" y="257"/>
                  </a:lnTo>
                  <a:lnTo>
                    <a:pt x="45" y="248"/>
                  </a:lnTo>
                  <a:lnTo>
                    <a:pt x="53" y="248"/>
                  </a:lnTo>
                  <a:lnTo>
                    <a:pt x="70" y="255"/>
                  </a:lnTo>
                  <a:lnTo>
                    <a:pt x="75" y="266"/>
                  </a:lnTo>
                  <a:lnTo>
                    <a:pt x="72" y="272"/>
                  </a:lnTo>
                  <a:close/>
                  <a:moveTo>
                    <a:pt x="107" y="259"/>
                  </a:moveTo>
                  <a:lnTo>
                    <a:pt x="107" y="253"/>
                  </a:lnTo>
                  <a:lnTo>
                    <a:pt x="92" y="246"/>
                  </a:lnTo>
                  <a:lnTo>
                    <a:pt x="94" y="240"/>
                  </a:lnTo>
                  <a:lnTo>
                    <a:pt x="102" y="240"/>
                  </a:lnTo>
                  <a:lnTo>
                    <a:pt x="88" y="227"/>
                  </a:lnTo>
                  <a:lnTo>
                    <a:pt x="100" y="231"/>
                  </a:lnTo>
                  <a:lnTo>
                    <a:pt x="107" y="235"/>
                  </a:lnTo>
                  <a:lnTo>
                    <a:pt x="120" y="257"/>
                  </a:lnTo>
                  <a:lnTo>
                    <a:pt x="107" y="259"/>
                  </a:lnTo>
                  <a:close/>
                  <a:moveTo>
                    <a:pt x="1134" y="401"/>
                  </a:moveTo>
                  <a:lnTo>
                    <a:pt x="1117" y="411"/>
                  </a:lnTo>
                  <a:lnTo>
                    <a:pt x="1119" y="420"/>
                  </a:lnTo>
                  <a:lnTo>
                    <a:pt x="1102" y="426"/>
                  </a:lnTo>
                  <a:lnTo>
                    <a:pt x="1085" y="420"/>
                  </a:lnTo>
                  <a:lnTo>
                    <a:pt x="1107" y="416"/>
                  </a:lnTo>
                  <a:lnTo>
                    <a:pt x="1126" y="379"/>
                  </a:lnTo>
                  <a:lnTo>
                    <a:pt x="1122" y="347"/>
                  </a:lnTo>
                  <a:lnTo>
                    <a:pt x="1130" y="351"/>
                  </a:lnTo>
                  <a:lnTo>
                    <a:pt x="1141" y="379"/>
                  </a:lnTo>
                  <a:lnTo>
                    <a:pt x="1134" y="40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65" name="Freeform 6140"/>
            <p:cNvSpPr>
              <a:spLocks noEditPoints="1"/>
            </p:cNvSpPr>
            <p:nvPr>
              <p:custDataLst>
                <p:tags r:id="rId401"/>
              </p:custDataLst>
            </p:nvPr>
          </p:nvSpPr>
          <p:spPr bwMode="gray">
            <a:xfrm>
              <a:off x="7203524" y="4243897"/>
              <a:ext cx="110346" cy="124602"/>
            </a:xfrm>
            <a:custGeom>
              <a:avLst/>
              <a:gdLst/>
              <a:ahLst/>
              <a:cxnLst>
                <a:cxn ang="0">
                  <a:pos x="75" y="2"/>
                </a:cxn>
                <a:cxn ang="0">
                  <a:pos x="69" y="0"/>
                </a:cxn>
                <a:cxn ang="0">
                  <a:pos x="35" y="7"/>
                </a:cxn>
                <a:cxn ang="0">
                  <a:pos x="19" y="7"/>
                </a:cxn>
                <a:cxn ang="0">
                  <a:pos x="17" y="24"/>
                </a:cxn>
                <a:cxn ang="0">
                  <a:pos x="26" y="34"/>
                </a:cxn>
                <a:cxn ang="0">
                  <a:pos x="13" y="51"/>
                </a:cxn>
                <a:cxn ang="0">
                  <a:pos x="4" y="66"/>
                </a:cxn>
                <a:cxn ang="0">
                  <a:pos x="0" y="97"/>
                </a:cxn>
                <a:cxn ang="0">
                  <a:pos x="11" y="94"/>
                </a:cxn>
                <a:cxn ang="0">
                  <a:pos x="32" y="92"/>
                </a:cxn>
                <a:cxn ang="0">
                  <a:pos x="34" y="77"/>
                </a:cxn>
                <a:cxn ang="0">
                  <a:pos x="52" y="69"/>
                </a:cxn>
                <a:cxn ang="0">
                  <a:pos x="69" y="73"/>
                </a:cxn>
                <a:cxn ang="0">
                  <a:pos x="69" y="71"/>
                </a:cxn>
                <a:cxn ang="0">
                  <a:pos x="86" y="36"/>
                </a:cxn>
                <a:cxn ang="0">
                  <a:pos x="75" y="2"/>
                </a:cxn>
                <a:cxn ang="0">
                  <a:pos x="69" y="92"/>
                </a:cxn>
                <a:cxn ang="0">
                  <a:pos x="69" y="92"/>
                </a:cxn>
                <a:cxn ang="0">
                  <a:pos x="67" y="92"/>
                </a:cxn>
                <a:cxn ang="0">
                  <a:pos x="69" y="92"/>
                </a:cxn>
              </a:cxnLst>
              <a:rect l="0" t="0" r="r" b="b"/>
              <a:pathLst>
                <a:path w="86" h="97">
                  <a:moveTo>
                    <a:pt x="75" y="2"/>
                  </a:moveTo>
                  <a:lnTo>
                    <a:pt x="69" y="0"/>
                  </a:lnTo>
                  <a:lnTo>
                    <a:pt x="35" y="7"/>
                  </a:lnTo>
                  <a:lnTo>
                    <a:pt x="19" y="7"/>
                  </a:lnTo>
                  <a:lnTo>
                    <a:pt x="17" y="24"/>
                  </a:lnTo>
                  <a:lnTo>
                    <a:pt x="26" y="34"/>
                  </a:lnTo>
                  <a:lnTo>
                    <a:pt x="13" y="51"/>
                  </a:lnTo>
                  <a:lnTo>
                    <a:pt x="4" y="66"/>
                  </a:lnTo>
                  <a:lnTo>
                    <a:pt x="0" y="97"/>
                  </a:lnTo>
                  <a:lnTo>
                    <a:pt x="11" y="94"/>
                  </a:lnTo>
                  <a:lnTo>
                    <a:pt x="32" y="92"/>
                  </a:lnTo>
                  <a:lnTo>
                    <a:pt x="34" y="77"/>
                  </a:lnTo>
                  <a:lnTo>
                    <a:pt x="52" y="69"/>
                  </a:lnTo>
                  <a:lnTo>
                    <a:pt x="69" y="73"/>
                  </a:lnTo>
                  <a:lnTo>
                    <a:pt x="69" y="71"/>
                  </a:lnTo>
                  <a:lnTo>
                    <a:pt x="86" y="36"/>
                  </a:lnTo>
                  <a:lnTo>
                    <a:pt x="75" y="2"/>
                  </a:lnTo>
                  <a:close/>
                  <a:moveTo>
                    <a:pt x="69" y="92"/>
                  </a:moveTo>
                  <a:lnTo>
                    <a:pt x="69" y="92"/>
                  </a:lnTo>
                  <a:lnTo>
                    <a:pt x="67" y="92"/>
                  </a:lnTo>
                  <a:lnTo>
                    <a:pt x="69" y="9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66" name="Freeform 6141"/>
            <p:cNvSpPr>
              <a:spLocks/>
            </p:cNvSpPr>
            <p:nvPr>
              <p:custDataLst>
                <p:tags r:id="rId402"/>
              </p:custDataLst>
            </p:nvPr>
          </p:nvSpPr>
          <p:spPr bwMode="gray">
            <a:xfrm>
              <a:off x="7208656" y="4588159"/>
              <a:ext cx="215560" cy="385368"/>
            </a:xfrm>
            <a:custGeom>
              <a:avLst/>
              <a:gdLst/>
              <a:ahLst/>
              <a:cxnLst>
                <a:cxn ang="0">
                  <a:pos x="146" y="15"/>
                </a:cxn>
                <a:cxn ang="0">
                  <a:pos x="103" y="22"/>
                </a:cxn>
                <a:cxn ang="0">
                  <a:pos x="78" y="21"/>
                </a:cxn>
                <a:cxn ang="0">
                  <a:pos x="76" y="43"/>
                </a:cxn>
                <a:cxn ang="0">
                  <a:pos x="80" y="62"/>
                </a:cxn>
                <a:cxn ang="0">
                  <a:pos x="93" y="80"/>
                </a:cxn>
                <a:cxn ang="0">
                  <a:pos x="91" y="97"/>
                </a:cxn>
                <a:cxn ang="0">
                  <a:pos x="78" y="118"/>
                </a:cxn>
                <a:cxn ang="0">
                  <a:pos x="67" y="99"/>
                </a:cxn>
                <a:cxn ang="0">
                  <a:pos x="69" y="75"/>
                </a:cxn>
                <a:cxn ang="0">
                  <a:pos x="56" y="75"/>
                </a:cxn>
                <a:cxn ang="0">
                  <a:pos x="48" y="65"/>
                </a:cxn>
                <a:cxn ang="0">
                  <a:pos x="0" y="84"/>
                </a:cxn>
                <a:cxn ang="0">
                  <a:pos x="1" y="94"/>
                </a:cxn>
                <a:cxn ang="0">
                  <a:pos x="1" y="101"/>
                </a:cxn>
                <a:cxn ang="0">
                  <a:pos x="18" y="101"/>
                </a:cxn>
                <a:cxn ang="0">
                  <a:pos x="41" y="114"/>
                </a:cxn>
                <a:cxn ang="0">
                  <a:pos x="43" y="127"/>
                </a:cxn>
                <a:cxn ang="0">
                  <a:pos x="41" y="174"/>
                </a:cxn>
                <a:cxn ang="0">
                  <a:pos x="18" y="223"/>
                </a:cxn>
                <a:cxn ang="0">
                  <a:pos x="22" y="283"/>
                </a:cxn>
                <a:cxn ang="0">
                  <a:pos x="22" y="300"/>
                </a:cxn>
                <a:cxn ang="0">
                  <a:pos x="35" y="300"/>
                </a:cxn>
                <a:cxn ang="0">
                  <a:pos x="37" y="290"/>
                </a:cxn>
                <a:cxn ang="0">
                  <a:pos x="31" y="288"/>
                </a:cxn>
                <a:cxn ang="0">
                  <a:pos x="37" y="277"/>
                </a:cxn>
                <a:cxn ang="0">
                  <a:pos x="74" y="258"/>
                </a:cxn>
                <a:cxn ang="0">
                  <a:pos x="80" y="221"/>
                </a:cxn>
                <a:cxn ang="0">
                  <a:pos x="69" y="185"/>
                </a:cxn>
                <a:cxn ang="0">
                  <a:pos x="71" y="176"/>
                </a:cxn>
                <a:cxn ang="0">
                  <a:pos x="114" y="129"/>
                </a:cxn>
                <a:cxn ang="0">
                  <a:pos x="140" y="122"/>
                </a:cxn>
                <a:cxn ang="0">
                  <a:pos x="168" y="86"/>
                </a:cxn>
                <a:cxn ang="0">
                  <a:pos x="168" y="0"/>
                </a:cxn>
                <a:cxn ang="0">
                  <a:pos x="146" y="15"/>
                </a:cxn>
              </a:cxnLst>
              <a:rect l="0" t="0" r="r" b="b"/>
              <a:pathLst>
                <a:path w="168" h="300">
                  <a:moveTo>
                    <a:pt x="146" y="15"/>
                  </a:moveTo>
                  <a:lnTo>
                    <a:pt x="103" y="22"/>
                  </a:lnTo>
                  <a:lnTo>
                    <a:pt x="78" y="21"/>
                  </a:lnTo>
                  <a:lnTo>
                    <a:pt x="76" y="43"/>
                  </a:lnTo>
                  <a:lnTo>
                    <a:pt x="80" y="62"/>
                  </a:lnTo>
                  <a:lnTo>
                    <a:pt x="93" y="80"/>
                  </a:lnTo>
                  <a:lnTo>
                    <a:pt x="91" y="97"/>
                  </a:lnTo>
                  <a:lnTo>
                    <a:pt x="78" y="118"/>
                  </a:lnTo>
                  <a:lnTo>
                    <a:pt x="67" y="99"/>
                  </a:lnTo>
                  <a:lnTo>
                    <a:pt x="69" y="75"/>
                  </a:lnTo>
                  <a:lnTo>
                    <a:pt x="56" y="75"/>
                  </a:lnTo>
                  <a:lnTo>
                    <a:pt x="48" y="65"/>
                  </a:lnTo>
                  <a:lnTo>
                    <a:pt x="0" y="84"/>
                  </a:lnTo>
                  <a:lnTo>
                    <a:pt x="1" y="94"/>
                  </a:lnTo>
                  <a:lnTo>
                    <a:pt x="1" y="101"/>
                  </a:lnTo>
                  <a:lnTo>
                    <a:pt x="18" y="101"/>
                  </a:lnTo>
                  <a:lnTo>
                    <a:pt x="41" y="114"/>
                  </a:lnTo>
                  <a:lnTo>
                    <a:pt x="43" y="127"/>
                  </a:lnTo>
                  <a:lnTo>
                    <a:pt x="41" y="174"/>
                  </a:lnTo>
                  <a:lnTo>
                    <a:pt x="18" y="223"/>
                  </a:lnTo>
                  <a:lnTo>
                    <a:pt x="22" y="283"/>
                  </a:lnTo>
                  <a:lnTo>
                    <a:pt x="22" y="300"/>
                  </a:lnTo>
                  <a:lnTo>
                    <a:pt x="35" y="300"/>
                  </a:lnTo>
                  <a:lnTo>
                    <a:pt x="37" y="290"/>
                  </a:lnTo>
                  <a:lnTo>
                    <a:pt x="31" y="288"/>
                  </a:lnTo>
                  <a:lnTo>
                    <a:pt x="37" y="277"/>
                  </a:lnTo>
                  <a:lnTo>
                    <a:pt x="74" y="258"/>
                  </a:lnTo>
                  <a:lnTo>
                    <a:pt x="80" y="221"/>
                  </a:lnTo>
                  <a:lnTo>
                    <a:pt x="69" y="185"/>
                  </a:lnTo>
                  <a:lnTo>
                    <a:pt x="71" y="176"/>
                  </a:lnTo>
                  <a:lnTo>
                    <a:pt x="114" y="129"/>
                  </a:lnTo>
                  <a:lnTo>
                    <a:pt x="140" y="122"/>
                  </a:lnTo>
                  <a:lnTo>
                    <a:pt x="168" y="86"/>
                  </a:lnTo>
                  <a:lnTo>
                    <a:pt x="168" y="0"/>
                  </a:lnTo>
                  <a:lnTo>
                    <a:pt x="146"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67" name="Freeform 6142"/>
            <p:cNvSpPr>
              <a:spLocks/>
            </p:cNvSpPr>
            <p:nvPr>
              <p:custDataLst>
                <p:tags r:id="rId403"/>
              </p:custDataLst>
            </p:nvPr>
          </p:nvSpPr>
          <p:spPr bwMode="gray">
            <a:xfrm>
              <a:off x="7292057" y="4229767"/>
              <a:ext cx="162953" cy="220944"/>
            </a:xfrm>
            <a:custGeom>
              <a:avLst/>
              <a:gdLst/>
              <a:ahLst/>
              <a:cxnLst>
                <a:cxn ang="0">
                  <a:pos x="114" y="99"/>
                </a:cxn>
                <a:cxn ang="0">
                  <a:pos x="114" y="35"/>
                </a:cxn>
                <a:cxn ang="0">
                  <a:pos x="127" y="13"/>
                </a:cxn>
                <a:cxn ang="0">
                  <a:pos x="111" y="7"/>
                </a:cxn>
                <a:cxn ang="0">
                  <a:pos x="81" y="20"/>
                </a:cxn>
                <a:cxn ang="0">
                  <a:pos x="62" y="17"/>
                </a:cxn>
                <a:cxn ang="0">
                  <a:pos x="43" y="0"/>
                </a:cxn>
                <a:cxn ang="0">
                  <a:pos x="30" y="0"/>
                </a:cxn>
                <a:cxn ang="0">
                  <a:pos x="8" y="0"/>
                </a:cxn>
                <a:cxn ang="0">
                  <a:pos x="0" y="11"/>
                </a:cxn>
                <a:cxn ang="0">
                  <a:pos x="6" y="13"/>
                </a:cxn>
                <a:cxn ang="0">
                  <a:pos x="17" y="47"/>
                </a:cxn>
                <a:cxn ang="0">
                  <a:pos x="0" y="82"/>
                </a:cxn>
                <a:cxn ang="0">
                  <a:pos x="0" y="84"/>
                </a:cxn>
                <a:cxn ang="0">
                  <a:pos x="4" y="93"/>
                </a:cxn>
                <a:cxn ang="0">
                  <a:pos x="0" y="103"/>
                </a:cxn>
                <a:cxn ang="0">
                  <a:pos x="0" y="103"/>
                </a:cxn>
                <a:cxn ang="0">
                  <a:pos x="4" y="103"/>
                </a:cxn>
                <a:cxn ang="0">
                  <a:pos x="58" y="138"/>
                </a:cxn>
                <a:cxn ang="0">
                  <a:pos x="64" y="153"/>
                </a:cxn>
                <a:cxn ang="0">
                  <a:pos x="86" y="172"/>
                </a:cxn>
                <a:cxn ang="0">
                  <a:pos x="101" y="140"/>
                </a:cxn>
                <a:cxn ang="0">
                  <a:pos x="101" y="131"/>
                </a:cxn>
                <a:cxn ang="0">
                  <a:pos x="109" y="131"/>
                </a:cxn>
                <a:cxn ang="0">
                  <a:pos x="124" y="116"/>
                </a:cxn>
                <a:cxn ang="0">
                  <a:pos x="124" y="116"/>
                </a:cxn>
                <a:cxn ang="0">
                  <a:pos x="114" y="99"/>
                </a:cxn>
              </a:cxnLst>
              <a:rect l="0" t="0" r="r" b="b"/>
              <a:pathLst>
                <a:path w="127" h="172">
                  <a:moveTo>
                    <a:pt x="114" y="99"/>
                  </a:moveTo>
                  <a:lnTo>
                    <a:pt x="114" y="35"/>
                  </a:lnTo>
                  <a:lnTo>
                    <a:pt x="127" y="13"/>
                  </a:lnTo>
                  <a:lnTo>
                    <a:pt x="111" y="7"/>
                  </a:lnTo>
                  <a:lnTo>
                    <a:pt x="81" y="20"/>
                  </a:lnTo>
                  <a:lnTo>
                    <a:pt x="62" y="17"/>
                  </a:lnTo>
                  <a:lnTo>
                    <a:pt x="43" y="0"/>
                  </a:lnTo>
                  <a:lnTo>
                    <a:pt x="30" y="0"/>
                  </a:lnTo>
                  <a:lnTo>
                    <a:pt x="8" y="0"/>
                  </a:lnTo>
                  <a:lnTo>
                    <a:pt x="0" y="11"/>
                  </a:lnTo>
                  <a:lnTo>
                    <a:pt x="6" y="13"/>
                  </a:lnTo>
                  <a:lnTo>
                    <a:pt x="17" y="47"/>
                  </a:lnTo>
                  <a:lnTo>
                    <a:pt x="0" y="82"/>
                  </a:lnTo>
                  <a:lnTo>
                    <a:pt x="0" y="84"/>
                  </a:lnTo>
                  <a:lnTo>
                    <a:pt x="4" y="93"/>
                  </a:lnTo>
                  <a:lnTo>
                    <a:pt x="0" y="103"/>
                  </a:lnTo>
                  <a:lnTo>
                    <a:pt x="0" y="103"/>
                  </a:lnTo>
                  <a:lnTo>
                    <a:pt x="4" y="103"/>
                  </a:lnTo>
                  <a:lnTo>
                    <a:pt x="58" y="138"/>
                  </a:lnTo>
                  <a:lnTo>
                    <a:pt x="64" y="153"/>
                  </a:lnTo>
                  <a:lnTo>
                    <a:pt x="86" y="172"/>
                  </a:lnTo>
                  <a:lnTo>
                    <a:pt x="101" y="140"/>
                  </a:lnTo>
                  <a:lnTo>
                    <a:pt x="101" y="131"/>
                  </a:lnTo>
                  <a:lnTo>
                    <a:pt x="109" y="131"/>
                  </a:lnTo>
                  <a:lnTo>
                    <a:pt x="124" y="116"/>
                  </a:lnTo>
                  <a:lnTo>
                    <a:pt x="124" y="116"/>
                  </a:lnTo>
                  <a:lnTo>
                    <a:pt x="114" y="9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68" name="Freeform 6143"/>
            <p:cNvSpPr>
              <a:spLocks/>
            </p:cNvSpPr>
            <p:nvPr>
              <p:custDataLst>
                <p:tags r:id="rId404"/>
              </p:custDataLst>
            </p:nvPr>
          </p:nvSpPr>
          <p:spPr bwMode="gray">
            <a:xfrm>
              <a:off x="7198392" y="4362077"/>
              <a:ext cx="225824" cy="254343"/>
            </a:xfrm>
            <a:custGeom>
              <a:avLst/>
              <a:gdLst/>
              <a:ahLst/>
              <a:cxnLst>
                <a:cxn ang="0">
                  <a:pos x="165" y="167"/>
                </a:cxn>
                <a:cxn ang="0">
                  <a:pos x="159" y="146"/>
                </a:cxn>
                <a:cxn ang="0">
                  <a:pos x="163" y="112"/>
                </a:cxn>
                <a:cxn ang="0">
                  <a:pos x="150" y="95"/>
                </a:cxn>
                <a:cxn ang="0">
                  <a:pos x="159" y="69"/>
                </a:cxn>
                <a:cxn ang="0">
                  <a:pos x="137" y="50"/>
                </a:cxn>
                <a:cxn ang="0">
                  <a:pos x="131" y="35"/>
                </a:cxn>
                <a:cxn ang="0">
                  <a:pos x="77" y="0"/>
                </a:cxn>
                <a:cxn ang="0">
                  <a:pos x="71" y="0"/>
                </a:cxn>
                <a:cxn ang="0">
                  <a:pos x="60" y="20"/>
                </a:cxn>
                <a:cxn ang="0">
                  <a:pos x="69" y="22"/>
                </a:cxn>
                <a:cxn ang="0">
                  <a:pos x="64" y="28"/>
                </a:cxn>
                <a:cxn ang="0">
                  <a:pos x="43" y="26"/>
                </a:cxn>
                <a:cxn ang="0">
                  <a:pos x="38" y="34"/>
                </a:cxn>
                <a:cxn ang="0">
                  <a:pos x="34" y="20"/>
                </a:cxn>
                <a:cxn ang="0">
                  <a:pos x="36" y="0"/>
                </a:cxn>
                <a:cxn ang="0">
                  <a:pos x="15" y="2"/>
                </a:cxn>
                <a:cxn ang="0">
                  <a:pos x="23" y="15"/>
                </a:cxn>
                <a:cxn ang="0">
                  <a:pos x="19" y="26"/>
                </a:cxn>
                <a:cxn ang="0">
                  <a:pos x="19" y="45"/>
                </a:cxn>
                <a:cxn ang="0">
                  <a:pos x="4" y="63"/>
                </a:cxn>
                <a:cxn ang="0">
                  <a:pos x="0" y="63"/>
                </a:cxn>
                <a:cxn ang="0">
                  <a:pos x="8" y="88"/>
                </a:cxn>
                <a:cxn ang="0">
                  <a:pos x="4" y="97"/>
                </a:cxn>
                <a:cxn ang="0">
                  <a:pos x="17" y="108"/>
                </a:cxn>
                <a:cxn ang="0">
                  <a:pos x="23" y="137"/>
                </a:cxn>
                <a:cxn ang="0">
                  <a:pos x="26" y="140"/>
                </a:cxn>
                <a:cxn ang="0">
                  <a:pos x="26" y="140"/>
                </a:cxn>
                <a:cxn ang="0">
                  <a:pos x="56" y="155"/>
                </a:cxn>
                <a:cxn ang="0">
                  <a:pos x="71" y="159"/>
                </a:cxn>
                <a:cxn ang="0">
                  <a:pos x="73" y="159"/>
                </a:cxn>
                <a:cxn ang="0">
                  <a:pos x="73" y="159"/>
                </a:cxn>
                <a:cxn ang="0">
                  <a:pos x="79" y="165"/>
                </a:cxn>
                <a:cxn ang="0">
                  <a:pos x="86" y="197"/>
                </a:cxn>
                <a:cxn ang="0">
                  <a:pos x="111" y="198"/>
                </a:cxn>
                <a:cxn ang="0">
                  <a:pos x="154" y="191"/>
                </a:cxn>
                <a:cxn ang="0">
                  <a:pos x="176" y="176"/>
                </a:cxn>
                <a:cxn ang="0">
                  <a:pos x="165" y="167"/>
                </a:cxn>
              </a:cxnLst>
              <a:rect l="0" t="0" r="r" b="b"/>
              <a:pathLst>
                <a:path w="176" h="198">
                  <a:moveTo>
                    <a:pt x="165" y="167"/>
                  </a:moveTo>
                  <a:lnTo>
                    <a:pt x="159" y="146"/>
                  </a:lnTo>
                  <a:lnTo>
                    <a:pt x="163" y="112"/>
                  </a:lnTo>
                  <a:lnTo>
                    <a:pt x="150" y="95"/>
                  </a:lnTo>
                  <a:lnTo>
                    <a:pt x="159" y="69"/>
                  </a:lnTo>
                  <a:lnTo>
                    <a:pt x="137" y="50"/>
                  </a:lnTo>
                  <a:lnTo>
                    <a:pt x="131" y="35"/>
                  </a:lnTo>
                  <a:lnTo>
                    <a:pt x="77" y="0"/>
                  </a:lnTo>
                  <a:lnTo>
                    <a:pt x="71" y="0"/>
                  </a:lnTo>
                  <a:lnTo>
                    <a:pt x="60" y="20"/>
                  </a:lnTo>
                  <a:lnTo>
                    <a:pt x="69" y="22"/>
                  </a:lnTo>
                  <a:lnTo>
                    <a:pt x="64" y="28"/>
                  </a:lnTo>
                  <a:lnTo>
                    <a:pt x="43" y="26"/>
                  </a:lnTo>
                  <a:lnTo>
                    <a:pt x="38" y="34"/>
                  </a:lnTo>
                  <a:lnTo>
                    <a:pt x="34" y="20"/>
                  </a:lnTo>
                  <a:lnTo>
                    <a:pt x="36" y="0"/>
                  </a:lnTo>
                  <a:lnTo>
                    <a:pt x="15" y="2"/>
                  </a:lnTo>
                  <a:lnTo>
                    <a:pt x="23" y="15"/>
                  </a:lnTo>
                  <a:lnTo>
                    <a:pt x="19" y="26"/>
                  </a:lnTo>
                  <a:lnTo>
                    <a:pt x="19" y="45"/>
                  </a:lnTo>
                  <a:lnTo>
                    <a:pt x="4" y="63"/>
                  </a:lnTo>
                  <a:lnTo>
                    <a:pt x="0" y="63"/>
                  </a:lnTo>
                  <a:lnTo>
                    <a:pt x="8" y="88"/>
                  </a:lnTo>
                  <a:lnTo>
                    <a:pt x="4" y="97"/>
                  </a:lnTo>
                  <a:lnTo>
                    <a:pt x="17" y="108"/>
                  </a:lnTo>
                  <a:lnTo>
                    <a:pt x="23" y="137"/>
                  </a:lnTo>
                  <a:lnTo>
                    <a:pt x="26" y="140"/>
                  </a:lnTo>
                  <a:lnTo>
                    <a:pt x="26" y="140"/>
                  </a:lnTo>
                  <a:lnTo>
                    <a:pt x="56" y="155"/>
                  </a:lnTo>
                  <a:lnTo>
                    <a:pt x="71" y="159"/>
                  </a:lnTo>
                  <a:lnTo>
                    <a:pt x="73" y="159"/>
                  </a:lnTo>
                  <a:lnTo>
                    <a:pt x="73" y="159"/>
                  </a:lnTo>
                  <a:lnTo>
                    <a:pt x="79" y="165"/>
                  </a:lnTo>
                  <a:lnTo>
                    <a:pt x="86" y="197"/>
                  </a:lnTo>
                  <a:lnTo>
                    <a:pt x="111" y="198"/>
                  </a:lnTo>
                  <a:lnTo>
                    <a:pt x="154" y="191"/>
                  </a:lnTo>
                  <a:lnTo>
                    <a:pt x="176" y="176"/>
                  </a:lnTo>
                  <a:lnTo>
                    <a:pt x="165" y="16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69" name="Freeform 6144"/>
            <p:cNvSpPr>
              <a:spLocks/>
            </p:cNvSpPr>
            <p:nvPr>
              <p:custDataLst>
                <p:tags r:id="rId405"/>
              </p:custDataLst>
            </p:nvPr>
          </p:nvSpPr>
          <p:spPr bwMode="gray">
            <a:xfrm>
              <a:off x="7665915" y="3280380"/>
              <a:ext cx="351567" cy="201676"/>
            </a:xfrm>
            <a:custGeom>
              <a:avLst/>
              <a:gdLst/>
              <a:ahLst/>
              <a:cxnLst>
                <a:cxn ang="0">
                  <a:pos x="247" y="75"/>
                </a:cxn>
                <a:cxn ang="0">
                  <a:pos x="246" y="82"/>
                </a:cxn>
                <a:cxn ang="0">
                  <a:pos x="227" y="77"/>
                </a:cxn>
                <a:cxn ang="0">
                  <a:pos x="238" y="63"/>
                </a:cxn>
                <a:cxn ang="0">
                  <a:pos x="232" y="60"/>
                </a:cxn>
                <a:cxn ang="0">
                  <a:pos x="231" y="65"/>
                </a:cxn>
                <a:cxn ang="0">
                  <a:pos x="208" y="84"/>
                </a:cxn>
                <a:cxn ang="0">
                  <a:pos x="178" y="80"/>
                </a:cxn>
                <a:cxn ang="0">
                  <a:pos x="173" y="69"/>
                </a:cxn>
                <a:cxn ang="0">
                  <a:pos x="163" y="67"/>
                </a:cxn>
                <a:cxn ang="0">
                  <a:pos x="161" y="48"/>
                </a:cxn>
                <a:cxn ang="0">
                  <a:pos x="139" y="35"/>
                </a:cxn>
                <a:cxn ang="0">
                  <a:pos x="96" y="39"/>
                </a:cxn>
                <a:cxn ang="0">
                  <a:pos x="79" y="28"/>
                </a:cxn>
                <a:cxn ang="0">
                  <a:pos x="75" y="35"/>
                </a:cxn>
                <a:cxn ang="0">
                  <a:pos x="43" y="35"/>
                </a:cxn>
                <a:cxn ang="0">
                  <a:pos x="34" y="13"/>
                </a:cxn>
                <a:cxn ang="0">
                  <a:pos x="38" y="2"/>
                </a:cxn>
                <a:cxn ang="0">
                  <a:pos x="38" y="0"/>
                </a:cxn>
                <a:cxn ang="0">
                  <a:pos x="0" y="11"/>
                </a:cxn>
                <a:cxn ang="0">
                  <a:pos x="17" y="80"/>
                </a:cxn>
                <a:cxn ang="0">
                  <a:pos x="30" y="80"/>
                </a:cxn>
                <a:cxn ang="0">
                  <a:pos x="28" y="67"/>
                </a:cxn>
                <a:cxn ang="0">
                  <a:pos x="41" y="58"/>
                </a:cxn>
                <a:cxn ang="0">
                  <a:pos x="43" y="56"/>
                </a:cxn>
                <a:cxn ang="0">
                  <a:pos x="49" y="52"/>
                </a:cxn>
                <a:cxn ang="0">
                  <a:pos x="71" y="62"/>
                </a:cxn>
                <a:cxn ang="0">
                  <a:pos x="77" y="78"/>
                </a:cxn>
                <a:cxn ang="0">
                  <a:pos x="105" y="82"/>
                </a:cxn>
                <a:cxn ang="0">
                  <a:pos x="120" y="107"/>
                </a:cxn>
                <a:cxn ang="0">
                  <a:pos x="171" y="135"/>
                </a:cxn>
                <a:cxn ang="0">
                  <a:pos x="186" y="138"/>
                </a:cxn>
                <a:cxn ang="0">
                  <a:pos x="189" y="152"/>
                </a:cxn>
                <a:cxn ang="0">
                  <a:pos x="208" y="157"/>
                </a:cxn>
                <a:cxn ang="0">
                  <a:pos x="214" y="137"/>
                </a:cxn>
                <a:cxn ang="0">
                  <a:pos x="206" y="122"/>
                </a:cxn>
                <a:cxn ang="0">
                  <a:pos x="193" y="116"/>
                </a:cxn>
                <a:cxn ang="0">
                  <a:pos x="195" y="110"/>
                </a:cxn>
                <a:cxn ang="0">
                  <a:pos x="210" y="110"/>
                </a:cxn>
                <a:cxn ang="0">
                  <a:pos x="212" y="103"/>
                </a:cxn>
                <a:cxn ang="0">
                  <a:pos x="219" y="99"/>
                </a:cxn>
                <a:cxn ang="0">
                  <a:pos x="217" y="90"/>
                </a:cxn>
                <a:cxn ang="0">
                  <a:pos x="232" y="84"/>
                </a:cxn>
                <a:cxn ang="0">
                  <a:pos x="238" y="99"/>
                </a:cxn>
                <a:cxn ang="0">
                  <a:pos x="244" y="99"/>
                </a:cxn>
                <a:cxn ang="0">
                  <a:pos x="259" y="97"/>
                </a:cxn>
                <a:cxn ang="0">
                  <a:pos x="274" y="88"/>
                </a:cxn>
                <a:cxn ang="0">
                  <a:pos x="247" y="75"/>
                </a:cxn>
              </a:cxnLst>
              <a:rect l="0" t="0" r="r" b="b"/>
              <a:pathLst>
                <a:path w="274" h="157">
                  <a:moveTo>
                    <a:pt x="247" y="75"/>
                  </a:moveTo>
                  <a:lnTo>
                    <a:pt x="246" y="82"/>
                  </a:lnTo>
                  <a:lnTo>
                    <a:pt x="227" y="77"/>
                  </a:lnTo>
                  <a:lnTo>
                    <a:pt x="238" y="63"/>
                  </a:lnTo>
                  <a:lnTo>
                    <a:pt x="232" y="60"/>
                  </a:lnTo>
                  <a:lnTo>
                    <a:pt x="231" y="65"/>
                  </a:lnTo>
                  <a:lnTo>
                    <a:pt x="208" y="84"/>
                  </a:lnTo>
                  <a:lnTo>
                    <a:pt x="178" y="80"/>
                  </a:lnTo>
                  <a:lnTo>
                    <a:pt x="173" y="69"/>
                  </a:lnTo>
                  <a:lnTo>
                    <a:pt x="163" y="67"/>
                  </a:lnTo>
                  <a:lnTo>
                    <a:pt x="161" y="48"/>
                  </a:lnTo>
                  <a:lnTo>
                    <a:pt x="139" y="35"/>
                  </a:lnTo>
                  <a:lnTo>
                    <a:pt x="96" y="39"/>
                  </a:lnTo>
                  <a:lnTo>
                    <a:pt x="79" y="28"/>
                  </a:lnTo>
                  <a:lnTo>
                    <a:pt x="75" y="35"/>
                  </a:lnTo>
                  <a:lnTo>
                    <a:pt x="43" y="35"/>
                  </a:lnTo>
                  <a:lnTo>
                    <a:pt x="34" y="13"/>
                  </a:lnTo>
                  <a:lnTo>
                    <a:pt x="38" y="2"/>
                  </a:lnTo>
                  <a:lnTo>
                    <a:pt x="38" y="0"/>
                  </a:lnTo>
                  <a:lnTo>
                    <a:pt x="0" y="11"/>
                  </a:lnTo>
                  <a:lnTo>
                    <a:pt x="17" y="80"/>
                  </a:lnTo>
                  <a:lnTo>
                    <a:pt x="30" y="80"/>
                  </a:lnTo>
                  <a:lnTo>
                    <a:pt x="28" y="67"/>
                  </a:lnTo>
                  <a:lnTo>
                    <a:pt x="41" y="58"/>
                  </a:lnTo>
                  <a:lnTo>
                    <a:pt x="43" y="56"/>
                  </a:lnTo>
                  <a:lnTo>
                    <a:pt x="49" y="52"/>
                  </a:lnTo>
                  <a:lnTo>
                    <a:pt x="71" y="62"/>
                  </a:lnTo>
                  <a:lnTo>
                    <a:pt x="77" y="78"/>
                  </a:lnTo>
                  <a:lnTo>
                    <a:pt x="105" y="82"/>
                  </a:lnTo>
                  <a:lnTo>
                    <a:pt x="120" y="107"/>
                  </a:lnTo>
                  <a:lnTo>
                    <a:pt x="171" y="135"/>
                  </a:lnTo>
                  <a:lnTo>
                    <a:pt x="186" y="138"/>
                  </a:lnTo>
                  <a:lnTo>
                    <a:pt x="189" y="152"/>
                  </a:lnTo>
                  <a:lnTo>
                    <a:pt x="208" y="157"/>
                  </a:lnTo>
                  <a:lnTo>
                    <a:pt x="214" y="137"/>
                  </a:lnTo>
                  <a:lnTo>
                    <a:pt x="206" y="122"/>
                  </a:lnTo>
                  <a:lnTo>
                    <a:pt x="193" y="116"/>
                  </a:lnTo>
                  <a:lnTo>
                    <a:pt x="195" y="110"/>
                  </a:lnTo>
                  <a:lnTo>
                    <a:pt x="210" y="110"/>
                  </a:lnTo>
                  <a:lnTo>
                    <a:pt x="212" y="103"/>
                  </a:lnTo>
                  <a:lnTo>
                    <a:pt x="219" y="99"/>
                  </a:lnTo>
                  <a:lnTo>
                    <a:pt x="217" y="90"/>
                  </a:lnTo>
                  <a:lnTo>
                    <a:pt x="232" y="84"/>
                  </a:lnTo>
                  <a:lnTo>
                    <a:pt x="238" y="99"/>
                  </a:lnTo>
                  <a:lnTo>
                    <a:pt x="244" y="99"/>
                  </a:lnTo>
                  <a:lnTo>
                    <a:pt x="259" y="97"/>
                  </a:lnTo>
                  <a:lnTo>
                    <a:pt x="274" y="88"/>
                  </a:lnTo>
                  <a:lnTo>
                    <a:pt x="247" y="7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370" name="Freeform 6145"/>
            <p:cNvSpPr>
              <a:spLocks/>
            </p:cNvSpPr>
            <p:nvPr>
              <p:custDataLst>
                <p:tags r:id="rId406"/>
              </p:custDataLst>
            </p:nvPr>
          </p:nvSpPr>
          <p:spPr bwMode="gray">
            <a:xfrm>
              <a:off x="7955894" y="3475633"/>
              <a:ext cx="637697" cy="707792"/>
            </a:xfrm>
            <a:custGeom>
              <a:avLst/>
              <a:gdLst/>
              <a:ahLst/>
              <a:cxnLst>
                <a:cxn ang="0">
                  <a:pos x="428" y="154"/>
                </a:cxn>
                <a:cxn ang="0">
                  <a:pos x="412" y="177"/>
                </a:cxn>
                <a:cxn ang="0">
                  <a:pos x="374" y="191"/>
                </a:cxn>
                <a:cxn ang="0">
                  <a:pos x="356" y="173"/>
                </a:cxn>
                <a:cxn ang="0">
                  <a:pos x="345" y="193"/>
                </a:cxn>
                <a:cxn ang="0">
                  <a:pos x="308" y="198"/>
                </a:cxn>
                <a:cxn ang="0">
                  <a:pos x="285" y="185"/>
                </a:cxn>
                <a:cxn ang="0">
                  <a:pos x="239" y="175"/>
                </a:cxn>
                <a:cxn ang="0">
                  <a:pos x="212" y="164"/>
                </a:cxn>
                <a:cxn ang="0">
                  <a:pos x="218" y="135"/>
                </a:cxn>
                <a:cxn ang="0">
                  <a:pos x="191" y="110"/>
                </a:cxn>
                <a:cxn ang="0">
                  <a:pos x="185" y="92"/>
                </a:cxn>
                <a:cxn ang="0">
                  <a:pos x="187" y="67"/>
                </a:cxn>
                <a:cxn ang="0">
                  <a:pos x="206" y="31"/>
                </a:cxn>
                <a:cxn ang="0">
                  <a:pos x="164" y="33"/>
                </a:cxn>
                <a:cxn ang="0">
                  <a:pos x="123" y="4"/>
                </a:cxn>
                <a:cxn ang="0">
                  <a:pos x="94" y="23"/>
                </a:cxn>
                <a:cxn ang="0">
                  <a:pos x="108" y="40"/>
                </a:cxn>
                <a:cxn ang="0">
                  <a:pos x="102" y="79"/>
                </a:cxn>
                <a:cxn ang="0">
                  <a:pos x="127" y="94"/>
                </a:cxn>
                <a:cxn ang="0">
                  <a:pos x="110" y="119"/>
                </a:cxn>
                <a:cxn ang="0">
                  <a:pos x="75" y="158"/>
                </a:cxn>
                <a:cxn ang="0">
                  <a:pos x="46" y="171"/>
                </a:cxn>
                <a:cxn ang="0">
                  <a:pos x="31" y="198"/>
                </a:cxn>
                <a:cxn ang="0">
                  <a:pos x="46" y="223"/>
                </a:cxn>
                <a:cxn ang="0">
                  <a:pos x="35" y="239"/>
                </a:cxn>
                <a:cxn ang="0">
                  <a:pos x="8" y="243"/>
                </a:cxn>
                <a:cxn ang="0">
                  <a:pos x="15" y="262"/>
                </a:cxn>
                <a:cxn ang="0">
                  <a:pos x="46" y="260"/>
                </a:cxn>
                <a:cxn ang="0">
                  <a:pos x="21" y="279"/>
                </a:cxn>
                <a:cxn ang="0">
                  <a:pos x="54" y="304"/>
                </a:cxn>
                <a:cxn ang="0">
                  <a:pos x="69" y="279"/>
                </a:cxn>
                <a:cxn ang="0">
                  <a:pos x="81" y="302"/>
                </a:cxn>
                <a:cxn ang="0">
                  <a:pos x="85" y="370"/>
                </a:cxn>
                <a:cxn ang="0">
                  <a:pos x="102" y="424"/>
                </a:cxn>
                <a:cxn ang="0">
                  <a:pos x="110" y="451"/>
                </a:cxn>
                <a:cxn ang="0">
                  <a:pos x="135" y="503"/>
                </a:cxn>
                <a:cxn ang="0">
                  <a:pos x="164" y="551"/>
                </a:cxn>
                <a:cxn ang="0">
                  <a:pos x="193" y="530"/>
                </a:cxn>
                <a:cxn ang="0">
                  <a:pos x="198" y="514"/>
                </a:cxn>
                <a:cxn ang="0">
                  <a:pos x="210" y="493"/>
                </a:cxn>
                <a:cxn ang="0">
                  <a:pos x="218" y="453"/>
                </a:cxn>
                <a:cxn ang="0">
                  <a:pos x="214" y="426"/>
                </a:cxn>
                <a:cxn ang="0">
                  <a:pos x="237" y="393"/>
                </a:cxn>
                <a:cxn ang="0">
                  <a:pos x="268" y="368"/>
                </a:cxn>
                <a:cxn ang="0">
                  <a:pos x="299" y="333"/>
                </a:cxn>
                <a:cxn ang="0">
                  <a:pos x="331" y="308"/>
                </a:cxn>
                <a:cxn ang="0">
                  <a:pos x="351" y="285"/>
                </a:cxn>
                <a:cxn ang="0">
                  <a:pos x="358" y="250"/>
                </a:cxn>
                <a:cxn ang="0">
                  <a:pos x="351" y="220"/>
                </a:cxn>
                <a:cxn ang="0">
                  <a:pos x="345" y="210"/>
                </a:cxn>
                <a:cxn ang="0">
                  <a:pos x="368" y="206"/>
                </a:cxn>
                <a:cxn ang="0">
                  <a:pos x="376" y="216"/>
                </a:cxn>
                <a:cxn ang="0">
                  <a:pos x="422" y="220"/>
                </a:cxn>
                <a:cxn ang="0">
                  <a:pos x="401" y="245"/>
                </a:cxn>
                <a:cxn ang="0">
                  <a:pos x="418" y="245"/>
                </a:cxn>
                <a:cxn ang="0">
                  <a:pos x="437" y="275"/>
                </a:cxn>
                <a:cxn ang="0">
                  <a:pos x="441" y="241"/>
                </a:cxn>
                <a:cxn ang="0">
                  <a:pos x="460" y="214"/>
                </a:cxn>
                <a:cxn ang="0">
                  <a:pos x="472" y="179"/>
                </a:cxn>
                <a:cxn ang="0">
                  <a:pos x="491" y="160"/>
                </a:cxn>
                <a:cxn ang="0">
                  <a:pos x="480" y="135"/>
                </a:cxn>
              </a:cxnLst>
              <a:rect l="0" t="0" r="r" b="b"/>
              <a:pathLst>
                <a:path w="497" h="551">
                  <a:moveTo>
                    <a:pt x="476" y="131"/>
                  </a:moveTo>
                  <a:lnTo>
                    <a:pt x="472" y="131"/>
                  </a:lnTo>
                  <a:lnTo>
                    <a:pt x="466" y="133"/>
                  </a:lnTo>
                  <a:lnTo>
                    <a:pt x="464" y="135"/>
                  </a:lnTo>
                  <a:lnTo>
                    <a:pt x="462" y="139"/>
                  </a:lnTo>
                  <a:lnTo>
                    <a:pt x="458" y="137"/>
                  </a:lnTo>
                  <a:lnTo>
                    <a:pt x="453" y="137"/>
                  </a:lnTo>
                  <a:lnTo>
                    <a:pt x="451" y="135"/>
                  </a:lnTo>
                  <a:lnTo>
                    <a:pt x="447" y="135"/>
                  </a:lnTo>
                  <a:lnTo>
                    <a:pt x="443" y="139"/>
                  </a:lnTo>
                  <a:lnTo>
                    <a:pt x="430" y="152"/>
                  </a:lnTo>
                  <a:lnTo>
                    <a:pt x="428" y="154"/>
                  </a:lnTo>
                  <a:lnTo>
                    <a:pt x="422" y="160"/>
                  </a:lnTo>
                  <a:lnTo>
                    <a:pt x="418" y="166"/>
                  </a:lnTo>
                  <a:lnTo>
                    <a:pt x="416" y="168"/>
                  </a:lnTo>
                  <a:lnTo>
                    <a:pt x="403" y="168"/>
                  </a:lnTo>
                  <a:lnTo>
                    <a:pt x="403" y="166"/>
                  </a:lnTo>
                  <a:lnTo>
                    <a:pt x="399" y="166"/>
                  </a:lnTo>
                  <a:lnTo>
                    <a:pt x="399" y="168"/>
                  </a:lnTo>
                  <a:lnTo>
                    <a:pt x="399" y="173"/>
                  </a:lnTo>
                  <a:lnTo>
                    <a:pt x="403" y="175"/>
                  </a:lnTo>
                  <a:lnTo>
                    <a:pt x="406" y="173"/>
                  </a:lnTo>
                  <a:lnTo>
                    <a:pt x="410" y="175"/>
                  </a:lnTo>
                  <a:lnTo>
                    <a:pt x="412" y="177"/>
                  </a:lnTo>
                  <a:lnTo>
                    <a:pt x="410" y="179"/>
                  </a:lnTo>
                  <a:lnTo>
                    <a:pt x="412" y="183"/>
                  </a:lnTo>
                  <a:lnTo>
                    <a:pt x="410" y="185"/>
                  </a:lnTo>
                  <a:lnTo>
                    <a:pt x="406" y="187"/>
                  </a:lnTo>
                  <a:lnTo>
                    <a:pt x="403" y="187"/>
                  </a:lnTo>
                  <a:lnTo>
                    <a:pt x="393" y="187"/>
                  </a:lnTo>
                  <a:lnTo>
                    <a:pt x="389" y="189"/>
                  </a:lnTo>
                  <a:lnTo>
                    <a:pt x="385" y="189"/>
                  </a:lnTo>
                  <a:lnTo>
                    <a:pt x="383" y="187"/>
                  </a:lnTo>
                  <a:lnTo>
                    <a:pt x="378" y="189"/>
                  </a:lnTo>
                  <a:lnTo>
                    <a:pt x="376" y="191"/>
                  </a:lnTo>
                  <a:lnTo>
                    <a:pt x="374" y="191"/>
                  </a:lnTo>
                  <a:lnTo>
                    <a:pt x="370" y="191"/>
                  </a:lnTo>
                  <a:lnTo>
                    <a:pt x="366" y="189"/>
                  </a:lnTo>
                  <a:lnTo>
                    <a:pt x="364" y="191"/>
                  </a:lnTo>
                  <a:lnTo>
                    <a:pt x="360" y="189"/>
                  </a:lnTo>
                  <a:lnTo>
                    <a:pt x="358" y="187"/>
                  </a:lnTo>
                  <a:lnTo>
                    <a:pt x="354" y="185"/>
                  </a:lnTo>
                  <a:lnTo>
                    <a:pt x="354" y="183"/>
                  </a:lnTo>
                  <a:lnTo>
                    <a:pt x="356" y="181"/>
                  </a:lnTo>
                  <a:lnTo>
                    <a:pt x="356" y="181"/>
                  </a:lnTo>
                  <a:lnTo>
                    <a:pt x="354" y="179"/>
                  </a:lnTo>
                  <a:lnTo>
                    <a:pt x="354" y="175"/>
                  </a:lnTo>
                  <a:lnTo>
                    <a:pt x="356" y="173"/>
                  </a:lnTo>
                  <a:lnTo>
                    <a:pt x="356" y="171"/>
                  </a:lnTo>
                  <a:lnTo>
                    <a:pt x="354" y="168"/>
                  </a:lnTo>
                  <a:lnTo>
                    <a:pt x="354" y="166"/>
                  </a:lnTo>
                  <a:lnTo>
                    <a:pt x="349" y="166"/>
                  </a:lnTo>
                  <a:lnTo>
                    <a:pt x="345" y="168"/>
                  </a:lnTo>
                  <a:lnTo>
                    <a:pt x="345" y="171"/>
                  </a:lnTo>
                  <a:lnTo>
                    <a:pt x="341" y="171"/>
                  </a:lnTo>
                  <a:lnTo>
                    <a:pt x="341" y="183"/>
                  </a:lnTo>
                  <a:lnTo>
                    <a:pt x="343" y="185"/>
                  </a:lnTo>
                  <a:lnTo>
                    <a:pt x="341" y="189"/>
                  </a:lnTo>
                  <a:lnTo>
                    <a:pt x="343" y="189"/>
                  </a:lnTo>
                  <a:lnTo>
                    <a:pt x="345" y="193"/>
                  </a:lnTo>
                  <a:lnTo>
                    <a:pt x="343" y="193"/>
                  </a:lnTo>
                  <a:lnTo>
                    <a:pt x="345" y="198"/>
                  </a:lnTo>
                  <a:lnTo>
                    <a:pt x="343" y="200"/>
                  </a:lnTo>
                  <a:lnTo>
                    <a:pt x="329" y="200"/>
                  </a:lnTo>
                  <a:lnTo>
                    <a:pt x="326" y="198"/>
                  </a:lnTo>
                  <a:lnTo>
                    <a:pt x="324" y="200"/>
                  </a:lnTo>
                  <a:lnTo>
                    <a:pt x="322" y="202"/>
                  </a:lnTo>
                  <a:lnTo>
                    <a:pt x="320" y="200"/>
                  </a:lnTo>
                  <a:lnTo>
                    <a:pt x="318" y="200"/>
                  </a:lnTo>
                  <a:lnTo>
                    <a:pt x="314" y="198"/>
                  </a:lnTo>
                  <a:lnTo>
                    <a:pt x="312" y="198"/>
                  </a:lnTo>
                  <a:lnTo>
                    <a:pt x="308" y="198"/>
                  </a:lnTo>
                  <a:lnTo>
                    <a:pt x="306" y="198"/>
                  </a:lnTo>
                  <a:lnTo>
                    <a:pt x="306" y="196"/>
                  </a:lnTo>
                  <a:lnTo>
                    <a:pt x="302" y="193"/>
                  </a:lnTo>
                  <a:lnTo>
                    <a:pt x="299" y="193"/>
                  </a:lnTo>
                  <a:lnTo>
                    <a:pt x="297" y="193"/>
                  </a:lnTo>
                  <a:lnTo>
                    <a:pt x="295" y="196"/>
                  </a:lnTo>
                  <a:lnTo>
                    <a:pt x="293" y="193"/>
                  </a:lnTo>
                  <a:lnTo>
                    <a:pt x="291" y="193"/>
                  </a:lnTo>
                  <a:lnTo>
                    <a:pt x="289" y="191"/>
                  </a:lnTo>
                  <a:lnTo>
                    <a:pt x="285" y="189"/>
                  </a:lnTo>
                  <a:lnTo>
                    <a:pt x="285" y="187"/>
                  </a:lnTo>
                  <a:lnTo>
                    <a:pt x="285" y="185"/>
                  </a:lnTo>
                  <a:lnTo>
                    <a:pt x="279" y="185"/>
                  </a:lnTo>
                  <a:lnTo>
                    <a:pt x="277" y="183"/>
                  </a:lnTo>
                  <a:lnTo>
                    <a:pt x="275" y="183"/>
                  </a:lnTo>
                  <a:lnTo>
                    <a:pt x="272" y="185"/>
                  </a:lnTo>
                  <a:lnTo>
                    <a:pt x="266" y="183"/>
                  </a:lnTo>
                  <a:lnTo>
                    <a:pt x="264" y="183"/>
                  </a:lnTo>
                  <a:lnTo>
                    <a:pt x="262" y="185"/>
                  </a:lnTo>
                  <a:lnTo>
                    <a:pt x="252" y="183"/>
                  </a:lnTo>
                  <a:lnTo>
                    <a:pt x="252" y="179"/>
                  </a:lnTo>
                  <a:lnTo>
                    <a:pt x="245" y="179"/>
                  </a:lnTo>
                  <a:lnTo>
                    <a:pt x="243" y="177"/>
                  </a:lnTo>
                  <a:lnTo>
                    <a:pt x="239" y="175"/>
                  </a:lnTo>
                  <a:lnTo>
                    <a:pt x="237" y="175"/>
                  </a:lnTo>
                  <a:lnTo>
                    <a:pt x="233" y="175"/>
                  </a:lnTo>
                  <a:lnTo>
                    <a:pt x="233" y="173"/>
                  </a:lnTo>
                  <a:lnTo>
                    <a:pt x="231" y="171"/>
                  </a:lnTo>
                  <a:lnTo>
                    <a:pt x="227" y="171"/>
                  </a:lnTo>
                  <a:lnTo>
                    <a:pt x="227" y="168"/>
                  </a:lnTo>
                  <a:lnTo>
                    <a:pt x="225" y="166"/>
                  </a:lnTo>
                  <a:lnTo>
                    <a:pt x="223" y="166"/>
                  </a:lnTo>
                  <a:lnTo>
                    <a:pt x="218" y="164"/>
                  </a:lnTo>
                  <a:lnTo>
                    <a:pt x="216" y="162"/>
                  </a:lnTo>
                  <a:lnTo>
                    <a:pt x="214" y="162"/>
                  </a:lnTo>
                  <a:lnTo>
                    <a:pt x="212" y="164"/>
                  </a:lnTo>
                  <a:lnTo>
                    <a:pt x="208" y="160"/>
                  </a:lnTo>
                  <a:lnTo>
                    <a:pt x="206" y="158"/>
                  </a:lnTo>
                  <a:lnTo>
                    <a:pt x="206" y="154"/>
                  </a:lnTo>
                  <a:lnTo>
                    <a:pt x="210" y="152"/>
                  </a:lnTo>
                  <a:lnTo>
                    <a:pt x="210" y="150"/>
                  </a:lnTo>
                  <a:lnTo>
                    <a:pt x="206" y="148"/>
                  </a:lnTo>
                  <a:lnTo>
                    <a:pt x="210" y="146"/>
                  </a:lnTo>
                  <a:lnTo>
                    <a:pt x="212" y="144"/>
                  </a:lnTo>
                  <a:lnTo>
                    <a:pt x="210" y="141"/>
                  </a:lnTo>
                  <a:lnTo>
                    <a:pt x="210" y="139"/>
                  </a:lnTo>
                  <a:lnTo>
                    <a:pt x="212" y="139"/>
                  </a:lnTo>
                  <a:lnTo>
                    <a:pt x="218" y="135"/>
                  </a:lnTo>
                  <a:lnTo>
                    <a:pt x="216" y="131"/>
                  </a:lnTo>
                  <a:lnTo>
                    <a:pt x="214" y="129"/>
                  </a:lnTo>
                  <a:lnTo>
                    <a:pt x="208" y="127"/>
                  </a:lnTo>
                  <a:lnTo>
                    <a:pt x="208" y="123"/>
                  </a:lnTo>
                  <a:lnTo>
                    <a:pt x="204" y="121"/>
                  </a:lnTo>
                  <a:lnTo>
                    <a:pt x="202" y="119"/>
                  </a:lnTo>
                  <a:lnTo>
                    <a:pt x="200" y="119"/>
                  </a:lnTo>
                  <a:lnTo>
                    <a:pt x="195" y="119"/>
                  </a:lnTo>
                  <a:lnTo>
                    <a:pt x="195" y="117"/>
                  </a:lnTo>
                  <a:lnTo>
                    <a:pt x="193" y="114"/>
                  </a:lnTo>
                  <a:lnTo>
                    <a:pt x="191" y="112"/>
                  </a:lnTo>
                  <a:lnTo>
                    <a:pt x="191" y="110"/>
                  </a:lnTo>
                  <a:lnTo>
                    <a:pt x="187" y="108"/>
                  </a:lnTo>
                  <a:lnTo>
                    <a:pt x="185" y="110"/>
                  </a:lnTo>
                  <a:lnTo>
                    <a:pt x="185" y="108"/>
                  </a:lnTo>
                  <a:lnTo>
                    <a:pt x="183" y="104"/>
                  </a:lnTo>
                  <a:lnTo>
                    <a:pt x="183" y="102"/>
                  </a:lnTo>
                  <a:lnTo>
                    <a:pt x="181" y="96"/>
                  </a:lnTo>
                  <a:lnTo>
                    <a:pt x="179" y="94"/>
                  </a:lnTo>
                  <a:lnTo>
                    <a:pt x="177" y="92"/>
                  </a:lnTo>
                  <a:lnTo>
                    <a:pt x="179" y="87"/>
                  </a:lnTo>
                  <a:lnTo>
                    <a:pt x="179" y="87"/>
                  </a:lnTo>
                  <a:lnTo>
                    <a:pt x="183" y="87"/>
                  </a:lnTo>
                  <a:lnTo>
                    <a:pt x="185" y="92"/>
                  </a:lnTo>
                  <a:lnTo>
                    <a:pt x="189" y="92"/>
                  </a:lnTo>
                  <a:lnTo>
                    <a:pt x="189" y="87"/>
                  </a:lnTo>
                  <a:lnTo>
                    <a:pt x="193" y="87"/>
                  </a:lnTo>
                  <a:lnTo>
                    <a:pt x="198" y="85"/>
                  </a:lnTo>
                  <a:lnTo>
                    <a:pt x="195" y="83"/>
                  </a:lnTo>
                  <a:lnTo>
                    <a:pt x="193" y="79"/>
                  </a:lnTo>
                  <a:lnTo>
                    <a:pt x="193" y="75"/>
                  </a:lnTo>
                  <a:lnTo>
                    <a:pt x="191" y="75"/>
                  </a:lnTo>
                  <a:lnTo>
                    <a:pt x="185" y="73"/>
                  </a:lnTo>
                  <a:lnTo>
                    <a:pt x="185" y="69"/>
                  </a:lnTo>
                  <a:lnTo>
                    <a:pt x="187" y="69"/>
                  </a:lnTo>
                  <a:lnTo>
                    <a:pt x="187" y="67"/>
                  </a:lnTo>
                  <a:lnTo>
                    <a:pt x="185" y="62"/>
                  </a:lnTo>
                  <a:lnTo>
                    <a:pt x="185" y="60"/>
                  </a:lnTo>
                  <a:lnTo>
                    <a:pt x="193" y="58"/>
                  </a:lnTo>
                  <a:lnTo>
                    <a:pt x="193" y="56"/>
                  </a:lnTo>
                  <a:lnTo>
                    <a:pt x="193" y="50"/>
                  </a:lnTo>
                  <a:lnTo>
                    <a:pt x="198" y="50"/>
                  </a:lnTo>
                  <a:lnTo>
                    <a:pt x="198" y="48"/>
                  </a:lnTo>
                  <a:lnTo>
                    <a:pt x="202" y="46"/>
                  </a:lnTo>
                  <a:lnTo>
                    <a:pt x="204" y="42"/>
                  </a:lnTo>
                  <a:lnTo>
                    <a:pt x="204" y="38"/>
                  </a:lnTo>
                  <a:lnTo>
                    <a:pt x="206" y="35"/>
                  </a:lnTo>
                  <a:lnTo>
                    <a:pt x="206" y="31"/>
                  </a:lnTo>
                  <a:lnTo>
                    <a:pt x="204" y="27"/>
                  </a:lnTo>
                  <a:lnTo>
                    <a:pt x="202" y="27"/>
                  </a:lnTo>
                  <a:lnTo>
                    <a:pt x="198" y="27"/>
                  </a:lnTo>
                  <a:lnTo>
                    <a:pt x="191" y="21"/>
                  </a:lnTo>
                  <a:lnTo>
                    <a:pt x="187" y="23"/>
                  </a:lnTo>
                  <a:lnTo>
                    <a:pt x="187" y="25"/>
                  </a:lnTo>
                  <a:lnTo>
                    <a:pt x="185" y="25"/>
                  </a:lnTo>
                  <a:lnTo>
                    <a:pt x="179" y="25"/>
                  </a:lnTo>
                  <a:lnTo>
                    <a:pt x="177" y="27"/>
                  </a:lnTo>
                  <a:lnTo>
                    <a:pt x="173" y="29"/>
                  </a:lnTo>
                  <a:lnTo>
                    <a:pt x="168" y="33"/>
                  </a:lnTo>
                  <a:lnTo>
                    <a:pt x="164" y="33"/>
                  </a:lnTo>
                  <a:lnTo>
                    <a:pt x="160" y="31"/>
                  </a:lnTo>
                  <a:lnTo>
                    <a:pt x="160" y="27"/>
                  </a:lnTo>
                  <a:lnTo>
                    <a:pt x="156" y="27"/>
                  </a:lnTo>
                  <a:lnTo>
                    <a:pt x="152" y="27"/>
                  </a:lnTo>
                  <a:lnTo>
                    <a:pt x="150" y="25"/>
                  </a:lnTo>
                  <a:lnTo>
                    <a:pt x="150" y="21"/>
                  </a:lnTo>
                  <a:lnTo>
                    <a:pt x="141" y="15"/>
                  </a:lnTo>
                  <a:lnTo>
                    <a:pt x="137" y="13"/>
                  </a:lnTo>
                  <a:lnTo>
                    <a:pt x="131" y="6"/>
                  </a:lnTo>
                  <a:lnTo>
                    <a:pt x="129" y="0"/>
                  </a:lnTo>
                  <a:lnTo>
                    <a:pt x="127" y="2"/>
                  </a:lnTo>
                  <a:lnTo>
                    <a:pt x="123" y="4"/>
                  </a:lnTo>
                  <a:lnTo>
                    <a:pt x="119" y="2"/>
                  </a:lnTo>
                  <a:lnTo>
                    <a:pt x="114" y="0"/>
                  </a:lnTo>
                  <a:lnTo>
                    <a:pt x="108" y="4"/>
                  </a:lnTo>
                  <a:lnTo>
                    <a:pt x="102" y="2"/>
                  </a:lnTo>
                  <a:lnTo>
                    <a:pt x="100" y="6"/>
                  </a:lnTo>
                  <a:lnTo>
                    <a:pt x="94" y="6"/>
                  </a:lnTo>
                  <a:lnTo>
                    <a:pt x="94" y="10"/>
                  </a:lnTo>
                  <a:lnTo>
                    <a:pt x="85" y="17"/>
                  </a:lnTo>
                  <a:lnTo>
                    <a:pt x="85" y="21"/>
                  </a:lnTo>
                  <a:lnTo>
                    <a:pt x="85" y="23"/>
                  </a:lnTo>
                  <a:lnTo>
                    <a:pt x="89" y="23"/>
                  </a:lnTo>
                  <a:lnTo>
                    <a:pt x="94" y="23"/>
                  </a:lnTo>
                  <a:lnTo>
                    <a:pt x="94" y="25"/>
                  </a:lnTo>
                  <a:lnTo>
                    <a:pt x="96" y="29"/>
                  </a:lnTo>
                  <a:lnTo>
                    <a:pt x="98" y="29"/>
                  </a:lnTo>
                  <a:lnTo>
                    <a:pt x="100" y="29"/>
                  </a:lnTo>
                  <a:lnTo>
                    <a:pt x="102" y="29"/>
                  </a:lnTo>
                  <a:lnTo>
                    <a:pt x="102" y="31"/>
                  </a:lnTo>
                  <a:lnTo>
                    <a:pt x="102" y="33"/>
                  </a:lnTo>
                  <a:lnTo>
                    <a:pt x="102" y="35"/>
                  </a:lnTo>
                  <a:lnTo>
                    <a:pt x="104" y="35"/>
                  </a:lnTo>
                  <a:lnTo>
                    <a:pt x="106" y="38"/>
                  </a:lnTo>
                  <a:lnTo>
                    <a:pt x="106" y="38"/>
                  </a:lnTo>
                  <a:lnTo>
                    <a:pt x="108" y="40"/>
                  </a:lnTo>
                  <a:lnTo>
                    <a:pt x="108" y="42"/>
                  </a:lnTo>
                  <a:lnTo>
                    <a:pt x="108" y="42"/>
                  </a:lnTo>
                  <a:lnTo>
                    <a:pt x="102" y="44"/>
                  </a:lnTo>
                  <a:lnTo>
                    <a:pt x="102" y="48"/>
                  </a:lnTo>
                  <a:lnTo>
                    <a:pt x="98" y="50"/>
                  </a:lnTo>
                  <a:lnTo>
                    <a:pt x="96" y="52"/>
                  </a:lnTo>
                  <a:lnTo>
                    <a:pt x="98" y="52"/>
                  </a:lnTo>
                  <a:lnTo>
                    <a:pt x="98" y="58"/>
                  </a:lnTo>
                  <a:lnTo>
                    <a:pt x="100" y="62"/>
                  </a:lnTo>
                  <a:lnTo>
                    <a:pt x="98" y="69"/>
                  </a:lnTo>
                  <a:lnTo>
                    <a:pt x="100" y="77"/>
                  </a:lnTo>
                  <a:lnTo>
                    <a:pt x="102" y="79"/>
                  </a:lnTo>
                  <a:lnTo>
                    <a:pt x="106" y="79"/>
                  </a:lnTo>
                  <a:lnTo>
                    <a:pt x="108" y="81"/>
                  </a:lnTo>
                  <a:lnTo>
                    <a:pt x="110" y="81"/>
                  </a:lnTo>
                  <a:lnTo>
                    <a:pt x="112" y="83"/>
                  </a:lnTo>
                  <a:lnTo>
                    <a:pt x="114" y="83"/>
                  </a:lnTo>
                  <a:lnTo>
                    <a:pt x="116" y="85"/>
                  </a:lnTo>
                  <a:lnTo>
                    <a:pt x="116" y="87"/>
                  </a:lnTo>
                  <a:lnTo>
                    <a:pt x="116" y="89"/>
                  </a:lnTo>
                  <a:lnTo>
                    <a:pt x="119" y="89"/>
                  </a:lnTo>
                  <a:lnTo>
                    <a:pt x="123" y="89"/>
                  </a:lnTo>
                  <a:lnTo>
                    <a:pt x="125" y="89"/>
                  </a:lnTo>
                  <a:lnTo>
                    <a:pt x="127" y="94"/>
                  </a:lnTo>
                  <a:lnTo>
                    <a:pt x="127" y="98"/>
                  </a:lnTo>
                  <a:lnTo>
                    <a:pt x="121" y="98"/>
                  </a:lnTo>
                  <a:lnTo>
                    <a:pt x="116" y="100"/>
                  </a:lnTo>
                  <a:lnTo>
                    <a:pt x="114" y="102"/>
                  </a:lnTo>
                  <a:lnTo>
                    <a:pt x="114" y="102"/>
                  </a:lnTo>
                  <a:lnTo>
                    <a:pt x="114" y="104"/>
                  </a:lnTo>
                  <a:lnTo>
                    <a:pt x="116" y="106"/>
                  </a:lnTo>
                  <a:lnTo>
                    <a:pt x="116" y="108"/>
                  </a:lnTo>
                  <a:lnTo>
                    <a:pt x="112" y="110"/>
                  </a:lnTo>
                  <a:lnTo>
                    <a:pt x="112" y="112"/>
                  </a:lnTo>
                  <a:lnTo>
                    <a:pt x="116" y="114"/>
                  </a:lnTo>
                  <a:lnTo>
                    <a:pt x="110" y="119"/>
                  </a:lnTo>
                  <a:lnTo>
                    <a:pt x="110" y="121"/>
                  </a:lnTo>
                  <a:lnTo>
                    <a:pt x="106" y="125"/>
                  </a:lnTo>
                  <a:lnTo>
                    <a:pt x="104" y="127"/>
                  </a:lnTo>
                  <a:lnTo>
                    <a:pt x="104" y="131"/>
                  </a:lnTo>
                  <a:lnTo>
                    <a:pt x="102" y="133"/>
                  </a:lnTo>
                  <a:lnTo>
                    <a:pt x="96" y="135"/>
                  </a:lnTo>
                  <a:lnTo>
                    <a:pt x="94" y="141"/>
                  </a:lnTo>
                  <a:lnTo>
                    <a:pt x="87" y="152"/>
                  </a:lnTo>
                  <a:lnTo>
                    <a:pt x="85" y="154"/>
                  </a:lnTo>
                  <a:lnTo>
                    <a:pt x="83" y="156"/>
                  </a:lnTo>
                  <a:lnTo>
                    <a:pt x="77" y="158"/>
                  </a:lnTo>
                  <a:lnTo>
                    <a:pt x="75" y="158"/>
                  </a:lnTo>
                  <a:lnTo>
                    <a:pt x="75" y="164"/>
                  </a:lnTo>
                  <a:lnTo>
                    <a:pt x="73" y="166"/>
                  </a:lnTo>
                  <a:lnTo>
                    <a:pt x="71" y="166"/>
                  </a:lnTo>
                  <a:lnTo>
                    <a:pt x="69" y="168"/>
                  </a:lnTo>
                  <a:lnTo>
                    <a:pt x="69" y="171"/>
                  </a:lnTo>
                  <a:lnTo>
                    <a:pt x="67" y="173"/>
                  </a:lnTo>
                  <a:lnTo>
                    <a:pt x="56" y="175"/>
                  </a:lnTo>
                  <a:lnTo>
                    <a:pt x="54" y="175"/>
                  </a:lnTo>
                  <a:lnTo>
                    <a:pt x="52" y="177"/>
                  </a:lnTo>
                  <a:lnTo>
                    <a:pt x="48" y="175"/>
                  </a:lnTo>
                  <a:lnTo>
                    <a:pt x="48" y="173"/>
                  </a:lnTo>
                  <a:lnTo>
                    <a:pt x="46" y="171"/>
                  </a:lnTo>
                  <a:lnTo>
                    <a:pt x="46" y="171"/>
                  </a:lnTo>
                  <a:lnTo>
                    <a:pt x="40" y="173"/>
                  </a:lnTo>
                  <a:lnTo>
                    <a:pt x="37" y="175"/>
                  </a:lnTo>
                  <a:lnTo>
                    <a:pt x="35" y="181"/>
                  </a:lnTo>
                  <a:lnTo>
                    <a:pt x="31" y="183"/>
                  </a:lnTo>
                  <a:lnTo>
                    <a:pt x="29" y="185"/>
                  </a:lnTo>
                  <a:lnTo>
                    <a:pt x="27" y="187"/>
                  </a:lnTo>
                  <a:lnTo>
                    <a:pt x="27" y="189"/>
                  </a:lnTo>
                  <a:lnTo>
                    <a:pt x="27" y="193"/>
                  </a:lnTo>
                  <a:lnTo>
                    <a:pt x="27" y="193"/>
                  </a:lnTo>
                  <a:lnTo>
                    <a:pt x="29" y="196"/>
                  </a:lnTo>
                  <a:lnTo>
                    <a:pt x="31" y="198"/>
                  </a:lnTo>
                  <a:lnTo>
                    <a:pt x="35" y="196"/>
                  </a:lnTo>
                  <a:lnTo>
                    <a:pt x="37" y="198"/>
                  </a:lnTo>
                  <a:lnTo>
                    <a:pt x="37" y="200"/>
                  </a:lnTo>
                  <a:lnTo>
                    <a:pt x="37" y="206"/>
                  </a:lnTo>
                  <a:lnTo>
                    <a:pt x="35" y="206"/>
                  </a:lnTo>
                  <a:lnTo>
                    <a:pt x="35" y="210"/>
                  </a:lnTo>
                  <a:lnTo>
                    <a:pt x="37" y="212"/>
                  </a:lnTo>
                  <a:lnTo>
                    <a:pt x="40" y="214"/>
                  </a:lnTo>
                  <a:lnTo>
                    <a:pt x="40" y="214"/>
                  </a:lnTo>
                  <a:lnTo>
                    <a:pt x="42" y="214"/>
                  </a:lnTo>
                  <a:lnTo>
                    <a:pt x="46" y="214"/>
                  </a:lnTo>
                  <a:lnTo>
                    <a:pt x="46" y="223"/>
                  </a:lnTo>
                  <a:lnTo>
                    <a:pt x="48" y="225"/>
                  </a:lnTo>
                  <a:lnTo>
                    <a:pt x="48" y="225"/>
                  </a:lnTo>
                  <a:lnTo>
                    <a:pt x="48" y="229"/>
                  </a:lnTo>
                  <a:lnTo>
                    <a:pt x="50" y="231"/>
                  </a:lnTo>
                  <a:lnTo>
                    <a:pt x="52" y="233"/>
                  </a:lnTo>
                  <a:lnTo>
                    <a:pt x="50" y="237"/>
                  </a:lnTo>
                  <a:lnTo>
                    <a:pt x="50" y="237"/>
                  </a:lnTo>
                  <a:lnTo>
                    <a:pt x="48" y="239"/>
                  </a:lnTo>
                  <a:lnTo>
                    <a:pt x="44" y="241"/>
                  </a:lnTo>
                  <a:lnTo>
                    <a:pt x="42" y="237"/>
                  </a:lnTo>
                  <a:lnTo>
                    <a:pt x="37" y="239"/>
                  </a:lnTo>
                  <a:lnTo>
                    <a:pt x="35" y="239"/>
                  </a:lnTo>
                  <a:lnTo>
                    <a:pt x="35" y="241"/>
                  </a:lnTo>
                  <a:lnTo>
                    <a:pt x="31" y="241"/>
                  </a:lnTo>
                  <a:lnTo>
                    <a:pt x="27" y="241"/>
                  </a:lnTo>
                  <a:lnTo>
                    <a:pt x="27" y="239"/>
                  </a:lnTo>
                  <a:lnTo>
                    <a:pt x="25" y="239"/>
                  </a:lnTo>
                  <a:lnTo>
                    <a:pt x="21" y="237"/>
                  </a:lnTo>
                  <a:lnTo>
                    <a:pt x="17" y="237"/>
                  </a:lnTo>
                  <a:lnTo>
                    <a:pt x="15" y="239"/>
                  </a:lnTo>
                  <a:lnTo>
                    <a:pt x="15" y="237"/>
                  </a:lnTo>
                  <a:lnTo>
                    <a:pt x="12" y="237"/>
                  </a:lnTo>
                  <a:lnTo>
                    <a:pt x="10" y="243"/>
                  </a:lnTo>
                  <a:lnTo>
                    <a:pt x="8" y="243"/>
                  </a:lnTo>
                  <a:lnTo>
                    <a:pt x="6" y="243"/>
                  </a:lnTo>
                  <a:lnTo>
                    <a:pt x="2" y="243"/>
                  </a:lnTo>
                  <a:lnTo>
                    <a:pt x="0" y="245"/>
                  </a:lnTo>
                  <a:lnTo>
                    <a:pt x="0" y="247"/>
                  </a:lnTo>
                  <a:lnTo>
                    <a:pt x="0" y="250"/>
                  </a:lnTo>
                  <a:lnTo>
                    <a:pt x="4" y="252"/>
                  </a:lnTo>
                  <a:lnTo>
                    <a:pt x="4" y="252"/>
                  </a:lnTo>
                  <a:lnTo>
                    <a:pt x="6" y="254"/>
                  </a:lnTo>
                  <a:lnTo>
                    <a:pt x="8" y="256"/>
                  </a:lnTo>
                  <a:lnTo>
                    <a:pt x="10" y="260"/>
                  </a:lnTo>
                  <a:lnTo>
                    <a:pt x="10" y="262"/>
                  </a:lnTo>
                  <a:lnTo>
                    <a:pt x="15" y="262"/>
                  </a:lnTo>
                  <a:lnTo>
                    <a:pt x="19" y="264"/>
                  </a:lnTo>
                  <a:lnTo>
                    <a:pt x="23" y="266"/>
                  </a:lnTo>
                  <a:lnTo>
                    <a:pt x="25" y="266"/>
                  </a:lnTo>
                  <a:lnTo>
                    <a:pt x="27" y="266"/>
                  </a:lnTo>
                  <a:lnTo>
                    <a:pt x="33" y="262"/>
                  </a:lnTo>
                  <a:lnTo>
                    <a:pt x="33" y="262"/>
                  </a:lnTo>
                  <a:lnTo>
                    <a:pt x="35" y="260"/>
                  </a:lnTo>
                  <a:lnTo>
                    <a:pt x="37" y="258"/>
                  </a:lnTo>
                  <a:lnTo>
                    <a:pt x="37" y="258"/>
                  </a:lnTo>
                  <a:lnTo>
                    <a:pt x="40" y="260"/>
                  </a:lnTo>
                  <a:lnTo>
                    <a:pt x="44" y="260"/>
                  </a:lnTo>
                  <a:lnTo>
                    <a:pt x="46" y="260"/>
                  </a:lnTo>
                  <a:lnTo>
                    <a:pt x="46" y="262"/>
                  </a:lnTo>
                  <a:lnTo>
                    <a:pt x="46" y="262"/>
                  </a:lnTo>
                  <a:lnTo>
                    <a:pt x="44" y="264"/>
                  </a:lnTo>
                  <a:lnTo>
                    <a:pt x="42" y="266"/>
                  </a:lnTo>
                  <a:lnTo>
                    <a:pt x="42" y="268"/>
                  </a:lnTo>
                  <a:lnTo>
                    <a:pt x="37" y="270"/>
                  </a:lnTo>
                  <a:lnTo>
                    <a:pt x="35" y="272"/>
                  </a:lnTo>
                  <a:lnTo>
                    <a:pt x="35" y="275"/>
                  </a:lnTo>
                  <a:lnTo>
                    <a:pt x="29" y="275"/>
                  </a:lnTo>
                  <a:lnTo>
                    <a:pt x="29" y="277"/>
                  </a:lnTo>
                  <a:lnTo>
                    <a:pt x="23" y="279"/>
                  </a:lnTo>
                  <a:lnTo>
                    <a:pt x="21" y="279"/>
                  </a:lnTo>
                  <a:lnTo>
                    <a:pt x="17" y="279"/>
                  </a:lnTo>
                  <a:lnTo>
                    <a:pt x="17" y="279"/>
                  </a:lnTo>
                  <a:lnTo>
                    <a:pt x="19" y="283"/>
                  </a:lnTo>
                  <a:lnTo>
                    <a:pt x="21" y="283"/>
                  </a:lnTo>
                  <a:lnTo>
                    <a:pt x="21" y="285"/>
                  </a:lnTo>
                  <a:lnTo>
                    <a:pt x="23" y="289"/>
                  </a:lnTo>
                  <a:lnTo>
                    <a:pt x="37" y="304"/>
                  </a:lnTo>
                  <a:lnTo>
                    <a:pt x="42" y="306"/>
                  </a:lnTo>
                  <a:lnTo>
                    <a:pt x="46" y="308"/>
                  </a:lnTo>
                  <a:lnTo>
                    <a:pt x="48" y="306"/>
                  </a:lnTo>
                  <a:lnTo>
                    <a:pt x="50" y="306"/>
                  </a:lnTo>
                  <a:lnTo>
                    <a:pt x="54" y="304"/>
                  </a:lnTo>
                  <a:lnTo>
                    <a:pt x="56" y="302"/>
                  </a:lnTo>
                  <a:lnTo>
                    <a:pt x="62" y="299"/>
                  </a:lnTo>
                  <a:lnTo>
                    <a:pt x="67" y="297"/>
                  </a:lnTo>
                  <a:lnTo>
                    <a:pt x="69" y="295"/>
                  </a:lnTo>
                  <a:lnTo>
                    <a:pt x="69" y="291"/>
                  </a:lnTo>
                  <a:lnTo>
                    <a:pt x="67" y="291"/>
                  </a:lnTo>
                  <a:lnTo>
                    <a:pt x="67" y="289"/>
                  </a:lnTo>
                  <a:lnTo>
                    <a:pt x="64" y="287"/>
                  </a:lnTo>
                  <a:lnTo>
                    <a:pt x="64" y="285"/>
                  </a:lnTo>
                  <a:lnTo>
                    <a:pt x="67" y="283"/>
                  </a:lnTo>
                  <a:lnTo>
                    <a:pt x="69" y="283"/>
                  </a:lnTo>
                  <a:lnTo>
                    <a:pt x="69" y="279"/>
                  </a:lnTo>
                  <a:lnTo>
                    <a:pt x="71" y="277"/>
                  </a:lnTo>
                  <a:lnTo>
                    <a:pt x="75" y="277"/>
                  </a:lnTo>
                  <a:lnTo>
                    <a:pt x="77" y="279"/>
                  </a:lnTo>
                  <a:lnTo>
                    <a:pt x="81" y="279"/>
                  </a:lnTo>
                  <a:lnTo>
                    <a:pt x="83" y="281"/>
                  </a:lnTo>
                  <a:lnTo>
                    <a:pt x="81" y="285"/>
                  </a:lnTo>
                  <a:lnTo>
                    <a:pt x="79" y="287"/>
                  </a:lnTo>
                  <a:lnTo>
                    <a:pt x="79" y="289"/>
                  </a:lnTo>
                  <a:lnTo>
                    <a:pt x="83" y="291"/>
                  </a:lnTo>
                  <a:lnTo>
                    <a:pt x="83" y="293"/>
                  </a:lnTo>
                  <a:lnTo>
                    <a:pt x="79" y="295"/>
                  </a:lnTo>
                  <a:lnTo>
                    <a:pt x="81" y="302"/>
                  </a:lnTo>
                  <a:lnTo>
                    <a:pt x="83" y="304"/>
                  </a:lnTo>
                  <a:lnTo>
                    <a:pt x="83" y="308"/>
                  </a:lnTo>
                  <a:lnTo>
                    <a:pt x="83" y="308"/>
                  </a:lnTo>
                  <a:lnTo>
                    <a:pt x="81" y="316"/>
                  </a:lnTo>
                  <a:lnTo>
                    <a:pt x="81" y="318"/>
                  </a:lnTo>
                  <a:lnTo>
                    <a:pt x="81" y="320"/>
                  </a:lnTo>
                  <a:lnTo>
                    <a:pt x="77" y="326"/>
                  </a:lnTo>
                  <a:lnTo>
                    <a:pt x="79" y="335"/>
                  </a:lnTo>
                  <a:lnTo>
                    <a:pt x="79" y="354"/>
                  </a:lnTo>
                  <a:lnTo>
                    <a:pt x="81" y="356"/>
                  </a:lnTo>
                  <a:lnTo>
                    <a:pt x="83" y="366"/>
                  </a:lnTo>
                  <a:lnTo>
                    <a:pt x="85" y="370"/>
                  </a:lnTo>
                  <a:lnTo>
                    <a:pt x="85" y="374"/>
                  </a:lnTo>
                  <a:lnTo>
                    <a:pt x="85" y="376"/>
                  </a:lnTo>
                  <a:lnTo>
                    <a:pt x="87" y="387"/>
                  </a:lnTo>
                  <a:lnTo>
                    <a:pt x="89" y="389"/>
                  </a:lnTo>
                  <a:lnTo>
                    <a:pt x="87" y="391"/>
                  </a:lnTo>
                  <a:lnTo>
                    <a:pt x="89" y="399"/>
                  </a:lnTo>
                  <a:lnTo>
                    <a:pt x="89" y="399"/>
                  </a:lnTo>
                  <a:lnTo>
                    <a:pt x="94" y="405"/>
                  </a:lnTo>
                  <a:lnTo>
                    <a:pt x="94" y="410"/>
                  </a:lnTo>
                  <a:lnTo>
                    <a:pt x="94" y="412"/>
                  </a:lnTo>
                  <a:lnTo>
                    <a:pt x="96" y="416"/>
                  </a:lnTo>
                  <a:lnTo>
                    <a:pt x="102" y="424"/>
                  </a:lnTo>
                  <a:lnTo>
                    <a:pt x="102" y="426"/>
                  </a:lnTo>
                  <a:lnTo>
                    <a:pt x="104" y="426"/>
                  </a:lnTo>
                  <a:lnTo>
                    <a:pt x="104" y="430"/>
                  </a:lnTo>
                  <a:lnTo>
                    <a:pt x="106" y="430"/>
                  </a:lnTo>
                  <a:lnTo>
                    <a:pt x="108" y="432"/>
                  </a:lnTo>
                  <a:lnTo>
                    <a:pt x="106" y="435"/>
                  </a:lnTo>
                  <a:lnTo>
                    <a:pt x="104" y="437"/>
                  </a:lnTo>
                  <a:lnTo>
                    <a:pt x="108" y="439"/>
                  </a:lnTo>
                  <a:lnTo>
                    <a:pt x="110" y="443"/>
                  </a:lnTo>
                  <a:lnTo>
                    <a:pt x="112" y="445"/>
                  </a:lnTo>
                  <a:lnTo>
                    <a:pt x="112" y="449"/>
                  </a:lnTo>
                  <a:lnTo>
                    <a:pt x="110" y="451"/>
                  </a:lnTo>
                  <a:lnTo>
                    <a:pt x="112" y="453"/>
                  </a:lnTo>
                  <a:lnTo>
                    <a:pt x="114" y="462"/>
                  </a:lnTo>
                  <a:lnTo>
                    <a:pt x="116" y="470"/>
                  </a:lnTo>
                  <a:lnTo>
                    <a:pt x="119" y="470"/>
                  </a:lnTo>
                  <a:lnTo>
                    <a:pt x="119" y="474"/>
                  </a:lnTo>
                  <a:lnTo>
                    <a:pt x="121" y="476"/>
                  </a:lnTo>
                  <a:lnTo>
                    <a:pt x="127" y="482"/>
                  </a:lnTo>
                  <a:lnTo>
                    <a:pt x="127" y="487"/>
                  </a:lnTo>
                  <a:lnTo>
                    <a:pt x="129" y="487"/>
                  </a:lnTo>
                  <a:lnTo>
                    <a:pt x="133" y="493"/>
                  </a:lnTo>
                  <a:lnTo>
                    <a:pt x="133" y="497"/>
                  </a:lnTo>
                  <a:lnTo>
                    <a:pt x="135" y="503"/>
                  </a:lnTo>
                  <a:lnTo>
                    <a:pt x="135" y="503"/>
                  </a:lnTo>
                  <a:lnTo>
                    <a:pt x="137" y="509"/>
                  </a:lnTo>
                  <a:lnTo>
                    <a:pt x="139" y="511"/>
                  </a:lnTo>
                  <a:lnTo>
                    <a:pt x="141" y="518"/>
                  </a:lnTo>
                  <a:lnTo>
                    <a:pt x="141" y="520"/>
                  </a:lnTo>
                  <a:lnTo>
                    <a:pt x="141" y="524"/>
                  </a:lnTo>
                  <a:lnTo>
                    <a:pt x="143" y="528"/>
                  </a:lnTo>
                  <a:lnTo>
                    <a:pt x="143" y="530"/>
                  </a:lnTo>
                  <a:lnTo>
                    <a:pt x="146" y="534"/>
                  </a:lnTo>
                  <a:lnTo>
                    <a:pt x="156" y="547"/>
                  </a:lnTo>
                  <a:lnTo>
                    <a:pt x="158" y="549"/>
                  </a:lnTo>
                  <a:lnTo>
                    <a:pt x="164" y="551"/>
                  </a:lnTo>
                  <a:lnTo>
                    <a:pt x="166" y="551"/>
                  </a:lnTo>
                  <a:lnTo>
                    <a:pt x="171" y="549"/>
                  </a:lnTo>
                  <a:lnTo>
                    <a:pt x="173" y="547"/>
                  </a:lnTo>
                  <a:lnTo>
                    <a:pt x="175" y="547"/>
                  </a:lnTo>
                  <a:lnTo>
                    <a:pt x="177" y="545"/>
                  </a:lnTo>
                  <a:lnTo>
                    <a:pt x="177" y="543"/>
                  </a:lnTo>
                  <a:lnTo>
                    <a:pt x="177" y="539"/>
                  </a:lnTo>
                  <a:lnTo>
                    <a:pt x="179" y="536"/>
                  </a:lnTo>
                  <a:lnTo>
                    <a:pt x="179" y="534"/>
                  </a:lnTo>
                  <a:lnTo>
                    <a:pt x="181" y="532"/>
                  </a:lnTo>
                  <a:lnTo>
                    <a:pt x="191" y="530"/>
                  </a:lnTo>
                  <a:lnTo>
                    <a:pt x="193" y="530"/>
                  </a:lnTo>
                  <a:lnTo>
                    <a:pt x="198" y="530"/>
                  </a:lnTo>
                  <a:lnTo>
                    <a:pt x="200" y="530"/>
                  </a:lnTo>
                  <a:lnTo>
                    <a:pt x="204" y="530"/>
                  </a:lnTo>
                  <a:lnTo>
                    <a:pt x="202" y="528"/>
                  </a:lnTo>
                  <a:lnTo>
                    <a:pt x="200" y="528"/>
                  </a:lnTo>
                  <a:lnTo>
                    <a:pt x="195" y="528"/>
                  </a:lnTo>
                  <a:lnTo>
                    <a:pt x="193" y="526"/>
                  </a:lnTo>
                  <a:lnTo>
                    <a:pt x="193" y="522"/>
                  </a:lnTo>
                  <a:lnTo>
                    <a:pt x="193" y="520"/>
                  </a:lnTo>
                  <a:lnTo>
                    <a:pt x="195" y="518"/>
                  </a:lnTo>
                  <a:lnTo>
                    <a:pt x="198" y="516"/>
                  </a:lnTo>
                  <a:lnTo>
                    <a:pt x="198" y="514"/>
                  </a:lnTo>
                  <a:lnTo>
                    <a:pt x="200" y="509"/>
                  </a:lnTo>
                  <a:lnTo>
                    <a:pt x="200" y="509"/>
                  </a:lnTo>
                  <a:lnTo>
                    <a:pt x="204" y="507"/>
                  </a:lnTo>
                  <a:lnTo>
                    <a:pt x="208" y="509"/>
                  </a:lnTo>
                  <a:lnTo>
                    <a:pt x="210" y="509"/>
                  </a:lnTo>
                  <a:lnTo>
                    <a:pt x="210" y="505"/>
                  </a:lnTo>
                  <a:lnTo>
                    <a:pt x="210" y="503"/>
                  </a:lnTo>
                  <a:lnTo>
                    <a:pt x="210" y="499"/>
                  </a:lnTo>
                  <a:lnTo>
                    <a:pt x="206" y="497"/>
                  </a:lnTo>
                  <a:lnTo>
                    <a:pt x="206" y="495"/>
                  </a:lnTo>
                  <a:lnTo>
                    <a:pt x="210" y="495"/>
                  </a:lnTo>
                  <a:lnTo>
                    <a:pt x="210" y="493"/>
                  </a:lnTo>
                  <a:lnTo>
                    <a:pt x="210" y="491"/>
                  </a:lnTo>
                  <a:lnTo>
                    <a:pt x="208" y="487"/>
                  </a:lnTo>
                  <a:lnTo>
                    <a:pt x="208" y="484"/>
                  </a:lnTo>
                  <a:lnTo>
                    <a:pt x="208" y="482"/>
                  </a:lnTo>
                  <a:lnTo>
                    <a:pt x="206" y="480"/>
                  </a:lnTo>
                  <a:lnTo>
                    <a:pt x="208" y="476"/>
                  </a:lnTo>
                  <a:lnTo>
                    <a:pt x="212" y="472"/>
                  </a:lnTo>
                  <a:lnTo>
                    <a:pt x="214" y="470"/>
                  </a:lnTo>
                  <a:lnTo>
                    <a:pt x="214" y="468"/>
                  </a:lnTo>
                  <a:lnTo>
                    <a:pt x="216" y="462"/>
                  </a:lnTo>
                  <a:lnTo>
                    <a:pt x="216" y="457"/>
                  </a:lnTo>
                  <a:lnTo>
                    <a:pt x="218" y="453"/>
                  </a:lnTo>
                  <a:lnTo>
                    <a:pt x="216" y="451"/>
                  </a:lnTo>
                  <a:lnTo>
                    <a:pt x="216" y="447"/>
                  </a:lnTo>
                  <a:lnTo>
                    <a:pt x="216" y="445"/>
                  </a:lnTo>
                  <a:lnTo>
                    <a:pt x="214" y="441"/>
                  </a:lnTo>
                  <a:lnTo>
                    <a:pt x="214" y="439"/>
                  </a:lnTo>
                  <a:lnTo>
                    <a:pt x="212" y="435"/>
                  </a:lnTo>
                  <a:lnTo>
                    <a:pt x="212" y="432"/>
                  </a:lnTo>
                  <a:lnTo>
                    <a:pt x="214" y="432"/>
                  </a:lnTo>
                  <a:lnTo>
                    <a:pt x="214" y="430"/>
                  </a:lnTo>
                  <a:lnTo>
                    <a:pt x="214" y="428"/>
                  </a:lnTo>
                  <a:lnTo>
                    <a:pt x="212" y="428"/>
                  </a:lnTo>
                  <a:lnTo>
                    <a:pt x="214" y="426"/>
                  </a:lnTo>
                  <a:lnTo>
                    <a:pt x="212" y="424"/>
                  </a:lnTo>
                  <a:lnTo>
                    <a:pt x="212" y="420"/>
                  </a:lnTo>
                  <a:lnTo>
                    <a:pt x="212" y="414"/>
                  </a:lnTo>
                  <a:lnTo>
                    <a:pt x="216" y="405"/>
                  </a:lnTo>
                  <a:lnTo>
                    <a:pt x="220" y="401"/>
                  </a:lnTo>
                  <a:lnTo>
                    <a:pt x="225" y="403"/>
                  </a:lnTo>
                  <a:lnTo>
                    <a:pt x="227" y="405"/>
                  </a:lnTo>
                  <a:lnTo>
                    <a:pt x="229" y="405"/>
                  </a:lnTo>
                  <a:lnTo>
                    <a:pt x="229" y="403"/>
                  </a:lnTo>
                  <a:lnTo>
                    <a:pt x="233" y="397"/>
                  </a:lnTo>
                  <a:lnTo>
                    <a:pt x="233" y="393"/>
                  </a:lnTo>
                  <a:lnTo>
                    <a:pt x="237" y="393"/>
                  </a:lnTo>
                  <a:lnTo>
                    <a:pt x="239" y="393"/>
                  </a:lnTo>
                  <a:lnTo>
                    <a:pt x="243" y="393"/>
                  </a:lnTo>
                  <a:lnTo>
                    <a:pt x="245" y="391"/>
                  </a:lnTo>
                  <a:lnTo>
                    <a:pt x="252" y="389"/>
                  </a:lnTo>
                  <a:lnTo>
                    <a:pt x="254" y="387"/>
                  </a:lnTo>
                  <a:lnTo>
                    <a:pt x="254" y="385"/>
                  </a:lnTo>
                  <a:lnTo>
                    <a:pt x="252" y="383"/>
                  </a:lnTo>
                  <a:lnTo>
                    <a:pt x="252" y="381"/>
                  </a:lnTo>
                  <a:lnTo>
                    <a:pt x="258" y="372"/>
                  </a:lnTo>
                  <a:lnTo>
                    <a:pt x="262" y="372"/>
                  </a:lnTo>
                  <a:lnTo>
                    <a:pt x="262" y="370"/>
                  </a:lnTo>
                  <a:lnTo>
                    <a:pt x="268" y="368"/>
                  </a:lnTo>
                  <a:lnTo>
                    <a:pt x="270" y="366"/>
                  </a:lnTo>
                  <a:lnTo>
                    <a:pt x="272" y="364"/>
                  </a:lnTo>
                  <a:lnTo>
                    <a:pt x="275" y="358"/>
                  </a:lnTo>
                  <a:lnTo>
                    <a:pt x="277" y="358"/>
                  </a:lnTo>
                  <a:lnTo>
                    <a:pt x="281" y="356"/>
                  </a:lnTo>
                  <a:lnTo>
                    <a:pt x="283" y="354"/>
                  </a:lnTo>
                  <a:lnTo>
                    <a:pt x="285" y="351"/>
                  </a:lnTo>
                  <a:lnTo>
                    <a:pt x="289" y="347"/>
                  </a:lnTo>
                  <a:lnTo>
                    <a:pt x="289" y="345"/>
                  </a:lnTo>
                  <a:lnTo>
                    <a:pt x="289" y="343"/>
                  </a:lnTo>
                  <a:lnTo>
                    <a:pt x="297" y="337"/>
                  </a:lnTo>
                  <a:lnTo>
                    <a:pt x="299" y="333"/>
                  </a:lnTo>
                  <a:lnTo>
                    <a:pt x="302" y="329"/>
                  </a:lnTo>
                  <a:lnTo>
                    <a:pt x="304" y="326"/>
                  </a:lnTo>
                  <a:lnTo>
                    <a:pt x="306" y="324"/>
                  </a:lnTo>
                  <a:lnTo>
                    <a:pt x="308" y="324"/>
                  </a:lnTo>
                  <a:lnTo>
                    <a:pt x="310" y="326"/>
                  </a:lnTo>
                  <a:lnTo>
                    <a:pt x="316" y="324"/>
                  </a:lnTo>
                  <a:lnTo>
                    <a:pt x="318" y="322"/>
                  </a:lnTo>
                  <a:lnTo>
                    <a:pt x="320" y="322"/>
                  </a:lnTo>
                  <a:lnTo>
                    <a:pt x="329" y="314"/>
                  </a:lnTo>
                  <a:lnTo>
                    <a:pt x="331" y="310"/>
                  </a:lnTo>
                  <a:lnTo>
                    <a:pt x="333" y="308"/>
                  </a:lnTo>
                  <a:lnTo>
                    <a:pt x="331" y="308"/>
                  </a:lnTo>
                  <a:lnTo>
                    <a:pt x="333" y="306"/>
                  </a:lnTo>
                  <a:lnTo>
                    <a:pt x="331" y="304"/>
                  </a:lnTo>
                  <a:lnTo>
                    <a:pt x="329" y="299"/>
                  </a:lnTo>
                  <a:lnTo>
                    <a:pt x="331" y="297"/>
                  </a:lnTo>
                  <a:lnTo>
                    <a:pt x="331" y="295"/>
                  </a:lnTo>
                  <a:lnTo>
                    <a:pt x="333" y="293"/>
                  </a:lnTo>
                  <a:lnTo>
                    <a:pt x="335" y="289"/>
                  </a:lnTo>
                  <a:lnTo>
                    <a:pt x="337" y="289"/>
                  </a:lnTo>
                  <a:lnTo>
                    <a:pt x="345" y="287"/>
                  </a:lnTo>
                  <a:lnTo>
                    <a:pt x="347" y="285"/>
                  </a:lnTo>
                  <a:lnTo>
                    <a:pt x="347" y="283"/>
                  </a:lnTo>
                  <a:lnTo>
                    <a:pt x="351" y="285"/>
                  </a:lnTo>
                  <a:lnTo>
                    <a:pt x="356" y="285"/>
                  </a:lnTo>
                  <a:lnTo>
                    <a:pt x="360" y="287"/>
                  </a:lnTo>
                  <a:lnTo>
                    <a:pt x="364" y="287"/>
                  </a:lnTo>
                  <a:lnTo>
                    <a:pt x="366" y="283"/>
                  </a:lnTo>
                  <a:lnTo>
                    <a:pt x="366" y="281"/>
                  </a:lnTo>
                  <a:lnTo>
                    <a:pt x="366" y="277"/>
                  </a:lnTo>
                  <a:lnTo>
                    <a:pt x="366" y="275"/>
                  </a:lnTo>
                  <a:lnTo>
                    <a:pt x="366" y="272"/>
                  </a:lnTo>
                  <a:lnTo>
                    <a:pt x="362" y="262"/>
                  </a:lnTo>
                  <a:lnTo>
                    <a:pt x="362" y="256"/>
                  </a:lnTo>
                  <a:lnTo>
                    <a:pt x="360" y="252"/>
                  </a:lnTo>
                  <a:lnTo>
                    <a:pt x="358" y="250"/>
                  </a:lnTo>
                  <a:lnTo>
                    <a:pt x="356" y="247"/>
                  </a:lnTo>
                  <a:lnTo>
                    <a:pt x="360" y="243"/>
                  </a:lnTo>
                  <a:lnTo>
                    <a:pt x="360" y="237"/>
                  </a:lnTo>
                  <a:lnTo>
                    <a:pt x="356" y="237"/>
                  </a:lnTo>
                  <a:lnTo>
                    <a:pt x="351" y="237"/>
                  </a:lnTo>
                  <a:lnTo>
                    <a:pt x="347" y="235"/>
                  </a:lnTo>
                  <a:lnTo>
                    <a:pt x="345" y="233"/>
                  </a:lnTo>
                  <a:lnTo>
                    <a:pt x="347" y="229"/>
                  </a:lnTo>
                  <a:lnTo>
                    <a:pt x="349" y="229"/>
                  </a:lnTo>
                  <a:lnTo>
                    <a:pt x="351" y="227"/>
                  </a:lnTo>
                  <a:lnTo>
                    <a:pt x="351" y="225"/>
                  </a:lnTo>
                  <a:lnTo>
                    <a:pt x="351" y="220"/>
                  </a:lnTo>
                  <a:lnTo>
                    <a:pt x="356" y="223"/>
                  </a:lnTo>
                  <a:lnTo>
                    <a:pt x="360" y="220"/>
                  </a:lnTo>
                  <a:lnTo>
                    <a:pt x="362" y="218"/>
                  </a:lnTo>
                  <a:lnTo>
                    <a:pt x="360" y="218"/>
                  </a:lnTo>
                  <a:lnTo>
                    <a:pt x="358" y="216"/>
                  </a:lnTo>
                  <a:lnTo>
                    <a:pt x="356" y="216"/>
                  </a:lnTo>
                  <a:lnTo>
                    <a:pt x="354" y="216"/>
                  </a:lnTo>
                  <a:lnTo>
                    <a:pt x="351" y="216"/>
                  </a:lnTo>
                  <a:lnTo>
                    <a:pt x="351" y="214"/>
                  </a:lnTo>
                  <a:lnTo>
                    <a:pt x="351" y="212"/>
                  </a:lnTo>
                  <a:lnTo>
                    <a:pt x="347" y="210"/>
                  </a:lnTo>
                  <a:lnTo>
                    <a:pt x="345" y="210"/>
                  </a:lnTo>
                  <a:lnTo>
                    <a:pt x="345" y="204"/>
                  </a:lnTo>
                  <a:lnTo>
                    <a:pt x="347" y="202"/>
                  </a:lnTo>
                  <a:lnTo>
                    <a:pt x="347" y="200"/>
                  </a:lnTo>
                  <a:lnTo>
                    <a:pt x="349" y="198"/>
                  </a:lnTo>
                  <a:lnTo>
                    <a:pt x="356" y="200"/>
                  </a:lnTo>
                  <a:lnTo>
                    <a:pt x="358" y="200"/>
                  </a:lnTo>
                  <a:lnTo>
                    <a:pt x="358" y="200"/>
                  </a:lnTo>
                  <a:lnTo>
                    <a:pt x="358" y="198"/>
                  </a:lnTo>
                  <a:lnTo>
                    <a:pt x="360" y="200"/>
                  </a:lnTo>
                  <a:lnTo>
                    <a:pt x="364" y="204"/>
                  </a:lnTo>
                  <a:lnTo>
                    <a:pt x="364" y="204"/>
                  </a:lnTo>
                  <a:lnTo>
                    <a:pt x="368" y="206"/>
                  </a:lnTo>
                  <a:lnTo>
                    <a:pt x="370" y="206"/>
                  </a:lnTo>
                  <a:lnTo>
                    <a:pt x="370" y="204"/>
                  </a:lnTo>
                  <a:lnTo>
                    <a:pt x="372" y="204"/>
                  </a:lnTo>
                  <a:lnTo>
                    <a:pt x="374" y="204"/>
                  </a:lnTo>
                  <a:lnTo>
                    <a:pt x="376" y="206"/>
                  </a:lnTo>
                  <a:lnTo>
                    <a:pt x="376" y="208"/>
                  </a:lnTo>
                  <a:lnTo>
                    <a:pt x="374" y="210"/>
                  </a:lnTo>
                  <a:lnTo>
                    <a:pt x="374" y="212"/>
                  </a:lnTo>
                  <a:lnTo>
                    <a:pt x="376" y="212"/>
                  </a:lnTo>
                  <a:lnTo>
                    <a:pt x="378" y="214"/>
                  </a:lnTo>
                  <a:lnTo>
                    <a:pt x="376" y="214"/>
                  </a:lnTo>
                  <a:lnTo>
                    <a:pt x="376" y="216"/>
                  </a:lnTo>
                  <a:lnTo>
                    <a:pt x="376" y="218"/>
                  </a:lnTo>
                  <a:lnTo>
                    <a:pt x="383" y="220"/>
                  </a:lnTo>
                  <a:lnTo>
                    <a:pt x="385" y="220"/>
                  </a:lnTo>
                  <a:lnTo>
                    <a:pt x="389" y="220"/>
                  </a:lnTo>
                  <a:lnTo>
                    <a:pt x="395" y="218"/>
                  </a:lnTo>
                  <a:lnTo>
                    <a:pt x="399" y="218"/>
                  </a:lnTo>
                  <a:lnTo>
                    <a:pt x="406" y="218"/>
                  </a:lnTo>
                  <a:lnTo>
                    <a:pt x="408" y="216"/>
                  </a:lnTo>
                  <a:lnTo>
                    <a:pt x="414" y="216"/>
                  </a:lnTo>
                  <a:lnTo>
                    <a:pt x="416" y="218"/>
                  </a:lnTo>
                  <a:lnTo>
                    <a:pt x="418" y="218"/>
                  </a:lnTo>
                  <a:lnTo>
                    <a:pt x="422" y="220"/>
                  </a:lnTo>
                  <a:lnTo>
                    <a:pt x="420" y="223"/>
                  </a:lnTo>
                  <a:lnTo>
                    <a:pt x="418" y="223"/>
                  </a:lnTo>
                  <a:lnTo>
                    <a:pt x="418" y="225"/>
                  </a:lnTo>
                  <a:lnTo>
                    <a:pt x="418" y="229"/>
                  </a:lnTo>
                  <a:lnTo>
                    <a:pt x="418" y="231"/>
                  </a:lnTo>
                  <a:lnTo>
                    <a:pt x="416" y="233"/>
                  </a:lnTo>
                  <a:lnTo>
                    <a:pt x="414" y="235"/>
                  </a:lnTo>
                  <a:lnTo>
                    <a:pt x="410" y="237"/>
                  </a:lnTo>
                  <a:lnTo>
                    <a:pt x="410" y="237"/>
                  </a:lnTo>
                  <a:lnTo>
                    <a:pt x="408" y="239"/>
                  </a:lnTo>
                  <a:lnTo>
                    <a:pt x="406" y="239"/>
                  </a:lnTo>
                  <a:lnTo>
                    <a:pt x="401" y="245"/>
                  </a:lnTo>
                  <a:lnTo>
                    <a:pt x="401" y="247"/>
                  </a:lnTo>
                  <a:lnTo>
                    <a:pt x="403" y="247"/>
                  </a:lnTo>
                  <a:lnTo>
                    <a:pt x="410" y="258"/>
                  </a:lnTo>
                  <a:lnTo>
                    <a:pt x="412" y="260"/>
                  </a:lnTo>
                  <a:lnTo>
                    <a:pt x="414" y="258"/>
                  </a:lnTo>
                  <a:lnTo>
                    <a:pt x="414" y="256"/>
                  </a:lnTo>
                  <a:lnTo>
                    <a:pt x="414" y="252"/>
                  </a:lnTo>
                  <a:lnTo>
                    <a:pt x="414" y="250"/>
                  </a:lnTo>
                  <a:lnTo>
                    <a:pt x="416" y="250"/>
                  </a:lnTo>
                  <a:lnTo>
                    <a:pt x="416" y="247"/>
                  </a:lnTo>
                  <a:lnTo>
                    <a:pt x="416" y="247"/>
                  </a:lnTo>
                  <a:lnTo>
                    <a:pt x="418" y="245"/>
                  </a:lnTo>
                  <a:lnTo>
                    <a:pt x="420" y="245"/>
                  </a:lnTo>
                  <a:lnTo>
                    <a:pt x="422" y="250"/>
                  </a:lnTo>
                  <a:lnTo>
                    <a:pt x="422" y="250"/>
                  </a:lnTo>
                  <a:lnTo>
                    <a:pt x="424" y="258"/>
                  </a:lnTo>
                  <a:lnTo>
                    <a:pt x="426" y="262"/>
                  </a:lnTo>
                  <a:lnTo>
                    <a:pt x="428" y="268"/>
                  </a:lnTo>
                  <a:lnTo>
                    <a:pt x="428" y="270"/>
                  </a:lnTo>
                  <a:lnTo>
                    <a:pt x="430" y="275"/>
                  </a:lnTo>
                  <a:lnTo>
                    <a:pt x="433" y="272"/>
                  </a:lnTo>
                  <a:lnTo>
                    <a:pt x="435" y="275"/>
                  </a:lnTo>
                  <a:lnTo>
                    <a:pt x="437" y="277"/>
                  </a:lnTo>
                  <a:lnTo>
                    <a:pt x="437" y="275"/>
                  </a:lnTo>
                  <a:lnTo>
                    <a:pt x="437" y="272"/>
                  </a:lnTo>
                  <a:lnTo>
                    <a:pt x="439" y="270"/>
                  </a:lnTo>
                  <a:lnTo>
                    <a:pt x="441" y="268"/>
                  </a:lnTo>
                  <a:lnTo>
                    <a:pt x="439" y="266"/>
                  </a:lnTo>
                  <a:lnTo>
                    <a:pt x="437" y="264"/>
                  </a:lnTo>
                  <a:lnTo>
                    <a:pt x="437" y="262"/>
                  </a:lnTo>
                  <a:lnTo>
                    <a:pt x="437" y="258"/>
                  </a:lnTo>
                  <a:lnTo>
                    <a:pt x="437" y="254"/>
                  </a:lnTo>
                  <a:lnTo>
                    <a:pt x="441" y="254"/>
                  </a:lnTo>
                  <a:lnTo>
                    <a:pt x="441" y="252"/>
                  </a:lnTo>
                  <a:lnTo>
                    <a:pt x="443" y="247"/>
                  </a:lnTo>
                  <a:lnTo>
                    <a:pt x="441" y="241"/>
                  </a:lnTo>
                  <a:lnTo>
                    <a:pt x="441" y="239"/>
                  </a:lnTo>
                  <a:lnTo>
                    <a:pt x="441" y="237"/>
                  </a:lnTo>
                  <a:lnTo>
                    <a:pt x="451" y="239"/>
                  </a:lnTo>
                  <a:lnTo>
                    <a:pt x="453" y="235"/>
                  </a:lnTo>
                  <a:lnTo>
                    <a:pt x="455" y="233"/>
                  </a:lnTo>
                  <a:lnTo>
                    <a:pt x="453" y="231"/>
                  </a:lnTo>
                  <a:lnTo>
                    <a:pt x="458" y="225"/>
                  </a:lnTo>
                  <a:lnTo>
                    <a:pt x="458" y="223"/>
                  </a:lnTo>
                  <a:lnTo>
                    <a:pt x="458" y="220"/>
                  </a:lnTo>
                  <a:lnTo>
                    <a:pt x="460" y="218"/>
                  </a:lnTo>
                  <a:lnTo>
                    <a:pt x="460" y="216"/>
                  </a:lnTo>
                  <a:lnTo>
                    <a:pt x="460" y="214"/>
                  </a:lnTo>
                  <a:lnTo>
                    <a:pt x="458" y="212"/>
                  </a:lnTo>
                  <a:lnTo>
                    <a:pt x="458" y="208"/>
                  </a:lnTo>
                  <a:lnTo>
                    <a:pt x="460" y="208"/>
                  </a:lnTo>
                  <a:lnTo>
                    <a:pt x="464" y="206"/>
                  </a:lnTo>
                  <a:lnTo>
                    <a:pt x="464" y="198"/>
                  </a:lnTo>
                  <a:lnTo>
                    <a:pt x="464" y="193"/>
                  </a:lnTo>
                  <a:lnTo>
                    <a:pt x="462" y="187"/>
                  </a:lnTo>
                  <a:lnTo>
                    <a:pt x="464" y="187"/>
                  </a:lnTo>
                  <a:lnTo>
                    <a:pt x="464" y="183"/>
                  </a:lnTo>
                  <a:lnTo>
                    <a:pt x="468" y="183"/>
                  </a:lnTo>
                  <a:lnTo>
                    <a:pt x="470" y="179"/>
                  </a:lnTo>
                  <a:lnTo>
                    <a:pt x="472" y="179"/>
                  </a:lnTo>
                  <a:lnTo>
                    <a:pt x="476" y="175"/>
                  </a:lnTo>
                  <a:lnTo>
                    <a:pt x="476" y="173"/>
                  </a:lnTo>
                  <a:lnTo>
                    <a:pt x="480" y="171"/>
                  </a:lnTo>
                  <a:lnTo>
                    <a:pt x="482" y="168"/>
                  </a:lnTo>
                  <a:lnTo>
                    <a:pt x="485" y="168"/>
                  </a:lnTo>
                  <a:lnTo>
                    <a:pt x="489" y="168"/>
                  </a:lnTo>
                  <a:lnTo>
                    <a:pt x="493" y="171"/>
                  </a:lnTo>
                  <a:lnTo>
                    <a:pt x="495" y="171"/>
                  </a:lnTo>
                  <a:lnTo>
                    <a:pt x="495" y="168"/>
                  </a:lnTo>
                  <a:lnTo>
                    <a:pt x="491" y="166"/>
                  </a:lnTo>
                  <a:lnTo>
                    <a:pt x="491" y="164"/>
                  </a:lnTo>
                  <a:lnTo>
                    <a:pt x="491" y="160"/>
                  </a:lnTo>
                  <a:lnTo>
                    <a:pt x="497" y="156"/>
                  </a:lnTo>
                  <a:lnTo>
                    <a:pt x="497" y="150"/>
                  </a:lnTo>
                  <a:lnTo>
                    <a:pt x="491" y="148"/>
                  </a:lnTo>
                  <a:lnTo>
                    <a:pt x="487" y="148"/>
                  </a:lnTo>
                  <a:lnTo>
                    <a:pt x="485" y="146"/>
                  </a:lnTo>
                  <a:lnTo>
                    <a:pt x="480" y="150"/>
                  </a:lnTo>
                  <a:lnTo>
                    <a:pt x="478" y="150"/>
                  </a:lnTo>
                  <a:lnTo>
                    <a:pt x="478" y="148"/>
                  </a:lnTo>
                  <a:lnTo>
                    <a:pt x="478" y="144"/>
                  </a:lnTo>
                  <a:lnTo>
                    <a:pt x="482" y="144"/>
                  </a:lnTo>
                  <a:lnTo>
                    <a:pt x="482" y="139"/>
                  </a:lnTo>
                  <a:lnTo>
                    <a:pt x="480" y="135"/>
                  </a:lnTo>
                  <a:lnTo>
                    <a:pt x="474" y="135"/>
                  </a:lnTo>
                  <a:lnTo>
                    <a:pt x="476" y="133"/>
                  </a:lnTo>
                  <a:lnTo>
                    <a:pt x="476" y="131"/>
                  </a:lnTo>
                  <a:lnTo>
                    <a:pt x="476" y="131"/>
                  </a:lnTo>
                  <a:close/>
                </a:path>
              </a:pathLst>
            </a:custGeom>
            <a:grpFill/>
            <a:ln w="9525" cap="flat" cmpd="sng">
              <a:solidFill>
                <a:srgbClr val="FFFFFF"/>
              </a:solidFill>
              <a:prstDash val="solid"/>
              <a:miter lim="800000"/>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grpSp>
      <p:graphicFrame>
        <p:nvGraphicFramePr>
          <p:cNvPr id="32" name="Object 31"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019" name="think-cell Slide" r:id="rId408" imgW="216" imgH="216" progId="TCLayout.ActiveDocument.1">
                  <p:embed/>
                </p:oleObj>
              </mc:Choice>
              <mc:Fallback>
                <p:oleObj name="think-cell Slide" r:id="rId408" imgW="216" imgH="216" progId="TCLayout.ActiveDocument.1">
                  <p:embed/>
                  <p:pic>
                    <p:nvPicPr>
                      <p:cNvPr id="0" name=""/>
                      <p:cNvPicPr/>
                      <p:nvPr/>
                    </p:nvPicPr>
                    <p:blipFill>
                      <a:blip r:embed="rId40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vert="horz" lIns="0" tIns="0" rIns="0" bIns="0" rtlCol="0" anchor="t" anchorCtr="0">
            <a:noAutofit/>
          </a:bodyPr>
          <a:lstStyle/>
          <a:p>
            <a:r>
              <a:rPr lang="en-US" dirty="0"/>
              <a:t>Sovereigns: In total, have 10 topics been discussed</a:t>
            </a:r>
            <a:endParaRPr lang="en-GB" dirty="0"/>
          </a:p>
        </p:txBody>
      </p:sp>
      <p:sp>
        <p:nvSpPr>
          <p:cNvPr id="552" name="TextBox 551"/>
          <p:cNvSpPr txBox="1"/>
          <p:nvPr/>
        </p:nvSpPr>
        <p:spPr>
          <a:xfrm>
            <a:off x="803603" y="3427584"/>
            <a:ext cx="2276274" cy="369332"/>
          </a:xfrm>
          <a:prstGeom prst="rect">
            <a:avLst/>
          </a:prstGeom>
          <a:noFill/>
        </p:spPr>
        <p:txBody>
          <a:bodyPr wrap="square" lIns="0" tIns="0" rIns="0" bIns="0" rtlCol="0">
            <a:spAutoFit/>
          </a:bodyPr>
          <a:lstStyle/>
          <a:p>
            <a:pPr algn="ctr"/>
            <a:r>
              <a:rPr lang="en-US" sz="1200" b="1" dirty="0" smtClean="0">
                <a:solidFill>
                  <a:srgbClr val="003755"/>
                </a:solidFill>
              </a:rPr>
              <a:t>Green </a:t>
            </a:r>
            <a:endParaRPr lang="en-US" sz="1200" b="1" dirty="0">
              <a:solidFill>
                <a:srgbClr val="003755"/>
              </a:solidFill>
            </a:endParaRPr>
          </a:p>
          <a:p>
            <a:pPr algn="ctr"/>
            <a:r>
              <a:rPr lang="en-US" sz="1200" b="1" dirty="0" smtClean="0">
                <a:solidFill>
                  <a:srgbClr val="003755"/>
                </a:solidFill>
              </a:rPr>
              <a:t>Financing</a:t>
            </a:r>
            <a:endParaRPr lang="en-GB" sz="1200" b="1" dirty="0" smtClean="0">
              <a:solidFill>
                <a:srgbClr val="003755"/>
              </a:solidFill>
            </a:endParaRPr>
          </a:p>
        </p:txBody>
      </p:sp>
      <p:sp>
        <p:nvSpPr>
          <p:cNvPr id="555" name="TextBox 554"/>
          <p:cNvSpPr txBox="1"/>
          <p:nvPr/>
        </p:nvSpPr>
        <p:spPr>
          <a:xfrm>
            <a:off x="1289754" y="4486046"/>
            <a:ext cx="2662740" cy="184666"/>
          </a:xfrm>
          <a:prstGeom prst="rect">
            <a:avLst/>
          </a:prstGeom>
          <a:noFill/>
        </p:spPr>
        <p:txBody>
          <a:bodyPr wrap="square" lIns="0" tIns="0" rIns="0" bIns="0" rtlCol="0">
            <a:spAutoFit/>
          </a:bodyPr>
          <a:lstStyle/>
          <a:p>
            <a:pPr algn="ctr"/>
            <a:r>
              <a:rPr lang="en-US" sz="1200" b="1" dirty="0" smtClean="0">
                <a:solidFill>
                  <a:srgbClr val="003755"/>
                </a:solidFill>
              </a:rPr>
              <a:t>Indigenous Rights</a:t>
            </a:r>
            <a:endParaRPr lang="en-GB" sz="1200" b="1" dirty="0" smtClean="0">
              <a:solidFill>
                <a:srgbClr val="003755"/>
              </a:solidFill>
            </a:endParaRPr>
          </a:p>
        </p:txBody>
      </p:sp>
      <p:sp>
        <p:nvSpPr>
          <p:cNvPr id="556" name="TextBox 555"/>
          <p:cNvSpPr txBox="1"/>
          <p:nvPr/>
        </p:nvSpPr>
        <p:spPr>
          <a:xfrm>
            <a:off x="1487929" y="4028869"/>
            <a:ext cx="2154314" cy="184666"/>
          </a:xfrm>
          <a:prstGeom prst="rect">
            <a:avLst/>
          </a:prstGeom>
          <a:noFill/>
        </p:spPr>
        <p:txBody>
          <a:bodyPr wrap="square" lIns="0" tIns="0" rIns="0" bIns="0" rtlCol="0">
            <a:spAutoFit/>
          </a:bodyPr>
          <a:lstStyle/>
          <a:p>
            <a:pPr algn="ctr"/>
            <a:r>
              <a:rPr lang="en-US" sz="1200" b="1" dirty="0">
                <a:solidFill>
                  <a:srgbClr val="003755"/>
                </a:solidFill>
              </a:rPr>
              <a:t>Fiscal issues</a:t>
            </a:r>
            <a:endParaRPr lang="en-GB" sz="1200" b="1" dirty="0" smtClean="0">
              <a:solidFill>
                <a:srgbClr val="003755"/>
              </a:solidFill>
            </a:endParaRPr>
          </a:p>
        </p:txBody>
      </p:sp>
      <p:sp>
        <p:nvSpPr>
          <p:cNvPr id="558" name="TextBox 557"/>
          <p:cNvSpPr txBox="1"/>
          <p:nvPr/>
        </p:nvSpPr>
        <p:spPr>
          <a:xfrm>
            <a:off x="5734367" y="2806147"/>
            <a:ext cx="2154314" cy="184666"/>
          </a:xfrm>
          <a:prstGeom prst="rect">
            <a:avLst/>
          </a:prstGeom>
          <a:noFill/>
        </p:spPr>
        <p:txBody>
          <a:bodyPr wrap="square" lIns="0" tIns="0" rIns="0" bIns="0" rtlCol="0">
            <a:spAutoFit/>
          </a:bodyPr>
          <a:lstStyle/>
          <a:p>
            <a:pPr algn="ctr"/>
            <a:r>
              <a:rPr lang="en-US" sz="1200" b="1" dirty="0" smtClean="0">
                <a:solidFill>
                  <a:srgbClr val="003755"/>
                </a:solidFill>
              </a:rPr>
              <a:t>Monetary policies</a:t>
            </a:r>
            <a:endParaRPr lang="en-GB" sz="1200" b="1" dirty="0" smtClean="0">
              <a:solidFill>
                <a:srgbClr val="003755"/>
              </a:solidFill>
            </a:endParaRPr>
          </a:p>
        </p:txBody>
      </p:sp>
    </p:spTree>
    <p:extLst>
      <p:ext uri="{BB962C8B-B14F-4D97-AF65-F5344CB8AC3E}">
        <p14:creationId xmlns:p14="http://schemas.microsoft.com/office/powerpoint/2010/main" val="410426894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0966" y="0"/>
            <a:ext cx="12254144" cy="6885121"/>
          </a:xfrm>
          <a:prstGeom prst="rect">
            <a:avLst/>
          </a:prstGeom>
          <a:solidFill>
            <a:srgbClr val="F0F7FA">
              <a:alpha val="66000"/>
            </a:srgbClr>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smtClean="0">
              <a:solidFill>
                <a:schemeClr val="tx1"/>
              </a:solidFill>
            </a:endParaRPr>
          </a:p>
        </p:txBody>
      </p:sp>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728"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431801" y="4074530"/>
            <a:ext cx="7366000" cy="997196"/>
          </a:xfrm>
        </p:spPr>
        <p:txBody>
          <a:bodyPr/>
          <a:lstStyle/>
          <a:p>
            <a:r>
              <a:rPr lang="en-US" sz="3600" dirty="0" smtClean="0">
                <a:solidFill>
                  <a:srgbClr val="003755"/>
                </a:solidFill>
              </a:rPr>
              <a:t>Active Ownership Report: H1 2020</a:t>
            </a:r>
            <a:br>
              <a:rPr lang="en-US" sz="3600" dirty="0" smtClean="0">
                <a:solidFill>
                  <a:srgbClr val="003755"/>
                </a:solidFill>
              </a:rPr>
            </a:br>
            <a:r>
              <a:rPr lang="en-US" sz="3600" dirty="0" smtClean="0">
                <a:solidFill>
                  <a:srgbClr val="003755"/>
                </a:solidFill>
              </a:rPr>
              <a:t>Part 2: Voting Report</a:t>
            </a:r>
            <a:endParaRPr lang="en-US" sz="3600" dirty="0">
              <a:solidFill>
                <a:srgbClr val="003755"/>
              </a:solidFill>
            </a:endParaRPr>
          </a:p>
        </p:txBody>
      </p:sp>
      <p:sp>
        <p:nvSpPr>
          <p:cNvPr id="8" name="Done"/>
          <p:cNvSpPr>
            <a:spLocks noChangeAspect="1"/>
          </p:cNvSpPr>
          <p:nvPr>
            <p:custDataLst>
              <p:tags r:id="rId3"/>
            </p:custDataLst>
          </p:nvPr>
        </p:nvSpPr>
        <p:spPr bwMode="auto">
          <a:xfrm>
            <a:off x="9288000" y="3088800"/>
            <a:ext cx="2329022" cy="2242800"/>
          </a:xfrm>
          <a:custGeom>
            <a:avLst/>
            <a:gdLst>
              <a:gd name="connsiteX0" fmla="*/ 1935995 w 7118350"/>
              <a:gd name="connsiteY0" fmla="*/ 4787899 h 6854824"/>
              <a:gd name="connsiteX1" fmla="*/ 3294064 w 7118350"/>
              <a:gd name="connsiteY1" fmla="*/ 4787899 h 6854824"/>
              <a:gd name="connsiteX2" fmla="*/ 3294064 w 7118350"/>
              <a:gd name="connsiteY2" fmla="*/ 4960937 h 6854824"/>
              <a:gd name="connsiteX3" fmla="*/ 1935995 w 7118350"/>
              <a:gd name="connsiteY3" fmla="*/ 4960937 h 6854824"/>
              <a:gd name="connsiteX4" fmla="*/ 1847851 w 7118350"/>
              <a:gd name="connsiteY4" fmla="*/ 4876051 h 6854824"/>
              <a:gd name="connsiteX5" fmla="*/ 1935995 w 7118350"/>
              <a:gd name="connsiteY5" fmla="*/ 4787899 h 6854824"/>
              <a:gd name="connsiteX6" fmla="*/ 751668 w 7118350"/>
              <a:gd name="connsiteY6" fmla="*/ 4418012 h 6854824"/>
              <a:gd name="connsiteX7" fmla="*/ 1493059 w 7118350"/>
              <a:gd name="connsiteY7" fmla="*/ 4418012 h 6854824"/>
              <a:gd name="connsiteX8" fmla="*/ 1577976 w 7118350"/>
              <a:gd name="connsiteY8" fmla="*/ 4502929 h 6854824"/>
              <a:gd name="connsiteX9" fmla="*/ 1577976 w 7118350"/>
              <a:gd name="connsiteY9" fmla="*/ 4515993 h 6854824"/>
              <a:gd name="connsiteX10" fmla="*/ 1088070 w 7118350"/>
              <a:gd name="connsiteY10" fmla="*/ 5009165 h 6854824"/>
              <a:gd name="connsiteX11" fmla="*/ 901906 w 7118350"/>
              <a:gd name="connsiteY11" fmla="*/ 4813203 h 6854824"/>
              <a:gd name="connsiteX12" fmla="*/ 777796 w 7118350"/>
              <a:gd name="connsiteY12" fmla="*/ 4809937 h 6854824"/>
              <a:gd name="connsiteX13" fmla="*/ 774530 w 7118350"/>
              <a:gd name="connsiteY13" fmla="*/ 4934046 h 6854824"/>
              <a:gd name="connsiteX14" fmla="*/ 1022749 w 7118350"/>
              <a:gd name="connsiteY14" fmla="*/ 5192064 h 6854824"/>
              <a:gd name="connsiteX15" fmla="*/ 1084804 w 7118350"/>
              <a:gd name="connsiteY15" fmla="*/ 5218192 h 6854824"/>
              <a:gd name="connsiteX16" fmla="*/ 1146859 w 7118350"/>
              <a:gd name="connsiteY16" fmla="*/ 5192064 h 6854824"/>
              <a:gd name="connsiteX17" fmla="*/ 1577976 w 7118350"/>
              <a:gd name="connsiteY17" fmla="*/ 4760946 h 6854824"/>
              <a:gd name="connsiteX18" fmla="*/ 1577976 w 7118350"/>
              <a:gd name="connsiteY18" fmla="*/ 5244320 h 6854824"/>
              <a:gd name="connsiteX19" fmla="*/ 1493059 w 7118350"/>
              <a:gd name="connsiteY19" fmla="*/ 5329237 h 6854824"/>
              <a:gd name="connsiteX20" fmla="*/ 751668 w 7118350"/>
              <a:gd name="connsiteY20" fmla="*/ 5329237 h 6854824"/>
              <a:gd name="connsiteX21" fmla="*/ 689613 w 7118350"/>
              <a:gd name="connsiteY21" fmla="*/ 5303109 h 6854824"/>
              <a:gd name="connsiteX22" fmla="*/ 666751 w 7118350"/>
              <a:gd name="connsiteY22" fmla="*/ 5244320 h 6854824"/>
              <a:gd name="connsiteX23" fmla="*/ 666751 w 7118350"/>
              <a:gd name="connsiteY23" fmla="*/ 4502929 h 6854824"/>
              <a:gd name="connsiteX24" fmla="*/ 751668 w 7118350"/>
              <a:gd name="connsiteY24" fmla="*/ 4418012 h 6854824"/>
              <a:gd name="connsiteX25" fmla="*/ 6206113 w 7118350"/>
              <a:gd name="connsiteY25" fmla="*/ 4338862 h 6854824"/>
              <a:gd name="connsiteX26" fmla="*/ 6145688 w 7118350"/>
              <a:gd name="connsiteY26" fmla="*/ 4363356 h 6854824"/>
              <a:gd name="connsiteX27" fmla="*/ 4960044 w 7118350"/>
              <a:gd name="connsiteY27" fmla="*/ 5548849 h 6854824"/>
              <a:gd name="connsiteX28" fmla="*/ 4466843 w 7118350"/>
              <a:gd name="connsiteY28" fmla="*/ 5055710 h 6854824"/>
              <a:gd name="connsiteX29" fmla="*/ 4342726 w 7118350"/>
              <a:gd name="connsiteY29" fmla="*/ 5055710 h 6854824"/>
              <a:gd name="connsiteX30" fmla="*/ 4342726 w 7118350"/>
              <a:gd name="connsiteY30" fmla="*/ 5176545 h 6854824"/>
              <a:gd name="connsiteX31" fmla="*/ 4897986 w 7118350"/>
              <a:gd name="connsiteY31" fmla="*/ 5731735 h 6854824"/>
              <a:gd name="connsiteX32" fmla="*/ 4960044 w 7118350"/>
              <a:gd name="connsiteY32" fmla="*/ 5757861 h 6854824"/>
              <a:gd name="connsiteX33" fmla="*/ 5022103 w 7118350"/>
              <a:gd name="connsiteY33" fmla="*/ 5731735 h 6854824"/>
              <a:gd name="connsiteX34" fmla="*/ 6266539 w 7118350"/>
              <a:gd name="connsiteY34" fmla="*/ 4487458 h 6854824"/>
              <a:gd name="connsiteX35" fmla="*/ 6266539 w 7118350"/>
              <a:gd name="connsiteY35" fmla="*/ 4363356 h 6854824"/>
              <a:gd name="connsiteX36" fmla="*/ 6206113 w 7118350"/>
              <a:gd name="connsiteY36" fmla="*/ 4338862 h 6854824"/>
              <a:gd name="connsiteX37" fmla="*/ 4098204 w 7118350"/>
              <a:gd name="connsiteY37" fmla="*/ 3744911 h 6854824"/>
              <a:gd name="connsiteX38" fmla="*/ 4192915 w 7118350"/>
              <a:gd name="connsiteY38" fmla="*/ 3744911 h 6854824"/>
              <a:gd name="connsiteX39" fmla="*/ 6488834 w 7118350"/>
              <a:gd name="connsiteY39" fmla="*/ 3744911 h 6854824"/>
              <a:gd name="connsiteX40" fmla="*/ 6577013 w 7118350"/>
              <a:gd name="connsiteY40" fmla="*/ 3833090 h 6854824"/>
              <a:gd name="connsiteX41" fmla="*/ 6577013 w 7118350"/>
              <a:gd name="connsiteY41" fmla="*/ 6223720 h 6854824"/>
              <a:gd name="connsiteX42" fmla="*/ 6488834 w 7118350"/>
              <a:gd name="connsiteY42" fmla="*/ 6311899 h 6854824"/>
              <a:gd name="connsiteX43" fmla="*/ 4130863 w 7118350"/>
              <a:gd name="connsiteY43" fmla="*/ 6311899 h 6854824"/>
              <a:gd name="connsiteX44" fmla="*/ 4098204 w 7118350"/>
              <a:gd name="connsiteY44" fmla="*/ 6311899 h 6854824"/>
              <a:gd name="connsiteX45" fmla="*/ 4010025 w 7118350"/>
              <a:gd name="connsiteY45" fmla="*/ 6223720 h 6854824"/>
              <a:gd name="connsiteX46" fmla="*/ 4010025 w 7118350"/>
              <a:gd name="connsiteY46" fmla="*/ 3833090 h 6854824"/>
              <a:gd name="connsiteX47" fmla="*/ 4098204 w 7118350"/>
              <a:gd name="connsiteY47" fmla="*/ 3744911 h 6854824"/>
              <a:gd name="connsiteX48" fmla="*/ 1935995 w 7118350"/>
              <a:gd name="connsiteY48" fmla="*/ 3555999 h 6854824"/>
              <a:gd name="connsiteX49" fmla="*/ 3294064 w 7118350"/>
              <a:gd name="connsiteY49" fmla="*/ 3555999 h 6854824"/>
              <a:gd name="connsiteX50" fmla="*/ 3294064 w 7118350"/>
              <a:gd name="connsiteY50" fmla="*/ 3725862 h 6854824"/>
              <a:gd name="connsiteX51" fmla="*/ 1935995 w 7118350"/>
              <a:gd name="connsiteY51" fmla="*/ 3725862 h 6854824"/>
              <a:gd name="connsiteX52" fmla="*/ 1847851 w 7118350"/>
              <a:gd name="connsiteY52" fmla="*/ 3640931 h 6854824"/>
              <a:gd name="connsiteX53" fmla="*/ 1935995 w 7118350"/>
              <a:gd name="connsiteY53" fmla="*/ 3555999 h 6854824"/>
              <a:gd name="connsiteX54" fmla="*/ 3640138 w 7118350"/>
              <a:gd name="connsiteY54" fmla="*/ 3376612 h 6854824"/>
              <a:gd name="connsiteX55" fmla="*/ 3640138 w 7118350"/>
              <a:gd name="connsiteY55" fmla="*/ 6094412 h 6854824"/>
              <a:gd name="connsiteX56" fmla="*/ 3640138 w 7118350"/>
              <a:gd name="connsiteY56" fmla="*/ 6315075 h 6854824"/>
              <a:gd name="connsiteX57" fmla="*/ 3640138 w 7118350"/>
              <a:gd name="connsiteY57" fmla="*/ 6681787 h 6854824"/>
              <a:gd name="connsiteX58" fmla="*/ 6945313 w 7118350"/>
              <a:gd name="connsiteY58" fmla="*/ 6681787 h 6854824"/>
              <a:gd name="connsiteX59" fmla="*/ 6945313 w 7118350"/>
              <a:gd name="connsiteY59" fmla="*/ 3376612 h 6854824"/>
              <a:gd name="connsiteX60" fmla="*/ 4192588 w 7118350"/>
              <a:gd name="connsiteY60" fmla="*/ 3376612 h 6854824"/>
              <a:gd name="connsiteX61" fmla="*/ 4006851 w 7118350"/>
              <a:gd name="connsiteY61" fmla="*/ 3376612 h 6854824"/>
              <a:gd name="connsiteX62" fmla="*/ 751668 w 7118350"/>
              <a:gd name="connsiteY62" fmla="*/ 3184523 h 6854824"/>
              <a:gd name="connsiteX63" fmla="*/ 1493059 w 7118350"/>
              <a:gd name="connsiteY63" fmla="*/ 3184523 h 6854824"/>
              <a:gd name="connsiteX64" fmla="*/ 1577976 w 7118350"/>
              <a:gd name="connsiteY64" fmla="*/ 3269433 h 6854824"/>
              <a:gd name="connsiteX65" fmla="*/ 1577976 w 7118350"/>
              <a:gd name="connsiteY65" fmla="*/ 3285761 h 6854824"/>
              <a:gd name="connsiteX66" fmla="*/ 1088070 w 7118350"/>
              <a:gd name="connsiteY66" fmla="*/ 3775617 h 6854824"/>
              <a:gd name="connsiteX67" fmla="*/ 901906 w 7118350"/>
              <a:gd name="connsiteY67" fmla="*/ 3582940 h 6854824"/>
              <a:gd name="connsiteX68" fmla="*/ 777796 w 7118350"/>
              <a:gd name="connsiteY68" fmla="*/ 3579675 h 6854824"/>
              <a:gd name="connsiteX69" fmla="*/ 774530 w 7118350"/>
              <a:gd name="connsiteY69" fmla="*/ 3700506 h 6854824"/>
              <a:gd name="connsiteX70" fmla="*/ 1022749 w 7118350"/>
              <a:gd name="connsiteY70" fmla="*/ 3958497 h 6854824"/>
              <a:gd name="connsiteX71" fmla="*/ 1084804 w 7118350"/>
              <a:gd name="connsiteY71" fmla="*/ 3987889 h 6854824"/>
              <a:gd name="connsiteX72" fmla="*/ 1146859 w 7118350"/>
              <a:gd name="connsiteY72" fmla="*/ 3961763 h 6854824"/>
              <a:gd name="connsiteX73" fmla="*/ 1577976 w 7118350"/>
              <a:gd name="connsiteY73" fmla="*/ 3527423 h 6854824"/>
              <a:gd name="connsiteX74" fmla="*/ 1577976 w 7118350"/>
              <a:gd name="connsiteY74" fmla="*/ 4010749 h 6854824"/>
              <a:gd name="connsiteX75" fmla="*/ 1493059 w 7118350"/>
              <a:gd name="connsiteY75" fmla="*/ 4098923 h 6854824"/>
              <a:gd name="connsiteX76" fmla="*/ 751668 w 7118350"/>
              <a:gd name="connsiteY76" fmla="*/ 4098923 h 6854824"/>
              <a:gd name="connsiteX77" fmla="*/ 689613 w 7118350"/>
              <a:gd name="connsiteY77" fmla="*/ 4072797 h 6854824"/>
              <a:gd name="connsiteX78" fmla="*/ 666751 w 7118350"/>
              <a:gd name="connsiteY78" fmla="*/ 4010749 h 6854824"/>
              <a:gd name="connsiteX79" fmla="*/ 666751 w 7118350"/>
              <a:gd name="connsiteY79" fmla="*/ 3269433 h 6854824"/>
              <a:gd name="connsiteX80" fmla="*/ 751668 w 7118350"/>
              <a:gd name="connsiteY80" fmla="*/ 3184523 h 6854824"/>
              <a:gd name="connsiteX81" fmla="*/ 1936078 w 7118350"/>
              <a:gd name="connsiteY81" fmla="*/ 2295524 h 6854824"/>
              <a:gd name="connsiteX82" fmla="*/ 3442467 w 7118350"/>
              <a:gd name="connsiteY82" fmla="*/ 2295524 h 6854824"/>
              <a:gd name="connsiteX83" fmla="*/ 3527426 w 7118350"/>
              <a:gd name="connsiteY83" fmla="*/ 2380412 h 6854824"/>
              <a:gd name="connsiteX84" fmla="*/ 3442467 w 7118350"/>
              <a:gd name="connsiteY84" fmla="*/ 2468562 h 6854824"/>
              <a:gd name="connsiteX85" fmla="*/ 1936078 w 7118350"/>
              <a:gd name="connsiteY85" fmla="*/ 2468562 h 6854824"/>
              <a:gd name="connsiteX86" fmla="*/ 1847851 w 7118350"/>
              <a:gd name="connsiteY86" fmla="*/ 2380412 h 6854824"/>
              <a:gd name="connsiteX87" fmla="*/ 1936078 w 7118350"/>
              <a:gd name="connsiteY87" fmla="*/ 2295524 h 6854824"/>
              <a:gd name="connsiteX88" fmla="*/ 751668 w 7118350"/>
              <a:gd name="connsiteY88" fmla="*/ 1927225 h 6854824"/>
              <a:gd name="connsiteX89" fmla="*/ 1493059 w 7118350"/>
              <a:gd name="connsiteY89" fmla="*/ 1927225 h 6854824"/>
              <a:gd name="connsiteX90" fmla="*/ 1577976 w 7118350"/>
              <a:gd name="connsiteY90" fmla="*/ 2012142 h 6854824"/>
              <a:gd name="connsiteX91" fmla="*/ 1577976 w 7118350"/>
              <a:gd name="connsiteY91" fmla="*/ 2025206 h 6854824"/>
              <a:gd name="connsiteX92" fmla="*/ 1088070 w 7118350"/>
              <a:gd name="connsiteY92" fmla="*/ 2518378 h 6854824"/>
              <a:gd name="connsiteX93" fmla="*/ 901906 w 7118350"/>
              <a:gd name="connsiteY93" fmla="*/ 2322416 h 6854824"/>
              <a:gd name="connsiteX94" fmla="*/ 777796 w 7118350"/>
              <a:gd name="connsiteY94" fmla="*/ 2322416 h 6854824"/>
              <a:gd name="connsiteX95" fmla="*/ 774530 w 7118350"/>
              <a:gd name="connsiteY95" fmla="*/ 2443259 h 6854824"/>
              <a:gd name="connsiteX96" fmla="*/ 1022749 w 7118350"/>
              <a:gd name="connsiteY96" fmla="*/ 2701277 h 6854824"/>
              <a:gd name="connsiteX97" fmla="*/ 1084804 w 7118350"/>
              <a:gd name="connsiteY97" fmla="*/ 2727405 h 6854824"/>
              <a:gd name="connsiteX98" fmla="*/ 1146859 w 7118350"/>
              <a:gd name="connsiteY98" fmla="*/ 2704543 h 6854824"/>
              <a:gd name="connsiteX99" fmla="*/ 1577976 w 7118350"/>
              <a:gd name="connsiteY99" fmla="*/ 2270159 h 6854824"/>
              <a:gd name="connsiteX100" fmla="*/ 1577976 w 7118350"/>
              <a:gd name="connsiteY100" fmla="*/ 2753533 h 6854824"/>
              <a:gd name="connsiteX101" fmla="*/ 1493059 w 7118350"/>
              <a:gd name="connsiteY101" fmla="*/ 2838450 h 6854824"/>
              <a:gd name="connsiteX102" fmla="*/ 751668 w 7118350"/>
              <a:gd name="connsiteY102" fmla="*/ 2838450 h 6854824"/>
              <a:gd name="connsiteX103" fmla="*/ 666751 w 7118350"/>
              <a:gd name="connsiteY103" fmla="*/ 2753533 h 6854824"/>
              <a:gd name="connsiteX104" fmla="*/ 666751 w 7118350"/>
              <a:gd name="connsiteY104" fmla="*/ 2012142 h 6854824"/>
              <a:gd name="connsiteX105" fmla="*/ 751668 w 7118350"/>
              <a:gd name="connsiteY105" fmla="*/ 1927225 h 6854824"/>
              <a:gd name="connsiteX106" fmla="*/ 1220788 w 7118350"/>
              <a:gd name="connsiteY106" fmla="*/ 568325 h 6854824"/>
              <a:gd name="connsiteX107" fmla="*/ 1220788 w 7118350"/>
              <a:gd name="connsiteY107" fmla="*/ 766763 h 6854824"/>
              <a:gd name="connsiteX108" fmla="*/ 1220788 w 7118350"/>
              <a:gd name="connsiteY108" fmla="*/ 1087438 h 6854824"/>
              <a:gd name="connsiteX109" fmla="*/ 2971801 w 7118350"/>
              <a:gd name="connsiteY109" fmla="*/ 1087438 h 6854824"/>
              <a:gd name="connsiteX110" fmla="*/ 2971801 w 7118350"/>
              <a:gd name="connsiteY110" fmla="*/ 766763 h 6854824"/>
              <a:gd name="connsiteX111" fmla="*/ 2971801 w 7118350"/>
              <a:gd name="connsiteY111" fmla="*/ 568325 h 6854824"/>
              <a:gd name="connsiteX112" fmla="*/ 2096295 w 7118350"/>
              <a:gd name="connsiteY112" fmla="*/ 173038 h 6854824"/>
              <a:gd name="connsiteX113" fmla="*/ 1789113 w 7118350"/>
              <a:gd name="connsiteY113" fmla="*/ 395288 h 6854824"/>
              <a:gd name="connsiteX114" fmla="*/ 2403476 w 7118350"/>
              <a:gd name="connsiteY114" fmla="*/ 395288 h 6854824"/>
              <a:gd name="connsiteX115" fmla="*/ 2096295 w 7118350"/>
              <a:gd name="connsiteY115" fmla="*/ 173038 h 6854824"/>
              <a:gd name="connsiteX116" fmla="*/ 2096322 w 7118350"/>
              <a:gd name="connsiteY116" fmla="*/ 0 h 6854824"/>
              <a:gd name="connsiteX117" fmla="*/ 2579586 w 7118350"/>
              <a:gd name="connsiteY117" fmla="*/ 395157 h 6854824"/>
              <a:gd name="connsiteX118" fmla="*/ 3056319 w 7118350"/>
              <a:gd name="connsiteY118" fmla="*/ 395157 h 6854824"/>
              <a:gd name="connsiteX119" fmla="*/ 3144482 w 7118350"/>
              <a:gd name="connsiteY119" fmla="*/ 483332 h 6854824"/>
              <a:gd name="connsiteX120" fmla="*/ 3144482 w 7118350"/>
              <a:gd name="connsiteY120" fmla="*/ 545382 h 6854824"/>
              <a:gd name="connsiteX121" fmla="*/ 4107745 w 7118350"/>
              <a:gd name="connsiteY121" fmla="*/ 545382 h 6854824"/>
              <a:gd name="connsiteX122" fmla="*/ 4192643 w 7118350"/>
              <a:gd name="connsiteY122" fmla="*/ 630291 h 6854824"/>
              <a:gd name="connsiteX123" fmla="*/ 4192643 w 7118350"/>
              <a:gd name="connsiteY123" fmla="*/ 3030623 h 6854824"/>
              <a:gd name="connsiteX124" fmla="*/ 4006521 w 7118350"/>
              <a:gd name="connsiteY124" fmla="*/ 3030623 h 6854824"/>
              <a:gd name="connsiteX125" fmla="*/ 4006521 w 7118350"/>
              <a:gd name="connsiteY125" fmla="*/ 852363 h 6854824"/>
              <a:gd name="connsiteX126" fmla="*/ 3921623 w 7118350"/>
              <a:gd name="connsiteY126" fmla="*/ 767453 h 6854824"/>
              <a:gd name="connsiteX127" fmla="*/ 3144482 w 7118350"/>
              <a:gd name="connsiteY127" fmla="*/ 767453 h 6854824"/>
              <a:gd name="connsiteX128" fmla="*/ 3144482 w 7118350"/>
              <a:gd name="connsiteY128" fmla="*/ 1172407 h 6854824"/>
              <a:gd name="connsiteX129" fmla="*/ 3056319 w 7118350"/>
              <a:gd name="connsiteY129" fmla="*/ 1260582 h 6854824"/>
              <a:gd name="connsiteX130" fmla="*/ 1133059 w 7118350"/>
              <a:gd name="connsiteY130" fmla="*/ 1260582 h 6854824"/>
              <a:gd name="connsiteX131" fmla="*/ 1048161 w 7118350"/>
              <a:gd name="connsiteY131" fmla="*/ 1172407 h 6854824"/>
              <a:gd name="connsiteX132" fmla="*/ 1048161 w 7118350"/>
              <a:gd name="connsiteY132" fmla="*/ 767453 h 6854824"/>
              <a:gd name="connsiteX133" fmla="*/ 271020 w 7118350"/>
              <a:gd name="connsiteY133" fmla="*/ 767453 h 6854824"/>
              <a:gd name="connsiteX134" fmla="*/ 182857 w 7118350"/>
              <a:gd name="connsiteY134" fmla="*/ 852363 h 6854824"/>
              <a:gd name="connsiteX135" fmla="*/ 182857 w 7118350"/>
              <a:gd name="connsiteY135" fmla="*/ 6008993 h 6854824"/>
              <a:gd name="connsiteX136" fmla="*/ 271020 w 7118350"/>
              <a:gd name="connsiteY136" fmla="*/ 6093903 h 6854824"/>
              <a:gd name="connsiteX137" fmla="*/ 3294686 w 7118350"/>
              <a:gd name="connsiteY137" fmla="*/ 6093903 h 6854824"/>
              <a:gd name="connsiteX138" fmla="*/ 3467747 w 7118350"/>
              <a:gd name="connsiteY138" fmla="*/ 6093903 h 6854824"/>
              <a:gd name="connsiteX139" fmla="*/ 3467747 w 7118350"/>
              <a:gd name="connsiteY139" fmla="*/ 4954153 h 6854824"/>
              <a:gd name="connsiteX140" fmla="*/ 3467747 w 7118350"/>
              <a:gd name="connsiteY140" fmla="*/ 4794131 h 6854824"/>
              <a:gd name="connsiteX141" fmla="*/ 3467747 w 7118350"/>
              <a:gd name="connsiteY141" fmla="*/ 3722963 h 6854824"/>
              <a:gd name="connsiteX142" fmla="*/ 3467747 w 7118350"/>
              <a:gd name="connsiteY142" fmla="*/ 3559675 h 6854824"/>
              <a:gd name="connsiteX143" fmla="*/ 3467747 w 7118350"/>
              <a:gd name="connsiteY143" fmla="*/ 3288618 h 6854824"/>
              <a:gd name="connsiteX144" fmla="*/ 3493869 w 7118350"/>
              <a:gd name="connsiteY144" fmla="*/ 3229834 h 6854824"/>
              <a:gd name="connsiteX145" fmla="*/ 3552645 w 7118350"/>
              <a:gd name="connsiteY145" fmla="*/ 3203708 h 6854824"/>
              <a:gd name="connsiteX146" fmla="*/ 4006521 w 7118350"/>
              <a:gd name="connsiteY146" fmla="*/ 3203708 h 6854824"/>
              <a:gd name="connsiteX147" fmla="*/ 4192643 w 7118350"/>
              <a:gd name="connsiteY147" fmla="*/ 3203708 h 6854824"/>
              <a:gd name="connsiteX148" fmla="*/ 7030187 w 7118350"/>
              <a:gd name="connsiteY148" fmla="*/ 3203708 h 6854824"/>
              <a:gd name="connsiteX149" fmla="*/ 7118350 w 7118350"/>
              <a:gd name="connsiteY149" fmla="*/ 3288618 h 6854824"/>
              <a:gd name="connsiteX150" fmla="*/ 7118350 w 7118350"/>
              <a:gd name="connsiteY150" fmla="*/ 6769915 h 6854824"/>
              <a:gd name="connsiteX151" fmla="*/ 7030187 w 7118350"/>
              <a:gd name="connsiteY151" fmla="*/ 6854824 h 6854824"/>
              <a:gd name="connsiteX152" fmla="*/ 3552645 w 7118350"/>
              <a:gd name="connsiteY152" fmla="*/ 6854824 h 6854824"/>
              <a:gd name="connsiteX153" fmla="*/ 3467747 w 7118350"/>
              <a:gd name="connsiteY153" fmla="*/ 6769915 h 6854824"/>
              <a:gd name="connsiteX154" fmla="*/ 3467747 w 7118350"/>
              <a:gd name="connsiteY154" fmla="*/ 6315974 h 6854824"/>
              <a:gd name="connsiteX155" fmla="*/ 3294686 w 7118350"/>
              <a:gd name="connsiteY155" fmla="*/ 6315974 h 6854824"/>
              <a:gd name="connsiteX156" fmla="*/ 84898 w 7118350"/>
              <a:gd name="connsiteY156" fmla="*/ 6315974 h 6854824"/>
              <a:gd name="connsiteX157" fmla="*/ 0 w 7118350"/>
              <a:gd name="connsiteY157" fmla="*/ 6231065 h 6854824"/>
              <a:gd name="connsiteX158" fmla="*/ 0 w 7118350"/>
              <a:gd name="connsiteY158" fmla="*/ 630291 h 6854824"/>
              <a:gd name="connsiteX159" fmla="*/ 84898 w 7118350"/>
              <a:gd name="connsiteY159" fmla="*/ 545382 h 6854824"/>
              <a:gd name="connsiteX160" fmla="*/ 1048161 w 7118350"/>
              <a:gd name="connsiteY160" fmla="*/ 545382 h 6854824"/>
              <a:gd name="connsiteX161" fmla="*/ 1048161 w 7118350"/>
              <a:gd name="connsiteY161" fmla="*/ 483332 h 6854824"/>
              <a:gd name="connsiteX162" fmla="*/ 1133059 w 7118350"/>
              <a:gd name="connsiteY162" fmla="*/ 395157 h 6854824"/>
              <a:gd name="connsiteX163" fmla="*/ 1609792 w 7118350"/>
              <a:gd name="connsiteY163" fmla="*/ 395157 h 6854824"/>
              <a:gd name="connsiteX164" fmla="*/ 2096322 w 7118350"/>
              <a:gd name="connsiteY164" fmla="*/ 0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7118350" h="6854824">
                <a:moveTo>
                  <a:pt x="1935995" y="4787899"/>
                </a:moveTo>
                <a:lnTo>
                  <a:pt x="3294064" y="4787899"/>
                </a:lnTo>
                <a:cubicBezTo>
                  <a:pt x="3294064" y="4787899"/>
                  <a:pt x="3294064" y="4787899"/>
                  <a:pt x="3294064" y="4960937"/>
                </a:cubicBezTo>
                <a:cubicBezTo>
                  <a:pt x="3294064" y="4960937"/>
                  <a:pt x="3294064" y="4960937"/>
                  <a:pt x="1935995" y="4960937"/>
                </a:cubicBezTo>
                <a:cubicBezTo>
                  <a:pt x="1887026" y="4960937"/>
                  <a:pt x="1847851" y="4921759"/>
                  <a:pt x="1847851" y="4876051"/>
                </a:cubicBezTo>
                <a:cubicBezTo>
                  <a:pt x="1847851" y="4827078"/>
                  <a:pt x="1887026" y="4787899"/>
                  <a:pt x="1935995" y="4787899"/>
                </a:cubicBezTo>
                <a:close/>
                <a:moveTo>
                  <a:pt x="751668" y="4418012"/>
                </a:moveTo>
                <a:cubicBezTo>
                  <a:pt x="751668" y="4418012"/>
                  <a:pt x="751668" y="4418012"/>
                  <a:pt x="1493059" y="4418012"/>
                </a:cubicBezTo>
                <a:cubicBezTo>
                  <a:pt x="1538784" y="4418012"/>
                  <a:pt x="1577976" y="4453939"/>
                  <a:pt x="1577976" y="4502929"/>
                </a:cubicBezTo>
                <a:cubicBezTo>
                  <a:pt x="1577976" y="4502929"/>
                  <a:pt x="1577976" y="4502929"/>
                  <a:pt x="1577976" y="4515993"/>
                </a:cubicBezTo>
                <a:cubicBezTo>
                  <a:pt x="1577976" y="4515993"/>
                  <a:pt x="1577976" y="4515993"/>
                  <a:pt x="1088070" y="5009165"/>
                </a:cubicBezTo>
                <a:cubicBezTo>
                  <a:pt x="1088070" y="5009165"/>
                  <a:pt x="1088070" y="5009165"/>
                  <a:pt x="901906" y="4813203"/>
                </a:cubicBezTo>
                <a:cubicBezTo>
                  <a:pt x="869246" y="4780543"/>
                  <a:pt x="813723" y="4777277"/>
                  <a:pt x="777796" y="4809937"/>
                </a:cubicBezTo>
                <a:cubicBezTo>
                  <a:pt x="745136" y="4842597"/>
                  <a:pt x="741870" y="4898120"/>
                  <a:pt x="774530" y="4934046"/>
                </a:cubicBezTo>
                <a:cubicBezTo>
                  <a:pt x="774530" y="4934046"/>
                  <a:pt x="774530" y="4934046"/>
                  <a:pt x="1022749" y="5192064"/>
                </a:cubicBezTo>
                <a:cubicBezTo>
                  <a:pt x="1039080" y="5208394"/>
                  <a:pt x="1061942" y="5218192"/>
                  <a:pt x="1084804" y="5218192"/>
                </a:cubicBezTo>
                <a:cubicBezTo>
                  <a:pt x="1107666" y="5218192"/>
                  <a:pt x="1130529" y="5208394"/>
                  <a:pt x="1146859" y="5192064"/>
                </a:cubicBezTo>
                <a:cubicBezTo>
                  <a:pt x="1146859" y="5192064"/>
                  <a:pt x="1146859" y="5192064"/>
                  <a:pt x="1577976" y="4760946"/>
                </a:cubicBezTo>
                <a:cubicBezTo>
                  <a:pt x="1577976" y="4760946"/>
                  <a:pt x="1577976" y="4760946"/>
                  <a:pt x="1577976" y="5244320"/>
                </a:cubicBezTo>
                <a:cubicBezTo>
                  <a:pt x="1577976" y="5290045"/>
                  <a:pt x="1538784" y="5329237"/>
                  <a:pt x="1493059" y="5329237"/>
                </a:cubicBezTo>
                <a:cubicBezTo>
                  <a:pt x="1493059" y="5329237"/>
                  <a:pt x="1493059" y="5329237"/>
                  <a:pt x="751668" y="5329237"/>
                </a:cubicBezTo>
                <a:cubicBezTo>
                  <a:pt x="728806" y="5329237"/>
                  <a:pt x="705944" y="5319439"/>
                  <a:pt x="689613" y="5303109"/>
                </a:cubicBezTo>
                <a:cubicBezTo>
                  <a:pt x="673283" y="5290045"/>
                  <a:pt x="666751" y="5267182"/>
                  <a:pt x="666751" y="5244320"/>
                </a:cubicBezTo>
                <a:cubicBezTo>
                  <a:pt x="666751" y="5244320"/>
                  <a:pt x="666751" y="5244320"/>
                  <a:pt x="666751" y="4502929"/>
                </a:cubicBezTo>
                <a:cubicBezTo>
                  <a:pt x="666751" y="4453939"/>
                  <a:pt x="705944" y="4418012"/>
                  <a:pt x="751668" y="4418012"/>
                </a:cubicBezTo>
                <a:close/>
                <a:moveTo>
                  <a:pt x="6206113" y="4338862"/>
                </a:moveTo>
                <a:cubicBezTo>
                  <a:pt x="6184066" y="4338862"/>
                  <a:pt x="6162019" y="4347027"/>
                  <a:pt x="6145688" y="4363356"/>
                </a:cubicBezTo>
                <a:cubicBezTo>
                  <a:pt x="6145688" y="4363356"/>
                  <a:pt x="6145688" y="4363356"/>
                  <a:pt x="4960044" y="5548849"/>
                </a:cubicBezTo>
                <a:cubicBezTo>
                  <a:pt x="4960044" y="5548849"/>
                  <a:pt x="4960044" y="5548849"/>
                  <a:pt x="4466843" y="5055710"/>
                </a:cubicBezTo>
                <a:cubicBezTo>
                  <a:pt x="4430914" y="5019786"/>
                  <a:pt x="4378654" y="5019786"/>
                  <a:pt x="4342726" y="5055710"/>
                </a:cubicBezTo>
                <a:cubicBezTo>
                  <a:pt x="4310063" y="5088368"/>
                  <a:pt x="4310063" y="5143887"/>
                  <a:pt x="4342726" y="5176545"/>
                </a:cubicBezTo>
                <a:cubicBezTo>
                  <a:pt x="4342726" y="5176545"/>
                  <a:pt x="4342726" y="5176545"/>
                  <a:pt x="4897986" y="5731735"/>
                </a:cubicBezTo>
                <a:cubicBezTo>
                  <a:pt x="4914317" y="5748064"/>
                  <a:pt x="4937181" y="5757861"/>
                  <a:pt x="4960044" y="5757861"/>
                </a:cubicBezTo>
                <a:cubicBezTo>
                  <a:pt x="4982908" y="5757861"/>
                  <a:pt x="5002505" y="5748064"/>
                  <a:pt x="5022103" y="5731735"/>
                </a:cubicBezTo>
                <a:cubicBezTo>
                  <a:pt x="5022103" y="5731735"/>
                  <a:pt x="5022103" y="5731735"/>
                  <a:pt x="6266539" y="4487458"/>
                </a:cubicBezTo>
                <a:cubicBezTo>
                  <a:pt x="6299201" y="4451534"/>
                  <a:pt x="6299201" y="4399280"/>
                  <a:pt x="6266539" y="4363356"/>
                </a:cubicBezTo>
                <a:cubicBezTo>
                  <a:pt x="6250207" y="4347027"/>
                  <a:pt x="6228160" y="4338862"/>
                  <a:pt x="6206113" y="4338862"/>
                </a:cubicBezTo>
                <a:close/>
                <a:moveTo>
                  <a:pt x="4098204" y="3744911"/>
                </a:moveTo>
                <a:cubicBezTo>
                  <a:pt x="4098204" y="3744911"/>
                  <a:pt x="4098204" y="3744911"/>
                  <a:pt x="4192915" y="3744911"/>
                </a:cubicBezTo>
                <a:cubicBezTo>
                  <a:pt x="4192915" y="3744911"/>
                  <a:pt x="4192915" y="3744911"/>
                  <a:pt x="6488834" y="3744911"/>
                </a:cubicBezTo>
                <a:cubicBezTo>
                  <a:pt x="6537822" y="3744911"/>
                  <a:pt x="6577013" y="3784102"/>
                  <a:pt x="6577013" y="3833090"/>
                </a:cubicBezTo>
                <a:cubicBezTo>
                  <a:pt x="6577013" y="3833090"/>
                  <a:pt x="6577013" y="3833090"/>
                  <a:pt x="6577013" y="6223720"/>
                </a:cubicBezTo>
                <a:cubicBezTo>
                  <a:pt x="6577013" y="6272708"/>
                  <a:pt x="6537822" y="6311899"/>
                  <a:pt x="6488834" y="6311899"/>
                </a:cubicBezTo>
                <a:cubicBezTo>
                  <a:pt x="6488834" y="6311899"/>
                  <a:pt x="6488834" y="6311899"/>
                  <a:pt x="4130863" y="6311899"/>
                </a:cubicBezTo>
                <a:cubicBezTo>
                  <a:pt x="4130863" y="6311899"/>
                  <a:pt x="4130863" y="6311899"/>
                  <a:pt x="4098204" y="6311899"/>
                </a:cubicBezTo>
                <a:cubicBezTo>
                  <a:pt x="4049216" y="6311899"/>
                  <a:pt x="4010025" y="6272708"/>
                  <a:pt x="4010025" y="6223720"/>
                </a:cubicBezTo>
                <a:cubicBezTo>
                  <a:pt x="4010025" y="6223720"/>
                  <a:pt x="4010025" y="6223720"/>
                  <a:pt x="4010025" y="3833090"/>
                </a:cubicBezTo>
                <a:cubicBezTo>
                  <a:pt x="4010025" y="3784102"/>
                  <a:pt x="4049216" y="3744911"/>
                  <a:pt x="4098204" y="3744911"/>
                </a:cubicBezTo>
                <a:close/>
                <a:moveTo>
                  <a:pt x="1935995" y="3555999"/>
                </a:moveTo>
                <a:lnTo>
                  <a:pt x="3294064" y="3555999"/>
                </a:lnTo>
                <a:cubicBezTo>
                  <a:pt x="3294064" y="3555999"/>
                  <a:pt x="3294064" y="3555999"/>
                  <a:pt x="3294064" y="3725862"/>
                </a:cubicBezTo>
                <a:cubicBezTo>
                  <a:pt x="3294064" y="3725862"/>
                  <a:pt x="3294064" y="3725862"/>
                  <a:pt x="1935995" y="3725862"/>
                </a:cubicBezTo>
                <a:cubicBezTo>
                  <a:pt x="1887026" y="3725862"/>
                  <a:pt x="1847851" y="3689930"/>
                  <a:pt x="1847851" y="3640931"/>
                </a:cubicBezTo>
                <a:cubicBezTo>
                  <a:pt x="1847851" y="3591932"/>
                  <a:pt x="1887026" y="3555999"/>
                  <a:pt x="1935995" y="3555999"/>
                </a:cubicBezTo>
                <a:close/>
                <a:moveTo>
                  <a:pt x="3640138" y="3376612"/>
                </a:moveTo>
                <a:lnTo>
                  <a:pt x="3640138" y="6094412"/>
                </a:lnTo>
                <a:lnTo>
                  <a:pt x="3640138" y="6315075"/>
                </a:lnTo>
                <a:lnTo>
                  <a:pt x="3640138" y="6681787"/>
                </a:lnTo>
                <a:lnTo>
                  <a:pt x="6945313" y="6681787"/>
                </a:lnTo>
                <a:lnTo>
                  <a:pt x="6945313" y="3376612"/>
                </a:lnTo>
                <a:lnTo>
                  <a:pt x="4192588" y="3376612"/>
                </a:lnTo>
                <a:lnTo>
                  <a:pt x="4006851" y="3376612"/>
                </a:lnTo>
                <a:close/>
                <a:moveTo>
                  <a:pt x="751668" y="3184523"/>
                </a:moveTo>
                <a:cubicBezTo>
                  <a:pt x="751668" y="3184523"/>
                  <a:pt x="751668" y="3184523"/>
                  <a:pt x="1493059" y="3184523"/>
                </a:cubicBezTo>
                <a:cubicBezTo>
                  <a:pt x="1538784" y="3184523"/>
                  <a:pt x="1577976" y="3223712"/>
                  <a:pt x="1577976" y="3269433"/>
                </a:cubicBezTo>
                <a:cubicBezTo>
                  <a:pt x="1577976" y="3269433"/>
                  <a:pt x="1577976" y="3269433"/>
                  <a:pt x="1577976" y="3285761"/>
                </a:cubicBezTo>
                <a:cubicBezTo>
                  <a:pt x="1577976" y="3285761"/>
                  <a:pt x="1577976" y="3285761"/>
                  <a:pt x="1088070" y="3775617"/>
                </a:cubicBezTo>
                <a:cubicBezTo>
                  <a:pt x="1088070" y="3775617"/>
                  <a:pt x="1088070" y="3775617"/>
                  <a:pt x="901906" y="3582940"/>
                </a:cubicBezTo>
                <a:cubicBezTo>
                  <a:pt x="869246" y="3547017"/>
                  <a:pt x="813723" y="3547017"/>
                  <a:pt x="777796" y="3579675"/>
                </a:cubicBezTo>
                <a:cubicBezTo>
                  <a:pt x="745136" y="3612332"/>
                  <a:pt x="741870" y="3664583"/>
                  <a:pt x="774530" y="3700506"/>
                </a:cubicBezTo>
                <a:cubicBezTo>
                  <a:pt x="774530" y="3700506"/>
                  <a:pt x="774530" y="3700506"/>
                  <a:pt x="1022749" y="3958497"/>
                </a:cubicBezTo>
                <a:cubicBezTo>
                  <a:pt x="1039080" y="3978092"/>
                  <a:pt x="1061942" y="3984623"/>
                  <a:pt x="1084804" y="3987889"/>
                </a:cubicBezTo>
                <a:cubicBezTo>
                  <a:pt x="1107666" y="3987889"/>
                  <a:pt x="1130529" y="3978092"/>
                  <a:pt x="1146859" y="3961763"/>
                </a:cubicBezTo>
                <a:cubicBezTo>
                  <a:pt x="1146859" y="3961763"/>
                  <a:pt x="1146859" y="3961763"/>
                  <a:pt x="1577976" y="3527423"/>
                </a:cubicBezTo>
                <a:cubicBezTo>
                  <a:pt x="1577976" y="3527423"/>
                  <a:pt x="1577976" y="3527423"/>
                  <a:pt x="1577976" y="4010749"/>
                </a:cubicBezTo>
                <a:cubicBezTo>
                  <a:pt x="1577976" y="4059735"/>
                  <a:pt x="1538784" y="4098923"/>
                  <a:pt x="1493059" y="4098923"/>
                </a:cubicBezTo>
                <a:cubicBezTo>
                  <a:pt x="1493059" y="4098923"/>
                  <a:pt x="1493059" y="4098923"/>
                  <a:pt x="751668" y="4098923"/>
                </a:cubicBezTo>
                <a:cubicBezTo>
                  <a:pt x="728806" y="4098923"/>
                  <a:pt x="705944" y="4089126"/>
                  <a:pt x="689613" y="4072797"/>
                </a:cubicBezTo>
                <a:cubicBezTo>
                  <a:pt x="673283" y="4056469"/>
                  <a:pt x="666751" y="4033609"/>
                  <a:pt x="666751" y="4010749"/>
                </a:cubicBezTo>
                <a:cubicBezTo>
                  <a:pt x="666751" y="4010749"/>
                  <a:pt x="666751" y="4010749"/>
                  <a:pt x="666751" y="3269433"/>
                </a:cubicBezTo>
                <a:cubicBezTo>
                  <a:pt x="666751" y="3223712"/>
                  <a:pt x="705944" y="3184523"/>
                  <a:pt x="751668" y="3184523"/>
                </a:cubicBezTo>
                <a:close/>
                <a:moveTo>
                  <a:pt x="1936078" y="2295524"/>
                </a:moveTo>
                <a:cubicBezTo>
                  <a:pt x="1936078" y="2295524"/>
                  <a:pt x="1936078" y="2295524"/>
                  <a:pt x="3442467" y="2295524"/>
                </a:cubicBezTo>
                <a:cubicBezTo>
                  <a:pt x="3488214" y="2295524"/>
                  <a:pt x="3527426" y="2334704"/>
                  <a:pt x="3527426" y="2380412"/>
                </a:cubicBezTo>
                <a:cubicBezTo>
                  <a:pt x="3527426" y="2429385"/>
                  <a:pt x="3488214" y="2468562"/>
                  <a:pt x="3442467" y="2468562"/>
                </a:cubicBezTo>
                <a:cubicBezTo>
                  <a:pt x="3442467" y="2468562"/>
                  <a:pt x="3442467" y="2468562"/>
                  <a:pt x="1936078" y="2468562"/>
                </a:cubicBezTo>
                <a:cubicBezTo>
                  <a:pt x="1887063" y="2468562"/>
                  <a:pt x="1847851" y="2429385"/>
                  <a:pt x="1847851" y="2380412"/>
                </a:cubicBezTo>
                <a:cubicBezTo>
                  <a:pt x="1847851" y="2334704"/>
                  <a:pt x="1887063" y="2295524"/>
                  <a:pt x="1936078" y="2295524"/>
                </a:cubicBezTo>
                <a:close/>
                <a:moveTo>
                  <a:pt x="751668" y="1927225"/>
                </a:moveTo>
                <a:cubicBezTo>
                  <a:pt x="751668" y="1927225"/>
                  <a:pt x="751668" y="1927225"/>
                  <a:pt x="1493059" y="1927225"/>
                </a:cubicBezTo>
                <a:cubicBezTo>
                  <a:pt x="1538784" y="1927225"/>
                  <a:pt x="1577976" y="1966418"/>
                  <a:pt x="1577976" y="2012142"/>
                </a:cubicBezTo>
                <a:cubicBezTo>
                  <a:pt x="1577976" y="2012142"/>
                  <a:pt x="1577976" y="2012142"/>
                  <a:pt x="1577976" y="2025206"/>
                </a:cubicBezTo>
                <a:cubicBezTo>
                  <a:pt x="1577976" y="2025206"/>
                  <a:pt x="1577976" y="2025206"/>
                  <a:pt x="1088070" y="2518378"/>
                </a:cubicBezTo>
                <a:cubicBezTo>
                  <a:pt x="1088070" y="2518378"/>
                  <a:pt x="1088070" y="2518378"/>
                  <a:pt x="901906" y="2322416"/>
                </a:cubicBezTo>
                <a:cubicBezTo>
                  <a:pt x="869246" y="2289756"/>
                  <a:pt x="813723" y="2286489"/>
                  <a:pt x="777796" y="2322416"/>
                </a:cubicBezTo>
                <a:cubicBezTo>
                  <a:pt x="745136" y="2355076"/>
                  <a:pt x="741870" y="2407333"/>
                  <a:pt x="774530" y="2443259"/>
                </a:cubicBezTo>
                <a:cubicBezTo>
                  <a:pt x="774530" y="2443259"/>
                  <a:pt x="774530" y="2443259"/>
                  <a:pt x="1022749" y="2701277"/>
                </a:cubicBezTo>
                <a:cubicBezTo>
                  <a:pt x="1039080" y="2717607"/>
                  <a:pt x="1061942" y="2727405"/>
                  <a:pt x="1084804" y="2727405"/>
                </a:cubicBezTo>
                <a:cubicBezTo>
                  <a:pt x="1107666" y="2727405"/>
                  <a:pt x="1130529" y="2717607"/>
                  <a:pt x="1146859" y="2704543"/>
                </a:cubicBezTo>
                <a:cubicBezTo>
                  <a:pt x="1146859" y="2704543"/>
                  <a:pt x="1146859" y="2704543"/>
                  <a:pt x="1577976" y="2270159"/>
                </a:cubicBezTo>
                <a:cubicBezTo>
                  <a:pt x="1577976" y="2270159"/>
                  <a:pt x="1577976" y="2270159"/>
                  <a:pt x="1577976" y="2753533"/>
                </a:cubicBezTo>
                <a:cubicBezTo>
                  <a:pt x="1577976" y="2799258"/>
                  <a:pt x="1538784" y="2838450"/>
                  <a:pt x="1493059" y="2838450"/>
                </a:cubicBezTo>
                <a:cubicBezTo>
                  <a:pt x="1493059" y="2838450"/>
                  <a:pt x="1493059" y="2838450"/>
                  <a:pt x="751668" y="2838450"/>
                </a:cubicBezTo>
                <a:cubicBezTo>
                  <a:pt x="705944" y="2838450"/>
                  <a:pt x="666751" y="2799258"/>
                  <a:pt x="666751" y="2753533"/>
                </a:cubicBezTo>
                <a:cubicBezTo>
                  <a:pt x="666751" y="2753533"/>
                  <a:pt x="666751" y="2753533"/>
                  <a:pt x="666751" y="2012142"/>
                </a:cubicBezTo>
                <a:cubicBezTo>
                  <a:pt x="666751" y="1966418"/>
                  <a:pt x="705944" y="1927225"/>
                  <a:pt x="751668" y="1927225"/>
                </a:cubicBezTo>
                <a:close/>
                <a:moveTo>
                  <a:pt x="1220788" y="568325"/>
                </a:moveTo>
                <a:lnTo>
                  <a:pt x="1220788" y="766763"/>
                </a:lnTo>
                <a:lnTo>
                  <a:pt x="1220788" y="1087438"/>
                </a:lnTo>
                <a:lnTo>
                  <a:pt x="2971801" y="1087438"/>
                </a:lnTo>
                <a:lnTo>
                  <a:pt x="2971801" y="766763"/>
                </a:lnTo>
                <a:lnTo>
                  <a:pt x="2971801" y="568325"/>
                </a:lnTo>
                <a:close/>
                <a:moveTo>
                  <a:pt x="2096295" y="173038"/>
                </a:moveTo>
                <a:cubicBezTo>
                  <a:pt x="1945972" y="173038"/>
                  <a:pt x="1825060" y="267821"/>
                  <a:pt x="1789113" y="395288"/>
                </a:cubicBezTo>
                <a:cubicBezTo>
                  <a:pt x="1789113" y="395288"/>
                  <a:pt x="1789113" y="395288"/>
                  <a:pt x="2403476" y="395288"/>
                </a:cubicBezTo>
                <a:cubicBezTo>
                  <a:pt x="2364262" y="267821"/>
                  <a:pt x="2243350" y="173038"/>
                  <a:pt x="2096295" y="173038"/>
                </a:cubicBezTo>
                <a:close/>
                <a:moveTo>
                  <a:pt x="2096322" y="0"/>
                </a:moveTo>
                <a:cubicBezTo>
                  <a:pt x="2341219" y="0"/>
                  <a:pt x="2540402" y="169819"/>
                  <a:pt x="2579586" y="395157"/>
                </a:cubicBezTo>
                <a:cubicBezTo>
                  <a:pt x="2579586" y="395157"/>
                  <a:pt x="2579586" y="395157"/>
                  <a:pt x="3056319" y="395157"/>
                </a:cubicBezTo>
                <a:cubicBezTo>
                  <a:pt x="3105299" y="395157"/>
                  <a:pt x="3144482" y="434346"/>
                  <a:pt x="3144482" y="483332"/>
                </a:cubicBezTo>
                <a:cubicBezTo>
                  <a:pt x="3144482" y="483332"/>
                  <a:pt x="3144482" y="483332"/>
                  <a:pt x="3144482" y="545382"/>
                </a:cubicBezTo>
                <a:cubicBezTo>
                  <a:pt x="3144482" y="545382"/>
                  <a:pt x="3144482" y="545382"/>
                  <a:pt x="4107745" y="545382"/>
                </a:cubicBezTo>
                <a:cubicBezTo>
                  <a:pt x="4153459" y="545382"/>
                  <a:pt x="4192643" y="584571"/>
                  <a:pt x="4192643" y="630291"/>
                </a:cubicBezTo>
                <a:cubicBezTo>
                  <a:pt x="4192643" y="630291"/>
                  <a:pt x="4192643" y="630291"/>
                  <a:pt x="4192643" y="3030623"/>
                </a:cubicBezTo>
                <a:cubicBezTo>
                  <a:pt x="4192643" y="3030623"/>
                  <a:pt x="4192643" y="3030623"/>
                  <a:pt x="4006521" y="3030623"/>
                </a:cubicBezTo>
                <a:cubicBezTo>
                  <a:pt x="4006521" y="3030623"/>
                  <a:pt x="4006521" y="3030623"/>
                  <a:pt x="4006521" y="852363"/>
                </a:cubicBezTo>
                <a:cubicBezTo>
                  <a:pt x="4006521" y="806642"/>
                  <a:pt x="3967337" y="767453"/>
                  <a:pt x="3921623" y="767453"/>
                </a:cubicBezTo>
                <a:cubicBezTo>
                  <a:pt x="3921623" y="767453"/>
                  <a:pt x="3921623" y="767453"/>
                  <a:pt x="3144482" y="767453"/>
                </a:cubicBezTo>
                <a:cubicBezTo>
                  <a:pt x="3144482" y="767453"/>
                  <a:pt x="3144482" y="767453"/>
                  <a:pt x="3144482" y="1172407"/>
                </a:cubicBezTo>
                <a:cubicBezTo>
                  <a:pt x="3144482" y="1221393"/>
                  <a:pt x="3105299" y="1260582"/>
                  <a:pt x="3056319" y="1260582"/>
                </a:cubicBezTo>
                <a:cubicBezTo>
                  <a:pt x="3056319" y="1260582"/>
                  <a:pt x="3056319" y="1260582"/>
                  <a:pt x="1133059" y="1260582"/>
                </a:cubicBezTo>
                <a:cubicBezTo>
                  <a:pt x="1087344" y="1260582"/>
                  <a:pt x="1048161" y="1221393"/>
                  <a:pt x="1048161" y="1172407"/>
                </a:cubicBezTo>
                <a:cubicBezTo>
                  <a:pt x="1048161" y="1172407"/>
                  <a:pt x="1048161" y="1172407"/>
                  <a:pt x="1048161" y="767453"/>
                </a:cubicBezTo>
                <a:cubicBezTo>
                  <a:pt x="1048161" y="767453"/>
                  <a:pt x="1048161" y="767453"/>
                  <a:pt x="271020" y="767453"/>
                </a:cubicBezTo>
                <a:cubicBezTo>
                  <a:pt x="222040" y="767453"/>
                  <a:pt x="182857" y="806642"/>
                  <a:pt x="182857" y="852363"/>
                </a:cubicBezTo>
                <a:cubicBezTo>
                  <a:pt x="182857" y="852363"/>
                  <a:pt x="182857" y="852363"/>
                  <a:pt x="182857" y="6008993"/>
                </a:cubicBezTo>
                <a:cubicBezTo>
                  <a:pt x="182857" y="6054714"/>
                  <a:pt x="222040" y="6093903"/>
                  <a:pt x="271020" y="6093903"/>
                </a:cubicBezTo>
                <a:cubicBezTo>
                  <a:pt x="271020" y="6093903"/>
                  <a:pt x="271020" y="6093903"/>
                  <a:pt x="3294686" y="6093903"/>
                </a:cubicBezTo>
                <a:cubicBezTo>
                  <a:pt x="3294686" y="6093903"/>
                  <a:pt x="3294686" y="6093903"/>
                  <a:pt x="3467747" y="6093903"/>
                </a:cubicBezTo>
                <a:cubicBezTo>
                  <a:pt x="3467747" y="6093903"/>
                  <a:pt x="3467747" y="6093903"/>
                  <a:pt x="3467747" y="4954153"/>
                </a:cubicBezTo>
                <a:cubicBezTo>
                  <a:pt x="3467747" y="4954153"/>
                  <a:pt x="3467747" y="4954153"/>
                  <a:pt x="3467747" y="4794131"/>
                </a:cubicBezTo>
                <a:cubicBezTo>
                  <a:pt x="3467747" y="4794131"/>
                  <a:pt x="3467747" y="4794131"/>
                  <a:pt x="3467747" y="3722963"/>
                </a:cubicBezTo>
                <a:cubicBezTo>
                  <a:pt x="3467747" y="3722963"/>
                  <a:pt x="3467747" y="3722963"/>
                  <a:pt x="3467747" y="3559675"/>
                </a:cubicBezTo>
                <a:cubicBezTo>
                  <a:pt x="3467747" y="3559675"/>
                  <a:pt x="3467747" y="3559675"/>
                  <a:pt x="3467747" y="3288618"/>
                </a:cubicBezTo>
                <a:cubicBezTo>
                  <a:pt x="3467747" y="3265757"/>
                  <a:pt x="3477543" y="3246162"/>
                  <a:pt x="3493869" y="3229834"/>
                </a:cubicBezTo>
                <a:cubicBezTo>
                  <a:pt x="3510196" y="3213506"/>
                  <a:pt x="3529787" y="3203708"/>
                  <a:pt x="3552645" y="3203708"/>
                </a:cubicBezTo>
                <a:cubicBezTo>
                  <a:pt x="3552645" y="3203708"/>
                  <a:pt x="3552645" y="3203708"/>
                  <a:pt x="4006521" y="3203708"/>
                </a:cubicBezTo>
                <a:cubicBezTo>
                  <a:pt x="4006521" y="3203708"/>
                  <a:pt x="4006521" y="3203708"/>
                  <a:pt x="4192643" y="3203708"/>
                </a:cubicBezTo>
                <a:cubicBezTo>
                  <a:pt x="4192643" y="3203708"/>
                  <a:pt x="4192643" y="3203708"/>
                  <a:pt x="7030187" y="3203708"/>
                </a:cubicBezTo>
                <a:cubicBezTo>
                  <a:pt x="7079167" y="3203708"/>
                  <a:pt x="7118350" y="3242897"/>
                  <a:pt x="7118350" y="3288618"/>
                </a:cubicBezTo>
                <a:cubicBezTo>
                  <a:pt x="7118350" y="3288618"/>
                  <a:pt x="7118350" y="3288618"/>
                  <a:pt x="7118350" y="6769915"/>
                </a:cubicBezTo>
                <a:cubicBezTo>
                  <a:pt x="7118350" y="6815635"/>
                  <a:pt x="7079167" y="6854824"/>
                  <a:pt x="7030187" y="6854824"/>
                </a:cubicBezTo>
                <a:cubicBezTo>
                  <a:pt x="7030187" y="6854824"/>
                  <a:pt x="7030187" y="6854824"/>
                  <a:pt x="3552645" y="6854824"/>
                </a:cubicBezTo>
                <a:cubicBezTo>
                  <a:pt x="3506930" y="6854824"/>
                  <a:pt x="3467747" y="6815635"/>
                  <a:pt x="3467747" y="6769915"/>
                </a:cubicBezTo>
                <a:cubicBezTo>
                  <a:pt x="3467747" y="6769915"/>
                  <a:pt x="3467747" y="6769915"/>
                  <a:pt x="3467747" y="6315974"/>
                </a:cubicBezTo>
                <a:cubicBezTo>
                  <a:pt x="3467747" y="6315974"/>
                  <a:pt x="3467747" y="6315974"/>
                  <a:pt x="3294686" y="6315974"/>
                </a:cubicBezTo>
                <a:cubicBezTo>
                  <a:pt x="3294686" y="6315974"/>
                  <a:pt x="3294686" y="6315974"/>
                  <a:pt x="84898" y="6315974"/>
                </a:cubicBezTo>
                <a:cubicBezTo>
                  <a:pt x="39184" y="6315974"/>
                  <a:pt x="0" y="6276785"/>
                  <a:pt x="0" y="6231065"/>
                </a:cubicBezTo>
                <a:cubicBezTo>
                  <a:pt x="0" y="6231065"/>
                  <a:pt x="0" y="6231065"/>
                  <a:pt x="0" y="630291"/>
                </a:cubicBezTo>
                <a:cubicBezTo>
                  <a:pt x="0" y="584571"/>
                  <a:pt x="39184" y="545382"/>
                  <a:pt x="84898" y="545382"/>
                </a:cubicBezTo>
                <a:cubicBezTo>
                  <a:pt x="84898" y="545382"/>
                  <a:pt x="84898" y="545382"/>
                  <a:pt x="1048161" y="545382"/>
                </a:cubicBezTo>
                <a:cubicBezTo>
                  <a:pt x="1048161" y="545382"/>
                  <a:pt x="1048161" y="545382"/>
                  <a:pt x="1048161" y="483332"/>
                </a:cubicBezTo>
                <a:cubicBezTo>
                  <a:pt x="1048161" y="434346"/>
                  <a:pt x="1087344" y="395157"/>
                  <a:pt x="1133059" y="395157"/>
                </a:cubicBezTo>
                <a:cubicBezTo>
                  <a:pt x="1133059" y="395157"/>
                  <a:pt x="1133059" y="395157"/>
                  <a:pt x="1609792" y="395157"/>
                </a:cubicBezTo>
                <a:cubicBezTo>
                  <a:pt x="1652241" y="169819"/>
                  <a:pt x="1848159" y="0"/>
                  <a:pt x="2096322" y="0"/>
                </a:cubicBezTo>
                <a:close/>
              </a:path>
            </a:pathLst>
          </a:custGeom>
          <a:solidFill>
            <a:srgbClr val="003755"/>
          </a:solidFill>
          <a:ln>
            <a:noFill/>
          </a:ln>
          <a:extLst/>
        </p:spPr>
        <p:txBody>
          <a:bodyPr vert="horz" wrap="square" lIns="91440" tIns="45720" rIns="91440" bIns="45720" numCol="1" anchor="t" anchorCtr="0" compatLnSpc="1">
            <a:prstTxWarp prst="textNoShape">
              <a:avLst/>
            </a:prstTxWarp>
            <a:noAutofit/>
          </a:bodyPr>
          <a:lstStyle/>
          <a:p>
            <a:endParaRPr lang="en-GB" dirty="0"/>
          </a:p>
        </p:txBody>
      </p:sp>
      <p:sp>
        <p:nvSpPr>
          <p:cNvPr id="7" name="Rectangle 6"/>
          <p:cNvSpPr/>
          <p:nvPr/>
        </p:nvSpPr>
        <p:spPr>
          <a:xfrm>
            <a:off x="338471" y="6053526"/>
            <a:ext cx="11415270" cy="400110"/>
          </a:xfrm>
          <a:prstGeom prst="rect">
            <a:avLst/>
          </a:prstGeom>
        </p:spPr>
        <p:txBody>
          <a:bodyPr wrap="square">
            <a:spAutoFit/>
          </a:bodyPr>
          <a:lstStyle/>
          <a:p>
            <a:pPr lvl="0">
              <a:defRPr/>
            </a:pPr>
            <a:r>
              <a:rPr lang="en-US" sz="1000" dirty="0">
                <a:solidFill>
                  <a:schemeClr val="dk2"/>
                </a:solidFill>
              </a:rPr>
              <a:t>This presentation is intended to be used as marketing </a:t>
            </a:r>
            <a:r>
              <a:rPr lang="en-US" sz="1000" dirty="0" smtClean="0">
                <a:solidFill>
                  <a:schemeClr val="dk2"/>
                </a:solidFill>
              </a:rPr>
              <a:t>material </a:t>
            </a:r>
            <a:r>
              <a:rPr lang="en-US" sz="1000" dirty="0">
                <a:solidFill>
                  <a:schemeClr val="dk2"/>
                </a:solidFill>
              </a:rPr>
              <a:t>as defined by the European Directive 2014/65/EU dated 15 May 2014 (MiFID II) in Austria, Belgium, Denmark, Finland, France, Germany, Luxembourg, the Netherlands, Norway, Sweden, Switzerland and the United </a:t>
            </a:r>
            <a:r>
              <a:rPr lang="en-US" sz="1000" dirty="0" smtClean="0">
                <a:solidFill>
                  <a:schemeClr val="dk2"/>
                </a:solidFill>
              </a:rPr>
              <a:t>Kingdom.</a:t>
            </a:r>
            <a:endParaRPr lang="en-US" sz="1000" dirty="0">
              <a:solidFill>
                <a:schemeClr val="dk2"/>
              </a:solidFill>
            </a:endParaRPr>
          </a:p>
        </p:txBody>
      </p:sp>
    </p:spTree>
    <p:extLst>
      <p:ext uri="{BB962C8B-B14F-4D97-AF65-F5344CB8AC3E}">
        <p14:creationId xmlns:p14="http://schemas.microsoft.com/office/powerpoint/2010/main" val="178326568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Engagement Report introduction</a:t>
            </a:r>
          </a:p>
        </p:txBody>
      </p:sp>
      <p:grpSp>
        <p:nvGrpSpPr>
          <p:cNvPr id="2" name="Group 1"/>
          <p:cNvGrpSpPr/>
          <p:nvPr/>
        </p:nvGrpSpPr>
        <p:grpSpPr>
          <a:xfrm>
            <a:off x="465083" y="1603686"/>
            <a:ext cx="8043917" cy="923330"/>
            <a:chOff x="465083" y="1603686"/>
            <a:chExt cx="8043917" cy="923330"/>
          </a:xfrm>
        </p:grpSpPr>
        <p:sp>
          <p:nvSpPr>
            <p:cNvPr id="17" name="Rectangle 16"/>
            <p:cNvSpPr/>
            <p:nvPr/>
          </p:nvSpPr>
          <p:spPr>
            <a:xfrm>
              <a:off x="1526540" y="1603686"/>
              <a:ext cx="6982460" cy="923330"/>
            </a:xfrm>
            <a:prstGeom prst="rect">
              <a:avLst/>
            </a:prstGeom>
          </p:spPr>
          <p:txBody>
            <a:bodyPr wrap="square">
              <a:spAutoFit/>
            </a:bodyPr>
            <a:lstStyle/>
            <a:p>
              <a:r>
                <a:rPr lang="en-US" dirty="0">
                  <a:solidFill>
                    <a:srgbClr val="003755"/>
                  </a:solidFill>
                  <a:latin typeface="Danske Human Medium Italic" panose="02000603050000020003" pitchFamily="2" charset="0"/>
                </a:rPr>
                <a:t>The annual general meeting is an opportunity to voice our opinion, vote on issues of key importance to the running of a company, and contribute to the good governance of the company. </a:t>
              </a:r>
            </a:p>
          </p:txBody>
        </p:sp>
        <p:sp>
          <p:nvSpPr>
            <p:cNvPr id="22" name="Oval 21"/>
            <p:cNvSpPr/>
            <p:nvPr/>
          </p:nvSpPr>
          <p:spPr>
            <a:xfrm>
              <a:off x="465083" y="1732134"/>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chemeClr val="tx1"/>
                </a:solidFill>
              </a:endParaRPr>
            </a:p>
          </p:txBody>
        </p:sp>
        <p:sp>
          <p:nvSpPr>
            <p:cNvPr id="23" name="Rectangle 22"/>
            <p:cNvSpPr/>
            <p:nvPr/>
          </p:nvSpPr>
          <p:spPr>
            <a:xfrm>
              <a:off x="1315842" y="1825811"/>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rgbClr val="000000"/>
                </a:solidFill>
              </a:endParaRPr>
            </a:p>
          </p:txBody>
        </p:sp>
        <p:sp>
          <p:nvSpPr>
            <p:cNvPr id="32" name="Weekly meeting"/>
            <p:cNvSpPr>
              <a:spLocks noChangeAspect="1"/>
            </p:cNvSpPr>
            <p:nvPr>
              <p:custDataLst>
                <p:tags r:id="rId4"/>
              </p:custDataLst>
            </p:nvPr>
          </p:nvSpPr>
          <p:spPr bwMode="auto">
            <a:xfrm>
              <a:off x="591134" y="1906723"/>
              <a:ext cx="463436" cy="317257"/>
            </a:xfrm>
            <a:custGeom>
              <a:avLst/>
              <a:gdLst>
                <a:gd name="connsiteX0" fmla="*/ 1433513 w 2747963"/>
                <a:gd name="connsiteY0" fmla="*/ 927100 h 1881187"/>
                <a:gd name="connsiteX1" fmla="*/ 1433513 w 2747963"/>
                <a:gd name="connsiteY1" fmla="*/ 1017587 h 1881187"/>
                <a:gd name="connsiteX2" fmla="*/ 1520826 w 2747963"/>
                <a:gd name="connsiteY2" fmla="*/ 927100 h 1881187"/>
                <a:gd name="connsiteX3" fmla="*/ 977900 w 2747963"/>
                <a:gd name="connsiteY3" fmla="*/ 927100 h 1881187"/>
                <a:gd name="connsiteX4" fmla="*/ 977900 w 2747963"/>
                <a:gd name="connsiteY4" fmla="*/ 1209675 h 1881187"/>
                <a:gd name="connsiteX5" fmla="*/ 1362075 w 2747963"/>
                <a:gd name="connsiteY5" fmla="*/ 1209675 h 1881187"/>
                <a:gd name="connsiteX6" fmla="*/ 1362075 w 2747963"/>
                <a:gd name="connsiteY6" fmla="*/ 927100 h 1881187"/>
                <a:gd name="connsiteX7" fmla="*/ 522288 w 2747963"/>
                <a:gd name="connsiteY7" fmla="*/ 927100 h 1881187"/>
                <a:gd name="connsiteX8" fmla="*/ 522288 w 2747963"/>
                <a:gd name="connsiteY8" fmla="*/ 1209675 h 1881187"/>
                <a:gd name="connsiteX9" fmla="*/ 911226 w 2747963"/>
                <a:gd name="connsiteY9" fmla="*/ 1209675 h 1881187"/>
                <a:gd name="connsiteX10" fmla="*/ 911226 w 2747963"/>
                <a:gd name="connsiteY10" fmla="*/ 927100 h 1881187"/>
                <a:gd name="connsiteX11" fmla="*/ 1987283 w 2747963"/>
                <a:gd name="connsiteY11" fmla="*/ 836612 h 1881187"/>
                <a:gd name="connsiteX12" fmla="*/ 1656127 w 2747963"/>
                <a:gd name="connsiteY12" fmla="*/ 923365 h 1881187"/>
                <a:gd name="connsiteX13" fmla="*/ 1430338 w 2747963"/>
                <a:gd name="connsiteY13" fmla="*/ 1206253 h 1881187"/>
                <a:gd name="connsiteX14" fmla="*/ 1430338 w 2747963"/>
                <a:gd name="connsiteY14" fmla="*/ 1809749 h 1881187"/>
                <a:gd name="connsiteX15" fmla="*/ 1641074 w 2747963"/>
                <a:gd name="connsiteY15" fmla="*/ 1809749 h 1881187"/>
                <a:gd name="connsiteX16" fmla="*/ 1641074 w 2747963"/>
                <a:gd name="connsiteY16" fmla="*/ 1387302 h 1881187"/>
                <a:gd name="connsiteX17" fmla="*/ 1674942 w 2747963"/>
                <a:gd name="connsiteY17" fmla="*/ 1353356 h 1881187"/>
                <a:gd name="connsiteX18" fmla="*/ 1708810 w 2747963"/>
                <a:gd name="connsiteY18" fmla="*/ 1387302 h 1881187"/>
                <a:gd name="connsiteX19" fmla="*/ 1708810 w 2747963"/>
                <a:gd name="connsiteY19" fmla="*/ 1809749 h 1881187"/>
                <a:gd name="connsiteX20" fmla="*/ 2401229 w 2747963"/>
                <a:gd name="connsiteY20" fmla="*/ 1809749 h 1881187"/>
                <a:gd name="connsiteX21" fmla="*/ 2401229 w 2747963"/>
                <a:gd name="connsiteY21" fmla="*/ 1387302 h 1881187"/>
                <a:gd name="connsiteX22" fmla="*/ 2438860 w 2747963"/>
                <a:gd name="connsiteY22" fmla="*/ 1353356 h 1881187"/>
                <a:gd name="connsiteX23" fmla="*/ 2472728 w 2747963"/>
                <a:gd name="connsiteY23" fmla="*/ 1387302 h 1881187"/>
                <a:gd name="connsiteX24" fmla="*/ 2472728 w 2747963"/>
                <a:gd name="connsiteY24" fmla="*/ 1809749 h 1881187"/>
                <a:gd name="connsiteX25" fmla="*/ 2679701 w 2747963"/>
                <a:gd name="connsiteY25" fmla="*/ 1809749 h 1881187"/>
                <a:gd name="connsiteX26" fmla="*/ 2679701 w 2747963"/>
                <a:gd name="connsiteY26" fmla="*/ 1210025 h 1881187"/>
                <a:gd name="connsiteX27" fmla="*/ 2453913 w 2747963"/>
                <a:gd name="connsiteY27" fmla="*/ 923365 h 1881187"/>
                <a:gd name="connsiteX28" fmla="*/ 2122756 w 2747963"/>
                <a:gd name="connsiteY28" fmla="*/ 836612 h 1881187"/>
                <a:gd name="connsiteX29" fmla="*/ 2179203 w 2747963"/>
                <a:gd name="connsiteY29" fmla="*/ 1568351 h 1881187"/>
                <a:gd name="connsiteX30" fmla="*/ 2167914 w 2747963"/>
                <a:gd name="connsiteY30" fmla="*/ 1598526 h 1881187"/>
                <a:gd name="connsiteX31" fmla="*/ 2081361 w 2747963"/>
                <a:gd name="connsiteY31" fmla="*/ 1685278 h 1881187"/>
                <a:gd name="connsiteX32" fmla="*/ 2055019 w 2747963"/>
                <a:gd name="connsiteY32" fmla="*/ 1696594 h 1881187"/>
                <a:gd name="connsiteX33" fmla="*/ 2032441 w 2747963"/>
                <a:gd name="connsiteY33" fmla="*/ 1685278 h 1881187"/>
                <a:gd name="connsiteX34" fmla="*/ 1942125 w 2747963"/>
                <a:gd name="connsiteY34" fmla="*/ 1598526 h 1881187"/>
                <a:gd name="connsiteX35" fmla="*/ 1934599 w 2747963"/>
                <a:gd name="connsiteY35" fmla="*/ 1568351 h 1881187"/>
                <a:gd name="connsiteX36" fmla="*/ 1987283 w 2747963"/>
                <a:gd name="connsiteY36" fmla="*/ 836612 h 1881187"/>
                <a:gd name="connsiteX37" fmla="*/ 66675 w 2747963"/>
                <a:gd name="connsiteY37" fmla="*/ 561975 h 1881187"/>
                <a:gd name="connsiteX38" fmla="*/ 66675 w 2747963"/>
                <a:gd name="connsiteY38" fmla="*/ 1514765 h 1881187"/>
                <a:gd name="connsiteX39" fmla="*/ 149539 w 2747963"/>
                <a:gd name="connsiteY39" fmla="*/ 1593850 h 1881187"/>
                <a:gd name="connsiteX40" fmla="*/ 1362369 w 2747963"/>
                <a:gd name="connsiteY40" fmla="*/ 1593850 h 1881187"/>
                <a:gd name="connsiteX41" fmla="*/ 1362369 w 2747963"/>
                <a:gd name="connsiteY41" fmla="*/ 1281275 h 1881187"/>
                <a:gd name="connsiteX42" fmla="*/ 978181 w 2747963"/>
                <a:gd name="connsiteY42" fmla="*/ 1281275 h 1881187"/>
                <a:gd name="connsiteX43" fmla="*/ 978181 w 2747963"/>
                <a:gd name="connsiteY43" fmla="*/ 1462041 h 1881187"/>
                <a:gd name="connsiteX44" fmla="*/ 944282 w 2747963"/>
                <a:gd name="connsiteY44" fmla="*/ 1499701 h 1881187"/>
                <a:gd name="connsiteX45" fmla="*/ 910383 w 2747963"/>
                <a:gd name="connsiteY45" fmla="*/ 1462041 h 1881187"/>
                <a:gd name="connsiteX46" fmla="*/ 910383 w 2747963"/>
                <a:gd name="connsiteY46" fmla="*/ 1281275 h 1881187"/>
                <a:gd name="connsiteX47" fmla="*/ 522428 w 2747963"/>
                <a:gd name="connsiteY47" fmla="*/ 1281275 h 1881187"/>
                <a:gd name="connsiteX48" fmla="*/ 522428 w 2747963"/>
                <a:gd name="connsiteY48" fmla="*/ 1462041 h 1881187"/>
                <a:gd name="connsiteX49" fmla="*/ 488529 w 2747963"/>
                <a:gd name="connsiteY49" fmla="*/ 1499701 h 1881187"/>
                <a:gd name="connsiteX50" fmla="*/ 450863 w 2747963"/>
                <a:gd name="connsiteY50" fmla="*/ 1462041 h 1881187"/>
                <a:gd name="connsiteX51" fmla="*/ 450863 w 2747963"/>
                <a:gd name="connsiteY51" fmla="*/ 1281275 h 1881187"/>
                <a:gd name="connsiteX52" fmla="*/ 224870 w 2747963"/>
                <a:gd name="connsiteY52" fmla="*/ 1281275 h 1881187"/>
                <a:gd name="connsiteX53" fmla="*/ 190971 w 2747963"/>
                <a:gd name="connsiteY53" fmla="*/ 1243615 h 1881187"/>
                <a:gd name="connsiteX54" fmla="*/ 224870 w 2747963"/>
                <a:gd name="connsiteY54" fmla="*/ 1209722 h 1881187"/>
                <a:gd name="connsiteX55" fmla="*/ 450863 w 2747963"/>
                <a:gd name="connsiteY55" fmla="*/ 1209722 h 1881187"/>
                <a:gd name="connsiteX56" fmla="*/ 450863 w 2747963"/>
                <a:gd name="connsiteY56" fmla="*/ 927274 h 1881187"/>
                <a:gd name="connsiteX57" fmla="*/ 224870 w 2747963"/>
                <a:gd name="connsiteY57" fmla="*/ 927274 h 1881187"/>
                <a:gd name="connsiteX58" fmla="*/ 190971 w 2747963"/>
                <a:gd name="connsiteY58" fmla="*/ 893380 h 1881187"/>
                <a:gd name="connsiteX59" fmla="*/ 224870 w 2747963"/>
                <a:gd name="connsiteY59" fmla="*/ 859487 h 1881187"/>
                <a:gd name="connsiteX60" fmla="*/ 450863 w 2747963"/>
                <a:gd name="connsiteY60" fmla="*/ 859487 h 1881187"/>
                <a:gd name="connsiteX61" fmla="*/ 450863 w 2747963"/>
                <a:gd name="connsiteY61" fmla="*/ 693784 h 1881187"/>
                <a:gd name="connsiteX62" fmla="*/ 488529 w 2747963"/>
                <a:gd name="connsiteY62" fmla="*/ 659890 h 1881187"/>
                <a:gd name="connsiteX63" fmla="*/ 522428 w 2747963"/>
                <a:gd name="connsiteY63" fmla="*/ 693784 h 1881187"/>
                <a:gd name="connsiteX64" fmla="*/ 522428 w 2747963"/>
                <a:gd name="connsiteY64" fmla="*/ 859487 h 1881187"/>
                <a:gd name="connsiteX65" fmla="*/ 910383 w 2747963"/>
                <a:gd name="connsiteY65" fmla="*/ 859487 h 1881187"/>
                <a:gd name="connsiteX66" fmla="*/ 910383 w 2747963"/>
                <a:gd name="connsiteY66" fmla="*/ 693784 h 1881187"/>
                <a:gd name="connsiteX67" fmla="*/ 944282 w 2747963"/>
                <a:gd name="connsiteY67" fmla="*/ 659890 h 1881187"/>
                <a:gd name="connsiteX68" fmla="*/ 978181 w 2747963"/>
                <a:gd name="connsiteY68" fmla="*/ 693784 h 1881187"/>
                <a:gd name="connsiteX69" fmla="*/ 978181 w 2747963"/>
                <a:gd name="connsiteY69" fmla="*/ 859487 h 1881187"/>
                <a:gd name="connsiteX70" fmla="*/ 1362369 w 2747963"/>
                <a:gd name="connsiteY70" fmla="*/ 859487 h 1881187"/>
                <a:gd name="connsiteX71" fmla="*/ 1362369 w 2747963"/>
                <a:gd name="connsiteY71" fmla="*/ 701316 h 1881187"/>
                <a:gd name="connsiteX72" fmla="*/ 1396269 w 2747963"/>
                <a:gd name="connsiteY72" fmla="*/ 663656 h 1881187"/>
                <a:gd name="connsiteX73" fmla="*/ 1433934 w 2747963"/>
                <a:gd name="connsiteY73" fmla="*/ 701316 h 1881187"/>
                <a:gd name="connsiteX74" fmla="*/ 1433934 w 2747963"/>
                <a:gd name="connsiteY74" fmla="*/ 859487 h 1881187"/>
                <a:gd name="connsiteX75" fmla="*/ 1629795 w 2747963"/>
                <a:gd name="connsiteY75" fmla="*/ 859487 h 1881187"/>
                <a:gd name="connsiteX76" fmla="*/ 1855788 w 2747963"/>
                <a:gd name="connsiteY76" fmla="*/ 780401 h 1881187"/>
                <a:gd name="connsiteX77" fmla="*/ 1667460 w 2747963"/>
                <a:gd name="connsiteY77" fmla="*/ 561975 h 1881187"/>
                <a:gd name="connsiteX78" fmla="*/ 66675 w 2747963"/>
                <a:gd name="connsiteY78" fmla="*/ 561975 h 1881187"/>
                <a:gd name="connsiteX79" fmla="*/ 1904206 w 2747963"/>
                <a:gd name="connsiteY79" fmla="*/ 233362 h 1881187"/>
                <a:gd name="connsiteX80" fmla="*/ 1719461 w 2747963"/>
                <a:gd name="connsiteY80" fmla="*/ 335198 h 1881187"/>
                <a:gd name="connsiteX81" fmla="*/ 1708150 w 2747963"/>
                <a:gd name="connsiteY81" fmla="*/ 418176 h 1881187"/>
                <a:gd name="connsiteX82" fmla="*/ 2055019 w 2747963"/>
                <a:gd name="connsiteY82" fmla="*/ 765174 h 1881187"/>
                <a:gd name="connsiteX83" fmla="*/ 2401888 w 2747963"/>
                <a:gd name="connsiteY83" fmla="*/ 418176 h 1881187"/>
                <a:gd name="connsiteX84" fmla="*/ 2386807 w 2747963"/>
                <a:gd name="connsiteY84" fmla="*/ 316340 h 1881187"/>
                <a:gd name="connsiteX85" fmla="*/ 1904206 w 2747963"/>
                <a:gd name="connsiteY85" fmla="*/ 233362 h 1881187"/>
                <a:gd name="connsiteX86" fmla="*/ 2055326 w 2747963"/>
                <a:gd name="connsiteY86" fmla="*/ 0 h 1881187"/>
                <a:gd name="connsiteX87" fmla="*/ 2473167 w 2747963"/>
                <a:gd name="connsiteY87" fmla="*/ 418460 h 1881187"/>
                <a:gd name="connsiteX88" fmla="*/ 2254835 w 2747963"/>
                <a:gd name="connsiteY88" fmla="*/ 780372 h 1881187"/>
                <a:gd name="connsiteX89" fmla="*/ 2488224 w 2747963"/>
                <a:gd name="connsiteY89" fmla="*/ 859541 h 1881187"/>
                <a:gd name="connsiteX90" fmla="*/ 2747963 w 2747963"/>
                <a:gd name="connsiteY90" fmla="*/ 1210143 h 1881187"/>
                <a:gd name="connsiteX91" fmla="*/ 2747963 w 2747963"/>
                <a:gd name="connsiteY91" fmla="*/ 1847258 h 1881187"/>
                <a:gd name="connsiteX92" fmla="*/ 2714084 w 2747963"/>
                <a:gd name="connsiteY92" fmla="*/ 1881187 h 1881187"/>
                <a:gd name="connsiteX93" fmla="*/ 1396567 w 2747963"/>
                <a:gd name="connsiteY93" fmla="*/ 1881187 h 1881187"/>
                <a:gd name="connsiteX94" fmla="*/ 1362689 w 2747963"/>
                <a:gd name="connsiteY94" fmla="*/ 1847258 h 1881187"/>
                <a:gd name="connsiteX95" fmla="*/ 1362689 w 2747963"/>
                <a:gd name="connsiteY95" fmla="*/ 1662532 h 1881187"/>
                <a:gd name="connsiteX96" fmla="*/ 150573 w 2747963"/>
                <a:gd name="connsiteY96" fmla="*/ 1662532 h 1881187"/>
                <a:gd name="connsiteX97" fmla="*/ 0 w 2747963"/>
                <a:gd name="connsiteY97" fmla="*/ 1515506 h 1881187"/>
                <a:gd name="connsiteX98" fmla="*/ 0 w 2747963"/>
                <a:gd name="connsiteY98" fmla="*/ 275203 h 1881187"/>
                <a:gd name="connsiteX99" fmla="*/ 33879 w 2747963"/>
                <a:gd name="connsiteY99" fmla="*/ 241274 h 1881187"/>
                <a:gd name="connsiteX100" fmla="*/ 511949 w 2747963"/>
                <a:gd name="connsiteY100" fmla="*/ 241274 h 1881187"/>
                <a:gd name="connsiteX101" fmla="*/ 511949 w 2747963"/>
                <a:gd name="connsiteY101" fmla="*/ 90478 h 1881187"/>
                <a:gd name="connsiteX102" fmla="*/ 545828 w 2747963"/>
                <a:gd name="connsiteY102" fmla="*/ 56548 h 1881187"/>
                <a:gd name="connsiteX103" fmla="*/ 579707 w 2747963"/>
                <a:gd name="connsiteY103" fmla="*/ 90478 h 1881187"/>
                <a:gd name="connsiteX104" fmla="*/ 579707 w 2747963"/>
                <a:gd name="connsiteY104" fmla="*/ 241274 h 1881187"/>
                <a:gd name="connsiteX105" fmla="*/ 1309988 w 2747963"/>
                <a:gd name="connsiteY105" fmla="*/ 241274 h 1881187"/>
                <a:gd name="connsiteX106" fmla="*/ 1309988 w 2747963"/>
                <a:gd name="connsiteY106" fmla="*/ 90478 h 1881187"/>
                <a:gd name="connsiteX107" fmla="*/ 1343867 w 2747963"/>
                <a:gd name="connsiteY107" fmla="*/ 56548 h 1881187"/>
                <a:gd name="connsiteX108" fmla="*/ 1377746 w 2747963"/>
                <a:gd name="connsiteY108" fmla="*/ 90478 h 1881187"/>
                <a:gd name="connsiteX109" fmla="*/ 1377746 w 2747963"/>
                <a:gd name="connsiteY109" fmla="*/ 241274 h 1881187"/>
                <a:gd name="connsiteX110" fmla="*/ 1678893 w 2747963"/>
                <a:gd name="connsiteY110" fmla="*/ 241274 h 1881187"/>
                <a:gd name="connsiteX111" fmla="*/ 2055326 w 2747963"/>
                <a:gd name="connsiteY111" fmla="*/ 0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2747963" h="1881187">
                  <a:moveTo>
                    <a:pt x="1433513" y="927100"/>
                  </a:moveTo>
                  <a:cubicBezTo>
                    <a:pt x="1433513" y="927100"/>
                    <a:pt x="1433513" y="927100"/>
                    <a:pt x="1433513" y="1017587"/>
                  </a:cubicBezTo>
                  <a:cubicBezTo>
                    <a:pt x="1460087" y="979884"/>
                    <a:pt x="1490456" y="953492"/>
                    <a:pt x="1520826" y="927100"/>
                  </a:cubicBezTo>
                  <a:close/>
                  <a:moveTo>
                    <a:pt x="977900" y="927100"/>
                  </a:moveTo>
                  <a:lnTo>
                    <a:pt x="977900" y="1209675"/>
                  </a:lnTo>
                  <a:lnTo>
                    <a:pt x="1362075" y="1209675"/>
                  </a:lnTo>
                  <a:lnTo>
                    <a:pt x="1362075" y="927100"/>
                  </a:lnTo>
                  <a:close/>
                  <a:moveTo>
                    <a:pt x="522288" y="927100"/>
                  </a:moveTo>
                  <a:lnTo>
                    <a:pt x="522288" y="1209675"/>
                  </a:lnTo>
                  <a:lnTo>
                    <a:pt x="911226" y="1209675"/>
                  </a:lnTo>
                  <a:lnTo>
                    <a:pt x="911226" y="927100"/>
                  </a:lnTo>
                  <a:close/>
                  <a:moveTo>
                    <a:pt x="1987283" y="836612"/>
                  </a:moveTo>
                  <a:cubicBezTo>
                    <a:pt x="1859336" y="840384"/>
                    <a:pt x="1757731" y="870559"/>
                    <a:pt x="1656127" y="923365"/>
                  </a:cubicBezTo>
                  <a:cubicBezTo>
                    <a:pt x="1573337" y="968627"/>
                    <a:pt x="1430338" y="1062923"/>
                    <a:pt x="1430338" y="1206253"/>
                  </a:cubicBezTo>
                  <a:cubicBezTo>
                    <a:pt x="1430338" y="1206253"/>
                    <a:pt x="1430338" y="1206253"/>
                    <a:pt x="1430338" y="1809749"/>
                  </a:cubicBezTo>
                  <a:cubicBezTo>
                    <a:pt x="1430338" y="1809749"/>
                    <a:pt x="1430338" y="1809749"/>
                    <a:pt x="1641074" y="1809749"/>
                  </a:cubicBezTo>
                  <a:cubicBezTo>
                    <a:pt x="1641074" y="1809749"/>
                    <a:pt x="1641074" y="1809749"/>
                    <a:pt x="1641074" y="1387302"/>
                  </a:cubicBezTo>
                  <a:cubicBezTo>
                    <a:pt x="1641074" y="1368443"/>
                    <a:pt x="1656127" y="1353356"/>
                    <a:pt x="1674942" y="1353356"/>
                  </a:cubicBezTo>
                  <a:cubicBezTo>
                    <a:pt x="1693758" y="1353356"/>
                    <a:pt x="1708810" y="1368443"/>
                    <a:pt x="1708810" y="1387302"/>
                  </a:cubicBezTo>
                  <a:cubicBezTo>
                    <a:pt x="1708810" y="1387302"/>
                    <a:pt x="1708810" y="1387302"/>
                    <a:pt x="1708810" y="1809749"/>
                  </a:cubicBezTo>
                  <a:cubicBezTo>
                    <a:pt x="1708810" y="1809749"/>
                    <a:pt x="1708810" y="1809749"/>
                    <a:pt x="2401229" y="1809749"/>
                  </a:cubicBezTo>
                  <a:cubicBezTo>
                    <a:pt x="2401229" y="1809749"/>
                    <a:pt x="2401229" y="1809749"/>
                    <a:pt x="2401229" y="1387302"/>
                  </a:cubicBezTo>
                  <a:cubicBezTo>
                    <a:pt x="2401229" y="1368443"/>
                    <a:pt x="2416281" y="1353356"/>
                    <a:pt x="2438860" y="1353356"/>
                  </a:cubicBezTo>
                  <a:cubicBezTo>
                    <a:pt x="2457676" y="1353356"/>
                    <a:pt x="2472728" y="1368443"/>
                    <a:pt x="2472728" y="1387302"/>
                  </a:cubicBezTo>
                  <a:cubicBezTo>
                    <a:pt x="2472728" y="1387302"/>
                    <a:pt x="2472728" y="1387302"/>
                    <a:pt x="2472728" y="1809749"/>
                  </a:cubicBezTo>
                  <a:cubicBezTo>
                    <a:pt x="2472728" y="1809749"/>
                    <a:pt x="2472728" y="1809749"/>
                    <a:pt x="2679701" y="1809749"/>
                  </a:cubicBezTo>
                  <a:lnTo>
                    <a:pt x="2679701" y="1210025"/>
                  </a:lnTo>
                  <a:cubicBezTo>
                    <a:pt x="2679701" y="1055379"/>
                    <a:pt x="2506597" y="949768"/>
                    <a:pt x="2453913" y="923365"/>
                  </a:cubicBezTo>
                  <a:cubicBezTo>
                    <a:pt x="2356071" y="870559"/>
                    <a:pt x="2254466" y="840384"/>
                    <a:pt x="2122756" y="836612"/>
                  </a:cubicBezTo>
                  <a:cubicBezTo>
                    <a:pt x="2122756" y="836612"/>
                    <a:pt x="2122756" y="836612"/>
                    <a:pt x="2179203" y="1568351"/>
                  </a:cubicBezTo>
                  <a:cubicBezTo>
                    <a:pt x="2179203" y="1579666"/>
                    <a:pt x="2175440" y="1590982"/>
                    <a:pt x="2167914" y="1598526"/>
                  </a:cubicBezTo>
                  <a:cubicBezTo>
                    <a:pt x="2167914" y="1598526"/>
                    <a:pt x="2167914" y="1598526"/>
                    <a:pt x="2081361" y="1685278"/>
                  </a:cubicBezTo>
                  <a:cubicBezTo>
                    <a:pt x="2073835" y="1692822"/>
                    <a:pt x="2066309" y="1696594"/>
                    <a:pt x="2055019" y="1696594"/>
                  </a:cubicBezTo>
                  <a:cubicBezTo>
                    <a:pt x="2047493" y="1696594"/>
                    <a:pt x="2036204" y="1692822"/>
                    <a:pt x="2032441" y="1685278"/>
                  </a:cubicBezTo>
                  <a:cubicBezTo>
                    <a:pt x="2032441" y="1685278"/>
                    <a:pt x="2032441" y="1685278"/>
                    <a:pt x="1942125" y="1598526"/>
                  </a:cubicBezTo>
                  <a:cubicBezTo>
                    <a:pt x="1934599" y="1590982"/>
                    <a:pt x="1930836" y="1579666"/>
                    <a:pt x="1934599" y="1568351"/>
                  </a:cubicBezTo>
                  <a:cubicBezTo>
                    <a:pt x="1934599" y="1568351"/>
                    <a:pt x="1934599" y="1568351"/>
                    <a:pt x="1987283" y="836612"/>
                  </a:cubicBezTo>
                  <a:close/>
                  <a:moveTo>
                    <a:pt x="66675" y="561975"/>
                  </a:moveTo>
                  <a:cubicBezTo>
                    <a:pt x="66675" y="561975"/>
                    <a:pt x="66675" y="561975"/>
                    <a:pt x="66675" y="1514765"/>
                  </a:cubicBezTo>
                  <a:cubicBezTo>
                    <a:pt x="66675" y="1556191"/>
                    <a:pt x="104341" y="1593850"/>
                    <a:pt x="149539" y="1593850"/>
                  </a:cubicBezTo>
                  <a:lnTo>
                    <a:pt x="1362369" y="1593850"/>
                  </a:lnTo>
                  <a:cubicBezTo>
                    <a:pt x="1362369" y="1593850"/>
                    <a:pt x="1362369" y="1593850"/>
                    <a:pt x="1362369" y="1281275"/>
                  </a:cubicBezTo>
                  <a:cubicBezTo>
                    <a:pt x="1362369" y="1281275"/>
                    <a:pt x="1362369" y="1281275"/>
                    <a:pt x="978181" y="1281275"/>
                  </a:cubicBezTo>
                  <a:cubicBezTo>
                    <a:pt x="978181" y="1281275"/>
                    <a:pt x="978181" y="1281275"/>
                    <a:pt x="978181" y="1462041"/>
                  </a:cubicBezTo>
                  <a:cubicBezTo>
                    <a:pt x="978181" y="1480871"/>
                    <a:pt x="963115" y="1499701"/>
                    <a:pt x="944282" y="1499701"/>
                  </a:cubicBezTo>
                  <a:cubicBezTo>
                    <a:pt x="925449" y="1499701"/>
                    <a:pt x="910383" y="1480871"/>
                    <a:pt x="910383" y="1462041"/>
                  </a:cubicBezTo>
                  <a:cubicBezTo>
                    <a:pt x="910383" y="1462041"/>
                    <a:pt x="910383" y="1462041"/>
                    <a:pt x="910383" y="1281275"/>
                  </a:cubicBezTo>
                  <a:cubicBezTo>
                    <a:pt x="910383" y="1281275"/>
                    <a:pt x="910383" y="1281275"/>
                    <a:pt x="522428" y="1281275"/>
                  </a:cubicBezTo>
                  <a:cubicBezTo>
                    <a:pt x="522428" y="1281275"/>
                    <a:pt x="522428" y="1281275"/>
                    <a:pt x="522428" y="1462041"/>
                  </a:cubicBezTo>
                  <a:cubicBezTo>
                    <a:pt x="522428" y="1480871"/>
                    <a:pt x="507362" y="1499701"/>
                    <a:pt x="488529" y="1499701"/>
                  </a:cubicBezTo>
                  <a:cubicBezTo>
                    <a:pt x="469696" y="1499701"/>
                    <a:pt x="450863" y="1480871"/>
                    <a:pt x="450863" y="1462041"/>
                  </a:cubicBezTo>
                  <a:cubicBezTo>
                    <a:pt x="450863" y="1462041"/>
                    <a:pt x="450863" y="1462041"/>
                    <a:pt x="450863" y="1281275"/>
                  </a:cubicBezTo>
                  <a:cubicBezTo>
                    <a:pt x="450863" y="1281275"/>
                    <a:pt x="450863" y="1281275"/>
                    <a:pt x="224870" y="1281275"/>
                  </a:cubicBezTo>
                  <a:cubicBezTo>
                    <a:pt x="206037" y="1281275"/>
                    <a:pt x="190971" y="1266211"/>
                    <a:pt x="190971" y="1243615"/>
                  </a:cubicBezTo>
                  <a:cubicBezTo>
                    <a:pt x="190971" y="1224785"/>
                    <a:pt x="206037" y="1209722"/>
                    <a:pt x="224870" y="1209722"/>
                  </a:cubicBezTo>
                  <a:cubicBezTo>
                    <a:pt x="224870" y="1209722"/>
                    <a:pt x="224870" y="1209722"/>
                    <a:pt x="450863" y="1209722"/>
                  </a:cubicBezTo>
                  <a:cubicBezTo>
                    <a:pt x="450863" y="1209722"/>
                    <a:pt x="450863" y="1209722"/>
                    <a:pt x="450863" y="927274"/>
                  </a:cubicBezTo>
                  <a:cubicBezTo>
                    <a:pt x="450863" y="927274"/>
                    <a:pt x="450863" y="927274"/>
                    <a:pt x="224870" y="927274"/>
                  </a:cubicBezTo>
                  <a:cubicBezTo>
                    <a:pt x="206037" y="927274"/>
                    <a:pt x="190971" y="912210"/>
                    <a:pt x="190971" y="893380"/>
                  </a:cubicBezTo>
                  <a:cubicBezTo>
                    <a:pt x="190971" y="874551"/>
                    <a:pt x="206037" y="859487"/>
                    <a:pt x="224870" y="859487"/>
                  </a:cubicBezTo>
                  <a:cubicBezTo>
                    <a:pt x="224870" y="859487"/>
                    <a:pt x="224870" y="859487"/>
                    <a:pt x="450863" y="859487"/>
                  </a:cubicBezTo>
                  <a:cubicBezTo>
                    <a:pt x="450863" y="859487"/>
                    <a:pt x="450863" y="859487"/>
                    <a:pt x="450863" y="693784"/>
                  </a:cubicBezTo>
                  <a:cubicBezTo>
                    <a:pt x="450863" y="674954"/>
                    <a:pt x="469696" y="659890"/>
                    <a:pt x="488529" y="659890"/>
                  </a:cubicBezTo>
                  <a:cubicBezTo>
                    <a:pt x="507362" y="659890"/>
                    <a:pt x="522428" y="674954"/>
                    <a:pt x="522428" y="693784"/>
                  </a:cubicBezTo>
                  <a:cubicBezTo>
                    <a:pt x="522428" y="693784"/>
                    <a:pt x="522428" y="693784"/>
                    <a:pt x="522428" y="859487"/>
                  </a:cubicBezTo>
                  <a:cubicBezTo>
                    <a:pt x="522428" y="859487"/>
                    <a:pt x="522428" y="859487"/>
                    <a:pt x="910383" y="859487"/>
                  </a:cubicBezTo>
                  <a:cubicBezTo>
                    <a:pt x="910383" y="859487"/>
                    <a:pt x="910383" y="859487"/>
                    <a:pt x="910383" y="693784"/>
                  </a:cubicBezTo>
                  <a:cubicBezTo>
                    <a:pt x="910383" y="674954"/>
                    <a:pt x="925449" y="659890"/>
                    <a:pt x="944282" y="659890"/>
                  </a:cubicBezTo>
                  <a:cubicBezTo>
                    <a:pt x="963115" y="659890"/>
                    <a:pt x="978181" y="674954"/>
                    <a:pt x="978181" y="693784"/>
                  </a:cubicBezTo>
                  <a:cubicBezTo>
                    <a:pt x="978181" y="693784"/>
                    <a:pt x="978181" y="693784"/>
                    <a:pt x="978181" y="859487"/>
                  </a:cubicBezTo>
                  <a:cubicBezTo>
                    <a:pt x="978181" y="859487"/>
                    <a:pt x="978181" y="859487"/>
                    <a:pt x="1362369" y="859487"/>
                  </a:cubicBezTo>
                  <a:cubicBezTo>
                    <a:pt x="1362369" y="859487"/>
                    <a:pt x="1362369" y="859487"/>
                    <a:pt x="1362369" y="701316"/>
                  </a:cubicBezTo>
                  <a:cubicBezTo>
                    <a:pt x="1362369" y="678720"/>
                    <a:pt x="1377436" y="663656"/>
                    <a:pt x="1396269" y="663656"/>
                  </a:cubicBezTo>
                  <a:cubicBezTo>
                    <a:pt x="1418868" y="663656"/>
                    <a:pt x="1433934" y="678720"/>
                    <a:pt x="1433934" y="701316"/>
                  </a:cubicBezTo>
                  <a:cubicBezTo>
                    <a:pt x="1433934" y="701316"/>
                    <a:pt x="1433934" y="701316"/>
                    <a:pt x="1433934" y="859487"/>
                  </a:cubicBezTo>
                  <a:cubicBezTo>
                    <a:pt x="1433934" y="859487"/>
                    <a:pt x="1433934" y="859487"/>
                    <a:pt x="1629795" y="859487"/>
                  </a:cubicBezTo>
                  <a:cubicBezTo>
                    <a:pt x="1701359" y="821826"/>
                    <a:pt x="1772924" y="795465"/>
                    <a:pt x="1855788" y="780401"/>
                  </a:cubicBezTo>
                  <a:cubicBezTo>
                    <a:pt x="1769157" y="735209"/>
                    <a:pt x="1701359" y="656124"/>
                    <a:pt x="1667460" y="561975"/>
                  </a:cubicBezTo>
                  <a:cubicBezTo>
                    <a:pt x="1667460" y="561975"/>
                    <a:pt x="1667460" y="561975"/>
                    <a:pt x="66675" y="561975"/>
                  </a:cubicBezTo>
                  <a:close/>
                  <a:moveTo>
                    <a:pt x="1904206" y="233362"/>
                  </a:moveTo>
                  <a:cubicBezTo>
                    <a:pt x="1904206" y="233362"/>
                    <a:pt x="1904206" y="233362"/>
                    <a:pt x="1719461" y="335198"/>
                  </a:cubicBezTo>
                  <a:cubicBezTo>
                    <a:pt x="1711920" y="361600"/>
                    <a:pt x="1708150" y="388002"/>
                    <a:pt x="1708150" y="418176"/>
                  </a:cubicBezTo>
                  <a:cubicBezTo>
                    <a:pt x="1708150" y="606762"/>
                    <a:pt x="1862733" y="765174"/>
                    <a:pt x="2055019" y="765174"/>
                  </a:cubicBezTo>
                  <a:cubicBezTo>
                    <a:pt x="2247305" y="765174"/>
                    <a:pt x="2401888" y="606762"/>
                    <a:pt x="2401888" y="418176"/>
                  </a:cubicBezTo>
                  <a:cubicBezTo>
                    <a:pt x="2401888" y="380459"/>
                    <a:pt x="2398118" y="350285"/>
                    <a:pt x="2386807" y="316340"/>
                  </a:cubicBezTo>
                  <a:cubicBezTo>
                    <a:pt x="2386807" y="316340"/>
                    <a:pt x="2386807" y="316340"/>
                    <a:pt x="1904206" y="233362"/>
                  </a:cubicBezTo>
                  <a:close/>
                  <a:moveTo>
                    <a:pt x="2055326" y="0"/>
                  </a:moveTo>
                  <a:cubicBezTo>
                    <a:pt x="2284950" y="0"/>
                    <a:pt x="2473167" y="188495"/>
                    <a:pt x="2473167" y="418460"/>
                  </a:cubicBezTo>
                  <a:cubicBezTo>
                    <a:pt x="2473167" y="573027"/>
                    <a:pt x="2386587" y="708744"/>
                    <a:pt x="2254835" y="780372"/>
                  </a:cubicBezTo>
                  <a:cubicBezTo>
                    <a:pt x="2341415" y="795452"/>
                    <a:pt x="2412937" y="821841"/>
                    <a:pt x="2488224" y="859541"/>
                  </a:cubicBezTo>
                  <a:cubicBezTo>
                    <a:pt x="2567275" y="904780"/>
                    <a:pt x="2747963" y="1021647"/>
                    <a:pt x="2747963" y="1210143"/>
                  </a:cubicBezTo>
                  <a:cubicBezTo>
                    <a:pt x="2747963" y="1210143"/>
                    <a:pt x="2747963" y="1210143"/>
                    <a:pt x="2747963" y="1847258"/>
                  </a:cubicBezTo>
                  <a:cubicBezTo>
                    <a:pt x="2747963" y="1866108"/>
                    <a:pt x="2732906" y="1881187"/>
                    <a:pt x="2714084" y="1881187"/>
                  </a:cubicBezTo>
                  <a:cubicBezTo>
                    <a:pt x="2714084" y="1881187"/>
                    <a:pt x="2714084" y="1881187"/>
                    <a:pt x="1396567" y="1881187"/>
                  </a:cubicBezTo>
                  <a:cubicBezTo>
                    <a:pt x="1377746" y="1881187"/>
                    <a:pt x="1362689" y="1866108"/>
                    <a:pt x="1362689" y="1847258"/>
                  </a:cubicBezTo>
                  <a:cubicBezTo>
                    <a:pt x="1362689" y="1847258"/>
                    <a:pt x="1362689" y="1847258"/>
                    <a:pt x="1362689" y="1662532"/>
                  </a:cubicBezTo>
                  <a:cubicBezTo>
                    <a:pt x="1362689" y="1662532"/>
                    <a:pt x="1362689" y="1662532"/>
                    <a:pt x="150573" y="1662532"/>
                  </a:cubicBezTo>
                  <a:cubicBezTo>
                    <a:pt x="67758" y="1662532"/>
                    <a:pt x="0" y="1594674"/>
                    <a:pt x="0" y="1515506"/>
                  </a:cubicBezTo>
                  <a:cubicBezTo>
                    <a:pt x="0" y="1515506"/>
                    <a:pt x="0" y="1515506"/>
                    <a:pt x="0" y="275203"/>
                  </a:cubicBezTo>
                  <a:cubicBezTo>
                    <a:pt x="0" y="256354"/>
                    <a:pt x="15057" y="241274"/>
                    <a:pt x="33879" y="241274"/>
                  </a:cubicBezTo>
                  <a:cubicBezTo>
                    <a:pt x="33879" y="241274"/>
                    <a:pt x="33879" y="241274"/>
                    <a:pt x="511949" y="241274"/>
                  </a:cubicBezTo>
                  <a:cubicBezTo>
                    <a:pt x="511949" y="241274"/>
                    <a:pt x="511949" y="241274"/>
                    <a:pt x="511949" y="90478"/>
                  </a:cubicBezTo>
                  <a:cubicBezTo>
                    <a:pt x="511949" y="71628"/>
                    <a:pt x="527007" y="56548"/>
                    <a:pt x="545828" y="56548"/>
                  </a:cubicBezTo>
                  <a:cubicBezTo>
                    <a:pt x="564650" y="56548"/>
                    <a:pt x="579707" y="71628"/>
                    <a:pt x="579707" y="90478"/>
                  </a:cubicBezTo>
                  <a:cubicBezTo>
                    <a:pt x="579707" y="90478"/>
                    <a:pt x="579707" y="90478"/>
                    <a:pt x="579707" y="241274"/>
                  </a:cubicBezTo>
                  <a:cubicBezTo>
                    <a:pt x="579707" y="241274"/>
                    <a:pt x="579707" y="241274"/>
                    <a:pt x="1309988" y="241274"/>
                  </a:cubicBezTo>
                  <a:cubicBezTo>
                    <a:pt x="1309988" y="241274"/>
                    <a:pt x="1309988" y="241274"/>
                    <a:pt x="1309988" y="90478"/>
                  </a:cubicBezTo>
                  <a:cubicBezTo>
                    <a:pt x="1309988" y="71628"/>
                    <a:pt x="1325045" y="56548"/>
                    <a:pt x="1343867" y="56548"/>
                  </a:cubicBezTo>
                  <a:cubicBezTo>
                    <a:pt x="1362689" y="56548"/>
                    <a:pt x="1377746" y="71628"/>
                    <a:pt x="1377746" y="90478"/>
                  </a:cubicBezTo>
                  <a:cubicBezTo>
                    <a:pt x="1377746" y="90478"/>
                    <a:pt x="1377746" y="90478"/>
                    <a:pt x="1377746" y="241274"/>
                  </a:cubicBezTo>
                  <a:cubicBezTo>
                    <a:pt x="1377746" y="241274"/>
                    <a:pt x="1377746" y="241274"/>
                    <a:pt x="1678893" y="241274"/>
                  </a:cubicBezTo>
                  <a:cubicBezTo>
                    <a:pt x="1746651" y="98018"/>
                    <a:pt x="1889695" y="0"/>
                    <a:pt x="2055326"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da-DK" dirty="0"/>
            </a:p>
          </p:txBody>
        </p:sp>
      </p:grpSp>
      <p:grpSp>
        <p:nvGrpSpPr>
          <p:cNvPr id="3" name="Group 2"/>
          <p:cNvGrpSpPr/>
          <p:nvPr/>
        </p:nvGrpSpPr>
        <p:grpSpPr>
          <a:xfrm>
            <a:off x="465083" y="3017681"/>
            <a:ext cx="8043917" cy="1200329"/>
            <a:chOff x="465083" y="3017681"/>
            <a:chExt cx="8043917" cy="1200329"/>
          </a:xfrm>
        </p:grpSpPr>
        <p:sp>
          <p:nvSpPr>
            <p:cNvPr id="18" name="Rectangle 17"/>
            <p:cNvSpPr/>
            <p:nvPr/>
          </p:nvSpPr>
          <p:spPr>
            <a:xfrm>
              <a:off x="1526540" y="3017681"/>
              <a:ext cx="6982460" cy="1200329"/>
            </a:xfrm>
            <a:prstGeom prst="rect">
              <a:avLst/>
            </a:prstGeom>
          </p:spPr>
          <p:txBody>
            <a:bodyPr wrap="square">
              <a:spAutoFit/>
            </a:bodyPr>
            <a:lstStyle/>
            <a:p>
              <a:r>
                <a:rPr lang="en-US" dirty="0">
                  <a:solidFill>
                    <a:srgbClr val="003755"/>
                  </a:solidFill>
                  <a:latin typeface="Danske Human Medium Italic" panose="02000603050000020003" pitchFamily="2" charset="0"/>
                </a:rPr>
                <a:t>We exercise the right to vote at annual general meetings of Nordic and European companies where we represent relevant holdings. Unless required by special circumstances, holdings in passively managed funds are not subject to voting activities. </a:t>
              </a:r>
            </a:p>
          </p:txBody>
        </p:sp>
        <p:sp>
          <p:nvSpPr>
            <p:cNvPr id="30" name="Oval 29"/>
            <p:cNvSpPr/>
            <p:nvPr/>
          </p:nvSpPr>
          <p:spPr>
            <a:xfrm>
              <a:off x="465083" y="3284628"/>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chemeClr val="tx1"/>
                </a:solidFill>
              </a:endParaRPr>
            </a:p>
          </p:txBody>
        </p:sp>
        <p:sp>
          <p:nvSpPr>
            <p:cNvPr id="31" name="Rectangle 30"/>
            <p:cNvSpPr/>
            <p:nvPr/>
          </p:nvSpPr>
          <p:spPr>
            <a:xfrm>
              <a:off x="1315842" y="3378305"/>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rgbClr val="000000"/>
                </a:solidFill>
              </a:endParaRPr>
            </a:p>
          </p:txBody>
        </p:sp>
        <p:sp>
          <p:nvSpPr>
            <p:cNvPr id="33" name="Awareness"/>
            <p:cNvSpPr>
              <a:spLocks noChangeAspect="1"/>
            </p:cNvSpPr>
            <p:nvPr>
              <p:custDataLst>
                <p:tags r:id="rId3"/>
              </p:custDataLst>
            </p:nvPr>
          </p:nvSpPr>
          <p:spPr bwMode="auto">
            <a:xfrm>
              <a:off x="607346" y="3472088"/>
              <a:ext cx="431012" cy="291514"/>
            </a:xfrm>
            <a:custGeom>
              <a:avLst/>
              <a:gdLst>
                <a:gd name="connsiteX0" fmla="*/ 2107434 w 10141492"/>
                <a:gd name="connsiteY0" fmla="*/ 4469943 h 6859130"/>
                <a:gd name="connsiteX1" fmla="*/ 1930188 w 10141492"/>
                <a:gd name="connsiteY1" fmla="*/ 4981118 h 6859130"/>
                <a:gd name="connsiteX2" fmla="*/ 2839826 w 10141492"/>
                <a:gd name="connsiteY2" fmla="*/ 4469943 h 6859130"/>
                <a:gd name="connsiteX3" fmla="*/ 2107434 w 10141492"/>
                <a:gd name="connsiteY3" fmla="*/ 4469943 h 6859130"/>
                <a:gd name="connsiteX4" fmla="*/ 1073732 w 10141492"/>
                <a:gd name="connsiteY4" fmla="*/ 4469943 h 6859130"/>
                <a:gd name="connsiteX5" fmla="*/ 307764 w 10141492"/>
                <a:gd name="connsiteY5" fmla="*/ 6608306 h 6859130"/>
                <a:gd name="connsiteX6" fmla="*/ 1087112 w 10141492"/>
                <a:gd name="connsiteY6" fmla="*/ 6608306 h 6859130"/>
                <a:gd name="connsiteX7" fmla="*/ 1632320 w 10141492"/>
                <a:gd name="connsiteY7" fmla="*/ 5055567 h 6859130"/>
                <a:gd name="connsiteX8" fmla="*/ 1639010 w 10141492"/>
                <a:gd name="connsiteY8" fmla="*/ 5042181 h 6859130"/>
                <a:gd name="connsiteX9" fmla="*/ 1652390 w 10141492"/>
                <a:gd name="connsiteY9" fmla="*/ 5002024 h 6859130"/>
                <a:gd name="connsiteX10" fmla="*/ 1839700 w 10141492"/>
                <a:gd name="connsiteY10" fmla="*/ 4469943 h 6859130"/>
                <a:gd name="connsiteX11" fmla="*/ 1113870 w 10141492"/>
                <a:gd name="connsiteY11" fmla="*/ 4469943 h 6859130"/>
                <a:gd name="connsiteX12" fmla="*/ 1073732 w 10141492"/>
                <a:gd name="connsiteY12" fmla="*/ 4469943 h 6859130"/>
                <a:gd name="connsiteX13" fmla="*/ 253788 w 10141492"/>
                <a:gd name="connsiteY13" fmla="*/ 1698168 h 6859130"/>
                <a:gd name="connsiteX14" fmla="*/ 253788 w 10141492"/>
                <a:gd name="connsiteY14" fmla="*/ 4219118 h 6859130"/>
                <a:gd name="connsiteX15" fmla="*/ 3385926 w 10141492"/>
                <a:gd name="connsiteY15" fmla="*/ 4219118 h 6859130"/>
                <a:gd name="connsiteX16" fmla="*/ 3385926 w 10141492"/>
                <a:gd name="connsiteY16" fmla="*/ 1698168 h 6859130"/>
                <a:gd name="connsiteX17" fmla="*/ 8048216 w 10141492"/>
                <a:gd name="connsiteY17" fmla="*/ 1132259 h 6859130"/>
                <a:gd name="connsiteX18" fmla="*/ 8087116 w 10141492"/>
                <a:gd name="connsiteY18" fmla="*/ 1133645 h 6859130"/>
                <a:gd name="connsiteX19" fmla="*/ 8220392 w 10141492"/>
                <a:gd name="connsiteY19" fmla="*/ 1209793 h 6859130"/>
                <a:gd name="connsiteX20" fmla="*/ 8220392 w 10141492"/>
                <a:gd name="connsiteY20" fmla="*/ 4667423 h 6859130"/>
                <a:gd name="connsiteX21" fmla="*/ 8059960 w 10141492"/>
                <a:gd name="connsiteY21" fmla="*/ 4747755 h 6859130"/>
                <a:gd name="connsiteX22" fmla="*/ 7932950 w 10141492"/>
                <a:gd name="connsiteY22" fmla="*/ 4707589 h 6859130"/>
                <a:gd name="connsiteX23" fmla="*/ 7896184 w 10141492"/>
                <a:gd name="connsiteY23" fmla="*/ 4419732 h 6859130"/>
                <a:gd name="connsiteX24" fmla="*/ 7899528 w 10141492"/>
                <a:gd name="connsiteY24" fmla="*/ 1457484 h 6859130"/>
                <a:gd name="connsiteX25" fmla="*/ 7936294 w 10141492"/>
                <a:gd name="connsiteY25" fmla="*/ 1172974 h 6859130"/>
                <a:gd name="connsiteX26" fmla="*/ 8048216 w 10141492"/>
                <a:gd name="connsiteY26" fmla="*/ 1132259 h 6859130"/>
                <a:gd name="connsiteX27" fmla="*/ 9309194 w 10141492"/>
                <a:gd name="connsiteY27" fmla="*/ 635258 h 6859130"/>
                <a:gd name="connsiteX28" fmla="*/ 9347883 w 10141492"/>
                <a:gd name="connsiteY28" fmla="*/ 638513 h 6859130"/>
                <a:gd name="connsiteX29" fmla="*/ 9478336 w 10141492"/>
                <a:gd name="connsiteY29" fmla="*/ 721346 h 6859130"/>
                <a:gd name="connsiteX30" fmla="*/ 9495061 w 10141492"/>
                <a:gd name="connsiteY30" fmla="*/ 5001880 h 6859130"/>
                <a:gd name="connsiteX31" fmla="*/ 9324469 w 10141492"/>
                <a:gd name="connsiteY31" fmla="*/ 5092243 h 6859130"/>
                <a:gd name="connsiteX32" fmla="*/ 9210741 w 10141492"/>
                <a:gd name="connsiteY32" fmla="*/ 5058775 h 6859130"/>
                <a:gd name="connsiteX33" fmla="*/ 9157222 w 10141492"/>
                <a:gd name="connsiteY33" fmla="*/ 4774299 h 6859130"/>
                <a:gd name="connsiteX34" fmla="*/ 9143842 w 10141492"/>
                <a:gd name="connsiteY34" fmla="*/ 952274 h 6859130"/>
                <a:gd name="connsiteX35" fmla="*/ 9197361 w 10141492"/>
                <a:gd name="connsiteY35" fmla="*/ 671144 h 6859130"/>
                <a:gd name="connsiteX36" fmla="*/ 9309194 w 10141492"/>
                <a:gd name="connsiteY36" fmla="*/ 635258 h 6859130"/>
                <a:gd name="connsiteX37" fmla="*/ 6745076 w 10141492"/>
                <a:gd name="connsiteY37" fmla="*/ 321805 h 6859130"/>
                <a:gd name="connsiteX38" fmla="*/ 3927264 w 10141492"/>
                <a:gd name="connsiteY38" fmla="*/ 1617205 h 6859130"/>
                <a:gd name="connsiteX39" fmla="*/ 3927264 w 10141492"/>
                <a:gd name="connsiteY39" fmla="*/ 4298493 h 6859130"/>
                <a:gd name="connsiteX40" fmla="*/ 6745076 w 10141492"/>
                <a:gd name="connsiteY40" fmla="*/ 5593893 h 6859130"/>
                <a:gd name="connsiteX41" fmla="*/ 6881980 w 10141492"/>
                <a:gd name="connsiteY41" fmla="*/ 219 h 6859130"/>
                <a:gd name="connsiteX42" fmla="*/ 6942200 w 10141492"/>
                <a:gd name="connsiteY42" fmla="*/ 21555 h 6859130"/>
                <a:gd name="connsiteX43" fmla="*/ 6999076 w 10141492"/>
                <a:gd name="connsiteY43" fmla="*/ 125307 h 6859130"/>
                <a:gd name="connsiteX44" fmla="*/ 6999076 w 10141492"/>
                <a:gd name="connsiteY44" fmla="*/ 5788144 h 6859130"/>
                <a:gd name="connsiteX45" fmla="*/ 6942200 w 10141492"/>
                <a:gd name="connsiteY45" fmla="*/ 5895243 h 6859130"/>
                <a:gd name="connsiteX46" fmla="*/ 6871944 w 10141492"/>
                <a:gd name="connsiteY46" fmla="*/ 5915324 h 6859130"/>
                <a:gd name="connsiteX47" fmla="*/ 6821760 w 10141492"/>
                <a:gd name="connsiteY47" fmla="*/ 5905283 h 6859130"/>
                <a:gd name="connsiteX48" fmla="*/ 3830814 w 10141492"/>
                <a:gd name="connsiteY48" fmla="*/ 4533083 h 6859130"/>
                <a:gd name="connsiteX49" fmla="*/ 3656844 w 10141492"/>
                <a:gd name="connsiteY49" fmla="*/ 4603366 h 6859130"/>
                <a:gd name="connsiteX50" fmla="*/ 3429346 w 10141492"/>
                <a:gd name="connsiteY50" fmla="*/ 4469493 h 6859130"/>
                <a:gd name="connsiteX51" fmla="*/ 3111516 w 10141492"/>
                <a:gd name="connsiteY51" fmla="*/ 4469493 h 6859130"/>
                <a:gd name="connsiteX52" fmla="*/ 1866960 w 10141492"/>
                <a:gd name="connsiteY52" fmla="*/ 5235917 h 6859130"/>
                <a:gd name="connsiteX53" fmla="*/ 1836850 w 10141492"/>
                <a:gd name="connsiteY53" fmla="*/ 5235917 h 6859130"/>
                <a:gd name="connsiteX54" fmla="*/ 1298212 w 10141492"/>
                <a:gd name="connsiteY54" fmla="*/ 6775459 h 6859130"/>
                <a:gd name="connsiteX55" fmla="*/ 1177772 w 10141492"/>
                <a:gd name="connsiteY55" fmla="*/ 6859130 h 6859130"/>
                <a:gd name="connsiteX56" fmla="*/ 127262 w 10141492"/>
                <a:gd name="connsiteY56" fmla="*/ 6859130 h 6859130"/>
                <a:gd name="connsiteX57" fmla="*/ 23548 w 10141492"/>
                <a:gd name="connsiteY57" fmla="*/ 6805581 h 6859130"/>
                <a:gd name="connsiteX58" fmla="*/ 6820 w 10141492"/>
                <a:gd name="connsiteY58" fmla="*/ 6688442 h 6859130"/>
                <a:gd name="connsiteX59" fmla="*/ 806414 w 10141492"/>
                <a:gd name="connsiteY59" fmla="*/ 4469493 h 6859130"/>
                <a:gd name="connsiteX60" fmla="*/ 127262 w 10141492"/>
                <a:gd name="connsiteY60" fmla="*/ 4469493 h 6859130"/>
                <a:gd name="connsiteX61" fmla="*/ 130 w 10141492"/>
                <a:gd name="connsiteY61" fmla="*/ 4342313 h 6859130"/>
                <a:gd name="connsiteX62" fmla="*/ 130 w 10141492"/>
                <a:gd name="connsiteY62" fmla="*/ 1571138 h 6859130"/>
                <a:gd name="connsiteX63" fmla="*/ 127262 w 10141492"/>
                <a:gd name="connsiteY63" fmla="*/ 1447305 h 6859130"/>
                <a:gd name="connsiteX64" fmla="*/ 3419308 w 10141492"/>
                <a:gd name="connsiteY64" fmla="*/ 1447305 h 6859130"/>
                <a:gd name="connsiteX65" fmla="*/ 3656844 w 10141492"/>
                <a:gd name="connsiteY65" fmla="*/ 1300045 h 6859130"/>
                <a:gd name="connsiteX66" fmla="*/ 3844196 w 10141492"/>
                <a:gd name="connsiteY66" fmla="*/ 1377022 h 6859130"/>
                <a:gd name="connsiteX67" fmla="*/ 6821760 w 10141492"/>
                <a:gd name="connsiteY67" fmla="*/ 11515 h 6859130"/>
                <a:gd name="connsiteX68" fmla="*/ 6881980 w 10141492"/>
                <a:gd name="connsiteY68" fmla="*/ 219 h 6859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0141492" h="6859130">
                  <a:moveTo>
                    <a:pt x="2107434" y="4469943"/>
                  </a:moveTo>
                  <a:cubicBezTo>
                    <a:pt x="2107434" y="4469943"/>
                    <a:pt x="2107434" y="4469943"/>
                    <a:pt x="1930188" y="4981118"/>
                  </a:cubicBezTo>
                  <a:cubicBezTo>
                    <a:pt x="2274646" y="4957731"/>
                    <a:pt x="2696022" y="4737224"/>
                    <a:pt x="2839826" y="4469943"/>
                  </a:cubicBezTo>
                  <a:cubicBezTo>
                    <a:pt x="2839826" y="4469943"/>
                    <a:pt x="2839826" y="4469943"/>
                    <a:pt x="2107434" y="4469943"/>
                  </a:cubicBezTo>
                  <a:close/>
                  <a:moveTo>
                    <a:pt x="1073732" y="4469943"/>
                  </a:moveTo>
                  <a:cubicBezTo>
                    <a:pt x="1073732" y="4469943"/>
                    <a:pt x="1073732" y="4469943"/>
                    <a:pt x="307764" y="6608306"/>
                  </a:cubicBezTo>
                  <a:lnTo>
                    <a:pt x="1087112" y="6608306"/>
                  </a:lnTo>
                  <a:cubicBezTo>
                    <a:pt x="1087112" y="6608306"/>
                    <a:pt x="1087112" y="6608306"/>
                    <a:pt x="1632320" y="5055567"/>
                  </a:cubicBezTo>
                  <a:cubicBezTo>
                    <a:pt x="1632320" y="5052220"/>
                    <a:pt x="1635666" y="5048874"/>
                    <a:pt x="1639010" y="5042181"/>
                  </a:cubicBezTo>
                  <a:cubicBezTo>
                    <a:pt x="1639010" y="5042181"/>
                    <a:pt x="1639010" y="5042181"/>
                    <a:pt x="1652390" y="5002024"/>
                  </a:cubicBezTo>
                  <a:cubicBezTo>
                    <a:pt x="1652390" y="5002024"/>
                    <a:pt x="1652390" y="5002024"/>
                    <a:pt x="1839700" y="4469943"/>
                  </a:cubicBezTo>
                  <a:cubicBezTo>
                    <a:pt x="1839700" y="4469943"/>
                    <a:pt x="1839700" y="4469943"/>
                    <a:pt x="1113870" y="4469943"/>
                  </a:cubicBezTo>
                  <a:cubicBezTo>
                    <a:pt x="1113870" y="4469943"/>
                    <a:pt x="1113870" y="4469943"/>
                    <a:pt x="1073732" y="4469943"/>
                  </a:cubicBezTo>
                  <a:close/>
                  <a:moveTo>
                    <a:pt x="253788" y="1698168"/>
                  </a:moveTo>
                  <a:lnTo>
                    <a:pt x="253788" y="4219118"/>
                  </a:lnTo>
                  <a:lnTo>
                    <a:pt x="3385926" y="4219118"/>
                  </a:lnTo>
                  <a:lnTo>
                    <a:pt x="3385926" y="1698168"/>
                  </a:lnTo>
                  <a:close/>
                  <a:moveTo>
                    <a:pt x="8048216" y="1132259"/>
                  </a:moveTo>
                  <a:cubicBezTo>
                    <a:pt x="8061240" y="1131501"/>
                    <a:pt x="8074268" y="1131971"/>
                    <a:pt x="8087116" y="1133645"/>
                  </a:cubicBezTo>
                  <a:cubicBezTo>
                    <a:pt x="8138505" y="1140339"/>
                    <a:pt x="8186969" y="1166280"/>
                    <a:pt x="8220392" y="1209793"/>
                  </a:cubicBezTo>
                  <a:cubicBezTo>
                    <a:pt x="9002501" y="2230681"/>
                    <a:pt x="9002501" y="3649882"/>
                    <a:pt x="8220392" y="4667423"/>
                  </a:cubicBezTo>
                  <a:cubicBezTo>
                    <a:pt x="8180284" y="4720978"/>
                    <a:pt x="8120122" y="4747755"/>
                    <a:pt x="8059960" y="4747755"/>
                  </a:cubicBezTo>
                  <a:cubicBezTo>
                    <a:pt x="8016510" y="4747755"/>
                    <a:pt x="7973058" y="4734366"/>
                    <a:pt x="7932950" y="4707589"/>
                  </a:cubicBezTo>
                  <a:cubicBezTo>
                    <a:pt x="7846050" y="4637298"/>
                    <a:pt x="7829338" y="4510106"/>
                    <a:pt x="7896184" y="4419732"/>
                  </a:cubicBezTo>
                  <a:cubicBezTo>
                    <a:pt x="8567996" y="3549467"/>
                    <a:pt x="8567996" y="2331096"/>
                    <a:pt x="7899528" y="1457484"/>
                  </a:cubicBezTo>
                  <a:cubicBezTo>
                    <a:pt x="7829338" y="1370457"/>
                    <a:pt x="7846050" y="1243265"/>
                    <a:pt x="7936294" y="1172974"/>
                  </a:cubicBezTo>
                  <a:cubicBezTo>
                    <a:pt x="7970136" y="1147870"/>
                    <a:pt x="8009146" y="1134534"/>
                    <a:pt x="8048216" y="1132259"/>
                  </a:cubicBezTo>
                  <a:close/>
                  <a:moveTo>
                    <a:pt x="9309194" y="635258"/>
                  </a:moveTo>
                  <a:cubicBezTo>
                    <a:pt x="9322169" y="635114"/>
                    <a:pt x="9335131" y="636212"/>
                    <a:pt x="9347883" y="638513"/>
                  </a:cubicBezTo>
                  <a:cubicBezTo>
                    <a:pt x="9398893" y="647717"/>
                    <a:pt x="9446559" y="676165"/>
                    <a:pt x="9478336" y="721346"/>
                  </a:cubicBezTo>
                  <a:cubicBezTo>
                    <a:pt x="10358056" y="1999817"/>
                    <a:pt x="10361401" y="3720062"/>
                    <a:pt x="9495061" y="5001880"/>
                  </a:cubicBezTo>
                  <a:cubicBezTo>
                    <a:pt x="9454922" y="5062122"/>
                    <a:pt x="9391368" y="5092243"/>
                    <a:pt x="9324469" y="5092243"/>
                  </a:cubicBezTo>
                  <a:cubicBezTo>
                    <a:pt x="9287674" y="5092243"/>
                    <a:pt x="9247535" y="5082203"/>
                    <a:pt x="9210741" y="5058775"/>
                  </a:cubicBezTo>
                  <a:cubicBezTo>
                    <a:pt x="9120427" y="4995187"/>
                    <a:pt x="9093668" y="4868009"/>
                    <a:pt x="9157222" y="4774299"/>
                  </a:cubicBezTo>
                  <a:cubicBezTo>
                    <a:pt x="9933248" y="3629699"/>
                    <a:pt x="9926558" y="2093527"/>
                    <a:pt x="9143842" y="952274"/>
                  </a:cubicBezTo>
                  <a:cubicBezTo>
                    <a:pt x="9080288" y="861911"/>
                    <a:pt x="9103703" y="734733"/>
                    <a:pt x="9197361" y="671144"/>
                  </a:cubicBezTo>
                  <a:cubicBezTo>
                    <a:pt x="9231229" y="647299"/>
                    <a:pt x="9270270" y="635689"/>
                    <a:pt x="9309194" y="635258"/>
                  </a:cubicBezTo>
                  <a:close/>
                  <a:moveTo>
                    <a:pt x="6745076" y="321805"/>
                  </a:moveTo>
                  <a:lnTo>
                    <a:pt x="3927264" y="1617205"/>
                  </a:lnTo>
                  <a:lnTo>
                    <a:pt x="3927264" y="4298493"/>
                  </a:lnTo>
                  <a:lnTo>
                    <a:pt x="6745076" y="5593893"/>
                  </a:lnTo>
                  <a:close/>
                  <a:moveTo>
                    <a:pt x="6881980" y="219"/>
                  </a:moveTo>
                  <a:cubicBezTo>
                    <a:pt x="6902890" y="1474"/>
                    <a:pt x="6923800" y="8168"/>
                    <a:pt x="6942200" y="21555"/>
                  </a:cubicBezTo>
                  <a:cubicBezTo>
                    <a:pt x="6975656" y="41636"/>
                    <a:pt x="6999076" y="81798"/>
                    <a:pt x="6999076" y="125307"/>
                  </a:cubicBezTo>
                  <a:cubicBezTo>
                    <a:pt x="6999076" y="125307"/>
                    <a:pt x="6999076" y="125307"/>
                    <a:pt x="6999076" y="5788144"/>
                  </a:cubicBezTo>
                  <a:cubicBezTo>
                    <a:pt x="6999076" y="5831653"/>
                    <a:pt x="6975656" y="5871815"/>
                    <a:pt x="6942200" y="5895243"/>
                  </a:cubicBezTo>
                  <a:cubicBezTo>
                    <a:pt x="6918782" y="5908630"/>
                    <a:pt x="6895364" y="5915324"/>
                    <a:pt x="6871944" y="5915324"/>
                  </a:cubicBezTo>
                  <a:cubicBezTo>
                    <a:pt x="6855216" y="5915324"/>
                    <a:pt x="6838488" y="5911977"/>
                    <a:pt x="6821760" y="5905283"/>
                  </a:cubicBezTo>
                  <a:cubicBezTo>
                    <a:pt x="6821760" y="5905283"/>
                    <a:pt x="6821760" y="5905283"/>
                    <a:pt x="3830814" y="4533083"/>
                  </a:cubicBezTo>
                  <a:cubicBezTo>
                    <a:pt x="3783976" y="4576592"/>
                    <a:pt x="3723756" y="4603366"/>
                    <a:pt x="3656844" y="4603366"/>
                  </a:cubicBezTo>
                  <a:cubicBezTo>
                    <a:pt x="3556478" y="4603366"/>
                    <a:pt x="3476184" y="4549817"/>
                    <a:pt x="3429346" y="4469493"/>
                  </a:cubicBezTo>
                  <a:cubicBezTo>
                    <a:pt x="3429346" y="4469493"/>
                    <a:pt x="3429346" y="4469493"/>
                    <a:pt x="3111516" y="4469493"/>
                  </a:cubicBezTo>
                  <a:cubicBezTo>
                    <a:pt x="2964310" y="4934703"/>
                    <a:pt x="2295196" y="5235917"/>
                    <a:pt x="1866960" y="5235917"/>
                  </a:cubicBezTo>
                  <a:cubicBezTo>
                    <a:pt x="1866960" y="5235917"/>
                    <a:pt x="1866960" y="5235917"/>
                    <a:pt x="1836850" y="5235917"/>
                  </a:cubicBezTo>
                  <a:cubicBezTo>
                    <a:pt x="1836850" y="5235917"/>
                    <a:pt x="1836850" y="5235917"/>
                    <a:pt x="1298212" y="6775459"/>
                  </a:cubicBezTo>
                  <a:cubicBezTo>
                    <a:pt x="1278140" y="6825662"/>
                    <a:pt x="1231302" y="6859130"/>
                    <a:pt x="1177772" y="6859130"/>
                  </a:cubicBezTo>
                  <a:cubicBezTo>
                    <a:pt x="1177772" y="6859130"/>
                    <a:pt x="1177772" y="6859130"/>
                    <a:pt x="127262" y="6859130"/>
                  </a:cubicBezTo>
                  <a:cubicBezTo>
                    <a:pt x="87114" y="6859130"/>
                    <a:pt x="46968" y="6839049"/>
                    <a:pt x="23548" y="6805581"/>
                  </a:cubicBezTo>
                  <a:cubicBezTo>
                    <a:pt x="130" y="6772113"/>
                    <a:pt x="-6562" y="6728604"/>
                    <a:pt x="6820" y="6688442"/>
                  </a:cubicBezTo>
                  <a:cubicBezTo>
                    <a:pt x="6820" y="6688442"/>
                    <a:pt x="6820" y="6688442"/>
                    <a:pt x="806414" y="4469493"/>
                  </a:cubicBezTo>
                  <a:cubicBezTo>
                    <a:pt x="806414" y="4469493"/>
                    <a:pt x="806414" y="4469493"/>
                    <a:pt x="127262" y="4469493"/>
                  </a:cubicBezTo>
                  <a:cubicBezTo>
                    <a:pt x="57004" y="4469493"/>
                    <a:pt x="130" y="4412597"/>
                    <a:pt x="130" y="4342313"/>
                  </a:cubicBezTo>
                  <a:cubicBezTo>
                    <a:pt x="130" y="4342313"/>
                    <a:pt x="130" y="4342313"/>
                    <a:pt x="130" y="1571138"/>
                  </a:cubicBezTo>
                  <a:cubicBezTo>
                    <a:pt x="130" y="1500855"/>
                    <a:pt x="57004" y="1447305"/>
                    <a:pt x="127262" y="1447305"/>
                  </a:cubicBezTo>
                  <a:cubicBezTo>
                    <a:pt x="127262" y="1447305"/>
                    <a:pt x="127262" y="1447305"/>
                    <a:pt x="3419308" y="1447305"/>
                  </a:cubicBezTo>
                  <a:cubicBezTo>
                    <a:pt x="3466146" y="1360288"/>
                    <a:pt x="3553132" y="1300045"/>
                    <a:pt x="3656844" y="1300045"/>
                  </a:cubicBezTo>
                  <a:cubicBezTo>
                    <a:pt x="3727102" y="1300045"/>
                    <a:pt x="3794014" y="1330166"/>
                    <a:pt x="3844196" y="1377022"/>
                  </a:cubicBezTo>
                  <a:cubicBezTo>
                    <a:pt x="3844196" y="1377022"/>
                    <a:pt x="3844196" y="1377022"/>
                    <a:pt x="6821760" y="11515"/>
                  </a:cubicBezTo>
                  <a:cubicBezTo>
                    <a:pt x="6840162" y="3147"/>
                    <a:pt x="6861072" y="-1036"/>
                    <a:pt x="6881980" y="219"/>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da-DK" dirty="0">
                <a:latin typeface="Danske Text v2" panose="020B0503040502040204" pitchFamily="34" charset="0"/>
              </a:endParaRPr>
            </a:p>
          </p:txBody>
        </p:sp>
      </p:grpSp>
      <p:grpSp>
        <p:nvGrpSpPr>
          <p:cNvPr id="4" name="Group 3"/>
          <p:cNvGrpSpPr/>
          <p:nvPr/>
        </p:nvGrpSpPr>
        <p:grpSpPr>
          <a:xfrm>
            <a:off x="465083" y="4577114"/>
            <a:ext cx="8043917" cy="666434"/>
            <a:chOff x="465083" y="4577114"/>
            <a:chExt cx="8043917" cy="666434"/>
          </a:xfrm>
        </p:grpSpPr>
        <p:sp>
          <p:nvSpPr>
            <p:cNvPr id="26" name="Oval 25"/>
            <p:cNvSpPr/>
            <p:nvPr/>
          </p:nvSpPr>
          <p:spPr>
            <a:xfrm>
              <a:off x="465083" y="4577114"/>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chemeClr val="tx1"/>
                </a:solidFill>
              </a:endParaRPr>
            </a:p>
          </p:txBody>
        </p:sp>
        <p:sp>
          <p:nvSpPr>
            <p:cNvPr id="19" name="Rectangle 18"/>
            <p:cNvSpPr/>
            <p:nvPr/>
          </p:nvSpPr>
          <p:spPr>
            <a:xfrm>
              <a:off x="1526540" y="4587166"/>
              <a:ext cx="6982460" cy="646331"/>
            </a:xfrm>
            <a:prstGeom prst="rect">
              <a:avLst/>
            </a:prstGeom>
          </p:spPr>
          <p:txBody>
            <a:bodyPr wrap="square">
              <a:spAutoFit/>
            </a:bodyPr>
            <a:lstStyle/>
            <a:p>
              <a:r>
                <a:rPr lang="en-US" dirty="0">
                  <a:solidFill>
                    <a:srgbClr val="003755"/>
                  </a:solidFill>
                  <a:latin typeface="Danske Human Medium Italic" panose="02000603050000020003" pitchFamily="2" charset="0"/>
                </a:rPr>
                <a:t>We vote either by ourselves or through a service provider. </a:t>
              </a:r>
            </a:p>
            <a:p>
              <a:r>
                <a:rPr lang="en-US" dirty="0">
                  <a:solidFill>
                    <a:srgbClr val="003755"/>
                  </a:solidFill>
                  <a:latin typeface="Danske Human Medium Italic" panose="02000603050000020003" pitchFamily="2" charset="0"/>
                </a:rPr>
                <a:t>We log and publish our voting records.  </a:t>
              </a:r>
            </a:p>
          </p:txBody>
        </p:sp>
        <p:sp>
          <p:nvSpPr>
            <p:cNvPr id="27" name="Rectangle 26"/>
            <p:cNvSpPr/>
            <p:nvPr/>
          </p:nvSpPr>
          <p:spPr>
            <a:xfrm>
              <a:off x="1315842" y="4670791"/>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rgbClr val="000000"/>
                </a:solidFill>
              </a:endParaRPr>
            </a:p>
          </p:txBody>
        </p:sp>
        <p:sp>
          <p:nvSpPr>
            <p:cNvPr id="35" name="Shares"/>
            <p:cNvSpPr>
              <a:spLocks noChangeAspect="1"/>
            </p:cNvSpPr>
            <p:nvPr>
              <p:custDataLst>
                <p:tags r:id="rId2"/>
              </p:custDataLst>
            </p:nvPr>
          </p:nvSpPr>
          <p:spPr bwMode="auto">
            <a:xfrm>
              <a:off x="590551" y="4712284"/>
              <a:ext cx="432000" cy="396094"/>
            </a:xfrm>
            <a:custGeom>
              <a:avLst/>
              <a:gdLst>
                <a:gd name="connsiteX0" fmla="*/ 4322957 w 6073775"/>
                <a:gd name="connsiteY0" fmla="*/ 4411663 h 5568950"/>
                <a:gd name="connsiteX1" fmla="*/ 4116388 w 6073775"/>
                <a:gd name="connsiteY1" fmla="*/ 5119003 h 5568950"/>
                <a:gd name="connsiteX2" fmla="*/ 4356759 w 6073775"/>
                <a:gd name="connsiteY2" fmla="*/ 5017417 h 5568950"/>
                <a:gd name="connsiteX3" fmla="*/ 4390561 w 6073775"/>
                <a:gd name="connsiteY3" fmla="*/ 5009892 h 5568950"/>
                <a:gd name="connsiteX4" fmla="*/ 4469433 w 6073775"/>
                <a:gd name="connsiteY4" fmla="*/ 5051279 h 5568950"/>
                <a:gd name="connsiteX5" fmla="*/ 4615909 w 6073775"/>
                <a:gd name="connsiteY5" fmla="*/ 5265738 h 5568950"/>
                <a:gd name="connsiteX6" fmla="*/ 4732338 w 6073775"/>
                <a:gd name="connsiteY6" fmla="*/ 4863157 h 5568950"/>
                <a:gd name="connsiteX7" fmla="*/ 4638443 w 6073775"/>
                <a:gd name="connsiteY7" fmla="*/ 4543349 h 5568950"/>
                <a:gd name="connsiteX8" fmla="*/ 4409340 w 6073775"/>
                <a:gd name="connsiteY8" fmla="*/ 4411663 h 5568950"/>
                <a:gd name="connsiteX9" fmla="*/ 4322957 w 6073775"/>
                <a:gd name="connsiteY9" fmla="*/ 4411663 h 5568950"/>
                <a:gd name="connsiteX10" fmla="*/ 4860926 w 6073775"/>
                <a:gd name="connsiteY10" fmla="*/ 3394075 h 5568950"/>
                <a:gd name="connsiteX11" fmla="*/ 4357688 w 6073775"/>
                <a:gd name="connsiteY11" fmla="*/ 3878535 h 5568950"/>
                <a:gd name="connsiteX12" fmla="*/ 4357688 w 6073775"/>
                <a:gd name="connsiteY12" fmla="*/ 3897313 h 5568950"/>
                <a:gd name="connsiteX13" fmla="*/ 4410265 w 6073775"/>
                <a:gd name="connsiteY13" fmla="*/ 4115132 h 5568950"/>
                <a:gd name="connsiteX14" fmla="*/ 4485375 w 6073775"/>
                <a:gd name="connsiteY14" fmla="*/ 4227797 h 5568950"/>
                <a:gd name="connsiteX15" fmla="*/ 4571752 w 6073775"/>
                <a:gd name="connsiteY15" fmla="*/ 4306663 h 5568950"/>
                <a:gd name="connsiteX16" fmla="*/ 4860926 w 6073775"/>
                <a:gd name="connsiteY16" fmla="*/ 4400550 h 5568950"/>
                <a:gd name="connsiteX17" fmla="*/ 4864681 w 6073775"/>
                <a:gd name="connsiteY17" fmla="*/ 4400550 h 5568950"/>
                <a:gd name="connsiteX18" fmla="*/ 5071234 w 6073775"/>
                <a:gd name="connsiteY18" fmla="*/ 4351729 h 5568950"/>
                <a:gd name="connsiteX19" fmla="*/ 5236476 w 6073775"/>
                <a:gd name="connsiteY19" fmla="*/ 4227797 h 5568950"/>
                <a:gd name="connsiteX20" fmla="*/ 5364163 w 6073775"/>
                <a:gd name="connsiteY20" fmla="*/ 3901068 h 5568950"/>
                <a:gd name="connsiteX21" fmla="*/ 5364163 w 6073775"/>
                <a:gd name="connsiteY21" fmla="*/ 3897313 h 5568950"/>
                <a:gd name="connsiteX22" fmla="*/ 4860926 w 6073775"/>
                <a:gd name="connsiteY22" fmla="*/ 3394075 h 5568950"/>
                <a:gd name="connsiteX23" fmla="*/ 5070326 w 6073775"/>
                <a:gd name="connsiteY23" fmla="*/ 1124051 h 5568950"/>
                <a:gd name="connsiteX24" fmla="*/ 5150092 w 6073775"/>
                <a:gd name="connsiteY24" fmla="*/ 1187984 h 5568950"/>
                <a:gd name="connsiteX25" fmla="*/ 5307862 w 6073775"/>
                <a:gd name="connsiteY25" fmla="*/ 1725280 h 5568950"/>
                <a:gd name="connsiteX26" fmla="*/ 5244003 w 6073775"/>
                <a:gd name="connsiteY26" fmla="*/ 1841757 h 5568950"/>
                <a:gd name="connsiteX27" fmla="*/ 5217708 w 6073775"/>
                <a:gd name="connsiteY27" fmla="*/ 1845514 h 5568950"/>
                <a:gd name="connsiteX28" fmla="*/ 5131310 w 6073775"/>
                <a:gd name="connsiteY28" fmla="*/ 1777883 h 5568950"/>
                <a:gd name="connsiteX29" fmla="*/ 5033642 w 6073775"/>
                <a:gd name="connsiteY29" fmla="*/ 1450996 h 5568950"/>
                <a:gd name="connsiteX30" fmla="*/ 4034427 w 6073775"/>
                <a:gd name="connsiteY30" fmla="*/ 2923864 h 5568950"/>
                <a:gd name="connsiteX31" fmla="*/ 3959298 w 6073775"/>
                <a:gd name="connsiteY31" fmla="*/ 2965194 h 5568950"/>
                <a:gd name="connsiteX32" fmla="*/ 3884169 w 6073775"/>
                <a:gd name="connsiteY32" fmla="*/ 2927621 h 5568950"/>
                <a:gd name="connsiteX33" fmla="*/ 3501012 w 6073775"/>
                <a:gd name="connsiteY33" fmla="*/ 2405354 h 5568950"/>
                <a:gd name="connsiteX34" fmla="*/ 2667081 w 6073775"/>
                <a:gd name="connsiteY34" fmla="*/ 3652783 h 5568950"/>
                <a:gd name="connsiteX35" fmla="*/ 2591952 w 6073775"/>
                <a:gd name="connsiteY35" fmla="*/ 3694113 h 5568950"/>
                <a:gd name="connsiteX36" fmla="*/ 2588196 w 6073775"/>
                <a:gd name="connsiteY36" fmla="*/ 3694113 h 5568950"/>
                <a:gd name="connsiteX37" fmla="*/ 2509310 w 6073775"/>
                <a:gd name="connsiteY37" fmla="*/ 3645268 h 5568950"/>
                <a:gd name="connsiteX38" fmla="*/ 1592738 w 6073775"/>
                <a:gd name="connsiteY38" fmla="*/ 1946962 h 5568950"/>
                <a:gd name="connsiteX39" fmla="*/ 822666 w 6073775"/>
                <a:gd name="connsiteY39" fmla="*/ 3006525 h 5568950"/>
                <a:gd name="connsiteX40" fmla="*/ 694947 w 6073775"/>
                <a:gd name="connsiteY40" fmla="*/ 3025311 h 5568950"/>
                <a:gd name="connsiteX41" fmla="*/ 676165 w 6073775"/>
                <a:gd name="connsiteY41" fmla="*/ 2897563 h 5568950"/>
                <a:gd name="connsiteX42" fmla="*/ 1528878 w 6073775"/>
                <a:gd name="connsiteY42" fmla="*/ 1717766 h 5568950"/>
                <a:gd name="connsiteX43" fmla="*/ 1611520 w 6073775"/>
                <a:gd name="connsiteY43" fmla="*/ 1680193 h 5568950"/>
                <a:gd name="connsiteX44" fmla="*/ 1686649 w 6073775"/>
                <a:gd name="connsiteY44" fmla="*/ 1729038 h 5568950"/>
                <a:gd name="connsiteX45" fmla="*/ 2599465 w 6073775"/>
                <a:gd name="connsiteY45" fmla="*/ 3423586 h 5568950"/>
                <a:gd name="connsiteX46" fmla="*/ 3422127 w 6073775"/>
                <a:gd name="connsiteY46" fmla="*/ 2194945 h 5568950"/>
                <a:gd name="connsiteX47" fmla="*/ 3497255 w 6073775"/>
                <a:gd name="connsiteY47" fmla="*/ 2153614 h 5568950"/>
                <a:gd name="connsiteX48" fmla="*/ 3572384 w 6073775"/>
                <a:gd name="connsiteY48" fmla="*/ 2191187 h 5568950"/>
                <a:gd name="connsiteX49" fmla="*/ 3955542 w 6073775"/>
                <a:gd name="connsiteY49" fmla="*/ 2713454 h 5568950"/>
                <a:gd name="connsiteX50" fmla="*/ 4868358 w 6073775"/>
                <a:gd name="connsiteY50" fmla="*/ 1364578 h 5568950"/>
                <a:gd name="connsiteX51" fmla="*/ 4534035 w 6073775"/>
                <a:gd name="connsiteY51" fmla="*/ 1462268 h 5568950"/>
                <a:gd name="connsiteX52" fmla="*/ 4421341 w 6073775"/>
                <a:gd name="connsiteY52" fmla="*/ 1398394 h 5568950"/>
                <a:gd name="connsiteX53" fmla="*/ 4485201 w 6073775"/>
                <a:gd name="connsiteY53" fmla="*/ 1285675 h 5568950"/>
                <a:gd name="connsiteX54" fmla="*/ 5033642 w 6073775"/>
                <a:gd name="connsiteY54" fmla="*/ 1127867 h 5568950"/>
                <a:gd name="connsiteX55" fmla="*/ 5070326 w 6073775"/>
                <a:gd name="connsiteY55" fmla="*/ 1124051 h 5568950"/>
                <a:gd name="connsiteX56" fmla="*/ 1059315 w 6073775"/>
                <a:gd name="connsiteY56" fmla="*/ 184150 h 5568950"/>
                <a:gd name="connsiteX57" fmla="*/ 1059315 w 6073775"/>
                <a:gd name="connsiteY57" fmla="*/ 1014618 h 5568950"/>
                <a:gd name="connsiteX58" fmla="*/ 969169 w 6073775"/>
                <a:gd name="connsiteY58" fmla="*/ 1104804 h 5568950"/>
                <a:gd name="connsiteX59" fmla="*/ 184150 w 6073775"/>
                <a:gd name="connsiteY59" fmla="*/ 1104804 h 5568950"/>
                <a:gd name="connsiteX60" fmla="*/ 184150 w 6073775"/>
                <a:gd name="connsiteY60" fmla="*/ 4227513 h 5568950"/>
                <a:gd name="connsiteX61" fmla="*/ 4184368 w 6073775"/>
                <a:gd name="connsiteY61" fmla="*/ 4227513 h 5568950"/>
                <a:gd name="connsiteX62" fmla="*/ 4214417 w 6073775"/>
                <a:gd name="connsiteY62" fmla="*/ 4126053 h 5568950"/>
                <a:gd name="connsiteX63" fmla="*/ 4173100 w 6073775"/>
                <a:gd name="connsiteY63" fmla="*/ 3896829 h 5568950"/>
                <a:gd name="connsiteX64" fmla="*/ 4860461 w 6073775"/>
                <a:gd name="connsiteY64" fmla="*/ 3209157 h 5568950"/>
                <a:gd name="connsiteX65" fmla="*/ 5547823 w 6073775"/>
                <a:gd name="connsiteY65" fmla="*/ 3896829 h 5568950"/>
                <a:gd name="connsiteX66" fmla="*/ 5465189 w 6073775"/>
                <a:gd name="connsiteY66" fmla="*/ 4212482 h 5568950"/>
                <a:gd name="connsiteX67" fmla="*/ 5472701 w 6073775"/>
                <a:gd name="connsiteY67" fmla="*/ 4227513 h 5568950"/>
                <a:gd name="connsiteX68" fmla="*/ 5889625 w 6073775"/>
                <a:gd name="connsiteY68" fmla="*/ 4227513 h 5568950"/>
                <a:gd name="connsiteX69" fmla="*/ 5889625 w 6073775"/>
                <a:gd name="connsiteY69" fmla="*/ 184150 h 5568950"/>
                <a:gd name="connsiteX70" fmla="*/ 1059315 w 6073775"/>
                <a:gd name="connsiteY70" fmla="*/ 184150 h 5568950"/>
                <a:gd name="connsiteX71" fmla="*/ 995393 w 6073775"/>
                <a:gd name="connsiteY71" fmla="*/ 0 h 5568950"/>
                <a:gd name="connsiteX72" fmla="*/ 5979870 w 6073775"/>
                <a:gd name="connsiteY72" fmla="*/ 0 h 5568950"/>
                <a:gd name="connsiteX73" fmla="*/ 6073775 w 6073775"/>
                <a:gd name="connsiteY73" fmla="*/ 93943 h 5568950"/>
                <a:gd name="connsiteX74" fmla="*/ 6073775 w 6073775"/>
                <a:gd name="connsiteY74" fmla="*/ 4317627 h 5568950"/>
                <a:gd name="connsiteX75" fmla="*/ 5979870 w 6073775"/>
                <a:gd name="connsiteY75" fmla="*/ 4411571 h 5568950"/>
                <a:gd name="connsiteX76" fmla="*/ 5525370 w 6073775"/>
                <a:gd name="connsiteY76" fmla="*/ 4411571 h 5568950"/>
                <a:gd name="connsiteX77" fmla="*/ 5762011 w 6073775"/>
                <a:gd name="connsiteY77" fmla="*/ 5230755 h 5568950"/>
                <a:gd name="connsiteX78" fmla="*/ 5777035 w 6073775"/>
                <a:gd name="connsiteY78" fmla="*/ 5279605 h 5568950"/>
                <a:gd name="connsiteX79" fmla="*/ 5683130 w 6073775"/>
                <a:gd name="connsiteY79" fmla="*/ 5373548 h 5568950"/>
                <a:gd name="connsiteX80" fmla="*/ 5645568 w 6073775"/>
                <a:gd name="connsiteY80" fmla="*/ 5366033 h 5568950"/>
                <a:gd name="connsiteX81" fmla="*/ 5296242 w 6073775"/>
                <a:gd name="connsiteY81" fmla="*/ 5215724 h 5568950"/>
                <a:gd name="connsiteX82" fmla="*/ 5082139 w 6073775"/>
                <a:gd name="connsiteY82" fmla="*/ 5527615 h 5568950"/>
                <a:gd name="connsiteX83" fmla="*/ 5007015 w 6073775"/>
                <a:gd name="connsiteY83" fmla="*/ 5568950 h 5568950"/>
                <a:gd name="connsiteX84" fmla="*/ 4991990 w 6073775"/>
                <a:gd name="connsiteY84" fmla="*/ 5565193 h 5568950"/>
                <a:gd name="connsiteX85" fmla="*/ 4916866 w 6073775"/>
                <a:gd name="connsiteY85" fmla="*/ 5501311 h 5568950"/>
                <a:gd name="connsiteX86" fmla="*/ 4826717 w 6073775"/>
                <a:gd name="connsiteY86" fmla="*/ 5193178 h 5568950"/>
                <a:gd name="connsiteX87" fmla="*/ 4736568 w 6073775"/>
                <a:gd name="connsiteY87" fmla="*/ 5501311 h 5568950"/>
                <a:gd name="connsiteX88" fmla="*/ 4665200 w 6073775"/>
                <a:gd name="connsiteY88" fmla="*/ 5565193 h 5568950"/>
                <a:gd name="connsiteX89" fmla="*/ 4650176 w 6073775"/>
                <a:gd name="connsiteY89" fmla="*/ 5568950 h 5568950"/>
                <a:gd name="connsiteX90" fmla="*/ 4575052 w 6073775"/>
                <a:gd name="connsiteY90" fmla="*/ 5527615 h 5568950"/>
                <a:gd name="connsiteX91" fmla="*/ 4357192 w 6073775"/>
                <a:gd name="connsiteY91" fmla="*/ 5215724 h 5568950"/>
                <a:gd name="connsiteX92" fmla="*/ 4011621 w 6073775"/>
                <a:gd name="connsiteY92" fmla="*/ 5366033 h 5568950"/>
                <a:gd name="connsiteX93" fmla="*/ 3913960 w 6073775"/>
                <a:gd name="connsiteY93" fmla="*/ 5347244 h 5568950"/>
                <a:gd name="connsiteX94" fmla="*/ 3887667 w 6073775"/>
                <a:gd name="connsiteY94" fmla="*/ 5253301 h 5568950"/>
                <a:gd name="connsiteX95" fmla="*/ 4131820 w 6073775"/>
                <a:gd name="connsiteY95" fmla="*/ 4411571 h 5568950"/>
                <a:gd name="connsiteX96" fmla="*/ 93905 w 6073775"/>
                <a:gd name="connsiteY96" fmla="*/ 4411571 h 5568950"/>
                <a:gd name="connsiteX97" fmla="*/ 0 w 6073775"/>
                <a:gd name="connsiteY97" fmla="*/ 4317627 h 5568950"/>
                <a:gd name="connsiteX98" fmla="*/ 0 w 6073775"/>
                <a:gd name="connsiteY98" fmla="*/ 1040891 h 5568950"/>
                <a:gd name="connsiteX99" fmla="*/ 26294 w 6073775"/>
                <a:gd name="connsiteY99" fmla="*/ 977009 h 5568950"/>
                <a:gd name="connsiteX100" fmla="*/ 931538 w 6073775"/>
                <a:gd name="connsiteY100" fmla="*/ 30062 h 5568950"/>
                <a:gd name="connsiteX101" fmla="*/ 995393 w 6073775"/>
                <a:gd name="connsiteY101" fmla="*/ 0 h 556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6073775" h="5568950">
                  <a:moveTo>
                    <a:pt x="4322957" y="4411663"/>
                  </a:moveTo>
                  <a:cubicBezTo>
                    <a:pt x="4322957" y="4411663"/>
                    <a:pt x="4322957" y="4411663"/>
                    <a:pt x="4116388" y="5119003"/>
                  </a:cubicBezTo>
                  <a:cubicBezTo>
                    <a:pt x="4116388" y="5119003"/>
                    <a:pt x="4116388" y="5119003"/>
                    <a:pt x="4356759" y="5017417"/>
                  </a:cubicBezTo>
                  <a:cubicBezTo>
                    <a:pt x="4368026" y="5013654"/>
                    <a:pt x="4379294" y="5009892"/>
                    <a:pt x="4390561" y="5009892"/>
                  </a:cubicBezTo>
                  <a:cubicBezTo>
                    <a:pt x="4420607" y="5009892"/>
                    <a:pt x="4450654" y="5024942"/>
                    <a:pt x="4469433" y="5051279"/>
                  </a:cubicBezTo>
                  <a:cubicBezTo>
                    <a:pt x="4469433" y="5051279"/>
                    <a:pt x="4469433" y="5051279"/>
                    <a:pt x="4615909" y="5265738"/>
                  </a:cubicBezTo>
                  <a:lnTo>
                    <a:pt x="4732338" y="4863157"/>
                  </a:lnTo>
                  <a:cubicBezTo>
                    <a:pt x="4732338" y="4863157"/>
                    <a:pt x="4732338" y="4863157"/>
                    <a:pt x="4638443" y="4543349"/>
                  </a:cubicBezTo>
                  <a:cubicBezTo>
                    <a:pt x="4552060" y="4517012"/>
                    <a:pt x="4476944" y="4468100"/>
                    <a:pt x="4409340" y="4411663"/>
                  </a:cubicBezTo>
                  <a:cubicBezTo>
                    <a:pt x="4409340" y="4411663"/>
                    <a:pt x="4409340" y="4411663"/>
                    <a:pt x="4322957" y="4411663"/>
                  </a:cubicBezTo>
                  <a:close/>
                  <a:moveTo>
                    <a:pt x="4860926" y="3394075"/>
                  </a:moveTo>
                  <a:cubicBezTo>
                    <a:pt x="4590529" y="3394075"/>
                    <a:pt x="4368955" y="3608139"/>
                    <a:pt x="4357688" y="3878535"/>
                  </a:cubicBezTo>
                  <a:cubicBezTo>
                    <a:pt x="4357688" y="3882291"/>
                    <a:pt x="4357688" y="3889802"/>
                    <a:pt x="4357688" y="3897313"/>
                  </a:cubicBezTo>
                  <a:cubicBezTo>
                    <a:pt x="4357688" y="3976178"/>
                    <a:pt x="4376466" y="4047533"/>
                    <a:pt x="4410265" y="4115132"/>
                  </a:cubicBezTo>
                  <a:cubicBezTo>
                    <a:pt x="4429043" y="4156442"/>
                    <a:pt x="4455331" y="4193998"/>
                    <a:pt x="4485375" y="4227797"/>
                  </a:cubicBezTo>
                  <a:cubicBezTo>
                    <a:pt x="4511664" y="4257841"/>
                    <a:pt x="4537952" y="4284130"/>
                    <a:pt x="4571752" y="4306663"/>
                  </a:cubicBezTo>
                  <a:cubicBezTo>
                    <a:pt x="4654373" y="4366751"/>
                    <a:pt x="4752016" y="4400550"/>
                    <a:pt x="4860926" y="4400550"/>
                  </a:cubicBezTo>
                  <a:cubicBezTo>
                    <a:pt x="4860926" y="4400550"/>
                    <a:pt x="4864681" y="4400550"/>
                    <a:pt x="4864681" y="4400550"/>
                  </a:cubicBezTo>
                  <a:cubicBezTo>
                    <a:pt x="4939791" y="4396795"/>
                    <a:pt x="5007390" y="4381773"/>
                    <a:pt x="5071234" y="4351729"/>
                  </a:cubicBezTo>
                  <a:cubicBezTo>
                    <a:pt x="5135077" y="4321685"/>
                    <a:pt x="5191410" y="4280374"/>
                    <a:pt x="5236476" y="4227797"/>
                  </a:cubicBezTo>
                  <a:cubicBezTo>
                    <a:pt x="5315342" y="4141420"/>
                    <a:pt x="5360407" y="4025000"/>
                    <a:pt x="5364163" y="3901068"/>
                  </a:cubicBezTo>
                  <a:cubicBezTo>
                    <a:pt x="5364163" y="3901068"/>
                    <a:pt x="5364163" y="3897313"/>
                    <a:pt x="5364163" y="3897313"/>
                  </a:cubicBezTo>
                  <a:cubicBezTo>
                    <a:pt x="5364163" y="3619405"/>
                    <a:pt x="5138833" y="3394075"/>
                    <a:pt x="4860926" y="3394075"/>
                  </a:cubicBezTo>
                  <a:close/>
                  <a:moveTo>
                    <a:pt x="5070326" y="1124051"/>
                  </a:moveTo>
                  <a:cubicBezTo>
                    <a:pt x="5106423" y="1127398"/>
                    <a:pt x="5138822" y="1151351"/>
                    <a:pt x="5150092" y="1187984"/>
                  </a:cubicBezTo>
                  <a:cubicBezTo>
                    <a:pt x="5150092" y="1187984"/>
                    <a:pt x="5150092" y="1187984"/>
                    <a:pt x="5307862" y="1725280"/>
                  </a:cubicBezTo>
                  <a:cubicBezTo>
                    <a:pt x="5322888" y="1774125"/>
                    <a:pt x="5292837" y="1826728"/>
                    <a:pt x="5244003" y="1841757"/>
                  </a:cubicBezTo>
                  <a:cubicBezTo>
                    <a:pt x="5236490" y="1841757"/>
                    <a:pt x="5228977" y="1845514"/>
                    <a:pt x="5217708" y="1845514"/>
                  </a:cubicBezTo>
                  <a:cubicBezTo>
                    <a:pt x="5180143" y="1845514"/>
                    <a:pt x="5142579" y="1819213"/>
                    <a:pt x="5131310" y="1777883"/>
                  </a:cubicBezTo>
                  <a:cubicBezTo>
                    <a:pt x="5131310" y="1777883"/>
                    <a:pt x="5131310" y="1777883"/>
                    <a:pt x="5033642" y="1450996"/>
                  </a:cubicBezTo>
                  <a:cubicBezTo>
                    <a:pt x="5033642" y="1450996"/>
                    <a:pt x="5033642" y="1450996"/>
                    <a:pt x="4034427" y="2923864"/>
                  </a:cubicBezTo>
                  <a:cubicBezTo>
                    <a:pt x="4015645" y="2950165"/>
                    <a:pt x="3989350" y="2965194"/>
                    <a:pt x="3959298" y="2965194"/>
                  </a:cubicBezTo>
                  <a:cubicBezTo>
                    <a:pt x="3925490" y="2961437"/>
                    <a:pt x="3899195" y="2950165"/>
                    <a:pt x="3884169" y="2927621"/>
                  </a:cubicBezTo>
                  <a:cubicBezTo>
                    <a:pt x="3884169" y="2927621"/>
                    <a:pt x="3884169" y="2927621"/>
                    <a:pt x="3501012" y="2405354"/>
                  </a:cubicBezTo>
                  <a:cubicBezTo>
                    <a:pt x="3501012" y="2405354"/>
                    <a:pt x="3501012" y="2405354"/>
                    <a:pt x="2667081" y="3652783"/>
                  </a:cubicBezTo>
                  <a:cubicBezTo>
                    <a:pt x="2652055" y="3679084"/>
                    <a:pt x="2622004" y="3694113"/>
                    <a:pt x="2591952" y="3694113"/>
                  </a:cubicBezTo>
                  <a:cubicBezTo>
                    <a:pt x="2588196" y="3694113"/>
                    <a:pt x="2588196" y="3694113"/>
                    <a:pt x="2588196" y="3694113"/>
                  </a:cubicBezTo>
                  <a:cubicBezTo>
                    <a:pt x="2554388" y="3690356"/>
                    <a:pt x="2524336" y="3671569"/>
                    <a:pt x="2509310" y="3645268"/>
                  </a:cubicBezTo>
                  <a:cubicBezTo>
                    <a:pt x="2509310" y="3645268"/>
                    <a:pt x="2509310" y="3645268"/>
                    <a:pt x="1592738" y="1946962"/>
                  </a:cubicBezTo>
                  <a:cubicBezTo>
                    <a:pt x="1592738" y="1946962"/>
                    <a:pt x="1592738" y="1946962"/>
                    <a:pt x="822666" y="3006525"/>
                  </a:cubicBezTo>
                  <a:cubicBezTo>
                    <a:pt x="792615" y="3047855"/>
                    <a:pt x="736268" y="3055370"/>
                    <a:pt x="694947" y="3025311"/>
                  </a:cubicBezTo>
                  <a:cubicBezTo>
                    <a:pt x="653626" y="2995253"/>
                    <a:pt x="646113" y="2938893"/>
                    <a:pt x="676165" y="2897563"/>
                  </a:cubicBezTo>
                  <a:lnTo>
                    <a:pt x="1528878" y="1717766"/>
                  </a:lnTo>
                  <a:cubicBezTo>
                    <a:pt x="1547660" y="1695222"/>
                    <a:pt x="1577712" y="1680193"/>
                    <a:pt x="1611520" y="1680193"/>
                  </a:cubicBezTo>
                  <a:cubicBezTo>
                    <a:pt x="1641571" y="1683950"/>
                    <a:pt x="1671623" y="1702737"/>
                    <a:pt x="1686649" y="1729038"/>
                  </a:cubicBezTo>
                  <a:cubicBezTo>
                    <a:pt x="1686649" y="1729038"/>
                    <a:pt x="1686649" y="1729038"/>
                    <a:pt x="2599465" y="3423586"/>
                  </a:cubicBezTo>
                  <a:cubicBezTo>
                    <a:pt x="2599465" y="3423586"/>
                    <a:pt x="2599465" y="3423586"/>
                    <a:pt x="3422127" y="2194945"/>
                  </a:cubicBezTo>
                  <a:cubicBezTo>
                    <a:pt x="3437152" y="2172401"/>
                    <a:pt x="3467204" y="2153614"/>
                    <a:pt x="3497255" y="2153614"/>
                  </a:cubicBezTo>
                  <a:cubicBezTo>
                    <a:pt x="3523551" y="2153614"/>
                    <a:pt x="3553602" y="2168644"/>
                    <a:pt x="3572384" y="2191187"/>
                  </a:cubicBezTo>
                  <a:cubicBezTo>
                    <a:pt x="3572384" y="2191187"/>
                    <a:pt x="3572384" y="2191187"/>
                    <a:pt x="3955542" y="2713454"/>
                  </a:cubicBezTo>
                  <a:cubicBezTo>
                    <a:pt x="3955542" y="2713454"/>
                    <a:pt x="3955542" y="2713454"/>
                    <a:pt x="4868358" y="1364578"/>
                  </a:cubicBezTo>
                  <a:cubicBezTo>
                    <a:pt x="4868358" y="1364578"/>
                    <a:pt x="4868358" y="1364578"/>
                    <a:pt x="4534035" y="1462268"/>
                  </a:cubicBezTo>
                  <a:cubicBezTo>
                    <a:pt x="4485201" y="1473540"/>
                    <a:pt x="4436367" y="1447239"/>
                    <a:pt x="4421341" y="1398394"/>
                  </a:cubicBezTo>
                  <a:cubicBezTo>
                    <a:pt x="4406315" y="1349549"/>
                    <a:pt x="4436367" y="1296946"/>
                    <a:pt x="4485201" y="1285675"/>
                  </a:cubicBezTo>
                  <a:cubicBezTo>
                    <a:pt x="4485201" y="1285675"/>
                    <a:pt x="4485201" y="1285675"/>
                    <a:pt x="5033642" y="1127867"/>
                  </a:cubicBezTo>
                  <a:cubicBezTo>
                    <a:pt x="5045850" y="1124110"/>
                    <a:pt x="5058293" y="1122936"/>
                    <a:pt x="5070326" y="1124051"/>
                  </a:cubicBezTo>
                  <a:close/>
                  <a:moveTo>
                    <a:pt x="1059315" y="184150"/>
                  </a:moveTo>
                  <a:cubicBezTo>
                    <a:pt x="1059315" y="184150"/>
                    <a:pt x="1059315" y="184150"/>
                    <a:pt x="1059315" y="1014618"/>
                  </a:cubicBezTo>
                  <a:cubicBezTo>
                    <a:pt x="1059315" y="1063469"/>
                    <a:pt x="1017998" y="1104804"/>
                    <a:pt x="969169" y="1104804"/>
                  </a:cubicBezTo>
                  <a:cubicBezTo>
                    <a:pt x="969169" y="1104804"/>
                    <a:pt x="969169" y="1104804"/>
                    <a:pt x="184150" y="1104804"/>
                  </a:cubicBezTo>
                  <a:cubicBezTo>
                    <a:pt x="184150" y="1104804"/>
                    <a:pt x="184150" y="1104804"/>
                    <a:pt x="184150" y="4227513"/>
                  </a:cubicBezTo>
                  <a:cubicBezTo>
                    <a:pt x="184150" y="4227513"/>
                    <a:pt x="184150" y="4227513"/>
                    <a:pt x="4184368" y="4227513"/>
                  </a:cubicBezTo>
                  <a:cubicBezTo>
                    <a:pt x="4184368" y="4227513"/>
                    <a:pt x="4184368" y="4227513"/>
                    <a:pt x="4214417" y="4126053"/>
                  </a:cubicBezTo>
                  <a:cubicBezTo>
                    <a:pt x="4188124" y="4054656"/>
                    <a:pt x="4173100" y="3975742"/>
                    <a:pt x="4173100" y="3896829"/>
                  </a:cubicBezTo>
                  <a:cubicBezTo>
                    <a:pt x="4173100" y="3517294"/>
                    <a:pt x="4481098" y="3209157"/>
                    <a:pt x="4860461" y="3209157"/>
                  </a:cubicBezTo>
                  <a:cubicBezTo>
                    <a:pt x="5239825" y="3209157"/>
                    <a:pt x="5547823" y="3517294"/>
                    <a:pt x="5547823" y="3896829"/>
                  </a:cubicBezTo>
                  <a:cubicBezTo>
                    <a:pt x="5547823" y="4009562"/>
                    <a:pt x="5517774" y="4114780"/>
                    <a:pt x="5465189" y="4212482"/>
                  </a:cubicBezTo>
                  <a:cubicBezTo>
                    <a:pt x="5465189" y="4212482"/>
                    <a:pt x="5465189" y="4212482"/>
                    <a:pt x="5472701" y="4227513"/>
                  </a:cubicBezTo>
                  <a:cubicBezTo>
                    <a:pt x="5472701" y="4227513"/>
                    <a:pt x="5472701" y="4227513"/>
                    <a:pt x="5889625" y="4227513"/>
                  </a:cubicBezTo>
                  <a:lnTo>
                    <a:pt x="5889625" y="184150"/>
                  </a:lnTo>
                  <a:cubicBezTo>
                    <a:pt x="5889625" y="184150"/>
                    <a:pt x="5889625" y="184150"/>
                    <a:pt x="1059315" y="184150"/>
                  </a:cubicBezTo>
                  <a:close/>
                  <a:moveTo>
                    <a:pt x="995393" y="0"/>
                  </a:moveTo>
                  <a:cubicBezTo>
                    <a:pt x="995393" y="0"/>
                    <a:pt x="995393" y="0"/>
                    <a:pt x="5979870" y="0"/>
                  </a:cubicBezTo>
                  <a:cubicBezTo>
                    <a:pt x="6032457" y="0"/>
                    <a:pt x="6073775" y="41335"/>
                    <a:pt x="6073775" y="93943"/>
                  </a:cubicBezTo>
                  <a:cubicBezTo>
                    <a:pt x="6073775" y="93943"/>
                    <a:pt x="6073775" y="93943"/>
                    <a:pt x="6073775" y="4317627"/>
                  </a:cubicBezTo>
                  <a:cubicBezTo>
                    <a:pt x="6073775" y="4370236"/>
                    <a:pt x="6032457" y="4411571"/>
                    <a:pt x="5979870" y="4411571"/>
                  </a:cubicBezTo>
                  <a:cubicBezTo>
                    <a:pt x="5979870" y="4411571"/>
                    <a:pt x="5979870" y="4411571"/>
                    <a:pt x="5525370" y="4411571"/>
                  </a:cubicBezTo>
                  <a:cubicBezTo>
                    <a:pt x="5525370" y="4411571"/>
                    <a:pt x="5525370" y="4411571"/>
                    <a:pt x="5762011" y="5230755"/>
                  </a:cubicBezTo>
                  <a:cubicBezTo>
                    <a:pt x="5769523" y="5245786"/>
                    <a:pt x="5777035" y="5260817"/>
                    <a:pt x="5777035" y="5279605"/>
                  </a:cubicBezTo>
                  <a:cubicBezTo>
                    <a:pt x="5777035" y="5332214"/>
                    <a:pt x="5728205" y="5377306"/>
                    <a:pt x="5683130" y="5373548"/>
                  </a:cubicBezTo>
                  <a:cubicBezTo>
                    <a:pt x="5668105" y="5373548"/>
                    <a:pt x="5656837" y="5369791"/>
                    <a:pt x="5645568" y="5366033"/>
                  </a:cubicBezTo>
                  <a:cubicBezTo>
                    <a:pt x="5645568" y="5366033"/>
                    <a:pt x="5645568" y="5366033"/>
                    <a:pt x="5296242" y="5215724"/>
                  </a:cubicBezTo>
                  <a:cubicBezTo>
                    <a:pt x="5296242" y="5215724"/>
                    <a:pt x="5296242" y="5215724"/>
                    <a:pt x="5082139" y="5527615"/>
                  </a:cubicBezTo>
                  <a:cubicBezTo>
                    <a:pt x="5063358" y="5553919"/>
                    <a:pt x="5037064" y="5568950"/>
                    <a:pt x="5007015" y="5568950"/>
                  </a:cubicBezTo>
                  <a:cubicBezTo>
                    <a:pt x="4999502" y="5568950"/>
                    <a:pt x="4995746" y="5568950"/>
                    <a:pt x="4991990" y="5565193"/>
                  </a:cubicBezTo>
                  <a:cubicBezTo>
                    <a:pt x="4954428" y="5561435"/>
                    <a:pt x="4928134" y="5535131"/>
                    <a:pt x="4916866" y="5501311"/>
                  </a:cubicBezTo>
                  <a:cubicBezTo>
                    <a:pt x="4916866" y="5501311"/>
                    <a:pt x="4916866" y="5501311"/>
                    <a:pt x="4826717" y="5193178"/>
                  </a:cubicBezTo>
                  <a:cubicBezTo>
                    <a:pt x="4826717" y="5193178"/>
                    <a:pt x="4826717" y="5193178"/>
                    <a:pt x="4736568" y="5501311"/>
                  </a:cubicBezTo>
                  <a:cubicBezTo>
                    <a:pt x="4729056" y="5535131"/>
                    <a:pt x="4699006" y="5561435"/>
                    <a:pt x="4665200" y="5565193"/>
                  </a:cubicBezTo>
                  <a:cubicBezTo>
                    <a:pt x="4657688" y="5568950"/>
                    <a:pt x="4653932" y="5568950"/>
                    <a:pt x="4650176" y="5568950"/>
                  </a:cubicBezTo>
                  <a:cubicBezTo>
                    <a:pt x="4620126" y="5568950"/>
                    <a:pt x="4590076" y="5553919"/>
                    <a:pt x="4575052" y="5527615"/>
                  </a:cubicBezTo>
                  <a:cubicBezTo>
                    <a:pt x="4575052" y="5527615"/>
                    <a:pt x="4575052" y="5527615"/>
                    <a:pt x="4357192" y="5215724"/>
                  </a:cubicBezTo>
                  <a:cubicBezTo>
                    <a:pt x="4357192" y="5215724"/>
                    <a:pt x="4357192" y="5215724"/>
                    <a:pt x="4011621" y="5366033"/>
                  </a:cubicBezTo>
                  <a:cubicBezTo>
                    <a:pt x="3977816" y="5377306"/>
                    <a:pt x="3940254" y="5373548"/>
                    <a:pt x="3913960" y="5347244"/>
                  </a:cubicBezTo>
                  <a:cubicBezTo>
                    <a:pt x="3887667" y="5324698"/>
                    <a:pt x="3876398" y="5287121"/>
                    <a:pt x="3887667" y="5253301"/>
                  </a:cubicBezTo>
                  <a:cubicBezTo>
                    <a:pt x="3887667" y="5253301"/>
                    <a:pt x="3887667" y="5253301"/>
                    <a:pt x="4131820" y="4411571"/>
                  </a:cubicBezTo>
                  <a:cubicBezTo>
                    <a:pt x="4131820" y="4411571"/>
                    <a:pt x="4131820" y="4411571"/>
                    <a:pt x="93905" y="4411571"/>
                  </a:cubicBezTo>
                  <a:cubicBezTo>
                    <a:pt x="41318" y="4411571"/>
                    <a:pt x="0" y="4370236"/>
                    <a:pt x="0" y="4317627"/>
                  </a:cubicBezTo>
                  <a:cubicBezTo>
                    <a:pt x="0" y="4317627"/>
                    <a:pt x="0" y="4317627"/>
                    <a:pt x="0" y="1040891"/>
                  </a:cubicBezTo>
                  <a:cubicBezTo>
                    <a:pt x="0" y="1018344"/>
                    <a:pt x="7513" y="995798"/>
                    <a:pt x="26294" y="977009"/>
                  </a:cubicBezTo>
                  <a:cubicBezTo>
                    <a:pt x="26294" y="977009"/>
                    <a:pt x="26294" y="977009"/>
                    <a:pt x="931538" y="30062"/>
                  </a:cubicBezTo>
                  <a:cubicBezTo>
                    <a:pt x="946562" y="11274"/>
                    <a:pt x="972856" y="0"/>
                    <a:pt x="995393" y="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grpSp>
      <p:pic>
        <p:nvPicPr>
          <p:cNvPr id="37" name="Picture 3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50909" y="250748"/>
            <a:ext cx="1313691" cy="198120"/>
          </a:xfrm>
          <a:prstGeom prst="rect">
            <a:avLst/>
          </a:prstGeom>
        </p:spPr>
      </p:pic>
      <p:pic>
        <p:nvPicPr>
          <p:cNvPr id="20" name="Danske-Bank-branch-Holmens-Kanal-HIGH-RES"/>
          <p:cNvPicPr>
            <a:picLocks noChangeAspect="1"/>
          </p:cNvPicPr>
          <p:nvPr>
            <p:custDataLst>
              <p:tags r:id="rId1"/>
            </p:custDataLst>
          </p:nvPr>
        </p:nvPicPr>
        <p:blipFill rotWithShape="1">
          <a:blip r:embed="rId7" cstate="screen">
            <a:extLst>
              <a:ext uri="{28A0092B-C50C-407E-A947-70E740481C1C}">
                <a14:useLocalDpi xmlns:a14="http://schemas.microsoft.com/office/drawing/2010/main"/>
              </a:ext>
            </a:extLst>
          </a:blip>
          <a:srcRect/>
          <a:stretch/>
        </p:blipFill>
        <p:spPr>
          <a:xfrm>
            <a:off x="8076480" y="0"/>
            <a:ext cx="4115520" cy="6859200"/>
          </a:xfrm>
          <a:prstGeom prst="parallelogram">
            <a:avLst/>
          </a:prstGeom>
        </p:spPr>
      </p:pic>
    </p:spTree>
    <p:extLst>
      <p:ext uri="{BB962C8B-B14F-4D97-AF65-F5344CB8AC3E}">
        <p14:creationId xmlns:p14="http://schemas.microsoft.com/office/powerpoint/2010/main" val="217027643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62" name="think-cell Slide" r:id="rId8" imgW="592" imgH="591" progId="TCLayout.ActiveDocument.1">
                  <p:embed/>
                </p:oleObj>
              </mc:Choice>
              <mc:Fallback>
                <p:oleObj name="think-cell Slide" r:id="rId8" imgW="592" imgH="591"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99" name="Title 98"/>
          <p:cNvSpPr>
            <a:spLocks noGrp="1"/>
          </p:cNvSpPr>
          <p:nvPr>
            <p:ph type="title"/>
          </p:nvPr>
        </p:nvSpPr>
        <p:spPr>
          <a:xfrm>
            <a:off x="431900" y="728663"/>
            <a:ext cx="8703633" cy="332399"/>
          </a:xfrm>
        </p:spPr>
        <p:txBody>
          <a:bodyPr/>
          <a:lstStyle/>
          <a:p>
            <a:r>
              <a:rPr lang="en-US" dirty="0" smtClean="0"/>
              <a:t>In </a:t>
            </a:r>
            <a:r>
              <a:rPr lang="en-US" dirty="0"/>
              <a:t>H1 2020, </a:t>
            </a:r>
            <a:r>
              <a:rPr lang="en-US" dirty="0" smtClean="0"/>
              <a:t>we have had </a:t>
            </a:r>
            <a:r>
              <a:rPr lang="en-US" dirty="0"/>
              <a:t>the following </a:t>
            </a:r>
            <a:r>
              <a:rPr lang="en-GB" dirty="0" smtClean="0"/>
              <a:t>voting</a:t>
            </a:r>
            <a:r>
              <a:rPr lang="en-US" dirty="0" smtClean="0"/>
              <a:t> activities</a:t>
            </a:r>
            <a:endParaRPr lang="en-US" dirty="0"/>
          </a:p>
        </p:txBody>
      </p:sp>
      <p:grpSp>
        <p:nvGrpSpPr>
          <p:cNvPr id="5" name="Group 4"/>
          <p:cNvGrpSpPr/>
          <p:nvPr/>
        </p:nvGrpSpPr>
        <p:grpSpPr>
          <a:xfrm>
            <a:off x="502543" y="5084855"/>
            <a:ext cx="7651443" cy="1006776"/>
            <a:chOff x="507634" y="4793345"/>
            <a:chExt cx="7560000" cy="1089745"/>
          </a:xfrm>
        </p:grpSpPr>
        <p:sp>
          <p:nvSpPr>
            <p:cNvPr id="34" name="Rectangle 33"/>
            <p:cNvSpPr/>
            <p:nvPr/>
          </p:nvSpPr>
          <p:spPr>
            <a:xfrm>
              <a:off x="507634" y="4793345"/>
              <a:ext cx="7560000" cy="1089745"/>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69" name="Rectangle 68"/>
            <p:cNvSpPr/>
            <p:nvPr/>
          </p:nvSpPr>
          <p:spPr>
            <a:xfrm>
              <a:off x="977532" y="4798217"/>
              <a:ext cx="6373676" cy="1080000"/>
            </a:xfrm>
            <a:prstGeom prst="rect">
              <a:avLst/>
            </a:prstGeom>
            <a:solidFill>
              <a:schemeClr val="bg1">
                <a:alpha val="26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600" dirty="0">
                <a:solidFill>
                  <a:srgbClr val="000000"/>
                </a:solidFill>
              </a:endParaRPr>
            </a:p>
          </p:txBody>
        </p:sp>
        <p:sp>
          <p:nvSpPr>
            <p:cNvPr id="126" name="Oval 125"/>
            <p:cNvSpPr/>
            <p:nvPr/>
          </p:nvSpPr>
          <p:spPr>
            <a:xfrm>
              <a:off x="544349" y="5005000"/>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chemeClr val="tx1"/>
                </a:solidFill>
              </a:endParaRPr>
            </a:p>
          </p:txBody>
        </p:sp>
        <p:sp>
          <p:nvSpPr>
            <p:cNvPr id="70" name="TextBox 69"/>
            <p:cNvSpPr txBox="1"/>
            <p:nvPr/>
          </p:nvSpPr>
          <p:spPr>
            <a:xfrm>
              <a:off x="1557336" y="5168940"/>
              <a:ext cx="3557258" cy="338554"/>
            </a:xfrm>
            <a:prstGeom prst="rect">
              <a:avLst/>
            </a:prstGeom>
            <a:noFill/>
          </p:spPr>
          <p:txBody>
            <a:bodyPr wrap="square" lIns="0" tIns="0" rIns="0" bIns="0" rtlCol="0">
              <a:spAutoFit/>
            </a:bodyPr>
            <a:lstStyle/>
            <a:p>
              <a:r>
                <a:rPr lang="en-US" sz="2000" b="1" dirty="0" smtClean="0">
                  <a:solidFill>
                    <a:srgbClr val="003755"/>
                  </a:solidFill>
                </a:rPr>
                <a:t>Proposals</a:t>
              </a:r>
              <a:endParaRPr lang="en-US" sz="2200" b="1" dirty="0">
                <a:solidFill>
                  <a:srgbClr val="003755"/>
                </a:solidFill>
              </a:endParaRPr>
            </a:p>
          </p:txBody>
        </p:sp>
        <p:sp>
          <p:nvSpPr>
            <p:cNvPr id="127" name="Rectangle 126"/>
            <p:cNvSpPr/>
            <p:nvPr/>
          </p:nvSpPr>
          <p:spPr>
            <a:xfrm>
              <a:off x="1407794" y="5098677"/>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rgbClr val="000000"/>
                </a:solidFill>
              </a:endParaRPr>
            </a:p>
          </p:txBody>
        </p:sp>
        <p:sp>
          <p:nvSpPr>
            <p:cNvPr id="43" name="Awareness"/>
            <p:cNvSpPr>
              <a:spLocks noChangeAspect="1"/>
            </p:cNvSpPr>
            <p:nvPr>
              <p:custDataLst>
                <p:tags r:id="rId6"/>
              </p:custDataLst>
            </p:nvPr>
          </p:nvSpPr>
          <p:spPr bwMode="auto">
            <a:xfrm>
              <a:off x="656829" y="5179506"/>
              <a:ext cx="468147" cy="317423"/>
            </a:xfrm>
            <a:custGeom>
              <a:avLst/>
              <a:gdLst>
                <a:gd name="connsiteX0" fmla="*/ 366788 w 1770026"/>
                <a:gd name="connsiteY0" fmla="*/ 784225 h 1200150"/>
                <a:gd name="connsiteX1" fmla="*/ 336550 w 1770026"/>
                <a:gd name="connsiteY1" fmla="*/ 871538 h 1200150"/>
                <a:gd name="connsiteX2" fmla="*/ 495300 w 1770026"/>
                <a:gd name="connsiteY2" fmla="*/ 784225 h 1200150"/>
                <a:gd name="connsiteX3" fmla="*/ 366788 w 1770026"/>
                <a:gd name="connsiteY3" fmla="*/ 784225 h 1200150"/>
                <a:gd name="connsiteX4" fmla="*/ 190008 w 1770026"/>
                <a:gd name="connsiteY4" fmla="*/ 784225 h 1200150"/>
                <a:gd name="connsiteX5" fmla="*/ 53975 w 1770026"/>
                <a:gd name="connsiteY5" fmla="*/ 1154113 h 1200150"/>
                <a:gd name="connsiteX6" fmla="*/ 190008 w 1770026"/>
                <a:gd name="connsiteY6" fmla="*/ 1154113 h 1200150"/>
                <a:gd name="connsiteX7" fmla="*/ 284476 w 1770026"/>
                <a:gd name="connsiteY7" fmla="*/ 886133 h 1200150"/>
                <a:gd name="connsiteX8" fmla="*/ 288254 w 1770026"/>
                <a:gd name="connsiteY8" fmla="*/ 882359 h 1200150"/>
                <a:gd name="connsiteX9" fmla="*/ 288254 w 1770026"/>
                <a:gd name="connsiteY9" fmla="*/ 874810 h 1200150"/>
                <a:gd name="connsiteX10" fmla="*/ 322263 w 1770026"/>
                <a:gd name="connsiteY10" fmla="*/ 784225 h 1200150"/>
                <a:gd name="connsiteX11" fmla="*/ 197566 w 1770026"/>
                <a:gd name="connsiteY11" fmla="*/ 784225 h 1200150"/>
                <a:gd name="connsiteX12" fmla="*/ 190008 w 1770026"/>
                <a:gd name="connsiteY12" fmla="*/ 784225 h 1200150"/>
                <a:gd name="connsiteX13" fmla="*/ 46038 w 1770026"/>
                <a:gd name="connsiteY13" fmla="*/ 295275 h 1200150"/>
                <a:gd name="connsiteX14" fmla="*/ 46038 w 1770026"/>
                <a:gd name="connsiteY14" fmla="*/ 738188 h 1200150"/>
                <a:gd name="connsiteX15" fmla="*/ 593726 w 1770026"/>
                <a:gd name="connsiteY15" fmla="*/ 738188 h 1200150"/>
                <a:gd name="connsiteX16" fmla="*/ 593726 w 1770026"/>
                <a:gd name="connsiteY16" fmla="*/ 295275 h 1200150"/>
                <a:gd name="connsiteX17" fmla="*/ 1411873 w 1770026"/>
                <a:gd name="connsiteY17" fmla="*/ 198872 h 1200150"/>
                <a:gd name="connsiteX18" fmla="*/ 1435101 w 1770026"/>
                <a:gd name="connsiteY18" fmla="*/ 212574 h 1200150"/>
                <a:gd name="connsiteX19" fmla="*/ 1435101 w 1770026"/>
                <a:gd name="connsiteY19" fmla="*/ 817336 h 1200150"/>
                <a:gd name="connsiteX20" fmla="*/ 1408554 w 1770026"/>
                <a:gd name="connsiteY20" fmla="*/ 828675 h 1200150"/>
                <a:gd name="connsiteX21" fmla="*/ 1385800 w 1770026"/>
                <a:gd name="connsiteY21" fmla="*/ 821116 h 1200150"/>
                <a:gd name="connsiteX22" fmla="*/ 1378215 w 1770026"/>
                <a:gd name="connsiteY22" fmla="*/ 771979 h 1200150"/>
                <a:gd name="connsiteX23" fmla="*/ 1378215 w 1770026"/>
                <a:gd name="connsiteY23" fmla="*/ 254151 h 1200150"/>
                <a:gd name="connsiteX24" fmla="*/ 1385800 w 1770026"/>
                <a:gd name="connsiteY24" fmla="*/ 205014 h 1200150"/>
                <a:gd name="connsiteX25" fmla="*/ 1411873 w 1770026"/>
                <a:gd name="connsiteY25" fmla="*/ 198872 h 1200150"/>
                <a:gd name="connsiteX26" fmla="*/ 1632058 w 1770026"/>
                <a:gd name="connsiteY26" fmla="*/ 111572 h 1200150"/>
                <a:gd name="connsiteX27" fmla="*/ 1653718 w 1770026"/>
                <a:gd name="connsiteY27" fmla="*/ 125306 h 1200150"/>
                <a:gd name="connsiteX28" fmla="*/ 1657485 w 1770026"/>
                <a:gd name="connsiteY28" fmla="*/ 875434 h 1200150"/>
                <a:gd name="connsiteX29" fmla="*/ 1627350 w 1770026"/>
                <a:gd name="connsiteY29" fmla="*/ 890588 h 1200150"/>
                <a:gd name="connsiteX30" fmla="*/ 1608515 w 1770026"/>
                <a:gd name="connsiteY30" fmla="*/ 886800 h 1200150"/>
                <a:gd name="connsiteX31" fmla="*/ 1597214 w 1770026"/>
                <a:gd name="connsiteY31" fmla="*/ 837549 h 1200150"/>
                <a:gd name="connsiteX32" fmla="*/ 1597214 w 1770026"/>
                <a:gd name="connsiteY32" fmla="*/ 166980 h 1200150"/>
                <a:gd name="connsiteX33" fmla="*/ 1604748 w 1770026"/>
                <a:gd name="connsiteY33" fmla="*/ 117729 h 1200150"/>
                <a:gd name="connsiteX34" fmla="*/ 1632058 w 1770026"/>
                <a:gd name="connsiteY34" fmla="*/ 111572 h 1200150"/>
                <a:gd name="connsiteX35" fmla="*/ 1177926 w 1770026"/>
                <a:gd name="connsiteY35" fmla="*/ 57150 h 1200150"/>
                <a:gd name="connsiteX36" fmla="*/ 687388 w 1770026"/>
                <a:gd name="connsiteY36" fmla="*/ 284163 h 1200150"/>
                <a:gd name="connsiteX37" fmla="*/ 687388 w 1770026"/>
                <a:gd name="connsiteY37" fmla="*/ 754063 h 1200150"/>
                <a:gd name="connsiteX38" fmla="*/ 1177926 w 1770026"/>
                <a:gd name="connsiteY38" fmla="*/ 976313 h 1200150"/>
                <a:gd name="connsiteX39" fmla="*/ 1189964 w 1770026"/>
                <a:gd name="connsiteY39" fmla="*/ 0 h 1200150"/>
                <a:gd name="connsiteX40" fmla="*/ 1212630 w 1770026"/>
                <a:gd name="connsiteY40" fmla="*/ 3786 h 1200150"/>
                <a:gd name="connsiteX41" fmla="*/ 1223963 w 1770026"/>
                <a:gd name="connsiteY41" fmla="*/ 22716 h 1200150"/>
                <a:gd name="connsiteX42" fmla="*/ 1223963 w 1770026"/>
                <a:gd name="connsiteY42" fmla="*/ 1014638 h 1200150"/>
                <a:gd name="connsiteX43" fmla="*/ 1212630 w 1770026"/>
                <a:gd name="connsiteY43" fmla="*/ 1029782 h 1200150"/>
                <a:gd name="connsiteX44" fmla="*/ 1201297 w 1770026"/>
                <a:gd name="connsiteY44" fmla="*/ 1033568 h 1200150"/>
                <a:gd name="connsiteX45" fmla="*/ 1189964 w 1770026"/>
                <a:gd name="connsiteY45" fmla="*/ 1033568 h 1200150"/>
                <a:gd name="connsiteX46" fmla="*/ 668646 w 1770026"/>
                <a:gd name="connsiteY46" fmla="*/ 791266 h 1200150"/>
                <a:gd name="connsiteX47" fmla="*/ 638425 w 1770026"/>
                <a:gd name="connsiteY47" fmla="*/ 806410 h 1200150"/>
                <a:gd name="connsiteX48" fmla="*/ 600648 w 1770026"/>
                <a:gd name="connsiteY48" fmla="*/ 783694 h 1200150"/>
                <a:gd name="connsiteX49" fmla="*/ 543983 w 1770026"/>
                <a:gd name="connsiteY49" fmla="*/ 783694 h 1200150"/>
                <a:gd name="connsiteX50" fmla="*/ 324879 w 1770026"/>
                <a:gd name="connsiteY50" fmla="*/ 916203 h 1200150"/>
                <a:gd name="connsiteX51" fmla="*/ 321101 w 1770026"/>
                <a:gd name="connsiteY51" fmla="*/ 916203 h 1200150"/>
                <a:gd name="connsiteX52" fmla="*/ 226660 w 1770026"/>
                <a:gd name="connsiteY52" fmla="*/ 1185006 h 1200150"/>
                <a:gd name="connsiteX53" fmla="*/ 203994 w 1770026"/>
                <a:gd name="connsiteY53" fmla="*/ 1200150 h 1200150"/>
                <a:gd name="connsiteX54" fmla="*/ 22666 w 1770026"/>
                <a:gd name="connsiteY54" fmla="*/ 1200150 h 1200150"/>
                <a:gd name="connsiteX55" fmla="*/ 3777 w 1770026"/>
                <a:gd name="connsiteY55" fmla="*/ 1188792 h 1200150"/>
                <a:gd name="connsiteX56" fmla="*/ 0 w 1770026"/>
                <a:gd name="connsiteY56" fmla="*/ 1169862 h 1200150"/>
                <a:gd name="connsiteX57" fmla="*/ 139773 w 1770026"/>
                <a:gd name="connsiteY57" fmla="*/ 783694 h 1200150"/>
                <a:gd name="connsiteX58" fmla="*/ 22666 w 1770026"/>
                <a:gd name="connsiteY58" fmla="*/ 783694 h 1200150"/>
                <a:gd name="connsiteX59" fmla="*/ 0 w 1770026"/>
                <a:gd name="connsiteY59" fmla="*/ 760979 h 1200150"/>
                <a:gd name="connsiteX60" fmla="*/ 0 w 1770026"/>
                <a:gd name="connsiteY60" fmla="*/ 276375 h 1200150"/>
                <a:gd name="connsiteX61" fmla="*/ 22666 w 1770026"/>
                <a:gd name="connsiteY61" fmla="*/ 253660 h 1200150"/>
                <a:gd name="connsiteX62" fmla="*/ 596871 w 1770026"/>
                <a:gd name="connsiteY62" fmla="*/ 253660 h 1200150"/>
                <a:gd name="connsiteX63" fmla="*/ 638425 w 1770026"/>
                <a:gd name="connsiteY63" fmla="*/ 227158 h 1200150"/>
                <a:gd name="connsiteX64" fmla="*/ 672424 w 1770026"/>
                <a:gd name="connsiteY64" fmla="*/ 242302 h 1200150"/>
                <a:gd name="connsiteX65" fmla="*/ 1189964 w 1770026"/>
                <a:gd name="connsiteY65" fmla="*/ 0 h 120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770026" h="1200150">
                  <a:moveTo>
                    <a:pt x="366788" y="784225"/>
                  </a:moveTo>
                  <a:cubicBezTo>
                    <a:pt x="366788" y="784225"/>
                    <a:pt x="366788" y="784225"/>
                    <a:pt x="336550" y="871538"/>
                  </a:cubicBezTo>
                  <a:cubicBezTo>
                    <a:pt x="397026" y="867742"/>
                    <a:pt x="472621" y="829780"/>
                    <a:pt x="495300" y="784225"/>
                  </a:cubicBezTo>
                  <a:cubicBezTo>
                    <a:pt x="495300" y="784225"/>
                    <a:pt x="495300" y="784225"/>
                    <a:pt x="366788" y="784225"/>
                  </a:cubicBezTo>
                  <a:close/>
                  <a:moveTo>
                    <a:pt x="190008" y="784225"/>
                  </a:moveTo>
                  <a:cubicBezTo>
                    <a:pt x="190008" y="784225"/>
                    <a:pt x="190008" y="784225"/>
                    <a:pt x="53975" y="1154113"/>
                  </a:cubicBezTo>
                  <a:lnTo>
                    <a:pt x="190008" y="1154113"/>
                  </a:lnTo>
                  <a:cubicBezTo>
                    <a:pt x="190008" y="1154113"/>
                    <a:pt x="190008" y="1154113"/>
                    <a:pt x="284476" y="886133"/>
                  </a:cubicBezTo>
                  <a:cubicBezTo>
                    <a:pt x="288254" y="882359"/>
                    <a:pt x="288254" y="882359"/>
                    <a:pt x="288254" y="882359"/>
                  </a:cubicBezTo>
                  <a:cubicBezTo>
                    <a:pt x="288254" y="882359"/>
                    <a:pt x="288254" y="882359"/>
                    <a:pt x="288254" y="874810"/>
                  </a:cubicBezTo>
                  <a:cubicBezTo>
                    <a:pt x="288254" y="874810"/>
                    <a:pt x="288254" y="874810"/>
                    <a:pt x="322263" y="784225"/>
                  </a:cubicBezTo>
                  <a:cubicBezTo>
                    <a:pt x="322263" y="784225"/>
                    <a:pt x="322263" y="784225"/>
                    <a:pt x="197566" y="784225"/>
                  </a:cubicBezTo>
                  <a:cubicBezTo>
                    <a:pt x="197566" y="784225"/>
                    <a:pt x="197566" y="784225"/>
                    <a:pt x="190008" y="784225"/>
                  </a:cubicBezTo>
                  <a:close/>
                  <a:moveTo>
                    <a:pt x="46038" y="295275"/>
                  </a:moveTo>
                  <a:lnTo>
                    <a:pt x="46038" y="738188"/>
                  </a:lnTo>
                  <a:lnTo>
                    <a:pt x="593726" y="738188"/>
                  </a:lnTo>
                  <a:lnTo>
                    <a:pt x="593726" y="295275"/>
                  </a:lnTo>
                  <a:close/>
                  <a:moveTo>
                    <a:pt x="1411873" y="198872"/>
                  </a:moveTo>
                  <a:cubicBezTo>
                    <a:pt x="1420879" y="200290"/>
                    <a:pt x="1429412" y="205014"/>
                    <a:pt x="1435101" y="212574"/>
                  </a:cubicBezTo>
                  <a:cubicBezTo>
                    <a:pt x="1571626" y="390223"/>
                    <a:pt x="1571626" y="639687"/>
                    <a:pt x="1435101" y="817336"/>
                  </a:cubicBezTo>
                  <a:cubicBezTo>
                    <a:pt x="1427516" y="824895"/>
                    <a:pt x="1416139" y="828675"/>
                    <a:pt x="1408554" y="828675"/>
                  </a:cubicBezTo>
                  <a:cubicBezTo>
                    <a:pt x="1400970" y="828675"/>
                    <a:pt x="1393385" y="828675"/>
                    <a:pt x="1385800" y="821116"/>
                  </a:cubicBezTo>
                  <a:cubicBezTo>
                    <a:pt x="1370631" y="809776"/>
                    <a:pt x="1366838" y="787098"/>
                    <a:pt x="1378215" y="771979"/>
                  </a:cubicBezTo>
                  <a:cubicBezTo>
                    <a:pt x="1495779" y="620788"/>
                    <a:pt x="1495779" y="409122"/>
                    <a:pt x="1378215" y="254151"/>
                  </a:cubicBezTo>
                  <a:cubicBezTo>
                    <a:pt x="1366838" y="239032"/>
                    <a:pt x="1370631" y="216354"/>
                    <a:pt x="1385800" y="205014"/>
                  </a:cubicBezTo>
                  <a:cubicBezTo>
                    <a:pt x="1393385" y="199345"/>
                    <a:pt x="1402866" y="197455"/>
                    <a:pt x="1411873" y="198872"/>
                  </a:cubicBezTo>
                  <a:close/>
                  <a:moveTo>
                    <a:pt x="1632058" y="111572"/>
                  </a:moveTo>
                  <a:cubicBezTo>
                    <a:pt x="1640534" y="112993"/>
                    <a:pt x="1648068" y="117729"/>
                    <a:pt x="1653718" y="125306"/>
                  </a:cubicBezTo>
                  <a:cubicBezTo>
                    <a:pt x="1808163" y="348829"/>
                    <a:pt x="1808163" y="651911"/>
                    <a:pt x="1657485" y="875434"/>
                  </a:cubicBezTo>
                  <a:cubicBezTo>
                    <a:pt x="1649951" y="886800"/>
                    <a:pt x="1638651" y="890588"/>
                    <a:pt x="1627350" y="890588"/>
                  </a:cubicBezTo>
                  <a:cubicBezTo>
                    <a:pt x="1619816" y="890588"/>
                    <a:pt x="1616049" y="890588"/>
                    <a:pt x="1608515" y="886800"/>
                  </a:cubicBezTo>
                  <a:cubicBezTo>
                    <a:pt x="1593447" y="875434"/>
                    <a:pt x="1589680" y="852703"/>
                    <a:pt x="1597214" y="837549"/>
                  </a:cubicBezTo>
                  <a:cubicBezTo>
                    <a:pt x="1732824" y="636757"/>
                    <a:pt x="1732824" y="367771"/>
                    <a:pt x="1597214" y="166980"/>
                  </a:cubicBezTo>
                  <a:cubicBezTo>
                    <a:pt x="1585913" y="151825"/>
                    <a:pt x="1589680" y="129094"/>
                    <a:pt x="1604748" y="117729"/>
                  </a:cubicBezTo>
                  <a:cubicBezTo>
                    <a:pt x="1614165" y="112046"/>
                    <a:pt x="1623583" y="110152"/>
                    <a:pt x="1632058" y="111572"/>
                  </a:cubicBezTo>
                  <a:close/>
                  <a:moveTo>
                    <a:pt x="1177926" y="57150"/>
                  </a:moveTo>
                  <a:lnTo>
                    <a:pt x="687388" y="284163"/>
                  </a:lnTo>
                  <a:lnTo>
                    <a:pt x="687388" y="754063"/>
                  </a:lnTo>
                  <a:lnTo>
                    <a:pt x="1177926" y="976313"/>
                  </a:lnTo>
                  <a:close/>
                  <a:moveTo>
                    <a:pt x="1189964" y="0"/>
                  </a:moveTo>
                  <a:cubicBezTo>
                    <a:pt x="1197520" y="0"/>
                    <a:pt x="1205075" y="0"/>
                    <a:pt x="1212630" y="3786"/>
                  </a:cubicBezTo>
                  <a:cubicBezTo>
                    <a:pt x="1220186" y="7572"/>
                    <a:pt x="1223963" y="15144"/>
                    <a:pt x="1223963" y="22716"/>
                  </a:cubicBezTo>
                  <a:cubicBezTo>
                    <a:pt x="1223963" y="22716"/>
                    <a:pt x="1223963" y="22716"/>
                    <a:pt x="1223963" y="1014638"/>
                  </a:cubicBezTo>
                  <a:cubicBezTo>
                    <a:pt x="1223963" y="1022210"/>
                    <a:pt x="1220186" y="1025996"/>
                    <a:pt x="1212630" y="1029782"/>
                  </a:cubicBezTo>
                  <a:cubicBezTo>
                    <a:pt x="1208853" y="1033568"/>
                    <a:pt x="1205075" y="1033568"/>
                    <a:pt x="1201297" y="1033568"/>
                  </a:cubicBezTo>
                  <a:cubicBezTo>
                    <a:pt x="1197520" y="1033568"/>
                    <a:pt x="1193742" y="1033568"/>
                    <a:pt x="1189964" y="1033568"/>
                  </a:cubicBezTo>
                  <a:cubicBezTo>
                    <a:pt x="1189964" y="1033568"/>
                    <a:pt x="1189964" y="1033568"/>
                    <a:pt x="668646" y="791266"/>
                  </a:cubicBezTo>
                  <a:cubicBezTo>
                    <a:pt x="661091" y="798838"/>
                    <a:pt x="649758" y="806410"/>
                    <a:pt x="638425" y="806410"/>
                  </a:cubicBezTo>
                  <a:cubicBezTo>
                    <a:pt x="623314" y="806410"/>
                    <a:pt x="608204" y="795052"/>
                    <a:pt x="600648" y="783694"/>
                  </a:cubicBezTo>
                  <a:cubicBezTo>
                    <a:pt x="600648" y="783694"/>
                    <a:pt x="600648" y="783694"/>
                    <a:pt x="543983" y="783694"/>
                  </a:cubicBezTo>
                  <a:cubicBezTo>
                    <a:pt x="517540" y="863200"/>
                    <a:pt x="400432" y="916203"/>
                    <a:pt x="324879" y="916203"/>
                  </a:cubicBezTo>
                  <a:cubicBezTo>
                    <a:pt x="324879" y="916203"/>
                    <a:pt x="324879" y="916203"/>
                    <a:pt x="321101" y="916203"/>
                  </a:cubicBezTo>
                  <a:cubicBezTo>
                    <a:pt x="321101" y="916203"/>
                    <a:pt x="321101" y="916203"/>
                    <a:pt x="226660" y="1185006"/>
                  </a:cubicBezTo>
                  <a:cubicBezTo>
                    <a:pt x="222882" y="1192578"/>
                    <a:pt x="215327" y="1200150"/>
                    <a:pt x="203994" y="1200150"/>
                  </a:cubicBezTo>
                  <a:cubicBezTo>
                    <a:pt x="203994" y="1200150"/>
                    <a:pt x="203994" y="1200150"/>
                    <a:pt x="22666" y="1200150"/>
                  </a:cubicBezTo>
                  <a:cubicBezTo>
                    <a:pt x="15110" y="1200150"/>
                    <a:pt x="7555" y="1196364"/>
                    <a:pt x="3777" y="1188792"/>
                  </a:cubicBezTo>
                  <a:cubicBezTo>
                    <a:pt x="0" y="1185006"/>
                    <a:pt x="0" y="1177434"/>
                    <a:pt x="0" y="1169862"/>
                  </a:cubicBezTo>
                  <a:cubicBezTo>
                    <a:pt x="0" y="1169862"/>
                    <a:pt x="0" y="1169862"/>
                    <a:pt x="139773" y="783694"/>
                  </a:cubicBezTo>
                  <a:cubicBezTo>
                    <a:pt x="139773" y="783694"/>
                    <a:pt x="139773" y="783694"/>
                    <a:pt x="22666" y="783694"/>
                  </a:cubicBezTo>
                  <a:cubicBezTo>
                    <a:pt x="11333" y="783694"/>
                    <a:pt x="0" y="772336"/>
                    <a:pt x="0" y="760979"/>
                  </a:cubicBezTo>
                  <a:cubicBezTo>
                    <a:pt x="0" y="760979"/>
                    <a:pt x="0" y="760979"/>
                    <a:pt x="0" y="276375"/>
                  </a:cubicBezTo>
                  <a:cubicBezTo>
                    <a:pt x="0" y="261232"/>
                    <a:pt x="11333" y="253660"/>
                    <a:pt x="22666" y="253660"/>
                  </a:cubicBezTo>
                  <a:cubicBezTo>
                    <a:pt x="22666" y="253660"/>
                    <a:pt x="22666" y="253660"/>
                    <a:pt x="596871" y="253660"/>
                  </a:cubicBezTo>
                  <a:cubicBezTo>
                    <a:pt x="604426" y="238516"/>
                    <a:pt x="619537" y="227158"/>
                    <a:pt x="638425" y="227158"/>
                  </a:cubicBezTo>
                  <a:cubicBezTo>
                    <a:pt x="649758" y="227158"/>
                    <a:pt x="661091" y="230944"/>
                    <a:pt x="672424" y="242302"/>
                  </a:cubicBezTo>
                  <a:cubicBezTo>
                    <a:pt x="672424" y="242302"/>
                    <a:pt x="672424" y="242302"/>
                    <a:pt x="1189964"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dirty="0">
                <a:solidFill>
                  <a:srgbClr val="000000"/>
                </a:solidFill>
              </a:endParaRPr>
            </a:p>
          </p:txBody>
        </p:sp>
        <p:sp>
          <p:nvSpPr>
            <p:cNvPr id="29" name="TextBox 28"/>
            <p:cNvSpPr txBox="1"/>
            <p:nvPr/>
          </p:nvSpPr>
          <p:spPr>
            <a:xfrm>
              <a:off x="5631794" y="5045508"/>
              <a:ext cx="2006951" cy="585417"/>
            </a:xfrm>
            <a:prstGeom prst="rect">
              <a:avLst/>
            </a:prstGeom>
            <a:noFill/>
          </p:spPr>
          <p:txBody>
            <a:bodyPr wrap="square" rtlCol="0">
              <a:spAutoFit/>
            </a:bodyPr>
            <a:lstStyle/>
            <a:p>
              <a:pPr algn="ctr">
                <a:lnSpc>
                  <a:spcPct val="89000"/>
                </a:lnSpc>
              </a:pPr>
              <a:r>
                <a:rPr lang="en-GB" sz="3200" b="1" dirty="0" smtClean="0">
                  <a:solidFill>
                    <a:schemeClr val="tx2"/>
                  </a:solidFill>
                  <a:ea typeface="Open Sans" panose="020B0606030504020204" pitchFamily="34" charset="0"/>
                  <a:cs typeface="Open Sans" panose="020B0606030504020204" pitchFamily="34" charset="0"/>
                </a:rPr>
                <a:t>39 717</a:t>
              </a:r>
              <a:endParaRPr lang="en-US" sz="3200" b="1" dirty="0">
                <a:solidFill>
                  <a:schemeClr val="tx2"/>
                </a:solidFill>
                <a:ea typeface="Open Sans" panose="020B0606030504020204" pitchFamily="34" charset="0"/>
                <a:cs typeface="Open Sans" panose="020B0606030504020204" pitchFamily="34" charset="0"/>
              </a:endParaRPr>
            </a:p>
          </p:txBody>
        </p:sp>
      </p:grpSp>
      <p:pic>
        <p:nvPicPr>
          <p:cNvPr id="32" name="Content Placeholder 6"/>
          <p:cNvPicPr>
            <a:picLocks noGrp="1" noChangeAspect="1"/>
          </p:cNvPicPr>
          <p:nvPr>
            <p:ph sz="quarter" idx="4294967295"/>
          </p:nvPr>
        </p:nvPicPr>
        <p:blipFill rotWithShape="1">
          <a:blip r:embed="rId10" cstate="screen">
            <a:extLst>
              <a:ext uri="{BEBA8EAE-BF5A-486C-A8C5-ECC9F3942E4B}">
                <a14:imgProps xmlns:a14="http://schemas.microsoft.com/office/drawing/2010/main">
                  <a14:imgLayer r:embed="rId11">
                    <a14:imgEffect>
                      <a14:saturation sat="66000"/>
                    </a14:imgEffect>
                    <a14:imgEffect>
                      <a14:brightnessContrast bright="-20000" contrast="20000"/>
                    </a14:imgEffect>
                  </a14:imgLayer>
                </a14:imgProps>
              </a:ext>
              <a:ext uri="{28A0092B-C50C-407E-A947-70E740481C1C}">
                <a14:useLocalDpi xmlns:a14="http://schemas.microsoft.com/office/drawing/2010/main"/>
              </a:ext>
            </a:extLst>
          </a:blip>
          <a:srcRect l="-470" t="-561" b="282"/>
          <a:stretch/>
        </p:blipFill>
        <p:spPr>
          <a:xfrm>
            <a:off x="8081493" y="-54052"/>
            <a:ext cx="4125023" cy="6886294"/>
          </a:xfrm>
          <a:prstGeom prst="parallelogram">
            <a:avLst/>
          </a:prstGeom>
        </p:spPr>
      </p:pic>
      <p:grpSp>
        <p:nvGrpSpPr>
          <p:cNvPr id="48" name="Group 47"/>
          <p:cNvGrpSpPr/>
          <p:nvPr/>
        </p:nvGrpSpPr>
        <p:grpSpPr>
          <a:xfrm>
            <a:off x="487322" y="1867899"/>
            <a:ext cx="7651443" cy="1004907"/>
            <a:chOff x="487322" y="1920651"/>
            <a:chExt cx="7651443" cy="1004907"/>
          </a:xfrm>
        </p:grpSpPr>
        <p:sp>
          <p:nvSpPr>
            <p:cNvPr id="49" name="Rectangle 48"/>
            <p:cNvSpPr/>
            <p:nvPr/>
          </p:nvSpPr>
          <p:spPr>
            <a:xfrm>
              <a:off x="487322" y="1920651"/>
              <a:ext cx="7651443" cy="1004907"/>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50" name="TextBox 49"/>
            <p:cNvSpPr txBox="1"/>
            <p:nvPr/>
          </p:nvSpPr>
          <p:spPr>
            <a:xfrm>
              <a:off x="1520991" y="2269215"/>
              <a:ext cx="2885810" cy="307777"/>
            </a:xfrm>
            <a:prstGeom prst="rect">
              <a:avLst/>
            </a:prstGeom>
            <a:noFill/>
          </p:spPr>
          <p:txBody>
            <a:bodyPr wrap="square" lIns="0" tIns="0" rIns="0" bIns="0" rtlCol="0" anchor="ctr" anchorCtr="0">
              <a:spAutoFit/>
            </a:bodyPr>
            <a:lstStyle/>
            <a:p>
              <a:r>
                <a:rPr lang="en-US" sz="2000" b="1" dirty="0">
                  <a:solidFill>
                    <a:srgbClr val="003755"/>
                  </a:solidFill>
                </a:rPr>
                <a:t>Companies</a:t>
              </a:r>
            </a:p>
          </p:txBody>
        </p:sp>
        <p:sp>
          <p:nvSpPr>
            <p:cNvPr id="51" name="Oval 50"/>
            <p:cNvSpPr/>
            <p:nvPr/>
          </p:nvSpPr>
          <p:spPr>
            <a:xfrm>
              <a:off x="507634" y="2089887"/>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chemeClr val="tx1"/>
                </a:solidFill>
              </a:endParaRPr>
            </a:p>
          </p:txBody>
        </p:sp>
        <p:sp>
          <p:nvSpPr>
            <p:cNvPr id="52" name="Rectangle 51"/>
            <p:cNvSpPr/>
            <p:nvPr/>
          </p:nvSpPr>
          <p:spPr>
            <a:xfrm>
              <a:off x="1371079" y="2183564"/>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rgbClr val="000000"/>
                </a:solidFill>
              </a:endParaRPr>
            </a:p>
          </p:txBody>
        </p:sp>
        <p:sp>
          <p:nvSpPr>
            <p:cNvPr id="53" name="Business"/>
            <p:cNvSpPr>
              <a:spLocks noChangeAspect="1"/>
            </p:cNvSpPr>
            <p:nvPr>
              <p:custDataLst>
                <p:tags r:id="rId5"/>
              </p:custDataLst>
            </p:nvPr>
          </p:nvSpPr>
          <p:spPr bwMode="auto">
            <a:xfrm>
              <a:off x="583504" y="2243104"/>
              <a:ext cx="505250" cy="360000"/>
            </a:xfrm>
            <a:custGeom>
              <a:avLst/>
              <a:gdLst>
                <a:gd name="connsiteX0" fmla="*/ 820964 w 1154113"/>
                <a:gd name="connsiteY0" fmla="*/ 561975 h 822325"/>
                <a:gd name="connsiteX1" fmla="*/ 873881 w 1154113"/>
                <a:gd name="connsiteY1" fmla="*/ 561975 h 822325"/>
                <a:gd name="connsiteX2" fmla="*/ 889000 w 1154113"/>
                <a:gd name="connsiteY2" fmla="*/ 577397 h 822325"/>
                <a:gd name="connsiteX3" fmla="*/ 889000 w 1154113"/>
                <a:gd name="connsiteY3" fmla="*/ 631372 h 822325"/>
                <a:gd name="connsiteX4" fmla="*/ 873881 w 1154113"/>
                <a:gd name="connsiteY4" fmla="*/ 642938 h 822325"/>
                <a:gd name="connsiteX5" fmla="*/ 820964 w 1154113"/>
                <a:gd name="connsiteY5" fmla="*/ 642938 h 822325"/>
                <a:gd name="connsiteX6" fmla="*/ 809625 w 1154113"/>
                <a:gd name="connsiteY6" fmla="*/ 631372 h 822325"/>
                <a:gd name="connsiteX7" fmla="*/ 809625 w 1154113"/>
                <a:gd name="connsiteY7" fmla="*/ 577397 h 822325"/>
                <a:gd name="connsiteX8" fmla="*/ 820964 w 1154113"/>
                <a:gd name="connsiteY8" fmla="*/ 561975 h 822325"/>
                <a:gd name="connsiteX9" fmla="*/ 704094 w 1154113"/>
                <a:gd name="connsiteY9" fmla="*/ 561975 h 822325"/>
                <a:gd name="connsiteX10" fmla="*/ 757011 w 1154113"/>
                <a:gd name="connsiteY10" fmla="*/ 561975 h 822325"/>
                <a:gd name="connsiteX11" fmla="*/ 768350 w 1154113"/>
                <a:gd name="connsiteY11" fmla="*/ 577397 h 822325"/>
                <a:gd name="connsiteX12" fmla="*/ 768350 w 1154113"/>
                <a:gd name="connsiteY12" fmla="*/ 631372 h 822325"/>
                <a:gd name="connsiteX13" fmla="*/ 757011 w 1154113"/>
                <a:gd name="connsiteY13" fmla="*/ 642938 h 822325"/>
                <a:gd name="connsiteX14" fmla="*/ 704094 w 1154113"/>
                <a:gd name="connsiteY14" fmla="*/ 642938 h 822325"/>
                <a:gd name="connsiteX15" fmla="*/ 688975 w 1154113"/>
                <a:gd name="connsiteY15" fmla="*/ 631372 h 822325"/>
                <a:gd name="connsiteX16" fmla="*/ 688975 w 1154113"/>
                <a:gd name="connsiteY16" fmla="*/ 577397 h 822325"/>
                <a:gd name="connsiteX17" fmla="*/ 704094 w 1154113"/>
                <a:gd name="connsiteY17" fmla="*/ 561975 h 822325"/>
                <a:gd name="connsiteX18" fmla="*/ 582839 w 1154113"/>
                <a:gd name="connsiteY18" fmla="*/ 561975 h 822325"/>
                <a:gd name="connsiteX19" fmla="*/ 635756 w 1154113"/>
                <a:gd name="connsiteY19" fmla="*/ 561975 h 822325"/>
                <a:gd name="connsiteX20" fmla="*/ 650875 w 1154113"/>
                <a:gd name="connsiteY20" fmla="*/ 577397 h 822325"/>
                <a:gd name="connsiteX21" fmla="*/ 650875 w 1154113"/>
                <a:gd name="connsiteY21" fmla="*/ 631372 h 822325"/>
                <a:gd name="connsiteX22" fmla="*/ 635756 w 1154113"/>
                <a:gd name="connsiteY22" fmla="*/ 642938 h 822325"/>
                <a:gd name="connsiteX23" fmla="*/ 582839 w 1154113"/>
                <a:gd name="connsiteY23" fmla="*/ 642938 h 822325"/>
                <a:gd name="connsiteX24" fmla="*/ 571500 w 1154113"/>
                <a:gd name="connsiteY24" fmla="*/ 631372 h 822325"/>
                <a:gd name="connsiteX25" fmla="*/ 571500 w 1154113"/>
                <a:gd name="connsiteY25" fmla="*/ 577397 h 822325"/>
                <a:gd name="connsiteX26" fmla="*/ 582839 w 1154113"/>
                <a:gd name="connsiteY26" fmla="*/ 561975 h 822325"/>
                <a:gd name="connsiteX27" fmla="*/ 378052 w 1154113"/>
                <a:gd name="connsiteY27" fmla="*/ 561975 h 822325"/>
                <a:gd name="connsiteX28" fmla="*/ 430969 w 1154113"/>
                <a:gd name="connsiteY28" fmla="*/ 561975 h 822325"/>
                <a:gd name="connsiteX29" fmla="*/ 446088 w 1154113"/>
                <a:gd name="connsiteY29" fmla="*/ 577397 h 822325"/>
                <a:gd name="connsiteX30" fmla="*/ 446088 w 1154113"/>
                <a:gd name="connsiteY30" fmla="*/ 631372 h 822325"/>
                <a:gd name="connsiteX31" fmla="*/ 430969 w 1154113"/>
                <a:gd name="connsiteY31" fmla="*/ 642938 h 822325"/>
                <a:gd name="connsiteX32" fmla="*/ 378052 w 1154113"/>
                <a:gd name="connsiteY32" fmla="*/ 642938 h 822325"/>
                <a:gd name="connsiteX33" fmla="*/ 366713 w 1154113"/>
                <a:gd name="connsiteY33" fmla="*/ 631372 h 822325"/>
                <a:gd name="connsiteX34" fmla="*/ 366713 w 1154113"/>
                <a:gd name="connsiteY34" fmla="*/ 577397 h 822325"/>
                <a:gd name="connsiteX35" fmla="*/ 378052 w 1154113"/>
                <a:gd name="connsiteY35" fmla="*/ 561975 h 822325"/>
                <a:gd name="connsiteX36" fmla="*/ 261182 w 1154113"/>
                <a:gd name="connsiteY36" fmla="*/ 561975 h 822325"/>
                <a:gd name="connsiteX37" fmla="*/ 314099 w 1154113"/>
                <a:gd name="connsiteY37" fmla="*/ 561975 h 822325"/>
                <a:gd name="connsiteX38" fmla="*/ 325438 w 1154113"/>
                <a:gd name="connsiteY38" fmla="*/ 577397 h 822325"/>
                <a:gd name="connsiteX39" fmla="*/ 325438 w 1154113"/>
                <a:gd name="connsiteY39" fmla="*/ 631372 h 822325"/>
                <a:gd name="connsiteX40" fmla="*/ 314099 w 1154113"/>
                <a:gd name="connsiteY40" fmla="*/ 642938 h 822325"/>
                <a:gd name="connsiteX41" fmla="*/ 261182 w 1154113"/>
                <a:gd name="connsiteY41" fmla="*/ 642938 h 822325"/>
                <a:gd name="connsiteX42" fmla="*/ 246063 w 1154113"/>
                <a:gd name="connsiteY42" fmla="*/ 631372 h 822325"/>
                <a:gd name="connsiteX43" fmla="*/ 246063 w 1154113"/>
                <a:gd name="connsiteY43" fmla="*/ 577397 h 822325"/>
                <a:gd name="connsiteX44" fmla="*/ 261182 w 1154113"/>
                <a:gd name="connsiteY44" fmla="*/ 561975 h 822325"/>
                <a:gd name="connsiteX45" fmla="*/ 820964 w 1154113"/>
                <a:gd name="connsiteY45" fmla="*/ 444500 h 822325"/>
                <a:gd name="connsiteX46" fmla="*/ 873881 w 1154113"/>
                <a:gd name="connsiteY46" fmla="*/ 444500 h 822325"/>
                <a:gd name="connsiteX47" fmla="*/ 889000 w 1154113"/>
                <a:gd name="connsiteY47" fmla="*/ 459619 h 822325"/>
                <a:gd name="connsiteX48" fmla="*/ 889000 w 1154113"/>
                <a:gd name="connsiteY48" fmla="*/ 508756 h 822325"/>
                <a:gd name="connsiteX49" fmla="*/ 873881 w 1154113"/>
                <a:gd name="connsiteY49" fmla="*/ 523875 h 822325"/>
                <a:gd name="connsiteX50" fmla="*/ 820964 w 1154113"/>
                <a:gd name="connsiteY50" fmla="*/ 523875 h 822325"/>
                <a:gd name="connsiteX51" fmla="*/ 809625 w 1154113"/>
                <a:gd name="connsiteY51" fmla="*/ 508756 h 822325"/>
                <a:gd name="connsiteX52" fmla="*/ 809625 w 1154113"/>
                <a:gd name="connsiteY52" fmla="*/ 459619 h 822325"/>
                <a:gd name="connsiteX53" fmla="*/ 820964 w 1154113"/>
                <a:gd name="connsiteY53" fmla="*/ 444500 h 822325"/>
                <a:gd name="connsiteX54" fmla="*/ 704094 w 1154113"/>
                <a:gd name="connsiteY54" fmla="*/ 444500 h 822325"/>
                <a:gd name="connsiteX55" fmla="*/ 757011 w 1154113"/>
                <a:gd name="connsiteY55" fmla="*/ 444500 h 822325"/>
                <a:gd name="connsiteX56" fmla="*/ 768350 w 1154113"/>
                <a:gd name="connsiteY56" fmla="*/ 459619 h 822325"/>
                <a:gd name="connsiteX57" fmla="*/ 768350 w 1154113"/>
                <a:gd name="connsiteY57" fmla="*/ 508756 h 822325"/>
                <a:gd name="connsiteX58" fmla="*/ 757011 w 1154113"/>
                <a:gd name="connsiteY58" fmla="*/ 523875 h 822325"/>
                <a:gd name="connsiteX59" fmla="*/ 704094 w 1154113"/>
                <a:gd name="connsiteY59" fmla="*/ 523875 h 822325"/>
                <a:gd name="connsiteX60" fmla="*/ 688975 w 1154113"/>
                <a:gd name="connsiteY60" fmla="*/ 508756 h 822325"/>
                <a:gd name="connsiteX61" fmla="*/ 688975 w 1154113"/>
                <a:gd name="connsiteY61" fmla="*/ 459619 h 822325"/>
                <a:gd name="connsiteX62" fmla="*/ 704094 w 1154113"/>
                <a:gd name="connsiteY62" fmla="*/ 444500 h 822325"/>
                <a:gd name="connsiteX63" fmla="*/ 582839 w 1154113"/>
                <a:gd name="connsiteY63" fmla="*/ 444500 h 822325"/>
                <a:gd name="connsiteX64" fmla="*/ 635756 w 1154113"/>
                <a:gd name="connsiteY64" fmla="*/ 444500 h 822325"/>
                <a:gd name="connsiteX65" fmla="*/ 650875 w 1154113"/>
                <a:gd name="connsiteY65" fmla="*/ 459619 h 822325"/>
                <a:gd name="connsiteX66" fmla="*/ 650875 w 1154113"/>
                <a:gd name="connsiteY66" fmla="*/ 508756 h 822325"/>
                <a:gd name="connsiteX67" fmla="*/ 635756 w 1154113"/>
                <a:gd name="connsiteY67" fmla="*/ 523875 h 822325"/>
                <a:gd name="connsiteX68" fmla="*/ 582839 w 1154113"/>
                <a:gd name="connsiteY68" fmla="*/ 523875 h 822325"/>
                <a:gd name="connsiteX69" fmla="*/ 571500 w 1154113"/>
                <a:gd name="connsiteY69" fmla="*/ 508756 h 822325"/>
                <a:gd name="connsiteX70" fmla="*/ 571500 w 1154113"/>
                <a:gd name="connsiteY70" fmla="*/ 459619 h 822325"/>
                <a:gd name="connsiteX71" fmla="*/ 582839 w 1154113"/>
                <a:gd name="connsiteY71" fmla="*/ 444500 h 822325"/>
                <a:gd name="connsiteX72" fmla="*/ 378052 w 1154113"/>
                <a:gd name="connsiteY72" fmla="*/ 444500 h 822325"/>
                <a:gd name="connsiteX73" fmla="*/ 430969 w 1154113"/>
                <a:gd name="connsiteY73" fmla="*/ 444500 h 822325"/>
                <a:gd name="connsiteX74" fmla="*/ 446088 w 1154113"/>
                <a:gd name="connsiteY74" fmla="*/ 459619 h 822325"/>
                <a:gd name="connsiteX75" fmla="*/ 446088 w 1154113"/>
                <a:gd name="connsiteY75" fmla="*/ 508756 h 822325"/>
                <a:gd name="connsiteX76" fmla="*/ 430969 w 1154113"/>
                <a:gd name="connsiteY76" fmla="*/ 523875 h 822325"/>
                <a:gd name="connsiteX77" fmla="*/ 378052 w 1154113"/>
                <a:gd name="connsiteY77" fmla="*/ 523875 h 822325"/>
                <a:gd name="connsiteX78" fmla="*/ 366713 w 1154113"/>
                <a:gd name="connsiteY78" fmla="*/ 508756 h 822325"/>
                <a:gd name="connsiteX79" fmla="*/ 366713 w 1154113"/>
                <a:gd name="connsiteY79" fmla="*/ 459619 h 822325"/>
                <a:gd name="connsiteX80" fmla="*/ 378052 w 1154113"/>
                <a:gd name="connsiteY80" fmla="*/ 444500 h 822325"/>
                <a:gd name="connsiteX81" fmla="*/ 261182 w 1154113"/>
                <a:gd name="connsiteY81" fmla="*/ 444500 h 822325"/>
                <a:gd name="connsiteX82" fmla="*/ 314099 w 1154113"/>
                <a:gd name="connsiteY82" fmla="*/ 444500 h 822325"/>
                <a:gd name="connsiteX83" fmla="*/ 321658 w 1154113"/>
                <a:gd name="connsiteY83" fmla="*/ 448280 h 822325"/>
                <a:gd name="connsiteX84" fmla="*/ 325438 w 1154113"/>
                <a:gd name="connsiteY84" fmla="*/ 459619 h 822325"/>
                <a:gd name="connsiteX85" fmla="*/ 325438 w 1154113"/>
                <a:gd name="connsiteY85" fmla="*/ 508756 h 822325"/>
                <a:gd name="connsiteX86" fmla="*/ 314099 w 1154113"/>
                <a:gd name="connsiteY86" fmla="*/ 523875 h 822325"/>
                <a:gd name="connsiteX87" fmla="*/ 261182 w 1154113"/>
                <a:gd name="connsiteY87" fmla="*/ 523875 h 822325"/>
                <a:gd name="connsiteX88" fmla="*/ 246063 w 1154113"/>
                <a:gd name="connsiteY88" fmla="*/ 508756 h 822325"/>
                <a:gd name="connsiteX89" fmla="*/ 246063 w 1154113"/>
                <a:gd name="connsiteY89" fmla="*/ 459619 h 822325"/>
                <a:gd name="connsiteX90" fmla="*/ 261182 w 1154113"/>
                <a:gd name="connsiteY90" fmla="*/ 444500 h 822325"/>
                <a:gd name="connsiteX91" fmla="*/ 820964 w 1154113"/>
                <a:gd name="connsiteY91" fmla="*/ 322262 h 822325"/>
                <a:gd name="connsiteX92" fmla="*/ 873881 w 1154113"/>
                <a:gd name="connsiteY92" fmla="*/ 322262 h 822325"/>
                <a:gd name="connsiteX93" fmla="*/ 889000 w 1154113"/>
                <a:gd name="connsiteY93" fmla="*/ 337683 h 822325"/>
                <a:gd name="connsiteX94" fmla="*/ 889000 w 1154113"/>
                <a:gd name="connsiteY94" fmla="*/ 391659 h 822325"/>
                <a:gd name="connsiteX95" fmla="*/ 873881 w 1154113"/>
                <a:gd name="connsiteY95" fmla="*/ 403225 h 822325"/>
                <a:gd name="connsiteX96" fmla="*/ 820964 w 1154113"/>
                <a:gd name="connsiteY96" fmla="*/ 403225 h 822325"/>
                <a:gd name="connsiteX97" fmla="*/ 809625 w 1154113"/>
                <a:gd name="connsiteY97" fmla="*/ 391659 h 822325"/>
                <a:gd name="connsiteX98" fmla="*/ 809625 w 1154113"/>
                <a:gd name="connsiteY98" fmla="*/ 337683 h 822325"/>
                <a:gd name="connsiteX99" fmla="*/ 820964 w 1154113"/>
                <a:gd name="connsiteY99" fmla="*/ 322262 h 822325"/>
                <a:gd name="connsiteX100" fmla="*/ 704094 w 1154113"/>
                <a:gd name="connsiteY100" fmla="*/ 322262 h 822325"/>
                <a:gd name="connsiteX101" fmla="*/ 757011 w 1154113"/>
                <a:gd name="connsiteY101" fmla="*/ 322262 h 822325"/>
                <a:gd name="connsiteX102" fmla="*/ 768350 w 1154113"/>
                <a:gd name="connsiteY102" fmla="*/ 337683 h 822325"/>
                <a:gd name="connsiteX103" fmla="*/ 768350 w 1154113"/>
                <a:gd name="connsiteY103" fmla="*/ 391659 h 822325"/>
                <a:gd name="connsiteX104" fmla="*/ 757011 w 1154113"/>
                <a:gd name="connsiteY104" fmla="*/ 403225 h 822325"/>
                <a:gd name="connsiteX105" fmla="*/ 704094 w 1154113"/>
                <a:gd name="connsiteY105" fmla="*/ 403225 h 822325"/>
                <a:gd name="connsiteX106" fmla="*/ 688975 w 1154113"/>
                <a:gd name="connsiteY106" fmla="*/ 391659 h 822325"/>
                <a:gd name="connsiteX107" fmla="*/ 688975 w 1154113"/>
                <a:gd name="connsiteY107" fmla="*/ 337683 h 822325"/>
                <a:gd name="connsiteX108" fmla="*/ 704094 w 1154113"/>
                <a:gd name="connsiteY108" fmla="*/ 322262 h 822325"/>
                <a:gd name="connsiteX109" fmla="*/ 582839 w 1154113"/>
                <a:gd name="connsiteY109" fmla="*/ 322262 h 822325"/>
                <a:gd name="connsiteX110" fmla="*/ 635756 w 1154113"/>
                <a:gd name="connsiteY110" fmla="*/ 322262 h 822325"/>
                <a:gd name="connsiteX111" fmla="*/ 650875 w 1154113"/>
                <a:gd name="connsiteY111" fmla="*/ 337683 h 822325"/>
                <a:gd name="connsiteX112" fmla="*/ 650875 w 1154113"/>
                <a:gd name="connsiteY112" fmla="*/ 391659 h 822325"/>
                <a:gd name="connsiteX113" fmla="*/ 635756 w 1154113"/>
                <a:gd name="connsiteY113" fmla="*/ 403225 h 822325"/>
                <a:gd name="connsiteX114" fmla="*/ 582839 w 1154113"/>
                <a:gd name="connsiteY114" fmla="*/ 403225 h 822325"/>
                <a:gd name="connsiteX115" fmla="*/ 571500 w 1154113"/>
                <a:gd name="connsiteY115" fmla="*/ 391659 h 822325"/>
                <a:gd name="connsiteX116" fmla="*/ 571500 w 1154113"/>
                <a:gd name="connsiteY116" fmla="*/ 337683 h 822325"/>
                <a:gd name="connsiteX117" fmla="*/ 582839 w 1154113"/>
                <a:gd name="connsiteY117" fmla="*/ 322262 h 822325"/>
                <a:gd name="connsiteX118" fmla="*/ 378052 w 1154113"/>
                <a:gd name="connsiteY118" fmla="*/ 322262 h 822325"/>
                <a:gd name="connsiteX119" fmla="*/ 430969 w 1154113"/>
                <a:gd name="connsiteY119" fmla="*/ 322262 h 822325"/>
                <a:gd name="connsiteX120" fmla="*/ 446088 w 1154113"/>
                <a:gd name="connsiteY120" fmla="*/ 337683 h 822325"/>
                <a:gd name="connsiteX121" fmla="*/ 446088 w 1154113"/>
                <a:gd name="connsiteY121" fmla="*/ 391659 h 822325"/>
                <a:gd name="connsiteX122" fmla="*/ 430969 w 1154113"/>
                <a:gd name="connsiteY122" fmla="*/ 403225 h 822325"/>
                <a:gd name="connsiteX123" fmla="*/ 378052 w 1154113"/>
                <a:gd name="connsiteY123" fmla="*/ 403225 h 822325"/>
                <a:gd name="connsiteX124" fmla="*/ 366713 w 1154113"/>
                <a:gd name="connsiteY124" fmla="*/ 391659 h 822325"/>
                <a:gd name="connsiteX125" fmla="*/ 366713 w 1154113"/>
                <a:gd name="connsiteY125" fmla="*/ 337683 h 822325"/>
                <a:gd name="connsiteX126" fmla="*/ 378052 w 1154113"/>
                <a:gd name="connsiteY126" fmla="*/ 322262 h 822325"/>
                <a:gd name="connsiteX127" fmla="*/ 261182 w 1154113"/>
                <a:gd name="connsiteY127" fmla="*/ 322262 h 822325"/>
                <a:gd name="connsiteX128" fmla="*/ 314099 w 1154113"/>
                <a:gd name="connsiteY128" fmla="*/ 322262 h 822325"/>
                <a:gd name="connsiteX129" fmla="*/ 325438 w 1154113"/>
                <a:gd name="connsiteY129" fmla="*/ 337683 h 822325"/>
                <a:gd name="connsiteX130" fmla="*/ 325438 w 1154113"/>
                <a:gd name="connsiteY130" fmla="*/ 391659 h 822325"/>
                <a:gd name="connsiteX131" fmla="*/ 314099 w 1154113"/>
                <a:gd name="connsiteY131" fmla="*/ 403225 h 822325"/>
                <a:gd name="connsiteX132" fmla="*/ 261182 w 1154113"/>
                <a:gd name="connsiteY132" fmla="*/ 403225 h 822325"/>
                <a:gd name="connsiteX133" fmla="*/ 246063 w 1154113"/>
                <a:gd name="connsiteY133" fmla="*/ 391659 h 822325"/>
                <a:gd name="connsiteX134" fmla="*/ 246063 w 1154113"/>
                <a:gd name="connsiteY134" fmla="*/ 337683 h 822325"/>
                <a:gd name="connsiteX135" fmla="*/ 261182 w 1154113"/>
                <a:gd name="connsiteY135" fmla="*/ 322262 h 822325"/>
                <a:gd name="connsiteX136" fmla="*/ 514350 w 1154113"/>
                <a:gd name="connsiteY136" fmla="*/ 265112 h 822325"/>
                <a:gd name="connsiteX137" fmla="*/ 514350 w 1154113"/>
                <a:gd name="connsiteY137" fmla="*/ 790575 h 822325"/>
                <a:gd name="connsiteX138" fmla="*/ 946150 w 1154113"/>
                <a:gd name="connsiteY138" fmla="*/ 790575 h 822325"/>
                <a:gd name="connsiteX139" fmla="*/ 946150 w 1154113"/>
                <a:gd name="connsiteY139" fmla="*/ 265112 h 822325"/>
                <a:gd name="connsiteX140" fmla="*/ 378052 w 1154113"/>
                <a:gd name="connsiteY140" fmla="*/ 204787 h 822325"/>
                <a:gd name="connsiteX141" fmla="*/ 430969 w 1154113"/>
                <a:gd name="connsiteY141" fmla="*/ 204787 h 822325"/>
                <a:gd name="connsiteX142" fmla="*/ 446088 w 1154113"/>
                <a:gd name="connsiteY142" fmla="*/ 219906 h 822325"/>
                <a:gd name="connsiteX143" fmla="*/ 446088 w 1154113"/>
                <a:gd name="connsiteY143" fmla="*/ 269043 h 822325"/>
                <a:gd name="connsiteX144" fmla="*/ 430969 w 1154113"/>
                <a:gd name="connsiteY144" fmla="*/ 284162 h 822325"/>
                <a:gd name="connsiteX145" fmla="*/ 378052 w 1154113"/>
                <a:gd name="connsiteY145" fmla="*/ 284162 h 822325"/>
                <a:gd name="connsiteX146" fmla="*/ 366713 w 1154113"/>
                <a:gd name="connsiteY146" fmla="*/ 269043 h 822325"/>
                <a:gd name="connsiteX147" fmla="*/ 366713 w 1154113"/>
                <a:gd name="connsiteY147" fmla="*/ 219906 h 822325"/>
                <a:gd name="connsiteX148" fmla="*/ 378052 w 1154113"/>
                <a:gd name="connsiteY148" fmla="*/ 204787 h 822325"/>
                <a:gd name="connsiteX149" fmla="*/ 261182 w 1154113"/>
                <a:gd name="connsiteY149" fmla="*/ 204787 h 822325"/>
                <a:gd name="connsiteX150" fmla="*/ 314099 w 1154113"/>
                <a:gd name="connsiteY150" fmla="*/ 204787 h 822325"/>
                <a:gd name="connsiteX151" fmla="*/ 325438 w 1154113"/>
                <a:gd name="connsiteY151" fmla="*/ 219906 h 822325"/>
                <a:gd name="connsiteX152" fmla="*/ 325438 w 1154113"/>
                <a:gd name="connsiteY152" fmla="*/ 269043 h 822325"/>
                <a:gd name="connsiteX153" fmla="*/ 314099 w 1154113"/>
                <a:gd name="connsiteY153" fmla="*/ 284162 h 822325"/>
                <a:gd name="connsiteX154" fmla="*/ 261182 w 1154113"/>
                <a:gd name="connsiteY154" fmla="*/ 284162 h 822325"/>
                <a:gd name="connsiteX155" fmla="*/ 246063 w 1154113"/>
                <a:gd name="connsiteY155" fmla="*/ 269043 h 822325"/>
                <a:gd name="connsiteX156" fmla="*/ 246063 w 1154113"/>
                <a:gd name="connsiteY156" fmla="*/ 219906 h 822325"/>
                <a:gd name="connsiteX157" fmla="*/ 261182 w 1154113"/>
                <a:gd name="connsiteY157" fmla="*/ 204787 h 822325"/>
                <a:gd name="connsiteX158" fmla="*/ 378052 w 1154113"/>
                <a:gd name="connsiteY158" fmla="*/ 82550 h 822325"/>
                <a:gd name="connsiteX159" fmla="*/ 430969 w 1154113"/>
                <a:gd name="connsiteY159" fmla="*/ 82550 h 822325"/>
                <a:gd name="connsiteX160" fmla="*/ 446088 w 1154113"/>
                <a:gd name="connsiteY160" fmla="*/ 97971 h 822325"/>
                <a:gd name="connsiteX161" fmla="*/ 446088 w 1154113"/>
                <a:gd name="connsiteY161" fmla="*/ 151947 h 822325"/>
                <a:gd name="connsiteX162" fmla="*/ 430969 w 1154113"/>
                <a:gd name="connsiteY162" fmla="*/ 163513 h 822325"/>
                <a:gd name="connsiteX163" fmla="*/ 378052 w 1154113"/>
                <a:gd name="connsiteY163" fmla="*/ 163513 h 822325"/>
                <a:gd name="connsiteX164" fmla="*/ 366713 w 1154113"/>
                <a:gd name="connsiteY164" fmla="*/ 151947 h 822325"/>
                <a:gd name="connsiteX165" fmla="*/ 366713 w 1154113"/>
                <a:gd name="connsiteY165" fmla="*/ 97971 h 822325"/>
                <a:gd name="connsiteX166" fmla="*/ 378052 w 1154113"/>
                <a:gd name="connsiteY166" fmla="*/ 82550 h 822325"/>
                <a:gd name="connsiteX167" fmla="*/ 261182 w 1154113"/>
                <a:gd name="connsiteY167" fmla="*/ 82550 h 822325"/>
                <a:gd name="connsiteX168" fmla="*/ 314099 w 1154113"/>
                <a:gd name="connsiteY168" fmla="*/ 82550 h 822325"/>
                <a:gd name="connsiteX169" fmla="*/ 325438 w 1154113"/>
                <a:gd name="connsiteY169" fmla="*/ 97971 h 822325"/>
                <a:gd name="connsiteX170" fmla="*/ 325438 w 1154113"/>
                <a:gd name="connsiteY170" fmla="*/ 151947 h 822325"/>
                <a:gd name="connsiteX171" fmla="*/ 314099 w 1154113"/>
                <a:gd name="connsiteY171" fmla="*/ 163513 h 822325"/>
                <a:gd name="connsiteX172" fmla="*/ 261182 w 1154113"/>
                <a:gd name="connsiteY172" fmla="*/ 163513 h 822325"/>
                <a:gd name="connsiteX173" fmla="*/ 246063 w 1154113"/>
                <a:gd name="connsiteY173" fmla="*/ 151947 h 822325"/>
                <a:gd name="connsiteX174" fmla="*/ 246063 w 1154113"/>
                <a:gd name="connsiteY174" fmla="*/ 97971 h 822325"/>
                <a:gd name="connsiteX175" fmla="*/ 261182 w 1154113"/>
                <a:gd name="connsiteY175" fmla="*/ 82550 h 822325"/>
                <a:gd name="connsiteX176" fmla="*/ 207963 w 1154113"/>
                <a:gd name="connsiteY176" fmla="*/ 25400 h 822325"/>
                <a:gd name="connsiteX177" fmla="*/ 207963 w 1154113"/>
                <a:gd name="connsiteY177" fmla="*/ 790575 h 822325"/>
                <a:gd name="connsiteX178" fmla="*/ 484188 w 1154113"/>
                <a:gd name="connsiteY178" fmla="*/ 790575 h 822325"/>
                <a:gd name="connsiteX179" fmla="*/ 484188 w 1154113"/>
                <a:gd name="connsiteY179" fmla="*/ 25400 h 822325"/>
                <a:gd name="connsiteX180" fmla="*/ 192983 w 1154113"/>
                <a:gd name="connsiteY180" fmla="*/ 0 h 822325"/>
                <a:gd name="connsiteX181" fmla="*/ 499485 w 1154113"/>
                <a:gd name="connsiteY181" fmla="*/ 0 h 822325"/>
                <a:gd name="connsiteX182" fmla="*/ 514621 w 1154113"/>
                <a:gd name="connsiteY182" fmla="*/ 15228 h 822325"/>
                <a:gd name="connsiteX183" fmla="*/ 514621 w 1154113"/>
                <a:gd name="connsiteY183" fmla="*/ 239845 h 822325"/>
                <a:gd name="connsiteX184" fmla="*/ 957346 w 1154113"/>
                <a:gd name="connsiteY184" fmla="*/ 239845 h 822325"/>
                <a:gd name="connsiteX185" fmla="*/ 972482 w 1154113"/>
                <a:gd name="connsiteY185" fmla="*/ 255073 h 822325"/>
                <a:gd name="connsiteX186" fmla="*/ 972482 w 1154113"/>
                <a:gd name="connsiteY186" fmla="*/ 791869 h 822325"/>
                <a:gd name="connsiteX187" fmla="*/ 1138977 w 1154113"/>
                <a:gd name="connsiteY187" fmla="*/ 791869 h 822325"/>
                <a:gd name="connsiteX188" fmla="*/ 1154113 w 1154113"/>
                <a:gd name="connsiteY188" fmla="*/ 807097 h 822325"/>
                <a:gd name="connsiteX189" fmla="*/ 1138977 w 1154113"/>
                <a:gd name="connsiteY189" fmla="*/ 822325 h 822325"/>
                <a:gd name="connsiteX190" fmla="*/ 11352 w 1154113"/>
                <a:gd name="connsiteY190" fmla="*/ 822325 h 822325"/>
                <a:gd name="connsiteX191" fmla="*/ 0 w 1154113"/>
                <a:gd name="connsiteY191" fmla="*/ 807097 h 822325"/>
                <a:gd name="connsiteX192" fmla="*/ 11352 w 1154113"/>
                <a:gd name="connsiteY192" fmla="*/ 791869 h 822325"/>
                <a:gd name="connsiteX193" fmla="*/ 181631 w 1154113"/>
                <a:gd name="connsiteY193" fmla="*/ 791869 h 822325"/>
                <a:gd name="connsiteX194" fmla="*/ 181631 w 1154113"/>
                <a:gd name="connsiteY194" fmla="*/ 15228 h 822325"/>
                <a:gd name="connsiteX195" fmla="*/ 192983 w 1154113"/>
                <a:gd name="connsiteY195" fmla="*/ 0 h 82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154113" h="822325">
                  <a:moveTo>
                    <a:pt x="820964" y="561975"/>
                  </a:moveTo>
                  <a:cubicBezTo>
                    <a:pt x="820964" y="561975"/>
                    <a:pt x="820964" y="561975"/>
                    <a:pt x="873881" y="561975"/>
                  </a:cubicBezTo>
                  <a:cubicBezTo>
                    <a:pt x="881441" y="561975"/>
                    <a:pt x="889000" y="569686"/>
                    <a:pt x="889000" y="577397"/>
                  </a:cubicBezTo>
                  <a:cubicBezTo>
                    <a:pt x="889000" y="577397"/>
                    <a:pt x="889000" y="577397"/>
                    <a:pt x="889000" y="631372"/>
                  </a:cubicBezTo>
                  <a:cubicBezTo>
                    <a:pt x="889000" y="639083"/>
                    <a:pt x="881441" y="642938"/>
                    <a:pt x="873881" y="642938"/>
                  </a:cubicBezTo>
                  <a:cubicBezTo>
                    <a:pt x="873881" y="642938"/>
                    <a:pt x="873881" y="642938"/>
                    <a:pt x="820964" y="642938"/>
                  </a:cubicBezTo>
                  <a:cubicBezTo>
                    <a:pt x="813405" y="642938"/>
                    <a:pt x="809625" y="639083"/>
                    <a:pt x="809625" y="631372"/>
                  </a:cubicBezTo>
                  <a:cubicBezTo>
                    <a:pt x="809625" y="631372"/>
                    <a:pt x="809625" y="631372"/>
                    <a:pt x="809625" y="577397"/>
                  </a:cubicBezTo>
                  <a:cubicBezTo>
                    <a:pt x="809625" y="569686"/>
                    <a:pt x="813405" y="561975"/>
                    <a:pt x="820964" y="561975"/>
                  </a:cubicBezTo>
                  <a:close/>
                  <a:moveTo>
                    <a:pt x="704094" y="561975"/>
                  </a:moveTo>
                  <a:cubicBezTo>
                    <a:pt x="704094" y="561975"/>
                    <a:pt x="704094" y="561975"/>
                    <a:pt x="757011" y="561975"/>
                  </a:cubicBezTo>
                  <a:cubicBezTo>
                    <a:pt x="764570" y="561975"/>
                    <a:pt x="768350" y="569686"/>
                    <a:pt x="768350" y="577397"/>
                  </a:cubicBezTo>
                  <a:cubicBezTo>
                    <a:pt x="768350" y="577397"/>
                    <a:pt x="768350" y="577397"/>
                    <a:pt x="768350" y="631372"/>
                  </a:cubicBezTo>
                  <a:cubicBezTo>
                    <a:pt x="768350" y="639083"/>
                    <a:pt x="764570" y="642938"/>
                    <a:pt x="757011" y="642938"/>
                  </a:cubicBezTo>
                  <a:cubicBezTo>
                    <a:pt x="757011" y="642938"/>
                    <a:pt x="757011" y="642938"/>
                    <a:pt x="704094" y="642938"/>
                  </a:cubicBezTo>
                  <a:cubicBezTo>
                    <a:pt x="696534" y="642938"/>
                    <a:pt x="688975" y="639083"/>
                    <a:pt x="688975" y="631372"/>
                  </a:cubicBezTo>
                  <a:cubicBezTo>
                    <a:pt x="688975" y="631372"/>
                    <a:pt x="688975" y="631372"/>
                    <a:pt x="688975" y="577397"/>
                  </a:cubicBezTo>
                  <a:cubicBezTo>
                    <a:pt x="688975" y="569686"/>
                    <a:pt x="696534" y="561975"/>
                    <a:pt x="704094" y="561975"/>
                  </a:cubicBezTo>
                  <a:close/>
                  <a:moveTo>
                    <a:pt x="582839" y="561975"/>
                  </a:moveTo>
                  <a:cubicBezTo>
                    <a:pt x="582839" y="561975"/>
                    <a:pt x="582839" y="561975"/>
                    <a:pt x="635756" y="561975"/>
                  </a:cubicBezTo>
                  <a:cubicBezTo>
                    <a:pt x="643315" y="561975"/>
                    <a:pt x="650875" y="569686"/>
                    <a:pt x="650875" y="577397"/>
                  </a:cubicBezTo>
                  <a:cubicBezTo>
                    <a:pt x="650875" y="577397"/>
                    <a:pt x="650875" y="577397"/>
                    <a:pt x="650875" y="631372"/>
                  </a:cubicBezTo>
                  <a:cubicBezTo>
                    <a:pt x="650875" y="639083"/>
                    <a:pt x="643315" y="642938"/>
                    <a:pt x="635756" y="642938"/>
                  </a:cubicBezTo>
                  <a:cubicBezTo>
                    <a:pt x="635756" y="642938"/>
                    <a:pt x="635756" y="642938"/>
                    <a:pt x="582839" y="642938"/>
                  </a:cubicBezTo>
                  <a:cubicBezTo>
                    <a:pt x="575280" y="642938"/>
                    <a:pt x="571500" y="639083"/>
                    <a:pt x="571500" y="631372"/>
                  </a:cubicBezTo>
                  <a:cubicBezTo>
                    <a:pt x="571500" y="631372"/>
                    <a:pt x="571500" y="631372"/>
                    <a:pt x="571500" y="577397"/>
                  </a:cubicBezTo>
                  <a:cubicBezTo>
                    <a:pt x="571500" y="569686"/>
                    <a:pt x="575280" y="561975"/>
                    <a:pt x="582839" y="561975"/>
                  </a:cubicBezTo>
                  <a:close/>
                  <a:moveTo>
                    <a:pt x="378052" y="561975"/>
                  </a:moveTo>
                  <a:cubicBezTo>
                    <a:pt x="378052" y="561975"/>
                    <a:pt x="378052" y="561975"/>
                    <a:pt x="430969" y="561975"/>
                  </a:cubicBezTo>
                  <a:cubicBezTo>
                    <a:pt x="438528" y="561975"/>
                    <a:pt x="446088" y="569686"/>
                    <a:pt x="446088" y="577397"/>
                  </a:cubicBezTo>
                  <a:cubicBezTo>
                    <a:pt x="446088" y="577397"/>
                    <a:pt x="446088" y="577397"/>
                    <a:pt x="446088" y="631372"/>
                  </a:cubicBezTo>
                  <a:cubicBezTo>
                    <a:pt x="446088" y="639083"/>
                    <a:pt x="438528" y="642938"/>
                    <a:pt x="430969" y="642938"/>
                  </a:cubicBezTo>
                  <a:cubicBezTo>
                    <a:pt x="430969" y="642938"/>
                    <a:pt x="430969" y="642938"/>
                    <a:pt x="378052" y="642938"/>
                  </a:cubicBezTo>
                  <a:cubicBezTo>
                    <a:pt x="374272" y="642938"/>
                    <a:pt x="366713" y="639083"/>
                    <a:pt x="366713" y="631372"/>
                  </a:cubicBezTo>
                  <a:cubicBezTo>
                    <a:pt x="366713" y="631372"/>
                    <a:pt x="366713" y="631372"/>
                    <a:pt x="366713" y="577397"/>
                  </a:cubicBezTo>
                  <a:cubicBezTo>
                    <a:pt x="366713" y="569686"/>
                    <a:pt x="374272" y="561975"/>
                    <a:pt x="378052" y="561975"/>
                  </a:cubicBezTo>
                  <a:close/>
                  <a:moveTo>
                    <a:pt x="261182" y="561975"/>
                  </a:moveTo>
                  <a:cubicBezTo>
                    <a:pt x="261182" y="561975"/>
                    <a:pt x="261182" y="561975"/>
                    <a:pt x="314099" y="561975"/>
                  </a:cubicBezTo>
                  <a:cubicBezTo>
                    <a:pt x="321658" y="561975"/>
                    <a:pt x="325438" y="569686"/>
                    <a:pt x="325438" y="577397"/>
                  </a:cubicBezTo>
                  <a:cubicBezTo>
                    <a:pt x="325438" y="577397"/>
                    <a:pt x="325438" y="577397"/>
                    <a:pt x="325438" y="631372"/>
                  </a:cubicBezTo>
                  <a:cubicBezTo>
                    <a:pt x="325438" y="639083"/>
                    <a:pt x="321658" y="642938"/>
                    <a:pt x="314099" y="642938"/>
                  </a:cubicBezTo>
                  <a:cubicBezTo>
                    <a:pt x="314099" y="642938"/>
                    <a:pt x="314099" y="642938"/>
                    <a:pt x="261182" y="642938"/>
                  </a:cubicBezTo>
                  <a:cubicBezTo>
                    <a:pt x="253622" y="642938"/>
                    <a:pt x="246063" y="639083"/>
                    <a:pt x="246063" y="631372"/>
                  </a:cubicBezTo>
                  <a:cubicBezTo>
                    <a:pt x="246063" y="631372"/>
                    <a:pt x="246063" y="631372"/>
                    <a:pt x="246063" y="577397"/>
                  </a:cubicBezTo>
                  <a:cubicBezTo>
                    <a:pt x="246063" y="569686"/>
                    <a:pt x="253622" y="561975"/>
                    <a:pt x="261182" y="561975"/>
                  </a:cubicBezTo>
                  <a:close/>
                  <a:moveTo>
                    <a:pt x="820964" y="444500"/>
                  </a:moveTo>
                  <a:cubicBezTo>
                    <a:pt x="820964" y="444500"/>
                    <a:pt x="820964" y="444500"/>
                    <a:pt x="873881" y="444500"/>
                  </a:cubicBezTo>
                  <a:cubicBezTo>
                    <a:pt x="881441" y="444500"/>
                    <a:pt x="889000" y="452060"/>
                    <a:pt x="889000" y="459619"/>
                  </a:cubicBezTo>
                  <a:cubicBezTo>
                    <a:pt x="889000" y="459619"/>
                    <a:pt x="889000" y="459619"/>
                    <a:pt x="889000" y="508756"/>
                  </a:cubicBezTo>
                  <a:cubicBezTo>
                    <a:pt x="889000" y="516316"/>
                    <a:pt x="881441" y="523875"/>
                    <a:pt x="873881" y="523875"/>
                  </a:cubicBezTo>
                  <a:cubicBezTo>
                    <a:pt x="873881" y="523875"/>
                    <a:pt x="873881" y="523875"/>
                    <a:pt x="820964" y="523875"/>
                  </a:cubicBezTo>
                  <a:cubicBezTo>
                    <a:pt x="813405" y="523875"/>
                    <a:pt x="809625" y="516316"/>
                    <a:pt x="809625" y="508756"/>
                  </a:cubicBezTo>
                  <a:cubicBezTo>
                    <a:pt x="809625" y="508756"/>
                    <a:pt x="809625" y="508756"/>
                    <a:pt x="809625" y="459619"/>
                  </a:cubicBezTo>
                  <a:cubicBezTo>
                    <a:pt x="809625" y="452060"/>
                    <a:pt x="813405" y="444500"/>
                    <a:pt x="820964" y="444500"/>
                  </a:cubicBezTo>
                  <a:close/>
                  <a:moveTo>
                    <a:pt x="704094" y="444500"/>
                  </a:moveTo>
                  <a:cubicBezTo>
                    <a:pt x="704094" y="444500"/>
                    <a:pt x="704094" y="444500"/>
                    <a:pt x="757011" y="444500"/>
                  </a:cubicBezTo>
                  <a:cubicBezTo>
                    <a:pt x="764570" y="444500"/>
                    <a:pt x="768350" y="452060"/>
                    <a:pt x="768350" y="459619"/>
                  </a:cubicBezTo>
                  <a:cubicBezTo>
                    <a:pt x="768350" y="459619"/>
                    <a:pt x="768350" y="459619"/>
                    <a:pt x="768350" y="508756"/>
                  </a:cubicBezTo>
                  <a:cubicBezTo>
                    <a:pt x="768350" y="516316"/>
                    <a:pt x="764570" y="523875"/>
                    <a:pt x="757011" y="523875"/>
                  </a:cubicBezTo>
                  <a:cubicBezTo>
                    <a:pt x="757011" y="523875"/>
                    <a:pt x="757011" y="523875"/>
                    <a:pt x="704094" y="523875"/>
                  </a:cubicBezTo>
                  <a:cubicBezTo>
                    <a:pt x="696534" y="523875"/>
                    <a:pt x="688975" y="516316"/>
                    <a:pt x="688975" y="508756"/>
                  </a:cubicBezTo>
                  <a:cubicBezTo>
                    <a:pt x="688975" y="508756"/>
                    <a:pt x="688975" y="508756"/>
                    <a:pt x="688975" y="459619"/>
                  </a:cubicBezTo>
                  <a:cubicBezTo>
                    <a:pt x="688975" y="452060"/>
                    <a:pt x="696534" y="444500"/>
                    <a:pt x="704094" y="444500"/>
                  </a:cubicBezTo>
                  <a:close/>
                  <a:moveTo>
                    <a:pt x="582839" y="444500"/>
                  </a:moveTo>
                  <a:cubicBezTo>
                    <a:pt x="582839" y="444500"/>
                    <a:pt x="582839" y="444500"/>
                    <a:pt x="635756" y="444500"/>
                  </a:cubicBezTo>
                  <a:cubicBezTo>
                    <a:pt x="643315" y="444500"/>
                    <a:pt x="650875" y="452060"/>
                    <a:pt x="650875" y="459619"/>
                  </a:cubicBezTo>
                  <a:cubicBezTo>
                    <a:pt x="650875" y="459619"/>
                    <a:pt x="650875" y="459619"/>
                    <a:pt x="650875" y="508756"/>
                  </a:cubicBezTo>
                  <a:cubicBezTo>
                    <a:pt x="650875" y="516316"/>
                    <a:pt x="643315" y="523875"/>
                    <a:pt x="635756" y="523875"/>
                  </a:cubicBezTo>
                  <a:cubicBezTo>
                    <a:pt x="635756" y="523875"/>
                    <a:pt x="635756" y="523875"/>
                    <a:pt x="582839" y="523875"/>
                  </a:cubicBezTo>
                  <a:cubicBezTo>
                    <a:pt x="575280" y="523875"/>
                    <a:pt x="571500" y="516316"/>
                    <a:pt x="571500" y="508756"/>
                  </a:cubicBezTo>
                  <a:cubicBezTo>
                    <a:pt x="571500" y="508756"/>
                    <a:pt x="571500" y="508756"/>
                    <a:pt x="571500" y="459619"/>
                  </a:cubicBezTo>
                  <a:cubicBezTo>
                    <a:pt x="571500" y="452060"/>
                    <a:pt x="575280" y="444500"/>
                    <a:pt x="582839" y="444500"/>
                  </a:cubicBezTo>
                  <a:close/>
                  <a:moveTo>
                    <a:pt x="378052" y="444500"/>
                  </a:moveTo>
                  <a:cubicBezTo>
                    <a:pt x="378052" y="444500"/>
                    <a:pt x="378052" y="444500"/>
                    <a:pt x="430969" y="444500"/>
                  </a:cubicBezTo>
                  <a:cubicBezTo>
                    <a:pt x="438528" y="444500"/>
                    <a:pt x="446088" y="452060"/>
                    <a:pt x="446088" y="459619"/>
                  </a:cubicBezTo>
                  <a:cubicBezTo>
                    <a:pt x="446088" y="459619"/>
                    <a:pt x="446088" y="459619"/>
                    <a:pt x="446088" y="508756"/>
                  </a:cubicBezTo>
                  <a:cubicBezTo>
                    <a:pt x="446088" y="516316"/>
                    <a:pt x="438528" y="523875"/>
                    <a:pt x="430969" y="523875"/>
                  </a:cubicBezTo>
                  <a:cubicBezTo>
                    <a:pt x="430969" y="523875"/>
                    <a:pt x="430969" y="523875"/>
                    <a:pt x="378052" y="523875"/>
                  </a:cubicBezTo>
                  <a:cubicBezTo>
                    <a:pt x="374272" y="523875"/>
                    <a:pt x="366713" y="516316"/>
                    <a:pt x="366713" y="508756"/>
                  </a:cubicBezTo>
                  <a:cubicBezTo>
                    <a:pt x="366713" y="508756"/>
                    <a:pt x="366713" y="508756"/>
                    <a:pt x="366713" y="459619"/>
                  </a:cubicBezTo>
                  <a:cubicBezTo>
                    <a:pt x="366713" y="452060"/>
                    <a:pt x="374272" y="444500"/>
                    <a:pt x="378052" y="444500"/>
                  </a:cubicBezTo>
                  <a:close/>
                  <a:moveTo>
                    <a:pt x="261182" y="444500"/>
                  </a:moveTo>
                  <a:cubicBezTo>
                    <a:pt x="261182" y="444500"/>
                    <a:pt x="261182" y="444500"/>
                    <a:pt x="314099" y="444500"/>
                  </a:cubicBezTo>
                  <a:cubicBezTo>
                    <a:pt x="317878" y="444500"/>
                    <a:pt x="321658" y="444500"/>
                    <a:pt x="321658" y="448280"/>
                  </a:cubicBezTo>
                  <a:cubicBezTo>
                    <a:pt x="325438" y="452060"/>
                    <a:pt x="325438" y="455839"/>
                    <a:pt x="325438" y="459619"/>
                  </a:cubicBezTo>
                  <a:cubicBezTo>
                    <a:pt x="325438" y="459619"/>
                    <a:pt x="325438" y="459619"/>
                    <a:pt x="325438" y="508756"/>
                  </a:cubicBezTo>
                  <a:cubicBezTo>
                    <a:pt x="325438" y="516316"/>
                    <a:pt x="321658" y="523875"/>
                    <a:pt x="314099" y="523875"/>
                  </a:cubicBezTo>
                  <a:cubicBezTo>
                    <a:pt x="314099" y="523875"/>
                    <a:pt x="314099" y="523875"/>
                    <a:pt x="261182" y="523875"/>
                  </a:cubicBezTo>
                  <a:cubicBezTo>
                    <a:pt x="253622" y="523875"/>
                    <a:pt x="246063" y="516316"/>
                    <a:pt x="246063" y="508756"/>
                  </a:cubicBezTo>
                  <a:cubicBezTo>
                    <a:pt x="246063" y="508756"/>
                    <a:pt x="246063" y="508756"/>
                    <a:pt x="246063" y="459619"/>
                  </a:cubicBezTo>
                  <a:cubicBezTo>
                    <a:pt x="246063" y="452060"/>
                    <a:pt x="253622" y="444500"/>
                    <a:pt x="261182" y="444500"/>
                  </a:cubicBezTo>
                  <a:close/>
                  <a:moveTo>
                    <a:pt x="820964" y="322262"/>
                  </a:moveTo>
                  <a:cubicBezTo>
                    <a:pt x="820964" y="322262"/>
                    <a:pt x="820964" y="322262"/>
                    <a:pt x="873881" y="322262"/>
                  </a:cubicBezTo>
                  <a:cubicBezTo>
                    <a:pt x="881441" y="322262"/>
                    <a:pt x="889000" y="329973"/>
                    <a:pt x="889000" y="337683"/>
                  </a:cubicBezTo>
                  <a:cubicBezTo>
                    <a:pt x="889000" y="337683"/>
                    <a:pt x="889000" y="337683"/>
                    <a:pt x="889000" y="391659"/>
                  </a:cubicBezTo>
                  <a:cubicBezTo>
                    <a:pt x="889000" y="399370"/>
                    <a:pt x="881441" y="403225"/>
                    <a:pt x="873881" y="403225"/>
                  </a:cubicBezTo>
                  <a:cubicBezTo>
                    <a:pt x="873881" y="403225"/>
                    <a:pt x="873881" y="403225"/>
                    <a:pt x="820964" y="403225"/>
                  </a:cubicBezTo>
                  <a:cubicBezTo>
                    <a:pt x="813405" y="403225"/>
                    <a:pt x="809625" y="399370"/>
                    <a:pt x="809625" y="391659"/>
                  </a:cubicBezTo>
                  <a:cubicBezTo>
                    <a:pt x="809625" y="391659"/>
                    <a:pt x="809625" y="391659"/>
                    <a:pt x="809625" y="337683"/>
                  </a:cubicBezTo>
                  <a:cubicBezTo>
                    <a:pt x="809625" y="329973"/>
                    <a:pt x="813405" y="322262"/>
                    <a:pt x="820964" y="322262"/>
                  </a:cubicBezTo>
                  <a:close/>
                  <a:moveTo>
                    <a:pt x="704094" y="322262"/>
                  </a:moveTo>
                  <a:cubicBezTo>
                    <a:pt x="704094" y="322262"/>
                    <a:pt x="704094" y="322262"/>
                    <a:pt x="757011" y="322262"/>
                  </a:cubicBezTo>
                  <a:cubicBezTo>
                    <a:pt x="764570" y="322262"/>
                    <a:pt x="768350" y="329973"/>
                    <a:pt x="768350" y="337683"/>
                  </a:cubicBezTo>
                  <a:cubicBezTo>
                    <a:pt x="768350" y="337683"/>
                    <a:pt x="768350" y="337683"/>
                    <a:pt x="768350" y="391659"/>
                  </a:cubicBezTo>
                  <a:cubicBezTo>
                    <a:pt x="768350" y="399370"/>
                    <a:pt x="764570" y="403225"/>
                    <a:pt x="757011" y="403225"/>
                  </a:cubicBezTo>
                  <a:cubicBezTo>
                    <a:pt x="757011" y="403225"/>
                    <a:pt x="757011" y="403225"/>
                    <a:pt x="704094" y="403225"/>
                  </a:cubicBezTo>
                  <a:cubicBezTo>
                    <a:pt x="696534" y="403225"/>
                    <a:pt x="688975" y="399370"/>
                    <a:pt x="688975" y="391659"/>
                  </a:cubicBezTo>
                  <a:cubicBezTo>
                    <a:pt x="688975" y="391659"/>
                    <a:pt x="688975" y="391659"/>
                    <a:pt x="688975" y="337683"/>
                  </a:cubicBezTo>
                  <a:cubicBezTo>
                    <a:pt x="688975" y="329973"/>
                    <a:pt x="696534" y="322262"/>
                    <a:pt x="704094" y="322262"/>
                  </a:cubicBezTo>
                  <a:close/>
                  <a:moveTo>
                    <a:pt x="582839" y="322262"/>
                  </a:moveTo>
                  <a:cubicBezTo>
                    <a:pt x="582839" y="322262"/>
                    <a:pt x="582839" y="322262"/>
                    <a:pt x="635756" y="322262"/>
                  </a:cubicBezTo>
                  <a:cubicBezTo>
                    <a:pt x="643315" y="322262"/>
                    <a:pt x="650875" y="329973"/>
                    <a:pt x="650875" y="337683"/>
                  </a:cubicBezTo>
                  <a:cubicBezTo>
                    <a:pt x="650875" y="337683"/>
                    <a:pt x="650875" y="337683"/>
                    <a:pt x="650875" y="391659"/>
                  </a:cubicBezTo>
                  <a:cubicBezTo>
                    <a:pt x="650875" y="399370"/>
                    <a:pt x="643315" y="403225"/>
                    <a:pt x="635756" y="403225"/>
                  </a:cubicBezTo>
                  <a:cubicBezTo>
                    <a:pt x="635756" y="403225"/>
                    <a:pt x="635756" y="403225"/>
                    <a:pt x="582839" y="403225"/>
                  </a:cubicBezTo>
                  <a:cubicBezTo>
                    <a:pt x="575280" y="403225"/>
                    <a:pt x="571500" y="399370"/>
                    <a:pt x="571500" y="391659"/>
                  </a:cubicBezTo>
                  <a:cubicBezTo>
                    <a:pt x="571500" y="391659"/>
                    <a:pt x="571500" y="391659"/>
                    <a:pt x="571500" y="337683"/>
                  </a:cubicBezTo>
                  <a:cubicBezTo>
                    <a:pt x="571500" y="329973"/>
                    <a:pt x="575280" y="322262"/>
                    <a:pt x="582839" y="322262"/>
                  </a:cubicBezTo>
                  <a:close/>
                  <a:moveTo>
                    <a:pt x="378052" y="322262"/>
                  </a:moveTo>
                  <a:cubicBezTo>
                    <a:pt x="378052" y="322262"/>
                    <a:pt x="378052" y="322262"/>
                    <a:pt x="430969" y="322262"/>
                  </a:cubicBezTo>
                  <a:cubicBezTo>
                    <a:pt x="438528" y="322262"/>
                    <a:pt x="446088" y="329973"/>
                    <a:pt x="446088" y="337683"/>
                  </a:cubicBezTo>
                  <a:cubicBezTo>
                    <a:pt x="446088" y="337683"/>
                    <a:pt x="446088" y="337683"/>
                    <a:pt x="446088" y="391659"/>
                  </a:cubicBezTo>
                  <a:cubicBezTo>
                    <a:pt x="446088" y="399370"/>
                    <a:pt x="438528" y="403225"/>
                    <a:pt x="430969" y="403225"/>
                  </a:cubicBezTo>
                  <a:cubicBezTo>
                    <a:pt x="430969" y="403225"/>
                    <a:pt x="430969" y="403225"/>
                    <a:pt x="378052" y="403225"/>
                  </a:cubicBezTo>
                  <a:cubicBezTo>
                    <a:pt x="374272" y="403225"/>
                    <a:pt x="366713" y="399370"/>
                    <a:pt x="366713" y="391659"/>
                  </a:cubicBezTo>
                  <a:cubicBezTo>
                    <a:pt x="366713" y="391659"/>
                    <a:pt x="366713" y="391659"/>
                    <a:pt x="366713" y="337683"/>
                  </a:cubicBezTo>
                  <a:cubicBezTo>
                    <a:pt x="366713" y="329973"/>
                    <a:pt x="374272" y="322262"/>
                    <a:pt x="378052" y="322262"/>
                  </a:cubicBezTo>
                  <a:close/>
                  <a:moveTo>
                    <a:pt x="261182" y="322262"/>
                  </a:moveTo>
                  <a:cubicBezTo>
                    <a:pt x="261182" y="322262"/>
                    <a:pt x="261182" y="322262"/>
                    <a:pt x="314099" y="322262"/>
                  </a:cubicBezTo>
                  <a:cubicBezTo>
                    <a:pt x="321658" y="322262"/>
                    <a:pt x="325438" y="329973"/>
                    <a:pt x="325438" y="337683"/>
                  </a:cubicBezTo>
                  <a:cubicBezTo>
                    <a:pt x="325438" y="337683"/>
                    <a:pt x="325438" y="337683"/>
                    <a:pt x="325438" y="391659"/>
                  </a:cubicBezTo>
                  <a:cubicBezTo>
                    <a:pt x="325438" y="399370"/>
                    <a:pt x="321658" y="403225"/>
                    <a:pt x="314099" y="403225"/>
                  </a:cubicBezTo>
                  <a:cubicBezTo>
                    <a:pt x="314099" y="403225"/>
                    <a:pt x="314099" y="403225"/>
                    <a:pt x="261182" y="403225"/>
                  </a:cubicBezTo>
                  <a:cubicBezTo>
                    <a:pt x="253622" y="403225"/>
                    <a:pt x="246063" y="399370"/>
                    <a:pt x="246063" y="391659"/>
                  </a:cubicBezTo>
                  <a:cubicBezTo>
                    <a:pt x="246063" y="391659"/>
                    <a:pt x="246063" y="391659"/>
                    <a:pt x="246063" y="337683"/>
                  </a:cubicBezTo>
                  <a:cubicBezTo>
                    <a:pt x="246063" y="329973"/>
                    <a:pt x="253622" y="322262"/>
                    <a:pt x="261182" y="322262"/>
                  </a:cubicBezTo>
                  <a:close/>
                  <a:moveTo>
                    <a:pt x="514350" y="265112"/>
                  </a:moveTo>
                  <a:lnTo>
                    <a:pt x="514350" y="790575"/>
                  </a:lnTo>
                  <a:lnTo>
                    <a:pt x="946150" y="790575"/>
                  </a:lnTo>
                  <a:lnTo>
                    <a:pt x="946150" y="265112"/>
                  </a:lnTo>
                  <a:close/>
                  <a:moveTo>
                    <a:pt x="378052" y="204787"/>
                  </a:moveTo>
                  <a:cubicBezTo>
                    <a:pt x="378052" y="204787"/>
                    <a:pt x="378052" y="204787"/>
                    <a:pt x="430969" y="204787"/>
                  </a:cubicBezTo>
                  <a:cubicBezTo>
                    <a:pt x="438528" y="204787"/>
                    <a:pt x="446088" y="212346"/>
                    <a:pt x="446088" y="219906"/>
                  </a:cubicBezTo>
                  <a:cubicBezTo>
                    <a:pt x="446088" y="219906"/>
                    <a:pt x="446088" y="219906"/>
                    <a:pt x="446088" y="269043"/>
                  </a:cubicBezTo>
                  <a:cubicBezTo>
                    <a:pt x="446088" y="276602"/>
                    <a:pt x="438528" y="284162"/>
                    <a:pt x="430969" y="284162"/>
                  </a:cubicBezTo>
                  <a:cubicBezTo>
                    <a:pt x="430969" y="284162"/>
                    <a:pt x="430969" y="284162"/>
                    <a:pt x="378052" y="284162"/>
                  </a:cubicBezTo>
                  <a:cubicBezTo>
                    <a:pt x="374272" y="284162"/>
                    <a:pt x="366713" y="276602"/>
                    <a:pt x="366713" y="269043"/>
                  </a:cubicBezTo>
                  <a:cubicBezTo>
                    <a:pt x="366713" y="269043"/>
                    <a:pt x="366713" y="269043"/>
                    <a:pt x="366713" y="219906"/>
                  </a:cubicBezTo>
                  <a:cubicBezTo>
                    <a:pt x="366713" y="212346"/>
                    <a:pt x="374272" y="204787"/>
                    <a:pt x="378052" y="204787"/>
                  </a:cubicBezTo>
                  <a:close/>
                  <a:moveTo>
                    <a:pt x="261182" y="204787"/>
                  </a:moveTo>
                  <a:cubicBezTo>
                    <a:pt x="261182" y="204787"/>
                    <a:pt x="261182" y="204787"/>
                    <a:pt x="314099" y="204787"/>
                  </a:cubicBezTo>
                  <a:cubicBezTo>
                    <a:pt x="321658" y="204787"/>
                    <a:pt x="325438" y="212346"/>
                    <a:pt x="325438" y="219906"/>
                  </a:cubicBezTo>
                  <a:cubicBezTo>
                    <a:pt x="325438" y="219906"/>
                    <a:pt x="325438" y="219906"/>
                    <a:pt x="325438" y="269043"/>
                  </a:cubicBezTo>
                  <a:cubicBezTo>
                    <a:pt x="325438" y="276602"/>
                    <a:pt x="321658" y="284162"/>
                    <a:pt x="314099" y="284162"/>
                  </a:cubicBezTo>
                  <a:cubicBezTo>
                    <a:pt x="314099" y="284162"/>
                    <a:pt x="314099" y="284162"/>
                    <a:pt x="261182" y="284162"/>
                  </a:cubicBezTo>
                  <a:cubicBezTo>
                    <a:pt x="253622" y="284162"/>
                    <a:pt x="246063" y="276602"/>
                    <a:pt x="246063" y="269043"/>
                  </a:cubicBezTo>
                  <a:cubicBezTo>
                    <a:pt x="246063" y="269043"/>
                    <a:pt x="246063" y="269043"/>
                    <a:pt x="246063" y="219906"/>
                  </a:cubicBezTo>
                  <a:cubicBezTo>
                    <a:pt x="246063" y="212346"/>
                    <a:pt x="253622" y="204787"/>
                    <a:pt x="261182" y="204787"/>
                  </a:cubicBezTo>
                  <a:close/>
                  <a:moveTo>
                    <a:pt x="378052" y="82550"/>
                  </a:moveTo>
                  <a:lnTo>
                    <a:pt x="430969" y="82550"/>
                  </a:lnTo>
                  <a:cubicBezTo>
                    <a:pt x="438528" y="82550"/>
                    <a:pt x="446088" y="90261"/>
                    <a:pt x="446088" y="97971"/>
                  </a:cubicBezTo>
                  <a:cubicBezTo>
                    <a:pt x="446088" y="151947"/>
                    <a:pt x="446088" y="151947"/>
                    <a:pt x="446088" y="151947"/>
                  </a:cubicBezTo>
                  <a:cubicBezTo>
                    <a:pt x="446088" y="159658"/>
                    <a:pt x="438528" y="163513"/>
                    <a:pt x="430969" y="163513"/>
                  </a:cubicBezTo>
                  <a:cubicBezTo>
                    <a:pt x="378052" y="163513"/>
                    <a:pt x="378052" y="163513"/>
                    <a:pt x="378052" y="163513"/>
                  </a:cubicBezTo>
                  <a:cubicBezTo>
                    <a:pt x="374272" y="163513"/>
                    <a:pt x="366713" y="159658"/>
                    <a:pt x="366713" y="151947"/>
                  </a:cubicBezTo>
                  <a:cubicBezTo>
                    <a:pt x="366713" y="97971"/>
                    <a:pt x="366713" y="97971"/>
                    <a:pt x="366713" y="97971"/>
                  </a:cubicBezTo>
                  <a:cubicBezTo>
                    <a:pt x="366713" y="90261"/>
                    <a:pt x="374272" y="82550"/>
                    <a:pt x="378052" y="82550"/>
                  </a:cubicBezTo>
                  <a:close/>
                  <a:moveTo>
                    <a:pt x="261182" y="82550"/>
                  </a:moveTo>
                  <a:cubicBezTo>
                    <a:pt x="261182" y="82550"/>
                    <a:pt x="261182" y="82550"/>
                    <a:pt x="314099" y="82550"/>
                  </a:cubicBezTo>
                  <a:cubicBezTo>
                    <a:pt x="321658" y="82550"/>
                    <a:pt x="325438" y="90261"/>
                    <a:pt x="325438" y="97971"/>
                  </a:cubicBezTo>
                  <a:cubicBezTo>
                    <a:pt x="325438" y="97971"/>
                    <a:pt x="325438" y="97971"/>
                    <a:pt x="325438" y="151947"/>
                  </a:cubicBezTo>
                  <a:cubicBezTo>
                    <a:pt x="325438" y="159658"/>
                    <a:pt x="321658" y="163513"/>
                    <a:pt x="314099" y="163513"/>
                  </a:cubicBezTo>
                  <a:cubicBezTo>
                    <a:pt x="314099" y="163513"/>
                    <a:pt x="314099" y="163513"/>
                    <a:pt x="261182" y="163513"/>
                  </a:cubicBezTo>
                  <a:cubicBezTo>
                    <a:pt x="253622" y="163513"/>
                    <a:pt x="246063" y="159658"/>
                    <a:pt x="246063" y="151947"/>
                  </a:cubicBezTo>
                  <a:cubicBezTo>
                    <a:pt x="246063" y="151947"/>
                    <a:pt x="246063" y="151947"/>
                    <a:pt x="246063" y="97971"/>
                  </a:cubicBezTo>
                  <a:cubicBezTo>
                    <a:pt x="246063" y="90261"/>
                    <a:pt x="253622" y="82550"/>
                    <a:pt x="261182" y="82550"/>
                  </a:cubicBezTo>
                  <a:close/>
                  <a:moveTo>
                    <a:pt x="207963" y="25400"/>
                  </a:moveTo>
                  <a:lnTo>
                    <a:pt x="207963" y="790575"/>
                  </a:lnTo>
                  <a:lnTo>
                    <a:pt x="484188" y="790575"/>
                  </a:lnTo>
                  <a:lnTo>
                    <a:pt x="484188" y="25400"/>
                  </a:lnTo>
                  <a:close/>
                  <a:moveTo>
                    <a:pt x="192983" y="0"/>
                  </a:moveTo>
                  <a:cubicBezTo>
                    <a:pt x="192983" y="0"/>
                    <a:pt x="192983" y="0"/>
                    <a:pt x="499485" y="0"/>
                  </a:cubicBezTo>
                  <a:cubicBezTo>
                    <a:pt x="507053" y="0"/>
                    <a:pt x="514621" y="7614"/>
                    <a:pt x="514621" y="15228"/>
                  </a:cubicBezTo>
                  <a:cubicBezTo>
                    <a:pt x="514621" y="15228"/>
                    <a:pt x="514621" y="15228"/>
                    <a:pt x="514621" y="239845"/>
                  </a:cubicBezTo>
                  <a:cubicBezTo>
                    <a:pt x="514621" y="239845"/>
                    <a:pt x="514621" y="239845"/>
                    <a:pt x="957346" y="239845"/>
                  </a:cubicBezTo>
                  <a:cubicBezTo>
                    <a:pt x="964914" y="239845"/>
                    <a:pt x="972482" y="247459"/>
                    <a:pt x="972482" y="255073"/>
                  </a:cubicBezTo>
                  <a:cubicBezTo>
                    <a:pt x="972482" y="255073"/>
                    <a:pt x="972482" y="255073"/>
                    <a:pt x="972482" y="791869"/>
                  </a:cubicBezTo>
                  <a:cubicBezTo>
                    <a:pt x="972482" y="791869"/>
                    <a:pt x="972482" y="791869"/>
                    <a:pt x="1138977" y="791869"/>
                  </a:cubicBezTo>
                  <a:cubicBezTo>
                    <a:pt x="1146545" y="791869"/>
                    <a:pt x="1154113" y="799483"/>
                    <a:pt x="1154113" y="807097"/>
                  </a:cubicBezTo>
                  <a:cubicBezTo>
                    <a:pt x="1154113" y="814711"/>
                    <a:pt x="1146545" y="822325"/>
                    <a:pt x="1138977" y="822325"/>
                  </a:cubicBezTo>
                  <a:lnTo>
                    <a:pt x="11352" y="822325"/>
                  </a:lnTo>
                  <a:cubicBezTo>
                    <a:pt x="3784" y="822325"/>
                    <a:pt x="0" y="814711"/>
                    <a:pt x="0" y="807097"/>
                  </a:cubicBezTo>
                  <a:cubicBezTo>
                    <a:pt x="0" y="799483"/>
                    <a:pt x="3784" y="791869"/>
                    <a:pt x="11352" y="791869"/>
                  </a:cubicBezTo>
                  <a:cubicBezTo>
                    <a:pt x="11352" y="791869"/>
                    <a:pt x="11352" y="791869"/>
                    <a:pt x="181631" y="791869"/>
                  </a:cubicBezTo>
                  <a:cubicBezTo>
                    <a:pt x="181631" y="791869"/>
                    <a:pt x="181631" y="791869"/>
                    <a:pt x="181631" y="15228"/>
                  </a:cubicBezTo>
                  <a:cubicBezTo>
                    <a:pt x="181631" y="7614"/>
                    <a:pt x="185415" y="0"/>
                    <a:pt x="192983" y="0"/>
                  </a:cubicBezTo>
                  <a:close/>
                </a:path>
              </a:pathLst>
            </a:custGeom>
            <a:solidFill>
              <a:schemeClr val="bg1"/>
            </a:solidFill>
            <a:ln>
              <a:noFill/>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t" anchorCtr="0" compatLnSpc="1">
              <a:prstTxWarp prst="textNoShape">
                <a:avLst/>
              </a:prstTxWarp>
              <a:noAutofit/>
            </a:bodyPr>
            <a:lstStyle/>
            <a:p>
              <a:endParaRPr lang="en-GB" sz="1600" dirty="0">
                <a:solidFill>
                  <a:srgbClr val="000000"/>
                </a:solidFill>
              </a:endParaRPr>
            </a:p>
          </p:txBody>
        </p:sp>
        <p:sp>
          <p:nvSpPr>
            <p:cNvPr id="54" name="TextBox 53"/>
            <p:cNvSpPr txBox="1"/>
            <p:nvPr/>
          </p:nvSpPr>
          <p:spPr>
            <a:xfrm>
              <a:off x="5673461" y="2157807"/>
              <a:ext cx="2006951" cy="530594"/>
            </a:xfrm>
            <a:prstGeom prst="rect">
              <a:avLst/>
            </a:prstGeom>
            <a:noFill/>
          </p:spPr>
          <p:txBody>
            <a:bodyPr wrap="square" rtlCol="0" anchor="ctr" anchorCtr="0">
              <a:spAutoFit/>
            </a:bodyPr>
            <a:lstStyle/>
            <a:p>
              <a:pPr algn="ctr">
                <a:lnSpc>
                  <a:spcPct val="89000"/>
                </a:lnSpc>
              </a:pPr>
              <a:r>
                <a:rPr lang="en-GB" sz="3200" b="1" dirty="0" smtClean="0">
                  <a:solidFill>
                    <a:schemeClr val="tx2"/>
                  </a:solidFill>
                  <a:ea typeface="Open Sans" panose="020B0606030504020204" pitchFamily="34" charset="0"/>
                  <a:cs typeface="Open Sans" panose="020B0606030504020204" pitchFamily="34" charset="0"/>
                </a:rPr>
                <a:t>2 979</a:t>
              </a:r>
              <a:endParaRPr lang="en-US" sz="3200" b="1" dirty="0">
                <a:solidFill>
                  <a:schemeClr val="tx2"/>
                </a:solidFill>
                <a:ea typeface="Open Sans" panose="020B0606030504020204" pitchFamily="34" charset="0"/>
                <a:cs typeface="Open Sans" panose="020B0606030504020204" pitchFamily="34" charset="0"/>
              </a:endParaRPr>
            </a:p>
          </p:txBody>
        </p:sp>
      </p:grpSp>
      <p:grpSp>
        <p:nvGrpSpPr>
          <p:cNvPr id="55" name="Group 54"/>
          <p:cNvGrpSpPr/>
          <p:nvPr/>
        </p:nvGrpSpPr>
        <p:grpSpPr>
          <a:xfrm>
            <a:off x="487321" y="2942457"/>
            <a:ext cx="7651443" cy="1004907"/>
            <a:chOff x="487322" y="2968380"/>
            <a:chExt cx="7651443" cy="1004907"/>
          </a:xfrm>
        </p:grpSpPr>
        <p:sp>
          <p:nvSpPr>
            <p:cNvPr id="56" name="Rectangle 55"/>
            <p:cNvSpPr/>
            <p:nvPr/>
          </p:nvSpPr>
          <p:spPr>
            <a:xfrm>
              <a:off x="487322" y="2968380"/>
              <a:ext cx="7651443" cy="1004907"/>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57" name="Oval 56"/>
            <p:cNvSpPr/>
            <p:nvPr/>
          </p:nvSpPr>
          <p:spPr>
            <a:xfrm>
              <a:off x="502545" y="3137616"/>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chemeClr val="tx1"/>
                </a:solidFill>
              </a:endParaRPr>
            </a:p>
          </p:txBody>
        </p:sp>
        <p:sp>
          <p:nvSpPr>
            <p:cNvPr id="58" name="TextBox 57"/>
            <p:cNvSpPr txBox="1"/>
            <p:nvPr/>
          </p:nvSpPr>
          <p:spPr>
            <a:xfrm>
              <a:off x="1524997" y="3316945"/>
              <a:ext cx="2885810" cy="307777"/>
            </a:xfrm>
            <a:prstGeom prst="rect">
              <a:avLst/>
            </a:prstGeom>
            <a:noFill/>
          </p:spPr>
          <p:txBody>
            <a:bodyPr wrap="square" lIns="0" tIns="0" rIns="0" bIns="0" rtlCol="0">
              <a:spAutoFit/>
            </a:bodyPr>
            <a:lstStyle/>
            <a:p>
              <a:r>
                <a:rPr lang="en-US" sz="2000" b="1" dirty="0">
                  <a:solidFill>
                    <a:srgbClr val="003755"/>
                  </a:solidFill>
                </a:rPr>
                <a:t>Country domiciles</a:t>
              </a:r>
            </a:p>
          </p:txBody>
        </p:sp>
        <p:sp>
          <p:nvSpPr>
            <p:cNvPr id="61" name="International"/>
            <p:cNvSpPr>
              <a:spLocks noChangeAspect="1"/>
            </p:cNvSpPr>
            <p:nvPr>
              <p:custDataLst>
                <p:tags r:id="rId4"/>
              </p:custDataLst>
            </p:nvPr>
          </p:nvSpPr>
          <p:spPr bwMode="auto">
            <a:xfrm>
              <a:off x="663954" y="3290833"/>
              <a:ext cx="360970" cy="360000"/>
            </a:xfrm>
            <a:custGeom>
              <a:avLst/>
              <a:gdLst>
                <a:gd name="connsiteX0" fmla="*/ 844615 w 1184276"/>
                <a:gd name="connsiteY0" fmla="*/ 915988 h 1181100"/>
                <a:gd name="connsiteX1" fmla="*/ 715963 w 1184276"/>
                <a:gd name="connsiteY1" fmla="*/ 1127126 h 1181100"/>
                <a:gd name="connsiteX2" fmla="*/ 992188 w 1184276"/>
                <a:gd name="connsiteY2" fmla="*/ 968773 h 1181100"/>
                <a:gd name="connsiteX3" fmla="*/ 844615 w 1184276"/>
                <a:gd name="connsiteY3" fmla="*/ 915988 h 1181100"/>
                <a:gd name="connsiteX4" fmla="*/ 340508 w 1184276"/>
                <a:gd name="connsiteY4" fmla="*/ 915988 h 1181100"/>
                <a:gd name="connsiteX5" fmla="*/ 192088 w 1184276"/>
                <a:gd name="connsiteY5" fmla="*/ 968773 h 1181100"/>
                <a:gd name="connsiteX6" fmla="*/ 469901 w 1184276"/>
                <a:gd name="connsiteY6" fmla="*/ 1127126 h 1181100"/>
                <a:gd name="connsiteX7" fmla="*/ 340508 w 1184276"/>
                <a:gd name="connsiteY7" fmla="*/ 915988 h 1181100"/>
                <a:gd name="connsiteX8" fmla="*/ 612775 w 1184276"/>
                <a:gd name="connsiteY8" fmla="*/ 885825 h 1181100"/>
                <a:gd name="connsiteX9" fmla="*/ 612775 w 1184276"/>
                <a:gd name="connsiteY9" fmla="*/ 1138238 h 1181100"/>
                <a:gd name="connsiteX10" fmla="*/ 806450 w 1184276"/>
                <a:gd name="connsiteY10" fmla="*/ 904662 h 1181100"/>
                <a:gd name="connsiteX11" fmla="*/ 612775 w 1184276"/>
                <a:gd name="connsiteY11" fmla="*/ 885825 h 1181100"/>
                <a:gd name="connsiteX12" fmla="*/ 571500 w 1184276"/>
                <a:gd name="connsiteY12" fmla="*/ 885825 h 1181100"/>
                <a:gd name="connsiteX13" fmla="*/ 377825 w 1184276"/>
                <a:gd name="connsiteY13" fmla="*/ 904662 h 1181100"/>
                <a:gd name="connsiteX14" fmla="*/ 571500 w 1184276"/>
                <a:gd name="connsiteY14" fmla="*/ 1138238 h 1181100"/>
                <a:gd name="connsiteX15" fmla="*/ 893471 w 1184276"/>
                <a:gd name="connsiteY15" fmla="*/ 609600 h 1181100"/>
                <a:gd name="connsiteX16" fmla="*/ 855663 w 1184276"/>
                <a:gd name="connsiteY16" fmla="*/ 877779 h 1181100"/>
                <a:gd name="connsiteX17" fmla="*/ 1018236 w 1184276"/>
                <a:gd name="connsiteY17" fmla="*/ 938213 h 1181100"/>
                <a:gd name="connsiteX18" fmla="*/ 1143001 w 1184276"/>
                <a:gd name="connsiteY18" fmla="*/ 609600 h 1181100"/>
                <a:gd name="connsiteX19" fmla="*/ 893471 w 1184276"/>
                <a:gd name="connsiteY19" fmla="*/ 609600 h 1181100"/>
                <a:gd name="connsiteX20" fmla="*/ 612775 w 1184276"/>
                <a:gd name="connsiteY20" fmla="*/ 609600 h 1181100"/>
                <a:gd name="connsiteX21" fmla="*/ 612775 w 1184276"/>
                <a:gd name="connsiteY21" fmla="*/ 844083 h 1181100"/>
                <a:gd name="connsiteX22" fmla="*/ 817712 w 1184276"/>
                <a:gd name="connsiteY22" fmla="*/ 866775 h 1181100"/>
                <a:gd name="connsiteX23" fmla="*/ 855663 w 1184276"/>
                <a:gd name="connsiteY23" fmla="*/ 609600 h 1181100"/>
                <a:gd name="connsiteX24" fmla="*/ 612775 w 1184276"/>
                <a:gd name="connsiteY24" fmla="*/ 609600 h 1181100"/>
                <a:gd name="connsiteX25" fmla="*/ 328613 w 1184276"/>
                <a:gd name="connsiteY25" fmla="*/ 609600 h 1181100"/>
                <a:gd name="connsiteX26" fmla="*/ 366564 w 1184276"/>
                <a:gd name="connsiteY26" fmla="*/ 866775 h 1181100"/>
                <a:gd name="connsiteX27" fmla="*/ 571501 w 1184276"/>
                <a:gd name="connsiteY27" fmla="*/ 844083 h 1181100"/>
                <a:gd name="connsiteX28" fmla="*/ 571501 w 1184276"/>
                <a:gd name="connsiteY28" fmla="*/ 609600 h 1181100"/>
                <a:gd name="connsiteX29" fmla="*/ 328613 w 1184276"/>
                <a:gd name="connsiteY29" fmla="*/ 609600 h 1181100"/>
                <a:gd name="connsiteX30" fmla="*/ 41275 w 1184276"/>
                <a:gd name="connsiteY30" fmla="*/ 609600 h 1181100"/>
                <a:gd name="connsiteX31" fmla="*/ 166040 w 1184276"/>
                <a:gd name="connsiteY31" fmla="*/ 938213 h 1181100"/>
                <a:gd name="connsiteX32" fmla="*/ 328613 w 1184276"/>
                <a:gd name="connsiteY32" fmla="*/ 874001 h 1181100"/>
                <a:gd name="connsiteX33" fmla="*/ 290805 w 1184276"/>
                <a:gd name="connsiteY33" fmla="*/ 609600 h 1181100"/>
                <a:gd name="connsiteX34" fmla="*/ 41275 w 1184276"/>
                <a:gd name="connsiteY34" fmla="*/ 609600 h 1181100"/>
                <a:gd name="connsiteX35" fmla="*/ 817712 w 1184276"/>
                <a:gd name="connsiteY35" fmla="*/ 314325 h 1181100"/>
                <a:gd name="connsiteX36" fmla="*/ 612775 w 1184276"/>
                <a:gd name="connsiteY36" fmla="*/ 337017 h 1181100"/>
                <a:gd name="connsiteX37" fmla="*/ 612775 w 1184276"/>
                <a:gd name="connsiteY37" fmla="*/ 571500 h 1181100"/>
                <a:gd name="connsiteX38" fmla="*/ 855663 w 1184276"/>
                <a:gd name="connsiteY38" fmla="*/ 571500 h 1181100"/>
                <a:gd name="connsiteX39" fmla="*/ 817712 w 1184276"/>
                <a:gd name="connsiteY39" fmla="*/ 314325 h 1181100"/>
                <a:gd name="connsiteX40" fmla="*/ 366564 w 1184276"/>
                <a:gd name="connsiteY40" fmla="*/ 314325 h 1181100"/>
                <a:gd name="connsiteX41" fmla="*/ 328613 w 1184276"/>
                <a:gd name="connsiteY41" fmla="*/ 571500 h 1181100"/>
                <a:gd name="connsiteX42" fmla="*/ 571501 w 1184276"/>
                <a:gd name="connsiteY42" fmla="*/ 571500 h 1181100"/>
                <a:gd name="connsiteX43" fmla="*/ 571501 w 1184276"/>
                <a:gd name="connsiteY43" fmla="*/ 337017 h 1181100"/>
                <a:gd name="connsiteX44" fmla="*/ 366564 w 1184276"/>
                <a:gd name="connsiteY44" fmla="*/ 314325 h 1181100"/>
                <a:gd name="connsiteX45" fmla="*/ 1018236 w 1184276"/>
                <a:gd name="connsiteY45" fmla="*/ 241300 h 1181100"/>
                <a:gd name="connsiteX46" fmla="*/ 855663 w 1184276"/>
                <a:gd name="connsiteY46" fmla="*/ 302026 h 1181100"/>
                <a:gd name="connsiteX47" fmla="*/ 893471 w 1184276"/>
                <a:gd name="connsiteY47" fmla="*/ 571500 h 1181100"/>
                <a:gd name="connsiteX48" fmla="*/ 1143001 w 1184276"/>
                <a:gd name="connsiteY48" fmla="*/ 571500 h 1181100"/>
                <a:gd name="connsiteX49" fmla="*/ 1018236 w 1184276"/>
                <a:gd name="connsiteY49" fmla="*/ 241300 h 1181100"/>
                <a:gd name="connsiteX50" fmla="*/ 166040 w 1184276"/>
                <a:gd name="connsiteY50" fmla="*/ 241300 h 1181100"/>
                <a:gd name="connsiteX51" fmla="*/ 41275 w 1184276"/>
                <a:gd name="connsiteY51" fmla="*/ 571500 h 1181100"/>
                <a:gd name="connsiteX52" fmla="*/ 290805 w 1184276"/>
                <a:gd name="connsiteY52" fmla="*/ 571500 h 1181100"/>
                <a:gd name="connsiteX53" fmla="*/ 328613 w 1184276"/>
                <a:gd name="connsiteY53" fmla="*/ 305822 h 1181100"/>
                <a:gd name="connsiteX54" fmla="*/ 166040 w 1184276"/>
                <a:gd name="connsiteY54" fmla="*/ 241300 h 1181100"/>
                <a:gd name="connsiteX55" fmla="*/ 715963 w 1184276"/>
                <a:gd name="connsiteY55" fmla="*/ 52388 h 1181100"/>
                <a:gd name="connsiteX56" fmla="*/ 844615 w 1184276"/>
                <a:gd name="connsiteY56" fmla="*/ 268288 h 1181100"/>
                <a:gd name="connsiteX57" fmla="*/ 992188 w 1184276"/>
                <a:gd name="connsiteY57" fmla="*/ 211472 h 1181100"/>
                <a:gd name="connsiteX58" fmla="*/ 715963 w 1184276"/>
                <a:gd name="connsiteY58" fmla="*/ 52388 h 1181100"/>
                <a:gd name="connsiteX59" fmla="*/ 469901 w 1184276"/>
                <a:gd name="connsiteY59" fmla="*/ 52388 h 1181100"/>
                <a:gd name="connsiteX60" fmla="*/ 192088 w 1184276"/>
                <a:gd name="connsiteY60" fmla="*/ 211932 h 1181100"/>
                <a:gd name="connsiteX61" fmla="*/ 340508 w 1184276"/>
                <a:gd name="connsiteY61" fmla="*/ 265113 h 1181100"/>
                <a:gd name="connsiteX62" fmla="*/ 469901 w 1184276"/>
                <a:gd name="connsiteY62" fmla="*/ 52388 h 1181100"/>
                <a:gd name="connsiteX63" fmla="*/ 612775 w 1184276"/>
                <a:gd name="connsiteY63" fmla="*/ 44450 h 1181100"/>
                <a:gd name="connsiteX64" fmla="*/ 612775 w 1184276"/>
                <a:gd name="connsiteY64" fmla="*/ 298450 h 1181100"/>
                <a:gd name="connsiteX65" fmla="*/ 806450 w 1184276"/>
                <a:gd name="connsiteY65" fmla="*/ 275704 h 1181100"/>
                <a:gd name="connsiteX66" fmla="*/ 612775 w 1184276"/>
                <a:gd name="connsiteY66" fmla="*/ 44450 h 1181100"/>
                <a:gd name="connsiteX67" fmla="*/ 571500 w 1184276"/>
                <a:gd name="connsiteY67" fmla="*/ 44450 h 1181100"/>
                <a:gd name="connsiteX68" fmla="*/ 377825 w 1184276"/>
                <a:gd name="connsiteY68" fmla="*/ 275704 h 1181100"/>
                <a:gd name="connsiteX69" fmla="*/ 571500 w 1184276"/>
                <a:gd name="connsiteY69" fmla="*/ 298450 h 1181100"/>
                <a:gd name="connsiteX70" fmla="*/ 592138 w 1184276"/>
                <a:gd name="connsiteY70" fmla="*/ 0 h 1181100"/>
                <a:gd name="connsiteX71" fmla="*/ 1184276 w 1184276"/>
                <a:gd name="connsiteY71" fmla="*/ 590550 h 1181100"/>
                <a:gd name="connsiteX72" fmla="*/ 592138 w 1184276"/>
                <a:gd name="connsiteY72" fmla="*/ 1181100 h 1181100"/>
                <a:gd name="connsiteX73" fmla="*/ 0 w 1184276"/>
                <a:gd name="connsiteY73" fmla="*/ 590550 h 1181100"/>
                <a:gd name="connsiteX74" fmla="*/ 592138 w 1184276"/>
                <a:gd name="connsiteY74" fmla="*/ 0 h 118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184276" h="1181100">
                  <a:moveTo>
                    <a:pt x="844615" y="915988"/>
                  </a:moveTo>
                  <a:cubicBezTo>
                    <a:pt x="814344" y="1006476"/>
                    <a:pt x="768937" y="1081882"/>
                    <a:pt x="715963" y="1127126"/>
                  </a:cubicBezTo>
                  <a:cubicBezTo>
                    <a:pt x="825696" y="1100734"/>
                    <a:pt x="920294" y="1047949"/>
                    <a:pt x="992188" y="968773"/>
                  </a:cubicBezTo>
                  <a:cubicBezTo>
                    <a:pt x="950565" y="946151"/>
                    <a:pt x="901375" y="927299"/>
                    <a:pt x="844615" y="915988"/>
                  </a:cubicBezTo>
                  <a:close/>
                  <a:moveTo>
                    <a:pt x="340508" y="915988"/>
                  </a:moveTo>
                  <a:cubicBezTo>
                    <a:pt x="283424" y="927299"/>
                    <a:pt x="233950" y="946151"/>
                    <a:pt x="192088" y="968773"/>
                  </a:cubicBezTo>
                  <a:cubicBezTo>
                    <a:pt x="264395" y="1047949"/>
                    <a:pt x="359537" y="1100734"/>
                    <a:pt x="469901" y="1127126"/>
                  </a:cubicBezTo>
                  <a:cubicBezTo>
                    <a:pt x="416622" y="1081882"/>
                    <a:pt x="370954" y="1006476"/>
                    <a:pt x="340508" y="915988"/>
                  </a:cubicBezTo>
                  <a:close/>
                  <a:moveTo>
                    <a:pt x="612775" y="885825"/>
                  </a:moveTo>
                  <a:cubicBezTo>
                    <a:pt x="612775" y="885825"/>
                    <a:pt x="612775" y="885825"/>
                    <a:pt x="612775" y="1138238"/>
                  </a:cubicBezTo>
                  <a:cubicBezTo>
                    <a:pt x="692523" y="1123169"/>
                    <a:pt x="760879" y="1032752"/>
                    <a:pt x="806450" y="904662"/>
                  </a:cubicBezTo>
                  <a:cubicBezTo>
                    <a:pt x="745689" y="893360"/>
                    <a:pt x="681131" y="885825"/>
                    <a:pt x="612775" y="885825"/>
                  </a:cubicBezTo>
                  <a:close/>
                  <a:moveTo>
                    <a:pt x="571500" y="885825"/>
                  </a:moveTo>
                  <a:cubicBezTo>
                    <a:pt x="503144" y="885825"/>
                    <a:pt x="438586" y="893360"/>
                    <a:pt x="377825" y="904662"/>
                  </a:cubicBezTo>
                  <a:cubicBezTo>
                    <a:pt x="423395" y="1032752"/>
                    <a:pt x="495549" y="1123169"/>
                    <a:pt x="571500" y="1138238"/>
                  </a:cubicBezTo>
                  <a:close/>
                  <a:moveTo>
                    <a:pt x="893471" y="609600"/>
                  </a:moveTo>
                  <a:cubicBezTo>
                    <a:pt x="893471" y="707806"/>
                    <a:pt x="878348" y="798458"/>
                    <a:pt x="855663" y="877779"/>
                  </a:cubicBezTo>
                  <a:cubicBezTo>
                    <a:pt x="916155" y="892887"/>
                    <a:pt x="972867" y="911773"/>
                    <a:pt x="1018236" y="938213"/>
                  </a:cubicBezTo>
                  <a:cubicBezTo>
                    <a:pt x="1093851" y="847561"/>
                    <a:pt x="1139220" y="734246"/>
                    <a:pt x="1143001" y="609600"/>
                  </a:cubicBezTo>
                  <a:cubicBezTo>
                    <a:pt x="1143001" y="609600"/>
                    <a:pt x="1143001" y="609600"/>
                    <a:pt x="893471" y="609600"/>
                  </a:cubicBezTo>
                  <a:close/>
                  <a:moveTo>
                    <a:pt x="612775" y="609600"/>
                  </a:moveTo>
                  <a:lnTo>
                    <a:pt x="612775" y="844083"/>
                  </a:lnTo>
                  <a:cubicBezTo>
                    <a:pt x="684882" y="847865"/>
                    <a:pt x="753194" y="855429"/>
                    <a:pt x="817712" y="866775"/>
                  </a:cubicBezTo>
                  <a:cubicBezTo>
                    <a:pt x="840482" y="791135"/>
                    <a:pt x="851868" y="704150"/>
                    <a:pt x="855663" y="609600"/>
                  </a:cubicBezTo>
                  <a:cubicBezTo>
                    <a:pt x="855663" y="609600"/>
                    <a:pt x="855663" y="609600"/>
                    <a:pt x="612775" y="609600"/>
                  </a:cubicBezTo>
                  <a:close/>
                  <a:moveTo>
                    <a:pt x="328613" y="609600"/>
                  </a:moveTo>
                  <a:cubicBezTo>
                    <a:pt x="332408" y="704150"/>
                    <a:pt x="343793" y="791135"/>
                    <a:pt x="366564" y="866775"/>
                  </a:cubicBezTo>
                  <a:cubicBezTo>
                    <a:pt x="431081" y="855429"/>
                    <a:pt x="499393" y="847865"/>
                    <a:pt x="571501" y="844083"/>
                  </a:cubicBezTo>
                  <a:lnTo>
                    <a:pt x="571501" y="609600"/>
                  </a:lnTo>
                  <a:cubicBezTo>
                    <a:pt x="571501" y="609600"/>
                    <a:pt x="571501" y="609600"/>
                    <a:pt x="328613" y="609600"/>
                  </a:cubicBezTo>
                  <a:close/>
                  <a:moveTo>
                    <a:pt x="41275" y="609600"/>
                  </a:moveTo>
                  <a:cubicBezTo>
                    <a:pt x="45056" y="734246"/>
                    <a:pt x="90425" y="847561"/>
                    <a:pt x="166040" y="938213"/>
                  </a:cubicBezTo>
                  <a:cubicBezTo>
                    <a:pt x="211409" y="911773"/>
                    <a:pt x="268121" y="892887"/>
                    <a:pt x="328613" y="874001"/>
                  </a:cubicBezTo>
                  <a:cubicBezTo>
                    <a:pt x="305928" y="798458"/>
                    <a:pt x="294586" y="707806"/>
                    <a:pt x="290805" y="609600"/>
                  </a:cubicBezTo>
                  <a:cubicBezTo>
                    <a:pt x="290805" y="609600"/>
                    <a:pt x="290805" y="609600"/>
                    <a:pt x="41275" y="609600"/>
                  </a:cubicBezTo>
                  <a:close/>
                  <a:moveTo>
                    <a:pt x="817712" y="314325"/>
                  </a:moveTo>
                  <a:cubicBezTo>
                    <a:pt x="753194" y="325671"/>
                    <a:pt x="684882" y="337017"/>
                    <a:pt x="612775" y="337017"/>
                  </a:cubicBezTo>
                  <a:lnTo>
                    <a:pt x="612775" y="571500"/>
                  </a:lnTo>
                  <a:cubicBezTo>
                    <a:pt x="612775" y="571500"/>
                    <a:pt x="612775" y="571500"/>
                    <a:pt x="855663" y="571500"/>
                  </a:cubicBezTo>
                  <a:cubicBezTo>
                    <a:pt x="851868" y="476950"/>
                    <a:pt x="840482" y="389965"/>
                    <a:pt x="817712" y="314325"/>
                  </a:cubicBezTo>
                  <a:close/>
                  <a:moveTo>
                    <a:pt x="366564" y="314325"/>
                  </a:moveTo>
                  <a:cubicBezTo>
                    <a:pt x="343793" y="389965"/>
                    <a:pt x="332408" y="476950"/>
                    <a:pt x="328613" y="571500"/>
                  </a:cubicBezTo>
                  <a:cubicBezTo>
                    <a:pt x="328613" y="571500"/>
                    <a:pt x="328613" y="571500"/>
                    <a:pt x="571501" y="571500"/>
                  </a:cubicBezTo>
                  <a:lnTo>
                    <a:pt x="571501" y="337017"/>
                  </a:lnTo>
                  <a:cubicBezTo>
                    <a:pt x="499393" y="337017"/>
                    <a:pt x="431081" y="329453"/>
                    <a:pt x="366564" y="314325"/>
                  </a:cubicBezTo>
                  <a:close/>
                  <a:moveTo>
                    <a:pt x="1018236" y="241300"/>
                  </a:moveTo>
                  <a:cubicBezTo>
                    <a:pt x="972867" y="267868"/>
                    <a:pt x="916155" y="286845"/>
                    <a:pt x="855663" y="302026"/>
                  </a:cubicBezTo>
                  <a:cubicBezTo>
                    <a:pt x="878348" y="381730"/>
                    <a:pt x="893471" y="472819"/>
                    <a:pt x="893471" y="571500"/>
                  </a:cubicBezTo>
                  <a:cubicBezTo>
                    <a:pt x="893471" y="571500"/>
                    <a:pt x="893471" y="571500"/>
                    <a:pt x="1143001" y="571500"/>
                  </a:cubicBezTo>
                  <a:cubicBezTo>
                    <a:pt x="1139220" y="446252"/>
                    <a:pt x="1093851" y="332390"/>
                    <a:pt x="1018236" y="241300"/>
                  </a:cubicBezTo>
                  <a:close/>
                  <a:moveTo>
                    <a:pt x="166040" y="241300"/>
                  </a:moveTo>
                  <a:cubicBezTo>
                    <a:pt x="90425" y="332390"/>
                    <a:pt x="45056" y="446252"/>
                    <a:pt x="41275" y="571500"/>
                  </a:cubicBezTo>
                  <a:cubicBezTo>
                    <a:pt x="41275" y="571500"/>
                    <a:pt x="41275" y="571500"/>
                    <a:pt x="290805" y="571500"/>
                  </a:cubicBezTo>
                  <a:cubicBezTo>
                    <a:pt x="294586" y="472819"/>
                    <a:pt x="305928" y="381730"/>
                    <a:pt x="328613" y="305822"/>
                  </a:cubicBezTo>
                  <a:cubicBezTo>
                    <a:pt x="268121" y="286845"/>
                    <a:pt x="211409" y="267868"/>
                    <a:pt x="166040" y="241300"/>
                  </a:cubicBezTo>
                  <a:close/>
                  <a:moveTo>
                    <a:pt x="715963" y="52388"/>
                  </a:moveTo>
                  <a:cubicBezTo>
                    <a:pt x="768937" y="97841"/>
                    <a:pt x="814344" y="173595"/>
                    <a:pt x="844615" y="268288"/>
                  </a:cubicBezTo>
                  <a:cubicBezTo>
                    <a:pt x="901375" y="253137"/>
                    <a:pt x="950565" y="234198"/>
                    <a:pt x="992188" y="211472"/>
                  </a:cubicBezTo>
                  <a:cubicBezTo>
                    <a:pt x="920294" y="135718"/>
                    <a:pt x="825696" y="78902"/>
                    <a:pt x="715963" y="52388"/>
                  </a:cubicBezTo>
                  <a:close/>
                  <a:moveTo>
                    <a:pt x="469901" y="52388"/>
                  </a:moveTo>
                  <a:cubicBezTo>
                    <a:pt x="359537" y="78978"/>
                    <a:pt x="264395" y="132160"/>
                    <a:pt x="192088" y="211932"/>
                  </a:cubicBezTo>
                  <a:cubicBezTo>
                    <a:pt x="233950" y="234724"/>
                    <a:pt x="283424" y="253717"/>
                    <a:pt x="340508" y="265113"/>
                  </a:cubicBezTo>
                  <a:cubicBezTo>
                    <a:pt x="370954" y="173945"/>
                    <a:pt x="416622" y="97972"/>
                    <a:pt x="469901" y="52388"/>
                  </a:cubicBezTo>
                  <a:close/>
                  <a:moveTo>
                    <a:pt x="612775" y="44450"/>
                  </a:moveTo>
                  <a:lnTo>
                    <a:pt x="612775" y="298450"/>
                  </a:lnTo>
                  <a:cubicBezTo>
                    <a:pt x="681131" y="294659"/>
                    <a:pt x="745689" y="287077"/>
                    <a:pt x="806450" y="275704"/>
                  </a:cubicBezTo>
                  <a:cubicBezTo>
                    <a:pt x="760879" y="146808"/>
                    <a:pt x="692523" y="55823"/>
                    <a:pt x="612775" y="44450"/>
                  </a:cubicBezTo>
                  <a:close/>
                  <a:moveTo>
                    <a:pt x="571500" y="44450"/>
                  </a:moveTo>
                  <a:cubicBezTo>
                    <a:pt x="495549" y="55823"/>
                    <a:pt x="423395" y="146808"/>
                    <a:pt x="377825" y="275704"/>
                  </a:cubicBezTo>
                  <a:cubicBezTo>
                    <a:pt x="438586" y="287077"/>
                    <a:pt x="503144" y="294659"/>
                    <a:pt x="571500" y="298450"/>
                  </a:cubicBezTo>
                  <a:close/>
                  <a:moveTo>
                    <a:pt x="592138" y="0"/>
                  </a:moveTo>
                  <a:cubicBezTo>
                    <a:pt x="919167" y="0"/>
                    <a:pt x="1184276" y="264398"/>
                    <a:pt x="1184276" y="590550"/>
                  </a:cubicBezTo>
                  <a:cubicBezTo>
                    <a:pt x="1184276" y="916702"/>
                    <a:pt x="919167" y="1181100"/>
                    <a:pt x="592138" y="1181100"/>
                  </a:cubicBezTo>
                  <a:cubicBezTo>
                    <a:pt x="265109" y="1181100"/>
                    <a:pt x="0" y="916702"/>
                    <a:pt x="0" y="590550"/>
                  </a:cubicBezTo>
                  <a:cubicBezTo>
                    <a:pt x="0" y="264398"/>
                    <a:pt x="265109" y="0"/>
                    <a:pt x="592138" y="0"/>
                  </a:cubicBezTo>
                  <a:close/>
                </a:path>
              </a:pathLst>
            </a:custGeom>
            <a:solidFill>
              <a:schemeClr val="bg1"/>
            </a:solidFill>
            <a:ln>
              <a:noFill/>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t" anchorCtr="0" compatLnSpc="1">
              <a:prstTxWarp prst="textNoShape">
                <a:avLst/>
              </a:prstTxWarp>
              <a:noAutofit/>
            </a:bodyPr>
            <a:lstStyle/>
            <a:p>
              <a:endParaRPr lang="en-GB" sz="1600" dirty="0">
                <a:solidFill>
                  <a:srgbClr val="000000"/>
                </a:solidFill>
              </a:endParaRPr>
            </a:p>
          </p:txBody>
        </p:sp>
        <p:sp>
          <p:nvSpPr>
            <p:cNvPr id="62" name="Rectangle 61"/>
            <p:cNvSpPr/>
            <p:nvPr/>
          </p:nvSpPr>
          <p:spPr>
            <a:xfrm>
              <a:off x="1365990" y="3231293"/>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rgbClr val="000000"/>
                </a:solidFill>
              </a:endParaRPr>
            </a:p>
          </p:txBody>
        </p:sp>
        <p:sp>
          <p:nvSpPr>
            <p:cNvPr id="63" name="TextBox 62"/>
            <p:cNvSpPr txBox="1"/>
            <p:nvPr/>
          </p:nvSpPr>
          <p:spPr>
            <a:xfrm>
              <a:off x="5673461" y="3205536"/>
              <a:ext cx="2006951" cy="530594"/>
            </a:xfrm>
            <a:prstGeom prst="rect">
              <a:avLst/>
            </a:prstGeom>
            <a:noFill/>
          </p:spPr>
          <p:txBody>
            <a:bodyPr wrap="square" rtlCol="0">
              <a:spAutoFit/>
            </a:bodyPr>
            <a:lstStyle/>
            <a:p>
              <a:pPr algn="ctr">
                <a:lnSpc>
                  <a:spcPct val="89000"/>
                </a:lnSpc>
              </a:pPr>
              <a:r>
                <a:rPr lang="en-US" sz="3200" b="1" dirty="0" smtClean="0">
                  <a:solidFill>
                    <a:schemeClr val="tx2"/>
                  </a:solidFill>
                  <a:ea typeface="Open Sans" panose="020B0606030504020204" pitchFamily="34" charset="0"/>
                  <a:cs typeface="Open Sans" panose="020B0606030504020204" pitchFamily="34" charset="0"/>
                </a:rPr>
                <a:t>55</a:t>
              </a:r>
              <a:endParaRPr lang="en-US" sz="3200" b="1" dirty="0">
                <a:solidFill>
                  <a:schemeClr val="tx2"/>
                </a:solidFill>
                <a:ea typeface="Open Sans" panose="020B0606030504020204" pitchFamily="34" charset="0"/>
                <a:cs typeface="Open Sans" panose="020B0606030504020204" pitchFamily="34" charset="0"/>
              </a:endParaRPr>
            </a:p>
          </p:txBody>
        </p:sp>
      </p:grpSp>
      <p:grpSp>
        <p:nvGrpSpPr>
          <p:cNvPr id="7" name="Group 6"/>
          <p:cNvGrpSpPr/>
          <p:nvPr/>
        </p:nvGrpSpPr>
        <p:grpSpPr>
          <a:xfrm>
            <a:off x="487320" y="4013656"/>
            <a:ext cx="7651443" cy="1006775"/>
            <a:chOff x="487321" y="4017324"/>
            <a:chExt cx="7651443" cy="1006775"/>
          </a:xfrm>
        </p:grpSpPr>
        <p:grpSp>
          <p:nvGrpSpPr>
            <p:cNvPr id="2" name="Group 1"/>
            <p:cNvGrpSpPr/>
            <p:nvPr/>
          </p:nvGrpSpPr>
          <p:grpSpPr>
            <a:xfrm>
              <a:off x="487321" y="4017324"/>
              <a:ext cx="7651443" cy="1006775"/>
              <a:chOff x="431192" y="2898726"/>
              <a:chExt cx="7559999" cy="1160451"/>
            </a:xfrm>
          </p:grpSpPr>
          <p:sp>
            <p:nvSpPr>
              <p:cNvPr id="124" name="Rectangle 123"/>
              <p:cNvSpPr/>
              <p:nvPr/>
            </p:nvSpPr>
            <p:spPr>
              <a:xfrm>
                <a:off x="431192" y="2898726"/>
                <a:ext cx="7559999" cy="1160451"/>
              </a:xfrm>
              <a:prstGeom prst="rect">
                <a:avLst/>
              </a:prstGeom>
              <a:solidFill>
                <a:srgbClr val="F0F7FA">
                  <a:alpha val="6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600" dirty="0">
                  <a:solidFill>
                    <a:srgbClr val="000000"/>
                  </a:solidFill>
                </a:endParaRPr>
              </a:p>
            </p:txBody>
          </p:sp>
          <p:sp>
            <p:nvSpPr>
              <p:cNvPr id="191" name="TextBox 190"/>
              <p:cNvSpPr txBox="1"/>
              <p:nvPr/>
            </p:nvSpPr>
            <p:spPr>
              <a:xfrm>
                <a:off x="1452508" y="3301573"/>
                <a:ext cx="2885810" cy="354756"/>
              </a:xfrm>
              <a:prstGeom prst="rect">
                <a:avLst/>
              </a:prstGeom>
              <a:noFill/>
            </p:spPr>
            <p:txBody>
              <a:bodyPr wrap="square" lIns="0" tIns="0" rIns="0" bIns="0" rtlCol="0" anchor="ctr" anchorCtr="0">
                <a:spAutoFit/>
              </a:bodyPr>
              <a:lstStyle/>
              <a:p>
                <a:r>
                  <a:rPr lang="en-US" sz="2000" b="1" dirty="0" smtClean="0">
                    <a:solidFill>
                      <a:srgbClr val="003755"/>
                    </a:solidFill>
                  </a:rPr>
                  <a:t>Meetings</a:t>
                </a:r>
                <a:endParaRPr lang="en-US" sz="2200" b="1" dirty="0">
                  <a:solidFill>
                    <a:srgbClr val="003755"/>
                  </a:solidFill>
                </a:endParaRPr>
              </a:p>
            </p:txBody>
          </p:sp>
          <p:sp>
            <p:nvSpPr>
              <p:cNvPr id="119" name="Rectangle 118"/>
              <p:cNvSpPr/>
              <p:nvPr/>
            </p:nvSpPr>
            <p:spPr>
              <a:xfrm>
                <a:off x="1298900" y="3239410"/>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rgbClr val="000000"/>
                  </a:solidFill>
                </a:endParaRPr>
              </a:p>
            </p:txBody>
          </p:sp>
          <p:sp>
            <p:nvSpPr>
              <p:cNvPr id="26" name="TextBox 25"/>
              <p:cNvSpPr txBox="1"/>
              <p:nvPr/>
            </p:nvSpPr>
            <p:spPr>
              <a:xfrm>
                <a:off x="5543356" y="3163680"/>
                <a:ext cx="2006951" cy="611584"/>
              </a:xfrm>
              <a:prstGeom prst="rect">
                <a:avLst/>
              </a:prstGeom>
              <a:noFill/>
            </p:spPr>
            <p:txBody>
              <a:bodyPr wrap="square" rtlCol="0" anchor="ctr" anchorCtr="0">
                <a:spAutoFit/>
              </a:bodyPr>
              <a:lstStyle/>
              <a:p>
                <a:pPr algn="ctr">
                  <a:lnSpc>
                    <a:spcPct val="89000"/>
                  </a:lnSpc>
                </a:pPr>
                <a:r>
                  <a:rPr lang="en-GB" sz="3200" b="1" dirty="0" smtClean="0">
                    <a:solidFill>
                      <a:srgbClr val="00304A"/>
                    </a:solidFill>
                    <a:ea typeface="Open Sans" panose="020B0606030504020204" pitchFamily="34" charset="0"/>
                    <a:cs typeface="Open Sans" panose="020B0606030504020204" pitchFamily="34" charset="0"/>
                  </a:rPr>
                  <a:t>3 301</a:t>
                </a:r>
                <a:endParaRPr lang="en-US" sz="3200" b="1" dirty="0">
                  <a:solidFill>
                    <a:srgbClr val="00304A"/>
                  </a:solidFill>
                  <a:ea typeface="Open Sans" panose="020B0606030504020204" pitchFamily="34" charset="0"/>
                  <a:cs typeface="Open Sans" panose="020B0606030504020204" pitchFamily="34" charset="0"/>
                </a:endParaRPr>
              </a:p>
            </p:txBody>
          </p:sp>
        </p:grpSp>
        <p:grpSp>
          <p:nvGrpSpPr>
            <p:cNvPr id="6" name="Group 5"/>
            <p:cNvGrpSpPr/>
            <p:nvPr/>
          </p:nvGrpSpPr>
          <p:grpSpPr>
            <a:xfrm>
              <a:off x="502544" y="4185001"/>
              <a:ext cx="666434" cy="666434"/>
              <a:chOff x="502544" y="4185001"/>
              <a:chExt cx="666434" cy="666434"/>
            </a:xfrm>
          </p:grpSpPr>
          <p:sp>
            <p:nvSpPr>
              <p:cNvPr id="65" name="Oval 64"/>
              <p:cNvSpPr/>
              <p:nvPr/>
            </p:nvSpPr>
            <p:spPr>
              <a:xfrm>
                <a:off x="502544" y="4185001"/>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chemeClr val="tx1"/>
                  </a:solidFill>
                </a:endParaRPr>
              </a:p>
            </p:txBody>
          </p:sp>
          <p:sp>
            <p:nvSpPr>
              <p:cNvPr id="75" name="Overview meeting"/>
              <p:cNvSpPr>
                <a:spLocks noChangeAspect="1" noEditPoints="1"/>
              </p:cNvSpPr>
              <p:nvPr>
                <p:custDataLst>
                  <p:tags r:id="rId3"/>
                </p:custDataLst>
              </p:nvPr>
            </p:nvSpPr>
            <p:spPr bwMode="auto">
              <a:xfrm>
                <a:off x="655258" y="4342402"/>
                <a:ext cx="352396" cy="356616"/>
              </a:xfrm>
              <a:custGeom>
                <a:avLst/>
                <a:gdLst>
                  <a:gd name="T0" fmla="*/ 307 w 1808"/>
                  <a:gd name="T1" fmla="*/ 577 h 1824"/>
                  <a:gd name="T2" fmla="*/ 426 w 1808"/>
                  <a:gd name="T3" fmla="*/ 753 h 1824"/>
                  <a:gd name="T4" fmla="*/ 397 w 1808"/>
                  <a:gd name="T5" fmla="*/ 943 h 1824"/>
                  <a:gd name="T6" fmla="*/ 60 w 1808"/>
                  <a:gd name="T7" fmla="*/ 1764 h 1824"/>
                  <a:gd name="T8" fmla="*/ 875 w 1808"/>
                  <a:gd name="T9" fmla="*/ 1454 h 1824"/>
                  <a:gd name="T10" fmla="*/ 571 w 1808"/>
                  <a:gd name="T11" fmla="*/ 1574 h 1824"/>
                  <a:gd name="T12" fmla="*/ 571 w 1808"/>
                  <a:gd name="T13" fmla="*/ 1136 h 1824"/>
                  <a:gd name="T14" fmla="*/ 875 w 1808"/>
                  <a:gd name="T15" fmla="*/ 1256 h 1824"/>
                  <a:gd name="T16" fmla="*/ 533 w 1808"/>
                  <a:gd name="T17" fmla="*/ 943 h 1824"/>
                  <a:gd name="T18" fmla="*/ 503 w 1808"/>
                  <a:gd name="T19" fmla="*/ 753 h 1824"/>
                  <a:gd name="T20" fmla="*/ 623 w 1808"/>
                  <a:gd name="T21" fmla="*/ 577 h 1824"/>
                  <a:gd name="T22" fmla="*/ 60 w 1808"/>
                  <a:gd name="T23" fmla="*/ 61 h 1824"/>
                  <a:gd name="T24" fmla="*/ 367 w 1808"/>
                  <a:gd name="T25" fmla="*/ 883 h 1824"/>
                  <a:gd name="T26" fmla="*/ 247 w 1808"/>
                  <a:gd name="T27" fmla="*/ 577 h 1824"/>
                  <a:gd name="T28" fmla="*/ 682 w 1808"/>
                  <a:gd name="T29" fmla="*/ 577 h 1824"/>
                  <a:gd name="T30" fmla="*/ 563 w 1808"/>
                  <a:gd name="T31" fmla="*/ 883 h 1824"/>
                  <a:gd name="T32" fmla="*/ 875 w 1808"/>
                  <a:gd name="T33" fmla="*/ 538 h 1824"/>
                  <a:gd name="T34" fmla="*/ 1062 w 1808"/>
                  <a:gd name="T35" fmla="*/ 508 h 1824"/>
                  <a:gd name="T36" fmla="*/ 1237 w 1808"/>
                  <a:gd name="T37" fmla="*/ 629 h 1824"/>
                  <a:gd name="T38" fmla="*/ 1237 w 1808"/>
                  <a:gd name="T39" fmla="*/ 311 h 1824"/>
                  <a:gd name="T40" fmla="*/ 1062 w 1808"/>
                  <a:gd name="T41" fmla="*/ 431 h 1824"/>
                  <a:gd name="T42" fmla="*/ 875 w 1808"/>
                  <a:gd name="T43" fmla="*/ 400 h 1824"/>
                  <a:gd name="T44" fmla="*/ 60 w 1808"/>
                  <a:gd name="T45" fmla="*/ 61 h 1824"/>
                  <a:gd name="T46" fmla="*/ 934 w 1808"/>
                  <a:gd name="T47" fmla="*/ 371 h 1824"/>
                  <a:gd name="T48" fmla="*/ 1237 w 1808"/>
                  <a:gd name="T49" fmla="*/ 251 h 1824"/>
                  <a:gd name="T50" fmla="*/ 1237 w 1808"/>
                  <a:gd name="T51" fmla="*/ 689 h 1824"/>
                  <a:gd name="T52" fmla="*/ 934 w 1808"/>
                  <a:gd name="T53" fmla="*/ 569 h 1824"/>
                  <a:gd name="T54" fmla="*/ 1275 w 1808"/>
                  <a:gd name="T55" fmla="*/ 883 h 1824"/>
                  <a:gd name="T56" fmla="*/ 1305 w 1808"/>
                  <a:gd name="T57" fmla="*/ 1072 h 1824"/>
                  <a:gd name="T58" fmla="*/ 1185 w 1808"/>
                  <a:gd name="T59" fmla="*/ 1248 h 1824"/>
                  <a:gd name="T60" fmla="*/ 1501 w 1808"/>
                  <a:gd name="T61" fmla="*/ 1248 h 1824"/>
                  <a:gd name="T62" fmla="*/ 1381 w 1808"/>
                  <a:gd name="T63" fmla="*/ 1072 h 1824"/>
                  <a:gd name="T64" fmla="*/ 1412 w 1808"/>
                  <a:gd name="T65" fmla="*/ 883 h 1824"/>
                  <a:gd name="T66" fmla="*/ 1749 w 1808"/>
                  <a:gd name="T67" fmla="*/ 61 h 1824"/>
                  <a:gd name="T68" fmla="*/ 30 w 1808"/>
                  <a:gd name="T69" fmla="*/ 0 h 1824"/>
                  <a:gd name="T70" fmla="*/ 1808 w 1808"/>
                  <a:gd name="T71" fmla="*/ 31 h 1824"/>
                  <a:gd name="T72" fmla="*/ 1778 w 1808"/>
                  <a:gd name="T73" fmla="*/ 1824 h 1824"/>
                  <a:gd name="T74" fmla="*/ 0 w 1808"/>
                  <a:gd name="T75" fmla="*/ 1794 h 1824"/>
                  <a:gd name="T76" fmla="*/ 30 w 1808"/>
                  <a:gd name="T77" fmla="*/ 0 h 1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08" h="1824">
                    <a:moveTo>
                      <a:pt x="465" y="418"/>
                    </a:moveTo>
                    <a:cubicBezTo>
                      <a:pt x="378" y="418"/>
                      <a:pt x="307" y="489"/>
                      <a:pt x="307" y="577"/>
                    </a:cubicBezTo>
                    <a:cubicBezTo>
                      <a:pt x="307" y="643"/>
                      <a:pt x="347" y="701"/>
                      <a:pt x="407" y="726"/>
                    </a:cubicBezTo>
                    <a:cubicBezTo>
                      <a:pt x="419" y="730"/>
                      <a:pt x="426" y="741"/>
                      <a:pt x="426" y="753"/>
                    </a:cubicBezTo>
                    <a:cubicBezTo>
                      <a:pt x="426" y="753"/>
                      <a:pt x="426" y="753"/>
                      <a:pt x="426" y="913"/>
                    </a:cubicBezTo>
                    <a:cubicBezTo>
                      <a:pt x="426" y="929"/>
                      <a:pt x="413" y="943"/>
                      <a:pt x="397" y="943"/>
                    </a:cubicBezTo>
                    <a:cubicBezTo>
                      <a:pt x="397" y="943"/>
                      <a:pt x="397" y="943"/>
                      <a:pt x="60" y="943"/>
                    </a:cubicBezTo>
                    <a:lnTo>
                      <a:pt x="60" y="1764"/>
                    </a:lnTo>
                    <a:cubicBezTo>
                      <a:pt x="60" y="1764"/>
                      <a:pt x="60" y="1764"/>
                      <a:pt x="875" y="1764"/>
                    </a:cubicBezTo>
                    <a:cubicBezTo>
                      <a:pt x="875" y="1764"/>
                      <a:pt x="875" y="1764"/>
                      <a:pt x="875" y="1454"/>
                    </a:cubicBezTo>
                    <a:cubicBezTo>
                      <a:pt x="875" y="1454"/>
                      <a:pt x="875" y="1454"/>
                      <a:pt x="765" y="1454"/>
                    </a:cubicBezTo>
                    <a:cubicBezTo>
                      <a:pt x="729" y="1527"/>
                      <a:pt x="655" y="1574"/>
                      <a:pt x="571" y="1574"/>
                    </a:cubicBezTo>
                    <a:cubicBezTo>
                      <a:pt x="452" y="1574"/>
                      <a:pt x="354" y="1476"/>
                      <a:pt x="354" y="1355"/>
                    </a:cubicBezTo>
                    <a:cubicBezTo>
                      <a:pt x="354" y="1235"/>
                      <a:pt x="452" y="1136"/>
                      <a:pt x="571" y="1136"/>
                    </a:cubicBezTo>
                    <a:cubicBezTo>
                      <a:pt x="655" y="1136"/>
                      <a:pt x="729" y="1183"/>
                      <a:pt x="765" y="1256"/>
                    </a:cubicBezTo>
                    <a:cubicBezTo>
                      <a:pt x="765" y="1256"/>
                      <a:pt x="765" y="1256"/>
                      <a:pt x="875" y="1256"/>
                    </a:cubicBezTo>
                    <a:cubicBezTo>
                      <a:pt x="875" y="1256"/>
                      <a:pt x="875" y="1256"/>
                      <a:pt x="875" y="943"/>
                    </a:cubicBezTo>
                    <a:cubicBezTo>
                      <a:pt x="875" y="943"/>
                      <a:pt x="875" y="943"/>
                      <a:pt x="533" y="943"/>
                    </a:cubicBezTo>
                    <a:cubicBezTo>
                      <a:pt x="516" y="943"/>
                      <a:pt x="503" y="929"/>
                      <a:pt x="503" y="913"/>
                    </a:cubicBezTo>
                    <a:cubicBezTo>
                      <a:pt x="503" y="913"/>
                      <a:pt x="503" y="913"/>
                      <a:pt x="503" y="753"/>
                    </a:cubicBezTo>
                    <a:cubicBezTo>
                      <a:pt x="503" y="741"/>
                      <a:pt x="510" y="730"/>
                      <a:pt x="523" y="726"/>
                    </a:cubicBezTo>
                    <a:cubicBezTo>
                      <a:pt x="582" y="701"/>
                      <a:pt x="623" y="642"/>
                      <a:pt x="623" y="577"/>
                    </a:cubicBezTo>
                    <a:cubicBezTo>
                      <a:pt x="623" y="489"/>
                      <a:pt x="552" y="418"/>
                      <a:pt x="465" y="418"/>
                    </a:cubicBezTo>
                    <a:close/>
                    <a:moveTo>
                      <a:pt x="60" y="61"/>
                    </a:moveTo>
                    <a:lnTo>
                      <a:pt x="60" y="883"/>
                    </a:lnTo>
                    <a:cubicBezTo>
                      <a:pt x="60" y="883"/>
                      <a:pt x="60" y="883"/>
                      <a:pt x="367" y="883"/>
                    </a:cubicBezTo>
                    <a:cubicBezTo>
                      <a:pt x="367" y="883"/>
                      <a:pt x="367" y="883"/>
                      <a:pt x="367" y="773"/>
                    </a:cubicBezTo>
                    <a:cubicBezTo>
                      <a:pt x="294" y="736"/>
                      <a:pt x="247" y="661"/>
                      <a:pt x="247" y="577"/>
                    </a:cubicBezTo>
                    <a:cubicBezTo>
                      <a:pt x="247" y="456"/>
                      <a:pt x="345" y="358"/>
                      <a:pt x="465" y="358"/>
                    </a:cubicBezTo>
                    <a:cubicBezTo>
                      <a:pt x="585" y="358"/>
                      <a:pt x="682" y="456"/>
                      <a:pt x="682" y="577"/>
                    </a:cubicBezTo>
                    <a:cubicBezTo>
                      <a:pt x="682" y="661"/>
                      <a:pt x="636" y="736"/>
                      <a:pt x="563" y="773"/>
                    </a:cubicBezTo>
                    <a:cubicBezTo>
                      <a:pt x="563" y="773"/>
                      <a:pt x="563" y="773"/>
                      <a:pt x="563" y="883"/>
                    </a:cubicBezTo>
                    <a:cubicBezTo>
                      <a:pt x="563" y="883"/>
                      <a:pt x="563" y="883"/>
                      <a:pt x="875" y="883"/>
                    </a:cubicBezTo>
                    <a:cubicBezTo>
                      <a:pt x="875" y="883"/>
                      <a:pt x="875" y="883"/>
                      <a:pt x="875" y="538"/>
                    </a:cubicBezTo>
                    <a:cubicBezTo>
                      <a:pt x="875" y="522"/>
                      <a:pt x="888" y="508"/>
                      <a:pt x="904" y="508"/>
                    </a:cubicBezTo>
                    <a:cubicBezTo>
                      <a:pt x="904" y="508"/>
                      <a:pt x="904" y="508"/>
                      <a:pt x="1062" y="508"/>
                    </a:cubicBezTo>
                    <a:cubicBezTo>
                      <a:pt x="1074" y="508"/>
                      <a:pt x="1085" y="516"/>
                      <a:pt x="1090" y="528"/>
                    </a:cubicBezTo>
                    <a:cubicBezTo>
                      <a:pt x="1113" y="588"/>
                      <a:pt x="1172" y="629"/>
                      <a:pt x="1237" y="629"/>
                    </a:cubicBezTo>
                    <a:cubicBezTo>
                      <a:pt x="1324" y="629"/>
                      <a:pt x="1395" y="557"/>
                      <a:pt x="1395" y="470"/>
                    </a:cubicBezTo>
                    <a:cubicBezTo>
                      <a:pt x="1395" y="382"/>
                      <a:pt x="1324" y="311"/>
                      <a:pt x="1237" y="311"/>
                    </a:cubicBezTo>
                    <a:cubicBezTo>
                      <a:pt x="1171" y="311"/>
                      <a:pt x="1113" y="350"/>
                      <a:pt x="1090" y="412"/>
                    </a:cubicBezTo>
                    <a:cubicBezTo>
                      <a:pt x="1085" y="423"/>
                      <a:pt x="1074" y="431"/>
                      <a:pt x="1062" y="431"/>
                    </a:cubicBezTo>
                    <a:cubicBezTo>
                      <a:pt x="1062" y="431"/>
                      <a:pt x="1062" y="431"/>
                      <a:pt x="904" y="431"/>
                    </a:cubicBezTo>
                    <a:cubicBezTo>
                      <a:pt x="888" y="431"/>
                      <a:pt x="875" y="418"/>
                      <a:pt x="875" y="400"/>
                    </a:cubicBezTo>
                    <a:cubicBezTo>
                      <a:pt x="875" y="400"/>
                      <a:pt x="875" y="400"/>
                      <a:pt x="875" y="61"/>
                    </a:cubicBezTo>
                    <a:cubicBezTo>
                      <a:pt x="875" y="61"/>
                      <a:pt x="875" y="61"/>
                      <a:pt x="60" y="61"/>
                    </a:cubicBezTo>
                    <a:close/>
                    <a:moveTo>
                      <a:pt x="934" y="61"/>
                    </a:moveTo>
                    <a:cubicBezTo>
                      <a:pt x="934" y="61"/>
                      <a:pt x="934" y="61"/>
                      <a:pt x="934" y="371"/>
                    </a:cubicBezTo>
                    <a:cubicBezTo>
                      <a:pt x="934" y="371"/>
                      <a:pt x="934" y="371"/>
                      <a:pt x="1043" y="371"/>
                    </a:cubicBezTo>
                    <a:cubicBezTo>
                      <a:pt x="1079" y="297"/>
                      <a:pt x="1154" y="251"/>
                      <a:pt x="1237" y="251"/>
                    </a:cubicBezTo>
                    <a:cubicBezTo>
                      <a:pt x="1356" y="251"/>
                      <a:pt x="1454" y="348"/>
                      <a:pt x="1454" y="470"/>
                    </a:cubicBezTo>
                    <a:cubicBezTo>
                      <a:pt x="1454" y="590"/>
                      <a:pt x="1356" y="689"/>
                      <a:pt x="1237" y="689"/>
                    </a:cubicBezTo>
                    <a:cubicBezTo>
                      <a:pt x="1155" y="689"/>
                      <a:pt x="1079" y="641"/>
                      <a:pt x="1043" y="569"/>
                    </a:cubicBezTo>
                    <a:cubicBezTo>
                      <a:pt x="1043" y="569"/>
                      <a:pt x="1043" y="569"/>
                      <a:pt x="934" y="569"/>
                    </a:cubicBezTo>
                    <a:cubicBezTo>
                      <a:pt x="934" y="569"/>
                      <a:pt x="934" y="569"/>
                      <a:pt x="934" y="883"/>
                    </a:cubicBezTo>
                    <a:cubicBezTo>
                      <a:pt x="934" y="883"/>
                      <a:pt x="934" y="883"/>
                      <a:pt x="1275" y="883"/>
                    </a:cubicBezTo>
                    <a:cubicBezTo>
                      <a:pt x="1291" y="883"/>
                      <a:pt x="1305" y="896"/>
                      <a:pt x="1305" y="912"/>
                    </a:cubicBezTo>
                    <a:cubicBezTo>
                      <a:pt x="1305" y="912"/>
                      <a:pt x="1305" y="912"/>
                      <a:pt x="1305" y="1072"/>
                    </a:cubicBezTo>
                    <a:cubicBezTo>
                      <a:pt x="1305" y="1084"/>
                      <a:pt x="1298" y="1095"/>
                      <a:pt x="1286" y="1099"/>
                    </a:cubicBezTo>
                    <a:cubicBezTo>
                      <a:pt x="1225" y="1124"/>
                      <a:pt x="1185" y="1182"/>
                      <a:pt x="1185" y="1248"/>
                    </a:cubicBezTo>
                    <a:cubicBezTo>
                      <a:pt x="1185" y="1336"/>
                      <a:pt x="1256" y="1407"/>
                      <a:pt x="1343" y="1407"/>
                    </a:cubicBezTo>
                    <a:cubicBezTo>
                      <a:pt x="1430" y="1407"/>
                      <a:pt x="1501" y="1336"/>
                      <a:pt x="1501" y="1248"/>
                    </a:cubicBezTo>
                    <a:cubicBezTo>
                      <a:pt x="1501" y="1182"/>
                      <a:pt x="1461" y="1124"/>
                      <a:pt x="1401" y="1099"/>
                    </a:cubicBezTo>
                    <a:cubicBezTo>
                      <a:pt x="1390" y="1095"/>
                      <a:pt x="1381" y="1084"/>
                      <a:pt x="1381" y="1072"/>
                    </a:cubicBezTo>
                    <a:cubicBezTo>
                      <a:pt x="1381" y="1072"/>
                      <a:pt x="1381" y="1072"/>
                      <a:pt x="1381" y="912"/>
                    </a:cubicBezTo>
                    <a:cubicBezTo>
                      <a:pt x="1381" y="896"/>
                      <a:pt x="1395" y="883"/>
                      <a:pt x="1412" y="883"/>
                    </a:cubicBezTo>
                    <a:cubicBezTo>
                      <a:pt x="1412" y="883"/>
                      <a:pt x="1412" y="883"/>
                      <a:pt x="1749" y="883"/>
                    </a:cubicBezTo>
                    <a:lnTo>
                      <a:pt x="1749" y="61"/>
                    </a:lnTo>
                    <a:cubicBezTo>
                      <a:pt x="1749" y="61"/>
                      <a:pt x="1749" y="61"/>
                      <a:pt x="934" y="61"/>
                    </a:cubicBezTo>
                    <a:close/>
                    <a:moveTo>
                      <a:pt x="30" y="0"/>
                    </a:moveTo>
                    <a:lnTo>
                      <a:pt x="1778" y="0"/>
                    </a:lnTo>
                    <a:cubicBezTo>
                      <a:pt x="1794" y="0"/>
                      <a:pt x="1808" y="15"/>
                      <a:pt x="1808" y="31"/>
                    </a:cubicBezTo>
                    <a:cubicBezTo>
                      <a:pt x="1808" y="31"/>
                      <a:pt x="1808" y="31"/>
                      <a:pt x="1808" y="1794"/>
                    </a:cubicBezTo>
                    <a:cubicBezTo>
                      <a:pt x="1808" y="1810"/>
                      <a:pt x="1794" y="1824"/>
                      <a:pt x="1778" y="1824"/>
                    </a:cubicBezTo>
                    <a:cubicBezTo>
                      <a:pt x="1778" y="1824"/>
                      <a:pt x="1778" y="1824"/>
                      <a:pt x="30" y="1824"/>
                    </a:cubicBezTo>
                    <a:cubicBezTo>
                      <a:pt x="14" y="1824"/>
                      <a:pt x="0" y="1810"/>
                      <a:pt x="0" y="1794"/>
                    </a:cubicBezTo>
                    <a:cubicBezTo>
                      <a:pt x="0" y="1794"/>
                      <a:pt x="0" y="1794"/>
                      <a:pt x="0" y="31"/>
                    </a:cubicBezTo>
                    <a:cubicBezTo>
                      <a:pt x="0" y="15"/>
                      <a:pt x="14" y="0"/>
                      <a:pt x="30"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00" dirty="0"/>
              </a:p>
            </p:txBody>
          </p:sp>
        </p:grpSp>
      </p:grpSp>
    </p:spTree>
    <p:extLst>
      <p:ext uri="{BB962C8B-B14F-4D97-AF65-F5344CB8AC3E}">
        <p14:creationId xmlns:p14="http://schemas.microsoft.com/office/powerpoint/2010/main" val="207173917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88"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0" name="TextBox 29"/>
          <p:cNvSpPr txBox="1"/>
          <p:nvPr/>
        </p:nvSpPr>
        <p:spPr>
          <a:xfrm>
            <a:off x="431900" y="6560825"/>
            <a:ext cx="5580099" cy="138499"/>
          </a:xfrm>
          <a:prstGeom prst="rect">
            <a:avLst/>
          </a:prstGeom>
          <a:noFill/>
        </p:spPr>
        <p:txBody>
          <a:bodyPr wrap="square" lIns="0" tIns="0" rIns="0" bIns="0" rtlCol="0">
            <a:spAutoFit/>
          </a:bodyPr>
          <a:lstStyle/>
          <a:p>
            <a:r>
              <a:rPr lang="en-GB" sz="900" dirty="0">
                <a:solidFill>
                  <a:schemeClr val="tx2"/>
                </a:solidFill>
              </a:rPr>
              <a:t>Note: Global Industry Classification Standard (GICS) is used for sector </a:t>
            </a:r>
            <a:r>
              <a:rPr lang="en-GB" sz="900" dirty="0" smtClean="0">
                <a:solidFill>
                  <a:schemeClr val="tx2"/>
                </a:solidFill>
              </a:rPr>
              <a:t>classification</a:t>
            </a:r>
            <a:endParaRPr lang="en-GB" sz="900" dirty="0">
              <a:solidFill>
                <a:schemeClr val="tx2"/>
              </a:solidFill>
            </a:endParaRPr>
          </a:p>
        </p:txBody>
      </p:sp>
      <p:graphicFrame>
        <p:nvGraphicFramePr>
          <p:cNvPr id="51" name="Chart 50"/>
          <p:cNvGraphicFramePr/>
          <p:nvPr>
            <p:extLst>
              <p:ext uri="{D42A27DB-BD31-4B8C-83A1-F6EECF244321}">
                <p14:modId xmlns:p14="http://schemas.microsoft.com/office/powerpoint/2010/main" val="1291565504"/>
              </p:ext>
            </p:extLst>
          </p:nvPr>
        </p:nvGraphicFramePr>
        <p:xfrm>
          <a:off x="239437" y="1525961"/>
          <a:ext cx="11545123" cy="4934737"/>
        </p:xfrm>
        <a:graphic>
          <a:graphicData uri="http://schemas.openxmlformats.org/drawingml/2006/chart">
            <c:chart xmlns:c="http://schemas.openxmlformats.org/drawingml/2006/chart" xmlns:r="http://schemas.openxmlformats.org/officeDocument/2006/relationships" r:id="rId7"/>
          </a:graphicData>
        </a:graphic>
      </p:graphicFrame>
      <p:grpSp>
        <p:nvGrpSpPr>
          <p:cNvPr id="22" name="Group 21"/>
          <p:cNvGrpSpPr>
            <a:grpSpLocks noChangeAspect="1"/>
          </p:cNvGrpSpPr>
          <p:nvPr/>
        </p:nvGrpSpPr>
        <p:grpSpPr>
          <a:xfrm>
            <a:off x="431900" y="192024"/>
            <a:ext cx="3049382" cy="468077"/>
            <a:chOff x="497821" y="2419091"/>
            <a:chExt cx="7559999" cy="1160451"/>
          </a:xfrm>
        </p:grpSpPr>
        <p:sp>
          <p:nvSpPr>
            <p:cNvPr id="23" name="Rectangle 22"/>
            <p:cNvSpPr/>
            <p:nvPr/>
          </p:nvSpPr>
          <p:spPr>
            <a:xfrm>
              <a:off x="497821" y="2419091"/>
              <a:ext cx="7559999" cy="1160451"/>
            </a:xfrm>
            <a:prstGeom prst="rect">
              <a:avLst/>
            </a:prstGeom>
            <a:solidFill>
              <a:srgbClr val="F0F7FA">
                <a:alpha val="6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600" dirty="0">
                <a:solidFill>
                  <a:srgbClr val="000000"/>
                </a:solidFill>
              </a:endParaRPr>
            </a:p>
          </p:txBody>
        </p:sp>
        <p:sp>
          <p:nvSpPr>
            <p:cNvPr id="24" name="TextBox 23"/>
            <p:cNvSpPr txBox="1"/>
            <p:nvPr/>
          </p:nvSpPr>
          <p:spPr>
            <a:xfrm>
              <a:off x="1556279" y="2808557"/>
              <a:ext cx="2885810" cy="381517"/>
            </a:xfrm>
            <a:prstGeom prst="rect">
              <a:avLst/>
            </a:prstGeom>
            <a:noFill/>
          </p:spPr>
          <p:txBody>
            <a:bodyPr wrap="square" lIns="0" tIns="0" rIns="0" bIns="0" rtlCol="0" anchor="ctr" anchorCtr="0">
              <a:spAutoFit/>
            </a:bodyPr>
            <a:lstStyle/>
            <a:p>
              <a:r>
                <a:rPr lang="en-US" sz="1000" b="1" dirty="0" smtClean="0">
                  <a:solidFill>
                    <a:srgbClr val="003755"/>
                  </a:solidFill>
                </a:rPr>
                <a:t>Companies</a:t>
              </a:r>
              <a:endParaRPr lang="en-US" sz="1000" b="1" dirty="0">
                <a:solidFill>
                  <a:srgbClr val="003755"/>
                </a:solidFill>
              </a:endParaRPr>
            </a:p>
          </p:txBody>
        </p:sp>
        <p:sp>
          <p:nvSpPr>
            <p:cNvPr id="25" name="Oval 24"/>
            <p:cNvSpPr/>
            <p:nvPr/>
          </p:nvSpPr>
          <p:spPr>
            <a:xfrm>
              <a:off x="539533" y="2666099"/>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chemeClr val="tx1"/>
                </a:solidFill>
              </a:endParaRPr>
            </a:p>
          </p:txBody>
        </p:sp>
        <p:sp>
          <p:nvSpPr>
            <p:cNvPr id="26" name="Rectangle 25"/>
            <p:cNvSpPr/>
            <p:nvPr/>
          </p:nvSpPr>
          <p:spPr>
            <a:xfrm>
              <a:off x="1402978" y="2759776"/>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rgbClr val="000000"/>
                </a:solidFill>
              </a:endParaRPr>
            </a:p>
          </p:txBody>
        </p:sp>
        <p:sp>
          <p:nvSpPr>
            <p:cNvPr id="28" name="TextBox 27"/>
            <p:cNvSpPr txBox="1"/>
            <p:nvPr/>
          </p:nvSpPr>
          <p:spPr>
            <a:xfrm>
              <a:off x="5711383" y="2715086"/>
              <a:ext cx="2006952" cy="568463"/>
            </a:xfrm>
            <a:prstGeom prst="rect">
              <a:avLst/>
            </a:prstGeom>
            <a:noFill/>
          </p:spPr>
          <p:txBody>
            <a:bodyPr wrap="square" rtlCol="0" anchor="ctr" anchorCtr="0">
              <a:spAutoFit/>
            </a:bodyPr>
            <a:lstStyle/>
            <a:p>
              <a:pPr algn="ctr">
                <a:lnSpc>
                  <a:spcPct val="89000"/>
                </a:lnSpc>
              </a:pPr>
              <a:r>
                <a:rPr lang="en-GB" sz="1000" b="1" dirty="0" smtClean="0">
                  <a:solidFill>
                    <a:srgbClr val="00304A"/>
                  </a:solidFill>
                  <a:ea typeface="Open Sans" panose="020B0606030504020204" pitchFamily="34" charset="0"/>
                  <a:cs typeface="Open Sans" panose="020B0606030504020204" pitchFamily="34" charset="0"/>
                </a:rPr>
                <a:t>2 979</a:t>
              </a:r>
              <a:endParaRPr lang="en-US" sz="1000" b="1" dirty="0">
                <a:solidFill>
                  <a:srgbClr val="00304A"/>
                </a:solidFill>
                <a:ea typeface="Open Sans" panose="020B0606030504020204" pitchFamily="34" charset="0"/>
                <a:cs typeface="Open Sans" panose="020B0606030504020204" pitchFamily="34" charset="0"/>
              </a:endParaRPr>
            </a:p>
          </p:txBody>
        </p:sp>
      </p:grpSp>
      <p:sp>
        <p:nvSpPr>
          <p:cNvPr id="13" name="Title 2"/>
          <p:cNvSpPr txBox="1">
            <a:spLocks/>
          </p:cNvSpPr>
          <p:nvPr/>
        </p:nvSpPr>
        <p:spPr>
          <a:xfrm>
            <a:off x="431900" y="697886"/>
            <a:ext cx="10357738" cy="5816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en-GB" sz="2400" b="0" kern="1200" baseline="0" noProof="0">
                <a:solidFill>
                  <a:schemeClr val="accent1"/>
                </a:solidFill>
                <a:latin typeface="+mj-lt"/>
                <a:ea typeface="+mj-ea"/>
                <a:cs typeface="Arial" pitchFamily="34" charset="0"/>
              </a:defRPr>
            </a:lvl1pPr>
          </a:lstStyle>
          <a:p>
            <a:r>
              <a:rPr lang="en-US" dirty="0" smtClean="0"/>
              <a:t>Top 10 industries most voted during H1 2020</a:t>
            </a:r>
            <a:br>
              <a:rPr lang="en-US" dirty="0" smtClean="0"/>
            </a:br>
            <a:r>
              <a:rPr lang="en-US" sz="1800" dirty="0" smtClean="0"/>
              <a:t>Number of companies per industry (Sector in bracket)</a:t>
            </a:r>
            <a:endParaRPr lang="en-US" sz="1800" dirty="0"/>
          </a:p>
        </p:txBody>
      </p:sp>
      <p:sp>
        <p:nvSpPr>
          <p:cNvPr id="14" name="Business"/>
          <p:cNvSpPr>
            <a:spLocks noChangeAspect="1"/>
          </p:cNvSpPr>
          <p:nvPr>
            <p:custDataLst>
              <p:tags r:id="rId3"/>
            </p:custDataLst>
          </p:nvPr>
        </p:nvSpPr>
        <p:spPr bwMode="auto">
          <a:xfrm>
            <a:off x="478904" y="341746"/>
            <a:ext cx="198880" cy="153398"/>
          </a:xfrm>
          <a:custGeom>
            <a:avLst/>
            <a:gdLst>
              <a:gd name="connsiteX0" fmla="*/ 820964 w 1154113"/>
              <a:gd name="connsiteY0" fmla="*/ 561975 h 822325"/>
              <a:gd name="connsiteX1" fmla="*/ 873881 w 1154113"/>
              <a:gd name="connsiteY1" fmla="*/ 561975 h 822325"/>
              <a:gd name="connsiteX2" fmla="*/ 889000 w 1154113"/>
              <a:gd name="connsiteY2" fmla="*/ 577397 h 822325"/>
              <a:gd name="connsiteX3" fmla="*/ 889000 w 1154113"/>
              <a:gd name="connsiteY3" fmla="*/ 631372 h 822325"/>
              <a:gd name="connsiteX4" fmla="*/ 873881 w 1154113"/>
              <a:gd name="connsiteY4" fmla="*/ 642938 h 822325"/>
              <a:gd name="connsiteX5" fmla="*/ 820964 w 1154113"/>
              <a:gd name="connsiteY5" fmla="*/ 642938 h 822325"/>
              <a:gd name="connsiteX6" fmla="*/ 809625 w 1154113"/>
              <a:gd name="connsiteY6" fmla="*/ 631372 h 822325"/>
              <a:gd name="connsiteX7" fmla="*/ 809625 w 1154113"/>
              <a:gd name="connsiteY7" fmla="*/ 577397 h 822325"/>
              <a:gd name="connsiteX8" fmla="*/ 820964 w 1154113"/>
              <a:gd name="connsiteY8" fmla="*/ 561975 h 822325"/>
              <a:gd name="connsiteX9" fmla="*/ 704094 w 1154113"/>
              <a:gd name="connsiteY9" fmla="*/ 561975 h 822325"/>
              <a:gd name="connsiteX10" fmla="*/ 757011 w 1154113"/>
              <a:gd name="connsiteY10" fmla="*/ 561975 h 822325"/>
              <a:gd name="connsiteX11" fmla="*/ 768350 w 1154113"/>
              <a:gd name="connsiteY11" fmla="*/ 577397 h 822325"/>
              <a:gd name="connsiteX12" fmla="*/ 768350 w 1154113"/>
              <a:gd name="connsiteY12" fmla="*/ 631372 h 822325"/>
              <a:gd name="connsiteX13" fmla="*/ 757011 w 1154113"/>
              <a:gd name="connsiteY13" fmla="*/ 642938 h 822325"/>
              <a:gd name="connsiteX14" fmla="*/ 704094 w 1154113"/>
              <a:gd name="connsiteY14" fmla="*/ 642938 h 822325"/>
              <a:gd name="connsiteX15" fmla="*/ 688975 w 1154113"/>
              <a:gd name="connsiteY15" fmla="*/ 631372 h 822325"/>
              <a:gd name="connsiteX16" fmla="*/ 688975 w 1154113"/>
              <a:gd name="connsiteY16" fmla="*/ 577397 h 822325"/>
              <a:gd name="connsiteX17" fmla="*/ 704094 w 1154113"/>
              <a:gd name="connsiteY17" fmla="*/ 561975 h 822325"/>
              <a:gd name="connsiteX18" fmla="*/ 582839 w 1154113"/>
              <a:gd name="connsiteY18" fmla="*/ 561975 h 822325"/>
              <a:gd name="connsiteX19" fmla="*/ 635756 w 1154113"/>
              <a:gd name="connsiteY19" fmla="*/ 561975 h 822325"/>
              <a:gd name="connsiteX20" fmla="*/ 650875 w 1154113"/>
              <a:gd name="connsiteY20" fmla="*/ 577397 h 822325"/>
              <a:gd name="connsiteX21" fmla="*/ 650875 w 1154113"/>
              <a:gd name="connsiteY21" fmla="*/ 631372 h 822325"/>
              <a:gd name="connsiteX22" fmla="*/ 635756 w 1154113"/>
              <a:gd name="connsiteY22" fmla="*/ 642938 h 822325"/>
              <a:gd name="connsiteX23" fmla="*/ 582839 w 1154113"/>
              <a:gd name="connsiteY23" fmla="*/ 642938 h 822325"/>
              <a:gd name="connsiteX24" fmla="*/ 571500 w 1154113"/>
              <a:gd name="connsiteY24" fmla="*/ 631372 h 822325"/>
              <a:gd name="connsiteX25" fmla="*/ 571500 w 1154113"/>
              <a:gd name="connsiteY25" fmla="*/ 577397 h 822325"/>
              <a:gd name="connsiteX26" fmla="*/ 582839 w 1154113"/>
              <a:gd name="connsiteY26" fmla="*/ 561975 h 822325"/>
              <a:gd name="connsiteX27" fmla="*/ 378052 w 1154113"/>
              <a:gd name="connsiteY27" fmla="*/ 561975 h 822325"/>
              <a:gd name="connsiteX28" fmla="*/ 430969 w 1154113"/>
              <a:gd name="connsiteY28" fmla="*/ 561975 h 822325"/>
              <a:gd name="connsiteX29" fmla="*/ 446088 w 1154113"/>
              <a:gd name="connsiteY29" fmla="*/ 577397 h 822325"/>
              <a:gd name="connsiteX30" fmla="*/ 446088 w 1154113"/>
              <a:gd name="connsiteY30" fmla="*/ 631372 h 822325"/>
              <a:gd name="connsiteX31" fmla="*/ 430969 w 1154113"/>
              <a:gd name="connsiteY31" fmla="*/ 642938 h 822325"/>
              <a:gd name="connsiteX32" fmla="*/ 378052 w 1154113"/>
              <a:gd name="connsiteY32" fmla="*/ 642938 h 822325"/>
              <a:gd name="connsiteX33" fmla="*/ 366713 w 1154113"/>
              <a:gd name="connsiteY33" fmla="*/ 631372 h 822325"/>
              <a:gd name="connsiteX34" fmla="*/ 366713 w 1154113"/>
              <a:gd name="connsiteY34" fmla="*/ 577397 h 822325"/>
              <a:gd name="connsiteX35" fmla="*/ 378052 w 1154113"/>
              <a:gd name="connsiteY35" fmla="*/ 561975 h 822325"/>
              <a:gd name="connsiteX36" fmla="*/ 261182 w 1154113"/>
              <a:gd name="connsiteY36" fmla="*/ 561975 h 822325"/>
              <a:gd name="connsiteX37" fmla="*/ 314099 w 1154113"/>
              <a:gd name="connsiteY37" fmla="*/ 561975 h 822325"/>
              <a:gd name="connsiteX38" fmla="*/ 325438 w 1154113"/>
              <a:gd name="connsiteY38" fmla="*/ 577397 h 822325"/>
              <a:gd name="connsiteX39" fmla="*/ 325438 w 1154113"/>
              <a:gd name="connsiteY39" fmla="*/ 631372 h 822325"/>
              <a:gd name="connsiteX40" fmla="*/ 314099 w 1154113"/>
              <a:gd name="connsiteY40" fmla="*/ 642938 h 822325"/>
              <a:gd name="connsiteX41" fmla="*/ 261182 w 1154113"/>
              <a:gd name="connsiteY41" fmla="*/ 642938 h 822325"/>
              <a:gd name="connsiteX42" fmla="*/ 246063 w 1154113"/>
              <a:gd name="connsiteY42" fmla="*/ 631372 h 822325"/>
              <a:gd name="connsiteX43" fmla="*/ 246063 w 1154113"/>
              <a:gd name="connsiteY43" fmla="*/ 577397 h 822325"/>
              <a:gd name="connsiteX44" fmla="*/ 261182 w 1154113"/>
              <a:gd name="connsiteY44" fmla="*/ 561975 h 822325"/>
              <a:gd name="connsiteX45" fmla="*/ 820964 w 1154113"/>
              <a:gd name="connsiteY45" fmla="*/ 444500 h 822325"/>
              <a:gd name="connsiteX46" fmla="*/ 873881 w 1154113"/>
              <a:gd name="connsiteY46" fmla="*/ 444500 h 822325"/>
              <a:gd name="connsiteX47" fmla="*/ 889000 w 1154113"/>
              <a:gd name="connsiteY47" fmla="*/ 459619 h 822325"/>
              <a:gd name="connsiteX48" fmla="*/ 889000 w 1154113"/>
              <a:gd name="connsiteY48" fmla="*/ 508756 h 822325"/>
              <a:gd name="connsiteX49" fmla="*/ 873881 w 1154113"/>
              <a:gd name="connsiteY49" fmla="*/ 523875 h 822325"/>
              <a:gd name="connsiteX50" fmla="*/ 820964 w 1154113"/>
              <a:gd name="connsiteY50" fmla="*/ 523875 h 822325"/>
              <a:gd name="connsiteX51" fmla="*/ 809625 w 1154113"/>
              <a:gd name="connsiteY51" fmla="*/ 508756 h 822325"/>
              <a:gd name="connsiteX52" fmla="*/ 809625 w 1154113"/>
              <a:gd name="connsiteY52" fmla="*/ 459619 h 822325"/>
              <a:gd name="connsiteX53" fmla="*/ 820964 w 1154113"/>
              <a:gd name="connsiteY53" fmla="*/ 444500 h 822325"/>
              <a:gd name="connsiteX54" fmla="*/ 704094 w 1154113"/>
              <a:gd name="connsiteY54" fmla="*/ 444500 h 822325"/>
              <a:gd name="connsiteX55" fmla="*/ 757011 w 1154113"/>
              <a:gd name="connsiteY55" fmla="*/ 444500 h 822325"/>
              <a:gd name="connsiteX56" fmla="*/ 768350 w 1154113"/>
              <a:gd name="connsiteY56" fmla="*/ 459619 h 822325"/>
              <a:gd name="connsiteX57" fmla="*/ 768350 w 1154113"/>
              <a:gd name="connsiteY57" fmla="*/ 508756 h 822325"/>
              <a:gd name="connsiteX58" fmla="*/ 757011 w 1154113"/>
              <a:gd name="connsiteY58" fmla="*/ 523875 h 822325"/>
              <a:gd name="connsiteX59" fmla="*/ 704094 w 1154113"/>
              <a:gd name="connsiteY59" fmla="*/ 523875 h 822325"/>
              <a:gd name="connsiteX60" fmla="*/ 688975 w 1154113"/>
              <a:gd name="connsiteY60" fmla="*/ 508756 h 822325"/>
              <a:gd name="connsiteX61" fmla="*/ 688975 w 1154113"/>
              <a:gd name="connsiteY61" fmla="*/ 459619 h 822325"/>
              <a:gd name="connsiteX62" fmla="*/ 704094 w 1154113"/>
              <a:gd name="connsiteY62" fmla="*/ 444500 h 822325"/>
              <a:gd name="connsiteX63" fmla="*/ 582839 w 1154113"/>
              <a:gd name="connsiteY63" fmla="*/ 444500 h 822325"/>
              <a:gd name="connsiteX64" fmla="*/ 635756 w 1154113"/>
              <a:gd name="connsiteY64" fmla="*/ 444500 h 822325"/>
              <a:gd name="connsiteX65" fmla="*/ 650875 w 1154113"/>
              <a:gd name="connsiteY65" fmla="*/ 459619 h 822325"/>
              <a:gd name="connsiteX66" fmla="*/ 650875 w 1154113"/>
              <a:gd name="connsiteY66" fmla="*/ 508756 h 822325"/>
              <a:gd name="connsiteX67" fmla="*/ 635756 w 1154113"/>
              <a:gd name="connsiteY67" fmla="*/ 523875 h 822325"/>
              <a:gd name="connsiteX68" fmla="*/ 582839 w 1154113"/>
              <a:gd name="connsiteY68" fmla="*/ 523875 h 822325"/>
              <a:gd name="connsiteX69" fmla="*/ 571500 w 1154113"/>
              <a:gd name="connsiteY69" fmla="*/ 508756 h 822325"/>
              <a:gd name="connsiteX70" fmla="*/ 571500 w 1154113"/>
              <a:gd name="connsiteY70" fmla="*/ 459619 h 822325"/>
              <a:gd name="connsiteX71" fmla="*/ 582839 w 1154113"/>
              <a:gd name="connsiteY71" fmla="*/ 444500 h 822325"/>
              <a:gd name="connsiteX72" fmla="*/ 378052 w 1154113"/>
              <a:gd name="connsiteY72" fmla="*/ 444500 h 822325"/>
              <a:gd name="connsiteX73" fmla="*/ 430969 w 1154113"/>
              <a:gd name="connsiteY73" fmla="*/ 444500 h 822325"/>
              <a:gd name="connsiteX74" fmla="*/ 446088 w 1154113"/>
              <a:gd name="connsiteY74" fmla="*/ 459619 h 822325"/>
              <a:gd name="connsiteX75" fmla="*/ 446088 w 1154113"/>
              <a:gd name="connsiteY75" fmla="*/ 508756 h 822325"/>
              <a:gd name="connsiteX76" fmla="*/ 430969 w 1154113"/>
              <a:gd name="connsiteY76" fmla="*/ 523875 h 822325"/>
              <a:gd name="connsiteX77" fmla="*/ 378052 w 1154113"/>
              <a:gd name="connsiteY77" fmla="*/ 523875 h 822325"/>
              <a:gd name="connsiteX78" fmla="*/ 366713 w 1154113"/>
              <a:gd name="connsiteY78" fmla="*/ 508756 h 822325"/>
              <a:gd name="connsiteX79" fmla="*/ 366713 w 1154113"/>
              <a:gd name="connsiteY79" fmla="*/ 459619 h 822325"/>
              <a:gd name="connsiteX80" fmla="*/ 378052 w 1154113"/>
              <a:gd name="connsiteY80" fmla="*/ 444500 h 822325"/>
              <a:gd name="connsiteX81" fmla="*/ 261182 w 1154113"/>
              <a:gd name="connsiteY81" fmla="*/ 444500 h 822325"/>
              <a:gd name="connsiteX82" fmla="*/ 314099 w 1154113"/>
              <a:gd name="connsiteY82" fmla="*/ 444500 h 822325"/>
              <a:gd name="connsiteX83" fmla="*/ 321658 w 1154113"/>
              <a:gd name="connsiteY83" fmla="*/ 448280 h 822325"/>
              <a:gd name="connsiteX84" fmla="*/ 325438 w 1154113"/>
              <a:gd name="connsiteY84" fmla="*/ 459619 h 822325"/>
              <a:gd name="connsiteX85" fmla="*/ 325438 w 1154113"/>
              <a:gd name="connsiteY85" fmla="*/ 508756 h 822325"/>
              <a:gd name="connsiteX86" fmla="*/ 314099 w 1154113"/>
              <a:gd name="connsiteY86" fmla="*/ 523875 h 822325"/>
              <a:gd name="connsiteX87" fmla="*/ 261182 w 1154113"/>
              <a:gd name="connsiteY87" fmla="*/ 523875 h 822325"/>
              <a:gd name="connsiteX88" fmla="*/ 246063 w 1154113"/>
              <a:gd name="connsiteY88" fmla="*/ 508756 h 822325"/>
              <a:gd name="connsiteX89" fmla="*/ 246063 w 1154113"/>
              <a:gd name="connsiteY89" fmla="*/ 459619 h 822325"/>
              <a:gd name="connsiteX90" fmla="*/ 261182 w 1154113"/>
              <a:gd name="connsiteY90" fmla="*/ 444500 h 822325"/>
              <a:gd name="connsiteX91" fmla="*/ 820964 w 1154113"/>
              <a:gd name="connsiteY91" fmla="*/ 322262 h 822325"/>
              <a:gd name="connsiteX92" fmla="*/ 873881 w 1154113"/>
              <a:gd name="connsiteY92" fmla="*/ 322262 h 822325"/>
              <a:gd name="connsiteX93" fmla="*/ 889000 w 1154113"/>
              <a:gd name="connsiteY93" fmla="*/ 337683 h 822325"/>
              <a:gd name="connsiteX94" fmla="*/ 889000 w 1154113"/>
              <a:gd name="connsiteY94" fmla="*/ 391659 h 822325"/>
              <a:gd name="connsiteX95" fmla="*/ 873881 w 1154113"/>
              <a:gd name="connsiteY95" fmla="*/ 403225 h 822325"/>
              <a:gd name="connsiteX96" fmla="*/ 820964 w 1154113"/>
              <a:gd name="connsiteY96" fmla="*/ 403225 h 822325"/>
              <a:gd name="connsiteX97" fmla="*/ 809625 w 1154113"/>
              <a:gd name="connsiteY97" fmla="*/ 391659 h 822325"/>
              <a:gd name="connsiteX98" fmla="*/ 809625 w 1154113"/>
              <a:gd name="connsiteY98" fmla="*/ 337683 h 822325"/>
              <a:gd name="connsiteX99" fmla="*/ 820964 w 1154113"/>
              <a:gd name="connsiteY99" fmla="*/ 322262 h 822325"/>
              <a:gd name="connsiteX100" fmla="*/ 704094 w 1154113"/>
              <a:gd name="connsiteY100" fmla="*/ 322262 h 822325"/>
              <a:gd name="connsiteX101" fmla="*/ 757011 w 1154113"/>
              <a:gd name="connsiteY101" fmla="*/ 322262 h 822325"/>
              <a:gd name="connsiteX102" fmla="*/ 768350 w 1154113"/>
              <a:gd name="connsiteY102" fmla="*/ 337683 h 822325"/>
              <a:gd name="connsiteX103" fmla="*/ 768350 w 1154113"/>
              <a:gd name="connsiteY103" fmla="*/ 391659 h 822325"/>
              <a:gd name="connsiteX104" fmla="*/ 757011 w 1154113"/>
              <a:gd name="connsiteY104" fmla="*/ 403225 h 822325"/>
              <a:gd name="connsiteX105" fmla="*/ 704094 w 1154113"/>
              <a:gd name="connsiteY105" fmla="*/ 403225 h 822325"/>
              <a:gd name="connsiteX106" fmla="*/ 688975 w 1154113"/>
              <a:gd name="connsiteY106" fmla="*/ 391659 h 822325"/>
              <a:gd name="connsiteX107" fmla="*/ 688975 w 1154113"/>
              <a:gd name="connsiteY107" fmla="*/ 337683 h 822325"/>
              <a:gd name="connsiteX108" fmla="*/ 704094 w 1154113"/>
              <a:gd name="connsiteY108" fmla="*/ 322262 h 822325"/>
              <a:gd name="connsiteX109" fmla="*/ 582839 w 1154113"/>
              <a:gd name="connsiteY109" fmla="*/ 322262 h 822325"/>
              <a:gd name="connsiteX110" fmla="*/ 635756 w 1154113"/>
              <a:gd name="connsiteY110" fmla="*/ 322262 h 822325"/>
              <a:gd name="connsiteX111" fmla="*/ 650875 w 1154113"/>
              <a:gd name="connsiteY111" fmla="*/ 337683 h 822325"/>
              <a:gd name="connsiteX112" fmla="*/ 650875 w 1154113"/>
              <a:gd name="connsiteY112" fmla="*/ 391659 h 822325"/>
              <a:gd name="connsiteX113" fmla="*/ 635756 w 1154113"/>
              <a:gd name="connsiteY113" fmla="*/ 403225 h 822325"/>
              <a:gd name="connsiteX114" fmla="*/ 582839 w 1154113"/>
              <a:gd name="connsiteY114" fmla="*/ 403225 h 822325"/>
              <a:gd name="connsiteX115" fmla="*/ 571500 w 1154113"/>
              <a:gd name="connsiteY115" fmla="*/ 391659 h 822325"/>
              <a:gd name="connsiteX116" fmla="*/ 571500 w 1154113"/>
              <a:gd name="connsiteY116" fmla="*/ 337683 h 822325"/>
              <a:gd name="connsiteX117" fmla="*/ 582839 w 1154113"/>
              <a:gd name="connsiteY117" fmla="*/ 322262 h 822325"/>
              <a:gd name="connsiteX118" fmla="*/ 378052 w 1154113"/>
              <a:gd name="connsiteY118" fmla="*/ 322262 h 822325"/>
              <a:gd name="connsiteX119" fmla="*/ 430969 w 1154113"/>
              <a:gd name="connsiteY119" fmla="*/ 322262 h 822325"/>
              <a:gd name="connsiteX120" fmla="*/ 446088 w 1154113"/>
              <a:gd name="connsiteY120" fmla="*/ 337683 h 822325"/>
              <a:gd name="connsiteX121" fmla="*/ 446088 w 1154113"/>
              <a:gd name="connsiteY121" fmla="*/ 391659 h 822325"/>
              <a:gd name="connsiteX122" fmla="*/ 430969 w 1154113"/>
              <a:gd name="connsiteY122" fmla="*/ 403225 h 822325"/>
              <a:gd name="connsiteX123" fmla="*/ 378052 w 1154113"/>
              <a:gd name="connsiteY123" fmla="*/ 403225 h 822325"/>
              <a:gd name="connsiteX124" fmla="*/ 366713 w 1154113"/>
              <a:gd name="connsiteY124" fmla="*/ 391659 h 822325"/>
              <a:gd name="connsiteX125" fmla="*/ 366713 w 1154113"/>
              <a:gd name="connsiteY125" fmla="*/ 337683 h 822325"/>
              <a:gd name="connsiteX126" fmla="*/ 378052 w 1154113"/>
              <a:gd name="connsiteY126" fmla="*/ 322262 h 822325"/>
              <a:gd name="connsiteX127" fmla="*/ 261182 w 1154113"/>
              <a:gd name="connsiteY127" fmla="*/ 322262 h 822325"/>
              <a:gd name="connsiteX128" fmla="*/ 314099 w 1154113"/>
              <a:gd name="connsiteY128" fmla="*/ 322262 h 822325"/>
              <a:gd name="connsiteX129" fmla="*/ 325438 w 1154113"/>
              <a:gd name="connsiteY129" fmla="*/ 337683 h 822325"/>
              <a:gd name="connsiteX130" fmla="*/ 325438 w 1154113"/>
              <a:gd name="connsiteY130" fmla="*/ 391659 h 822325"/>
              <a:gd name="connsiteX131" fmla="*/ 314099 w 1154113"/>
              <a:gd name="connsiteY131" fmla="*/ 403225 h 822325"/>
              <a:gd name="connsiteX132" fmla="*/ 261182 w 1154113"/>
              <a:gd name="connsiteY132" fmla="*/ 403225 h 822325"/>
              <a:gd name="connsiteX133" fmla="*/ 246063 w 1154113"/>
              <a:gd name="connsiteY133" fmla="*/ 391659 h 822325"/>
              <a:gd name="connsiteX134" fmla="*/ 246063 w 1154113"/>
              <a:gd name="connsiteY134" fmla="*/ 337683 h 822325"/>
              <a:gd name="connsiteX135" fmla="*/ 261182 w 1154113"/>
              <a:gd name="connsiteY135" fmla="*/ 322262 h 822325"/>
              <a:gd name="connsiteX136" fmla="*/ 514350 w 1154113"/>
              <a:gd name="connsiteY136" fmla="*/ 265112 h 822325"/>
              <a:gd name="connsiteX137" fmla="*/ 514350 w 1154113"/>
              <a:gd name="connsiteY137" fmla="*/ 790575 h 822325"/>
              <a:gd name="connsiteX138" fmla="*/ 946150 w 1154113"/>
              <a:gd name="connsiteY138" fmla="*/ 790575 h 822325"/>
              <a:gd name="connsiteX139" fmla="*/ 946150 w 1154113"/>
              <a:gd name="connsiteY139" fmla="*/ 265112 h 822325"/>
              <a:gd name="connsiteX140" fmla="*/ 378052 w 1154113"/>
              <a:gd name="connsiteY140" fmla="*/ 204787 h 822325"/>
              <a:gd name="connsiteX141" fmla="*/ 430969 w 1154113"/>
              <a:gd name="connsiteY141" fmla="*/ 204787 h 822325"/>
              <a:gd name="connsiteX142" fmla="*/ 446088 w 1154113"/>
              <a:gd name="connsiteY142" fmla="*/ 219906 h 822325"/>
              <a:gd name="connsiteX143" fmla="*/ 446088 w 1154113"/>
              <a:gd name="connsiteY143" fmla="*/ 269043 h 822325"/>
              <a:gd name="connsiteX144" fmla="*/ 430969 w 1154113"/>
              <a:gd name="connsiteY144" fmla="*/ 284162 h 822325"/>
              <a:gd name="connsiteX145" fmla="*/ 378052 w 1154113"/>
              <a:gd name="connsiteY145" fmla="*/ 284162 h 822325"/>
              <a:gd name="connsiteX146" fmla="*/ 366713 w 1154113"/>
              <a:gd name="connsiteY146" fmla="*/ 269043 h 822325"/>
              <a:gd name="connsiteX147" fmla="*/ 366713 w 1154113"/>
              <a:gd name="connsiteY147" fmla="*/ 219906 h 822325"/>
              <a:gd name="connsiteX148" fmla="*/ 378052 w 1154113"/>
              <a:gd name="connsiteY148" fmla="*/ 204787 h 822325"/>
              <a:gd name="connsiteX149" fmla="*/ 261182 w 1154113"/>
              <a:gd name="connsiteY149" fmla="*/ 204787 h 822325"/>
              <a:gd name="connsiteX150" fmla="*/ 314099 w 1154113"/>
              <a:gd name="connsiteY150" fmla="*/ 204787 h 822325"/>
              <a:gd name="connsiteX151" fmla="*/ 325438 w 1154113"/>
              <a:gd name="connsiteY151" fmla="*/ 219906 h 822325"/>
              <a:gd name="connsiteX152" fmla="*/ 325438 w 1154113"/>
              <a:gd name="connsiteY152" fmla="*/ 269043 h 822325"/>
              <a:gd name="connsiteX153" fmla="*/ 314099 w 1154113"/>
              <a:gd name="connsiteY153" fmla="*/ 284162 h 822325"/>
              <a:gd name="connsiteX154" fmla="*/ 261182 w 1154113"/>
              <a:gd name="connsiteY154" fmla="*/ 284162 h 822325"/>
              <a:gd name="connsiteX155" fmla="*/ 246063 w 1154113"/>
              <a:gd name="connsiteY155" fmla="*/ 269043 h 822325"/>
              <a:gd name="connsiteX156" fmla="*/ 246063 w 1154113"/>
              <a:gd name="connsiteY156" fmla="*/ 219906 h 822325"/>
              <a:gd name="connsiteX157" fmla="*/ 261182 w 1154113"/>
              <a:gd name="connsiteY157" fmla="*/ 204787 h 822325"/>
              <a:gd name="connsiteX158" fmla="*/ 378052 w 1154113"/>
              <a:gd name="connsiteY158" fmla="*/ 82550 h 822325"/>
              <a:gd name="connsiteX159" fmla="*/ 430969 w 1154113"/>
              <a:gd name="connsiteY159" fmla="*/ 82550 h 822325"/>
              <a:gd name="connsiteX160" fmla="*/ 446088 w 1154113"/>
              <a:gd name="connsiteY160" fmla="*/ 97971 h 822325"/>
              <a:gd name="connsiteX161" fmla="*/ 446088 w 1154113"/>
              <a:gd name="connsiteY161" fmla="*/ 151947 h 822325"/>
              <a:gd name="connsiteX162" fmla="*/ 430969 w 1154113"/>
              <a:gd name="connsiteY162" fmla="*/ 163513 h 822325"/>
              <a:gd name="connsiteX163" fmla="*/ 378052 w 1154113"/>
              <a:gd name="connsiteY163" fmla="*/ 163513 h 822325"/>
              <a:gd name="connsiteX164" fmla="*/ 366713 w 1154113"/>
              <a:gd name="connsiteY164" fmla="*/ 151947 h 822325"/>
              <a:gd name="connsiteX165" fmla="*/ 366713 w 1154113"/>
              <a:gd name="connsiteY165" fmla="*/ 97971 h 822325"/>
              <a:gd name="connsiteX166" fmla="*/ 378052 w 1154113"/>
              <a:gd name="connsiteY166" fmla="*/ 82550 h 822325"/>
              <a:gd name="connsiteX167" fmla="*/ 261182 w 1154113"/>
              <a:gd name="connsiteY167" fmla="*/ 82550 h 822325"/>
              <a:gd name="connsiteX168" fmla="*/ 314099 w 1154113"/>
              <a:gd name="connsiteY168" fmla="*/ 82550 h 822325"/>
              <a:gd name="connsiteX169" fmla="*/ 325438 w 1154113"/>
              <a:gd name="connsiteY169" fmla="*/ 97971 h 822325"/>
              <a:gd name="connsiteX170" fmla="*/ 325438 w 1154113"/>
              <a:gd name="connsiteY170" fmla="*/ 151947 h 822325"/>
              <a:gd name="connsiteX171" fmla="*/ 314099 w 1154113"/>
              <a:gd name="connsiteY171" fmla="*/ 163513 h 822325"/>
              <a:gd name="connsiteX172" fmla="*/ 261182 w 1154113"/>
              <a:gd name="connsiteY172" fmla="*/ 163513 h 822325"/>
              <a:gd name="connsiteX173" fmla="*/ 246063 w 1154113"/>
              <a:gd name="connsiteY173" fmla="*/ 151947 h 822325"/>
              <a:gd name="connsiteX174" fmla="*/ 246063 w 1154113"/>
              <a:gd name="connsiteY174" fmla="*/ 97971 h 822325"/>
              <a:gd name="connsiteX175" fmla="*/ 261182 w 1154113"/>
              <a:gd name="connsiteY175" fmla="*/ 82550 h 822325"/>
              <a:gd name="connsiteX176" fmla="*/ 207963 w 1154113"/>
              <a:gd name="connsiteY176" fmla="*/ 25400 h 822325"/>
              <a:gd name="connsiteX177" fmla="*/ 207963 w 1154113"/>
              <a:gd name="connsiteY177" fmla="*/ 790575 h 822325"/>
              <a:gd name="connsiteX178" fmla="*/ 484188 w 1154113"/>
              <a:gd name="connsiteY178" fmla="*/ 790575 h 822325"/>
              <a:gd name="connsiteX179" fmla="*/ 484188 w 1154113"/>
              <a:gd name="connsiteY179" fmla="*/ 25400 h 822325"/>
              <a:gd name="connsiteX180" fmla="*/ 192983 w 1154113"/>
              <a:gd name="connsiteY180" fmla="*/ 0 h 822325"/>
              <a:gd name="connsiteX181" fmla="*/ 499485 w 1154113"/>
              <a:gd name="connsiteY181" fmla="*/ 0 h 822325"/>
              <a:gd name="connsiteX182" fmla="*/ 514621 w 1154113"/>
              <a:gd name="connsiteY182" fmla="*/ 15228 h 822325"/>
              <a:gd name="connsiteX183" fmla="*/ 514621 w 1154113"/>
              <a:gd name="connsiteY183" fmla="*/ 239845 h 822325"/>
              <a:gd name="connsiteX184" fmla="*/ 957346 w 1154113"/>
              <a:gd name="connsiteY184" fmla="*/ 239845 h 822325"/>
              <a:gd name="connsiteX185" fmla="*/ 972482 w 1154113"/>
              <a:gd name="connsiteY185" fmla="*/ 255073 h 822325"/>
              <a:gd name="connsiteX186" fmla="*/ 972482 w 1154113"/>
              <a:gd name="connsiteY186" fmla="*/ 791869 h 822325"/>
              <a:gd name="connsiteX187" fmla="*/ 1138977 w 1154113"/>
              <a:gd name="connsiteY187" fmla="*/ 791869 h 822325"/>
              <a:gd name="connsiteX188" fmla="*/ 1154113 w 1154113"/>
              <a:gd name="connsiteY188" fmla="*/ 807097 h 822325"/>
              <a:gd name="connsiteX189" fmla="*/ 1138977 w 1154113"/>
              <a:gd name="connsiteY189" fmla="*/ 822325 h 822325"/>
              <a:gd name="connsiteX190" fmla="*/ 11352 w 1154113"/>
              <a:gd name="connsiteY190" fmla="*/ 822325 h 822325"/>
              <a:gd name="connsiteX191" fmla="*/ 0 w 1154113"/>
              <a:gd name="connsiteY191" fmla="*/ 807097 h 822325"/>
              <a:gd name="connsiteX192" fmla="*/ 11352 w 1154113"/>
              <a:gd name="connsiteY192" fmla="*/ 791869 h 822325"/>
              <a:gd name="connsiteX193" fmla="*/ 181631 w 1154113"/>
              <a:gd name="connsiteY193" fmla="*/ 791869 h 822325"/>
              <a:gd name="connsiteX194" fmla="*/ 181631 w 1154113"/>
              <a:gd name="connsiteY194" fmla="*/ 15228 h 822325"/>
              <a:gd name="connsiteX195" fmla="*/ 192983 w 1154113"/>
              <a:gd name="connsiteY195" fmla="*/ 0 h 82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154113" h="822325">
                <a:moveTo>
                  <a:pt x="820964" y="561975"/>
                </a:moveTo>
                <a:cubicBezTo>
                  <a:pt x="820964" y="561975"/>
                  <a:pt x="820964" y="561975"/>
                  <a:pt x="873881" y="561975"/>
                </a:cubicBezTo>
                <a:cubicBezTo>
                  <a:pt x="881441" y="561975"/>
                  <a:pt x="889000" y="569686"/>
                  <a:pt x="889000" y="577397"/>
                </a:cubicBezTo>
                <a:cubicBezTo>
                  <a:pt x="889000" y="577397"/>
                  <a:pt x="889000" y="577397"/>
                  <a:pt x="889000" y="631372"/>
                </a:cubicBezTo>
                <a:cubicBezTo>
                  <a:pt x="889000" y="639083"/>
                  <a:pt x="881441" y="642938"/>
                  <a:pt x="873881" y="642938"/>
                </a:cubicBezTo>
                <a:cubicBezTo>
                  <a:pt x="873881" y="642938"/>
                  <a:pt x="873881" y="642938"/>
                  <a:pt x="820964" y="642938"/>
                </a:cubicBezTo>
                <a:cubicBezTo>
                  <a:pt x="813405" y="642938"/>
                  <a:pt x="809625" y="639083"/>
                  <a:pt x="809625" y="631372"/>
                </a:cubicBezTo>
                <a:cubicBezTo>
                  <a:pt x="809625" y="631372"/>
                  <a:pt x="809625" y="631372"/>
                  <a:pt x="809625" y="577397"/>
                </a:cubicBezTo>
                <a:cubicBezTo>
                  <a:pt x="809625" y="569686"/>
                  <a:pt x="813405" y="561975"/>
                  <a:pt x="820964" y="561975"/>
                </a:cubicBezTo>
                <a:close/>
                <a:moveTo>
                  <a:pt x="704094" y="561975"/>
                </a:moveTo>
                <a:cubicBezTo>
                  <a:pt x="704094" y="561975"/>
                  <a:pt x="704094" y="561975"/>
                  <a:pt x="757011" y="561975"/>
                </a:cubicBezTo>
                <a:cubicBezTo>
                  <a:pt x="764570" y="561975"/>
                  <a:pt x="768350" y="569686"/>
                  <a:pt x="768350" y="577397"/>
                </a:cubicBezTo>
                <a:cubicBezTo>
                  <a:pt x="768350" y="577397"/>
                  <a:pt x="768350" y="577397"/>
                  <a:pt x="768350" y="631372"/>
                </a:cubicBezTo>
                <a:cubicBezTo>
                  <a:pt x="768350" y="639083"/>
                  <a:pt x="764570" y="642938"/>
                  <a:pt x="757011" y="642938"/>
                </a:cubicBezTo>
                <a:cubicBezTo>
                  <a:pt x="757011" y="642938"/>
                  <a:pt x="757011" y="642938"/>
                  <a:pt x="704094" y="642938"/>
                </a:cubicBezTo>
                <a:cubicBezTo>
                  <a:pt x="696534" y="642938"/>
                  <a:pt x="688975" y="639083"/>
                  <a:pt x="688975" y="631372"/>
                </a:cubicBezTo>
                <a:cubicBezTo>
                  <a:pt x="688975" y="631372"/>
                  <a:pt x="688975" y="631372"/>
                  <a:pt x="688975" y="577397"/>
                </a:cubicBezTo>
                <a:cubicBezTo>
                  <a:pt x="688975" y="569686"/>
                  <a:pt x="696534" y="561975"/>
                  <a:pt x="704094" y="561975"/>
                </a:cubicBezTo>
                <a:close/>
                <a:moveTo>
                  <a:pt x="582839" y="561975"/>
                </a:moveTo>
                <a:cubicBezTo>
                  <a:pt x="582839" y="561975"/>
                  <a:pt x="582839" y="561975"/>
                  <a:pt x="635756" y="561975"/>
                </a:cubicBezTo>
                <a:cubicBezTo>
                  <a:pt x="643315" y="561975"/>
                  <a:pt x="650875" y="569686"/>
                  <a:pt x="650875" y="577397"/>
                </a:cubicBezTo>
                <a:cubicBezTo>
                  <a:pt x="650875" y="577397"/>
                  <a:pt x="650875" y="577397"/>
                  <a:pt x="650875" y="631372"/>
                </a:cubicBezTo>
                <a:cubicBezTo>
                  <a:pt x="650875" y="639083"/>
                  <a:pt x="643315" y="642938"/>
                  <a:pt x="635756" y="642938"/>
                </a:cubicBezTo>
                <a:cubicBezTo>
                  <a:pt x="635756" y="642938"/>
                  <a:pt x="635756" y="642938"/>
                  <a:pt x="582839" y="642938"/>
                </a:cubicBezTo>
                <a:cubicBezTo>
                  <a:pt x="575280" y="642938"/>
                  <a:pt x="571500" y="639083"/>
                  <a:pt x="571500" y="631372"/>
                </a:cubicBezTo>
                <a:cubicBezTo>
                  <a:pt x="571500" y="631372"/>
                  <a:pt x="571500" y="631372"/>
                  <a:pt x="571500" y="577397"/>
                </a:cubicBezTo>
                <a:cubicBezTo>
                  <a:pt x="571500" y="569686"/>
                  <a:pt x="575280" y="561975"/>
                  <a:pt x="582839" y="561975"/>
                </a:cubicBezTo>
                <a:close/>
                <a:moveTo>
                  <a:pt x="378052" y="561975"/>
                </a:moveTo>
                <a:cubicBezTo>
                  <a:pt x="378052" y="561975"/>
                  <a:pt x="378052" y="561975"/>
                  <a:pt x="430969" y="561975"/>
                </a:cubicBezTo>
                <a:cubicBezTo>
                  <a:pt x="438528" y="561975"/>
                  <a:pt x="446088" y="569686"/>
                  <a:pt x="446088" y="577397"/>
                </a:cubicBezTo>
                <a:cubicBezTo>
                  <a:pt x="446088" y="577397"/>
                  <a:pt x="446088" y="577397"/>
                  <a:pt x="446088" y="631372"/>
                </a:cubicBezTo>
                <a:cubicBezTo>
                  <a:pt x="446088" y="639083"/>
                  <a:pt x="438528" y="642938"/>
                  <a:pt x="430969" y="642938"/>
                </a:cubicBezTo>
                <a:cubicBezTo>
                  <a:pt x="430969" y="642938"/>
                  <a:pt x="430969" y="642938"/>
                  <a:pt x="378052" y="642938"/>
                </a:cubicBezTo>
                <a:cubicBezTo>
                  <a:pt x="374272" y="642938"/>
                  <a:pt x="366713" y="639083"/>
                  <a:pt x="366713" y="631372"/>
                </a:cubicBezTo>
                <a:cubicBezTo>
                  <a:pt x="366713" y="631372"/>
                  <a:pt x="366713" y="631372"/>
                  <a:pt x="366713" y="577397"/>
                </a:cubicBezTo>
                <a:cubicBezTo>
                  <a:pt x="366713" y="569686"/>
                  <a:pt x="374272" y="561975"/>
                  <a:pt x="378052" y="561975"/>
                </a:cubicBezTo>
                <a:close/>
                <a:moveTo>
                  <a:pt x="261182" y="561975"/>
                </a:moveTo>
                <a:cubicBezTo>
                  <a:pt x="261182" y="561975"/>
                  <a:pt x="261182" y="561975"/>
                  <a:pt x="314099" y="561975"/>
                </a:cubicBezTo>
                <a:cubicBezTo>
                  <a:pt x="321658" y="561975"/>
                  <a:pt x="325438" y="569686"/>
                  <a:pt x="325438" y="577397"/>
                </a:cubicBezTo>
                <a:cubicBezTo>
                  <a:pt x="325438" y="577397"/>
                  <a:pt x="325438" y="577397"/>
                  <a:pt x="325438" y="631372"/>
                </a:cubicBezTo>
                <a:cubicBezTo>
                  <a:pt x="325438" y="639083"/>
                  <a:pt x="321658" y="642938"/>
                  <a:pt x="314099" y="642938"/>
                </a:cubicBezTo>
                <a:cubicBezTo>
                  <a:pt x="314099" y="642938"/>
                  <a:pt x="314099" y="642938"/>
                  <a:pt x="261182" y="642938"/>
                </a:cubicBezTo>
                <a:cubicBezTo>
                  <a:pt x="253622" y="642938"/>
                  <a:pt x="246063" y="639083"/>
                  <a:pt x="246063" y="631372"/>
                </a:cubicBezTo>
                <a:cubicBezTo>
                  <a:pt x="246063" y="631372"/>
                  <a:pt x="246063" y="631372"/>
                  <a:pt x="246063" y="577397"/>
                </a:cubicBezTo>
                <a:cubicBezTo>
                  <a:pt x="246063" y="569686"/>
                  <a:pt x="253622" y="561975"/>
                  <a:pt x="261182" y="561975"/>
                </a:cubicBezTo>
                <a:close/>
                <a:moveTo>
                  <a:pt x="820964" y="444500"/>
                </a:moveTo>
                <a:cubicBezTo>
                  <a:pt x="820964" y="444500"/>
                  <a:pt x="820964" y="444500"/>
                  <a:pt x="873881" y="444500"/>
                </a:cubicBezTo>
                <a:cubicBezTo>
                  <a:pt x="881441" y="444500"/>
                  <a:pt x="889000" y="452060"/>
                  <a:pt x="889000" y="459619"/>
                </a:cubicBezTo>
                <a:cubicBezTo>
                  <a:pt x="889000" y="459619"/>
                  <a:pt x="889000" y="459619"/>
                  <a:pt x="889000" y="508756"/>
                </a:cubicBezTo>
                <a:cubicBezTo>
                  <a:pt x="889000" y="516316"/>
                  <a:pt x="881441" y="523875"/>
                  <a:pt x="873881" y="523875"/>
                </a:cubicBezTo>
                <a:cubicBezTo>
                  <a:pt x="873881" y="523875"/>
                  <a:pt x="873881" y="523875"/>
                  <a:pt x="820964" y="523875"/>
                </a:cubicBezTo>
                <a:cubicBezTo>
                  <a:pt x="813405" y="523875"/>
                  <a:pt x="809625" y="516316"/>
                  <a:pt x="809625" y="508756"/>
                </a:cubicBezTo>
                <a:cubicBezTo>
                  <a:pt x="809625" y="508756"/>
                  <a:pt x="809625" y="508756"/>
                  <a:pt x="809625" y="459619"/>
                </a:cubicBezTo>
                <a:cubicBezTo>
                  <a:pt x="809625" y="452060"/>
                  <a:pt x="813405" y="444500"/>
                  <a:pt x="820964" y="444500"/>
                </a:cubicBezTo>
                <a:close/>
                <a:moveTo>
                  <a:pt x="704094" y="444500"/>
                </a:moveTo>
                <a:cubicBezTo>
                  <a:pt x="704094" y="444500"/>
                  <a:pt x="704094" y="444500"/>
                  <a:pt x="757011" y="444500"/>
                </a:cubicBezTo>
                <a:cubicBezTo>
                  <a:pt x="764570" y="444500"/>
                  <a:pt x="768350" y="452060"/>
                  <a:pt x="768350" y="459619"/>
                </a:cubicBezTo>
                <a:cubicBezTo>
                  <a:pt x="768350" y="459619"/>
                  <a:pt x="768350" y="459619"/>
                  <a:pt x="768350" y="508756"/>
                </a:cubicBezTo>
                <a:cubicBezTo>
                  <a:pt x="768350" y="516316"/>
                  <a:pt x="764570" y="523875"/>
                  <a:pt x="757011" y="523875"/>
                </a:cubicBezTo>
                <a:cubicBezTo>
                  <a:pt x="757011" y="523875"/>
                  <a:pt x="757011" y="523875"/>
                  <a:pt x="704094" y="523875"/>
                </a:cubicBezTo>
                <a:cubicBezTo>
                  <a:pt x="696534" y="523875"/>
                  <a:pt x="688975" y="516316"/>
                  <a:pt x="688975" y="508756"/>
                </a:cubicBezTo>
                <a:cubicBezTo>
                  <a:pt x="688975" y="508756"/>
                  <a:pt x="688975" y="508756"/>
                  <a:pt x="688975" y="459619"/>
                </a:cubicBezTo>
                <a:cubicBezTo>
                  <a:pt x="688975" y="452060"/>
                  <a:pt x="696534" y="444500"/>
                  <a:pt x="704094" y="444500"/>
                </a:cubicBezTo>
                <a:close/>
                <a:moveTo>
                  <a:pt x="582839" y="444500"/>
                </a:moveTo>
                <a:cubicBezTo>
                  <a:pt x="582839" y="444500"/>
                  <a:pt x="582839" y="444500"/>
                  <a:pt x="635756" y="444500"/>
                </a:cubicBezTo>
                <a:cubicBezTo>
                  <a:pt x="643315" y="444500"/>
                  <a:pt x="650875" y="452060"/>
                  <a:pt x="650875" y="459619"/>
                </a:cubicBezTo>
                <a:cubicBezTo>
                  <a:pt x="650875" y="459619"/>
                  <a:pt x="650875" y="459619"/>
                  <a:pt x="650875" y="508756"/>
                </a:cubicBezTo>
                <a:cubicBezTo>
                  <a:pt x="650875" y="516316"/>
                  <a:pt x="643315" y="523875"/>
                  <a:pt x="635756" y="523875"/>
                </a:cubicBezTo>
                <a:cubicBezTo>
                  <a:pt x="635756" y="523875"/>
                  <a:pt x="635756" y="523875"/>
                  <a:pt x="582839" y="523875"/>
                </a:cubicBezTo>
                <a:cubicBezTo>
                  <a:pt x="575280" y="523875"/>
                  <a:pt x="571500" y="516316"/>
                  <a:pt x="571500" y="508756"/>
                </a:cubicBezTo>
                <a:cubicBezTo>
                  <a:pt x="571500" y="508756"/>
                  <a:pt x="571500" y="508756"/>
                  <a:pt x="571500" y="459619"/>
                </a:cubicBezTo>
                <a:cubicBezTo>
                  <a:pt x="571500" y="452060"/>
                  <a:pt x="575280" y="444500"/>
                  <a:pt x="582839" y="444500"/>
                </a:cubicBezTo>
                <a:close/>
                <a:moveTo>
                  <a:pt x="378052" y="444500"/>
                </a:moveTo>
                <a:cubicBezTo>
                  <a:pt x="378052" y="444500"/>
                  <a:pt x="378052" y="444500"/>
                  <a:pt x="430969" y="444500"/>
                </a:cubicBezTo>
                <a:cubicBezTo>
                  <a:pt x="438528" y="444500"/>
                  <a:pt x="446088" y="452060"/>
                  <a:pt x="446088" y="459619"/>
                </a:cubicBezTo>
                <a:cubicBezTo>
                  <a:pt x="446088" y="459619"/>
                  <a:pt x="446088" y="459619"/>
                  <a:pt x="446088" y="508756"/>
                </a:cubicBezTo>
                <a:cubicBezTo>
                  <a:pt x="446088" y="516316"/>
                  <a:pt x="438528" y="523875"/>
                  <a:pt x="430969" y="523875"/>
                </a:cubicBezTo>
                <a:cubicBezTo>
                  <a:pt x="430969" y="523875"/>
                  <a:pt x="430969" y="523875"/>
                  <a:pt x="378052" y="523875"/>
                </a:cubicBezTo>
                <a:cubicBezTo>
                  <a:pt x="374272" y="523875"/>
                  <a:pt x="366713" y="516316"/>
                  <a:pt x="366713" y="508756"/>
                </a:cubicBezTo>
                <a:cubicBezTo>
                  <a:pt x="366713" y="508756"/>
                  <a:pt x="366713" y="508756"/>
                  <a:pt x="366713" y="459619"/>
                </a:cubicBezTo>
                <a:cubicBezTo>
                  <a:pt x="366713" y="452060"/>
                  <a:pt x="374272" y="444500"/>
                  <a:pt x="378052" y="444500"/>
                </a:cubicBezTo>
                <a:close/>
                <a:moveTo>
                  <a:pt x="261182" y="444500"/>
                </a:moveTo>
                <a:cubicBezTo>
                  <a:pt x="261182" y="444500"/>
                  <a:pt x="261182" y="444500"/>
                  <a:pt x="314099" y="444500"/>
                </a:cubicBezTo>
                <a:cubicBezTo>
                  <a:pt x="317878" y="444500"/>
                  <a:pt x="321658" y="444500"/>
                  <a:pt x="321658" y="448280"/>
                </a:cubicBezTo>
                <a:cubicBezTo>
                  <a:pt x="325438" y="452060"/>
                  <a:pt x="325438" y="455839"/>
                  <a:pt x="325438" y="459619"/>
                </a:cubicBezTo>
                <a:cubicBezTo>
                  <a:pt x="325438" y="459619"/>
                  <a:pt x="325438" y="459619"/>
                  <a:pt x="325438" y="508756"/>
                </a:cubicBezTo>
                <a:cubicBezTo>
                  <a:pt x="325438" y="516316"/>
                  <a:pt x="321658" y="523875"/>
                  <a:pt x="314099" y="523875"/>
                </a:cubicBezTo>
                <a:cubicBezTo>
                  <a:pt x="314099" y="523875"/>
                  <a:pt x="314099" y="523875"/>
                  <a:pt x="261182" y="523875"/>
                </a:cubicBezTo>
                <a:cubicBezTo>
                  <a:pt x="253622" y="523875"/>
                  <a:pt x="246063" y="516316"/>
                  <a:pt x="246063" y="508756"/>
                </a:cubicBezTo>
                <a:cubicBezTo>
                  <a:pt x="246063" y="508756"/>
                  <a:pt x="246063" y="508756"/>
                  <a:pt x="246063" y="459619"/>
                </a:cubicBezTo>
                <a:cubicBezTo>
                  <a:pt x="246063" y="452060"/>
                  <a:pt x="253622" y="444500"/>
                  <a:pt x="261182" y="444500"/>
                </a:cubicBezTo>
                <a:close/>
                <a:moveTo>
                  <a:pt x="820964" y="322262"/>
                </a:moveTo>
                <a:cubicBezTo>
                  <a:pt x="820964" y="322262"/>
                  <a:pt x="820964" y="322262"/>
                  <a:pt x="873881" y="322262"/>
                </a:cubicBezTo>
                <a:cubicBezTo>
                  <a:pt x="881441" y="322262"/>
                  <a:pt x="889000" y="329973"/>
                  <a:pt x="889000" y="337683"/>
                </a:cubicBezTo>
                <a:cubicBezTo>
                  <a:pt x="889000" y="337683"/>
                  <a:pt x="889000" y="337683"/>
                  <a:pt x="889000" y="391659"/>
                </a:cubicBezTo>
                <a:cubicBezTo>
                  <a:pt x="889000" y="399370"/>
                  <a:pt x="881441" y="403225"/>
                  <a:pt x="873881" y="403225"/>
                </a:cubicBezTo>
                <a:cubicBezTo>
                  <a:pt x="873881" y="403225"/>
                  <a:pt x="873881" y="403225"/>
                  <a:pt x="820964" y="403225"/>
                </a:cubicBezTo>
                <a:cubicBezTo>
                  <a:pt x="813405" y="403225"/>
                  <a:pt x="809625" y="399370"/>
                  <a:pt x="809625" y="391659"/>
                </a:cubicBezTo>
                <a:cubicBezTo>
                  <a:pt x="809625" y="391659"/>
                  <a:pt x="809625" y="391659"/>
                  <a:pt x="809625" y="337683"/>
                </a:cubicBezTo>
                <a:cubicBezTo>
                  <a:pt x="809625" y="329973"/>
                  <a:pt x="813405" y="322262"/>
                  <a:pt x="820964" y="322262"/>
                </a:cubicBezTo>
                <a:close/>
                <a:moveTo>
                  <a:pt x="704094" y="322262"/>
                </a:moveTo>
                <a:cubicBezTo>
                  <a:pt x="704094" y="322262"/>
                  <a:pt x="704094" y="322262"/>
                  <a:pt x="757011" y="322262"/>
                </a:cubicBezTo>
                <a:cubicBezTo>
                  <a:pt x="764570" y="322262"/>
                  <a:pt x="768350" y="329973"/>
                  <a:pt x="768350" y="337683"/>
                </a:cubicBezTo>
                <a:cubicBezTo>
                  <a:pt x="768350" y="337683"/>
                  <a:pt x="768350" y="337683"/>
                  <a:pt x="768350" y="391659"/>
                </a:cubicBezTo>
                <a:cubicBezTo>
                  <a:pt x="768350" y="399370"/>
                  <a:pt x="764570" y="403225"/>
                  <a:pt x="757011" y="403225"/>
                </a:cubicBezTo>
                <a:cubicBezTo>
                  <a:pt x="757011" y="403225"/>
                  <a:pt x="757011" y="403225"/>
                  <a:pt x="704094" y="403225"/>
                </a:cubicBezTo>
                <a:cubicBezTo>
                  <a:pt x="696534" y="403225"/>
                  <a:pt x="688975" y="399370"/>
                  <a:pt x="688975" y="391659"/>
                </a:cubicBezTo>
                <a:cubicBezTo>
                  <a:pt x="688975" y="391659"/>
                  <a:pt x="688975" y="391659"/>
                  <a:pt x="688975" y="337683"/>
                </a:cubicBezTo>
                <a:cubicBezTo>
                  <a:pt x="688975" y="329973"/>
                  <a:pt x="696534" y="322262"/>
                  <a:pt x="704094" y="322262"/>
                </a:cubicBezTo>
                <a:close/>
                <a:moveTo>
                  <a:pt x="582839" y="322262"/>
                </a:moveTo>
                <a:cubicBezTo>
                  <a:pt x="582839" y="322262"/>
                  <a:pt x="582839" y="322262"/>
                  <a:pt x="635756" y="322262"/>
                </a:cubicBezTo>
                <a:cubicBezTo>
                  <a:pt x="643315" y="322262"/>
                  <a:pt x="650875" y="329973"/>
                  <a:pt x="650875" y="337683"/>
                </a:cubicBezTo>
                <a:cubicBezTo>
                  <a:pt x="650875" y="337683"/>
                  <a:pt x="650875" y="337683"/>
                  <a:pt x="650875" y="391659"/>
                </a:cubicBezTo>
                <a:cubicBezTo>
                  <a:pt x="650875" y="399370"/>
                  <a:pt x="643315" y="403225"/>
                  <a:pt x="635756" y="403225"/>
                </a:cubicBezTo>
                <a:cubicBezTo>
                  <a:pt x="635756" y="403225"/>
                  <a:pt x="635756" y="403225"/>
                  <a:pt x="582839" y="403225"/>
                </a:cubicBezTo>
                <a:cubicBezTo>
                  <a:pt x="575280" y="403225"/>
                  <a:pt x="571500" y="399370"/>
                  <a:pt x="571500" y="391659"/>
                </a:cubicBezTo>
                <a:cubicBezTo>
                  <a:pt x="571500" y="391659"/>
                  <a:pt x="571500" y="391659"/>
                  <a:pt x="571500" y="337683"/>
                </a:cubicBezTo>
                <a:cubicBezTo>
                  <a:pt x="571500" y="329973"/>
                  <a:pt x="575280" y="322262"/>
                  <a:pt x="582839" y="322262"/>
                </a:cubicBezTo>
                <a:close/>
                <a:moveTo>
                  <a:pt x="378052" y="322262"/>
                </a:moveTo>
                <a:cubicBezTo>
                  <a:pt x="378052" y="322262"/>
                  <a:pt x="378052" y="322262"/>
                  <a:pt x="430969" y="322262"/>
                </a:cubicBezTo>
                <a:cubicBezTo>
                  <a:pt x="438528" y="322262"/>
                  <a:pt x="446088" y="329973"/>
                  <a:pt x="446088" y="337683"/>
                </a:cubicBezTo>
                <a:cubicBezTo>
                  <a:pt x="446088" y="337683"/>
                  <a:pt x="446088" y="337683"/>
                  <a:pt x="446088" y="391659"/>
                </a:cubicBezTo>
                <a:cubicBezTo>
                  <a:pt x="446088" y="399370"/>
                  <a:pt x="438528" y="403225"/>
                  <a:pt x="430969" y="403225"/>
                </a:cubicBezTo>
                <a:cubicBezTo>
                  <a:pt x="430969" y="403225"/>
                  <a:pt x="430969" y="403225"/>
                  <a:pt x="378052" y="403225"/>
                </a:cubicBezTo>
                <a:cubicBezTo>
                  <a:pt x="374272" y="403225"/>
                  <a:pt x="366713" y="399370"/>
                  <a:pt x="366713" y="391659"/>
                </a:cubicBezTo>
                <a:cubicBezTo>
                  <a:pt x="366713" y="391659"/>
                  <a:pt x="366713" y="391659"/>
                  <a:pt x="366713" y="337683"/>
                </a:cubicBezTo>
                <a:cubicBezTo>
                  <a:pt x="366713" y="329973"/>
                  <a:pt x="374272" y="322262"/>
                  <a:pt x="378052" y="322262"/>
                </a:cubicBezTo>
                <a:close/>
                <a:moveTo>
                  <a:pt x="261182" y="322262"/>
                </a:moveTo>
                <a:cubicBezTo>
                  <a:pt x="261182" y="322262"/>
                  <a:pt x="261182" y="322262"/>
                  <a:pt x="314099" y="322262"/>
                </a:cubicBezTo>
                <a:cubicBezTo>
                  <a:pt x="321658" y="322262"/>
                  <a:pt x="325438" y="329973"/>
                  <a:pt x="325438" y="337683"/>
                </a:cubicBezTo>
                <a:cubicBezTo>
                  <a:pt x="325438" y="337683"/>
                  <a:pt x="325438" y="337683"/>
                  <a:pt x="325438" y="391659"/>
                </a:cubicBezTo>
                <a:cubicBezTo>
                  <a:pt x="325438" y="399370"/>
                  <a:pt x="321658" y="403225"/>
                  <a:pt x="314099" y="403225"/>
                </a:cubicBezTo>
                <a:cubicBezTo>
                  <a:pt x="314099" y="403225"/>
                  <a:pt x="314099" y="403225"/>
                  <a:pt x="261182" y="403225"/>
                </a:cubicBezTo>
                <a:cubicBezTo>
                  <a:pt x="253622" y="403225"/>
                  <a:pt x="246063" y="399370"/>
                  <a:pt x="246063" y="391659"/>
                </a:cubicBezTo>
                <a:cubicBezTo>
                  <a:pt x="246063" y="391659"/>
                  <a:pt x="246063" y="391659"/>
                  <a:pt x="246063" y="337683"/>
                </a:cubicBezTo>
                <a:cubicBezTo>
                  <a:pt x="246063" y="329973"/>
                  <a:pt x="253622" y="322262"/>
                  <a:pt x="261182" y="322262"/>
                </a:cubicBezTo>
                <a:close/>
                <a:moveTo>
                  <a:pt x="514350" y="265112"/>
                </a:moveTo>
                <a:lnTo>
                  <a:pt x="514350" y="790575"/>
                </a:lnTo>
                <a:lnTo>
                  <a:pt x="946150" y="790575"/>
                </a:lnTo>
                <a:lnTo>
                  <a:pt x="946150" y="265112"/>
                </a:lnTo>
                <a:close/>
                <a:moveTo>
                  <a:pt x="378052" y="204787"/>
                </a:moveTo>
                <a:cubicBezTo>
                  <a:pt x="378052" y="204787"/>
                  <a:pt x="378052" y="204787"/>
                  <a:pt x="430969" y="204787"/>
                </a:cubicBezTo>
                <a:cubicBezTo>
                  <a:pt x="438528" y="204787"/>
                  <a:pt x="446088" y="212346"/>
                  <a:pt x="446088" y="219906"/>
                </a:cubicBezTo>
                <a:cubicBezTo>
                  <a:pt x="446088" y="219906"/>
                  <a:pt x="446088" y="219906"/>
                  <a:pt x="446088" y="269043"/>
                </a:cubicBezTo>
                <a:cubicBezTo>
                  <a:pt x="446088" y="276602"/>
                  <a:pt x="438528" y="284162"/>
                  <a:pt x="430969" y="284162"/>
                </a:cubicBezTo>
                <a:cubicBezTo>
                  <a:pt x="430969" y="284162"/>
                  <a:pt x="430969" y="284162"/>
                  <a:pt x="378052" y="284162"/>
                </a:cubicBezTo>
                <a:cubicBezTo>
                  <a:pt x="374272" y="284162"/>
                  <a:pt x="366713" y="276602"/>
                  <a:pt x="366713" y="269043"/>
                </a:cubicBezTo>
                <a:cubicBezTo>
                  <a:pt x="366713" y="269043"/>
                  <a:pt x="366713" y="269043"/>
                  <a:pt x="366713" y="219906"/>
                </a:cubicBezTo>
                <a:cubicBezTo>
                  <a:pt x="366713" y="212346"/>
                  <a:pt x="374272" y="204787"/>
                  <a:pt x="378052" y="204787"/>
                </a:cubicBezTo>
                <a:close/>
                <a:moveTo>
                  <a:pt x="261182" y="204787"/>
                </a:moveTo>
                <a:cubicBezTo>
                  <a:pt x="261182" y="204787"/>
                  <a:pt x="261182" y="204787"/>
                  <a:pt x="314099" y="204787"/>
                </a:cubicBezTo>
                <a:cubicBezTo>
                  <a:pt x="321658" y="204787"/>
                  <a:pt x="325438" y="212346"/>
                  <a:pt x="325438" y="219906"/>
                </a:cubicBezTo>
                <a:cubicBezTo>
                  <a:pt x="325438" y="219906"/>
                  <a:pt x="325438" y="219906"/>
                  <a:pt x="325438" y="269043"/>
                </a:cubicBezTo>
                <a:cubicBezTo>
                  <a:pt x="325438" y="276602"/>
                  <a:pt x="321658" y="284162"/>
                  <a:pt x="314099" y="284162"/>
                </a:cubicBezTo>
                <a:cubicBezTo>
                  <a:pt x="314099" y="284162"/>
                  <a:pt x="314099" y="284162"/>
                  <a:pt x="261182" y="284162"/>
                </a:cubicBezTo>
                <a:cubicBezTo>
                  <a:pt x="253622" y="284162"/>
                  <a:pt x="246063" y="276602"/>
                  <a:pt x="246063" y="269043"/>
                </a:cubicBezTo>
                <a:cubicBezTo>
                  <a:pt x="246063" y="269043"/>
                  <a:pt x="246063" y="269043"/>
                  <a:pt x="246063" y="219906"/>
                </a:cubicBezTo>
                <a:cubicBezTo>
                  <a:pt x="246063" y="212346"/>
                  <a:pt x="253622" y="204787"/>
                  <a:pt x="261182" y="204787"/>
                </a:cubicBezTo>
                <a:close/>
                <a:moveTo>
                  <a:pt x="378052" y="82550"/>
                </a:moveTo>
                <a:lnTo>
                  <a:pt x="430969" y="82550"/>
                </a:lnTo>
                <a:cubicBezTo>
                  <a:pt x="438528" y="82550"/>
                  <a:pt x="446088" y="90261"/>
                  <a:pt x="446088" y="97971"/>
                </a:cubicBezTo>
                <a:cubicBezTo>
                  <a:pt x="446088" y="151947"/>
                  <a:pt x="446088" y="151947"/>
                  <a:pt x="446088" y="151947"/>
                </a:cubicBezTo>
                <a:cubicBezTo>
                  <a:pt x="446088" y="159658"/>
                  <a:pt x="438528" y="163513"/>
                  <a:pt x="430969" y="163513"/>
                </a:cubicBezTo>
                <a:cubicBezTo>
                  <a:pt x="378052" y="163513"/>
                  <a:pt x="378052" y="163513"/>
                  <a:pt x="378052" y="163513"/>
                </a:cubicBezTo>
                <a:cubicBezTo>
                  <a:pt x="374272" y="163513"/>
                  <a:pt x="366713" y="159658"/>
                  <a:pt x="366713" y="151947"/>
                </a:cubicBezTo>
                <a:cubicBezTo>
                  <a:pt x="366713" y="97971"/>
                  <a:pt x="366713" y="97971"/>
                  <a:pt x="366713" y="97971"/>
                </a:cubicBezTo>
                <a:cubicBezTo>
                  <a:pt x="366713" y="90261"/>
                  <a:pt x="374272" y="82550"/>
                  <a:pt x="378052" y="82550"/>
                </a:cubicBezTo>
                <a:close/>
                <a:moveTo>
                  <a:pt x="261182" y="82550"/>
                </a:moveTo>
                <a:cubicBezTo>
                  <a:pt x="261182" y="82550"/>
                  <a:pt x="261182" y="82550"/>
                  <a:pt x="314099" y="82550"/>
                </a:cubicBezTo>
                <a:cubicBezTo>
                  <a:pt x="321658" y="82550"/>
                  <a:pt x="325438" y="90261"/>
                  <a:pt x="325438" y="97971"/>
                </a:cubicBezTo>
                <a:cubicBezTo>
                  <a:pt x="325438" y="97971"/>
                  <a:pt x="325438" y="97971"/>
                  <a:pt x="325438" y="151947"/>
                </a:cubicBezTo>
                <a:cubicBezTo>
                  <a:pt x="325438" y="159658"/>
                  <a:pt x="321658" y="163513"/>
                  <a:pt x="314099" y="163513"/>
                </a:cubicBezTo>
                <a:cubicBezTo>
                  <a:pt x="314099" y="163513"/>
                  <a:pt x="314099" y="163513"/>
                  <a:pt x="261182" y="163513"/>
                </a:cubicBezTo>
                <a:cubicBezTo>
                  <a:pt x="253622" y="163513"/>
                  <a:pt x="246063" y="159658"/>
                  <a:pt x="246063" y="151947"/>
                </a:cubicBezTo>
                <a:cubicBezTo>
                  <a:pt x="246063" y="151947"/>
                  <a:pt x="246063" y="151947"/>
                  <a:pt x="246063" y="97971"/>
                </a:cubicBezTo>
                <a:cubicBezTo>
                  <a:pt x="246063" y="90261"/>
                  <a:pt x="253622" y="82550"/>
                  <a:pt x="261182" y="82550"/>
                </a:cubicBezTo>
                <a:close/>
                <a:moveTo>
                  <a:pt x="207963" y="25400"/>
                </a:moveTo>
                <a:lnTo>
                  <a:pt x="207963" y="790575"/>
                </a:lnTo>
                <a:lnTo>
                  <a:pt x="484188" y="790575"/>
                </a:lnTo>
                <a:lnTo>
                  <a:pt x="484188" y="25400"/>
                </a:lnTo>
                <a:close/>
                <a:moveTo>
                  <a:pt x="192983" y="0"/>
                </a:moveTo>
                <a:cubicBezTo>
                  <a:pt x="192983" y="0"/>
                  <a:pt x="192983" y="0"/>
                  <a:pt x="499485" y="0"/>
                </a:cubicBezTo>
                <a:cubicBezTo>
                  <a:pt x="507053" y="0"/>
                  <a:pt x="514621" y="7614"/>
                  <a:pt x="514621" y="15228"/>
                </a:cubicBezTo>
                <a:cubicBezTo>
                  <a:pt x="514621" y="15228"/>
                  <a:pt x="514621" y="15228"/>
                  <a:pt x="514621" y="239845"/>
                </a:cubicBezTo>
                <a:cubicBezTo>
                  <a:pt x="514621" y="239845"/>
                  <a:pt x="514621" y="239845"/>
                  <a:pt x="957346" y="239845"/>
                </a:cubicBezTo>
                <a:cubicBezTo>
                  <a:pt x="964914" y="239845"/>
                  <a:pt x="972482" y="247459"/>
                  <a:pt x="972482" y="255073"/>
                </a:cubicBezTo>
                <a:cubicBezTo>
                  <a:pt x="972482" y="255073"/>
                  <a:pt x="972482" y="255073"/>
                  <a:pt x="972482" y="791869"/>
                </a:cubicBezTo>
                <a:cubicBezTo>
                  <a:pt x="972482" y="791869"/>
                  <a:pt x="972482" y="791869"/>
                  <a:pt x="1138977" y="791869"/>
                </a:cubicBezTo>
                <a:cubicBezTo>
                  <a:pt x="1146545" y="791869"/>
                  <a:pt x="1154113" y="799483"/>
                  <a:pt x="1154113" y="807097"/>
                </a:cubicBezTo>
                <a:cubicBezTo>
                  <a:pt x="1154113" y="814711"/>
                  <a:pt x="1146545" y="822325"/>
                  <a:pt x="1138977" y="822325"/>
                </a:cubicBezTo>
                <a:lnTo>
                  <a:pt x="11352" y="822325"/>
                </a:lnTo>
                <a:cubicBezTo>
                  <a:pt x="3784" y="822325"/>
                  <a:pt x="0" y="814711"/>
                  <a:pt x="0" y="807097"/>
                </a:cubicBezTo>
                <a:cubicBezTo>
                  <a:pt x="0" y="799483"/>
                  <a:pt x="3784" y="791869"/>
                  <a:pt x="11352" y="791869"/>
                </a:cubicBezTo>
                <a:cubicBezTo>
                  <a:pt x="11352" y="791869"/>
                  <a:pt x="11352" y="791869"/>
                  <a:pt x="181631" y="791869"/>
                </a:cubicBezTo>
                <a:cubicBezTo>
                  <a:pt x="181631" y="791869"/>
                  <a:pt x="181631" y="791869"/>
                  <a:pt x="181631" y="15228"/>
                </a:cubicBezTo>
                <a:cubicBezTo>
                  <a:pt x="181631" y="7614"/>
                  <a:pt x="185415" y="0"/>
                  <a:pt x="192983" y="0"/>
                </a:cubicBezTo>
                <a:close/>
              </a:path>
            </a:pathLst>
          </a:custGeom>
          <a:solidFill>
            <a:schemeClr val="bg1"/>
          </a:solidFill>
          <a:ln>
            <a:noFill/>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t" anchorCtr="0" compatLnSpc="1">
            <a:prstTxWarp prst="textNoShape">
              <a:avLst/>
            </a:prstTxWarp>
            <a:noAutofit/>
          </a:bodyPr>
          <a:lstStyle/>
          <a:p>
            <a:endParaRPr lang="en-GB" sz="1600" dirty="0">
              <a:solidFill>
                <a:srgbClr val="000000"/>
              </a:solidFill>
            </a:endParaRPr>
          </a:p>
        </p:txBody>
      </p:sp>
    </p:spTree>
    <p:extLst>
      <p:ext uri="{BB962C8B-B14F-4D97-AF65-F5344CB8AC3E}">
        <p14:creationId xmlns:p14="http://schemas.microsoft.com/office/powerpoint/2010/main" val="85421756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0" name="World - regions"/>
          <p:cNvGrpSpPr>
            <a:grpSpLocks noChangeAspect="1"/>
          </p:cNvGrpSpPr>
          <p:nvPr>
            <p:custDataLst>
              <p:tags r:id="rId1"/>
            </p:custDataLst>
          </p:nvPr>
        </p:nvGrpSpPr>
        <p:grpSpPr>
          <a:xfrm>
            <a:off x="560925" y="1225635"/>
            <a:ext cx="11074750" cy="5527480"/>
            <a:chOff x="3743501" y="2500313"/>
            <a:chExt cx="6344893" cy="3166778"/>
          </a:xfrm>
          <a:solidFill>
            <a:srgbClr val="C3E0EB"/>
          </a:solidFill>
        </p:grpSpPr>
        <p:sp>
          <p:nvSpPr>
            <p:cNvPr id="531" name="Freeform 5645"/>
            <p:cNvSpPr>
              <a:spLocks/>
            </p:cNvSpPr>
            <p:nvPr>
              <p:custDataLst>
                <p:tags r:id="rId11"/>
              </p:custDataLst>
            </p:nvPr>
          </p:nvSpPr>
          <p:spPr bwMode="gray">
            <a:xfrm>
              <a:off x="9536736" y="4412715"/>
              <a:ext cx="193905" cy="190468"/>
            </a:xfrm>
            <a:custGeom>
              <a:avLst/>
              <a:gdLst/>
              <a:ahLst/>
              <a:cxnLst>
                <a:cxn ang="0">
                  <a:pos x="2" y="0"/>
                </a:cxn>
                <a:cxn ang="0">
                  <a:pos x="41" y="15"/>
                </a:cxn>
                <a:cxn ang="0">
                  <a:pos x="71" y="33"/>
                </a:cxn>
                <a:cxn ang="0">
                  <a:pos x="75" y="52"/>
                </a:cxn>
                <a:cxn ang="0">
                  <a:pos x="94" y="60"/>
                </a:cxn>
                <a:cxn ang="0">
                  <a:pos x="103" y="58"/>
                </a:cxn>
                <a:cxn ang="0">
                  <a:pos x="109" y="65"/>
                </a:cxn>
                <a:cxn ang="0">
                  <a:pos x="109" y="73"/>
                </a:cxn>
                <a:cxn ang="0">
                  <a:pos x="96" y="76"/>
                </a:cxn>
                <a:cxn ang="0">
                  <a:pos x="98" y="84"/>
                </a:cxn>
                <a:cxn ang="0">
                  <a:pos x="113" y="97"/>
                </a:cxn>
                <a:cxn ang="0">
                  <a:pos x="116" y="118"/>
                </a:cxn>
                <a:cxn ang="0">
                  <a:pos x="128" y="116"/>
                </a:cxn>
                <a:cxn ang="0">
                  <a:pos x="124" y="123"/>
                </a:cxn>
                <a:cxn ang="0">
                  <a:pos x="139" y="127"/>
                </a:cxn>
                <a:cxn ang="0">
                  <a:pos x="135" y="135"/>
                </a:cxn>
                <a:cxn ang="0">
                  <a:pos x="150" y="138"/>
                </a:cxn>
                <a:cxn ang="0">
                  <a:pos x="146" y="146"/>
                </a:cxn>
                <a:cxn ang="0">
                  <a:pos x="137" y="148"/>
                </a:cxn>
                <a:cxn ang="0">
                  <a:pos x="135" y="142"/>
                </a:cxn>
                <a:cxn ang="0">
                  <a:pos x="100" y="135"/>
                </a:cxn>
                <a:cxn ang="0">
                  <a:pos x="77" y="97"/>
                </a:cxn>
                <a:cxn ang="0">
                  <a:pos x="56" y="90"/>
                </a:cxn>
                <a:cxn ang="0">
                  <a:pos x="47" y="90"/>
                </a:cxn>
                <a:cxn ang="0">
                  <a:pos x="30" y="105"/>
                </a:cxn>
                <a:cxn ang="0">
                  <a:pos x="32" y="112"/>
                </a:cxn>
                <a:cxn ang="0">
                  <a:pos x="19" y="121"/>
                </a:cxn>
                <a:cxn ang="0">
                  <a:pos x="0" y="120"/>
                </a:cxn>
                <a:cxn ang="0">
                  <a:pos x="2" y="0"/>
                </a:cxn>
                <a:cxn ang="0">
                  <a:pos x="2" y="0"/>
                </a:cxn>
              </a:cxnLst>
              <a:rect l="0" t="0" r="r" b="b"/>
              <a:pathLst>
                <a:path w="150" h="148">
                  <a:moveTo>
                    <a:pt x="2" y="0"/>
                  </a:moveTo>
                  <a:lnTo>
                    <a:pt x="41" y="15"/>
                  </a:lnTo>
                  <a:lnTo>
                    <a:pt x="71" y="33"/>
                  </a:lnTo>
                  <a:lnTo>
                    <a:pt x="75" y="52"/>
                  </a:lnTo>
                  <a:lnTo>
                    <a:pt x="94" y="60"/>
                  </a:lnTo>
                  <a:lnTo>
                    <a:pt x="103" y="58"/>
                  </a:lnTo>
                  <a:lnTo>
                    <a:pt x="109" y="65"/>
                  </a:lnTo>
                  <a:lnTo>
                    <a:pt x="109" y="73"/>
                  </a:lnTo>
                  <a:lnTo>
                    <a:pt x="96" y="76"/>
                  </a:lnTo>
                  <a:lnTo>
                    <a:pt x="98" y="84"/>
                  </a:lnTo>
                  <a:lnTo>
                    <a:pt x="113" y="97"/>
                  </a:lnTo>
                  <a:lnTo>
                    <a:pt x="116" y="118"/>
                  </a:lnTo>
                  <a:lnTo>
                    <a:pt x="128" y="116"/>
                  </a:lnTo>
                  <a:lnTo>
                    <a:pt x="124" y="123"/>
                  </a:lnTo>
                  <a:lnTo>
                    <a:pt x="139" y="127"/>
                  </a:lnTo>
                  <a:lnTo>
                    <a:pt x="135" y="135"/>
                  </a:lnTo>
                  <a:lnTo>
                    <a:pt x="150" y="138"/>
                  </a:lnTo>
                  <a:lnTo>
                    <a:pt x="146" y="146"/>
                  </a:lnTo>
                  <a:lnTo>
                    <a:pt x="137" y="148"/>
                  </a:lnTo>
                  <a:lnTo>
                    <a:pt x="135" y="142"/>
                  </a:lnTo>
                  <a:lnTo>
                    <a:pt x="100" y="135"/>
                  </a:lnTo>
                  <a:lnTo>
                    <a:pt x="77" y="97"/>
                  </a:lnTo>
                  <a:lnTo>
                    <a:pt x="56" y="90"/>
                  </a:lnTo>
                  <a:lnTo>
                    <a:pt x="47" y="90"/>
                  </a:lnTo>
                  <a:lnTo>
                    <a:pt x="30" y="105"/>
                  </a:lnTo>
                  <a:lnTo>
                    <a:pt x="32" y="112"/>
                  </a:lnTo>
                  <a:lnTo>
                    <a:pt x="19" y="121"/>
                  </a:lnTo>
                  <a:lnTo>
                    <a:pt x="0" y="120"/>
                  </a:lnTo>
                  <a:lnTo>
                    <a:pt x="2" y="0"/>
                  </a:lnTo>
                  <a:lnTo>
                    <a:pt x="2"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32" name="Freeform 5646"/>
            <p:cNvSpPr>
              <a:spLocks/>
            </p:cNvSpPr>
            <p:nvPr>
              <p:custDataLst>
                <p:tags r:id="rId12"/>
              </p:custDataLst>
            </p:nvPr>
          </p:nvSpPr>
          <p:spPr bwMode="gray">
            <a:xfrm>
              <a:off x="8499688" y="3655539"/>
              <a:ext cx="180978" cy="438849"/>
            </a:xfrm>
            <a:custGeom>
              <a:avLst/>
              <a:gdLst/>
              <a:ahLst/>
              <a:cxnLst>
                <a:cxn ang="0">
                  <a:pos x="136" y="300"/>
                </a:cxn>
                <a:cxn ang="0">
                  <a:pos x="121" y="259"/>
                </a:cxn>
                <a:cxn ang="0">
                  <a:pos x="108" y="245"/>
                </a:cxn>
                <a:cxn ang="0">
                  <a:pos x="116" y="221"/>
                </a:cxn>
                <a:cxn ang="0">
                  <a:pos x="91" y="184"/>
                </a:cxn>
                <a:cxn ang="0">
                  <a:pos x="93" y="163"/>
                </a:cxn>
                <a:cxn ang="0">
                  <a:pos x="127" y="137"/>
                </a:cxn>
                <a:cxn ang="0">
                  <a:pos x="140" y="118"/>
                </a:cxn>
                <a:cxn ang="0">
                  <a:pos x="125" y="122"/>
                </a:cxn>
                <a:cxn ang="0">
                  <a:pos x="108" y="109"/>
                </a:cxn>
                <a:cxn ang="0">
                  <a:pos x="110" y="96"/>
                </a:cxn>
                <a:cxn ang="0">
                  <a:pos x="101" y="88"/>
                </a:cxn>
                <a:cxn ang="0">
                  <a:pos x="95" y="75"/>
                </a:cxn>
                <a:cxn ang="0">
                  <a:pos x="78" y="81"/>
                </a:cxn>
                <a:cxn ang="0">
                  <a:pos x="86" y="26"/>
                </a:cxn>
                <a:cxn ang="0">
                  <a:pos x="73" y="4"/>
                </a:cxn>
                <a:cxn ang="0">
                  <a:pos x="60" y="0"/>
                </a:cxn>
                <a:cxn ang="0">
                  <a:pos x="56" y="17"/>
                </a:cxn>
                <a:cxn ang="0">
                  <a:pos x="43" y="17"/>
                </a:cxn>
                <a:cxn ang="0">
                  <a:pos x="31" y="30"/>
                </a:cxn>
                <a:cxn ang="0">
                  <a:pos x="22" y="77"/>
                </a:cxn>
                <a:cxn ang="0">
                  <a:pos x="9" y="81"/>
                </a:cxn>
                <a:cxn ang="0">
                  <a:pos x="7" y="109"/>
                </a:cxn>
                <a:cxn ang="0">
                  <a:pos x="3" y="114"/>
                </a:cxn>
                <a:cxn ang="0">
                  <a:pos x="0" y="135"/>
                </a:cxn>
                <a:cxn ang="0">
                  <a:pos x="16" y="152"/>
                </a:cxn>
                <a:cxn ang="0">
                  <a:pos x="20" y="152"/>
                </a:cxn>
                <a:cxn ang="0">
                  <a:pos x="30" y="172"/>
                </a:cxn>
                <a:cxn ang="0">
                  <a:pos x="35" y="172"/>
                </a:cxn>
                <a:cxn ang="0">
                  <a:pos x="45" y="202"/>
                </a:cxn>
                <a:cxn ang="0">
                  <a:pos x="41" y="223"/>
                </a:cxn>
                <a:cxn ang="0">
                  <a:pos x="61" y="229"/>
                </a:cxn>
                <a:cxn ang="0">
                  <a:pos x="82" y="206"/>
                </a:cxn>
                <a:cxn ang="0">
                  <a:pos x="93" y="217"/>
                </a:cxn>
                <a:cxn ang="0">
                  <a:pos x="119" y="287"/>
                </a:cxn>
                <a:cxn ang="0">
                  <a:pos x="118" y="298"/>
                </a:cxn>
                <a:cxn ang="0">
                  <a:pos x="123" y="317"/>
                </a:cxn>
                <a:cxn ang="0">
                  <a:pos x="118" y="341"/>
                </a:cxn>
                <a:cxn ang="0">
                  <a:pos x="136" y="300"/>
                </a:cxn>
                <a:cxn ang="0">
                  <a:pos x="136" y="300"/>
                </a:cxn>
              </a:cxnLst>
              <a:rect l="0" t="0" r="r" b="b"/>
              <a:pathLst>
                <a:path w="140" h="341">
                  <a:moveTo>
                    <a:pt x="136" y="300"/>
                  </a:moveTo>
                  <a:lnTo>
                    <a:pt x="121" y="259"/>
                  </a:lnTo>
                  <a:lnTo>
                    <a:pt x="108" y="245"/>
                  </a:lnTo>
                  <a:lnTo>
                    <a:pt x="116" y="221"/>
                  </a:lnTo>
                  <a:lnTo>
                    <a:pt x="91" y="184"/>
                  </a:lnTo>
                  <a:lnTo>
                    <a:pt x="93" y="163"/>
                  </a:lnTo>
                  <a:lnTo>
                    <a:pt x="127" y="137"/>
                  </a:lnTo>
                  <a:lnTo>
                    <a:pt x="140" y="118"/>
                  </a:lnTo>
                  <a:lnTo>
                    <a:pt x="125" y="122"/>
                  </a:lnTo>
                  <a:lnTo>
                    <a:pt x="108" y="109"/>
                  </a:lnTo>
                  <a:lnTo>
                    <a:pt x="110" y="96"/>
                  </a:lnTo>
                  <a:lnTo>
                    <a:pt x="101" y="88"/>
                  </a:lnTo>
                  <a:lnTo>
                    <a:pt x="95" y="75"/>
                  </a:lnTo>
                  <a:lnTo>
                    <a:pt x="78" y="81"/>
                  </a:lnTo>
                  <a:lnTo>
                    <a:pt x="86" y="26"/>
                  </a:lnTo>
                  <a:lnTo>
                    <a:pt x="73" y="4"/>
                  </a:lnTo>
                  <a:lnTo>
                    <a:pt x="60" y="0"/>
                  </a:lnTo>
                  <a:lnTo>
                    <a:pt x="56" y="17"/>
                  </a:lnTo>
                  <a:lnTo>
                    <a:pt x="43" y="17"/>
                  </a:lnTo>
                  <a:lnTo>
                    <a:pt x="31" y="30"/>
                  </a:lnTo>
                  <a:lnTo>
                    <a:pt x="22" y="77"/>
                  </a:lnTo>
                  <a:lnTo>
                    <a:pt x="9" y="81"/>
                  </a:lnTo>
                  <a:lnTo>
                    <a:pt x="7" y="109"/>
                  </a:lnTo>
                  <a:lnTo>
                    <a:pt x="3" y="114"/>
                  </a:lnTo>
                  <a:lnTo>
                    <a:pt x="0" y="135"/>
                  </a:lnTo>
                  <a:lnTo>
                    <a:pt x="16" y="152"/>
                  </a:lnTo>
                  <a:lnTo>
                    <a:pt x="20" y="152"/>
                  </a:lnTo>
                  <a:lnTo>
                    <a:pt x="30" y="172"/>
                  </a:lnTo>
                  <a:lnTo>
                    <a:pt x="35" y="172"/>
                  </a:lnTo>
                  <a:lnTo>
                    <a:pt x="45" y="202"/>
                  </a:lnTo>
                  <a:lnTo>
                    <a:pt x="41" y="223"/>
                  </a:lnTo>
                  <a:lnTo>
                    <a:pt x="61" y="229"/>
                  </a:lnTo>
                  <a:lnTo>
                    <a:pt x="82" y="206"/>
                  </a:lnTo>
                  <a:lnTo>
                    <a:pt x="93" y="217"/>
                  </a:lnTo>
                  <a:lnTo>
                    <a:pt x="119" y="287"/>
                  </a:lnTo>
                  <a:lnTo>
                    <a:pt x="118" y="298"/>
                  </a:lnTo>
                  <a:lnTo>
                    <a:pt x="123" y="317"/>
                  </a:lnTo>
                  <a:lnTo>
                    <a:pt x="118" y="341"/>
                  </a:lnTo>
                  <a:lnTo>
                    <a:pt x="136" y="300"/>
                  </a:lnTo>
                  <a:lnTo>
                    <a:pt x="136" y="30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33" name="Freeform 5647"/>
            <p:cNvSpPr>
              <a:spLocks/>
            </p:cNvSpPr>
            <p:nvPr>
              <p:custDataLst>
                <p:tags r:id="rId13"/>
              </p:custDataLst>
            </p:nvPr>
          </p:nvSpPr>
          <p:spPr bwMode="gray">
            <a:xfrm>
              <a:off x="8746456" y="3999606"/>
              <a:ext cx="108587" cy="101669"/>
            </a:xfrm>
            <a:custGeom>
              <a:avLst/>
              <a:gdLst/>
              <a:ahLst/>
              <a:cxnLst>
                <a:cxn ang="0">
                  <a:pos x="0" y="28"/>
                </a:cxn>
                <a:cxn ang="0">
                  <a:pos x="7" y="10"/>
                </a:cxn>
                <a:cxn ang="0">
                  <a:pos x="44" y="8"/>
                </a:cxn>
                <a:cxn ang="0">
                  <a:pos x="58" y="12"/>
                </a:cxn>
                <a:cxn ang="0">
                  <a:pos x="59" y="6"/>
                </a:cxn>
                <a:cxn ang="0">
                  <a:pos x="78" y="0"/>
                </a:cxn>
                <a:cxn ang="0">
                  <a:pos x="84" y="43"/>
                </a:cxn>
                <a:cxn ang="0">
                  <a:pos x="59" y="56"/>
                </a:cxn>
                <a:cxn ang="0">
                  <a:pos x="58" y="70"/>
                </a:cxn>
                <a:cxn ang="0">
                  <a:pos x="39" y="79"/>
                </a:cxn>
                <a:cxn ang="0">
                  <a:pos x="18" y="70"/>
                </a:cxn>
                <a:cxn ang="0">
                  <a:pos x="5" y="49"/>
                </a:cxn>
                <a:cxn ang="0">
                  <a:pos x="0" y="28"/>
                </a:cxn>
                <a:cxn ang="0">
                  <a:pos x="0" y="28"/>
                </a:cxn>
              </a:cxnLst>
              <a:rect l="0" t="0" r="r" b="b"/>
              <a:pathLst>
                <a:path w="84" h="79">
                  <a:moveTo>
                    <a:pt x="0" y="28"/>
                  </a:moveTo>
                  <a:lnTo>
                    <a:pt x="7" y="10"/>
                  </a:lnTo>
                  <a:lnTo>
                    <a:pt x="44" y="8"/>
                  </a:lnTo>
                  <a:lnTo>
                    <a:pt x="58" y="12"/>
                  </a:lnTo>
                  <a:lnTo>
                    <a:pt x="59" y="6"/>
                  </a:lnTo>
                  <a:lnTo>
                    <a:pt x="78" y="0"/>
                  </a:lnTo>
                  <a:lnTo>
                    <a:pt x="84" y="43"/>
                  </a:lnTo>
                  <a:lnTo>
                    <a:pt x="59" y="56"/>
                  </a:lnTo>
                  <a:lnTo>
                    <a:pt x="58" y="70"/>
                  </a:lnTo>
                  <a:lnTo>
                    <a:pt x="39" y="79"/>
                  </a:lnTo>
                  <a:lnTo>
                    <a:pt x="18" y="70"/>
                  </a:lnTo>
                  <a:lnTo>
                    <a:pt x="5" y="49"/>
                  </a:lnTo>
                  <a:lnTo>
                    <a:pt x="0" y="28"/>
                  </a:lnTo>
                  <a:lnTo>
                    <a:pt x="0" y="2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34" name="Freeform 5648"/>
            <p:cNvSpPr>
              <a:spLocks/>
            </p:cNvSpPr>
            <p:nvPr>
              <p:custDataLst>
                <p:tags r:id="rId14"/>
              </p:custDataLst>
            </p:nvPr>
          </p:nvSpPr>
          <p:spPr bwMode="gray">
            <a:xfrm>
              <a:off x="8390217" y="3722912"/>
              <a:ext cx="108587" cy="132555"/>
            </a:xfrm>
            <a:custGeom>
              <a:avLst/>
              <a:gdLst/>
              <a:ahLst/>
              <a:cxnLst>
                <a:cxn ang="0">
                  <a:pos x="11" y="39"/>
                </a:cxn>
                <a:cxn ang="0">
                  <a:pos x="0" y="30"/>
                </a:cxn>
                <a:cxn ang="0">
                  <a:pos x="9" y="17"/>
                </a:cxn>
                <a:cxn ang="0">
                  <a:pos x="2" y="15"/>
                </a:cxn>
                <a:cxn ang="0">
                  <a:pos x="2" y="5"/>
                </a:cxn>
                <a:cxn ang="0">
                  <a:pos x="6" y="0"/>
                </a:cxn>
                <a:cxn ang="0">
                  <a:pos x="11" y="5"/>
                </a:cxn>
                <a:cxn ang="0">
                  <a:pos x="13" y="0"/>
                </a:cxn>
                <a:cxn ang="0">
                  <a:pos x="23" y="4"/>
                </a:cxn>
                <a:cxn ang="0">
                  <a:pos x="34" y="20"/>
                </a:cxn>
                <a:cxn ang="0">
                  <a:pos x="69" y="24"/>
                </a:cxn>
                <a:cxn ang="0">
                  <a:pos x="52" y="43"/>
                </a:cxn>
                <a:cxn ang="0">
                  <a:pos x="54" y="50"/>
                </a:cxn>
                <a:cxn ang="0">
                  <a:pos x="66" y="58"/>
                </a:cxn>
                <a:cxn ang="0">
                  <a:pos x="69" y="49"/>
                </a:cxn>
                <a:cxn ang="0">
                  <a:pos x="73" y="52"/>
                </a:cxn>
                <a:cxn ang="0">
                  <a:pos x="84" y="82"/>
                </a:cxn>
                <a:cxn ang="0">
                  <a:pos x="81" y="103"/>
                </a:cxn>
                <a:cxn ang="0">
                  <a:pos x="62" y="67"/>
                </a:cxn>
                <a:cxn ang="0">
                  <a:pos x="45" y="84"/>
                </a:cxn>
                <a:cxn ang="0">
                  <a:pos x="24" y="88"/>
                </a:cxn>
                <a:cxn ang="0">
                  <a:pos x="11" y="39"/>
                </a:cxn>
                <a:cxn ang="0">
                  <a:pos x="11" y="39"/>
                </a:cxn>
              </a:cxnLst>
              <a:rect l="0" t="0" r="r" b="b"/>
              <a:pathLst>
                <a:path w="84" h="103">
                  <a:moveTo>
                    <a:pt x="11" y="39"/>
                  </a:moveTo>
                  <a:lnTo>
                    <a:pt x="0" y="30"/>
                  </a:lnTo>
                  <a:lnTo>
                    <a:pt x="9" y="17"/>
                  </a:lnTo>
                  <a:lnTo>
                    <a:pt x="2" y="15"/>
                  </a:lnTo>
                  <a:lnTo>
                    <a:pt x="2" y="5"/>
                  </a:lnTo>
                  <a:lnTo>
                    <a:pt x="6" y="0"/>
                  </a:lnTo>
                  <a:lnTo>
                    <a:pt x="11" y="5"/>
                  </a:lnTo>
                  <a:lnTo>
                    <a:pt x="13" y="0"/>
                  </a:lnTo>
                  <a:lnTo>
                    <a:pt x="23" y="4"/>
                  </a:lnTo>
                  <a:lnTo>
                    <a:pt x="34" y="20"/>
                  </a:lnTo>
                  <a:lnTo>
                    <a:pt x="69" y="24"/>
                  </a:lnTo>
                  <a:lnTo>
                    <a:pt x="52" y="43"/>
                  </a:lnTo>
                  <a:lnTo>
                    <a:pt x="54" y="50"/>
                  </a:lnTo>
                  <a:lnTo>
                    <a:pt x="66" y="58"/>
                  </a:lnTo>
                  <a:lnTo>
                    <a:pt x="69" y="49"/>
                  </a:lnTo>
                  <a:lnTo>
                    <a:pt x="73" y="52"/>
                  </a:lnTo>
                  <a:lnTo>
                    <a:pt x="84" y="82"/>
                  </a:lnTo>
                  <a:lnTo>
                    <a:pt x="81" y="103"/>
                  </a:lnTo>
                  <a:lnTo>
                    <a:pt x="62" y="67"/>
                  </a:lnTo>
                  <a:lnTo>
                    <a:pt x="45" y="84"/>
                  </a:lnTo>
                  <a:lnTo>
                    <a:pt x="24" y="88"/>
                  </a:lnTo>
                  <a:lnTo>
                    <a:pt x="11" y="39"/>
                  </a:lnTo>
                  <a:lnTo>
                    <a:pt x="11" y="3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35" name="Freeform 5649"/>
            <p:cNvSpPr>
              <a:spLocks/>
            </p:cNvSpPr>
            <p:nvPr>
              <p:custDataLst>
                <p:tags r:id="rId15"/>
              </p:custDataLst>
            </p:nvPr>
          </p:nvSpPr>
          <p:spPr bwMode="gray">
            <a:xfrm>
              <a:off x="7482194" y="3402462"/>
              <a:ext cx="421421" cy="346189"/>
            </a:xfrm>
            <a:custGeom>
              <a:avLst/>
              <a:gdLst/>
              <a:ahLst/>
              <a:cxnLst>
                <a:cxn ang="0">
                  <a:pos x="234" y="260"/>
                </a:cxn>
                <a:cxn ang="0">
                  <a:pos x="223" y="238"/>
                </a:cxn>
                <a:cxn ang="0">
                  <a:pos x="193" y="249"/>
                </a:cxn>
                <a:cxn ang="0">
                  <a:pos x="178" y="245"/>
                </a:cxn>
                <a:cxn ang="0">
                  <a:pos x="138" y="223"/>
                </a:cxn>
                <a:cxn ang="0">
                  <a:pos x="116" y="185"/>
                </a:cxn>
                <a:cxn ang="0">
                  <a:pos x="93" y="174"/>
                </a:cxn>
                <a:cxn ang="0">
                  <a:pos x="90" y="181"/>
                </a:cxn>
                <a:cxn ang="0">
                  <a:pos x="73" y="163"/>
                </a:cxn>
                <a:cxn ang="0">
                  <a:pos x="63" y="136"/>
                </a:cxn>
                <a:cxn ang="0">
                  <a:pos x="43" y="125"/>
                </a:cxn>
                <a:cxn ang="0">
                  <a:pos x="32" y="108"/>
                </a:cxn>
                <a:cxn ang="0">
                  <a:pos x="41" y="84"/>
                </a:cxn>
                <a:cxn ang="0">
                  <a:pos x="15" y="48"/>
                </a:cxn>
                <a:cxn ang="0">
                  <a:pos x="0" y="9"/>
                </a:cxn>
                <a:cxn ang="0">
                  <a:pos x="5" y="0"/>
                </a:cxn>
                <a:cxn ang="0">
                  <a:pos x="5" y="0"/>
                </a:cxn>
                <a:cxn ang="0">
                  <a:pos x="20" y="17"/>
                </a:cxn>
                <a:cxn ang="0">
                  <a:pos x="30" y="17"/>
                </a:cxn>
                <a:cxn ang="0">
                  <a:pos x="35" y="17"/>
                </a:cxn>
                <a:cxn ang="0">
                  <a:pos x="39" y="17"/>
                </a:cxn>
                <a:cxn ang="0">
                  <a:pos x="56" y="3"/>
                </a:cxn>
                <a:cxn ang="0">
                  <a:pos x="60" y="5"/>
                </a:cxn>
                <a:cxn ang="0">
                  <a:pos x="60" y="17"/>
                </a:cxn>
                <a:cxn ang="0">
                  <a:pos x="73" y="26"/>
                </a:cxn>
                <a:cxn ang="0">
                  <a:pos x="73" y="26"/>
                </a:cxn>
                <a:cxn ang="0">
                  <a:pos x="78" y="43"/>
                </a:cxn>
                <a:cxn ang="0">
                  <a:pos x="120" y="62"/>
                </a:cxn>
                <a:cxn ang="0">
                  <a:pos x="155" y="56"/>
                </a:cxn>
                <a:cxn ang="0">
                  <a:pos x="153" y="45"/>
                </a:cxn>
                <a:cxn ang="0">
                  <a:pos x="153" y="45"/>
                </a:cxn>
                <a:cxn ang="0">
                  <a:pos x="174" y="32"/>
                </a:cxn>
                <a:cxn ang="0">
                  <a:pos x="198" y="30"/>
                </a:cxn>
                <a:cxn ang="0">
                  <a:pos x="269" y="63"/>
                </a:cxn>
                <a:cxn ang="0">
                  <a:pos x="271" y="75"/>
                </a:cxn>
                <a:cxn ang="0">
                  <a:pos x="271" y="75"/>
                </a:cxn>
                <a:cxn ang="0">
                  <a:pos x="271" y="91"/>
                </a:cxn>
                <a:cxn ang="0">
                  <a:pos x="264" y="106"/>
                </a:cxn>
                <a:cxn ang="0">
                  <a:pos x="264" y="108"/>
                </a:cxn>
                <a:cxn ang="0">
                  <a:pos x="275" y="150"/>
                </a:cxn>
                <a:cxn ang="0">
                  <a:pos x="288" y="155"/>
                </a:cxn>
                <a:cxn ang="0">
                  <a:pos x="292" y="165"/>
                </a:cxn>
                <a:cxn ang="0">
                  <a:pos x="283" y="185"/>
                </a:cxn>
                <a:cxn ang="0">
                  <a:pos x="299" y="210"/>
                </a:cxn>
                <a:cxn ang="0">
                  <a:pos x="313" y="215"/>
                </a:cxn>
                <a:cxn ang="0">
                  <a:pos x="326" y="234"/>
                </a:cxn>
                <a:cxn ang="0">
                  <a:pos x="324" y="241"/>
                </a:cxn>
                <a:cxn ang="0">
                  <a:pos x="305" y="254"/>
                </a:cxn>
                <a:cxn ang="0">
                  <a:pos x="303" y="269"/>
                </a:cxn>
                <a:cxn ang="0">
                  <a:pos x="234" y="260"/>
                </a:cxn>
                <a:cxn ang="0">
                  <a:pos x="234" y="260"/>
                </a:cxn>
              </a:cxnLst>
              <a:rect l="0" t="0" r="r" b="b"/>
              <a:pathLst>
                <a:path w="326" h="269">
                  <a:moveTo>
                    <a:pt x="234" y="260"/>
                  </a:moveTo>
                  <a:lnTo>
                    <a:pt x="223" y="238"/>
                  </a:lnTo>
                  <a:lnTo>
                    <a:pt x="193" y="249"/>
                  </a:lnTo>
                  <a:lnTo>
                    <a:pt x="178" y="245"/>
                  </a:lnTo>
                  <a:lnTo>
                    <a:pt x="138" y="223"/>
                  </a:lnTo>
                  <a:lnTo>
                    <a:pt x="116" y="185"/>
                  </a:lnTo>
                  <a:lnTo>
                    <a:pt x="93" y="174"/>
                  </a:lnTo>
                  <a:lnTo>
                    <a:pt x="90" y="181"/>
                  </a:lnTo>
                  <a:lnTo>
                    <a:pt x="73" y="163"/>
                  </a:lnTo>
                  <a:lnTo>
                    <a:pt x="63" y="136"/>
                  </a:lnTo>
                  <a:lnTo>
                    <a:pt x="43" y="125"/>
                  </a:lnTo>
                  <a:lnTo>
                    <a:pt x="32" y="108"/>
                  </a:lnTo>
                  <a:lnTo>
                    <a:pt x="41" y="84"/>
                  </a:lnTo>
                  <a:lnTo>
                    <a:pt x="15" y="48"/>
                  </a:lnTo>
                  <a:lnTo>
                    <a:pt x="0" y="9"/>
                  </a:lnTo>
                  <a:lnTo>
                    <a:pt x="5" y="0"/>
                  </a:lnTo>
                  <a:lnTo>
                    <a:pt x="5" y="0"/>
                  </a:lnTo>
                  <a:lnTo>
                    <a:pt x="20" y="17"/>
                  </a:lnTo>
                  <a:lnTo>
                    <a:pt x="30" y="17"/>
                  </a:lnTo>
                  <a:lnTo>
                    <a:pt x="35" y="17"/>
                  </a:lnTo>
                  <a:lnTo>
                    <a:pt x="39" y="17"/>
                  </a:lnTo>
                  <a:lnTo>
                    <a:pt x="56" y="3"/>
                  </a:lnTo>
                  <a:lnTo>
                    <a:pt x="60" y="5"/>
                  </a:lnTo>
                  <a:lnTo>
                    <a:pt x="60" y="17"/>
                  </a:lnTo>
                  <a:lnTo>
                    <a:pt x="73" y="26"/>
                  </a:lnTo>
                  <a:lnTo>
                    <a:pt x="73" y="26"/>
                  </a:lnTo>
                  <a:lnTo>
                    <a:pt x="78" y="43"/>
                  </a:lnTo>
                  <a:lnTo>
                    <a:pt x="120" y="62"/>
                  </a:lnTo>
                  <a:lnTo>
                    <a:pt x="155" y="56"/>
                  </a:lnTo>
                  <a:lnTo>
                    <a:pt x="153" y="45"/>
                  </a:lnTo>
                  <a:lnTo>
                    <a:pt x="153" y="45"/>
                  </a:lnTo>
                  <a:lnTo>
                    <a:pt x="174" y="32"/>
                  </a:lnTo>
                  <a:lnTo>
                    <a:pt x="198" y="30"/>
                  </a:lnTo>
                  <a:lnTo>
                    <a:pt x="269" y="63"/>
                  </a:lnTo>
                  <a:lnTo>
                    <a:pt x="271" y="75"/>
                  </a:lnTo>
                  <a:lnTo>
                    <a:pt x="271" y="75"/>
                  </a:lnTo>
                  <a:lnTo>
                    <a:pt x="271" y="91"/>
                  </a:lnTo>
                  <a:lnTo>
                    <a:pt x="264" y="106"/>
                  </a:lnTo>
                  <a:lnTo>
                    <a:pt x="264" y="108"/>
                  </a:lnTo>
                  <a:lnTo>
                    <a:pt x="275" y="150"/>
                  </a:lnTo>
                  <a:lnTo>
                    <a:pt x="288" y="155"/>
                  </a:lnTo>
                  <a:lnTo>
                    <a:pt x="292" y="165"/>
                  </a:lnTo>
                  <a:lnTo>
                    <a:pt x="283" y="185"/>
                  </a:lnTo>
                  <a:lnTo>
                    <a:pt x="299" y="210"/>
                  </a:lnTo>
                  <a:lnTo>
                    <a:pt x="313" y="215"/>
                  </a:lnTo>
                  <a:lnTo>
                    <a:pt x="326" y="234"/>
                  </a:lnTo>
                  <a:lnTo>
                    <a:pt x="324" y="241"/>
                  </a:lnTo>
                  <a:lnTo>
                    <a:pt x="305" y="254"/>
                  </a:lnTo>
                  <a:lnTo>
                    <a:pt x="303" y="269"/>
                  </a:lnTo>
                  <a:lnTo>
                    <a:pt x="234" y="260"/>
                  </a:lnTo>
                  <a:lnTo>
                    <a:pt x="234" y="26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36" name="Freeform 5650"/>
            <p:cNvSpPr>
              <a:spLocks/>
            </p:cNvSpPr>
            <p:nvPr>
              <p:custDataLst>
                <p:tags r:id="rId16"/>
              </p:custDataLst>
            </p:nvPr>
          </p:nvSpPr>
          <p:spPr bwMode="gray">
            <a:xfrm>
              <a:off x="7823467" y="3435923"/>
              <a:ext cx="268882" cy="214920"/>
            </a:xfrm>
            <a:custGeom>
              <a:avLst/>
              <a:gdLst/>
              <a:ahLst/>
              <a:cxnLst>
                <a:cxn ang="0">
                  <a:pos x="80" y="21"/>
                </a:cxn>
                <a:cxn ang="0">
                  <a:pos x="99" y="26"/>
                </a:cxn>
                <a:cxn ang="0">
                  <a:pos x="105" y="26"/>
                </a:cxn>
                <a:cxn ang="0">
                  <a:pos x="122" y="24"/>
                </a:cxn>
                <a:cxn ang="0">
                  <a:pos x="125" y="15"/>
                </a:cxn>
                <a:cxn ang="0">
                  <a:pos x="135" y="17"/>
                </a:cxn>
                <a:cxn ang="0">
                  <a:pos x="142" y="0"/>
                </a:cxn>
                <a:cxn ang="0">
                  <a:pos x="155" y="9"/>
                </a:cxn>
                <a:cxn ang="0">
                  <a:pos x="161" y="32"/>
                </a:cxn>
                <a:cxn ang="0">
                  <a:pos x="185" y="19"/>
                </a:cxn>
                <a:cxn ang="0">
                  <a:pos x="208" y="22"/>
                </a:cxn>
                <a:cxn ang="0">
                  <a:pos x="204" y="26"/>
                </a:cxn>
                <a:cxn ang="0">
                  <a:pos x="206" y="28"/>
                </a:cxn>
                <a:cxn ang="0">
                  <a:pos x="193" y="30"/>
                </a:cxn>
                <a:cxn ang="0">
                  <a:pos x="180" y="30"/>
                </a:cxn>
                <a:cxn ang="0">
                  <a:pos x="161" y="41"/>
                </a:cxn>
                <a:cxn ang="0">
                  <a:pos x="167" y="64"/>
                </a:cxn>
                <a:cxn ang="0">
                  <a:pos x="161" y="82"/>
                </a:cxn>
                <a:cxn ang="0">
                  <a:pos x="146" y="82"/>
                </a:cxn>
                <a:cxn ang="0">
                  <a:pos x="152" y="92"/>
                </a:cxn>
                <a:cxn ang="0">
                  <a:pos x="144" y="101"/>
                </a:cxn>
                <a:cxn ang="0">
                  <a:pos x="140" y="124"/>
                </a:cxn>
                <a:cxn ang="0">
                  <a:pos x="108" y="131"/>
                </a:cxn>
                <a:cxn ang="0">
                  <a:pos x="103" y="139"/>
                </a:cxn>
                <a:cxn ang="0">
                  <a:pos x="101" y="159"/>
                </a:cxn>
                <a:cxn ang="0">
                  <a:pos x="41" y="167"/>
                </a:cxn>
                <a:cxn ang="0">
                  <a:pos x="19" y="159"/>
                </a:cxn>
                <a:cxn ang="0">
                  <a:pos x="19" y="159"/>
                </a:cxn>
                <a:cxn ang="0">
                  <a:pos x="28" y="139"/>
                </a:cxn>
                <a:cxn ang="0">
                  <a:pos x="24" y="129"/>
                </a:cxn>
                <a:cxn ang="0">
                  <a:pos x="11" y="124"/>
                </a:cxn>
                <a:cxn ang="0">
                  <a:pos x="0" y="82"/>
                </a:cxn>
                <a:cxn ang="0">
                  <a:pos x="0" y="80"/>
                </a:cxn>
                <a:cxn ang="0">
                  <a:pos x="7" y="65"/>
                </a:cxn>
                <a:cxn ang="0">
                  <a:pos x="7" y="49"/>
                </a:cxn>
                <a:cxn ang="0">
                  <a:pos x="7" y="49"/>
                </a:cxn>
                <a:cxn ang="0">
                  <a:pos x="30" y="54"/>
                </a:cxn>
                <a:cxn ang="0">
                  <a:pos x="37" y="49"/>
                </a:cxn>
                <a:cxn ang="0">
                  <a:pos x="54" y="39"/>
                </a:cxn>
                <a:cxn ang="0">
                  <a:pos x="58" y="22"/>
                </a:cxn>
                <a:cxn ang="0">
                  <a:pos x="65" y="22"/>
                </a:cxn>
                <a:cxn ang="0">
                  <a:pos x="67" y="17"/>
                </a:cxn>
                <a:cxn ang="0">
                  <a:pos x="80" y="21"/>
                </a:cxn>
                <a:cxn ang="0">
                  <a:pos x="80" y="21"/>
                </a:cxn>
              </a:cxnLst>
              <a:rect l="0" t="0" r="r" b="b"/>
              <a:pathLst>
                <a:path w="208" h="167">
                  <a:moveTo>
                    <a:pt x="80" y="21"/>
                  </a:moveTo>
                  <a:lnTo>
                    <a:pt x="99" y="26"/>
                  </a:lnTo>
                  <a:lnTo>
                    <a:pt x="105" y="26"/>
                  </a:lnTo>
                  <a:lnTo>
                    <a:pt x="122" y="24"/>
                  </a:lnTo>
                  <a:lnTo>
                    <a:pt x="125" y="15"/>
                  </a:lnTo>
                  <a:lnTo>
                    <a:pt x="135" y="17"/>
                  </a:lnTo>
                  <a:lnTo>
                    <a:pt x="142" y="0"/>
                  </a:lnTo>
                  <a:lnTo>
                    <a:pt x="155" y="9"/>
                  </a:lnTo>
                  <a:lnTo>
                    <a:pt x="161" y="32"/>
                  </a:lnTo>
                  <a:lnTo>
                    <a:pt x="185" y="19"/>
                  </a:lnTo>
                  <a:lnTo>
                    <a:pt x="208" y="22"/>
                  </a:lnTo>
                  <a:lnTo>
                    <a:pt x="204" y="26"/>
                  </a:lnTo>
                  <a:lnTo>
                    <a:pt x="206" y="28"/>
                  </a:lnTo>
                  <a:lnTo>
                    <a:pt x="193" y="30"/>
                  </a:lnTo>
                  <a:lnTo>
                    <a:pt x="180" y="30"/>
                  </a:lnTo>
                  <a:lnTo>
                    <a:pt x="161" y="41"/>
                  </a:lnTo>
                  <a:lnTo>
                    <a:pt x="167" y="64"/>
                  </a:lnTo>
                  <a:lnTo>
                    <a:pt x="161" y="82"/>
                  </a:lnTo>
                  <a:lnTo>
                    <a:pt x="146" y="82"/>
                  </a:lnTo>
                  <a:lnTo>
                    <a:pt x="152" y="92"/>
                  </a:lnTo>
                  <a:lnTo>
                    <a:pt x="144" y="101"/>
                  </a:lnTo>
                  <a:lnTo>
                    <a:pt x="140" y="124"/>
                  </a:lnTo>
                  <a:lnTo>
                    <a:pt x="108" y="131"/>
                  </a:lnTo>
                  <a:lnTo>
                    <a:pt x="103" y="139"/>
                  </a:lnTo>
                  <a:lnTo>
                    <a:pt x="101" y="159"/>
                  </a:lnTo>
                  <a:lnTo>
                    <a:pt x="41" y="167"/>
                  </a:lnTo>
                  <a:lnTo>
                    <a:pt x="19" y="159"/>
                  </a:lnTo>
                  <a:lnTo>
                    <a:pt x="19" y="159"/>
                  </a:lnTo>
                  <a:lnTo>
                    <a:pt x="28" y="139"/>
                  </a:lnTo>
                  <a:lnTo>
                    <a:pt x="24" y="129"/>
                  </a:lnTo>
                  <a:lnTo>
                    <a:pt x="11" y="124"/>
                  </a:lnTo>
                  <a:lnTo>
                    <a:pt x="0" y="82"/>
                  </a:lnTo>
                  <a:lnTo>
                    <a:pt x="0" y="80"/>
                  </a:lnTo>
                  <a:lnTo>
                    <a:pt x="7" y="65"/>
                  </a:lnTo>
                  <a:lnTo>
                    <a:pt x="7" y="49"/>
                  </a:lnTo>
                  <a:lnTo>
                    <a:pt x="7" y="49"/>
                  </a:lnTo>
                  <a:lnTo>
                    <a:pt x="30" y="54"/>
                  </a:lnTo>
                  <a:lnTo>
                    <a:pt x="37" y="49"/>
                  </a:lnTo>
                  <a:lnTo>
                    <a:pt x="54" y="39"/>
                  </a:lnTo>
                  <a:lnTo>
                    <a:pt x="58" y="22"/>
                  </a:lnTo>
                  <a:lnTo>
                    <a:pt x="65" y="22"/>
                  </a:lnTo>
                  <a:lnTo>
                    <a:pt x="67" y="17"/>
                  </a:lnTo>
                  <a:lnTo>
                    <a:pt x="80" y="21"/>
                  </a:lnTo>
                  <a:lnTo>
                    <a:pt x="80" y="2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37" name="Freeform 5651"/>
            <p:cNvSpPr>
              <a:spLocks/>
            </p:cNvSpPr>
            <p:nvPr>
              <p:custDataLst>
                <p:tags r:id="rId17"/>
              </p:custDataLst>
            </p:nvPr>
          </p:nvSpPr>
          <p:spPr bwMode="gray">
            <a:xfrm>
              <a:off x="9033436" y="3334254"/>
              <a:ext cx="99538" cy="118399"/>
            </a:xfrm>
            <a:custGeom>
              <a:avLst/>
              <a:gdLst/>
              <a:ahLst/>
              <a:cxnLst>
                <a:cxn ang="0">
                  <a:pos x="58" y="0"/>
                </a:cxn>
                <a:cxn ang="0">
                  <a:pos x="55" y="15"/>
                </a:cxn>
                <a:cxn ang="0">
                  <a:pos x="44" y="15"/>
                </a:cxn>
                <a:cxn ang="0">
                  <a:pos x="44" y="26"/>
                </a:cxn>
                <a:cxn ang="0">
                  <a:pos x="27" y="23"/>
                </a:cxn>
                <a:cxn ang="0">
                  <a:pos x="0" y="58"/>
                </a:cxn>
                <a:cxn ang="0">
                  <a:pos x="23" y="62"/>
                </a:cxn>
                <a:cxn ang="0">
                  <a:pos x="25" y="86"/>
                </a:cxn>
                <a:cxn ang="0">
                  <a:pos x="55" y="92"/>
                </a:cxn>
                <a:cxn ang="0">
                  <a:pos x="60" y="85"/>
                </a:cxn>
                <a:cxn ang="0">
                  <a:pos x="77" y="79"/>
                </a:cxn>
                <a:cxn ang="0">
                  <a:pos x="53" y="64"/>
                </a:cxn>
                <a:cxn ang="0">
                  <a:pos x="49" y="55"/>
                </a:cxn>
                <a:cxn ang="0">
                  <a:pos x="75" y="36"/>
                </a:cxn>
                <a:cxn ang="0">
                  <a:pos x="66" y="23"/>
                </a:cxn>
                <a:cxn ang="0">
                  <a:pos x="75" y="4"/>
                </a:cxn>
                <a:cxn ang="0">
                  <a:pos x="58" y="0"/>
                </a:cxn>
                <a:cxn ang="0">
                  <a:pos x="58" y="0"/>
                </a:cxn>
              </a:cxnLst>
              <a:rect l="0" t="0" r="r" b="b"/>
              <a:pathLst>
                <a:path w="77" h="92">
                  <a:moveTo>
                    <a:pt x="58" y="0"/>
                  </a:moveTo>
                  <a:lnTo>
                    <a:pt x="55" y="15"/>
                  </a:lnTo>
                  <a:lnTo>
                    <a:pt x="44" y="15"/>
                  </a:lnTo>
                  <a:lnTo>
                    <a:pt x="44" y="26"/>
                  </a:lnTo>
                  <a:lnTo>
                    <a:pt x="27" y="23"/>
                  </a:lnTo>
                  <a:lnTo>
                    <a:pt x="0" y="58"/>
                  </a:lnTo>
                  <a:lnTo>
                    <a:pt x="23" y="62"/>
                  </a:lnTo>
                  <a:lnTo>
                    <a:pt x="25" y="86"/>
                  </a:lnTo>
                  <a:lnTo>
                    <a:pt x="55" y="92"/>
                  </a:lnTo>
                  <a:lnTo>
                    <a:pt x="60" y="85"/>
                  </a:lnTo>
                  <a:lnTo>
                    <a:pt x="77" y="79"/>
                  </a:lnTo>
                  <a:lnTo>
                    <a:pt x="53" y="64"/>
                  </a:lnTo>
                  <a:lnTo>
                    <a:pt x="49" y="55"/>
                  </a:lnTo>
                  <a:lnTo>
                    <a:pt x="75" y="36"/>
                  </a:lnTo>
                  <a:lnTo>
                    <a:pt x="66" y="23"/>
                  </a:lnTo>
                  <a:lnTo>
                    <a:pt x="75" y="4"/>
                  </a:lnTo>
                  <a:lnTo>
                    <a:pt x="58" y="0"/>
                  </a:lnTo>
                  <a:lnTo>
                    <a:pt x="58"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38" name="Freeform 5657"/>
            <p:cNvSpPr>
              <a:spLocks/>
            </p:cNvSpPr>
            <p:nvPr>
              <p:custDataLst>
                <p:tags r:id="rId18"/>
              </p:custDataLst>
            </p:nvPr>
          </p:nvSpPr>
          <p:spPr bwMode="gray">
            <a:xfrm>
              <a:off x="5119135" y="3879920"/>
              <a:ext cx="74977" cy="52765"/>
            </a:xfrm>
            <a:custGeom>
              <a:avLst/>
              <a:gdLst/>
              <a:ahLst/>
              <a:cxnLst>
                <a:cxn ang="0">
                  <a:pos x="5" y="0"/>
                </a:cxn>
                <a:cxn ang="0">
                  <a:pos x="33" y="1"/>
                </a:cxn>
                <a:cxn ang="0">
                  <a:pos x="35" y="7"/>
                </a:cxn>
                <a:cxn ang="0">
                  <a:pos x="45" y="7"/>
                </a:cxn>
                <a:cxn ang="0">
                  <a:pos x="37" y="13"/>
                </a:cxn>
                <a:cxn ang="0">
                  <a:pos x="52" y="16"/>
                </a:cxn>
                <a:cxn ang="0">
                  <a:pos x="58" y="24"/>
                </a:cxn>
                <a:cxn ang="0">
                  <a:pos x="50" y="31"/>
                </a:cxn>
                <a:cxn ang="0">
                  <a:pos x="46" y="24"/>
                </a:cxn>
                <a:cxn ang="0">
                  <a:pos x="20" y="30"/>
                </a:cxn>
                <a:cxn ang="0">
                  <a:pos x="20" y="24"/>
                </a:cxn>
                <a:cxn ang="0">
                  <a:pos x="13" y="28"/>
                </a:cxn>
                <a:cxn ang="0">
                  <a:pos x="5" y="41"/>
                </a:cxn>
                <a:cxn ang="0">
                  <a:pos x="0" y="31"/>
                </a:cxn>
                <a:cxn ang="0">
                  <a:pos x="5" y="0"/>
                </a:cxn>
                <a:cxn ang="0">
                  <a:pos x="5" y="0"/>
                </a:cxn>
              </a:cxnLst>
              <a:rect l="0" t="0" r="r" b="b"/>
              <a:pathLst>
                <a:path w="58" h="41">
                  <a:moveTo>
                    <a:pt x="5" y="0"/>
                  </a:moveTo>
                  <a:lnTo>
                    <a:pt x="33" y="1"/>
                  </a:lnTo>
                  <a:lnTo>
                    <a:pt x="35" y="7"/>
                  </a:lnTo>
                  <a:lnTo>
                    <a:pt x="45" y="7"/>
                  </a:lnTo>
                  <a:lnTo>
                    <a:pt x="37" y="13"/>
                  </a:lnTo>
                  <a:lnTo>
                    <a:pt x="52" y="16"/>
                  </a:lnTo>
                  <a:lnTo>
                    <a:pt x="58" y="24"/>
                  </a:lnTo>
                  <a:lnTo>
                    <a:pt x="50" y="31"/>
                  </a:lnTo>
                  <a:lnTo>
                    <a:pt x="46" y="24"/>
                  </a:lnTo>
                  <a:lnTo>
                    <a:pt x="20" y="30"/>
                  </a:lnTo>
                  <a:lnTo>
                    <a:pt x="20" y="24"/>
                  </a:lnTo>
                  <a:lnTo>
                    <a:pt x="13" y="28"/>
                  </a:lnTo>
                  <a:lnTo>
                    <a:pt x="5" y="41"/>
                  </a:lnTo>
                  <a:lnTo>
                    <a:pt x="0" y="31"/>
                  </a:lnTo>
                  <a:lnTo>
                    <a:pt x="5" y="0"/>
                  </a:lnTo>
                  <a:lnTo>
                    <a:pt x="5"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39" name="Freeform 5658"/>
            <p:cNvSpPr>
              <a:spLocks/>
            </p:cNvSpPr>
            <p:nvPr>
              <p:custDataLst>
                <p:tags r:id="rId19"/>
              </p:custDataLst>
            </p:nvPr>
          </p:nvSpPr>
          <p:spPr bwMode="gray">
            <a:xfrm>
              <a:off x="5460408" y="4217099"/>
              <a:ext cx="60757" cy="83652"/>
            </a:xfrm>
            <a:custGeom>
              <a:avLst/>
              <a:gdLst/>
              <a:ahLst/>
              <a:cxnLst>
                <a:cxn ang="0">
                  <a:pos x="47" y="28"/>
                </a:cxn>
                <a:cxn ang="0">
                  <a:pos x="24" y="60"/>
                </a:cxn>
                <a:cxn ang="0">
                  <a:pos x="9" y="65"/>
                </a:cxn>
                <a:cxn ang="0">
                  <a:pos x="0" y="60"/>
                </a:cxn>
                <a:cxn ang="0">
                  <a:pos x="9" y="35"/>
                </a:cxn>
                <a:cxn ang="0">
                  <a:pos x="3" y="11"/>
                </a:cxn>
                <a:cxn ang="0">
                  <a:pos x="9" y="0"/>
                </a:cxn>
                <a:cxn ang="0">
                  <a:pos x="47" y="28"/>
                </a:cxn>
                <a:cxn ang="0">
                  <a:pos x="47" y="28"/>
                </a:cxn>
              </a:cxnLst>
              <a:rect l="0" t="0" r="r" b="b"/>
              <a:pathLst>
                <a:path w="47" h="65">
                  <a:moveTo>
                    <a:pt x="47" y="28"/>
                  </a:moveTo>
                  <a:lnTo>
                    <a:pt x="24" y="60"/>
                  </a:lnTo>
                  <a:lnTo>
                    <a:pt x="9" y="65"/>
                  </a:lnTo>
                  <a:lnTo>
                    <a:pt x="0" y="60"/>
                  </a:lnTo>
                  <a:lnTo>
                    <a:pt x="9" y="35"/>
                  </a:lnTo>
                  <a:lnTo>
                    <a:pt x="3" y="11"/>
                  </a:lnTo>
                  <a:lnTo>
                    <a:pt x="9" y="0"/>
                  </a:lnTo>
                  <a:lnTo>
                    <a:pt x="47" y="28"/>
                  </a:lnTo>
                  <a:lnTo>
                    <a:pt x="47" y="2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40" name="Freeform 5659"/>
            <p:cNvSpPr>
              <a:spLocks/>
            </p:cNvSpPr>
            <p:nvPr>
              <p:custDataLst>
                <p:tags r:id="rId20"/>
              </p:custDataLst>
            </p:nvPr>
          </p:nvSpPr>
          <p:spPr bwMode="gray">
            <a:xfrm>
              <a:off x="5385432" y="4206804"/>
              <a:ext cx="86611" cy="99095"/>
            </a:xfrm>
            <a:custGeom>
              <a:avLst/>
              <a:gdLst/>
              <a:ahLst/>
              <a:cxnLst>
                <a:cxn ang="0">
                  <a:pos x="67" y="8"/>
                </a:cxn>
                <a:cxn ang="0">
                  <a:pos x="50" y="0"/>
                </a:cxn>
                <a:cxn ang="0">
                  <a:pos x="16" y="0"/>
                </a:cxn>
                <a:cxn ang="0">
                  <a:pos x="16" y="0"/>
                </a:cxn>
                <a:cxn ang="0">
                  <a:pos x="0" y="32"/>
                </a:cxn>
                <a:cxn ang="0">
                  <a:pos x="26" y="73"/>
                </a:cxn>
                <a:cxn ang="0">
                  <a:pos x="31" y="77"/>
                </a:cxn>
                <a:cxn ang="0">
                  <a:pos x="37" y="66"/>
                </a:cxn>
                <a:cxn ang="0">
                  <a:pos x="58" y="68"/>
                </a:cxn>
                <a:cxn ang="0">
                  <a:pos x="67" y="43"/>
                </a:cxn>
                <a:cxn ang="0">
                  <a:pos x="61" y="19"/>
                </a:cxn>
                <a:cxn ang="0">
                  <a:pos x="67" y="8"/>
                </a:cxn>
                <a:cxn ang="0">
                  <a:pos x="67" y="8"/>
                </a:cxn>
              </a:cxnLst>
              <a:rect l="0" t="0" r="r" b="b"/>
              <a:pathLst>
                <a:path w="67" h="77">
                  <a:moveTo>
                    <a:pt x="67" y="8"/>
                  </a:moveTo>
                  <a:lnTo>
                    <a:pt x="50" y="0"/>
                  </a:lnTo>
                  <a:lnTo>
                    <a:pt x="16" y="0"/>
                  </a:lnTo>
                  <a:lnTo>
                    <a:pt x="16" y="0"/>
                  </a:lnTo>
                  <a:lnTo>
                    <a:pt x="0" y="32"/>
                  </a:lnTo>
                  <a:lnTo>
                    <a:pt x="26" y="73"/>
                  </a:lnTo>
                  <a:lnTo>
                    <a:pt x="31" y="77"/>
                  </a:lnTo>
                  <a:lnTo>
                    <a:pt x="37" y="66"/>
                  </a:lnTo>
                  <a:lnTo>
                    <a:pt x="58" y="68"/>
                  </a:lnTo>
                  <a:lnTo>
                    <a:pt x="67" y="43"/>
                  </a:lnTo>
                  <a:lnTo>
                    <a:pt x="61" y="19"/>
                  </a:lnTo>
                  <a:lnTo>
                    <a:pt x="67" y="8"/>
                  </a:lnTo>
                  <a:lnTo>
                    <a:pt x="67" y="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41" name="Freeform 5660"/>
            <p:cNvSpPr>
              <a:spLocks/>
            </p:cNvSpPr>
            <p:nvPr>
              <p:custDataLst>
                <p:tags r:id="rId21"/>
              </p:custDataLst>
            </p:nvPr>
          </p:nvSpPr>
          <p:spPr bwMode="gray">
            <a:xfrm>
              <a:off x="5319504" y="4151465"/>
              <a:ext cx="99538" cy="167303"/>
            </a:xfrm>
            <a:custGeom>
              <a:avLst/>
              <a:gdLst/>
              <a:ahLst/>
              <a:cxnLst>
                <a:cxn ang="0">
                  <a:pos x="24" y="0"/>
                </a:cxn>
                <a:cxn ang="0">
                  <a:pos x="9" y="12"/>
                </a:cxn>
                <a:cxn ang="0">
                  <a:pos x="8" y="23"/>
                </a:cxn>
                <a:cxn ang="0">
                  <a:pos x="11" y="25"/>
                </a:cxn>
                <a:cxn ang="0">
                  <a:pos x="4" y="30"/>
                </a:cxn>
                <a:cxn ang="0">
                  <a:pos x="0" y="43"/>
                </a:cxn>
                <a:cxn ang="0">
                  <a:pos x="9" y="58"/>
                </a:cxn>
                <a:cxn ang="0">
                  <a:pos x="21" y="60"/>
                </a:cxn>
                <a:cxn ang="0">
                  <a:pos x="26" y="77"/>
                </a:cxn>
                <a:cxn ang="0">
                  <a:pos x="21" y="105"/>
                </a:cxn>
                <a:cxn ang="0">
                  <a:pos x="30" y="126"/>
                </a:cxn>
                <a:cxn ang="0">
                  <a:pos x="39" y="130"/>
                </a:cxn>
                <a:cxn ang="0">
                  <a:pos x="66" y="116"/>
                </a:cxn>
                <a:cxn ang="0">
                  <a:pos x="77" y="116"/>
                </a:cxn>
                <a:cxn ang="0">
                  <a:pos x="51" y="75"/>
                </a:cxn>
                <a:cxn ang="0">
                  <a:pos x="67" y="43"/>
                </a:cxn>
                <a:cxn ang="0">
                  <a:pos x="67" y="43"/>
                </a:cxn>
                <a:cxn ang="0">
                  <a:pos x="51" y="28"/>
                </a:cxn>
                <a:cxn ang="0">
                  <a:pos x="43" y="28"/>
                </a:cxn>
                <a:cxn ang="0">
                  <a:pos x="43" y="13"/>
                </a:cxn>
                <a:cxn ang="0">
                  <a:pos x="24" y="0"/>
                </a:cxn>
                <a:cxn ang="0">
                  <a:pos x="24" y="0"/>
                </a:cxn>
              </a:cxnLst>
              <a:rect l="0" t="0" r="r" b="b"/>
              <a:pathLst>
                <a:path w="77" h="130">
                  <a:moveTo>
                    <a:pt x="24" y="0"/>
                  </a:moveTo>
                  <a:lnTo>
                    <a:pt x="9" y="12"/>
                  </a:lnTo>
                  <a:lnTo>
                    <a:pt x="8" y="23"/>
                  </a:lnTo>
                  <a:lnTo>
                    <a:pt x="11" y="25"/>
                  </a:lnTo>
                  <a:lnTo>
                    <a:pt x="4" y="30"/>
                  </a:lnTo>
                  <a:lnTo>
                    <a:pt x="0" y="43"/>
                  </a:lnTo>
                  <a:lnTo>
                    <a:pt x="9" y="58"/>
                  </a:lnTo>
                  <a:lnTo>
                    <a:pt x="21" y="60"/>
                  </a:lnTo>
                  <a:lnTo>
                    <a:pt x="26" y="77"/>
                  </a:lnTo>
                  <a:lnTo>
                    <a:pt x="21" y="105"/>
                  </a:lnTo>
                  <a:lnTo>
                    <a:pt x="30" y="126"/>
                  </a:lnTo>
                  <a:lnTo>
                    <a:pt x="39" y="130"/>
                  </a:lnTo>
                  <a:lnTo>
                    <a:pt x="66" y="116"/>
                  </a:lnTo>
                  <a:lnTo>
                    <a:pt x="77" y="116"/>
                  </a:lnTo>
                  <a:lnTo>
                    <a:pt x="51" y="75"/>
                  </a:lnTo>
                  <a:lnTo>
                    <a:pt x="67" y="43"/>
                  </a:lnTo>
                  <a:lnTo>
                    <a:pt x="67" y="43"/>
                  </a:lnTo>
                  <a:lnTo>
                    <a:pt x="51" y="28"/>
                  </a:lnTo>
                  <a:lnTo>
                    <a:pt x="43" y="28"/>
                  </a:lnTo>
                  <a:lnTo>
                    <a:pt x="43" y="13"/>
                  </a:lnTo>
                  <a:lnTo>
                    <a:pt x="24" y="0"/>
                  </a:lnTo>
                  <a:lnTo>
                    <a:pt x="24"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42" name="Freeform 5664"/>
            <p:cNvSpPr>
              <a:spLocks/>
            </p:cNvSpPr>
            <p:nvPr>
              <p:custDataLst>
                <p:tags r:id="rId22"/>
              </p:custDataLst>
            </p:nvPr>
          </p:nvSpPr>
          <p:spPr bwMode="gray">
            <a:xfrm>
              <a:off x="4861888" y="3800129"/>
              <a:ext cx="215881" cy="79791"/>
            </a:xfrm>
            <a:custGeom>
              <a:avLst/>
              <a:gdLst/>
              <a:ahLst/>
              <a:cxnLst>
                <a:cxn ang="0">
                  <a:pos x="0" y="24"/>
                </a:cxn>
                <a:cxn ang="0">
                  <a:pos x="11" y="24"/>
                </a:cxn>
                <a:cxn ang="0">
                  <a:pos x="36" y="9"/>
                </a:cxn>
                <a:cxn ang="0">
                  <a:pos x="54" y="11"/>
                </a:cxn>
                <a:cxn ang="0">
                  <a:pos x="45" y="15"/>
                </a:cxn>
                <a:cxn ang="0">
                  <a:pos x="49" y="19"/>
                </a:cxn>
                <a:cxn ang="0">
                  <a:pos x="96" y="30"/>
                </a:cxn>
                <a:cxn ang="0">
                  <a:pos x="107" y="45"/>
                </a:cxn>
                <a:cxn ang="0">
                  <a:pos x="118" y="45"/>
                </a:cxn>
                <a:cxn ang="0">
                  <a:pos x="120" y="52"/>
                </a:cxn>
                <a:cxn ang="0">
                  <a:pos x="109" y="62"/>
                </a:cxn>
                <a:cxn ang="0">
                  <a:pos x="167" y="56"/>
                </a:cxn>
                <a:cxn ang="0">
                  <a:pos x="157" y="47"/>
                </a:cxn>
                <a:cxn ang="0">
                  <a:pos x="142" y="47"/>
                </a:cxn>
                <a:cxn ang="0">
                  <a:pos x="146" y="39"/>
                </a:cxn>
                <a:cxn ang="0">
                  <a:pos x="131" y="35"/>
                </a:cxn>
                <a:cxn ang="0">
                  <a:pos x="105" y="17"/>
                </a:cxn>
                <a:cxn ang="0">
                  <a:pos x="58" y="0"/>
                </a:cxn>
                <a:cxn ang="0">
                  <a:pos x="24" y="5"/>
                </a:cxn>
                <a:cxn ang="0">
                  <a:pos x="0" y="24"/>
                </a:cxn>
                <a:cxn ang="0">
                  <a:pos x="0" y="24"/>
                </a:cxn>
              </a:cxnLst>
              <a:rect l="0" t="0" r="r" b="b"/>
              <a:pathLst>
                <a:path w="167" h="62">
                  <a:moveTo>
                    <a:pt x="0" y="24"/>
                  </a:moveTo>
                  <a:lnTo>
                    <a:pt x="11" y="24"/>
                  </a:lnTo>
                  <a:lnTo>
                    <a:pt x="36" y="9"/>
                  </a:lnTo>
                  <a:lnTo>
                    <a:pt x="54" y="11"/>
                  </a:lnTo>
                  <a:lnTo>
                    <a:pt x="45" y="15"/>
                  </a:lnTo>
                  <a:lnTo>
                    <a:pt x="49" y="19"/>
                  </a:lnTo>
                  <a:lnTo>
                    <a:pt x="96" y="30"/>
                  </a:lnTo>
                  <a:lnTo>
                    <a:pt x="107" y="45"/>
                  </a:lnTo>
                  <a:lnTo>
                    <a:pt x="118" y="45"/>
                  </a:lnTo>
                  <a:lnTo>
                    <a:pt x="120" y="52"/>
                  </a:lnTo>
                  <a:lnTo>
                    <a:pt x="109" y="62"/>
                  </a:lnTo>
                  <a:lnTo>
                    <a:pt x="167" y="56"/>
                  </a:lnTo>
                  <a:lnTo>
                    <a:pt x="157" y="47"/>
                  </a:lnTo>
                  <a:lnTo>
                    <a:pt x="142" y="47"/>
                  </a:lnTo>
                  <a:lnTo>
                    <a:pt x="146" y="39"/>
                  </a:lnTo>
                  <a:lnTo>
                    <a:pt x="131" y="35"/>
                  </a:lnTo>
                  <a:lnTo>
                    <a:pt x="105" y="17"/>
                  </a:lnTo>
                  <a:lnTo>
                    <a:pt x="58" y="0"/>
                  </a:lnTo>
                  <a:lnTo>
                    <a:pt x="24" y="5"/>
                  </a:lnTo>
                  <a:lnTo>
                    <a:pt x="0" y="24"/>
                  </a:lnTo>
                  <a:lnTo>
                    <a:pt x="0" y="2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43" name="Freeform 5665"/>
            <p:cNvSpPr>
              <a:spLocks/>
            </p:cNvSpPr>
            <p:nvPr>
              <p:custDataLst>
                <p:tags r:id="rId23"/>
              </p:custDataLst>
            </p:nvPr>
          </p:nvSpPr>
          <p:spPr bwMode="gray">
            <a:xfrm>
              <a:off x="5355700" y="2601982"/>
              <a:ext cx="202954" cy="47617"/>
            </a:xfrm>
            <a:custGeom>
              <a:avLst/>
              <a:gdLst/>
              <a:ahLst/>
              <a:cxnLst>
                <a:cxn ang="0">
                  <a:pos x="6" y="0"/>
                </a:cxn>
                <a:cxn ang="0">
                  <a:pos x="0" y="5"/>
                </a:cxn>
                <a:cxn ang="0">
                  <a:pos x="4" y="11"/>
                </a:cxn>
                <a:cxn ang="0">
                  <a:pos x="32" y="13"/>
                </a:cxn>
                <a:cxn ang="0">
                  <a:pos x="13" y="33"/>
                </a:cxn>
                <a:cxn ang="0">
                  <a:pos x="32" y="35"/>
                </a:cxn>
                <a:cxn ang="0">
                  <a:pos x="88" y="37"/>
                </a:cxn>
                <a:cxn ang="0">
                  <a:pos x="105" y="33"/>
                </a:cxn>
                <a:cxn ang="0">
                  <a:pos x="118" y="35"/>
                </a:cxn>
                <a:cxn ang="0">
                  <a:pos x="139" y="33"/>
                </a:cxn>
                <a:cxn ang="0">
                  <a:pos x="157" y="22"/>
                </a:cxn>
                <a:cxn ang="0">
                  <a:pos x="64" y="18"/>
                </a:cxn>
                <a:cxn ang="0">
                  <a:pos x="53" y="15"/>
                </a:cxn>
                <a:cxn ang="0">
                  <a:pos x="62" y="13"/>
                </a:cxn>
                <a:cxn ang="0">
                  <a:pos x="53" y="5"/>
                </a:cxn>
                <a:cxn ang="0">
                  <a:pos x="6" y="0"/>
                </a:cxn>
                <a:cxn ang="0">
                  <a:pos x="6" y="0"/>
                </a:cxn>
              </a:cxnLst>
              <a:rect l="0" t="0" r="r" b="b"/>
              <a:pathLst>
                <a:path w="157" h="37">
                  <a:moveTo>
                    <a:pt x="6" y="0"/>
                  </a:moveTo>
                  <a:lnTo>
                    <a:pt x="0" y="5"/>
                  </a:lnTo>
                  <a:lnTo>
                    <a:pt x="4" y="11"/>
                  </a:lnTo>
                  <a:lnTo>
                    <a:pt x="32" y="13"/>
                  </a:lnTo>
                  <a:lnTo>
                    <a:pt x="13" y="33"/>
                  </a:lnTo>
                  <a:lnTo>
                    <a:pt x="32" y="35"/>
                  </a:lnTo>
                  <a:lnTo>
                    <a:pt x="88" y="37"/>
                  </a:lnTo>
                  <a:lnTo>
                    <a:pt x="105" y="33"/>
                  </a:lnTo>
                  <a:lnTo>
                    <a:pt x="118" y="35"/>
                  </a:lnTo>
                  <a:lnTo>
                    <a:pt x="139" y="33"/>
                  </a:lnTo>
                  <a:lnTo>
                    <a:pt x="157" y="22"/>
                  </a:lnTo>
                  <a:lnTo>
                    <a:pt x="64" y="18"/>
                  </a:lnTo>
                  <a:lnTo>
                    <a:pt x="53" y="15"/>
                  </a:lnTo>
                  <a:lnTo>
                    <a:pt x="62" y="13"/>
                  </a:lnTo>
                  <a:lnTo>
                    <a:pt x="53" y="5"/>
                  </a:lnTo>
                  <a:lnTo>
                    <a:pt x="6" y="0"/>
                  </a:lnTo>
                  <a:lnTo>
                    <a:pt x="6"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44" name="Freeform 5666"/>
            <p:cNvSpPr>
              <a:spLocks/>
            </p:cNvSpPr>
            <p:nvPr>
              <p:custDataLst>
                <p:tags r:id="rId24"/>
              </p:custDataLst>
            </p:nvPr>
          </p:nvSpPr>
          <p:spPr bwMode="gray">
            <a:xfrm>
              <a:off x="5438432" y="2531200"/>
              <a:ext cx="122807" cy="51478"/>
            </a:xfrm>
            <a:custGeom>
              <a:avLst/>
              <a:gdLst/>
              <a:ahLst/>
              <a:cxnLst>
                <a:cxn ang="0">
                  <a:pos x="9" y="15"/>
                </a:cxn>
                <a:cxn ang="0">
                  <a:pos x="15" y="25"/>
                </a:cxn>
                <a:cxn ang="0">
                  <a:pos x="0" y="34"/>
                </a:cxn>
                <a:cxn ang="0">
                  <a:pos x="7" y="40"/>
                </a:cxn>
                <a:cxn ang="0">
                  <a:pos x="35" y="40"/>
                </a:cxn>
                <a:cxn ang="0">
                  <a:pos x="95" y="21"/>
                </a:cxn>
                <a:cxn ang="0">
                  <a:pos x="79" y="19"/>
                </a:cxn>
                <a:cxn ang="0">
                  <a:pos x="92" y="13"/>
                </a:cxn>
                <a:cxn ang="0">
                  <a:pos x="65" y="10"/>
                </a:cxn>
                <a:cxn ang="0">
                  <a:pos x="62" y="0"/>
                </a:cxn>
                <a:cxn ang="0">
                  <a:pos x="47" y="0"/>
                </a:cxn>
                <a:cxn ang="0">
                  <a:pos x="9" y="15"/>
                </a:cxn>
                <a:cxn ang="0">
                  <a:pos x="9" y="15"/>
                </a:cxn>
              </a:cxnLst>
              <a:rect l="0" t="0" r="r" b="b"/>
              <a:pathLst>
                <a:path w="95" h="40">
                  <a:moveTo>
                    <a:pt x="9" y="15"/>
                  </a:moveTo>
                  <a:lnTo>
                    <a:pt x="15" y="25"/>
                  </a:lnTo>
                  <a:lnTo>
                    <a:pt x="0" y="34"/>
                  </a:lnTo>
                  <a:lnTo>
                    <a:pt x="7" y="40"/>
                  </a:lnTo>
                  <a:lnTo>
                    <a:pt x="35" y="40"/>
                  </a:lnTo>
                  <a:lnTo>
                    <a:pt x="95" y="21"/>
                  </a:lnTo>
                  <a:lnTo>
                    <a:pt x="79" y="19"/>
                  </a:lnTo>
                  <a:lnTo>
                    <a:pt x="92" y="13"/>
                  </a:lnTo>
                  <a:lnTo>
                    <a:pt x="65" y="10"/>
                  </a:lnTo>
                  <a:lnTo>
                    <a:pt x="62" y="0"/>
                  </a:lnTo>
                  <a:lnTo>
                    <a:pt x="47" y="0"/>
                  </a:lnTo>
                  <a:lnTo>
                    <a:pt x="9" y="15"/>
                  </a:lnTo>
                  <a:lnTo>
                    <a:pt x="9" y="15"/>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45" name="Freeform 5667"/>
            <p:cNvSpPr>
              <a:spLocks/>
            </p:cNvSpPr>
            <p:nvPr>
              <p:custDataLst>
                <p:tags r:id="rId25"/>
              </p:custDataLst>
            </p:nvPr>
          </p:nvSpPr>
          <p:spPr bwMode="gray">
            <a:xfrm>
              <a:off x="5443603" y="2505461"/>
              <a:ext cx="486056" cy="113251"/>
            </a:xfrm>
            <a:custGeom>
              <a:avLst/>
              <a:gdLst/>
              <a:ahLst/>
              <a:cxnLst>
                <a:cxn ang="0">
                  <a:pos x="76" y="19"/>
                </a:cxn>
                <a:cxn ang="0">
                  <a:pos x="73" y="24"/>
                </a:cxn>
                <a:cxn ang="0">
                  <a:pos x="84" y="28"/>
                </a:cxn>
                <a:cxn ang="0">
                  <a:pos x="104" y="30"/>
                </a:cxn>
                <a:cxn ang="0">
                  <a:pos x="88" y="37"/>
                </a:cxn>
                <a:cxn ang="0">
                  <a:pos x="101" y="39"/>
                </a:cxn>
                <a:cxn ang="0">
                  <a:pos x="91" y="50"/>
                </a:cxn>
                <a:cxn ang="0">
                  <a:pos x="48" y="60"/>
                </a:cxn>
                <a:cxn ang="0">
                  <a:pos x="65" y="63"/>
                </a:cxn>
                <a:cxn ang="0">
                  <a:pos x="39" y="65"/>
                </a:cxn>
                <a:cxn ang="0">
                  <a:pos x="31" y="69"/>
                </a:cxn>
                <a:cxn ang="0">
                  <a:pos x="41" y="73"/>
                </a:cxn>
                <a:cxn ang="0">
                  <a:pos x="7" y="78"/>
                </a:cxn>
                <a:cxn ang="0">
                  <a:pos x="0" y="84"/>
                </a:cxn>
                <a:cxn ang="0">
                  <a:pos x="86" y="82"/>
                </a:cxn>
                <a:cxn ang="0">
                  <a:pos x="86" y="88"/>
                </a:cxn>
                <a:cxn ang="0">
                  <a:pos x="131" y="78"/>
                </a:cxn>
                <a:cxn ang="0">
                  <a:pos x="121" y="73"/>
                </a:cxn>
                <a:cxn ang="0">
                  <a:pos x="144" y="67"/>
                </a:cxn>
                <a:cxn ang="0">
                  <a:pos x="146" y="63"/>
                </a:cxn>
                <a:cxn ang="0">
                  <a:pos x="170" y="62"/>
                </a:cxn>
                <a:cxn ang="0">
                  <a:pos x="211" y="43"/>
                </a:cxn>
                <a:cxn ang="0">
                  <a:pos x="376" y="7"/>
                </a:cxn>
                <a:cxn ang="0">
                  <a:pos x="301" y="0"/>
                </a:cxn>
                <a:cxn ang="0">
                  <a:pos x="232" y="0"/>
                </a:cxn>
                <a:cxn ang="0">
                  <a:pos x="76" y="19"/>
                </a:cxn>
                <a:cxn ang="0">
                  <a:pos x="76" y="19"/>
                </a:cxn>
              </a:cxnLst>
              <a:rect l="0" t="0" r="r" b="b"/>
              <a:pathLst>
                <a:path w="376" h="88">
                  <a:moveTo>
                    <a:pt x="76" y="19"/>
                  </a:moveTo>
                  <a:lnTo>
                    <a:pt x="73" y="24"/>
                  </a:lnTo>
                  <a:lnTo>
                    <a:pt x="84" y="28"/>
                  </a:lnTo>
                  <a:lnTo>
                    <a:pt x="104" y="30"/>
                  </a:lnTo>
                  <a:lnTo>
                    <a:pt x="88" y="37"/>
                  </a:lnTo>
                  <a:lnTo>
                    <a:pt x="101" y="39"/>
                  </a:lnTo>
                  <a:lnTo>
                    <a:pt x="91" y="50"/>
                  </a:lnTo>
                  <a:lnTo>
                    <a:pt x="48" y="60"/>
                  </a:lnTo>
                  <a:lnTo>
                    <a:pt x="65" y="63"/>
                  </a:lnTo>
                  <a:lnTo>
                    <a:pt x="39" y="65"/>
                  </a:lnTo>
                  <a:lnTo>
                    <a:pt x="31" y="69"/>
                  </a:lnTo>
                  <a:lnTo>
                    <a:pt x="41" y="73"/>
                  </a:lnTo>
                  <a:lnTo>
                    <a:pt x="7" y="78"/>
                  </a:lnTo>
                  <a:lnTo>
                    <a:pt x="0" y="84"/>
                  </a:lnTo>
                  <a:lnTo>
                    <a:pt x="86" y="82"/>
                  </a:lnTo>
                  <a:lnTo>
                    <a:pt x="86" y="88"/>
                  </a:lnTo>
                  <a:lnTo>
                    <a:pt x="131" y="78"/>
                  </a:lnTo>
                  <a:lnTo>
                    <a:pt x="121" y="73"/>
                  </a:lnTo>
                  <a:lnTo>
                    <a:pt x="144" y="67"/>
                  </a:lnTo>
                  <a:lnTo>
                    <a:pt x="146" y="63"/>
                  </a:lnTo>
                  <a:lnTo>
                    <a:pt x="170" y="62"/>
                  </a:lnTo>
                  <a:lnTo>
                    <a:pt x="211" y="43"/>
                  </a:lnTo>
                  <a:lnTo>
                    <a:pt x="376" y="7"/>
                  </a:lnTo>
                  <a:lnTo>
                    <a:pt x="301" y="0"/>
                  </a:lnTo>
                  <a:lnTo>
                    <a:pt x="232" y="0"/>
                  </a:lnTo>
                  <a:lnTo>
                    <a:pt x="76" y="19"/>
                  </a:lnTo>
                  <a:lnTo>
                    <a:pt x="76" y="19"/>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46" name="Freeform 5668"/>
            <p:cNvSpPr>
              <a:spLocks/>
            </p:cNvSpPr>
            <p:nvPr>
              <p:custDataLst>
                <p:tags r:id="rId26"/>
              </p:custDataLst>
            </p:nvPr>
          </p:nvSpPr>
          <p:spPr bwMode="gray">
            <a:xfrm>
              <a:off x="5389310" y="2547930"/>
              <a:ext cx="19391" cy="7722"/>
            </a:xfrm>
            <a:custGeom>
              <a:avLst/>
              <a:gdLst/>
              <a:ahLst/>
              <a:cxnLst>
                <a:cxn ang="0">
                  <a:pos x="0" y="4"/>
                </a:cxn>
                <a:cxn ang="0">
                  <a:pos x="15" y="6"/>
                </a:cxn>
                <a:cxn ang="0">
                  <a:pos x="12" y="0"/>
                </a:cxn>
                <a:cxn ang="0">
                  <a:pos x="0" y="4"/>
                </a:cxn>
                <a:cxn ang="0">
                  <a:pos x="0" y="4"/>
                </a:cxn>
              </a:cxnLst>
              <a:rect l="0" t="0" r="r" b="b"/>
              <a:pathLst>
                <a:path w="15" h="6">
                  <a:moveTo>
                    <a:pt x="0" y="4"/>
                  </a:moveTo>
                  <a:lnTo>
                    <a:pt x="15" y="6"/>
                  </a:lnTo>
                  <a:lnTo>
                    <a:pt x="12" y="0"/>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47" name="Freeform 5669"/>
            <p:cNvSpPr>
              <a:spLocks/>
            </p:cNvSpPr>
            <p:nvPr>
              <p:custDataLst>
                <p:tags r:id="rId27"/>
              </p:custDataLst>
            </p:nvPr>
          </p:nvSpPr>
          <p:spPr bwMode="gray">
            <a:xfrm>
              <a:off x="5280723" y="2565947"/>
              <a:ext cx="124099" cy="23165"/>
            </a:xfrm>
            <a:custGeom>
              <a:avLst/>
              <a:gdLst/>
              <a:ahLst/>
              <a:cxnLst>
                <a:cxn ang="0">
                  <a:pos x="0" y="0"/>
                </a:cxn>
                <a:cxn ang="0">
                  <a:pos x="15" y="3"/>
                </a:cxn>
                <a:cxn ang="0">
                  <a:pos x="0" y="7"/>
                </a:cxn>
                <a:cxn ang="0">
                  <a:pos x="4" y="11"/>
                </a:cxn>
                <a:cxn ang="0">
                  <a:pos x="36" y="13"/>
                </a:cxn>
                <a:cxn ang="0">
                  <a:pos x="38" y="18"/>
                </a:cxn>
                <a:cxn ang="0">
                  <a:pos x="96" y="11"/>
                </a:cxn>
                <a:cxn ang="0">
                  <a:pos x="81" y="3"/>
                </a:cxn>
                <a:cxn ang="0">
                  <a:pos x="58" y="15"/>
                </a:cxn>
                <a:cxn ang="0">
                  <a:pos x="49" y="13"/>
                </a:cxn>
                <a:cxn ang="0">
                  <a:pos x="58" y="3"/>
                </a:cxn>
                <a:cxn ang="0">
                  <a:pos x="51" y="0"/>
                </a:cxn>
                <a:cxn ang="0">
                  <a:pos x="0" y="0"/>
                </a:cxn>
                <a:cxn ang="0">
                  <a:pos x="0" y="0"/>
                </a:cxn>
              </a:cxnLst>
              <a:rect l="0" t="0" r="r" b="b"/>
              <a:pathLst>
                <a:path w="96" h="18">
                  <a:moveTo>
                    <a:pt x="0" y="0"/>
                  </a:moveTo>
                  <a:lnTo>
                    <a:pt x="15" y="3"/>
                  </a:lnTo>
                  <a:lnTo>
                    <a:pt x="0" y="7"/>
                  </a:lnTo>
                  <a:lnTo>
                    <a:pt x="4" y="11"/>
                  </a:lnTo>
                  <a:lnTo>
                    <a:pt x="36" y="13"/>
                  </a:lnTo>
                  <a:lnTo>
                    <a:pt x="38" y="18"/>
                  </a:lnTo>
                  <a:lnTo>
                    <a:pt x="96" y="11"/>
                  </a:lnTo>
                  <a:lnTo>
                    <a:pt x="81" y="3"/>
                  </a:lnTo>
                  <a:lnTo>
                    <a:pt x="58" y="15"/>
                  </a:lnTo>
                  <a:lnTo>
                    <a:pt x="49" y="13"/>
                  </a:lnTo>
                  <a:lnTo>
                    <a:pt x="58" y="3"/>
                  </a:lnTo>
                  <a:lnTo>
                    <a:pt x="51" y="0"/>
                  </a:lnTo>
                  <a:lnTo>
                    <a:pt x="0" y="0"/>
                  </a:lnTo>
                  <a:lnTo>
                    <a:pt x="0"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48" name="Freeform 5670"/>
            <p:cNvSpPr>
              <a:spLocks/>
            </p:cNvSpPr>
            <p:nvPr>
              <p:custDataLst>
                <p:tags r:id="rId28"/>
              </p:custDataLst>
            </p:nvPr>
          </p:nvSpPr>
          <p:spPr bwMode="gray">
            <a:xfrm>
              <a:off x="5368627" y="2589112"/>
              <a:ext cx="64635" cy="7722"/>
            </a:xfrm>
            <a:custGeom>
              <a:avLst/>
              <a:gdLst/>
              <a:ahLst/>
              <a:cxnLst>
                <a:cxn ang="0">
                  <a:pos x="0" y="2"/>
                </a:cxn>
                <a:cxn ang="0">
                  <a:pos x="35" y="6"/>
                </a:cxn>
                <a:cxn ang="0">
                  <a:pos x="50" y="0"/>
                </a:cxn>
                <a:cxn ang="0">
                  <a:pos x="0" y="2"/>
                </a:cxn>
                <a:cxn ang="0">
                  <a:pos x="0" y="2"/>
                </a:cxn>
              </a:cxnLst>
              <a:rect l="0" t="0" r="r" b="b"/>
              <a:pathLst>
                <a:path w="50" h="6">
                  <a:moveTo>
                    <a:pt x="0" y="2"/>
                  </a:moveTo>
                  <a:lnTo>
                    <a:pt x="35" y="6"/>
                  </a:lnTo>
                  <a:lnTo>
                    <a:pt x="50"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49" name="Freeform 5671"/>
            <p:cNvSpPr>
              <a:spLocks/>
            </p:cNvSpPr>
            <p:nvPr>
              <p:custDataLst>
                <p:tags r:id="rId29"/>
              </p:custDataLst>
            </p:nvPr>
          </p:nvSpPr>
          <p:spPr bwMode="gray">
            <a:xfrm>
              <a:off x="5704729" y="2500313"/>
              <a:ext cx="842841" cy="446570"/>
            </a:xfrm>
            <a:custGeom>
              <a:avLst/>
              <a:gdLst/>
              <a:ahLst/>
              <a:cxnLst>
                <a:cxn ang="0">
                  <a:pos x="24" y="67"/>
                </a:cxn>
                <a:cxn ang="0">
                  <a:pos x="35" y="75"/>
                </a:cxn>
                <a:cxn ang="0">
                  <a:pos x="22" y="84"/>
                </a:cxn>
                <a:cxn ang="0">
                  <a:pos x="19" y="92"/>
                </a:cxn>
                <a:cxn ang="0">
                  <a:pos x="124" y="97"/>
                </a:cxn>
                <a:cxn ang="0">
                  <a:pos x="131" y="114"/>
                </a:cxn>
                <a:cxn ang="0">
                  <a:pos x="131" y="127"/>
                </a:cxn>
                <a:cxn ang="0">
                  <a:pos x="120" y="150"/>
                </a:cxn>
                <a:cxn ang="0">
                  <a:pos x="129" y="161"/>
                </a:cxn>
                <a:cxn ang="0">
                  <a:pos x="140" y="165"/>
                </a:cxn>
                <a:cxn ang="0">
                  <a:pos x="152" y="174"/>
                </a:cxn>
                <a:cxn ang="0">
                  <a:pos x="103" y="187"/>
                </a:cxn>
                <a:cxn ang="0">
                  <a:pos x="146" y="184"/>
                </a:cxn>
                <a:cxn ang="0">
                  <a:pos x="138" y="204"/>
                </a:cxn>
                <a:cxn ang="0">
                  <a:pos x="109" y="212"/>
                </a:cxn>
                <a:cxn ang="0">
                  <a:pos x="95" y="253"/>
                </a:cxn>
                <a:cxn ang="0">
                  <a:pos x="97" y="277"/>
                </a:cxn>
                <a:cxn ang="0">
                  <a:pos x="107" y="320"/>
                </a:cxn>
                <a:cxn ang="0">
                  <a:pos x="142" y="335"/>
                </a:cxn>
                <a:cxn ang="0">
                  <a:pos x="170" y="345"/>
                </a:cxn>
                <a:cxn ang="0">
                  <a:pos x="198" y="300"/>
                </a:cxn>
                <a:cxn ang="0">
                  <a:pos x="238" y="270"/>
                </a:cxn>
                <a:cxn ang="0">
                  <a:pos x="245" y="260"/>
                </a:cxn>
                <a:cxn ang="0">
                  <a:pos x="305" y="245"/>
                </a:cxn>
                <a:cxn ang="0">
                  <a:pos x="434" y="200"/>
                </a:cxn>
                <a:cxn ang="0">
                  <a:pos x="485" y="180"/>
                </a:cxn>
                <a:cxn ang="0">
                  <a:pos x="440" y="180"/>
                </a:cxn>
                <a:cxn ang="0">
                  <a:pos x="455" y="165"/>
                </a:cxn>
                <a:cxn ang="0">
                  <a:pos x="468" y="172"/>
                </a:cxn>
                <a:cxn ang="0">
                  <a:pos x="500" y="161"/>
                </a:cxn>
                <a:cxn ang="0">
                  <a:pos x="500" y="150"/>
                </a:cxn>
                <a:cxn ang="0">
                  <a:pos x="493" y="137"/>
                </a:cxn>
                <a:cxn ang="0">
                  <a:pos x="528" y="124"/>
                </a:cxn>
                <a:cxn ang="0">
                  <a:pos x="541" y="118"/>
                </a:cxn>
                <a:cxn ang="0">
                  <a:pos x="534" y="112"/>
                </a:cxn>
                <a:cxn ang="0">
                  <a:pos x="541" y="92"/>
                </a:cxn>
                <a:cxn ang="0">
                  <a:pos x="530" y="84"/>
                </a:cxn>
                <a:cxn ang="0">
                  <a:pos x="566" y="79"/>
                </a:cxn>
                <a:cxn ang="0">
                  <a:pos x="562" y="60"/>
                </a:cxn>
                <a:cxn ang="0">
                  <a:pos x="607" y="34"/>
                </a:cxn>
                <a:cxn ang="0">
                  <a:pos x="607" y="19"/>
                </a:cxn>
                <a:cxn ang="0">
                  <a:pos x="558" y="19"/>
                </a:cxn>
                <a:cxn ang="0">
                  <a:pos x="519" y="21"/>
                </a:cxn>
                <a:cxn ang="0">
                  <a:pos x="575" y="9"/>
                </a:cxn>
                <a:cxn ang="0">
                  <a:pos x="348" y="4"/>
                </a:cxn>
                <a:cxn ang="0">
                  <a:pos x="238" y="11"/>
                </a:cxn>
                <a:cxn ang="0">
                  <a:pos x="163" y="23"/>
                </a:cxn>
                <a:cxn ang="0">
                  <a:pos x="135" y="26"/>
                </a:cxn>
                <a:cxn ang="0">
                  <a:pos x="109" y="39"/>
                </a:cxn>
                <a:cxn ang="0">
                  <a:pos x="90" y="51"/>
                </a:cxn>
                <a:cxn ang="0">
                  <a:pos x="0" y="64"/>
                </a:cxn>
              </a:cxnLst>
              <a:rect l="0" t="0" r="r" b="b"/>
              <a:pathLst>
                <a:path w="652" h="347">
                  <a:moveTo>
                    <a:pt x="0" y="64"/>
                  </a:moveTo>
                  <a:lnTo>
                    <a:pt x="24" y="67"/>
                  </a:lnTo>
                  <a:lnTo>
                    <a:pt x="22" y="71"/>
                  </a:lnTo>
                  <a:lnTo>
                    <a:pt x="35" y="75"/>
                  </a:lnTo>
                  <a:lnTo>
                    <a:pt x="2" y="79"/>
                  </a:lnTo>
                  <a:lnTo>
                    <a:pt x="22" y="84"/>
                  </a:lnTo>
                  <a:lnTo>
                    <a:pt x="11" y="88"/>
                  </a:lnTo>
                  <a:lnTo>
                    <a:pt x="19" y="92"/>
                  </a:lnTo>
                  <a:lnTo>
                    <a:pt x="94" y="92"/>
                  </a:lnTo>
                  <a:lnTo>
                    <a:pt x="124" y="97"/>
                  </a:lnTo>
                  <a:lnTo>
                    <a:pt x="120" y="103"/>
                  </a:lnTo>
                  <a:lnTo>
                    <a:pt x="131" y="114"/>
                  </a:lnTo>
                  <a:lnTo>
                    <a:pt x="125" y="122"/>
                  </a:lnTo>
                  <a:lnTo>
                    <a:pt x="131" y="127"/>
                  </a:lnTo>
                  <a:lnTo>
                    <a:pt x="120" y="142"/>
                  </a:lnTo>
                  <a:lnTo>
                    <a:pt x="120" y="150"/>
                  </a:lnTo>
                  <a:lnTo>
                    <a:pt x="110" y="156"/>
                  </a:lnTo>
                  <a:lnTo>
                    <a:pt x="129" y="161"/>
                  </a:lnTo>
                  <a:lnTo>
                    <a:pt x="140" y="156"/>
                  </a:lnTo>
                  <a:lnTo>
                    <a:pt x="140" y="165"/>
                  </a:lnTo>
                  <a:lnTo>
                    <a:pt x="152" y="167"/>
                  </a:lnTo>
                  <a:lnTo>
                    <a:pt x="152" y="174"/>
                  </a:lnTo>
                  <a:lnTo>
                    <a:pt x="120" y="169"/>
                  </a:lnTo>
                  <a:lnTo>
                    <a:pt x="103" y="187"/>
                  </a:lnTo>
                  <a:lnTo>
                    <a:pt x="114" y="193"/>
                  </a:lnTo>
                  <a:lnTo>
                    <a:pt x="146" y="184"/>
                  </a:lnTo>
                  <a:lnTo>
                    <a:pt x="148" y="193"/>
                  </a:lnTo>
                  <a:lnTo>
                    <a:pt x="138" y="204"/>
                  </a:lnTo>
                  <a:lnTo>
                    <a:pt x="120" y="204"/>
                  </a:lnTo>
                  <a:lnTo>
                    <a:pt x="109" y="212"/>
                  </a:lnTo>
                  <a:lnTo>
                    <a:pt x="86" y="245"/>
                  </a:lnTo>
                  <a:lnTo>
                    <a:pt x="95" y="253"/>
                  </a:lnTo>
                  <a:lnTo>
                    <a:pt x="92" y="272"/>
                  </a:lnTo>
                  <a:lnTo>
                    <a:pt x="97" y="277"/>
                  </a:lnTo>
                  <a:lnTo>
                    <a:pt x="95" y="285"/>
                  </a:lnTo>
                  <a:lnTo>
                    <a:pt x="107" y="320"/>
                  </a:lnTo>
                  <a:lnTo>
                    <a:pt x="114" y="330"/>
                  </a:lnTo>
                  <a:lnTo>
                    <a:pt x="142" y="335"/>
                  </a:lnTo>
                  <a:lnTo>
                    <a:pt x="161" y="347"/>
                  </a:lnTo>
                  <a:lnTo>
                    <a:pt x="170" y="345"/>
                  </a:lnTo>
                  <a:lnTo>
                    <a:pt x="200" y="311"/>
                  </a:lnTo>
                  <a:lnTo>
                    <a:pt x="198" y="300"/>
                  </a:lnTo>
                  <a:lnTo>
                    <a:pt x="225" y="287"/>
                  </a:lnTo>
                  <a:lnTo>
                    <a:pt x="238" y="270"/>
                  </a:lnTo>
                  <a:lnTo>
                    <a:pt x="234" y="259"/>
                  </a:lnTo>
                  <a:lnTo>
                    <a:pt x="245" y="260"/>
                  </a:lnTo>
                  <a:lnTo>
                    <a:pt x="253" y="253"/>
                  </a:lnTo>
                  <a:lnTo>
                    <a:pt x="305" y="245"/>
                  </a:lnTo>
                  <a:lnTo>
                    <a:pt x="360" y="215"/>
                  </a:lnTo>
                  <a:lnTo>
                    <a:pt x="434" y="200"/>
                  </a:lnTo>
                  <a:lnTo>
                    <a:pt x="476" y="185"/>
                  </a:lnTo>
                  <a:lnTo>
                    <a:pt x="485" y="180"/>
                  </a:lnTo>
                  <a:lnTo>
                    <a:pt x="457" y="176"/>
                  </a:lnTo>
                  <a:lnTo>
                    <a:pt x="440" y="180"/>
                  </a:lnTo>
                  <a:lnTo>
                    <a:pt x="455" y="172"/>
                  </a:lnTo>
                  <a:lnTo>
                    <a:pt x="455" y="165"/>
                  </a:lnTo>
                  <a:lnTo>
                    <a:pt x="466" y="163"/>
                  </a:lnTo>
                  <a:lnTo>
                    <a:pt x="468" y="172"/>
                  </a:lnTo>
                  <a:lnTo>
                    <a:pt x="494" y="174"/>
                  </a:lnTo>
                  <a:lnTo>
                    <a:pt x="500" y="161"/>
                  </a:lnTo>
                  <a:lnTo>
                    <a:pt x="474" y="144"/>
                  </a:lnTo>
                  <a:lnTo>
                    <a:pt x="500" y="150"/>
                  </a:lnTo>
                  <a:lnTo>
                    <a:pt x="504" y="139"/>
                  </a:lnTo>
                  <a:lnTo>
                    <a:pt x="493" y="137"/>
                  </a:lnTo>
                  <a:lnTo>
                    <a:pt x="526" y="129"/>
                  </a:lnTo>
                  <a:lnTo>
                    <a:pt x="528" y="124"/>
                  </a:lnTo>
                  <a:lnTo>
                    <a:pt x="515" y="122"/>
                  </a:lnTo>
                  <a:lnTo>
                    <a:pt x="541" y="118"/>
                  </a:lnTo>
                  <a:lnTo>
                    <a:pt x="549" y="112"/>
                  </a:lnTo>
                  <a:lnTo>
                    <a:pt x="534" y="112"/>
                  </a:lnTo>
                  <a:lnTo>
                    <a:pt x="547" y="97"/>
                  </a:lnTo>
                  <a:lnTo>
                    <a:pt x="541" y="92"/>
                  </a:lnTo>
                  <a:lnTo>
                    <a:pt x="526" y="90"/>
                  </a:lnTo>
                  <a:lnTo>
                    <a:pt x="530" y="84"/>
                  </a:lnTo>
                  <a:lnTo>
                    <a:pt x="562" y="82"/>
                  </a:lnTo>
                  <a:lnTo>
                    <a:pt x="566" y="79"/>
                  </a:lnTo>
                  <a:lnTo>
                    <a:pt x="554" y="67"/>
                  </a:lnTo>
                  <a:lnTo>
                    <a:pt x="562" y="60"/>
                  </a:lnTo>
                  <a:lnTo>
                    <a:pt x="562" y="54"/>
                  </a:lnTo>
                  <a:lnTo>
                    <a:pt x="607" y="34"/>
                  </a:lnTo>
                  <a:lnTo>
                    <a:pt x="652" y="24"/>
                  </a:lnTo>
                  <a:lnTo>
                    <a:pt x="607" y="19"/>
                  </a:lnTo>
                  <a:lnTo>
                    <a:pt x="519" y="28"/>
                  </a:lnTo>
                  <a:lnTo>
                    <a:pt x="558" y="19"/>
                  </a:lnTo>
                  <a:lnTo>
                    <a:pt x="556" y="15"/>
                  </a:lnTo>
                  <a:lnTo>
                    <a:pt x="519" y="21"/>
                  </a:lnTo>
                  <a:lnTo>
                    <a:pt x="521" y="15"/>
                  </a:lnTo>
                  <a:lnTo>
                    <a:pt x="575" y="9"/>
                  </a:lnTo>
                  <a:lnTo>
                    <a:pt x="509" y="0"/>
                  </a:lnTo>
                  <a:lnTo>
                    <a:pt x="348" y="4"/>
                  </a:lnTo>
                  <a:lnTo>
                    <a:pt x="266" y="17"/>
                  </a:lnTo>
                  <a:lnTo>
                    <a:pt x="238" y="11"/>
                  </a:lnTo>
                  <a:lnTo>
                    <a:pt x="159" y="19"/>
                  </a:lnTo>
                  <a:lnTo>
                    <a:pt x="163" y="23"/>
                  </a:lnTo>
                  <a:lnTo>
                    <a:pt x="152" y="26"/>
                  </a:lnTo>
                  <a:lnTo>
                    <a:pt x="135" y="26"/>
                  </a:lnTo>
                  <a:lnTo>
                    <a:pt x="82" y="39"/>
                  </a:lnTo>
                  <a:lnTo>
                    <a:pt x="109" y="39"/>
                  </a:lnTo>
                  <a:lnTo>
                    <a:pt x="109" y="43"/>
                  </a:lnTo>
                  <a:lnTo>
                    <a:pt x="90" y="51"/>
                  </a:lnTo>
                  <a:lnTo>
                    <a:pt x="13" y="58"/>
                  </a:lnTo>
                  <a:lnTo>
                    <a:pt x="0" y="64"/>
                  </a:lnTo>
                  <a:lnTo>
                    <a:pt x="0" y="6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50" name="Freeform 5638"/>
            <p:cNvSpPr>
              <a:spLocks/>
            </p:cNvSpPr>
            <p:nvPr>
              <p:custDataLst>
                <p:tags r:id="rId30"/>
              </p:custDataLst>
            </p:nvPr>
          </p:nvSpPr>
          <p:spPr bwMode="gray">
            <a:xfrm>
              <a:off x="6910820" y="4085539"/>
              <a:ext cx="275345" cy="191755"/>
            </a:xfrm>
            <a:custGeom>
              <a:avLst/>
              <a:gdLst/>
              <a:ahLst/>
              <a:cxnLst>
                <a:cxn ang="0">
                  <a:pos x="3" y="112"/>
                </a:cxn>
                <a:cxn ang="0">
                  <a:pos x="0" y="95"/>
                </a:cxn>
                <a:cxn ang="0">
                  <a:pos x="13" y="63"/>
                </a:cxn>
                <a:cxn ang="0">
                  <a:pos x="13" y="63"/>
                </a:cxn>
                <a:cxn ang="0">
                  <a:pos x="63" y="54"/>
                </a:cxn>
                <a:cxn ang="0">
                  <a:pos x="75" y="43"/>
                </a:cxn>
                <a:cxn ang="0">
                  <a:pos x="71" y="37"/>
                </a:cxn>
                <a:cxn ang="0">
                  <a:pos x="97" y="31"/>
                </a:cxn>
                <a:cxn ang="0">
                  <a:pos x="118" y="3"/>
                </a:cxn>
                <a:cxn ang="0">
                  <a:pos x="135" y="0"/>
                </a:cxn>
                <a:cxn ang="0">
                  <a:pos x="148" y="18"/>
                </a:cxn>
                <a:cxn ang="0">
                  <a:pos x="146" y="37"/>
                </a:cxn>
                <a:cxn ang="0">
                  <a:pos x="170" y="50"/>
                </a:cxn>
                <a:cxn ang="0">
                  <a:pos x="213" y="106"/>
                </a:cxn>
                <a:cxn ang="0">
                  <a:pos x="136" y="112"/>
                </a:cxn>
                <a:cxn ang="0">
                  <a:pos x="129" y="121"/>
                </a:cxn>
                <a:cxn ang="0">
                  <a:pos x="99" y="120"/>
                </a:cxn>
                <a:cxn ang="0">
                  <a:pos x="90" y="106"/>
                </a:cxn>
                <a:cxn ang="0">
                  <a:pos x="82" y="106"/>
                </a:cxn>
                <a:cxn ang="0">
                  <a:pos x="67" y="133"/>
                </a:cxn>
                <a:cxn ang="0">
                  <a:pos x="56" y="138"/>
                </a:cxn>
                <a:cxn ang="0">
                  <a:pos x="47" y="133"/>
                </a:cxn>
                <a:cxn ang="0">
                  <a:pos x="33" y="138"/>
                </a:cxn>
                <a:cxn ang="0">
                  <a:pos x="26" y="149"/>
                </a:cxn>
                <a:cxn ang="0">
                  <a:pos x="3" y="112"/>
                </a:cxn>
                <a:cxn ang="0">
                  <a:pos x="3" y="112"/>
                </a:cxn>
              </a:cxnLst>
              <a:rect l="0" t="0" r="r" b="b"/>
              <a:pathLst>
                <a:path w="213" h="149">
                  <a:moveTo>
                    <a:pt x="3" y="112"/>
                  </a:moveTo>
                  <a:lnTo>
                    <a:pt x="0" y="95"/>
                  </a:lnTo>
                  <a:lnTo>
                    <a:pt x="13" y="63"/>
                  </a:lnTo>
                  <a:lnTo>
                    <a:pt x="13" y="63"/>
                  </a:lnTo>
                  <a:lnTo>
                    <a:pt x="63" y="54"/>
                  </a:lnTo>
                  <a:lnTo>
                    <a:pt x="75" y="43"/>
                  </a:lnTo>
                  <a:lnTo>
                    <a:pt x="71" y="37"/>
                  </a:lnTo>
                  <a:lnTo>
                    <a:pt x="97" y="31"/>
                  </a:lnTo>
                  <a:lnTo>
                    <a:pt x="118" y="3"/>
                  </a:lnTo>
                  <a:lnTo>
                    <a:pt x="135" y="0"/>
                  </a:lnTo>
                  <a:lnTo>
                    <a:pt x="148" y="18"/>
                  </a:lnTo>
                  <a:lnTo>
                    <a:pt x="146" y="37"/>
                  </a:lnTo>
                  <a:lnTo>
                    <a:pt x="170" y="50"/>
                  </a:lnTo>
                  <a:lnTo>
                    <a:pt x="213" y="106"/>
                  </a:lnTo>
                  <a:lnTo>
                    <a:pt x="136" y="112"/>
                  </a:lnTo>
                  <a:lnTo>
                    <a:pt x="129" y="121"/>
                  </a:lnTo>
                  <a:lnTo>
                    <a:pt x="99" y="120"/>
                  </a:lnTo>
                  <a:lnTo>
                    <a:pt x="90" y="106"/>
                  </a:lnTo>
                  <a:lnTo>
                    <a:pt x="82" y="106"/>
                  </a:lnTo>
                  <a:lnTo>
                    <a:pt x="67" y="133"/>
                  </a:lnTo>
                  <a:lnTo>
                    <a:pt x="56" y="138"/>
                  </a:lnTo>
                  <a:lnTo>
                    <a:pt x="47" y="133"/>
                  </a:lnTo>
                  <a:lnTo>
                    <a:pt x="33" y="138"/>
                  </a:lnTo>
                  <a:lnTo>
                    <a:pt x="26" y="149"/>
                  </a:lnTo>
                  <a:lnTo>
                    <a:pt x="3" y="112"/>
                  </a:lnTo>
                  <a:lnTo>
                    <a:pt x="3" y="11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51" name="Freeform 5639"/>
            <p:cNvSpPr>
              <a:spLocks/>
            </p:cNvSpPr>
            <p:nvPr>
              <p:custDataLst>
                <p:tags r:id="rId31"/>
              </p:custDataLst>
            </p:nvPr>
          </p:nvSpPr>
          <p:spPr bwMode="gray">
            <a:xfrm>
              <a:off x="6498448" y="3989018"/>
              <a:ext cx="157710" cy="129982"/>
            </a:xfrm>
            <a:custGeom>
              <a:avLst/>
              <a:gdLst/>
              <a:ahLst/>
              <a:cxnLst>
                <a:cxn ang="0">
                  <a:pos x="116" y="41"/>
                </a:cxn>
                <a:cxn ang="0">
                  <a:pos x="107" y="43"/>
                </a:cxn>
                <a:cxn ang="0">
                  <a:pos x="90" y="17"/>
                </a:cxn>
                <a:cxn ang="0">
                  <a:pos x="88" y="0"/>
                </a:cxn>
                <a:cxn ang="0">
                  <a:pos x="73" y="2"/>
                </a:cxn>
                <a:cxn ang="0">
                  <a:pos x="43" y="26"/>
                </a:cxn>
                <a:cxn ang="0">
                  <a:pos x="25" y="32"/>
                </a:cxn>
                <a:cxn ang="0">
                  <a:pos x="4" y="63"/>
                </a:cxn>
                <a:cxn ang="0">
                  <a:pos x="0" y="86"/>
                </a:cxn>
                <a:cxn ang="0">
                  <a:pos x="6" y="93"/>
                </a:cxn>
                <a:cxn ang="0">
                  <a:pos x="26" y="91"/>
                </a:cxn>
                <a:cxn ang="0">
                  <a:pos x="41" y="101"/>
                </a:cxn>
                <a:cxn ang="0">
                  <a:pos x="38" y="76"/>
                </a:cxn>
                <a:cxn ang="0">
                  <a:pos x="41" y="73"/>
                </a:cxn>
                <a:cxn ang="0">
                  <a:pos x="81" y="71"/>
                </a:cxn>
                <a:cxn ang="0">
                  <a:pos x="98" y="73"/>
                </a:cxn>
                <a:cxn ang="0">
                  <a:pos x="98" y="73"/>
                </a:cxn>
                <a:cxn ang="0">
                  <a:pos x="107" y="63"/>
                </a:cxn>
                <a:cxn ang="0">
                  <a:pos x="116" y="65"/>
                </a:cxn>
                <a:cxn ang="0">
                  <a:pos x="122" y="56"/>
                </a:cxn>
                <a:cxn ang="0">
                  <a:pos x="116" y="41"/>
                </a:cxn>
                <a:cxn ang="0">
                  <a:pos x="116" y="41"/>
                </a:cxn>
              </a:cxnLst>
              <a:rect l="0" t="0" r="r" b="b"/>
              <a:pathLst>
                <a:path w="122" h="101">
                  <a:moveTo>
                    <a:pt x="116" y="41"/>
                  </a:moveTo>
                  <a:lnTo>
                    <a:pt x="107" y="43"/>
                  </a:lnTo>
                  <a:lnTo>
                    <a:pt x="90" y="17"/>
                  </a:lnTo>
                  <a:lnTo>
                    <a:pt x="88" y="0"/>
                  </a:lnTo>
                  <a:lnTo>
                    <a:pt x="73" y="2"/>
                  </a:lnTo>
                  <a:lnTo>
                    <a:pt x="43" y="26"/>
                  </a:lnTo>
                  <a:lnTo>
                    <a:pt x="25" y="32"/>
                  </a:lnTo>
                  <a:lnTo>
                    <a:pt x="4" y="63"/>
                  </a:lnTo>
                  <a:lnTo>
                    <a:pt x="0" y="86"/>
                  </a:lnTo>
                  <a:lnTo>
                    <a:pt x="6" y="93"/>
                  </a:lnTo>
                  <a:lnTo>
                    <a:pt x="26" y="91"/>
                  </a:lnTo>
                  <a:lnTo>
                    <a:pt x="41" y="101"/>
                  </a:lnTo>
                  <a:lnTo>
                    <a:pt x="38" y="76"/>
                  </a:lnTo>
                  <a:lnTo>
                    <a:pt x="41" y="73"/>
                  </a:lnTo>
                  <a:lnTo>
                    <a:pt x="81" y="71"/>
                  </a:lnTo>
                  <a:lnTo>
                    <a:pt x="98" y="73"/>
                  </a:lnTo>
                  <a:lnTo>
                    <a:pt x="98" y="73"/>
                  </a:lnTo>
                  <a:lnTo>
                    <a:pt x="107" y="63"/>
                  </a:lnTo>
                  <a:lnTo>
                    <a:pt x="116" y="65"/>
                  </a:lnTo>
                  <a:lnTo>
                    <a:pt x="122" y="56"/>
                  </a:lnTo>
                  <a:lnTo>
                    <a:pt x="116" y="41"/>
                  </a:lnTo>
                  <a:lnTo>
                    <a:pt x="116" y="4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52" name="Freeform 5640"/>
            <p:cNvSpPr>
              <a:spLocks/>
            </p:cNvSpPr>
            <p:nvPr>
              <p:custDataLst>
                <p:tags r:id="rId32"/>
              </p:custDataLst>
            </p:nvPr>
          </p:nvSpPr>
          <p:spPr bwMode="gray">
            <a:xfrm>
              <a:off x="6612206" y="3785680"/>
              <a:ext cx="327054" cy="280554"/>
            </a:xfrm>
            <a:custGeom>
              <a:avLst/>
              <a:gdLst/>
              <a:ahLst/>
              <a:cxnLst>
                <a:cxn ang="0">
                  <a:pos x="214" y="178"/>
                </a:cxn>
                <a:cxn ang="0">
                  <a:pos x="212" y="169"/>
                </a:cxn>
                <a:cxn ang="0">
                  <a:pos x="244" y="118"/>
                </a:cxn>
                <a:cxn ang="0">
                  <a:pos x="253" y="57"/>
                </a:cxn>
                <a:cxn ang="0">
                  <a:pos x="246" y="51"/>
                </a:cxn>
                <a:cxn ang="0">
                  <a:pos x="238" y="38"/>
                </a:cxn>
                <a:cxn ang="0">
                  <a:pos x="238" y="10"/>
                </a:cxn>
                <a:cxn ang="0">
                  <a:pos x="221" y="2"/>
                </a:cxn>
                <a:cxn ang="0">
                  <a:pos x="188" y="0"/>
                </a:cxn>
                <a:cxn ang="0">
                  <a:pos x="88" y="75"/>
                </a:cxn>
                <a:cxn ang="0">
                  <a:pos x="64" y="81"/>
                </a:cxn>
                <a:cxn ang="0">
                  <a:pos x="64" y="137"/>
                </a:cxn>
                <a:cxn ang="0">
                  <a:pos x="58" y="145"/>
                </a:cxn>
                <a:cxn ang="0">
                  <a:pos x="0" y="158"/>
                </a:cxn>
                <a:cxn ang="0">
                  <a:pos x="2" y="175"/>
                </a:cxn>
                <a:cxn ang="0">
                  <a:pos x="19" y="201"/>
                </a:cxn>
                <a:cxn ang="0">
                  <a:pos x="28" y="199"/>
                </a:cxn>
                <a:cxn ang="0">
                  <a:pos x="34" y="214"/>
                </a:cxn>
                <a:cxn ang="0">
                  <a:pos x="34" y="214"/>
                </a:cxn>
                <a:cxn ang="0">
                  <a:pos x="40" y="208"/>
                </a:cxn>
                <a:cxn ang="0">
                  <a:pos x="49" y="206"/>
                </a:cxn>
                <a:cxn ang="0">
                  <a:pos x="55" y="218"/>
                </a:cxn>
                <a:cxn ang="0">
                  <a:pos x="56" y="201"/>
                </a:cxn>
                <a:cxn ang="0">
                  <a:pos x="71" y="182"/>
                </a:cxn>
                <a:cxn ang="0">
                  <a:pos x="88" y="178"/>
                </a:cxn>
                <a:cxn ang="0">
                  <a:pos x="111" y="195"/>
                </a:cxn>
                <a:cxn ang="0">
                  <a:pos x="122" y="188"/>
                </a:cxn>
                <a:cxn ang="0">
                  <a:pos x="146" y="199"/>
                </a:cxn>
                <a:cxn ang="0">
                  <a:pos x="165" y="188"/>
                </a:cxn>
                <a:cxn ang="0">
                  <a:pos x="195" y="191"/>
                </a:cxn>
                <a:cxn ang="0">
                  <a:pos x="210" y="178"/>
                </a:cxn>
                <a:cxn ang="0">
                  <a:pos x="214" y="178"/>
                </a:cxn>
                <a:cxn ang="0">
                  <a:pos x="214" y="178"/>
                </a:cxn>
              </a:cxnLst>
              <a:rect l="0" t="0" r="r" b="b"/>
              <a:pathLst>
                <a:path w="253" h="218">
                  <a:moveTo>
                    <a:pt x="214" y="178"/>
                  </a:moveTo>
                  <a:lnTo>
                    <a:pt x="212" y="169"/>
                  </a:lnTo>
                  <a:lnTo>
                    <a:pt x="244" y="118"/>
                  </a:lnTo>
                  <a:lnTo>
                    <a:pt x="253" y="57"/>
                  </a:lnTo>
                  <a:lnTo>
                    <a:pt x="246" y="51"/>
                  </a:lnTo>
                  <a:lnTo>
                    <a:pt x="238" y="38"/>
                  </a:lnTo>
                  <a:lnTo>
                    <a:pt x="238" y="10"/>
                  </a:lnTo>
                  <a:lnTo>
                    <a:pt x="221" y="2"/>
                  </a:lnTo>
                  <a:lnTo>
                    <a:pt x="188" y="0"/>
                  </a:lnTo>
                  <a:lnTo>
                    <a:pt x="88" y="75"/>
                  </a:lnTo>
                  <a:lnTo>
                    <a:pt x="64" y="81"/>
                  </a:lnTo>
                  <a:lnTo>
                    <a:pt x="64" y="137"/>
                  </a:lnTo>
                  <a:lnTo>
                    <a:pt x="58" y="145"/>
                  </a:lnTo>
                  <a:lnTo>
                    <a:pt x="0" y="158"/>
                  </a:lnTo>
                  <a:lnTo>
                    <a:pt x="2" y="175"/>
                  </a:lnTo>
                  <a:lnTo>
                    <a:pt x="19" y="201"/>
                  </a:lnTo>
                  <a:lnTo>
                    <a:pt x="28" y="199"/>
                  </a:lnTo>
                  <a:lnTo>
                    <a:pt x="34" y="214"/>
                  </a:lnTo>
                  <a:lnTo>
                    <a:pt x="34" y="214"/>
                  </a:lnTo>
                  <a:lnTo>
                    <a:pt x="40" y="208"/>
                  </a:lnTo>
                  <a:lnTo>
                    <a:pt x="49" y="206"/>
                  </a:lnTo>
                  <a:lnTo>
                    <a:pt x="55" y="218"/>
                  </a:lnTo>
                  <a:lnTo>
                    <a:pt x="56" y="201"/>
                  </a:lnTo>
                  <a:lnTo>
                    <a:pt x="71" y="182"/>
                  </a:lnTo>
                  <a:lnTo>
                    <a:pt x="88" y="178"/>
                  </a:lnTo>
                  <a:lnTo>
                    <a:pt x="111" y="195"/>
                  </a:lnTo>
                  <a:lnTo>
                    <a:pt x="122" y="188"/>
                  </a:lnTo>
                  <a:lnTo>
                    <a:pt x="146" y="199"/>
                  </a:lnTo>
                  <a:lnTo>
                    <a:pt x="165" y="188"/>
                  </a:lnTo>
                  <a:lnTo>
                    <a:pt x="195" y="191"/>
                  </a:lnTo>
                  <a:lnTo>
                    <a:pt x="210" y="178"/>
                  </a:lnTo>
                  <a:lnTo>
                    <a:pt x="214" y="178"/>
                  </a:lnTo>
                  <a:lnTo>
                    <a:pt x="214" y="17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53" name="Freeform 5641"/>
            <p:cNvSpPr>
              <a:spLocks/>
            </p:cNvSpPr>
            <p:nvPr>
              <p:custDataLst>
                <p:tags r:id="rId33"/>
              </p:custDataLst>
            </p:nvPr>
          </p:nvSpPr>
          <p:spPr bwMode="gray">
            <a:xfrm>
              <a:off x="6356251" y="3749646"/>
              <a:ext cx="338688" cy="352623"/>
            </a:xfrm>
            <a:custGeom>
              <a:avLst/>
              <a:gdLst/>
              <a:ahLst/>
              <a:cxnLst>
                <a:cxn ang="0">
                  <a:pos x="198" y="186"/>
                </a:cxn>
                <a:cxn ang="0">
                  <a:pos x="256" y="173"/>
                </a:cxn>
                <a:cxn ang="0">
                  <a:pos x="262" y="165"/>
                </a:cxn>
                <a:cxn ang="0">
                  <a:pos x="262" y="109"/>
                </a:cxn>
                <a:cxn ang="0">
                  <a:pos x="247" y="111"/>
                </a:cxn>
                <a:cxn ang="0">
                  <a:pos x="245" y="94"/>
                </a:cxn>
                <a:cxn ang="0">
                  <a:pos x="225" y="85"/>
                </a:cxn>
                <a:cxn ang="0">
                  <a:pos x="213" y="70"/>
                </a:cxn>
                <a:cxn ang="0">
                  <a:pos x="121" y="0"/>
                </a:cxn>
                <a:cxn ang="0">
                  <a:pos x="93" y="0"/>
                </a:cxn>
                <a:cxn ang="0">
                  <a:pos x="107" y="174"/>
                </a:cxn>
                <a:cxn ang="0">
                  <a:pos x="35" y="174"/>
                </a:cxn>
                <a:cxn ang="0">
                  <a:pos x="22" y="182"/>
                </a:cxn>
                <a:cxn ang="0">
                  <a:pos x="13" y="169"/>
                </a:cxn>
                <a:cxn ang="0">
                  <a:pos x="0" y="189"/>
                </a:cxn>
                <a:cxn ang="0">
                  <a:pos x="11" y="233"/>
                </a:cxn>
                <a:cxn ang="0">
                  <a:pos x="20" y="240"/>
                </a:cxn>
                <a:cxn ang="0">
                  <a:pos x="47" y="231"/>
                </a:cxn>
                <a:cxn ang="0">
                  <a:pos x="65" y="274"/>
                </a:cxn>
                <a:cxn ang="0">
                  <a:pos x="69" y="270"/>
                </a:cxn>
                <a:cxn ang="0">
                  <a:pos x="78" y="274"/>
                </a:cxn>
                <a:cxn ang="0">
                  <a:pos x="92" y="264"/>
                </a:cxn>
                <a:cxn ang="0">
                  <a:pos x="97" y="272"/>
                </a:cxn>
                <a:cxn ang="0">
                  <a:pos x="110" y="272"/>
                </a:cxn>
                <a:cxn ang="0">
                  <a:pos x="114" y="249"/>
                </a:cxn>
                <a:cxn ang="0">
                  <a:pos x="135" y="218"/>
                </a:cxn>
                <a:cxn ang="0">
                  <a:pos x="153" y="212"/>
                </a:cxn>
                <a:cxn ang="0">
                  <a:pos x="183" y="188"/>
                </a:cxn>
                <a:cxn ang="0">
                  <a:pos x="198" y="186"/>
                </a:cxn>
                <a:cxn ang="0">
                  <a:pos x="198" y="186"/>
                </a:cxn>
              </a:cxnLst>
              <a:rect l="0" t="0" r="r" b="b"/>
              <a:pathLst>
                <a:path w="262" h="274">
                  <a:moveTo>
                    <a:pt x="198" y="186"/>
                  </a:moveTo>
                  <a:lnTo>
                    <a:pt x="256" y="173"/>
                  </a:lnTo>
                  <a:lnTo>
                    <a:pt x="262" y="165"/>
                  </a:lnTo>
                  <a:lnTo>
                    <a:pt x="262" y="109"/>
                  </a:lnTo>
                  <a:lnTo>
                    <a:pt x="247" y="111"/>
                  </a:lnTo>
                  <a:lnTo>
                    <a:pt x="245" y="94"/>
                  </a:lnTo>
                  <a:lnTo>
                    <a:pt x="225" y="85"/>
                  </a:lnTo>
                  <a:lnTo>
                    <a:pt x="213" y="70"/>
                  </a:lnTo>
                  <a:lnTo>
                    <a:pt x="121" y="0"/>
                  </a:lnTo>
                  <a:lnTo>
                    <a:pt x="93" y="0"/>
                  </a:lnTo>
                  <a:lnTo>
                    <a:pt x="107" y="174"/>
                  </a:lnTo>
                  <a:lnTo>
                    <a:pt x="35" y="174"/>
                  </a:lnTo>
                  <a:lnTo>
                    <a:pt x="22" y="182"/>
                  </a:lnTo>
                  <a:lnTo>
                    <a:pt x="13" y="169"/>
                  </a:lnTo>
                  <a:lnTo>
                    <a:pt x="0" y="189"/>
                  </a:lnTo>
                  <a:lnTo>
                    <a:pt x="11" y="233"/>
                  </a:lnTo>
                  <a:lnTo>
                    <a:pt x="20" y="240"/>
                  </a:lnTo>
                  <a:lnTo>
                    <a:pt x="47" y="231"/>
                  </a:lnTo>
                  <a:lnTo>
                    <a:pt x="65" y="274"/>
                  </a:lnTo>
                  <a:lnTo>
                    <a:pt x="69" y="270"/>
                  </a:lnTo>
                  <a:lnTo>
                    <a:pt x="78" y="274"/>
                  </a:lnTo>
                  <a:lnTo>
                    <a:pt x="92" y="264"/>
                  </a:lnTo>
                  <a:lnTo>
                    <a:pt x="97" y="272"/>
                  </a:lnTo>
                  <a:lnTo>
                    <a:pt x="110" y="272"/>
                  </a:lnTo>
                  <a:lnTo>
                    <a:pt x="114" y="249"/>
                  </a:lnTo>
                  <a:lnTo>
                    <a:pt x="135" y="218"/>
                  </a:lnTo>
                  <a:lnTo>
                    <a:pt x="153" y="212"/>
                  </a:lnTo>
                  <a:lnTo>
                    <a:pt x="183" y="188"/>
                  </a:lnTo>
                  <a:lnTo>
                    <a:pt x="198" y="186"/>
                  </a:lnTo>
                  <a:lnTo>
                    <a:pt x="198" y="186"/>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54" name="Freeform 5642"/>
            <p:cNvSpPr>
              <a:spLocks/>
            </p:cNvSpPr>
            <p:nvPr>
              <p:custDataLst>
                <p:tags r:id="rId34"/>
              </p:custDataLst>
            </p:nvPr>
          </p:nvSpPr>
          <p:spPr bwMode="gray">
            <a:xfrm>
              <a:off x="7065944" y="3795976"/>
              <a:ext cx="343859" cy="462014"/>
            </a:xfrm>
            <a:custGeom>
              <a:avLst/>
              <a:gdLst/>
              <a:ahLst/>
              <a:cxnLst>
                <a:cxn ang="0">
                  <a:pos x="228" y="328"/>
                </a:cxn>
                <a:cxn ang="0">
                  <a:pos x="215" y="324"/>
                </a:cxn>
                <a:cxn ang="0">
                  <a:pos x="198" y="290"/>
                </a:cxn>
                <a:cxn ang="0">
                  <a:pos x="181" y="281"/>
                </a:cxn>
                <a:cxn ang="0">
                  <a:pos x="187" y="271"/>
                </a:cxn>
                <a:cxn ang="0">
                  <a:pos x="200" y="268"/>
                </a:cxn>
                <a:cxn ang="0">
                  <a:pos x="202" y="234"/>
                </a:cxn>
                <a:cxn ang="0">
                  <a:pos x="230" y="187"/>
                </a:cxn>
                <a:cxn ang="0">
                  <a:pos x="241" y="114"/>
                </a:cxn>
                <a:cxn ang="0">
                  <a:pos x="260" y="103"/>
                </a:cxn>
                <a:cxn ang="0">
                  <a:pos x="266" y="93"/>
                </a:cxn>
                <a:cxn ang="0">
                  <a:pos x="251" y="82"/>
                </a:cxn>
                <a:cxn ang="0">
                  <a:pos x="236" y="19"/>
                </a:cxn>
                <a:cxn ang="0">
                  <a:pos x="219" y="7"/>
                </a:cxn>
                <a:cxn ang="0">
                  <a:pos x="215" y="0"/>
                </a:cxn>
                <a:cxn ang="0">
                  <a:pos x="191" y="22"/>
                </a:cxn>
                <a:cxn ang="0">
                  <a:pos x="178" y="19"/>
                </a:cxn>
                <a:cxn ang="0">
                  <a:pos x="46" y="19"/>
                </a:cxn>
                <a:cxn ang="0">
                  <a:pos x="46" y="19"/>
                </a:cxn>
                <a:cxn ang="0">
                  <a:pos x="46" y="54"/>
                </a:cxn>
                <a:cxn ang="0">
                  <a:pos x="33" y="56"/>
                </a:cxn>
                <a:cxn ang="0">
                  <a:pos x="31" y="67"/>
                </a:cxn>
                <a:cxn ang="0">
                  <a:pos x="33" y="131"/>
                </a:cxn>
                <a:cxn ang="0">
                  <a:pos x="31" y="137"/>
                </a:cxn>
                <a:cxn ang="0">
                  <a:pos x="16" y="137"/>
                </a:cxn>
                <a:cxn ang="0">
                  <a:pos x="0" y="187"/>
                </a:cxn>
                <a:cxn ang="0">
                  <a:pos x="15" y="215"/>
                </a:cxn>
                <a:cxn ang="0">
                  <a:pos x="15" y="225"/>
                </a:cxn>
                <a:cxn ang="0">
                  <a:pos x="28" y="243"/>
                </a:cxn>
                <a:cxn ang="0">
                  <a:pos x="26" y="262"/>
                </a:cxn>
                <a:cxn ang="0">
                  <a:pos x="50" y="275"/>
                </a:cxn>
                <a:cxn ang="0">
                  <a:pos x="93" y="331"/>
                </a:cxn>
                <a:cxn ang="0">
                  <a:pos x="104" y="345"/>
                </a:cxn>
                <a:cxn ang="0">
                  <a:pos x="131" y="343"/>
                </a:cxn>
                <a:cxn ang="0">
                  <a:pos x="148" y="359"/>
                </a:cxn>
                <a:cxn ang="0">
                  <a:pos x="164" y="359"/>
                </a:cxn>
                <a:cxn ang="0">
                  <a:pos x="198" y="352"/>
                </a:cxn>
                <a:cxn ang="0">
                  <a:pos x="206" y="341"/>
                </a:cxn>
                <a:cxn ang="0">
                  <a:pos x="228" y="341"/>
                </a:cxn>
                <a:cxn ang="0">
                  <a:pos x="228" y="328"/>
                </a:cxn>
                <a:cxn ang="0">
                  <a:pos x="228" y="328"/>
                </a:cxn>
              </a:cxnLst>
              <a:rect l="0" t="0" r="r" b="b"/>
              <a:pathLst>
                <a:path w="266" h="359">
                  <a:moveTo>
                    <a:pt x="228" y="328"/>
                  </a:moveTo>
                  <a:lnTo>
                    <a:pt x="215" y="324"/>
                  </a:lnTo>
                  <a:lnTo>
                    <a:pt x="198" y="290"/>
                  </a:lnTo>
                  <a:lnTo>
                    <a:pt x="181" y="281"/>
                  </a:lnTo>
                  <a:lnTo>
                    <a:pt x="187" y="271"/>
                  </a:lnTo>
                  <a:lnTo>
                    <a:pt x="200" y="268"/>
                  </a:lnTo>
                  <a:lnTo>
                    <a:pt x="202" y="234"/>
                  </a:lnTo>
                  <a:lnTo>
                    <a:pt x="230" y="187"/>
                  </a:lnTo>
                  <a:lnTo>
                    <a:pt x="241" y="114"/>
                  </a:lnTo>
                  <a:lnTo>
                    <a:pt x="260" y="103"/>
                  </a:lnTo>
                  <a:lnTo>
                    <a:pt x="266" y="93"/>
                  </a:lnTo>
                  <a:lnTo>
                    <a:pt x="251" y="82"/>
                  </a:lnTo>
                  <a:lnTo>
                    <a:pt x="236" y="19"/>
                  </a:lnTo>
                  <a:lnTo>
                    <a:pt x="219" y="7"/>
                  </a:lnTo>
                  <a:lnTo>
                    <a:pt x="215" y="0"/>
                  </a:lnTo>
                  <a:lnTo>
                    <a:pt x="191" y="22"/>
                  </a:lnTo>
                  <a:lnTo>
                    <a:pt x="178" y="19"/>
                  </a:lnTo>
                  <a:lnTo>
                    <a:pt x="46" y="19"/>
                  </a:lnTo>
                  <a:lnTo>
                    <a:pt x="46" y="19"/>
                  </a:lnTo>
                  <a:lnTo>
                    <a:pt x="46" y="54"/>
                  </a:lnTo>
                  <a:lnTo>
                    <a:pt x="33" y="56"/>
                  </a:lnTo>
                  <a:lnTo>
                    <a:pt x="31" y="67"/>
                  </a:lnTo>
                  <a:lnTo>
                    <a:pt x="33" y="131"/>
                  </a:lnTo>
                  <a:lnTo>
                    <a:pt x="31" y="137"/>
                  </a:lnTo>
                  <a:lnTo>
                    <a:pt x="16" y="137"/>
                  </a:lnTo>
                  <a:lnTo>
                    <a:pt x="0" y="187"/>
                  </a:lnTo>
                  <a:lnTo>
                    <a:pt x="15" y="215"/>
                  </a:lnTo>
                  <a:lnTo>
                    <a:pt x="15" y="225"/>
                  </a:lnTo>
                  <a:lnTo>
                    <a:pt x="28" y="243"/>
                  </a:lnTo>
                  <a:lnTo>
                    <a:pt x="26" y="262"/>
                  </a:lnTo>
                  <a:lnTo>
                    <a:pt x="50" y="275"/>
                  </a:lnTo>
                  <a:lnTo>
                    <a:pt x="93" y="331"/>
                  </a:lnTo>
                  <a:lnTo>
                    <a:pt x="104" y="345"/>
                  </a:lnTo>
                  <a:lnTo>
                    <a:pt x="131" y="343"/>
                  </a:lnTo>
                  <a:lnTo>
                    <a:pt x="148" y="359"/>
                  </a:lnTo>
                  <a:lnTo>
                    <a:pt x="164" y="359"/>
                  </a:lnTo>
                  <a:lnTo>
                    <a:pt x="198" y="352"/>
                  </a:lnTo>
                  <a:lnTo>
                    <a:pt x="206" y="341"/>
                  </a:lnTo>
                  <a:lnTo>
                    <a:pt x="228" y="341"/>
                  </a:lnTo>
                  <a:lnTo>
                    <a:pt x="228" y="328"/>
                  </a:lnTo>
                  <a:lnTo>
                    <a:pt x="228" y="32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55" name="Freeform 5643"/>
            <p:cNvSpPr>
              <a:spLocks/>
            </p:cNvSpPr>
            <p:nvPr>
              <p:custDataLst>
                <p:tags r:id="rId35"/>
              </p:custDataLst>
            </p:nvPr>
          </p:nvSpPr>
          <p:spPr bwMode="gray">
            <a:xfrm>
              <a:off x="6886258" y="3793402"/>
              <a:ext cx="222345" cy="373214"/>
            </a:xfrm>
            <a:custGeom>
              <a:avLst/>
              <a:gdLst/>
              <a:ahLst/>
              <a:cxnLst>
                <a:cxn ang="0">
                  <a:pos x="26" y="32"/>
                </a:cxn>
                <a:cxn ang="0">
                  <a:pos x="34" y="45"/>
                </a:cxn>
                <a:cxn ang="0">
                  <a:pos x="41" y="51"/>
                </a:cxn>
                <a:cxn ang="0">
                  <a:pos x="32" y="112"/>
                </a:cxn>
                <a:cxn ang="0">
                  <a:pos x="0" y="163"/>
                </a:cxn>
                <a:cxn ang="0">
                  <a:pos x="2" y="172"/>
                </a:cxn>
                <a:cxn ang="0">
                  <a:pos x="11" y="185"/>
                </a:cxn>
                <a:cxn ang="0">
                  <a:pos x="19" y="191"/>
                </a:cxn>
                <a:cxn ang="0">
                  <a:pos x="19" y="191"/>
                </a:cxn>
                <a:cxn ang="0">
                  <a:pos x="24" y="225"/>
                </a:cxn>
                <a:cxn ang="0">
                  <a:pos x="32" y="240"/>
                </a:cxn>
                <a:cxn ang="0">
                  <a:pos x="17" y="243"/>
                </a:cxn>
                <a:cxn ang="0">
                  <a:pos x="11" y="255"/>
                </a:cxn>
                <a:cxn ang="0">
                  <a:pos x="26" y="268"/>
                </a:cxn>
                <a:cxn ang="0">
                  <a:pos x="32" y="290"/>
                </a:cxn>
                <a:cxn ang="0">
                  <a:pos x="82" y="281"/>
                </a:cxn>
                <a:cxn ang="0">
                  <a:pos x="94" y="270"/>
                </a:cxn>
                <a:cxn ang="0">
                  <a:pos x="90" y="264"/>
                </a:cxn>
                <a:cxn ang="0">
                  <a:pos x="116" y="258"/>
                </a:cxn>
                <a:cxn ang="0">
                  <a:pos x="137" y="230"/>
                </a:cxn>
                <a:cxn ang="0">
                  <a:pos x="154" y="227"/>
                </a:cxn>
                <a:cxn ang="0">
                  <a:pos x="154" y="217"/>
                </a:cxn>
                <a:cxn ang="0">
                  <a:pos x="139" y="189"/>
                </a:cxn>
                <a:cxn ang="0">
                  <a:pos x="155" y="139"/>
                </a:cxn>
                <a:cxn ang="0">
                  <a:pos x="170" y="139"/>
                </a:cxn>
                <a:cxn ang="0">
                  <a:pos x="172" y="133"/>
                </a:cxn>
                <a:cxn ang="0">
                  <a:pos x="170" y="69"/>
                </a:cxn>
                <a:cxn ang="0">
                  <a:pos x="49" y="0"/>
                </a:cxn>
                <a:cxn ang="0">
                  <a:pos x="26" y="4"/>
                </a:cxn>
                <a:cxn ang="0">
                  <a:pos x="26" y="32"/>
                </a:cxn>
                <a:cxn ang="0">
                  <a:pos x="26" y="32"/>
                </a:cxn>
              </a:cxnLst>
              <a:rect l="0" t="0" r="r" b="b"/>
              <a:pathLst>
                <a:path w="172" h="290">
                  <a:moveTo>
                    <a:pt x="26" y="32"/>
                  </a:moveTo>
                  <a:lnTo>
                    <a:pt x="34" y="45"/>
                  </a:lnTo>
                  <a:lnTo>
                    <a:pt x="41" y="51"/>
                  </a:lnTo>
                  <a:lnTo>
                    <a:pt x="32" y="112"/>
                  </a:lnTo>
                  <a:lnTo>
                    <a:pt x="0" y="163"/>
                  </a:lnTo>
                  <a:lnTo>
                    <a:pt x="2" y="172"/>
                  </a:lnTo>
                  <a:lnTo>
                    <a:pt x="11" y="185"/>
                  </a:lnTo>
                  <a:lnTo>
                    <a:pt x="19" y="191"/>
                  </a:lnTo>
                  <a:lnTo>
                    <a:pt x="19" y="191"/>
                  </a:lnTo>
                  <a:lnTo>
                    <a:pt x="24" y="225"/>
                  </a:lnTo>
                  <a:lnTo>
                    <a:pt x="32" y="240"/>
                  </a:lnTo>
                  <a:lnTo>
                    <a:pt x="17" y="243"/>
                  </a:lnTo>
                  <a:lnTo>
                    <a:pt x="11" y="255"/>
                  </a:lnTo>
                  <a:lnTo>
                    <a:pt x="26" y="268"/>
                  </a:lnTo>
                  <a:lnTo>
                    <a:pt x="32" y="290"/>
                  </a:lnTo>
                  <a:lnTo>
                    <a:pt x="82" y="281"/>
                  </a:lnTo>
                  <a:lnTo>
                    <a:pt x="94" y="270"/>
                  </a:lnTo>
                  <a:lnTo>
                    <a:pt x="90" y="264"/>
                  </a:lnTo>
                  <a:lnTo>
                    <a:pt x="116" y="258"/>
                  </a:lnTo>
                  <a:lnTo>
                    <a:pt x="137" y="230"/>
                  </a:lnTo>
                  <a:lnTo>
                    <a:pt x="154" y="227"/>
                  </a:lnTo>
                  <a:lnTo>
                    <a:pt x="154" y="217"/>
                  </a:lnTo>
                  <a:lnTo>
                    <a:pt x="139" y="189"/>
                  </a:lnTo>
                  <a:lnTo>
                    <a:pt x="155" y="139"/>
                  </a:lnTo>
                  <a:lnTo>
                    <a:pt x="170" y="139"/>
                  </a:lnTo>
                  <a:lnTo>
                    <a:pt x="172" y="133"/>
                  </a:lnTo>
                  <a:lnTo>
                    <a:pt x="170" y="69"/>
                  </a:lnTo>
                  <a:lnTo>
                    <a:pt x="49" y="0"/>
                  </a:lnTo>
                  <a:lnTo>
                    <a:pt x="26" y="4"/>
                  </a:lnTo>
                  <a:lnTo>
                    <a:pt x="26" y="32"/>
                  </a:lnTo>
                  <a:lnTo>
                    <a:pt x="26" y="3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56" name="Freeform 5644"/>
            <p:cNvSpPr>
              <a:spLocks/>
            </p:cNvSpPr>
            <p:nvPr>
              <p:custDataLst>
                <p:tags r:id="rId36"/>
              </p:custDataLst>
            </p:nvPr>
          </p:nvSpPr>
          <p:spPr bwMode="gray">
            <a:xfrm>
              <a:off x="7493828" y="3925957"/>
              <a:ext cx="218467" cy="115825"/>
            </a:xfrm>
            <a:custGeom>
              <a:avLst/>
              <a:gdLst/>
              <a:ahLst/>
              <a:cxnLst>
                <a:cxn ang="0">
                  <a:pos x="2" y="22"/>
                </a:cxn>
                <a:cxn ang="0">
                  <a:pos x="17" y="11"/>
                </a:cxn>
                <a:cxn ang="0">
                  <a:pos x="51" y="51"/>
                </a:cxn>
                <a:cxn ang="0">
                  <a:pos x="107" y="9"/>
                </a:cxn>
                <a:cxn ang="0">
                  <a:pos x="159" y="0"/>
                </a:cxn>
                <a:cxn ang="0">
                  <a:pos x="169" y="19"/>
                </a:cxn>
                <a:cxn ang="0">
                  <a:pos x="167" y="21"/>
                </a:cxn>
                <a:cxn ang="0">
                  <a:pos x="159" y="26"/>
                </a:cxn>
                <a:cxn ang="0">
                  <a:pos x="156" y="37"/>
                </a:cxn>
                <a:cxn ang="0">
                  <a:pos x="116" y="54"/>
                </a:cxn>
                <a:cxn ang="0">
                  <a:pos x="75" y="81"/>
                </a:cxn>
                <a:cxn ang="0">
                  <a:pos x="53" y="81"/>
                </a:cxn>
                <a:cxn ang="0">
                  <a:pos x="41" y="88"/>
                </a:cxn>
                <a:cxn ang="0">
                  <a:pos x="17" y="90"/>
                </a:cxn>
                <a:cxn ang="0">
                  <a:pos x="0" y="24"/>
                </a:cxn>
                <a:cxn ang="0">
                  <a:pos x="2" y="22"/>
                </a:cxn>
                <a:cxn ang="0">
                  <a:pos x="2" y="22"/>
                </a:cxn>
              </a:cxnLst>
              <a:rect l="0" t="0" r="r" b="b"/>
              <a:pathLst>
                <a:path w="169" h="90">
                  <a:moveTo>
                    <a:pt x="2" y="22"/>
                  </a:moveTo>
                  <a:lnTo>
                    <a:pt x="17" y="11"/>
                  </a:lnTo>
                  <a:lnTo>
                    <a:pt x="51" y="51"/>
                  </a:lnTo>
                  <a:lnTo>
                    <a:pt x="107" y="9"/>
                  </a:lnTo>
                  <a:lnTo>
                    <a:pt x="159" y="0"/>
                  </a:lnTo>
                  <a:lnTo>
                    <a:pt x="169" y="19"/>
                  </a:lnTo>
                  <a:lnTo>
                    <a:pt x="167" y="21"/>
                  </a:lnTo>
                  <a:lnTo>
                    <a:pt x="159" y="26"/>
                  </a:lnTo>
                  <a:lnTo>
                    <a:pt x="156" y="37"/>
                  </a:lnTo>
                  <a:lnTo>
                    <a:pt x="116" y="54"/>
                  </a:lnTo>
                  <a:lnTo>
                    <a:pt x="75" y="81"/>
                  </a:lnTo>
                  <a:lnTo>
                    <a:pt x="53" y="81"/>
                  </a:lnTo>
                  <a:lnTo>
                    <a:pt x="41" y="88"/>
                  </a:lnTo>
                  <a:lnTo>
                    <a:pt x="17" y="90"/>
                  </a:lnTo>
                  <a:lnTo>
                    <a:pt x="0" y="24"/>
                  </a:lnTo>
                  <a:lnTo>
                    <a:pt x="2" y="22"/>
                  </a:lnTo>
                  <a:lnTo>
                    <a:pt x="2" y="2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57" name="Freeform 5652"/>
            <p:cNvSpPr>
              <a:spLocks/>
            </p:cNvSpPr>
            <p:nvPr>
              <p:custDataLst>
                <p:tags r:id="rId37"/>
              </p:custDataLst>
            </p:nvPr>
          </p:nvSpPr>
          <p:spPr bwMode="gray">
            <a:xfrm>
              <a:off x="6596807" y="4080391"/>
              <a:ext cx="43952" cy="118399"/>
            </a:xfrm>
            <a:custGeom>
              <a:avLst/>
              <a:gdLst/>
              <a:ahLst/>
              <a:cxnLst>
                <a:cxn ang="0">
                  <a:pos x="15" y="79"/>
                </a:cxn>
                <a:cxn ang="0">
                  <a:pos x="11" y="37"/>
                </a:cxn>
                <a:cxn ang="0">
                  <a:pos x="0" y="0"/>
                </a:cxn>
                <a:cxn ang="0">
                  <a:pos x="17" y="2"/>
                </a:cxn>
                <a:cxn ang="0">
                  <a:pos x="15" y="13"/>
                </a:cxn>
                <a:cxn ang="0">
                  <a:pos x="26" y="24"/>
                </a:cxn>
                <a:cxn ang="0">
                  <a:pos x="32" y="47"/>
                </a:cxn>
                <a:cxn ang="0">
                  <a:pos x="34" y="90"/>
                </a:cxn>
                <a:cxn ang="0">
                  <a:pos x="22" y="92"/>
                </a:cxn>
                <a:cxn ang="0">
                  <a:pos x="15" y="79"/>
                </a:cxn>
                <a:cxn ang="0">
                  <a:pos x="15" y="79"/>
                </a:cxn>
              </a:cxnLst>
              <a:rect l="0" t="0" r="r" b="b"/>
              <a:pathLst>
                <a:path w="34" h="92">
                  <a:moveTo>
                    <a:pt x="15" y="79"/>
                  </a:moveTo>
                  <a:lnTo>
                    <a:pt x="11" y="37"/>
                  </a:lnTo>
                  <a:lnTo>
                    <a:pt x="0" y="0"/>
                  </a:lnTo>
                  <a:lnTo>
                    <a:pt x="17" y="2"/>
                  </a:lnTo>
                  <a:lnTo>
                    <a:pt x="15" y="13"/>
                  </a:lnTo>
                  <a:lnTo>
                    <a:pt x="26" y="24"/>
                  </a:lnTo>
                  <a:lnTo>
                    <a:pt x="32" y="47"/>
                  </a:lnTo>
                  <a:lnTo>
                    <a:pt x="34" y="90"/>
                  </a:lnTo>
                  <a:lnTo>
                    <a:pt x="22" y="92"/>
                  </a:lnTo>
                  <a:lnTo>
                    <a:pt x="15" y="79"/>
                  </a:lnTo>
                  <a:lnTo>
                    <a:pt x="15" y="7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58" name="Freeform 5653"/>
            <p:cNvSpPr>
              <a:spLocks/>
            </p:cNvSpPr>
            <p:nvPr>
              <p:custDataLst>
                <p:tags r:id="rId38"/>
              </p:custDataLst>
            </p:nvPr>
          </p:nvSpPr>
          <p:spPr bwMode="gray">
            <a:xfrm>
              <a:off x="6622547" y="4050791"/>
              <a:ext cx="62050" cy="145425"/>
            </a:xfrm>
            <a:custGeom>
              <a:avLst/>
              <a:gdLst/>
              <a:ahLst/>
              <a:cxnLst>
                <a:cxn ang="0">
                  <a:pos x="17" y="70"/>
                </a:cxn>
                <a:cxn ang="0">
                  <a:pos x="11" y="47"/>
                </a:cxn>
                <a:cxn ang="0">
                  <a:pos x="0" y="36"/>
                </a:cxn>
                <a:cxn ang="0">
                  <a:pos x="2" y="25"/>
                </a:cxn>
                <a:cxn ang="0">
                  <a:pos x="11" y="15"/>
                </a:cxn>
                <a:cxn ang="0">
                  <a:pos x="20" y="17"/>
                </a:cxn>
                <a:cxn ang="0">
                  <a:pos x="26" y="8"/>
                </a:cxn>
                <a:cxn ang="0">
                  <a:pos x="32" y="2"/>
                </a:cxn>
                <a:cxn ang="0">
                  <a:pos x="41" y="0"/>
                </a:cxn>
                <a:cxn ang="0">
                  <a:pos x="47" y="12"/>
                </a:cxn>
                <a:cxn ang="0">
                  <a:pos x="48" y="32"/>
                </a:cxn>
                <a:cxn ang="0">
                  <a:pos x="34" y="72"/>
                </a:cxn>
                <a:cxn ang="0">
                  <a:pos x="32" y="111"/>
                </a:cxn>
                <a:cxn ang="0">
                  <a:pos x="19" y="113"/>
                </a:cxn>
                <a:cxn ang="0">
                  <a:pos x="17" y="70"/>
                </a:cxn>
                <a:cxn ang="0">
                  <a:pos x="17" y="70"/>
                </a:cxn>
              </a:cxnLst>
              <a:rect l="0" t="0" r="r" b="b"/>
              <a:pathLst>
                <a:path w="48" h="113">
                  <a:moveTo>
                    <a:pt x="17" y="70"/>
                  </a:moveTo>
                  <a:lnTo>
                    <a:pt x="11" y="47"/>
                  </a:lnTo>
                  <a:lnTo>
                    <a:pt x="0" y="36"/>
                  </a:lnTo>
                  <a:lnTo>
                    <a:pt x="2" y="25"/>
                  </a:lnTo>
                  <a:lnTo>
                    <a:pt x="11" y="15"/>
                  </a:lnTo>
                  <a:lnTo>
                    <a:pt x="20" y="17"/>
                  </a:lnTo>
                  <a:lnTo>
                    <a:pt x="26" y="8"/>
                  </a:lnTo>
                  <a:lnTo>
                    <a:pt x="32" y="2"/>
                  </a:lnTo>
                  <a:lnTo>
                    <a:pt x="41" y="0"/>
                  </a:lnTo>
                  <a:lnTo>
                    <a:pt x="47" y="12"/>
                  </a:lnTo>
                  <a:lnTo>
                    <a:pt x="48" y="32"/>
                  </a:lnTo>
                  <a:lnTo>
                    <a:pt x="34" y="72"/>
                  </a:lnTo>
                  <a:lnTo>
                    <a:pt x="32" y="111"/>
                  </a:lnTo>
                  <a:lnTo>
                    <a:pt x="19" y="113"/>
                  </a:lnTo>
                  <a:lnTo>
                    <a:pt x="17" y="70"/>
                  </a:lnTo>
                  <a:lnTo>
                    <a:pt x="17" y="7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59" name="Freeform 5654"/>
            <p:cNvSpPr>
              <a:spLocks/>
            </p:cNvSpPr>
            <p:nvPr>
              <p:custDataLst>
                <p:tags r:id="rId39"/>
              </p:custDataLst>
            </p:nvPr>
          </p:nvSpPr>
          <p:spPr bwMode="gray">
            <a:xfrm>
              <a:off x="6365300" y="4143451"/>
              <a:ext cx="85318" cy="97808"/>
            </a:xfrm>
            <a:custGeom>
              <a:avLst/>
              <a:gdLst/>
              <a:ahLst/>
              <a:cxnLst>
                <a:cxn ang="0">
                  <a:pos x="49" y="16"/>
                </a:cxn>
                <a:cxn ang="0">
                  <a:pos x="51" y="37"/>
                </a:cxn>
                <a:cxn ang="0">
                  <a:pos x="66" y="52"/>
                </a:cxn>
                <a:cxn ang="0">
                  <a:pos x="64" y="76"/>
                </a:cxn>
                <a:cxn ang="0">
                  <a:pos x="51" y="75"/>
                </a:cxn>
                <a:cxn ang="0">
                  <a:pos x="0" y="30"/>
                </a:cxn>
                <a:cxn ang="0">
                  <a:pos x="0" y="28"/>
                </a:cxn>
                <a:cxn ang="0">
                  <a:pos x="19" y="1"/>
                </a:cxn>
                <a:cxn ang="0">
                  <a:pos x="30" y="0"/>
                </a:cxn>
                <a:cxn ang="0">
                  <a:pos x="40" y="22"/>
                </a:cxn>
                <a:cxn ang="0">
                  <a:pos x="49" y="16"/>
                </a:cxn>
                <a:cxn ang="0">
                  <a:pos x="49" y="16"/>
                </a:cxn>
              </a:cxnLst>
              <a:rect l="0" t="0" r="r" b="b"/>
              <a:pathLst>
                <a:path w="66" h="76">
                  <a:moveTo>
                    <a:pt x="49" y="16"/>
                  </a:moveTo>
                  <a:lnTo>
                    <a:pt x="51" y="37"/>
                  </a:lnTo>
                  <a:lnTo>
                    <a:pt x="66" y="52"/>
                  </a:lnTo>
                  <a:lnTo>
                    <a:pt x="64" y="76"/>
                  </a:lnTo>
                  <a:lnTo>
                    <a:pt x="51" y="75"/>
                  </a:lnTo>
                  <a:lnTo>
                    <a:pt x="0" y="30"/>
                  </a:lnTo>
                  <a:lnTo>
                    <a:pt x="0" y="28"/>
                  </a:lnTo>
                  <a:lnTo>
                    <a:pt x="19" y="1"/>
                  </a:lnTo>
                  <a:lnTo>
                    <a:pt x="30" y="0"/>
                  </a:lnTo>
                  <a:lnTo>
                    <a:pt x="40" y="22"/>
                  </a:lnTo>
                  <a:lnTo>
                    <a:pt x="49" y="16"/>
                  </a:lnTo>
                  <a:lnTo>
                    <a:pt x="49" y="16"/>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60" name="Freeform 5655"/>
            <p:cNvSpPr>
              <a:spLocks/>
            </p:cNvSpPr>
            <p:nvPr>
              <p:custDataLst>
                <p:tags r:id="rId40"/>
              </p:custDataLst>
            </p:nvPr>
          </p:nvSpPr>
          <p:spPr bwMode="gray">
            <a:xfrm>
              <a:off x="6259298" y="3696881"/>
              <a:ext cx="253370" cy="295998"/>
            </a:xfrm>
            <a:custGeom>
              <a:avLst/>
              <a:gdLst/>
              <a:ahLst/>
              <a:cxnLst>
                <a:cxn ang="0">
                  <a:pos x="75" y="230"/>
                </a:cxn>
                <a:cxn ang="0">
                  <a:pos x="56" y="208"/>
                </a:cxn>
                <a:cxn ang="0">
                  <a:pos x="35" y="195"/>
                </a:cxn>
                <a:cxn ang="0">
                  <a:pos x="19" y="199"/>
                </a:cxn>
                <a:cxn ang="0">
                  <a:pos x="7" y="210"/>
                </a:cxn>
                <a:cxn ang="0">
                  <a:pos x="13" y="170"/>
                </a:cxn>
                <a:cxn ang="0">
                  <a:pos x="7" y="144"/>
                </a:cxn>
                <a:cxn ang="0">
                  <a:pos x="13" y="129"/>
                </a:cxn>
                <a:cxn ang="0">
                  <a:pos x="0" y="114"/>
                </a:cxn>
                <a:cxn ang="0">
                  <a:pos x="11" y="109"/>
                </a:cxn>
                <a:cxn ang="0">
                  <a:pos x="67" y="107"/>
                </a:cxn>
                <a:cxn ang="0">
                  <a:pos x="65" y="79"/>
                </a:cxn>
                <a:cxn ang="0">
                  <a:pos x="84" y="66"/>
                </a:cxn>
                <a:cxn ang="0">
                  <a:pos x="88" y="22"/>
                </a:cxn>
                <a:cxn ang="0">
                  <a:pos x="138" y="22"/>
                </a:cxn>
                <a:cxn ang="0">
                  <a:pos x="140" y="0"/>
                </a:cxn>
                <a:cxn ang="0">
                  <a:pos x="196" y="41"/>
                </a:cxn>
                <a:cxn ang="0">
                  <a:pos x="196" y="41"/>
                </a:cxn>
                <a:cxn ang="0">
                  <a:pos x="168" y="41"/>
                </a:cxn>
                <a:cxn ang="0">
                  <a:pos x="182" y="215"/>
                </a:cxn>
                <a:cxn ang="0">
                  <a:pos x="110" y="215"/>
                </a:cxn>
                <a:cxn ang="0">
                  <a:pos x="97" y="223"/>
                </a:cxn>
                <a:cxn ang="0">
                  <a:pos x="88" y="210"/>
                </a:cxn>
                <a:cxn ang="0">
                  <a:pos x="75" y="230"/>
                </a:cxn>
                <a:cxn ang="0">
                  <a:pos x="75" y="230"/>
                </a:cxn>
              </a:cxnLst>
              <a:rect l="0" t="0" r="r" b="b"/>
              <a:pathLst>
                <a:path w="196" h="230">
                  <a:moveTo>
                    <a:pt x="75" y="230"/>
                  </a:moveTo>
                  <a:lnTo>
                    <a:pt x="56" y="208"/>
                  </a:lnTo>
                  <a:lnTo>
                    <a:pt x="35" y="195"/>
                  </a:lnTo>
                  <a:lnTo>
                    <a:pt x="19" y="199"/>
                  </a:lnTo>
                  <a:lnTo>
                    <a:pt x="7" y="210"/>
                  </a:lnTo>
                  <a:lnTo>
                    <a:pt x="13" y="170"/>
                  </a:lnTo>
                  <a:lnTo>
                    <a:pt x="7" y="144"/>
                  </a:lnTo>
                  <a:lnTo>
                    <a:pt x="13" y="129"/>
                  </a:lnTo>
                  <a:lnTo>
                    <a:pt x="0" y="114"/>
                  </a:lnTo>
                  <a:lnTo>
                    <a:pt x="11" y="109"/>
                  </a:lnTo>
                  <a:lnTo>
                    <a:pt x="67" y="107"/>
                  </a:lnTo>
                  <a:lnTo>
                    <a:pt x="65" y="79"/>
                  </a:lnTo>
                  <a:lnTo>
                    <a:pt x="84" y="66"/>
                  </a:lnTo>
                  <a:lnTo>
                    <a:pt x="88" y="22"/>
                  </a:lnTo>
                  <a:lnTo>
                    <a:pt x="138" y="22"/>
                  </a:lnTo>
                  <a:lnTo>
                    <a:pt x="140" y="0"/>
                  </a:lnTo>
                  <a:lnTo>
                    <a:pt x="196" y="41"/>
                  </a:lnTo>
                  <a:lnTo>
                    <a:pt x="196" y="41"/>
                  </a:lnTo>
                  <a:lnTo>
                    <a:pt x="168" y="41"/>
                  </a:lnTo>
                  <a:lnTo>
                    <a:pt x="182" y="215"/>
                  </a:lnTo>
                  <a:lnTo>
                    <a:pt x="110" y="215"/>
                  </a:lnTo>
                  <a:lnTo>
                    <a:pt x="97" y="223"/>
                  </a:lnTo>
                  <a:lnTo>
                    <a:pt x="88" y="210"/>
                  </a:lnTo>
                  <a:lnTo>
                    <a:pt x="75" y="230"/>
                  </a:lnTo>
                  <a:lnTo>
                    <a:pt x="75" y="23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61" name="Freeform 5656"/>
            <p:cNvSpPr>
              <a:spLocks/>
            </p:cNvSpPr>
            <p:nvPr>
              <p:custDataLst>
                <p:tags r:id="rId41"/>
              </p:custDataLst>
            </p:nvPr>
          </p:nvSpPr>
          <p:spPr bwMode="gray">
            <a:xfrm>
              <a:off x="6259298" y="3686585"/>
              <a:ext cx="180978" cy="157007"/>
            </a:xfrm>
            <a:custGeom>
              <a:avLst/>
              <a:gdLst/>
              <a:ahLst/>
              <a:cxnLst>
                <a:cxn ang="0">
                  <a:pos x="140" y="0"/>
                </a:cxn>
                <a:cxn ang="0">
                  <a:pos x="140" y="8"/>
                </a:cxn>
                <a:cxn ang="0">
                  <a:pos x="140" y="8"/>
                </a:cxn>
                <a:cxn ang="0">
                  <a:pos x="138" y="30"/>
                </a:cxn>
                <a:cxn ang="0">
                  <a:pos x="88" y="30"/>
                </a:cxn>
                <a:cxn ang="0">
                  <a:pos x="84" y="74"/>
                </a:cxn>
                <a:cxn ang="0">
                  <a:pos x="65" y="87"/>
                </a:cxn>
                <a:cxn ang="0">
                  <a:pos x="67" y="115"/>
                </a:cxn>
                <a:cxn ang="0">
                  <a:pos x="11" y="117"/>
                </a:cxn>
                <a:cxn ang="0">
                  <a:pos x="0" y="122"/>
                </a:cxn>
                <a:cxn ang="0">
                  <a:pos x="4" y="104"/>
                </a:cxn>
                <a:cxn ang="0">
                  <a:pos x="35" y="57"/>
                </a:cxn>
                <a:cxn ang="0">
                  <a:pos x="47" y="29"/>
                </a:cxn>
                <a:cxn ang="0">
                  <a:pos x="58" y="19"/>
                </a:cxn>
                <a:cxn ang="0">
                  <a:pos x="71" y="0"/>
                </a:cxn>
                <a:cxn ang="0">
                  <a:pos x="140" y="0"/>
                </a:cxn>
                <a:cxn ang="0">
                  <a:pos x="140" y="0"/>
                </a:cxn>
              </a:cxnLst>
              <a:rect l="0" t="0" r="r" b="b"/>
              <a:pathLst>
                <a:path w="140" h="122">
                  <a:moveTo>
                    <a:pt x="140" y="0"/>
                  </a:moveTo>
                  <a:lnTo>
                    <a:pt x="140" y="8"/>
                  </a:lnTo>
                  <a:lnTo>
                    <a:pt x="140" y="8"/>
                  </a:lnTo>
                  <a:lnTo>
                    <a:pt x="138" y="30"/>
                  </a:lnTo>
                  <a:lnTo>
                    <a:pt x="88" y="30"/>
                  </a:lnTo>
                  <a:lnTo>
                    <a:pt x="84" y="74"/>
                  </a:lnTo>
                  <a:lnTo>
                    <a:pt x="65" y="87"/>
                  </a:lnTo>
                  <a:lnTo>
                    <a:pt x="67" y="115"/>
                  </a:lnTo>
                  <a:lnTo>
                    <a:pt x="11" y="117"/>
                  </a:lnTo>
                  <a:lnTo>
                    <a:pt x="0" y="122"/>
                  </a:lnTo>
                  <a:lnTo>
                    <a:pt x="4" y="104"/>
                  </a:lnTo>
                  <a:lnTo>
                    <a:pt x="35" y="57"/>
                  </a:lnTo>
                  <a:lnTo>
                    <a:pt x="47" y="29"/>
                  </a:lnTo>
                  <a:lnTo>
                    <a:pt x="58" y="19"/>
                  </a:lnTo>
                  <a:lnTo>
                    <a:pt x="71" y="0"/>
                  </a:lnTo>
                  <a:lnTo>
                    <a:pt x="140" y="0"/>
                  </a:lnTo>
                  <a:lnTo>
                    <a:pt x="140"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62" name="Freeform 5661"/>
            <p:cNvSpPr>
              <a:spLocks/>
            </p:cNvSpPr>
            <p:nvPr>
              <p:custDataLst>
                <p:tags r:id="rId42"/>
              </p:custDataLst>
            </p:nvPr>
          </p:nvSpPr>
          <p:spPr bwMode="gray">
            <a:xfrm>
              <a:off x="7440695" y="4058706"/>
              <a:ext cx="208125" cy="323024"/>
            </a:xfrm>
            <a:custGeom>
              <a:avLst/>
              <a:gdLst/>
              <a:ahLst/>
              <a:cxnLst>
                <a:cxn ang="0">
                  <a:pos x="13" y="148"/>
                </a:cxn>
                <a:cxn ang="0">
                  <a:pos x="0" y="170"/>
                </a:cxn>
                <a:cxn ang="0">
                  <a:pos x="0" y="234"/>
                </a:cxn>
                <a:cxn ang="0">
                  <a:pos x="10" y="251"/>
                </a:cxn>
                <a:cxn ang="0">
                  <a:pos x="10" y="251"/>
                </a:cxn>
                <a:cxn ang="0">
                  <a:pos x="36" y="213"/>
                </a:cxn>
                <a:cxn ang="0">
                  <a:pos x="85" y="172"/>
                </a:cxn>
                <a:cxn ang="0">
                  <a:pos x="107" y="144"/>
                </a:cxn>
                <a:cxn ang="0">
                  <a:pos x="128" y="114"/>
                </a:cxn>
                <a:cxn ang="0">
                  <a:pos x="160" y="28"/>
                </a:cxn>
                <a:cxn ang="0">
                  <a:pos x="161" y="4"/>
                </a:cxn>
                <a:cxn ang="0">
                  <a:pos x="152" y="0"/>
                </a:cxn>
                <a:cxn ang="0">
                  <a:pos x="145" y="7"/>
                </a:cxn>
                <a:cxn ang="0">
                  <a:pos x="126" y="15"/>
                </a:cxn>
                <a:cxn ang="0">
                  <a:pos x="102" y="17"/>
                </a:cxn>
                <a:cxn ang="0">
                  <a:pos x="58" y="30"/>
                </a:cxn>
                <a:cxn ang="0">
                  <a:pos x="49" y="28"/>
                </a:cxn>
                <a:cxn ang="0">
                  <a:pos x="34" y="9"/>
                </a:cxn>
                <a:cxn ang="0">
                  <a:pos x="34" y="9"/>
                </a:cxn>
                <a:cxn ang="0">
                  <a:pos x="28" y="20"/>
                </a:cxn>
                <a:cxn ang="0">
                  <a:pos x="28" y="30"/>
                </a:cxn>
                <a:cxn ang="0">
                  <a:pos x="47" y="52"/>
                </a:cxn>
                <a:cxn ang="0">
                  <a:pos x="98" y="73"/>
                </a:cxn>
                <a:cxn ang="0">
                  <a:pos x="111" y="73"/>
                </a:cxn>
                <a:cxn ang="0">
                  <a:pos x="66" y="127"/>
                </a:cxn>
                <a:cxn ang="0">
                  <a:pos x="43" y="129"/>
                </a:cxn>
                <a:cxn ang="0">
                  <a:pos x="13" y="148"/>
                </a:cxn>
                <a:cxn ang="0">
                  <a:pos x="13" y="148"/>
                </a:cxn>
                <a:cxn ang="0">
                  <a:pos x="13" y="148"/>
                </a:cxn>
              </a:cxnLst>
              <a:rect l="0" t="0" r="r" b="b"/>
              <a:pathLst>
                <a:path w="161" h="251">
                  <a:moveTo>
                    <a:pt x="13" y="148"/>
                  </a:moveTo>
                  <a:lnTo>
                    <a:pt x="0" y="170"/>
                  </a:lnTo>
                  <a:lnTo>
                    <a:pt x="0" y="234"/>
                  </a:lnTo>
                  <a:lnTo>
                    <a:pt x="10" y="251"/>
                  </a:lnTo>
                  <a:lnTo>
                    <a:pt x="10" y="251"/>
                  </a:lnTo>
                  <a:lnTo>
                    <a:pt x="36" y="213"/>
                  </a:lnTo>
                  <a:lnTo>
                    <a:pt x="85" y="172"/>
                  </a:lnTo>
                  <a:lnTo>
                    <a:pt x="107" y="144"/>
                  </a:lnTo>
                  <a:lnTo>
                    <a:pt x="128" y="114"/>
                  </a:lnTo>
                  <a:lnTo>
                    <a:pt x="160" y="28"/>
                  </a:lnTo>
                  <a:lnTo>
                    <a:pt x="161" y="4"/>
                  </a:lnTo>
                  <a:lnTo>
                    <a:pt x="152" y="0"/>
                  </a:lnTo>
                  <a:lnTo>
                    <a:pt x="145" y="7"/>
                  </a:lnTo>
                  <a:lnTo>
                    <a:pt x="126" y="15"/>
                  </a:lnTo>
                  <a:lnTo>
                    <a:pt x="102" y="17"/>
                  </a:lnTo>
                  <a:lnTo>
                    <a:pt x="58" y="30"/>
                  </a:lnTo>
                  <a:lnTo>
                    <a:pt x="49" y="28"/>
                  </a:lnTo>
                  <a:lnTo>
                    <a:pt x="34" y="9"/>
                  </a:lnTo>
                  <a:lnTo>
                    <a:pt x="34" y="9"/>
                  </a:lnTo>
                  <a:lnTo>
                    <a:pt x="28" y="20"/>
                  </a:lnTo>
                  <a:lnTo>
                    <a:pt x="28" y="30"/>
                  </a:lnTo>
                  <a:lnTo>
                    <a:pt x="47" y="52"/>
                  </a:lnTo>
                  <a:lnTo>
                    <a:pt x="98" y="73"/>
                  </a:lnTo>
                  <a:lnTo>
                    <a:pt x="111" y="73"/>
                  </a:lnTo>
                  <a:lnTo>
                    <a:pt x="66" y="127"/>
                  </a:lnTo>
                  <a:lnTo>
                    <a:pt x="43" y="129"/>
                  </a:lnTo>
                  <a:lnTo>
                    <a:pt x="13" y="148"/>
                  </a:lnTo>
                  <a:lnTo>
                    <a:pt x="13" y="148"/>
                  </a:lnTo>
                  <a:lnTo>
                    <a:pt x="13" y="14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63" name="Freeform 5662"/>
            <p:cNvSpPr>
              <a:spLocks/>
            </p:cNvSpPr>
            <p:nvPr>
              <p:custDataLst>
                <p:tags r:id="rId43"/>
              </p:custDataLst>
            </p:nvPr>
          </p:nvSpPr>
          <p:spPr bwMode="gray">
            <a:xfrm>
              <a:off x="6256713" y="4046545"/>
              <a:ext cx="65928" cy="43756"/>
            </a:xfrm>
            <a:custGeom>
              <a:avLst/>
              <a:gdLst/>
              <a:ahLst/>
              <a:cxnLst>
                <a:cxn ang="0">
                  <a:pos x="51" y="0"/>
                </a:cxn>
                <a:cxn ang="0">
                  <a:pos x="49" y="19"/>
                </a:cxn>
                <a:cxn ang="0">
                  <a:pos x="34" y="24"/>
                </a:cxn>
                <a:cxn ang="0">
                  <a:pos x="28" y="34"/>
                </a:cxn>
                <a:cxn ang="0">
                  <a:pos x="28" y="34"/>
                </a:cxn>
                <a:cxn ang="0">
                  <a:pos x="22" y="28"/>
                </a:cxn>
                <a:cxn ang="0">
                  <a:pos x="21" y="15"/>
                </a:cxn>
                <a:cxn ang="0">
                  <a:pos x="13" y="17"/>
                </a:cxn>
                <a:cxn ang="0">
                  <a:pos x="0" y="7"/>
                </a:cxn>
                <a:cxn ang="0">
                  <a:pos x="2" y="6"/>
                </a:cxn>
                <a:cxn ang="0">
                  <a:pos x="51" y="0"/>
                </a:cxn>
                <a:cxn ang="0">
                  <a:pos x="51" y="0"/>
                </a:cxn>
              </a:cxnLst>
              <a:rect l="0" t="0" r="r" b="b"/>
              <a:pathLst>
                <a:path w="51" h="34">
                  <a:moveTo>
                    <a:pt x="51" y="0"/>
                  </a:moveTo>
                  <a:lnTo>
                    <a:pt x="49" y="19"/>
                  </a:lnTo>
                  <a:lnTo>
                    <a:pt x="34" y="24"/>
                  </a:lnTo>
                  <a:lnTo>
                    <a:pt x="28" y="34"/>
                  </a:lnTo>
                  <a:lnTo>
                    <a:pt x="28" y="34"/>
                  </a:lnTo>
                  <a:lnTo>
                    <a:pt x="22" y="28"/>
                  </a:lnTo>
                  <a:lnTo>
                    <a:pt x="21" y="15"/>
                  </a:lnTo>
                  <a:lnTo>
                    <a:pt x="13" y="17"/>
                  </a:lnTo>
                  <a:lnTo>
                    <a:pt x="0" y="7"/>
                  </a:lnTo>
                  <a:lnTo>
                    <a:pt x="2" y="6"/>
                  </a:lnTo>
                  <a:lnTo>
                    <a:pt x="51" y="0"/>
                  </a:lnTo>
                  <a:lnTo>
                    <a:pt x="51"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64" name="Freeform 5663"/>
            <p:cNvSpPr>
              <a:spLocks/>
            </p:cNvSpPr>
            <p:nvPr>
              <p:custDataLst>
                <p:tags r:id="rId44"/>
              </p:custDataLst>
            </p:nvPr>
          </p:nvSpPr>
          <p:spPr bwMode="gray">
            <a:xfrm>
              <a:off x="6348152" y="4113273"/>
              <a:ext cx="60757" cy="75930"/>
            </a:xfrm>
            <a:custGeom>
              <a:avLst/>
              <a:gdLst/>
              <a:ahLst/>
              <a:cxnLst>
                <a:cxn ang="0">
                  <a:pos x="0" y="15"/>
                </a:cxn>
                <a:cxn ang="0">
                  <a:pos x="4" y="42"/>
                </a:cxn>
                <a:cxn ang="0">
                  <a:pos x="28" y="59"/>
                </a:cxn>
                <a:cxn ang="0">
                  <a:pos x="28" y="57"/>
                </a:cxn>
                <a:cxn ang="0">
                  <a:pos x="47" y="30"/>
                </a:cxn>
                <a:cxn ang="0">
                  <a:pos x="43" y="30"/>
                </a:cxn>
                <a:cxn ang="0">
                  <a:pos x="45" y="21"/>
                </a:cxn>
                <a:cxn ang="0">
                  <a:pos x="30" y="0"/>
                </a:cxn>
                <a:cxn ang="0">
                  <a:pos x="15" y="0"/>
                </a:cxn>
                <a:cxn ang="0">
                  <a:pos x="0" y="15"/>
                </a:cxn>
                <a:cxn ang="0">
                  <a:pos x="0" y="15"/>
                </a:cxn>
                <a:cxn ang="0">
                  <a:pos x="0" y="15"/>
                </a:cxn>
              </a:cxnLst>
              <a:rect l="0" t="0" r="r" b="b"/>
              <a:pathLst>
                <a:path w="47" h="59">
                  <a:moveTo>
                    <a:pt x="0" y="15"/>
                  </a:moveTo>
                  <a:lnTo>
                    <a:pt x="4" y="42"/>
                  </a:lnTo>
                  <a:lnTo>
                    <a:pt x="28" y="59"/>
                  </a:lnTo>
                  <a:lnTo>
                    <a:pt x="28" y="57"/>
                  </a:lnTo>
                  <a:lnTo>
                    <a:pt x="47" y="30"/>
                  </a:lnTo>
                  <a:lnTo>
                    <a:pt x="43" y="30"/>
                  </a:lnTo>
                  <a:lnTo>
                    <a:pt x="45" y="21"/>
                  </a:lnTo>
                  <a:lnTo>
                    <a:pt x="30" y="0"/>
                  </a:lnTo>
                  <a:lnTo>
                    <a:pt x="15" y="0"/>
                  </a:lnTo>
                  <a:lnTo>
                    <a:pt x="0" y="15"/>
                  </a:lnTo>
                  <a:lnTo>
                    <a:pt x="0" y="15"/>
                  </a:lnTo>
                  <a:lnTo>
                    <a:pt x="0" y="1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65" name="Freeform 5672"/>
            <p:cNvSpPr>
              <a:spLocks/>
            </p:cNvSpPr>
            <p:nvPr>
              <p:custDataLst>
                <p:tags r:id="rId45"/>
              </p:custDataLst>
            </p:nvPr>
          </p:nvSpPr>
          <p:spPr bwMode="gray">
            <a:xfrm>
              <a:off x="6866868" y="4221955"/>
              <a:ext cx="399445" cy="434988"/>
            </a:xfrm>
            <a:custGeom>
              <a:avLst/>
              <a:gdLst/>
              <a:ahLst/>
              <a:cxnLst>
                <a:cxn ang="0">
                  <a:pos x="262" y="313"/>
                </a:cxn>
                <a:cxn ang="0">
                  <a:pos x="266" y="263"/>
                </a:cxn>
                <a:cxn ang="0">
                  <a:pos x="270" y="253"/>
                </a:cxn>
                <a:cxn ang="0">
                  <a:pos x="292" y="248"/>
                </a:cxn>
                <a:cxn ang="0">
                  <a:pos x="290" y="233"/>
                </a:cxn>
                <a:cxn ang="0">
                  <a:pos x="273" y="206"/>
                </a:cxn>
                <a:cxn ang="0">
                  <a:pos x="272" y="169"/>
                </a:cxn>
                <a:cxn ang="0">
                  <a:pos x="275" y="158"/>
                </a:cxn>
                <a:cxn ang="0">
                  <a:pos x="277" y="167"/>
                </a:cxn>
                <a:cxn ang="0">
                  <a:pos x="275" y="158"/>
                </a:cxn>
                <a:cxn ang="0">
                  <a:pos x="273" y="145"/>
                </a:cxn>
                <a:cxn ang="0">
                  <a:pos x="272" y="139"/>
                </a:cxn>
                <a:cxn ang="0">
                  <a:pos x="283" y="118"/>
                </a:cxn>
                <a:cxn ang="0">
                  <a:pos x="287" y="87"/>
                </a:cxn>
                <a:cxn ang="0">
                  <a:pos x="296" y="72"/>
                </a:cxn>
                <a:cxn ang="0">
                  <a:pos x="309" y="55"/>
                </a:cxn>
                <a:cxn ang="0">
                  <a:pos x="300" y="45"/>
                </a:cxn>
                <a:cxn ang="0">
                  <a:pos x="302" y="28"/>
                </a:cxn>
                <a:cxn ang="0">
                  <a:pos x="285" y="12"/>
                </a:cxn>
                <a:cxn ang="0">
                  <a:pos x="258" y="14"/>
                </a:cxn>
                <a:cxn ang="0">
                  <a:pos x="247" y="0"/>
                </a:cxn>
                <a:cxn ang="0">
                  <a:pos x="170" y="6"/>
                </a:cxn>
                <a:cxn ang="0">
                  <a:pos x="163" y="15"/>
                </a:cxn>
                <a:cxn ang="0">
                  <a:pos x="133" y="14"/>
                </a:cxn>
                <a:cxn ang="0">
                  <a:pos x="124" y="0"/>
                </a:cxn>
                <a:cxn ang="0">
                  <a:pos x="116" y="0"/>
                </a:cxn>
                <a:cxn ang="0">
                  <a:pos x="101" y="27"/>
                </a:cxn>
                <a:cxn ang="0">
                  <a:pos x="92" y="58"/>
                </a:cxn>
                <a:cxn ang="0">
                  <a:pos x="86" y="109"/>
                </a:cxn>
                <a:cxn ang="0">
                  <a:pos x="64" y="133"/>
                </a:cxn>
                <a:cxn ang="0">
                  <a:pos x="56" y="167"/>
                </a:cxn>
                <a:cxn ang="0">
                  <a:pos x="36" y="184"/>
                </a:cxn>
                <a:cxn ang="0">
                  <a:pos x="30" y="176"/>
                </a:cxn>
                <a:cxn ang="0">
                  <a:pos x="19" y="184"/>
                </a:cxn>
                <a:cxn ang="0">
                  <a:pos x="9" y="182"/>
                </a:cxn>
                <a:cxn ang="0">
                  <a:pos x="2" y="188"/>
                </a:cxn>
                <a:cxn ang="0">
                  <a:pos x="0" y="203"/>
                </a:cxn>
                <a:cxn ang="0">
                  <a:pos x="2" y="212"/>
                </a:cxn>
                <a:cxn ang="0">
                  <a:pos x="19" y="203"/>
                </a:cxn>
                <a:cxn ang="0">
                  <a:pos x="58" y="201"/>
                </a:cxn>
                <a:cxn ang="0">
                  <a:pos x="67" y="208"/>
                </a:cxn>
                <a:cxn ang="0">
                  <a:pos x="73" y="231"/>
                </a:cxn>
                <a:cxn ang="0">
                  <a:pos x="90" y="246"/>
                </a:cxn>
                <a:cxn ang="0">
                  <a:pos x="110" y="242"/>
                </a:cxn>
                <a:cxn ang="0">
                  <a:pos x="116" y="225"/>
                </a:cxn>
                <a:cxn ang="0">
                  <a:pos x="137" y="221"/>
                </a:cxn>
                <a:cxn ang="0">
                  <a:pos x="137" y="227"/>
                </a:cxn>
                <a:cxn ang="0">
                  <a:pos x="150" y="231"/>
                </a:cxn>
                <a:cxn ang="0">
                  <a:pos x="152" y="235"/>
                </a:cxn>
                <a:cxn ang="0">
                  <a:pos x="152" y="272"/>
                </a:cxn>
                <a:cxn ang="0">
                  <a:pos x="159" y="289"/>
                </a:cxn>
                <a:cxn ang="0">
                  <a:pos x="154" y="298"/>
                </a:cxn>
                <a:cxn ang="0">
                  <a:pos x="157" y="304"/>
                </a:cxn>
                <a:cxn ang="0">
                  <a:pos x="189" y="295"/>
                </a:cxn>
                <a:cxn ang="0">
                  <a:pos x="221" y="313"/>
                </a:cxn>
                <a:cxn ang="0">
                  <a:pos x="236" y="311"/>
                </a:cxn>
                <a:cxn ang="0">
                  <a:pos x="262" y="334"/>
                </a:cxn>
                <a:cxn ang="0">
                  <a:pos x="275" y="338"/>
                </a:cxn>
                <a:cxn ang="0">
                  <a:pos x="279" y="319"/>
                </a:cxn>
                <a:cxn ang="0">
                  <a:pos x="268" y="321"/>
                </a:cxn>
                <a:cxn ang="0">
                  <a:pos x="262" y="313"/>
                </a:cxn>
              </a:cxnLst>
              <a:rect l="0" t="0" r="r" b="b"/>
              <a:pathLst>
                <a:path w="309" h="338">
                  <a:moveTo>
                    <a:pt x="262" y="313"/>
                  </a:moveTo>
                  <a:lnTo>
                    <a:pt x="266" y="263"/>
                  </a:lnTo>
                  <a:lnTo>
                    <a:pt x="270" y="253"/>
                  </a:lnTo>
                  <a:lnTo>
                    <a:pt x="292" y="248"/>
                  </a:lnTo>
                  <a:lnTo>
                    <a:pt x="290" y="233"/>
                  </a:lnTo>
                  <a:lnTo>
                    <a:pt x="273" y="206"/>
                  </a:lnTo>
                  <a:lnTo>
                    <a:pt x="272" y="169"/>
                  </a:lnTo>
                  <a:lnTo>
                    <a:pt x="275" y="158"/>
                  </a:lnTo>
                  <a:lnTo>
                    <a:pt x="277" y="167"/>
                  </a:lnTo>
                  <a:lnTo>
                    <a:pt x="275" y="158"/>
                  </a:lnTo>
                  <a:lnTo>
                    <a:pt x="273" y="145"/>
                  </a:lnTo>
                  <a:lnTo>
                    <a:pt x="272" y="139"/>
                  </a:lnTo>
                  <a:lnTo>
                    <a:pt x="283" y="118"/>
                  </a:lnTo>
                  <a:lnTo>
                    <a:pt x="287" y="87"/>
                  </a:lnTo>
                  <a:lnTo>
                    <a:pt x="296" y="72"/>
                  </a:lnTo>
                  <a:lnTo>
                    <a:pt x="309" y="55"/>
                  </a:lnTo>
                  <a:lnTo>
                    <a:pt x="300" y="45"/>
                  </a:lnTo>
                  <a:lnTo>
                    <a:pt x="302" y="28"/>
                  </a:lnTo>
                  <a:lnTo>
                    <a:pt x="285" y="12"/>
                  </a:lnTo>
                  <a:lnTo>
                    <a:pt x="258" y="14"/>
                  </a:lnTo>
                  <a:lnTo>
                    <a:pt x="247" y="0"/>
                  </a:lnTo>
                  <a:lnTo>
                    <a:pt x="170" y="6"/>
                  </a:lnTo>
                  <a:lnTo>
                    <a:pt x="163" y="15"/>
                  </a:lnTo>
                  <a:lnTo>
                    <a:pt x="133" y="14"/>
                  </a:lnTo>
                  <a:lnTo>
                    <a:pt x="124" y="0"/>
                  </a:lnTo>
                  <a:lnTo>
                    <a:pt x="116" y="0"/>
                  </a:lnTo>
                  <a:lnTo>
                    <a:pt x="101" y="27"/>
                  </a:lnTo>
                  <a:lnTo>
                    <a:pt x="92" y="58"/>
                  </a:lnTo>
                  <a:lnTo>
                    <a:pt x="86" y="109"/>
                  </a:lnTo>
                  <a:lnTo>
                    <a:pt x="64" y="133"/>
                  </a:lnTo>
                  <a:lnTo>
                    <a:pt x="56" y="167"/>
                  </a:lnTo>
                  <a:lnTo>
                    <a:pt x="36" y="184"/>
                  </a:lnTo>
                  <a:lnTo>
                    <a:pt x="30" y="176"/>
                  </a:lnTo>
                  <a:lnTo>
                    <a:pt x="19" y="184"/>
                  </a:lnTo>
                  <a:lnTo>
                    <a:pt x="9" y="182"/>
                  </a:lnTo>
                  <a:lnTo>
                    <a:pt x="2" y="188"/>
                  </a:lnTo>
                  <a:lnTo>
                    <a:pt x="0" y="203"/>
                  </a:lnTo>
                  <a:lnTo>
                    <a:pt x="2" y="212"/>
                  </a:lnTo>
                  <a:lnTo>
                    <a:pt x="19" y="203"/>
                  </a:lnTo>
                  <a:lnTo>
                    <a:pt x="58" y="201"/>
                  </a:lnTo>
                  <a:lnTo>
                    <a:pt x="67" y="208"/>
                  </a:lnTo>
                  <a:lnTo>
                    <a:pt x="73" y="231"/>
                  </a:lnTo>
                  <a:lnTo>
                    <a:pt x="90" y="246"/>
                  </a:lnTo>
                  <a:lnTo>
                    <a:pt x="110" y="242"/>
                  </a:lnTo>
                  <a:lnTo>
                    <a:pt x="116" y="225"/>
                  </a:lnTo>
                  <a:lnTo>
                    <a:pt x="137" y="221"/>
                  </a:lnTo>
                  <a:lnTo>
                    <a:pt x="137" y="227"/>
                  </a:lnTo>
                  <a:lnTo>
                    <a:pt x="150" y="231"/>
                  </a:lnTo>
                  <a:lnTo>
                    <a:pt x="152" y="235"/>
                  </a:lnTo>
                  <a:lnTo>
                    <a:pt x="152" y="272"/>
                  </a:lnTo>
                  <a:lnTo>
                    <a:pt x="159" y="289"/>
                  </a:lnTo>
                  <a:lnTo>
                    <a:pt x="154" y="298"/>
                  </a:lnTo>
                  <a:lnTo>
                    <a:pt x="157" y="304"/>
                  </a:lnTo>
                  <a:lnTo>
                    <a:pt x="189" y="295"/>
                  </a:lnTo>
                  <a:lnTo>
                    <a:pt x="221" y="313"/>
                  </a:lnTo>
                  <a:lnTo>
                    <a:pt x="236" y="311"/>
                  </a:lnTo>
                  <a:lnTo>
                    <a:pt x="262" y="334"/>
                  </a:lnTo>
                  <a:lnTo>
                    <a:pt x="275" y="338"/>
                  </a:lnTo>
                  <a:lnTo>
                    <a:pt x="279" y="319"/>
                  </a:lnTo>
                  <a:lnTo>
                    <a:pt x="268" y="321"/>
                  </a:lnTo>
                  <a:lnTo>
                    <a:pt x="262" y="31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66" name="Freeform 5673"/>
            <p:cNvSpPr>
              <a:spLocks/>
            </p:cNvSpPr>
            <p:nvPr>
              <p:custDataLst>
                <p:tags r:id="rId46"/>
              </p:custDataLst>
            </p:nvPr>
          </p:nvSpPr>
          <p:spPr bwMode="gray">
            <a:xfrm>
              <a:off x="4781740" y="3990597"/>
              <a:ext cx="90489" cy="99095"/>
            </a:xfrm>
            <a:custGeom>
              <a:avLst/>
              <a:gdLst/>
              <a:ahLst/>
              <a:cxnLst>
                <a:cxn ang="0">
                  <a:pos x="56" y="77"/>
                </a:cxn>
                <a:cxn ang="0">
                  <a:pos x="55" y="71"/>
                </a:cxn>
                <a:cxn ang="0">
                  <a:pos x="70" y="15"/>
                </a:cxn>
                <a:cxn ang="0">
                  <a:pos x="68" y="0"/>
                </a:cxn>
                <a:cxn ang="0">
                  <a:pos x="43" y="7"/>
                </a:cxn>
                <a:cxn ang="0">
                  <a:pos x="0" y="37"/>
                </a:cxn>
                <a:cxn ang="0">
                  <a:pos x="2" y="47"/>
                </a:cxn>
                <a:cxn ang="0">
                  <a:pos x="25" y="75"/>
                </a:cxn>
                <a:cxn ang="0">
                  <a:pos x="56" y="77"/>
                </a:cxn>
                <a:cxn ang="0">
                  <a:pos x="56" y="77"/>
                </a:cxn>
              </a:cxnLst>
              <a:rect l="0" t="0" r="r" b="b"/>
              <a:pathLst>
                <a:path w="70" h="77">
                  <a:moveTo>
                    <a:pt x="56" y="77"/>
                  </a:moveTo>
                  <a:lnTo>
                    <a:pt x="55" y="71"/>
                  </a:lnTo>
                  <a:lnTo>
                    <a:pt x="70" y="15"/>
                  </a:lnTo>
                  <a:lnTo>
                    <a:pt x="68" y="0"/>
                  </a:lnTo>
                  <a:lnTo>
                    <a:pt x="43" y="7"/>
                  </a:lnTo>
                  <a:lnTo>
                    <a:pt x="0" y="37"/>
                  </a:lnTo>
                  <a:lnTo>
                    <a:pt x="2" y="47"/>
                  </a:lnTo>
                  <a:lnTo>
                    <a:pt x="25" y="75"/>
                  </a:lnTo>
                  <a:lnTo>
                    <a:pt x="56" y="77"/>
                  </a:lnTo>
                  <a:lnTo>
                    <a:pt x="56" y="7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67" name="Freeform 5674"/>
            <p:cNvSpPr>
              <a:spLocks/>
            </p:cNvSpPr>
            <p:nvPr>
              <p:custDataLst>
                <p:tags r:id="rId47"/>
              </p:custDataLst>
            </p:nvPr>
          </p:nvSpPr>
          <p:spPr bwMode="gray">
            <a:xfrm>
              <a:off x="5064842" y="3877346"/>
              <a:ext cx="60757" cy="42469"/>
            </a:xfrm>
            <a:custGeom>
              <a:avLst/>
              <a:gdLst/>
              <a:ahLst/>
              <a:cxnLst>
                <a:cxn ang="0">
                  <a:pos x="47" y="2"/>
                </a:cxn>
                <a:cxn ang="0">
                  <a:pos x="25" y="0"/>
                </a:cxn>
                <a:cxn ang="0">
                  <a:pos x="19" y="3"/>
                </a:cxn>
                <a:cxn ang="0">
                  <a:pos x="27" y="3"/>
                </a:cxn>
                <a:cxn ang="0">
                  <a:pos x="34" y="24"/>
                </a:cxn>
                <a:cxn ang="0">
                  <a:pos x="19" y="28"/>
                </a:cxn>
                <a:cxn ang="0">
                  <a:pos x="6" y="24"/>
                </a:cxn>
                <a:cxn ang="0">
                  <a:pos x="0" y="28"/>
                </a:cxn>
                <a:cxn ang="0">
                  <a:pos x="10" y="33"/>
                </a:cxn>
                <a:cxn ang="0">
                  <a:pos x="42" y="33"/>
                </a:cxn>
                <a:cxn ang="0">
                  <a:pos x="47" y="2"/>
                </a:cxn>
                <a:cxn ang="0">
                  <a:pos x="47" y="2"/>
                </a:cxn>
              </a:cxnLst>
              <a:rect l="0" t="0" r="r" b="b"/>
              <a:pathLst>
                <a:path w="47" h="33">
                  <a:moveTo>
                    <a:pt x="47" y="2"/>
                  </a:moveTo>
                  <a:lnTo>
                    <a:pt x="25" y="0"/>
                  </a:lnTo>
                  <a:lnTo>
                    <a:pt x="19" y="3"/>
                  </a:lnTo>
                  <a:lnTo>
                    <a:pt x="27" y="3"/>
                  </a:lnTo>
                  <a:lnTo>
                    <a:pt x="34" y="24"/>
                  </a:lnTo>
                  <a:lnTo>
                    <a:pt x="19" y="28"/>
                  </a:lnTo>
                  <a:lnTo>
                    <a:pt x="6" y="24"/>
                  </a:lnTo>
                  <a:lnTo>
                    <a:pt x="0" y="28"/>
                  </a:lnTo>
                  <a:lnTo>
                    <a:pt x="10" y="33"/>
                  </a:lnTo>
                  <a:lnTo>
                    <a:pt x="42" y="33"/>
                  </a:lnTo>
                  <a:lnTo>
                    <a:pt x="47" y="2"/>
                  </a:lnTo>
                  <a:lnTo>
                    <a:pt x="47" y="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68" name="Freeform 5675"/>
            <p:cNvSpPr>
              <a:spLocks/>
            </p:cNvSpPr>
            <p:nvPr>
              <p:custDataLst>
                <p:tags r:id="rId48"/>
              </p:custDataLst>
            </p:nvPr>
          </p:nvSpPr>
          <p:spPr bwMode="gray">
            <a:xfrm>
              <a:off x="5311748" y="2627721"/>
              <a:ext cx="43952" cy="16730"/>
            </a:xfrm>
            <a:custGeom>
              <a:avLst/>
              <a:gdLst/>
              <a:ahLst/>
              <a:cxnLst>
                <a:cxn ang="0">
                  <a:pos x="0" y="8"/>
                </a:cxn>
                <a:cxn ang="0">
                  <a:pos x="27" y="13"/>
                </a:cxn>
                <a:cxn ang="0">
                  <a:pos x="34" y="6"/>
                </a:cxn>
                <a:cxn ang="0">
                  <a:pos x="32" y="0"/>
                </a:cxn>
                <a:cxn ang="0">
                  <a:pos x="21" y="0"/>
                </a:cxn>
                <a:cxn ang="0">
                  <a:pos x="0" y="8"/>
                </a:cxn>
                <a:cxn ang="0">
                  <a:pos x="0" y="8"/>
                </a:cxn>
              </a:cxnLst>
              <a:rect l="0" t="0" r="r" b="b"/>
              <a:pathLst>
                <a:path w="34" h="13">
                  <a:moveTo>
                    <a:pt x="0" y="8"/>
                  </a:moveTo>
                  <a:lnTo>
                    <a:pt x="27" y="13"/>
                  </a:lnTo>
                  <a:lnTo>
                    <a:pt x="34" y="6"/>
                  </a:lnTo>
                  <a:lnTo>
                    <a:pt x="32" y="0"/>
                  </a:lnTo>
                  <a:lnTo>
                    <a:pt x="21" y="0"/>
                  </a:lnTo>
                  <a:lnTo>
                    <a:pt x="0" y="8"/>
                  </a:lnTo>
                  <a:lnTo>
                    <a:pt x="0" y="8"/>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69" name="Freeform 5677"/>
            <p:cNvSpPr>
              <a:spLocks/>
            </p:cNvSpPr>
            <p:nvPr>
              <p:custDataLst>
                <p:tags r:id="rId49"/>
              </p:custDataLst>
            </p:nvPr>
          </p:nvSpPr>
          <p:spPr bwMode="gray">
            <a:xfrm>
              <a:off x="6289962" y="4044790"/>
              <a:ext cx="151405" cy="129740"/>
            </a:xfrm>
            <a:custGeom>
              <a:avLst/>
              <a:gdLst/>
              <a:ahLst/>
              <a:cxnLst>
                <a:cxn ang="0">
                  <a:pos x="105" y="95"/>
                </a:cxn>
                <a:cxn ang="0">
                  <a:pos x="111" y="92"/>
                </a:cxn>
                <a:cxn ang="0">
                  <a:pos x="109" y="82"/>
                </a:cxn>
                <a:cxn ang="0">
                  <a:pos x="118" y="77"/>
                </a:cxn>
                <a:cxn ang="0">
                  <a:pos x="111" y="58"/>
                </a:cxn>
                <a:cxn ang="0">
                  <a:pos x="114" y="47"/>
                </a:cxn>
                <a:cxn ang="0">
                  <a:pos x="96" y="4"/>
                </a:cxn>
                <a:cxn ang="0">
                  <a:pos x="69" y="13"/>
                </a:cxn>
                <a:cxn ang="0">
                  <a:pos x="60" y="6"/>
                </a:cxn>
                <a:cxn ang="0">
                  <a:pos x="23" y="0"/>
                </a:cxn>
                <a:cxn ang="0">
                  <a:pos x="21" y="19"/>
                </a:cxn>
                <a:cxn ang="0">
                  <a:pos x="6" y="24"/>
                </a:cxn>
                <a:cxn ang="0">
                  <a:pos x="0" y="34"/>
                </a:cxn>
                <a:cxn ang="0">
                  <a:pos x="0" y="34"/>
                </a:cxn>
                <a:cxn ang="0">
                  <a:pos x="28" y="65"/>
                </a:cxn>
                <a:cxn ang="0">
                  <a:pos x="28" y="65"/>
                </a:cxn>
                <a:cxn ang="0">
                  <a:pos x="43" y="50"/>
                </a:cxn>
                <a:cxn ang="0">
                  <a:pos x="58" y="50"/>
                </a:cxn>
                <a:cxn ang="0">
                  <a:pos x="73" y="71"/>
                </a:cxn>
                <a:cxn ang="0">
                  <a:pos x="71" y="80"/>
                </a:cxn>
                <a:cxn ang="0">
                  <a:pos x="75" y="80"/>
                </a:cxn>
                <a:cxn ang="0">
                  <a:pos x="86" y="79"/>
                </a:cxn>
                <a:cxn ang="0">
                  <a:pos x="96" y="101"/>
                </a:cxn>
                <a:cxn ang="0">
                  <a:pos x="105" y="95"/>
                </a:cxn>
                <a:cxn ang="0">
                  <a:pos x="105" y="95"/>
                </a:cxn>
              </a:cxnLst>
              <a:rect l="0" t="0" r="r" b="b"/>
              <a:pathLst>
                <a:path w="118" h="101">
                  <a:moveTo>
                    <a:pt x="105" y="95"/>
                  </a:moveTo>
                  <a:lnTo>
                    <a:pt x="111" y="92"/>
                  </a:lnTo>
                  <a:lnTo>
                    <a:pt x="109" y="82"/>
                  </a:lnTo>
                  <a:lnTo>
                    <a:pt x="118" y="77"/>
                  </a:lnTo>
                  <a:lnTo>
                    <a:pt x="111" y="58"/>
                  </a:lnTo>
                  <a:lnTo>
                    <a:pt x="114" y="47"/>
                  </a:lnTo>
                  <a:lnTo>
                    <a:pt x="96" y="4"/>
                  </a:lnTo>
                  <a:lnTo>
                    <a:pt x="69" y="13"/>
                  </a:lnTo>
                  <a:lnTo>
                    <a:pt x="60" y="6"/>
                  </a:lnTo>
                  <a:lnTo>
                    <a:pt x="23" y="0"/>
                  </a:lnTo>
                  <a:lnTo>
                    <a:pt x="21" y="19"/>
                  </a:lnTo>
                  <a:lnTo>
                    <a:pt x="6" y="24"/>
                  </a:lnTo>
                  <a:lnTo>
                    <a:pt x="0" y="34"/>
                  </a:lnTo>
                  <a:lnTo>
                    <a:pt x="0" y="34"/>
                  </a:lnTo>
                  <a:lnTo>
                    <a:pt x="28" y="65"/>
                  </a:lnTo>
                  <a:lnTo>
                    <a:pt x="28" y="65"/>
                  </a:lnTo>
                  <a:lnTo>
                    <a:pt x="43" y="50"/>
                  </a:lnTo>
                  <a:lnTo>
                    <a:pt x="58" y="50"/>
                  </a:lnTo>
                  <a:lnTo>
                    <a:pt x="73" y="71"/>
                  </a:lnTo>
                  <a:lnTo>
                    <a:pt x="71" y="80"/>
                  </a:lnTo>
                  <a:lnTo>
                    <a:pt x="75" y="80"/>
                  </a:lnTo>
                  <a:lnTo>
                    <a:pt x="86" y="79"/>
                  </a:lnTo>
                  <a:lnTo>
                    <a:pt x="96" y="101"/>
                  </a:lnTo>
                  <a:lnTo>
                    <a:pt x="105" y="95"/>
                  </a:lnTo>
                  <a:lnTo>
                    <a:pt x="105" y="9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70" name="Freeform 5678"/>
            <p:cNvSpPr>
              <a:spLocks/>
            </p:cNvSpPr>
            <p:nvPr>
              <p:custDataLst>
                <p:tags r:id="rId50"/>
              </p:custDataLst>
            </p:nvPr>
          </p:nvSpPr>
          <p:spPr bwMode="gray">
            <a:xfrm>
              <a:off x="6789563" y="3573259"/>
              <a:ext cx="323339" cy="324994"/>
            </a:xfrm>
            <a:custGeom>
              <a:avLst/>
              <a:gdLst/>
              <a:ahLst/>
              <a:cxnLst>
                <a:cxn ang="0">
                  <a:pos x="252" y="205"/>
                </a:cxn>
                <a:cxn ang="0">
                  <a:pos x="249" y="83"/>
                </a:cxn>
                <a:cxn ang="0">
                  <a:pos x="243" y="62"/>
                </a:cxn>
                <a:cxn ang="0">
                  <a:pos x="247" y="27"/>
                </a:cxn>
                <a:cxn ang="0">
                  <a:pos x="219" y="19"/>
                </a:cxn>
                <a:cxn ang="0">
                  <a:pos x="217" y="12"/>
                </a:cxn>
                <a:cxn ang="0">
                  <a:pos x="196" y="6"/>
                </a:cxn>
                <a:cxn ang="0">
                  <a:pos x="170" y="19"/>
                </a:cxn>
                <a:cxn ang="0">
                  <a:pos x="168" y="47"/>
                </a:cxn>
                <a:cxn ang="0">
                  <a:pos x="157" y="55"/>
                </a:cxn>
                <a:cxn ang="0">
                  <a:pos x="149" y="53"/>
                </a:cxn>
                <a:cxn ang="0">
                  <a:pos x="131" y="40"/>
                </a:cxn>
                <a:cxn ang="0">
                  <a:pos x="101" y="32"/>
                </a:cxn>
                <a:cxn ang="0">
                  <a:pos x="97" y="19"/>
                </a:cxn>
                <a:cxn ang="0">
                  <a:pos x="78" y="10"/>
                </a:cxn>
                <a:cxn ang="0">
                  <a:pos x="46" y="6"/>
                </a:cxn>
                <a:cxn ang="0">
                  <a:pos x="29" y="0"/>
                </a:cxn>
                <a:cxn ang="0">
                  <a:pos x="29" y="0"/>
                </a:cxn>
                <a:cxn ang="0">
                  <a:pos x="31" y="15"/>
                </a:cxn>
                <a:cxn ang="0">
                  <a:pos x="15" y="32"/>
                </a:cxn>
                <a:cxn ang="0">
                  <a:pos x="15" y="49"/>
                </a:cxn>
                <a:cxn ang="0">
                  <a:pos x="3" y="53"/>
                </a:cxn>
                <a:cxn ang="0">
                  <a:pos x="0" y="60"/>
                </a:cxn>
                <a:cxn ang="0">
                  <a:pos x="7" y="72"/>
                </a:cxn>
                <a:cxn ang="0">
                  <a:pos x="9" y="100"/>
                </a:cxn>
                <a:cxn ang="0">
                  <a:pos x="7" y="120"/>
                </a:cxn>
                <a:cxn ang="0">
                  <a:pos x="1" y="130"/>
                </a:cxn>
                <a:cxn ang="0">
                  <a:pos x="16" y="160"/>
                </a:cxn>
                <a:cxn ang="0">
                  <a:pos x="29" y="160"/>
                </a:cxn>
                <a:cxn ang="0">
                  <a:pos x="43" y="178"/>
                </a:cxn>
                <a:cxn ang="0">
                  <a:pos x="76" y="180"/>
                </a:cxn>
                <a:cxn ang="0">
                  <a:pos x="93" y="188"/>
                </a:cxn>
                <a:cxn ang="0">
                  <a:pos x="116" y="184"/>
                </a:cxn>
                <a:cxn ang="0">
                  <a:pos x="237" y="253"/>
                </a:cxn>
                <a:cxn ang="0">
                  <a:pos x="239" y="242"/>
                </a:cxn>
                <a:cxn ang="0">
                  <a:pos x="252" y="240"/>
                </a:cxn>
                <a:cxn ang="0">
                  <a:pos x="252" y="205"/>
                </a:cxn>
                <a:cxn ang="0">
                  <a:pos x="252" y="205"/>
                </a:cxn>
              </a:cxnLst>
              <a:rect l="0" t="0" r="r" b="b"/>
              <a:pathLst>
                <a:path w="252" h="253">
                  <a:moveTo>
                    <a:pt x="252" y="205"/>
                  </a:moveTo>
                  <a:lnTo>
                    <a:pt x="249" y="83"/>
                  </a:lnTo>
                  <a:lnTo>
                    <a:pt x="243" y="62"/>
                  </a:lnTo>
                  <a:lnTo>
                    <a:pt x="247" y="27"/>
                  </a:lnTo>
                  <a:lnTo>
                    <a:pt x="219" y="19"/>
                  </a:lnTo>
                  <a:lnTo>
                    <a:pt x="217" y="12"/>
                  </a:lnTo>
                  <a:lnTo>
                    <a:pt x="196" y="6"/>
                  </a:lnTo>
                  <a:lnTo>
                    <a:pt x="170" y="19"/>
                  </a:lnTo>
                  <a:lnTo>
                    <a:pt x="168" y="47"/>
                  </a:lnTo>
                  <a:lnTo>
                    <a:pt x="157" y="55"/>
                  </a:lnTo>
                  <a:lnTo>
                    <a:pt x="149" y="53"/>
                  </a:lnTo>
                  <a:lnTo>
                    <a:pt x="131" y="40"/>
                  </a:lnTo>
                  <a:lnTo>
                    <a:pt x="101" y="32"/>
                  </a:lnTo>
                  <a:lnTo>
                    <a:pt x="97" y="19"/>
                  </a:lnTo>
                  <a:lnTo>
                    <a:pt x="78" y="10"/>
                  </a:lnTo>
                  <a:lnTo>
                    <a:pt x="46" y="6"/>
                  </a:lnTo>
                  <a:lnTo>
                    <a:pt x="29" y="0"/>
                  </a:lnTo>
                  <a:lnTo>
                    <a:pt x="29" y="0"/>
                  </a:lnTo>
                  <a:lnTo>
                    <a:pt x="31" y="15"/>
                  </a:lnTo>
                  <a:lnTo>
                    <a:pt x="15" y="32"/>
                  </a:lnTo>
                  <a:lnTo>
                    <a:pt x="15" y="49"/>
                  </a:lnTo>
                  <a:lnTo>
                    <a:pt x="3" y="53"/>
                  </a:lnTo>
                  <a:lnTo>
                    <a:pt x="0" y="60"/>
                  </a:lnTo>
                  <a:lnTo>
                    <a:pt x="7" y="72"/>
                  </a:lnTo>
                  <a:lnTo>
                    <a:pt x="9" y="100"/>
                  </a:lnTo>
                  <a:lnTo>
                    <a:pt x="7" y="120"/>
                  </a:lnTo>
                  <a:lnTo>
                    <a:pt x="1" y="130"/>
                  </a:lnTo>
                  <a:lnTo>
                    <a:pt x="16" y="160"/>
                  </a:lnTo>
                  <a:lnTo>
                    <a:pt x="29" y="160"/>
                  </a:lnTo>
                  <a:lnTo>
                    <a:pt x="43" y="178"/>
                  </a:lnTo>
                  <a:lnTo>
                    <a:pt x="76" y="180"/>
                  </a:lnTo>
                  <a:lnTo>
                    <a:pt x="93" y="188"/>
                  </a:lnTo>
                  <a:lnTo>
                    <a:pt x="116" y="184"/>
                  </a:lnTo>
                  <a:lnTo>
                    <a:pt x="237" y="253"/>
                  </a:lnTo>
                  <a:lnTo>
                    <a:pt x="239" y="242"/>
                  </a:lnTo>
                  <a:lnTo>
                    <a:pt x="252" y="240"/>
                  </a:lnTo>
                  <a:lnTo>
                    <a:pt x="252" y="205"/>
                  </a:lnTo>
                  <a:lnTo>
                    <a:pt x="252" y="20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71" name="Freeform 5679"/>
            <p:cNvSpPr>
              <a:spLocks/>
            </p:cNvSpPr>
            <p:nvPr>
              <p:custDataLst>
                <p:tags r:id="rId51"/>
              </p:custDataLst>
            </p:nvPr>
          </p:nvSpPr>
          <p:spPr bwMode="gray">
            <a:xfrm>
              <a:off x="6432863" y="3484625"/>
              <a:ext cx="411873" cy="423905"/>
            </a:xfrm>
            <a:custGeom>
              <a:avLst/>
              <a:gdLst/>
              <a:ahLst/>
              <a:cxnLst>
                <a:cxn ang="0">
                  <a:pos x="264" y="2"/>
                </a:cxn>
                <a:cxn ang="0">
                  <a:pos x="234" y="0"/>
                </a:cxn>
                <a:cxn ang="0">
                  <a:pos x="221" y="6"/>
                </a:cxn>
                <a:cxn ang="0">
                  <a:pos x="199" y="0"/>
                </a:cxn>
                <a:cxn ang="0">
                  <a:pos x="154" y="8"/>
                </a:cxn>
                <a:cxn ang="0">
                  <a:pos x="107" y="32"/>
                </a:cxn>
                <a:cxn ang="0">
                  <a:pos x="113" y="39"/>
                </a:cxn>
                <a:cxn ang="0">
                  <a:pos x="118" y="84"/>
                </a:cxn>
                <a:cxn ang="0">
                  <a:pos x="79" y="96"/>
                </a:cxn>
                <a:cxn ang="0">
                  <a:pos x="79" y="107"/>
                </a:cxn>
                <a:cxn ang="0">
                  <a:pos x="51" y="127"/>
                </a:cxn>
                <a:cxn ang="0">
                  <a:pos x="10" y="142"/>
                </a:cxn>
                <a:cxn ang="0">
                  <a:pos x="2" y="148"/>
                </a:cxn>
                <a:cxn ang="0">
                  <a:pos x="0" y="170"/>
                </a:cxn>
                <a:cxn ang="0">
                  <a:pos x="0" y="178"/>
                </a:cxn>
                <a:cxn ang="0">
                  <a:pos x="0" y="178"/>
                </a:cxn>
                <a:cxn ang="0">
                  <a:pos x="56" y="219"/>
                </a:cxn>
                <a:cxn ang="0">
                  <a:pos x="148" y="289"/>
                </a:cxn>
                <a:cxn ang="0">
                  <a:pos x="160" y="304"/>
                </a:cxn>
                <a:cxn ang="0">
                  <a:pos x="180" y="313"/>
                </a:cxn>
                <a:cxn ang="0">
                  <a:pos x="182" y="330"/>
                </a:cxn>
                <a:cxn ang="0">
                  <a:pos x="197" y="328"/>
                </a:cxn>
                <a:cxn ang="0">
                  <a:pos x="221" y="322"/>
                </a:cxn>
                <a:cxn ang="0">
                  <a:pos x="321" y="247"/>
                </a:cxn>
                <a:cxn ang="0">
                  <a:pos x="307" y="229"/>
                </a:cxn>
                <a:cxn ang="0">
                  <a:pos x="294" y="229"/>
                </a:cxn>
                <a:cxn ang="0">
                  <a:pos x="279" y="199"/>
                </a:cxn>
                <a:cxn ang="0">
                  <a:pos x="285" y="189"/>
                </a:cxn>
                <a:cxn ang="0">
                  <a:pos x="287" y="169"/>
                </a:cxn>
                <a:cxn ang="0">
                  <a:pos x="285" y="141"/>
                </a:cxn>
                <a:cxn ang="0">
                  <a:pos x="278" y="129"/>
                </a:cxn>
                <a:cxn ang="0">
                  <a:pos x="281" y="122"/>
                </a:cxn>
                <a:cxn ang="0">
                  <a:pos x="278" y="94"/>
                </a:cxn>
                <a:cxn ang="0">
                  <a:pos x="263" y="82"/>
                </a:cxn>
                <a:cxn ang="0">
                  <a:pos x="253" y="60"/>
                </a:cxn>
                <a:cxn ang="0">
                  <a:pos x="266" y="39"/>
                </a:cxn>
                <a:cxn ang="0">
                  <a:pos x="266" y="8"/>
                </a:cxn>
                <a:cxn ang="0">
                  <a:pos x="274" y="0"/>
                </a:cxn>
                <a:cxn ang="0">
                  <a:pos x="264" y="2"/>
                </a:cxn>
                <a:cxn ang="0">
                  <a:pos x="264" y="2"/>
                </a:cxn>
              </a:cxnLst>
              <a:rect l="0" t="0" r="r" b="b"/>
              <a:pathLst>
                <a:path w="321" h="330">
                  <a:moveTo>
                    <a:pt x="264" y="2"/>
                  </a:moveTo>
                  <a:lnTo>
                    <a:pt x="234" y="0"/>
                  </a:lnTo>
                  <a:lnTo>
                    <a:pt x="221" y="6"/>
                  </a:lnTo>
                  <a:lnTo>
                    <a:pt x="199" y="0"/>
                  </a:lnTo>
                  <a:lnTo>
                    <a:pt x="154" y="8"/>
                  </a:lnTo>
                  <a:lnTo>
                    <a:pt x="107" y="32"/>
                  </a:lnTo>
                  <a:lnTo>
                    <a:pt x="113" y="39"/>
                  </a:lnTo>
                  <a:lnTo>
                    <a:pt x="118" y="84"/>
                  </a:lnTo>
                  <a:lnTo>
                    <a:pt x="79" y="96"/>
                  </a:lnTo>
                  <a:lnTo>
                    <a:pt x="79" y="107"/>
                  </a:lnTo>
                  <a:lnTo>
                    <a:pt x="51" y="127"/>
                  </a:lnTo>
                  <a:lnTo>
                    <a:pt x="10" y="142"/>
                  </a:lnTo>
                  <a:lnTo>
                    <a:pt x="2" y="148"/>
                  </a:lnTo>
                  <a:lnTo>
                    <a:pt x="0" y="170"/>
                  </a:lnTo>
                  <a:lnTo>
                    <a:pt x="0" y="178"/>
                  </a:lnTo>
                  <a:lnTo>
                    <a:pt x="0" y="178"/>
                  </a:lnTo>
                  <a:lnTo>
                    <a:pt x="56" y="219"/>
                  </a:lnTo>
                  <a:lnTo>
                    <a:pt x="148" y="289"/>
                  </a:lnTo>
                  <a:lnTo>
                    <a:pt x="160" y="304"/>
                  </a:lnTo>
                  <a:lnTo>
                    <a:pt x="180" y="313"/>
                  </a:lnTo>
                  <a:lnTo>
                    <a:pt x="182" y="330"/>
                  </a:lnTo>
                  <a:lnTo>
                    <a:pt x="197" y="328"/>
                  </a:lnTo>
                  <a:lnTo>
                    <a:pt x="221" y="322"/>
                  </a:lnTo>
                  <a:lnTo>
                    <a:pt x="321" y="247"/>
                  </a:lnTo>
                  <a:lnTo>
                    <a:pt x="307" y="229"/>
                  </a:lnTo>
                  <a:lnTo>
                    <a:pt x="294" y="229"/>
                  </a:lnTo>
                  <a:lnTo>
                    <a:pt x="279" y="199"/>
                  </a:lnTo>
                  <a:lnTo>
                    <a:pt x="285" y="189"/>
                  </a:lnTo>
                  <a:lnTo>
                    <a:pt x="287" y="169"/>
                  </a:lnTo>
                  <a:lnTo>
                    <a:pt x="285" y="141"/>
                  </a:lnTo>
                  <a:lnTo>
                    <a:pt x="278" y="129"/>
                  </a:lnTo>
                  <a:lnTo>
                    <a:pt x="281" y="122"/>
                  </a:lnTo>
                  <a:lnTo>
                    <a:pt x="278" y="94"/>
                  </a:lnTo>
                  <a:lnTo>
                    <a:pt x="263" y="82"/>
                  </a:lnTo>
                  <a:lnTo>
                    <a:pt x="253" y="60"/>
                  </a:lnTo>
                  <a:lnTo>
                    <a:pt x="266" y="39"/>
                  </a:lnTo>
                  <a:lnTo>
                    <a:pt x="266" y="8"/>
                  </a:lnTo>
                  <a:lnTo>
                    <a:pt x="274" y="0"/>
                  </a:lnTo>
                  <a:lnTo>
                    <a:pt x="264" y="2"/>
                  </a:lnTo>
                  <a:lnTo>
                    <a:pt x="264" y="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72" name="Freeform 5680"/>
            <p:cNvSpPr>
              <a:spLocks/>
            </p:cNvSpPr>
            <p:nvPr>
              <p:custDataLst>
                <p:tags r:id="rId52"/>
              </p:custDataLst>
            </p:nvPr>
          </p:nvSpPr>
          <p:spPr bwMode="gray">
            <a:xfrm>
              <a:off x="7682595" y="3773651"/>
              <a:ext cx="142423" cy="192684"/>
            </a:xfrm>
            <a:custGeom>
              <a:avLst/>
              <a:gdLst/>
              <a:ahLst/>
              <a:cxnLst>
                <a:cxn ang="0">
                  <a:pos x="23" y="144"/>
                </a:cxn>
                <a:cxn ang="0">
                  <a:pos x="38" y="144"/>
                </a:cxn>
                <a:cxn ang="0">
                  <a:pos x="45" y="131"/>
                </a:cxn>
                <a:cxn ang="0">
                  <a:pos x="60" y="125"/>
                </a:cxn>
                <a:cxn ang="0">
                  <a:pos x="72" y="110"/>
                </a:cxn>
                <a:cxn ang="0">
                  <a:pos x="85" y="105"/>
                </a:cxn>
                <a:cxn ang="0">
                  <a:pos x="83" y="88"/>
                </a:cxn>
                <a:cxn ang="0">
                  <a:pos x="105" y="62"/>
                </a:cxn>
                <a:cxn ang="0">
                  <a:pos x="111" y="43"/>
                </a:cxn>
                <a:cxn ang="0">
                  <a:pos x="94" y="22"/>
                </a:cxn>
                <a:cxn ang="0">
                  <a:pos x="68" y="15"/>
                </a:cxn>
                <a:cxn ang="0">
                  <a:pos x="55" y="0"/>
                </a:cxn>
                <a:cxn ang="0">
                  <a:pos x="43" y="13"/>
                </a:cxn>
                <a:cxn ang="0">
                  <a:pos x="43" y="22"/>
                </a:cxn>
                <a:cxn ang="0">
                  <a:pos x="40" y="24"/>
                </a:cxn>
                <a:cxn ang="0">
                  <a:pos x="40" y="24"/>
                </a:cxn>
                <a:cxn ang="0">
                  <a:pos x="45" y="28"/>
                </a:cxn>
                <a:cxn ang="0">
                  <a:pos x="51" y="41"/>
                </a:cxn>
                <a:cxn ang="0">
                  <a:pos x="55" y="62"/>
                </a:cxn>
                <a:cxn ang="0">
                  <a:pos x="38" y="93"/>
                </a:cxn>
                <a:cxn ang="0">
                  <a:pos x="0" y="131"/>
                </a:cxn>
                <a:cxn ang="0">
                  <a:pos x="10" y="150"/>
                </a:cxn>
                <a:cxn ang="0">
                  <a:pos x="23" y="144"/>
                </a:cxn>
                <a:cxn ang="0">
                  <a:pos x="23" y="144"/>
                </a:cxn>
              </a:cxnLst>
              <a:rect l="0" t="0" r="r" b="b"/>
              <a:pathLst>
                <a:path w="111" h="150">
                  <a:moveTo>
                    <a:pt x="23" y="144"/>
                  </a:moveTo>
                  <a:lnTo>
                    <a:pt x="38" y="144"/>
                  </a:lnTo>
                  <a:lnTo>
                    <a:pt x="45" y="131"/>
                  </a:lnTo>
                  <a:lnTo>
                    <a:pt x="60" y="125"/>
                  </a:lnTo>
                  <a:lnTo>
                    <a:pt x="72" y="110"/>
                  </a:lnTo>
                  <a:lnTo>
                    <a:pt x="85" y="105"/>
                  </a:lnTo>
                  <a:lnTo>
                    <a:pt x="83" y="88"/>
                  </a:lnTo>
                  <a:lnTo>
                    <a:pt x="105" y="62"/>
                  </a:lnTo>
                  <a:lnTo>
                    <a:pt x="111" y="43"/>
                  </a:lnTo>
                  <a:lnTo>
                    <a:pt x="94" y="22"/>
                  </a:lnTo>
                  <a:lnTo>
                    <a:pt x="68" y="15"/>
                  </a:lnTo>
                  <a:lnTo>
                    <a:pt x="55" y="0"/>
                  </a:lnTo>
                  <a:lnTo>
                    <a:pt x="43" y="13"/>
                  </a:lnTo>
                  <a:lnTo>
                    <a:pt x="43" y="22"/>
                  </a:lnTo>
                  <a:lnTo>
                    <a:pt x="40" y="24"/>
                  </a:lnTo>
                  <a:lnTo>
                    <a:pt x="40" y="24"/>
                  </a:lnTo>
                  <a:lnTo>
                    <a:pt x="45" y="28"/>
                  </a:lnTo>
                  <a:lnTo>
                    <a:pt x="51" y="41"/>
                  </a:lnTo>
                  <a:lnTo>
                    <a:pt x="55" y="62"/>
                  </a:lnTo>
                  <a:lnTo>
                    <a:pt x="38" y="93"/>
                  </a:lnTo>
                  <a:lnTo>
                    <a:pt x="0" y="131"/>
                  </a:lnTo>
                  <a:lnTo>
                    <a:pt x="10" y="150"/>
                  </a:lnTo>
                  <a:lnTo>
                    <a:pt x="23" y="144"/>
                  </a:lnTo>
                  <a:lnTo>
                    <a:pt x="23" y="14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73" name="Freeform 5681"/>
            <p:cNvSpPr>
              <a:spLocks/>
            </p:cNvSpPr>
            <p:nvPr>
              <p:custDataLst>
                <p:tags r:id="rId53"/>
              </p:custDataLst>
            </p:nvPr>
          </p:nvSpPr>
          <p:spPr bwMode="gray">
            <a:xfrm>
              <a:off x="7302800" y="3597666"/>
              <a:ext cx="450366" cy="409774"/>
            </a:xfrm>
            <a:custGeom>
              <a:avLst/>
              <a:gdLst/>
              <a:ahLst/>
              <a:cxnLst>
                <a:cxn ang="0">
                  <a:pos x="85" y="29"/>
                </a:cxn>
                <a:cxn ang="0">
                  <a:pos x="91" y="33"/>
                </a:cxn>
                <a:cxn ang="0">
                  <a:pos x="100" y="30"/>
                </a:cxn>
                <a:cxn ang="0">
                  <a:pos x="100" y="30"/>
                </a:cxn>
                <a:cxn ang="0">
                  <a:pos x="115" y="35"/>
                </a:cxn>
                <a:cxn ang="0">
                  <a:pos x="115" y="36"/>
                </a:cxn>
                <a:cxn ang="0">
                  <a:pos x="131" y="54"/>
                </a:cxn>
                <a:cxn ang="0">
                  <a:pos x="138" y="69"/>
                </a:cxn>
                <a:cxn ang="0">
                  <a:pos x="143" y="78"/>
                </a:cxn>
                <a:cxn ang="0">
                  <a:pos x="139" y="83"/>
                </a:cxn>
                <a:cxn ang="0">
                  <a:pos x="139" y="87"/>
                </a:cxn>
                <a:cxn ang="0">
                  <a:pos x="145" y="89"/>
                </a:cxn>
                <a:cxn ang="0">
                  <a:pos x="154" y="89"/>
                </a:cxn>
                <a:cxn ang="0">
                  <a:pos x="164" y="89"/>
                </a:cxn>
                <a:cxn ang="0">
                  <a:pos x="169" y="87"/>
                </a:cxn>
                <a:cxn ang="0">
                  <a:pos x="173" y="85"/>
                </a:cxn>
                <a:cxn ang="0">
                  <a:pos x="179" y="86"/>
                </a:cxn>
                <a:cxn ang="0">
                  <a:pos x="182" y="88"/>
                </a:cxn>
                <a:cxn ang="0">
                  <a:pos x="185" y="95"/>
                </a:cxn>
                <a:cxn ang="0">
                  <a:pos x="187" y="106"/>
                </a:cxn>
                <a:cxn ang="0">
                  <a:pos x="178" y="123"/>
                </a:cxn>
                <a:cxn ang="0">
                  <a:pos x="158" y="143"/>
                </a:cxn>
                <a:cxn ang="0">
                  <a:pos x="130" y="148"/>
                </a:cxn>
                <a:cxn ang="0">
                  <a:pos x="100" y="170"/>
                </a:cxn>
                <a:cxn ang="0">
                  <a:pos x="82" y="149"/>
                </a:cxn>
                <a:cxn ang="0">
                  <a:pos x="74" y="155"/>
                </a:cxn>
                <a:cxn ang="0">
                  <a:pos x="73" y="156"/>
                </a:cxn>
                <a:cxn ang="0">
                  <a:pos x="71" y="149"/>
                </a:cxn>
                <a:cxn ang="0">
                  <a:pos x="56" y="123"/>
                </a:cxn>
                <a:cxn ang="0">
                  <a:pos x="47" y="118"/>
                </a:cxn>
                <a:cxn ang="0">
                  <a:pos x="42" y="111"/>
                </a:cxn>
                <a:cxn ang="0">
                  <a:pos x="40" y="93"/>
                </a:cxn>
                <a:cxn ang="0">
                  <a:pos x="34" y="83"/>
                </a:cxn>
                <a:cxn ang="0">
                  <a:pos x="26" y="77"/>
                </a:cxn>
                <a:cxn ang="0">
                  <a:pos x="5" y="41"/>
                </a:cxn>
                <a:cxn ang="0">
                  <a:pos x="0" y="41"/>
                </a:cxn>
                <a:cxn ang="0">
                  <a:pos x="2" y="28"/>
                </a:cxn>
                <a:cxn ang="0">
                  <a:pos x="2" y="28"/>
                </a:cxn>
                <a:cxn ang="0">
                  <a:pos x="11" y="29"/>
                </a:cxn>
                <a:cxn ang="0">
                  <a:pos x="16" y="22"/>
                </a:cxn>
                <a:cxn ang="0">
                  <a:pos x="21" y="22"/>
                </a:cxn>
                <a:cxn ang="0">
                  <a:pos x="26" y="16"/>
                </a:cxn>
                <a:cxn ang="0">
                  <a:pos x="18" y="7"/>
                </a:cxn>
                <a:cxn ang="0">
                  <a:pos x="35" y="0"/>
                </a:cxn>
                <a:cxn ang="0">
                  <a:pos x="48" y="3"/>
                </a:cxn>
                <a:cxn ang="0">
                  <a:pos x="67" y="14"/>
                </a:cxn>
                <a:cxn ang="0">
                  <a:pos x="73" y="18"/>
                </a:cxn>
                <a:cxn ang="0">
                  <a:pos x="74" y="24"/>
                </a:cxn>
                <a:cxn ang="0">
                  <a:pos x="85" y="29"/>
                </a:cxn>
              </a:cxnLst>
              <a:rect l="0" t="0" r="r" b="b"/>
              <a:pathLst>
                <a:path w="187" h="170">
                  <a:moveTo>
                    <a:pt x="85" y="29"/>
                  </a:moveTo>
                  <a:cubicBezTo>
                    <a:pt x="91" y="33"/>
                    <a:pt x="91" y="33"/>
                    <a:pt x="91" y="33"/>
                  </a:cubicBezTo>
                  <a:cubicBezTo>
                    <a:pt x="100" y="30"/>
                    <a:pt x="100" y="30"/>
                    <a:pt x="100" y="30"/>
                  </a:cubicBezTo>
                  <a:cubicBezTo>
                    <a:pt x="100" y="30"/>
                    <a:pt x="100" y="30"/>
                    <a:pt x="100" y="30"/>
                  </a:cubicBezTo>
                  <a:cubicBezTo>
                    <a:pt x="115" y="35"/>
                    <a:pt x="115" y="35"/>
                    <a:pt x="115" y="35"/>
                  </a:cubicBezTo>
                  <a:cubicBezTo>
                    <a:pt x="115" y="36"/>
                    <a:pt x="115" y="36"/>
                    <a:pt x="115" y="36"/>
                  </a:cubicBezTo>
                  <a:cubicBezTo>
                    <a:pt x="131" y="54"/>
                    <a:pt x="131" y="54"/>
                    <a:pt x="131" y="54"/>
                  </a:cubicBezTo>
                  <a:cubicBezTo>
                    <a:pt x="138" y="69"/>
                    <a:pt x="138" y="69"/>
                    <a:pt x="138" y="69"/>
                  </a:cubicBezTo>
                  <a:cubicBezTo>
                    <a:pt x="143" y="78"/>
                    <a:pt x="143" y="78"/>
                    <a:pt x="143" y="78"/>
                  </a:cubicBezTo>
                  <a:cubicBezTo>
                    <a:pt x="139" y="83"/>
                    <a:pt x="139" y="83"/>
                    <a:pt x="139" y="83"/>
                  </a:cubicBezTo>
                  <a:cubicBezTo>
                    <a:pt x="139" y="87"/>
                    <a:pt x="139" y="87"/>
                    <a:pt x="139" y="87"/>
                  </a:cubicBezTo>
                  <a:cubicBezTo>
                    <a:pt x="145" y="89"/>
                    <a:pt x="145" y="89"/>
                    <a:pt x="145" y="89"/>
                  </a:cubicBezTo>
                  <a:cubicBezTo>
                    <a:pt x="145" y="89"/>
                    <a:pt x="154" y="89"/>
                    <a:pt x="154" y="89"/>
                  </a:cubicBezTo>
                  <a:cubicBezTo>
                    <a:pt x="154" y="89"/>
                    <a:pt x="164" y="89"/>
                    <a:pt x="164" y="89"/>
                  </a:cubicBezTo>
                  <a:cubicBezTo>
                    <a:pt x="165" y="89"/>
                    <a:pt x="169" y="87"/>
                    <a:pt x="169" y="87"/>
                  </a:cubicBezTo>
                  <a:cubicBezTo>
                    <a:pt x="170" y="87"/>
                    <a:pt x="173" y="85"/>
                    <a:pt x="173" y="85"/>
                  </a:cubicBezTo>
                  <a:cubicBezTo>
                    <a:pt x="179" y="86"/>
                    <a:pt x="179" y="86"/>
                    <a:pt x="179" y="86"/>
                  </a:cubicBezTo>
                  <a:cubicBezTo>
                    <a:pt x="182" y="88"/>
                    <a:pt x="182" y="88"/>
                    <a:pt x="182" y="88"/>
                  </a:cubicBezTo>
                  <a:cubicBezTo>
                    <a:pt x="185" y="95"/>
                    <a:pt x="185" y="95"/>
                    <a:pt x="185" y="95"/>
                  </a:cubicBezTo>
                  <a:cubicBezTo>
                    <a:pt x="187" y="106"/>
                    <a:pt x="187" y="106"/>
                    <a:pt x="187" y="106"/>
                  </a:cubicBezTo>
                  <a:cubicBezTo>
                    <a:pt x="178" y="123"/>
                    <a:pt x="178" y="123"/>
                    <a:pt x="178" y="123"/>
                  </a:cubicBezTo>
                  <a:cubicBezTo>
                    <a:pt x="158" y="143"/>
                    <a:pt x="158" y="143"/>
                    <a:pt x="158" y="143"/>
                  </a:cubicBezTo>
                  <a:cubicBezTo>
                    <a:pt x="130" y="148"/>
                    <a:pt x="130" y="148"/>
                    <a:pt x="130" y="148"/>
                  </a:cubicBezTo>
                  <a:cubicBezTo>
                    <a:pt x="100" y="170"/>
                    <a:pt x="100" y="170"/>
                    <a:pt x="100" y="170"/>
                  </a:cubicBezTo>
                  <a:cubicBezTo>
                    <a:pt x="82" y="149"/>
                    <a:pt x="82" y="149"/>
                    <a:pt x="82" y="149"/>
                  </a:cubicBezTo>
                  <a:cubicBezTo>
                    <a:pt x="74" y="155"/>
                    <a:pt x="74" y="155"/>
                    <a:pt x="74" y="155"/>
                  </a:cubicBezTo>
                  <a:cubicBezTo>
                    <a:pt x="73" y="156"/>
                    <a:pt x="73" y="156"/>
                    <a:pt x="73" y="156"/>
                  </a:cubicBezTo>
                  <a:cubicBezTo>
                    <a:pt x="71" y="149"/>
                    <a:pt x="71" y="149"/>
                    <a:pt x="71" y="149"/>
                  </a:cubicBezTo>
                  <a:cubicBezTo>
                    <a:pt x="56" y="123"/>
                    <a:pt x="56" y="123"/>
                    <a:pt x="56" y="123"/>
                  </a:cubicBezTo>
                  <a:cubicBezTo>
                    <a:pt x="47" y="118"/>
                    <a:pt x="47" y="118"/>
                    <a:pt x="47" y="118"/>
                  </a:cubicBezTo>
                  <a:cubicBezTo>
                    <a:pt x="42" y="111"/>
                    <a:pt x="42" y="111"/>
                    <a:pt x="42" y="111"/>
                  </a:cubicBezTo>
                  <a:cubicBezTo>
                    <a:pt x="40" y="93"/>
                    <a:pt x="40" y="93"/>
                    <a:pt x="40" y="93"/>
                  </a:cubicBezTo>
                  <a:cubicBezTo>
                    <a:pt x="34" y="83"/>
                    <a:pt x="34" y="83"/>
                    <a:pt x="34" y="83"/>
                  </a:cubicBezTo>
                  <a:cubicBezTo>
                    <a:pt x="26" y="77"/>
                    <a:pt x="26" y="77"/>
                    <a:pt x="26" y="77"/>
                  </a:cubicBezTo>
                  <a:cubicBezTo>
                    <a:pt x="5" y="41"/>
                    <a:pt x="5" y="41"/>
                    <a:pt x="5" y="41"/>
                  </a:cubicBezTo>
                  <a:cubicBezTo>
                    <a:pt x="0" y="41"/>
                    <a:pt x="0" y="41"/>
                    <a:pt x="0" y="41"/>
                  </a:cubicBezTo>
                  <a:cubicBezTo>
                    <a:pt x="2" y="28"/>
                    <a:pt x="2" y="28"/>
                    <a:pt x="2" y="28"/>
                  </a:cubicBezTo>
                  <a:cubicBezTo>
                    <a:pt x="2" y="28"/>
                    <a:pt x="2" y="28"/>
                    <a:pt x="2" y="28"/>
                  </a:cubicBezTo>
                  <a:cubicBezTo>
                    <a:pt x="11" y="29"/>
                    <a:pt x="11" y="29"/>
                    <a:pt x="11" y="29"/>
                  </a:cubicBezTo>
                  <a:cubicBezTo>
                    <a:pt x="16" y="22"/>
                    <a:pt x="16" y="22"/>
                    <a:pt x="16" y="22"/>
                  </a:cubicBezTo>
                  <a:cubicBezTo>
                    <a:pt x="21" y="22"/>
                    <a:pt x="21" y="22"/>
                    <a:pt x="21" y="22"/>
                  </a:cubicBezTo>
                  <a:cubicBezTo>
                    <a:pt x="26" y="16"/>
                    <a:pt x="26" y="16"/>
                    <a:pt x="26" y="16"/>
                  </a:cubicBezTo>
                  <a:cubicBezTo>
                    <a:pt x="18" y="7"/>
                    <a:pt x="18" y="7"/>
                    <a:pt x="18" y="7"/>
                  </a:cubicBezTo>
                  <a:cubicBezTo>
                    <a:pt x="35" y="0"/>
                    <a:pt x="35" y="0"/>
                    <a:pt x="35" y="0"/>
                  </a:cubicBezTo>
                  <a:cubicBezTo>
                    <a:pt x="48" y="3"/>
                    <a:pt x="48" y="3"/>
                    <a:pt x="48" y="3"/>
                  </a:cubicBezTo>
                  <a:cubicBezTo>
                    <a:pt x="67" y="14"/>
                    <a:pt x="67" y="14"/>
                    <a:pt x="67" y="14"/>
                  </a:cubicBezTo>
                  <a:cubicBezTo>
                    <a:pt x="73" y="18"/>
                    <a:pt x="73" y="18"/>
                    <a:pt x="73" y="18"/>
                  </a:cubicBezTo>
                  <a:cubicBezTo>
                    <a:pt x="74" y="24"/>
                    <a:pt x="74" y="24"/>
                    <a:pt x="74" y="24"/>
                  </a:cubicBezTo>
                  <a:cubicBezTo>
                    <a:pt x="85" y="29"/>
                    <a:pt x="85" y="29"/>
                    <a:pt x="85" y="29"/>
                  </a:cubicBez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74" name="Freeform 5682"/>
            <p:cNvSpPr>
              <a:spLocks/>
            </p:cNvSpPr>
            <p:nvPr>
              <p:custDataLst>
                <p:tags r:id="rId54"/>
              </p:custDataLst>
            </p:nvPr>
          </p:nvSpPr>
          <p:spPr bwMode="gray">
            <a:xfrm>
              <a:off x="7635121" y="3744106"/>
              <a:ext cx="19246" cy="41106"/>
            </a:xfrm>
            <a:custGeom>
              <a:avLst/>
              <a:gdLst/>
              <a:ahLst/>
              <a:cxnLst>
                <a:cxn ang="0">
                  <a:pos x="0" y="15"/>
                </a:cxn>
                <a:cxn ang="0">
                  <a:pos x="4" y="0"/>
                </a:cxn>
                <a:cxn ang="0">
                  <a:pos x="13" y="4"/>
                </a:cxn>
                <a:cxn ang="0">
                  <a:pos x="15" y="23"/>
                </a:cxn>
                <a:cxn ang="0">
                  <a:pos x="9" y="32"/>
                </a:cxn>
                <a:cxn ang="0">
                  <a:pos x="0" y="15"/>
                </a:cxn>
                <a:cxn ang="0">
                  <a:pos x="0" y="15"/>
                </a:cxn>
              </a:cxnLst>
              <a:rect l="0" t="0" r="r" b="b"/>
              <a:pathLst>
                <a:path w="15" h="32">
                  <a:moveTo>
                    <a:pt x="0" y="15"/>
                  </a:moveTo>
                  <a:lnTo>
                    <a:pt x="4" y="0"/>
                  </a:lnTo>
                  <a:lnTo>
                    <a:pt x="13" y="4"/>
                  </a:lnTo>
                  <a:lnTo>
                    <a:pt x="15" y="23"/>
                  </a:lnTo>
                  <a:lnTo>
                    <a:pt x="9" y="32"/>
                  </a:lnTo>
                  <a:lnTo>
                    <a:pt x="0" y="15"/>
                  </a:lnTo>
                  <a:lnTo>
                    <a:pt x="0" y="15"/>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75" name="Freeform 5683"/>
            <p:cNvSpPr>
              <a:spLocks/>
            </p:cNvSpPr>
            <p:nvPr>
              <p:custDataLst>
                <p:tags r:id="rId55"/>
              </p:custDataLst>
            </p:nvPr>
          </p:nvSpPr>
          <p:spPr bwMode="gray">
            <a:xfrm>
              <a:off x="7637687" y="3746675"/>
              <a:ext cx="115478" cy="65513"/>
            </a:xfrm>
            <a:custGeom>
              <a:avLst/>
              <a:gdLst/>
              <a:ahLst/>
              <a:cxnLst>
                <a:cxn ang="0">
                  <a:pos x="47" y="7"/>
                </a:cxn>
                <a:cxn ang="0">
                  <a:pos x="48" y="11"/>
                </a:cxn>
                <a:cxn ang="0">
                  <a:pos x="42" y="18"/>
                </a:cxn>
                <a:cxn ang="0">
                  <a:pos x="42" y="23"/>
                </a:cxn>
                <a:cxn ang="0">
                  <a:pos x="40" y="24"/>
                </a:cxn>
                <a:cxn ang="0">
                  <a:pos x="40" y="24"/>
                </a:cxn>
                <a:cxn ang="0">
                  <a:pos x="34" y="23"/>
                </a:cxn>
                <a:cxn ang="0">
                  <a:pos x="30" y="25"/>
                </a:cxn>
                <a:cxn ang="0">
                  <a:pos x="25" y="27"/>
                </a:cxn>
                <a:cxn ang="0">
                  <a:pos x="15" y="27"/>
                </a:cxn>
                <a:cxn ang="0">
                  <a:pos x="6" y="27"/>
                </a:cxn>
                <a:cxn ang="0">
                  <a:pos x="0" y="25"/>
                </a:cxn>
                <a:cxn ang="0">
                  <a:pos x="0" y="21"/>
                </a:cxn>
                <a:cxn ang="0">
                  <a:pos x="4" y="16"/>
                </a:cxn>
                <a:cxn ang="0">
                  <a:pos x="14" y="19"/>
                </a:cxn>
                <a:cxn ang="0">
                  <a:pos x="16" y="17"/>
                </a:cxn>
                <a:cxn ang="0">
                  <a:pos x="29" y="17"/>
                </a:cxn>
                <a:cxn ang="0">
                  <a:pos x="42" y="0"/>
                </a:cxn>
                <a:cxn ang="0">
                  <a:pos x="47" y="7"/>
                </a:cxn>
              </a:cxnLst>
              <a:rect l="0" t="0" r="r" b="b"/>
              <a:pathLst>
                <a:path w="48" h="27">
                  <a:moveTo>
                    <a:pt x="47" y="7"/>
                  </a:moveTo>
                  <a:cubicBezTo>
                    <a:pt x="48" y="11"/>
                    <a:pt x="48" y="11"/>
                    <a:pt x="48" y="11"/>
                  </a:cubicBezTo>
                  <a:cubicBezTo>
                    <a:pt x="42" y="18"/>
                    <a:pt x="42" y="18"/>
                    <a:pt x="42" y="18"/>
                  </a:cubicBezTo>
                  <a:cubicBezTo>
                    <a:pt x="42" y="23"/>
                    <a:pt x="42" y="23"/>
                    <a:pt x="42" y="23"/>
                  </a:cubicBezTo>
                  <a:cubicBezTo>
                    <a:pt x="40" y="24"/>
                    <a:pt x="40" y="24"/>
                    <a:pt x="40" y="24"/>
                  </a:cubicBezTo>
                  <a:cubicBezTo>
                    <a:pt x="40" y="24"/>
                    <a:pt x="40" y="24"/>
                    <a:pt x="40" y="24"/>
                  </a:cubicBezTo>
                  <a:cubicBezTo>
                    <a:pt x="34" y="23"/>
                    <a:pt x="34" y="23"/>
                    <a:pt x="34" y="23"/>
                  </a:cubicBezTo>
                  <a:cubicBezTo>
                    <a:pt x="34" y="23"/>
                    <a:pt x="31" y="25"/>
                    <a:pt x="30" y="25"/>
                  </a:cubicBezTo>
                  <a:cubicBezTo>
                    <a:pt x="30" y="25"/>
                    <a:pt x="26" y="27"/>
                    <a:pt x="25" y="27"/>
                  </a:cubicBezTo>
                  <a:cubicBezTo>
                    <a:pt x="25" y="27"/>
                    <a:pt x="15" y="27"/>
                    <a:pt x="15" y="27"/>
                  </a:cubicBezTo>
                  <a:cubicBezTo>
                    <a:pt x="15" y="27"/>
                    <a:pt x="6" y="27"/>
                    <a:pt x="6" y="27"/>
                  </a:cubicBezTo>
                  <a:cubicBezTo>
                    <a:pt x="0" y="25"/>
                    <a:pt x="0" y="25"/>
                    <a:pt x="0" y="25"/>
                  </a:cubicBezTo>
                  <a:cubicBezTo>
                    <a:pt x="0" y="21"/>
                    <a:pt x="0" y="21"/>
                    <a:pt x="0" y="21"/>
                  </a:cubicBezTo>
                  <a:cubicBezTo>
                    <a:pt x="4" y="16"/>
                    <a:pt x="4" y="16"/>
                    <a:pt x="4" y="16"/>
                  </a:cubicBezTo>
                  <a:cubicBezTo>
                    <a:pt x="14" y="19"/>
                    <a:pt x="14" y="19"/>
                    <a:pt x="14" y="19"/>
                  </a:cubicBezTo>
                  <a:cubicBezTo>
                    <a:pt x="16" y="17"/>
                    <a:pt x="16" y="17"/>
                    <a:pt x="16" y="17"/>
                  </a:cubicBezTo>
                  <a:cubicBezTo>
                    <a:pt x="29" y="17"/>
                    <a:pt x="29" y="17"/>
                    <a:pt x="29" y="17"/>
                  </a:cubicBezTo>
                  <a:cubicBezTo>
                    <a:pt x="42" y="0"/>
                    <a:pt x="42" y="0"/>
                    <a:pt x="42" y="0"/>
                  </a:cubicBezTo>
                  <a:cubicBezTo>
                    <a:pt x="47" y="7"/>
                    <a:pt x="47" y="7"/>
                    <a:pt x="47" y="7"/>
                  </a:cubicBez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76" name="Freeform 5684"/>
            <p:cNvSpPr>
              <a:spLocks/>
            </p:cNvSpPr>
            <p:nvPr>
              <p:custDataLst>
                <p:tags r:id="rId56"/>
              </p:custDataLst>
            </p:nvPr>
          </p:nvSpPr>
          <p:spPr bwMode="gray">
            <a:xfrm>
              <a:off x="7737768" y="3740252"/>
              <a:ext cx="12831" cy="23122"/>
            </a:xfrm>
            <a:custGeom>
              <a:avLst/>
              <a:gdLst/>
              <a:ahLst/>
              <a:cxnLst>
                <a:cxn ang="0">
                  <a:pos x="10" y="18"/>
                </a:cxn>
                <a:cxn ang="0">
                  <a:pos x="10" y="1"/>
                </a:cxn>
                <a:cxn ang="0">
                  <a:pos x="6" y="0"/>
                </a:cxn>
                <a:cxn ang="0">
                  <a:pos x="0" y="5"/>
                </a:cxn>
                <a:cxn ang="0">
                  <a:pos x="10" y="18"/>
                </a:cxn>
                <a:cxn ang="0">
                  <a:pos x="10" y="18"/>
                </a:cxn>
              </a:cxnLst>
              <a:rect l="0" t="0" r="r" b="b"/>
              <a:pathLst>
                <a:path w="10" h="18">
                  <a:moveTo>
                    <a:pt x="10" y="18"/>
                  </a:moveTo>
                  <a:lnTo>
                    <a:pt x="10" y="1"/>
                  </a:lnTo>
                  <a:lnTo>
                    <a:pt x="6" y="0"/>
                  </a:lnTo>
                  <a:lnTo>
                    <a:pt x="0" y="5"/>
                  </a:lnTo>
                  <a:lnTo>
                    <a:pt x="10" y="18"/>
                  </a:lnTo>
                  <a:lnTo>
                    <a:pt x="10" y="1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77" name="Freeform 5685"/>
            <p:cNvSpPr>
              <a:spLocks/>
            </p:cNvSpPr>
            <p:nvPr>
              <p:custDataLst>
                <p:tags r:id="rId57"/>
              </p:custDataLst>
            </p:nvPr>
          </p:nvSpPr>
          <p:spPr bwMode="gray">
            <a:xfrm>
              <a:off x="9328803" y="4368402"/>
              <a:ext cx="214276" cy="209383"/>
            </a:xfrm>
            <a:custGeom>
              <a:avLst/>
              <a:gdLst/>
              <a:ahLst/>
              <a:cxnLst>
                <a:cxn ang="0">
                  <a:pos x="165" y="163"/>
                </a:cxn>
                <a:cxn ang="0">
                  <a:pos x="145" y="140"/>
                </a:cxn>
                <a:cxn ang="0">
                  <a:pos x="107" y="148"/>
                </a:cxn>
                <a:cxn ang="0">
                  <a:pos x="117" y="129"/>
                </a:cxn>
                <a:cxn ang="0">
                  <a:pos x="124" y="127"/>
                </a:cxn>
                <a:cxn ang="0">
                  <a:pos x="118" y="97"/>
                </a:cxn>
                <a:cxn ang="0">
                  <a:pos x="105" y="86"/>
                </a:cxn>
                <a:cxn ang="0">
                  <a:pos x="68" y="73"/>
                </a:cxn>
                <a:cxn ang="0">
                  <a:pos x="45" y="58"/>
                </a:cxn>
                <a:cxn ang="0">
                  <a:pos x="40" y="67"/>
                </a:cxn>
                <a:cxn ang="0">
                  <a:pos x="32" y="67"/>
                </a:cxn>
                <a:cxn ang="0">
                  <a:pos x="30" y="54"/>
                </a:cxn>
                <a:cxn ang="0">
                  <a:pos x="17" y="46"/>
                </a:cxn>
                <a:cxn ang="0">
                  <a:pos x="47" y="39"/>
                </a:cxn>
                <a:cxn ang="0">
                  <a:pos x="49" y="31"/>
                </a:cxn>
                <a:cxn ang="0">
                  <a:pos x="23" y="35"/>
                </a:cxn>
                <a:cxn ang="0">
                  <a:pos x="17" y="31"/>
                </a:cxn>
                <a:cxn ang="0">
                  <a:pos x="17" y="22"/>
                </a:cxn>
                <a:cxn ang="0">
                  <a:pos x="0" y="18"/>
                </a:cxn>
                <a:cxn ang="0">
                  <a:pos x="23" y="0"/>
                </a:cxn>
                <a:cxn ang="0">
                  <a:pos x="34" y="0"/>
                </a:cxn>
                <a:cxn ang="0">
                  <a:pos x="42" y="7"/>
                </a:cxn>
                <a:cxn ang="0">
                  <a:pos x="51" y="7"/>
                </a:cxn>
                <a:cxn ang="0">
                  <a:pos x="55" y="37"/>
                </a:cxn>
                <a:cxn ang="0">
                  <a:pos x="70" y="56"/>
                </a:cxn>
                <a:cxn ang="0">
                  <a:pos x="77" y="56"/>
                </a:cxn>
                <a:cxn ang="0">
                  <a:pos x="94" y="33"/>
                </a:cxn>
                <a:cxn ang="0">
                  <a:pos x="117" y="20"/>
                </a:cxn>
                <a:cxn ang="0">
                  <a:pos x="167" y="43"/>
                </a:cxn>
                <a:cxn ang="0">
                  <a:pos x="165" y="163"/>
                </a:cxn>
                <a:cxn ang="0">
                  <a:pos x="165" y="163"/>
                </a:cxn>
              </a:cxnLst>
              <a:rect l="0" t="0" r="r" b="b"/>
              <a:pathLst>
                <a:path w="167" h="163">
                  <a:moveTo>
                    <a:pt x="165" y="163"/>
                  </a:moveTo>
                  <a:lnTo>
                    <a:pt x="145" y="140"/>
                  </a:lnTo>
                  <a:lnTo>
                    <a:pt x="107" y="148"/>
                  </a:lnTo>
                  <a:lnTo>
                    <a:pt x="117" y="129"/>
                  </a:lnTo>
                  <a:lnTo>
                    <a:pt x="124" y="127"/>
                  </a:lnTo>
                  <a:lnTo>
                    <a:pt x="118" y="97"/>
                  </a:lnTo>
                  <a:lnTo>
                    <a:pt x="105" y="86"/>
                  </a:lnTo>
                  <a:lnTo>
                    <a:pt x="68" y="73"/>
                  </a:lnTo>
                  <a:lnTo>
                    <a:pt x="45" y="58"/>
                  </a:lnTo>
                  <a:lnTo>
                    <a:pt x="40" y="67"/>
                  </a:lnTo>
                  <a:lnTo>
                    <a:pt x="32" y="67"/>
                  </a:lnTo>
                  <a:lnTo>
                    <a:pt x="30" y="54"/>
                  </a:lnTo>
                  <a:lnTo>
                    <a:pt x="17" y="46"/>
                  </a:lnTo>
                  <a:lnTo>
                    <a:pt x="47" y="39"/>
                  </a:lnTo>
                  <a:lnTo>
                    <a:pt x="49" y="31"/>
                  </a:lnTo>
                  <a:lnTo>
                    <a:pt x="23" y="35"/>
                  </a:lnTo>
                  <a:lnTo>
                    <a:pt x="17" y="31"/>
                  </a:lnTo>
                  <a:lnTo>
                    <a:pt x="17" y="22"/>
                  </a:lnTo>
                  <a:lnTo>
                    <a:pt x="0" y="18"/>
                  </a:lnTo>
                  <a:lnTo>
                    <a:pt x="23" y="0"/>
                  </a:lnTo>
                  <a:lnTo>
                    <a:pt x="34" y="0"/>
                  </a:lnTo>
                  <a:lnTo>
                    <a:pt x="42" y="7"/>
                  </a:lnTo>
                  <a:lnTo>
                    <a:pt x="51" y="7"/>
                  </a:lnTo>
                  <a:lnTo>
                    <a:pt x="55" y="37"/>
                  </a:lnTo>
                  <a:lnTo>
                    <a:pt x="70" y="56"/>
                  </a:lnTo>
                  <a:lnTo>
                    <a:pt x="77" y="56"/>
                  </a:lnTo>
                  <a:lnTo>
                    <a:pt x="94" y="33"/>
                  </a:lnTo>
                  <a:lnTo>
                    <a:pt x="117" y="20"/>
                  </a:lnTo>
                  <a:lnTo>
                    <a:pt x="167" y="43"/>
                  </a:lnTo>
                  <a:lnTo>
                    <a:pt x="165" y="163"/>
                  </a:lnTo>
                  <a:lnTo>
                    <a:pt x="165" y="163"/>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78" name="Freeform 5686"/>
            <p:cNvSpPr>
              <a:spLocks/>
            </p:cNvSpPr>
            <p:nvPr>
              <p:custDataLst>
                <p:tags r:id="rId58"/>
              </p:custDataLst>
            </p:nvPr>
          </p:nvSpPr>
          <p:spPr bwMode="gray">
            <a:xfrm>
              <a:off x="8873305" y="4256645"/>
              <a:ext cx="210427" cy="200391"/>
            </a:xfrm>
            <a:custGeom>
              <a:avLst/>
              <a:gdLst/>
              <a:ahLst/>
              <a:cxnLst>
                <a:cxn ang="0">
                  <a:pos x="119" y="0"/>
                </a:cxn>
                <a:cxn ang="0">
                  <a:pos x="108" y="2"/>
                </a:cxn>
                <a:cxn ang="0">
                  <a:pos x="91" y="49"/>
                </a:cxn>
                <a:cxn ang="0">
                  <a:pos x="76" y="58"/>
                </a:cxn>
                <a:cxn ang="0">
                  <a:pos x="54" y="53"/>
                </a:cxn>
                <a:cxn ang="0">
                  <a:pos x="46" y="62"/>
                </a:cxn>
                <a:cxn ang="0">
                  <a:pos x="22" y="62"/>
                </a:cxn>
                <a:cxn ang="0">
                  <a:pos x="9" y="43"/>
                </a:cxn>
                <a:cxn ang="0">
                  <a:pos x="0" y="62"/>
                </a:cxn>
                <a:cxn ang="0">
                  <a:pos x="5" y="88"/>
                </a:cxn>
                <a:cxn ang="0">
                  <a:pos x="18" y="103"/>
                </a:cxn>
                <a:cxn ang="0">
                  <a:pos x="22" y="133"/>
                </a:cxn>
                <a:cxn ang="0">
                  <a:pos x="46" y="132"/>
                </a:cxn>
                <a:cxn ang="0">
                  <a:pos x="46" y="145"/>
                </a:cxn>
                <a:cxn ang="0">
                  <a:pos x="69" y="137"/>
                </a:cxn>
                <a:cxn ang="0">
                  <a:pos x="78" y="145"/>
                </a:cxn>
                <a:cxn ang="0">
                  <a:pos x="86" y="143"/>
                </a:cxn>
                <a:cxn ang="0">
                  <a:pos x="93" y="156"/>
                </a:cxn>
                <a:cxn ang="0">
                  <a:pos x="101" y="152"/>
                </a:cxn>
                <a:cxn ang="0">
                  <a:pos x="116" y="145"/>
                </a:cxn>
                <a:cxn ang="0">
                  <a:pos x="125" y="122"/>
                </a:cxn>
                <a:cxn ang="0">
                  <a:pos x="121" y="113"/>
                </a:cxn>
                <a:cxn ang="0">
                  <a:pos x="134" y="100"/>
                </a:cxn>
                <a:cxn ang="0">
                  <a:pos x="146" y="64"/>
                </a:cxn>
                <a:cxn ang="0">
                  <a:pos x="164" y="64"/>
                </a:cxn>
                <a:cxn ang="0">
                  <a:pos x="146" y="43"/>
                </a:cxn>
                <a:cxn ang="0">
                  <a:pos x="149" y="38"/>
                </a:cxn>
                <a:cxn ang="0">
                  <a:pos x="138" y="19"/>
                </a:cxn>
                <a:cxn ang="0">
                  <a:pos x="140" y="4"/>
                </a:cxn>
                <a:cxn ang="0">
                  <a:pos x="119" y="0"/>
                </a:cxn>
                <a:cxn ang="0">
                  <a:pos x="119" y="0"/>
                </a:cxn>
              </a:cxnLst>
              <a:rect l="0" t="0" r="r" b="b"/>
              <a:pathLst>
                <a:path w="164" h="156">
                  <a:moveTo>
                    <a:pt x="119" y="0"/>
                  </a:moveTo>
                  <a:lnTo>
                    <a:pt x="108" y="2"/>
                  </a:lnTo>
                  <a:lnTo>
                    <a:pt x="91" y="49"/>
                  </a:lnTo>
                  <a:lnTo>
                    <a:pt x="76" y="58"/>
                  </a:lnTo>
                  <a:lnTo>
                    <a:pt x="54" y="53"/>
                  </a:lnTo>
                  <a:lnTo>
                    <a:pt x="46" y="62"/>
                  </a:lnTo>
                  <a:lnTo>
                    <a:pt x="22" y="62"/>
                  </a:lnTo>
                  <a:lnTo>
                    <a:pt x="9" y="43"/>
                  </a:lnTo>
                  <a:lnTo>
                    <a:pt x="0" y="62"/>
                  </a:lnTo>
                  <a:lnTo>
                    <a:pt x="5" y="88"/>
                  </a:lnTo>
                  <a:lnTo>
                    <a:pt x="18" y="103"/>
                  </a:lnTo>
                  <a:lnTo>
                    <a:pt x="22" y="133"/>
                  </a:lnTo>
                  <a:lnTo>
                    <a:pt x="46" y="132"/>
                  </a:lnTo>
                  <a:lnTo>
                    <a:pt x="46" y="145"/>
                  </a:lnTo>
                  <a:lnTo>
                    <a:pt x="69" y="137"/>
                  </a:lnTo>
                  <a:lnTo>
                    <a:pt x="78" y="145"/>
                  </a:lnTo>
                  <a:lnTo>
                    <a:pt x="86" y="143"/>
                  </a:lnTo>
                  <a:lnTo>
                    <a:pt x="93" y="156"/>
                  </a:lnTo>
                  <a:lnTo>
                    <a:pt x="101" y="152"/>
                  </a:lnTo>
                  <a:lnTo>
                    <a:pt x="116" y="145"/>
                  </a:lnTo>
                  <a:lnTo>
                    <a:pt x="125" y="122"/>
                  </a:lnTo>
                  <a:lnTo>
                    <a:pt x="121" y="113"/>
                  </a:lnTo>
                  <a:lnTo>
                    <a:pt x="134" y="100"/>
                  </a:lnTo>
                  <a:lnTo>
                    <a:pt x="146" y="64"/>
                  </a:lnTo>
                  <a:lnTo>
                    <a:pt x="164" y="64"/>
                  </a:lnTo>
                  <a:lnTo>
                    <a:pt x="146" y="43"/>
                  </a:lnTo>
                  <a:lnTo>
                    <a:pt x="149" y="38"/>
                  </a:lnTo>
                  <a:lnTo>
                    <a:pt x="138" y="19"/>
                  </a:lnTo>
                  <a:lnTo>
                    <a:pt x="140" y="4"/>
                  </a:lnTo>
                  <a:lnTo>
                    <a:pt x="119" y="0"/>
                  </a:lnTo>
                  <a:lnTo>
                    <a:pt x="119"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79" name="Freeform 5687"/>
            <p:cNvSpPr>
              <a:spLocks/>
            </p:cNvSpPr>
            <p:nvPr>
              <p:custDataLst>
                <p:tags r:id="rId59"/>
              </p:custDataLst>
            </p:nvPr>
          </p:nvSpPr>
          <p:spPr bwMode="gray">
            <a:xfrm>
              <a:off x="8884853" y="4194986"/>
              <a:ext cx="198879" cy="141302"/>
            </a:xfrm>
            <a:custGeom>
              <a:avLst/>
              <a:gdLst/>
              <a:ahLst/>
              <a:cxnLst>
                <a:cxn ang="0">
                  <a:pos x="146" y="47"/>
                </a:cxn>
                <a:cxn ang="0">
                  <a:pos x="140" y="39"/>
                </a:cxn>
                <a:cxn ang="0">
                  <a:pos x="155" y="33"/>
                </a:cxn>
                <a:cxn ang="0">
                  <a:pos x="131" y="18"/>
                </a:cxn>
                <a:cxn ang="0">
                  <a:pos x="131" y="9"/>
                </a:cxn>
                <a:cxn ang="0">
                  <a:pos x="118" y="0"/>
                </a:cxn>
                <a:cxn ang="0">
                  <a:pos x="94" y="30"/>
                </a:cxn>
                <a:cxn ang="0">
                  <a:pos x="92" y="37"/>
                </a:cxn>
                <a:cxn ang="0">
                  <a:pos x="94" y="41"/>
                </a:cxn>
                <a:cxn ang="0">
                  <a:pos x="92" y="47"/>
                </a:cxn>
                <a:cxn ang="0">
                  <a:pos x="84" y="43"/>
                </a:cxn>
                <a:cxn ang="0">
                  <a:pos x="80" y="54"/>
                </a:cxn>
                <a:cxn ang="0">
                  <a:pos x="71" y="45"/>
                </a:cxn>
                <a:cxn ang="0">
                  <a:pos x="49" y="73"/>
                </a:cxn>
                <a:cxn ang="0">
                  <a:pos x="32" y="76"/>
                </a:cxn>
                <a:cxn ang="0">
                  <a:pos x="26" y="99"/>
                </a:cxn>
                <a:cxn ang="0">
                  <a:pos x="0" y="91"/>
                </a:cxn>
                <a:cxn ang="0">
                  <a:pos x="13" y="110"/>
                </a:cxn>
                <a:cxn ang="0">
                  <a:pos x="37" y="110"/>
                </a:cxn>
                <a:cxn ang="0">
                  <a:pos x="45" y="101"/>
                </a:cxn>
                <a:cxn ang="0">
                  <a:pos x="67" y="106"/>
                </a:cxn>
                <a:cxn ang="0">
                  <a:pos x="82" y="97"/>
                </a:cxn>
                <a:cxn ang="0">
                  <a:pos x="99" y="50"/>
                </a:cxn>
                <a:cxn ang="0">
                  <a:pos x="110" y="48"/>
                </a:cxn>
                <a:cxn ang="0">
                  <a:pos x="131" y="52"/>
                </a:cxn>
                <a:cxn ang="0">
                  <a:pos x="146" y="47"/>
                </a:cxn>
                <a:cxn ang="0">
                  <a:pos x="146" y="47"/>
                </a:cxn>
              </a:cxnLst>
              <a:rect l="0" t="0" r="r" b="b"/>
              <a:pathLst>
                <a:path w="155" h="110">
                  <a:moveTo>
                    <a:pt x="146" y="47"/>
                  </a:moveTo>
                  <a:lnTo>
                    <a:pt x="140" y="39"/>
                  </a:lnTo>
                  <a:lnTo>
                    <a:pt x="155" y="33"/>
                  </a:lnTo>
                  <a:lnTo>
                    <a:pt x="131" y="18"/>
                  </a:lnTo>
                  <a:lnTo>
                    <a:pt x="131" y="9"/>
                  </a:lnTo>
                  <a:lnTo>
                    <a:pt x="118" y="0"/>
                  </a:lnTo>
                  <a:lnTo>
                    <a:pt x="94" y="30"/>
                  </a:lnTo>
                  <a:lnTo>
                    <a:pt x="92" y="37"/>
                  </a:lnTo>
                  <a:lnTo>
                    <a:pt x="94" y="41"/>
                  </a:lnTo>
                  <a:lnTo>
                    <a:pt x="92" y="47"/>
                  </a:lnTo>
                  <a:lnTo>
                    <a:pt x="84" y="43"/>
                  </a:lnTo>
                  <a:lnTo>
                    <a:pt x="80" y="54"/>
                  </a:lnTo>
                  <a:lnTo>
                    <a:pt x="71" y="45"/>
                  </a:lnTo>
                  <a:lnTo>
                    <a:pt x="49" y="73"/>
                  </a:lnTo>
                  <a:lnTo>
                    <a:pt x="32" y="76"/>
                  </a:lnTo>
                  <a:lnTo>
                    <a:pt x="26" y="99"/>
                  </a:lnTo>
                  <a:lnTo>
                    <a:pt x="0" y="91"/>
                  </a:lnTo>
                  <a:lnTo>
                    <a:pt x="13" y="110"/>
                  </a:lnTo>
                  <a:lnTo>
                    <a:pt x="37" y="110"/>
                  </a:lnTo>
                  <a:lnTo>
                    <a:pt x="45" y="101"/>
                  </a:lnTo>
                  <a:lnTo>
                    <a:pt x="67" y="106"/>
                  </a:lnTo>
                  <a:lnTo>
                    <a:pt x="82" y="97"/>
                  </a:lnTo>
                  <a:lnTo>
                    <a:pt x="99" y="50"/>
                  </a:lnTo>
                  <a:lnTo>
                    <a:pt x="110" y="48"/>
                  </a:lnTo>
                  <a:lnTo>
                    <a:pt x="131" y="52"/>
                  </a:lnTo>
                  <a:lnTo>
                    <a:pt x="146" y="47"/>
                  </a:lnTo>
                  <a:lnTo>
                    <a:pt x="146" y="47"/>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80" name="Freeform 5688"/>
            <p:cNvSpPr>
              <a:spLocks/>
            </p:cNvSpPr>
            <p:nvPr>
              <p:custDataLst>
                <p:tags r:id="rId60"/>
              </p:custDataLst>
            </p:nvPr>
          </p:nvSpPr>
          <p:spPr bwMode="gray">
            <a:xfrm>
              <a:off x="8975953" y="4242515"/>
              <a:ext cx="29511" cy="21838"/>
            </a:xfrm>
            <a:custGeom>
              <a:avLst/>
              <a:gdLst/>
              <a:ahLst/>
              <a:cxnLst>
                <a:cxn ang="0">
                  <a:pos x="23" y="4"/>
                </a:cxn>
                <a:cxn ang="0">
                  <a:pos x="21" y="10"/>
                </a:cxn>
                <a:cxn ang="0">
                  <a:pos x="13" y="6"/>
                </a:cxn>
                <a:cxn ang="0">
                  <a:pos x="9" y="17"/>
                </a:cxn>
                <a:cxn ang="0">
                  <a:pos x="0" y="8"/>
                </a:cxn>
                <a:cxn ang="0">
                  <a:pos x="21" y="0"/>
                </a:cxn>
                <a:cxn ang="0">
                  <a:pos x="23" y="4"/>
                </a:cxn>
                <a:cxn ang="0">
                  <a:pos x="23" y="4"/>
                </a:cxn>
              </a:cxnLst>
              <a:rect l="0" t="0" r="r" b="b"/>
              <a:pathLst>
                <a:path w="23" h="17">
                  <a:moveTo>
                    <a:pt x="23" y="4"/>
                  </a:moveTo>
                  <a:lnTo>
                    <a:pt x="21" y="10"/>
                  </a:lnTo>
                  <a:lnTo>
                    <a:pt x="13" y="6"/>
                  </a:lnTo>
                  <a:lnTo>
                    <a:pt x="9" y="17"/>
                  </a:lnTo>
                  <a:lnTo>
                    <a:pt x="0" y="8"/>
                  </a:lnTo>
                  <a:lnTo>
                    <a:pt x="21" y="0"/>
                  </a:lnTo>
                  <a:lnTo>
                    <a:pt x="23" y="4"/>
                  </a:lnTo>
                  <a:lnTo>
                    <a:pt x="23"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81" name="Freeform 5689"/>
            <p:cNvSpPr>
              <a:spLocks/>
            </p:cNvSpPr>
            <p:nvPr>
              <p:custDataLst>
                <p:tags r:id="rId61"/>
              </p:custDataLst>
            </p:nvPr>
          </p:nvSpPr>
          <p:spPr bwMode="gray">
            <a:xfrm>
              <a:off x="8610271" y="3869992"/>
              <a:ext cx="170651" cy="353254"/>
            </a:xfrm>
            <a:custGeom>
              <a:avLst/>
              <a:gdLst/>
              <a:ahLst/>
              <a:cxnLst>
                <a:cxn ang="0">
                  <a:pos x="62" y="258"/>
                </a:cxn>
                <a:cxn ang="0">
                  <a:pos x="73" y="262"/>
                </a:cxn>
                <a:cxn ang="0">
                  <a:pos x="75" y="271"/>
                </a:cxn>
                <a:cxn ang="0">
                  <a:pos x="83" y="275"/>
                </a:cxn>
                <a:cxn ang="0">
                  <a:pos x="92" y="268"/>
                </a:cxn>
                <a:cxn ang="0">
                  <a:pos x="81" y="256"/>
                </a:cxn>
                <a:cxn ang="0">
                  <a:pos x="66" y="249"/>
                </a:cxn>
                <a:cxn ang="0">
                  <a:pos x="51" y="211"/>
                </a:cxn>
                <a:cxn ang="0">
                  <a:pos x="43" y="211"/>
                </a:cxn>
                <a:cxn ang="0">
                  <a:pos x="40" y="193"/>
                </a:cxn>
                <a:cxn ang="0">
                  <a:pos x="49" y="159"/>
                </a:cxn>
                <a:cxn ang="0">
                  <a:pos x="47" y="137"/>
                </a:cxn>
                <a:cxn ang="0">
                  <a:pos x="62" y="137"/>
                </a:cxn>
                <a:cxn ang="0">
                  <a:pos x="64" y="146"/>
                </a:cxn>
                <a:cxn ang="0">
                  <a:pos x="79" y="148"/>
                </a:cxn>
                <a:cxn ang="0">
                  <a:pos x="92" y="159"/>
                </a:cxn>
                <a:cxn ang="0">
                  <a:pos x="87" y="138"/>
                </a:cxn>
                <a:cxn ang="0">
                  <a:pos x="94" y="120"/>
                </a:cxn>
                <a:cxn ang="0">
                  <a:pos x="131" y="118"/>
                </a:cxn>
                <a:cxn ang="0">
                  <a:pos x="133" y="97"/>
                </a:cxn>
                <a:cxn ang="0">
                  <a:pos x="118" y="80"/>
                </a:cxn>
                <a:cxn ang="0">
                  <a:pos x="113" y="58"/>
                </a:cxn>
                <a:cxn ang="0">
                  <a:pos x="94" y="43"/>
                </a:cxn>
                <a:cxn ang="0">
                  <a:pos x="81" y="50"/>
                </a:cxn>
                <a:cxn ang="0">
                  <a:pos x="72" y="45"/>
                </a:cxn>
                <a:cxn ang="0">
                  <a:pos x="55" y="54"/>
                </a:cxn>
                <a:cxn ang="0">
                  <a:pos x="53" y="22"/>
                </a:cxn>
                <a:cxn ang="0">
                  <a:pos x="43" y="17"/>
                </a:cxn>
                <a:cxn ang="0">
                  <a:pos x="36" y="0"/>
                </a:cxn>
                <a:cxn ang="0">
                  <a:pos x="2" y="26"/>
                </a:cxn>
                <a:cxn ang="0">
                  <a:pos x="0" y="47"/>
                </a:cxn>
                <a:cxn ang="0">
                  <a:pos x="25" y="84"/>
                </a:cxn>
                <a:cxn ang="0">
                  <a:pos x="17" y="108"/>
                </a:cxn>
                <a:cxn ang="0">
                  <a:pos x="30" y="122"/>
                </a:cxn>
                <a:cxn ang="0">
                  <a:pos x="45" y="163"/>
                </a:cxn>
                <a:cxn ang="0">
                  <a:pos x="27" y="204"/>
                </a:cxn>
                <a:cxn ang="0">
                  <a:pos x="25" y="215"/>
                </a:cxn>
                <a:cxn ang="0">
                  <a:pos x="28" y="232"/>
                </a:cxn>
                <a:cxn ang="0">
                  <a:pos x="34" y="230"/>
                </a:cxn>
                <a:cxn ang="0">
                  <a:pos x="62" y="264"/>
                </a:cxn>
                <a:cxn ang="0">
                  <a:pos x="62" y="258"/>
                </a:cxn>
                <a:cxn ang="0">
                  <a:pos x="62" y="258"/>
                </a:cxn>
              </a:cxnLst>
              <a:rect l="0" t="0" r="r" b="b"/>
              <a:pathLst>
                <a:path w="133" h="275">
                  <a:moveTo>
                    <a:pt x="62" y="258"/>
                  </a:moveTo>
                  <a:lnTo>
                    <a:pt x="73" y="262"/>
                  </a:lnTo>
                  <a:lnTo>
                    <a:pt x="75" y="271"/>
                  </a:lnTo>
                  <a:lnTo>
                    <a:pt x="83" y="275"/>
                  </a:lnTo>
                  <a:lnTo>
                    <a:pt x="92" y="268"/>
                  </a:lnTo>
                  <a:lnTo>
                    <a:pt x="81" y="256"/>
                  </a:lnTo>
                  <a:lnTo>
                    <a:pt x="66" y="249"/>
                  </a:lnTo>
                  <a:lnTo>
                    <a:pt x="51" y="211"/>
                  </a:lnTo>
                  <a:lnTo>
                    <a:pt x="43" y="211"/>
                  </a:lnTo>
                  <a:lnTo>
                    <a:pt x="40" y="193"/>
                  </a:lnTo>
                  <a:lnTo>
                    <a:pt x="49" y="159"/>
                  </a:lnTo>
                  <a:lnTo>
                    <a:pt x="47" y="137"/>
                  </a:lnTo>
                  <a:lnTo>
                    <a:pt x="62" y="137"/>
                  </a:lnTo>
                  <a:lnTo>
                    <a:pt x="64" y="146"/>
                  </a:lnTo>
                  <a:lnTo>
                    <a:pt x="79" y="148"/>
                  </a:lnTo>
                  <a:lnTo>
                    <a:pt x="92" y="159"/>
                  </a:lnTo>
                  <a:lnTo>
                    <a:pt x="87" y="138"/>
                  </a:lnTo>
                  <a:lnTo>
                    <a:pt x="94" y="120"/>
                  </a:lnTo>
                  <a:lnTo>
                    <a:pt x="131" y="118"/>
                  </a:lnTo>
                  <a:lnTo>
                    <a:pt x="133" y="97"/>
                  </a:lnTo>
                  <a:lnTo>
                    <a:pt x="118" y="80"/>
                  </a:lnTo>
                  <a:lnTo>
                    <a:pt x="113" y="58"/>
                  </a:lnTo>
                  <a:lnTo>
                    <a:pt x="94" y="43"/>
                  </a:lnTo>
                  <a:lnTo>
                    <a:pt x="81" y="50"/>
                  </a:lnTo>
                  <a:lnTo>
                    <a:pt x="72" y="45"/>
                  </a:lnTo>
                  <a:lnTo>
                    <a:pt x="55" y="54"/>
                  </a:lnTo>
                  <a:lnTo>
                    <a:pt x="53" y="22"/>
                  </a:lnTo>
                  <a:lnTo>
                    <a:pt x="43" y="17"/>
                  </a:lnTo>
                  <a:lnTo>
                    <a:pt x="36" y="0"/>
                  </a:lnTo>
                  <a:lnTo>
                    <a:pt x="2" y="26"/>
                  </a:lnTo>
                  <a:lnTo>
                    <a:pt x="0" y="47"/>
                  </a:lnTo>
                  <a:lnTo>
                    <a:pt x="25" y="84"/>
                  </a:lnTo>
                  <a:lnTo>
                    <a:pt x="17" y="108"/>
                  </a:lnTo>
                  <a:lnTo>
                    <a:pt x="30" y="122"/>
                  </a:lnTo>
                  <a:lnTo>
                    <a:pt x="45" y="163"/>
                  </a:lnTo>
                  <a:lnTo>
                    <a:pt x="27" y="204"/>
                  </a:lnTo>
                  <a:lnTo>
                    <a:pt x="25" y="215"/>
                  </a:lnTo>
                  <a:lnTo>
                    <a:pt x="28" y="232"/>
                  </a:lnTo>
                  <a:lnTo>
                    <a:pt x="34" y="230"/>
                  </a:lnTo>
                  <a:lnTo>
                    <a:pt x="62" y="264"/>
                  </a:lnTo>
                  <a:lnTo>
                    <a:pt x="62" y="258"/>
                  </a:lnTo>
                  <a:lnTo>
                    <a:pt x="62" y="258"/>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82" name="Freeform 5690"/>
            <p:cNvSpPr>
              <a:spLocks/>
            </p:cNvSpPr>
            <p:nvPr>
              <p:custDataLst>
                <p:tags r:id="rId62"/>
              </p:custDataLst>
            </p:nvPr>
          </p:nvSpPr>
          <p:spPr bwMode="gray">
            <a:xfrm>
              <a:off x="8689823" y="4201409"/>
              <a:ext cx="87250" cy="125887"/>
            </a:xfrm>
            <a:custGeom>
              <a:avLst/>
              <a:gdLst/>
              <a:ahLst/>
              <a:cxnLst>
                <a:cxn ang="0">
                  <a:pos x="0" y="4"/>
                </a:cxn>
                <a:cxn ang="0">
                  <a:pos x="0" y="0"/>
                </a:cxn>
                <a:cxn ang="0">
                  <a:pos x="11" y="4"/>
                </a:cxn>
                <a:cxn ang="0">
                  <a:pos x="13" y="13"/>
                </a:cxn>
                <a:cxn ang="0">
                  <a:pos x="21" y="17"/>
                </a:cxn>
                <a:cxn ang="0">
                  <a:pos x="30" y="10"/>
                </a:cxn>
                <a:cxn ang="0">
                  <a:pos x="51" y="32"/>
                </a:cxn>
                <a:cxn ang="0">
                  <a:pos x="53" y="70"/>
                </a:cxn>
                <a:cxn ang="0">
                  <a:pos x="68" y="98"/>
                </a:cxn>
                <a:cxn ang="0">
                  <a:pos x="54" y="98"/>
                </a:cxn>
                <a:cxn ang="0">
                  <a:pos x="21" y="71"/>
                </a:cxn>
                <a:cxn ang="0">
                  <a:pos x="6" y="45"/>
                </a:cxn>
                <a:cxn ang="0">
                  <a:pos x="0" y="4"/>
                </a:cxn>
                <a:cxn ang="0">
                  <a:pos x="0" y="4"/>
                </a:cxn>
              </a:cxnLst>
              <a:rect l="0" t="0" r="r" b="b"/>
              <a:pathLst>
                <a:path w="68" h="98">
                  <a:moveTo>
                    <a:pt x="0" y="4"/>
                  </a:moveTo>
                  <a:lnTo>
                    <a:pt x="0" y="0"/>
                  </a:lnTo>
                  <a:lnTo>
                    <a:pt x="11" y="4"/>
                  </a:lnTo>
                  <a:lnTo>
                    <a:pt x="13" y="13"/>
                  </a:lnTo>
                  <a:lnTo>
                    <a:pt x="21" y="17"/>
                  </a:lnTo>
                  <a:lnTo>
                    <a:pt x="30" y="10"/>
                  </a:lnTo>
                  <a:lnTo>
                    <a:pt x="51" y="32"/>
                  </a:lnTo>
                  <a:lnTo>
                    <a:pt x="53" y="70"/>
                  </a:lnTo>
                  <a:lnTo>
                    <a:pt x="68" y="98"/>
                  </a:lnTo>
                  <a:lnTo>
                    <a:pt x="54" y="98"/>
                  </a:lnTo>
                  <a:lnTo>
                    <a:pt x="21" y="71"/>
                  </a:lnTo>
                  <a:lnTo>
                    <a:pt x="6" y="45"/>
                  </a:lnTo>
                  <a:lnTo>
                    <a:pt x="0" y="4"/>
                  </a:lnTo>
                  <a:lnTo>
                    <a:pt x="0" y="4"/>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83" name="Freeform 5691"/>
            <p:cNvSpPr>
              <a:spLocks/>
            </p:cNvSpPr>
            <p:nvPr>
              <p:custDataLst>
                <p:tags r:id="rId63"/>
              </p:custDataLst>
            </p:nvPr>
          </p:nvSpPr>
          <p:spPr bwMode="gray">
            <a:xfrm>
              <a:off x="8692389" y="3812187"/>
              <a:ext cx="170651" cy="341693"/>
            </a:xfrm>
            <a:custGeom>
              <a:avLst/>
              <a:gdLst/>
              <a:ahLst/>
              <a:cxnLst>
                <a:cxn ang="0">
                  <a:pos x="0" y="13"/>
                </a:cxn>
                <a:cxn ang="0">
                  <a:pos x="19" y="41"/>
                </a:cxn>
                <a:cxn ang="0">
                  <a:pos x="38" y="45"/>
                </a:cxn>
                <a:cxn ang="0">
                  <a:pos x="45" y="62"/>
                </a:cxn>
                <a:cxn ang="0">
                  <a:pos x="34" y="67"/>
                </a:cxn>
                <a:cxn ang="0">
                  <a:pos x="79" y="108"/>
                </a:cxn>
                <a:cxn ang="0">
                  <a:pos x="81" y="116"/>
                </a:cxn>
                <a:cxn ang="0">
                  <a:pos x="97" y="138"/>
                </a:cxn>
                <a:cxn ang="0">
                  <a:pos x="101" y="155"/>
                </a:cxn>
                <a:cxn ang="0">
                  <a:pos x="107" y="198"/>
                </a:cxn>
                <a:cxn ang="0">
                  <a:pos x="82" y="211"/>
                </a:cxn>
                <a:cxn ang="0">
                  <a:pos x="81" y="225"/>
                </a:cxn>
                <a:cxn ang="0">
                  <a:pos x="62" y="234"/>
                </a:cxn>
                <a:cxn ang="0">
                  <a:pos x="69" y="240"/>
                </a:cxn>
                <a:cxn ang="0">
                  <a:pos x="71" y="266"/>
                </a:cxn>
                <a:cxn ang="0">
                  <a:pos x="92" y="253"/>
                </a:cxn>
                <a:cxn ang="0">
                  <a:pos x="97" y="234"/>
                </a:cxn>
                <a:cxn ang="0">
                  <a:pos x="105" y="234"/>
                </a:cxn>
                <a:cxn ang="0">
                  <a:pos x="133" y="215"/>
                </a:cxn>
                <a:cxn ang="0">
                  <a:pos x="133" y="174"/>
                </a:cxn>
                <a:cxn ang="0">
                  <a:pos x="124" y="144"/>
                </a:cxn>
                <a:cxn ang="0">
                  <a:pos x="69" y="86"/>
                </a:cxn>
                <a:cxn ang="0">
                  <a:pos x="62" y="77"/>
                </a:cxn>
                <a:cxn ang="0">
                  <a:pos x="66" y="60"/>
                </a:cxn>
                <a:cxn ang="0">
                  <a:pos x="81" y="39"/>
                </a:cxn>
                <a:cxn ang="0">
                  <a:pos x="94" y="32"/>
                </a:cxn>
                <a:cxn ang="0">
                  <a:pos x="73" y="22"/>
                </a:cxn>
                <a:cxn ang="0">
                  <a:pos x="67" y="7"/>
                </a:cxn>
                <a:cxn ang="0">
                  <a:pos x="49" y="0"/>
                </a:cxn>
                <a:cxn ang="0">
                  <a:pos x="13" y="11"/>
                </a:cxn>
                <a:cxn ang="0">
                  <a:pos x="2" y="7"/>
                </a:cxn>
                <a:cxn ang="0">
                  <a:pos x="0" y="13"/>
                </a:cxn>
                <a:cxn ang="0">
                  <a:pos x="0" y="13"/>
                </a:cxn>
              </a:cxnLst>
              <a:rect l="0" t="0" r="r" b="b"/>
              <a:pathLst>
                <a:path w="133" h="266">
                  <a:moveTo>
                    <a:pt x="0" y="13"/>
                  </a:moveTo>
                  <a:lnTo>
                    <a:pt x="19" y="41"/>
                  </a:lnTo>
                  <a:lnTo>
                    <a:pt x="38" y="45"/>
                  </a:lnTo>
                  <a:lnTo>
                    <a:pt x="45" y="62"/>
                  </a:lnTo>
                  <a:lnTo>
                    <a:pt x="34" y="67"/>
                  </a:lnTo>
                  <a:lnTo>
                    <a:pt x="79" y="108"/>
                  </a:lnTo>
                  <a:lnTo>
                    <a:pt x="81" y="116"/>
                  </a:lnTo>
                  <a:lnTo>
                    <a:pt x="97" y="138"/>
                  </a:lnTo>
                  <a:lnTo>
                    <a:pt x="101" y="155"/>
                  </a:lnTo>
                  <a:lnTo>
                    <a:pt x="107" y="198"/>
                  </a:lnTo>
                  <a:lnTo>
                    <a:pt x="82" y="211"/>
                  </a:lnTo>
                  <a:lnTo>
                    <a:pt x="81" y="225"/>
                  </a:lnTo>
                  <a:lnTo>
                    <a:pt x="62" y="234"/>
                  </a:lnTo>
                  <a:lnTo>
                    <a:pt x="69" y="240"/>
                  </a:lnTo>
                  <a:lnTo>
                    <a:pt x="71" y="266"/>
                  </a:lnTo>
                  <a:lnTo>
                    <a:pt x="92" y="253"/>
                  </a:lnTo>
                  <a:lnTo>
                    <a:pt x="97" y="234"/>
                  </a:lnTo>
                  <a:lnTo>
                    <a:pt x="105" y="234"/>
                  </a:lnTo>
                  <a:lnTo>
                    <a:pt x="133" y="215"/>
                  </a:lnTo>
                  <a:lnTo>
                    <a:pt x="133" y="174"/>
                  </a:lnTo>
                  <a:lnTo>
                    <a:pt x="124" y="144"/>
                  </a:lnTo>
                  <a:lnTo>
                    <a:pt x="69" y="86"/>
                  </a:lnTo>
                  <a:lnTo>
                    <a:pt x="62" y="77"/>
                  </a:lnTo>
                  <a:lnTo>
                    <a:pt x="66" y="60"/>
                  </a:lnTo>
                  <a:lnTo>
                    <a:pt x="81" y="39"/>
                  </a:lnTo>
                  <a:lnTo>
                    <a:pt x="94" y="32"/>
                  </a:lnTo>
                  <a:lnTo>
                    <a:pt x="73" y="22"/>
                  </a:lnTo>
                  <a:lnTo>
                    <a:pt x="67" y="7"/>
                  </a:lnTo>
                  <a:lnTo>
                    <a:pt x="49" y="0"/>
                  </a:lnTo>
                  <a:lnTo>
                    <a:pt x="13" y="11"/>
                  </a:lnTo>
                  <a:lnTo>
                    <a:pt x="2" y="7"/>
                  </a:lnTo>
                  <a:lnTo>
                    <a:pt x="0" y="13"/>
                  </a:lnTo>
                  <a:lnTo>
                    <a:pt x="0" y="1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84" name="Freeform 5692"/>
            <p:cNvSpPr>
              <a:spLocks/>
            </p:cNvSpPr>
            <p:nvPr>
              <p:custDataLst>
                <p:tags r:id="rId64"/>
              </p:custDataLst>
            </p:nvPr>
          </p:nvSpPr>
          <p:spPr bwMode="gray">
            <a:xfrm>
              <a:off x="8656463" y="3826317"/>
              <a:ext cx="165519" cy="200391"/>
            </a:xfrm>
            <a:custGeom>
              <a:avLst/>
              <a:gdLst/>
              <a:ahLst/>
              <a:cxnLst>
                <a:cxn ang="0">
                  <a:pos x="129" y="144"/>
                </a:cxn>
                <a:cxn ang="0">
                  <a:pos x="125" y="127"/>
                </a:cxn>
                <a:cxn ang="0">
                  <a:pos x="109" y="105"/>
                </a:cxn>
                <a:cxn ang="0">
                  <a:pos x="107" y="97"/>
                </a:cxn>
                <a:cxn ang="0">
                  <a:pos x="62" y="56"/>
                </a:cxn>
                <a:cxn ang="0">
                  <a:pos x="73" y="51"/>
                </a:cxn>
                <a:cxn ang="0">
                  <a:pos x="66" y="34"/>
                </a:cxn>
                <a:cxn ang="0">
                  <a:pos x="47" y="30"/>
                </a:cxn>
                <a:cxn ang="0">
                  <a:pos x="28" y="2"/>
                </a:cxn>
                <a:cxn ang="0">
                  <a:pos x="21" y="0"/>
                </a:cxn>
                <a:cxn ang="0">
                  <a:pos x="21" y="23"/>
                </a:cxn>
                <a:cxn ang="0">
                  <a:pos x="15" y="24"/>
                </a:cxn>
                <a:cxn ang="0">
                  <a:pos x="13" y="15"/>
                </a:cxn>
                <a:cxn ang="0">
                  <a:pos x="0" y="34"/>
                </a:cxn>
                <a:cxn ang="0">
                  <a:pos x="7" y="51"/>
                </a:cxn>
                <a:cxn ang="0">
                  <a:pos x="17" y="56"/>
                </a:cxn>
                <a:cxn ang="0">
                  <a:pos x="19" y="88"/>
                </a:cxn>
                <a:cxn ang="0">
                  <a:pos x="36" y="79"/>
                </a:cxn>
                <a:cxn ang="0">
                  <a:pos x="45" y="84"/>
                </a:cxn>
                <a:cxn ang="0">
                  <a:pos x="58" y="77"/>
                </a:cxn>
                <a:cxn ang="0">
                  <a:pos x="77" y="92"/>
                </a:cxn>
                <a:cxn ang="0">
                  <a:pos x="82" y="114"/>
                </a:cxn>
                <a:cxn ang="0">
                  <a:pos x="97" y="131"/>
                </a:cxn>
                <a:cxn ang="0">
                  <a:pos x="95" y="152"/>
                </a:cxn>
                <a:cxn ang="0">
                  <a:pos x="109" y="156"/>
                </a:cxn>
                <a:cxn ang="0">
                  <a:pos x="110" y="150"/>
                </a:cxn>
                <a:cxn ang="0">
                  <a:pos x="129" y="144"/>
                </a:cxn>
                <a:cxn ang="0">
                  <a:pos x="129" y="144"/>
                </a:cxn>
              </a:cxnLst>
              <a:rect l="0" t="0" r="r" b="b"/>
              <a:pathLst>
                <a:path w="129" h="156">
                  <a:moveTo>
                    <a:pt x="129" y="144"/>
                  </a:moveTo>
                  <a:lnTo>
                    <a:pt x="125" y="127"/>
                  </a:lnTo>
                  <a:lnTo>
                    <a:pt x="109" y="105"/>
                  </a:lnTo>
                  <a:lnTo>
                    <a:pt x="107" y="97"/>
                  </a:lnTo>
                  <a:lnTo>
                    <a:pt x="62" y="56"/>
                  </a:lnTo>
                  <a:lnTo>
                    <a:pt x="73" y="51"/>
                  </a:lnTo>
                  <a:lnTo>
                    <a:pt x="66" y="34"/>
                  </a:lnTo>
                  <a:lnTo>
                    <a:pt x="47" y="30"/>
                  </a:lnTo>
                  <a:lnTo>
                    <a:pt x="28" y="2"/>
                  </a:lnTo>
                  <a:lnTo>
                    <a:pt x="21" y="0"/>
                  </a:lnTo>
                  <a:lnTo>
                    <a:pt x="21" y="23"/>
                  </a:lnTo>
                  <a:lnTo>
                    <a:pt x="15" y="24"/>
                  </a:lnTo>
                  <a:lnTo>
                    <a:pt x="13" y="15"/>
                  </a:lnTo>
                  <a:lnTo>
                    <a:pt x="0" y="34"/>
                  </a:lnTo>
                  <a:lnTo>
                    <a:pt x="7" y="51"/>
                  </a:lnTo>
                  <a:lnTo>
                    <a:pt x="17" y="56"/>
                  </a:lnTo>
                  <a:lnTo>
                    <a:pt x="19" y="88"/>
                  </a:lnTo>
                  <a:lnTo>
                    <a:pt x="36" y="79"/>
                  </a:lnTo>
                  <a:lnTo>
                    <a:pt x="45" y="84"/>
                  </a:lnTo>
                  <a:lnTo>
                    <a:pt x="58" y="77"/>
                  </a:lnTo>
                  <a:lnTo>
                    <a:pt x="77" y="92"/>
                  </a:lnTo>
                  <a:lnTo>
                    <a:pt x="82" y="114"/>
                  </a:lnTo>
                  <a:lnTo>
                    <a:pt x="97" y="131"/>
                  </a:lnTo>
                  <a:lnTo>
                    <a:pt x="95" y="152"/>
                  </a:lnTo>
                  <a:lnTo>
                    <a:pt x="109" y="156"/>
                  </a:lnTo>
                  <a:lnTo>
                    <a:pt x="110" y="150"/>
                  </a:lnTo>
                  <a:lnTo>
                    <a:pt x="129" y="144"/>
                  </a:lnTo>
                  <a:lnTo>
                    <a:pt x="129" y="14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85" name="Freeform 5693"/>
            <p:cNvSpPr>
              <a:spLocks/>
            </p:cNvSpPr>
            <p:nvPr>
              <p:custDataLst>
                <p:tags r:id="rId65"/>
              </p:custDataLst>
            </p:nvPr>
          </p:nvSpPr>
          <p:spPr bwMode="gray">
            <a:xfrm>
              <a:off x="8040578" y="3101826"/>
              <a:ext cx="1070099" cy="777158"/>
            </a:xfrm>
            <a:custGeom>
              <a:avLst/>
              <a:gdLst/>
              <a:ahLst/>
              <a:cxnLst>
                <a:cxn ang="0">
                  <a:pos x="169" y="98"/>
                </a:cxn>
                <a:cxn ang="0">
                  <a:pos x="214" y="144"/>
                </a:cxn>
                <a:cxn ang="0">
                  <a:pos x="381" y="191"/>
                </a:cxn>
                <a:cxn ang="0">
                  <a:pos x="517" y="197"/>
                </a:cxn>
                <a:cxn ang="0">
                  <a:pos x="527" y="159"/>
                </a:cxn>
                <a:cxn ang="0">
                  <a:pos x="562" y="143"/>
                </a:cxn>
                <a:cxn ang="0">
                  <a:pos x="619" y="122"/>
                </a:cxn>
                <a:cxn ang="0">
                  <a:pos x="575" y="105"/>
                </a:cxn>
                <a:cxn ang="0">
                  <a:pos x="544" y="62"/>
                </a:cxn>
                <a:cxn ang="0">
                  <a:pos x="577" y="34"/>
                </a:cxn>
                <a:cxn ang="0">
                  <a:pos x="572" y="6"/>
                </a:cxn>
                <a:cxn ang="0">
                  <a:pos x="686" y="45"/>
                </a:cxn>
                <a:cxn ang="0">
                  <a:pos x="759" y="83"/>
                </a:cxn>
                <a:cxn ang="0">
                  <a:pos x="823" y="88"/>
                </a:cxn>
                <a:cxn ang="0">
                  <a:pos x="834" y="150"/>
                </a:cxn>
                <a:cxn ang="0">
                  <a:pos x="826" y="180"/>
                </a:cxn>
                <a:cxn ang="0">
                  <a:pos x="808" y="206"/>
                </a:cxn>
                <a:cxn ang="0">
                  <a:pos x="780" y="214"/>
                </a:cxn>
                <a:cxn ang="0">
                  <a:pos x="718" y="266"/>
                </a:cxn>
                <a:cxn ang="0">
                  <a:pos x="722" y="234"/>
                </a:cxn>
                <a:cxn ang="0">
                  <a:pos x="695" y="240"/>
                </a:cxn>
                <a:cxn ang="0">
                  <a:pos x="665" y="255"/>
                </a:cxn>
                <a:cxn ang="0">
                  <a:pos x="708" y="296"/>
                </a:cxn>
                <a:cxn ang="0">
                  <a:pos x="750" y="300"/>
                </a:cxn>
                <a:cxn ang="0">
                  <a:pos x="716" y="337"/>
                </a:cxn>
                <a:cxn ang="0">
                  <a:pos x="778" y="395"/>
                </a:cxn>
                <a:cxn ang="0">
                  <a:pos x="763" y="420"/>
                </a:cxn>
                <a:cxn ang="0">
                  <a:pos x="783" y="461"/>
                </a:cxn>
                <a:cxn ang="0">
                  <a:pos x="772" y="500"/>
                </a:cxn>
                <a:cxn ang="0">
                  <a:pos x="755" y="532"/>
                </a:cxn>
                <a:cxn ang="0">
                  <a:pos x="697" y="570"/>
                </a:cxn>
                <a:cxn ang="0">
                  <a:pos x="680" y="564"/>
                </a:cxn>
                <a:cxn ang="0">
                  <a:pos x="645" y="602"/>
                </a:cxn>
                <a:cxn ang="0">
                  <a:pos x="630" y="585"/>
                </a:cxn>
                <a:cxn ang="0">
                  <a:pos x="581" y="575"/>
                </a:cxn>
                <a:cxn ang="0">
                  <a:pos x="521" y="564"/>
                </a:cxn>
                <a:cxn ang="0">
                  <a:pos x="501" y="564"/>
                </a:cxn>
                <a:cxn ang="0">
                  <a:pos x="493" y="579"/>
                </a:cxn>
                <a:cxn ang="0">
                  <a:pos x="463" y="557"/>
                </a:cxn>
                <a:cxn ang="0">
                  <a:pos x="431" y="542"/>
                </a:cxn>
                <a:cxn ang="0">
                  <a:pos x="413" y="461"/>
                </a:cxn>
                <a:cxn ang="0">
                  <a:pos x="345" y="459"/>
                </a:cxn>
                <a:cxn ang="0">
                  <a:pos x="281" y="476"/>
                </a:cxn>
                <a:cxn ang="0">
                  <a:pos x="266" y="465"/>
                </a:cxn>
                <a:cxn ang="0">
                  <a:pos x="190" y="442"/>
                </a:cxn>
                <a:cxn ang="0">
                  <a:pos x="117" y="409"/>
                </a:cxn>
                <a:cxn ang="0">
                  <a:pos x="115" y="379"/>
                </a:cxn>
                <a:cxn ang="0">
                  <a:pos x="117" y="324"/>
                </a:cxn>
                <a:cxn ang="0">
                  <a:pos x="51" y="317"/>
                </a:cxn>
                <a:cxn ang="0">
                  <a:pos x="21" y="296"/>
                </a:cxn>
                <a:cxn ang="0">
                  <a:pos x="6" y="270"/>
                </a:cxn>
                <a:cxn ang="0">
                  <a:pos x="0" y="242"/>
                </a:cxn>
                <a:cxn ang="0">
                  <a:pos x="38" y="225"/>
                </a:cxn>
                <a:cxn ang="0">
                  <a:pos x="79" y="201"/>
                </a:cxn>
                <a:cxn ang="0">
                  <a:pos x="68" y="150"/>
                </a:cxn>
                <a:cxn ang="0">
                  <a:pos x="120" y="118"/>
                </a:cxn>
                <a:cxn ang="0">
                  <a:pos x="135" y="84"/>
                </a:cxn>
              </a:cxnLst>
              <a:rect l="0" t="0" r="r" b="b"/>
              <a:pathLst>
                <a:path w="834" h="605">
                  <a:moveTo>
                    <a:pt x="135" y="84"/>
                  </a:moveTo>
                  <a:lnTo>
                    <a:pt x="147" y="79"/>
                  </a:lnTo>
                  <a:lnTo>
                    <a:pt x="169" y="98"/>
                  </a:lnTo>
                  <a:lnTo>
                    <a:pt x="190" y="101"/>
                  </a:lnTo>
                  <a:lnTo>
                    <a:pt x="205" y="118"/>
                  </a:lnTo>
                  <a:lnTo>
                    <a:pt x="214" y="144"/>
                  </a:lnTo>
                  <a:lnTo>
                    <a:pt x="285" y="161"/>
                  </a:lnTo>
                  <a:lnTo>
                    <a:pt x="323" y="191"/>
                  </a:lnTo>
                  <a:lnTo>
                    <a:pt x="381" y="191"/>
                  </a:lnTo>
                  <a:lnTo>
                    <a:pt x="454" y="212"/>
                  </a:lnTo>
                  <a:lnTo>
                    <a:pt x="486" y="199"/>
                  </a:lnTo>
                  <a:lnTo>
                    <a:pt x="517" y="197"/>
                  </a:lnTo>
                  <a:lnTo>
                    <a:pt x="521" y="195"/>
                  </a:lnTo>
                  <a:lnTo>
                    <a:pt x="538" y="174"/>
                  </a:lnTo>
                  <a:lnTo>
                    <a:pt x="527" y="159"/>
                  </a:lnTo>
                  <a:lnTo>
                    <a:pt x="532" y="150"/>
                  </a:lnTo>
                  <a:lnTo>
                    <a:pt x="553" y="156"/>
                  </a:lnTo>
                  <a:lnTo>
                    <a:pt x="562" y="143"/>
                  </a:lnTo>
                  <a:lnTo>
                    <a:pt x="575" y="137"/>
                  </a:lnTo>
                  <a:lnTo>
                    <a:pt x="583" y="122"/>
                  </a:lnTo>
                  <a:lnTo>
                    <a:pt x="619" y="122"/>
                  </a:lnTo>
                  <a:lnTo>
                    <a:pt x="609" y="107"/>
                  </a:lnTo>
                  <a:lnTo>
                    <a:pt x="592" y="99"/>
                  </a:lnTo>
                  <a:lnTo>
                    <a:pt x="575" y="105"/>
                  </a:lnTo>
                  <a:lnTo>
                    <a:pt x="557" y="103"/>
                  </a:lnTo>
                  <a:lnTo>
                    <a:pt x="540" y="73"/>
                  </a:lnTo>
                  <a:lnTo>
                    <a:pt x="544" y="62"/>
                  </a:lnTo>
                  <a:lnTo>
                    <a:pt x="568" y="69"/>
                  </a:lnTo>
                  <a:lnTo>
                    <a:pt x="583" y="60"/>
                  </a:lnTo>
                  <a:lnTo>
                    <a:pt x="577" y="34"/>
                  </a:lnTo>
                  <a:lnTo>
                    <a:pt x="581" y="28"/>
                  </a:lnTo>
                  <a:lnTo>
                    <a:pt x="566" y="11"/>
                  </a:lnTo>
                  <a:lnTo>
                    <a:pt x="572" y="6"/>
                  </a:lnTo>
                  <a:lnTo>
                    <a:pt x="602" y="0"/>
                  </a:lnTo>
                  <a:lnTo>
                    <a:pt x="643" y="11"/>
                  </a:lnTo>
                  <a:lnTo>
                    <a:pt x="686" y="45"/>
                  </a:lnTo>
                  <a:lnTo>
                    <a:pt x="705" y="68"/>
                  </a:lnTo>
                  <a:lnTo>
                    <a:pt x="731" y="71"/>
                  </a:lnTo>
                  <a:lnTo>
                    <a:pt x="759" y="83"/>
                  </a:lnTo>
                  <a:lnTo>
                    <a:pt x="778" y="101"/>
                  </a:lnTo>
                  <a:lnTo>
                    <a:pt x="793" y="103"/>
                  </a:lnTo>
                  <a:lnTo>
                    <a:pt x="823" y="88"/>
                  </a:lnTo>
                  <a:lnTo>
                    <a:pt x="832" y="105"/>
                  </a:lnTo>
                  <a:lnTo>
                    <a:pt x="828" y="109"/>
                  </a:lnTo>
                  <a:lnTo>
                    <a:pt x="834" y="150"/>
                  </a:lnTo>
                  <a:lnTo>
                    <a:pt x="817" y="148"/>
                  </a:lnTo>
                  <a:lnTo>
                    <a:pt x="810" y="158"/>
                  </a:lnTo>
                  <a:lnTo>
                    <a:pt x="826" y="180"/>
                  </a:lnTo>
                  <a:lnTo>
                    <a:pt x="828" y="195"/>
                  </a:lnTo>
                  <a:lnTo>
                    <a:pt x="811" y="191"/>
                  </a:lnTo>
                  <a:lnTo>
                    <a:pt x="808" y="206"/>
                  </a:lnTo>
                  <a:lnTo>
                    <a:pt x="797" y="206"/>
                  </a:lnTo>
                  <a:lnTo>
                    <a:pt x="797" y="217"/>
                  </a:lnTo>
                  <a:lnTo>
                    <a:pt x="780" y="214"/>
                  </a:lnTo>
                  <a:lnTo>
                    <a:pt x="753" y="249"/>
                  </a:lnTo>
                  <a:lnTo>
                    <a:pt x="746" y="247"/>
                  </a:lnTo>
                  <a:lnTo>
                    <a:pt x="718" y="266"/>
                  </a:lnTo>
                  <a:lnTo>
                    <a:pt x="722" y="257"/>
                  </a:lnTo>
                  <a:lnTo>
                    <a:pt x="714" y="251"/>
                  </a:lnTo>
                  <a:lnTo>
                    <a:pt x="722" y="234"/>
                  </a:lnTo>
                  <a:lnTo>
                    <a:pt x="712" y="227"/>
                  </a:lnTo>
                  <a:lnTo>
                    <a:pt x="701" y="225"/>
                  </a:lnTo>
                  <a:lnTo>
                    <a:pt x="695" y="240"/>
                  </a:lnTo>
                  <a:lnTo>
                    <a:pt x="684" y="247"/>
                  </a:lnTo>
                  <a:lnTo>
                    <a:pt x="682" y="257"/>
                  </a:lnTo>
                  <a:lnTo>
                    <a:pt x="665" y="255"/>
                  </a:lnTo>
                  <a:lnTo>
                    <a:pt x="665" y="268"/>
                  </a:lnTo>
                  <a:lnTo>
                    <a:pt x="703" y="296"/>
                  </a:lnTo>
                  <a:lnTo>
                    <a:pt x="708" y="296"/>
                  </a:lnTo>
                  <a:lnTo>
                    <a:pt x="722" y="283"/>
                  </a:lnTo>
                  <a:lnTo>
                    <a:pt x="750" y="292"/>
                  </a:lnTo>
                  <a:lnTo>
                    <a:pt x="750" y="300"/>
                  </a:lnTo>
                  <a:lnTo>
                    <a:pt x="744" y="298"/>
                  </a:lnTo>
                  <a:lnTo>
                    <a:pt x="729" y="306"/>
                  </a:lnTo>
                  <a:lnTo>
                    <a:pt x="716" y="337"/>
                  </a:lnTo>
                  <a:lnTo>
                    <a:pt x="737" y="347"/>
                  </a:lnTo>
                  <a:lnTo>
                    <a:pt x="757" y="379"/>
                  </a:lnTo>
                  <a:lnTo>
                    <a:pt x="778" y="395"/>
                  </a:lnTo>
                  <a:lnTo>
                    <a:pt x="768" y="395"/>
                  </a:lnTo>
                  <a:lnTo>
                    <a:pt x="783" y="410"/>
                  </a:lnTo>
                  <a:lnTo>
                    <a:pt x="763" y="420"/>
                  </a:lnTo>
                  <a:lnTo>
                    <a:pt x="791" y="425"/>
                  </a:lnTo>
                  <a:lnTo>
                    <a:pt x="791" y="455"/>
                  </a:lnTo>
                  <a:lnTo>
                    <a:pt x="783" y="461"/>
                  </a:lnTo>
                  <a:lnTo>
                    <a:pt x="774" y="487"/>
                  </a:lnTo>
                  <a:lnTo>
                    <a:pt x="768" y="487"/>
                  </a:lnTo>
                  <a:lnTo>
                    <a:pt x="772" y="500"/>
                  </a:lnTo>
                  <a:lnTo>
                    <a:pt x="761" y="527"/>
                  </a:lnTo>
                  <a:lnTo>
                    <a:pt x="753" y="527"/>
                  </a:lnTo>
                  <a:lnTo>
                    <a:pt x="755" y="532"/>
                  </a:lnTo>
                  <a:lnTo>
                    <a:pt x="733" y="553"/>
                  </a:lnTo>
                  <a:lnTo>
                    <a:pt x="703" y="562"/>
                  </a:lnTo>
                  <a:lnTo>
                    <a:pt x="697" y="570"/>
                  </a:lnTo>
                  <a:lnTo>
                    <a:pt x="688" y="562"/>
                  </a:lnTo>
                  <a:lnTo>
                    <a:pt x="688" y="570"/>
                  </a:lnTo>
                  <a:lnTo>
                    <a:pt x="680" y="564"/>
                  </a:lnTo>
                  <a:lnTo>
                    <a:pt x="680" y="573"/>
                  </a:lnTo>
                  <a:lnTo>
                    <a:pt x="641" y="588"/>
                  </a:lnTo>
                  <a:lnTo>
                    <a:pt x="645" y="602"/>
                  </a:lnTo>
                  <a:lnTo>
                    <a:pt x="641" y="605"/>
                  </a:lnTo>
                  <a:lnTo>
                    <a:pt x="635" y="605"/>
                  </a:lnTo>
                  <a:lnTo>
                    <a:pt x="630" y="585"/>
                  </a:lnTo>
                  <a:lnTo>
                    <a:pt x="609" y="581"/>
                  </a:lnTo>
                  <a:lnTo>
                    <a:pt x="602" y="585"/>
                  </a:lnTo>
                  <a:lnTo>
                    <a:pt x="581" y="575"/>
                  </a:lnTo>
                  <a:lnTo>
                    <a:pt x="575" y="560"/>
                  </a:lnTo>
                  <a:lnTo>
                    <a:pt x="557" y="553"/>
                  </a:lnTo>
                  <a:lnTo>
                    <a:pt x="521" y="564"/>
                  </a:lnTo>
                  <a:lnTo>
                    <a:pt x="510" y="560"/>
                  </a:lnTo>
                  <a:lnTo>
                    <a:pt x="508" y="566"/>
                  </a:lnTo>
                  <a:lnTo>
                    <a:pt x="501" y="564"/>
                  </a:lnTo>
                  <a:lnTo>
                    <a:pt x="501" y="587"/>
                  </a:lnTo>
                  <a:lnTo>
                    <a:pt x="495" y="588"/>
                  </a:lnTo>
                  <a:lnTo>
                    <a:pt x="493" y="579"/>
                  </a:lnTo>
                  <a:lnTo>
                    <a:pt x="478" y="583"/>
                  </a:lnTo>
                  <a:lnTo>
                    <a:pt x="461" y="570"/>
                  </a:lnTo>
                  <a:lnTo>
                    <a:pt x="463" y="557"/>
                  </a:lnTo>
                  <a:lnTo>
                    <a:pt x="454" y="549"/>
                  </a:lnTo>
                  <a:lnTo>
                    <a:pt x="448" y="536"/>
                  </a:lnTo>
                  <a:lnTo>
                    <a:pt x="431" y="542"/>
                  </a:lnTo>
                  <a:lnTo>
                    <a:pt x="439" y="487"/>
                  </a:lnTo>
                  <a:lnTo>
                    <a:pt x="426" y="465"/>
                  </a:lnTo>
                  <a:lnTo>
                    <a:pt x="413" y="461"/>
                  </a:lnTo>
                  <a:lnTo>
                    <a:pt x="383" y="437"/>
                  </a:lnTo>
                  <a:lnTo>
                    <a:pt x="362" y="440"/>
                  </a:lnTo>
                  <a:lnTo>
                    <a:pt x="345" y="459"/>
                  </a:lnTo>
                  <a:lnTo>
                    <a:pt x="324" y="467"/>
                  </a:lnTo>
                  <a:lnTo>
                    <a:pt x="295" y="459"/>
                  </a:lnTo>
                  <a:lnTo>
                    <a:pt x="281" y="476"/>
                  </a:lnTo>
                  <a:lnTo>
                    <a:pt x="274" y="463"/>
                  </a:lnTo>
                  <a:lnTo>
                    <a:pt x="266" y="465"/>
                  </a:lnTo>
                  <a:lnTo>
                    <a:pt x="266" y="465"/>
                  </a:lnTo>
                  <a:lnTo>
                    <a:pt x="233" y="465"/>
                  </a:lnTo>
                  <a:lnTo>
                    <a:pt x="197" y="440"/>
                  </a:lnTo>
                  <a:lnTo>
                    <a:pt x="190" y="442"/>
                  </a:lnTo>
                  <a:lnTo>
                    <a:pt x="169" y="424"/>
                  </a:lnTo>
                  <a:lnTo>
                    <a:pt x="148" y="422"/>
                  </a:lnTo>
                  <a:lnTo>
                    <a:pt x="117" y="409"/>
                  </a:lnTo>
                  <a:lnTo>
                    <a:pt x="102" y="384"/>
                  </a:lnTo>
                  <a:lnTo>
                    <a:pt x="102" y="379"/>
                  </a:lnTo>
                  <a:lnTo>
                    <a:pt x="115" y="379"/>
                  </a:lnTo>
                  <a:lnTo>
                    <a:pt x="103" y="356"/>
                  </a:lnTo>
                  <a:lnTo>
                    <a:pt x="115" y="339"/>
                  </a:lnTo>
                  <a:lnTo>
                    <a:pt x="117" y="324"/>
                  </a:lnTo>
                  <a:lnTo>
                    <a:pt x="100" y="317"/>
                  </a:lnTo>
                  <a:lnTo>
                    <a:pt x="75" y="326"/>
                  </a:lnTo>
                  <a:lnTo>
                    <a:pt x="51" y="317"/>
                  </a:lnTo>
                  <a:lnTo>
                    <a:pt x="42" y="302"/>
                  </a:lnTo>
                  <a:lnTo>
                    <a:pt x="23" y="298"/>
                  </a:lnTo>
                  <a:lnTo>
                    <a:pt x="21" y="296"/>
                  </a:lnTo>
                  <a:lnTo>
                    <a:pt x="25" y="292"/>
                  </a:lnTo>
                  <a:lnTo>
                    <a:pt x="19" y="272"/>
                  </a:lnTo>
                  <a:lnTo>
                    <a:pt x="6" y="270"/>
                  </a:lnTo>
                  <a:lnTo>
                    <a:pt x="0" y="264"/>
                  </a:lnTo>
                  <a:lnTo>
                    <a:pt x="0" y="253"/>
                  </a:lnTo>
                  <a:lnTo>
                    <a:pt x="0" y="242"/>
                  </a:lnTo>
                  <a:lnTo>
                    <a:pt x="10" y="232"/>
                  </a:lnTo>
                  <a:lnTo>
                    <a:pt x="36" y="232"/>
                  </a:lnTo>
                  <a:lnTo>
                    <a:pt x="38" y="225"/>
                  </a:lnTo>
                  <a:lnTo>
                    <a:pt x="55" y="223"/>
                  </a:lnTo>
                  <a:lnTo>
                    <a:pt x="79" y="206"/>
                  </a:lnTo>
                  <a:lnTo>
                    <a:pt x="79" y="201"/>
                  </a:lnTo>
                  <a:lnTo>
                    <a:pt x="83" y="184"/>
                  </a:lnTo>
                  <a:lnTo>
                    <a:pt x="64" y="156"/>
                  </a:lnTo>
                  <a:lnTo>
                    <a:pt x="68" y="150"/>
                  </a:lnTo>
                  <a:lnTo>
                    <a:pt x="92" y="148"/>
                  </a:lnTo>
                  <a:lnTo>
                    <a:pt x="90" y="111"/>
                  </a:lnTo>
                  <a:lnTo>
                    <a:pt x="120" y="118"/>
                  </a:lnTo>
                  <a:lnTo>
                    <a:pt x="128" y="113"/>
                  </a:lnTo>
                  <a:lnTo>
                    <a:pt x="124" y="90"/>
                  </a:lnTo>
                  <a:lnTo>
                    <a:pt x="135" y="84"/>
                  </a:lnTo>
                  <a:lnTo>
                    <a:pt x="135" y="84"/>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86" name="Freeform 5694"/>
            <p:cNvSpPr>
              <a:spLocks/>
            </p:cNvSpPr>
            <p:nvPr>
              <p:custDataLst>
                <p:tags r:id="rId66"/>
              </p:custDataLst>
            </p:nvPr>
          </p:nvSpPr>
          <p:spPr bwMode="gray">
            <a:xfrm>
              <a:off x="8399844" y="3691439"/>
              <a:ext cx="69287" cy="35968"/>
            </a:xfrm>
            <a:custGeom>
              <a:avLst/>
              <a:gdLst/>
              <a:ahLst/>
              <a:cxnLst>
                <a:cxn ang="0">
                  <a:pos x="44" y="8"/>
                </a:cxn>
                <a:cxn ang="0">
                  <a:pos x="15" y="0"/>
                </a:cxn>
                <a:cxn ang="0">
                  <a:pos x="1" y="17"/>
                </a:cxn>
                <a:cxn ang="0">
                  <a:pos x="0" y="21"/>
                </a:cxn>
                <a:cxn ang="0">
                  <a:pos x="9" y="28"/>
                </a:cxn>
                <a:cxn ang="0">
                  <a:pos x="46" y="26"/>
                </a:cxn>
                <a:cxn ang="0">
                  <a:pos x="54" y="19"/>
                </a:cxn>
                <a:cxn ang="0">
                  <a:pos x="44" y="8"/>
                </a:cxn>
                <a:cxn ang="0">
                  <a:pos x="44" y="8"/>
                </a:cxn>
              </a:cxnLst>
              <a:rect l="0" t="0" r="r" b="b"/>
              <a:pathLst>
                <a:path w="54" h="28">
                  <a:moveTo>
                    <a:pt x="44" y="8"/>
                  </a:moveTo>
                  <a:lnTo>
                    <a:pt x="15" y="0"/>
                  </a:lnTo>
                  <a:lnTo>
                    <a:pt x="1" y="17"/>
                  </a:lnTo>
                  <a:lnTo>
                    <a:pt x="0" y="21"/>
                  </a:lnTo>
                  <a:lnTo>
                    <a:pt x="9" y="28"/>
                  </a:lnTo>
                  <a:lnTo>
                    <a:pt x="46" y="26"/>
                  </a:lnTo>
                  <a:lnTo>
                    <a:pt x="54" y="19"/>
                  </a:lnTo>
                  <a:lnTo>
                    <a:pt x="44" y="8"/>
                  </a:lnTo>
                  <a:lnTo>
                    <a:pt x="44" y="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87" name="Freeform 5695"/>
            <p:cNvSpPr>
              <a:spLocks/>
            </p:cNvSpPr>
            <p:nvPr>
              <p:custDataLst>
                <p:tags r:id="rId67"/>
              </p:custDataLst>
            </p:nvPr>
          </p:nvSpPr>
          <p:spPr bwMode="gray">
            <a:xfrm>
              <a:off x="8218928" y="3643910"/>
              <a:ext cx="168085" cy="91204"/>
            </a:xfrm>
            <a:custGeom>
              <a:avLst/>
              <a:gdLst/>
              <a:ahLst/>
              <a:cxnLst>
                <a:cxn ang="0">
                  <a:pos x="127" y="58"/>
                </a:cxn>
                <a:cxn ang="0">
                  <a:pos x="127" y="43"/>
                </a:cxn>
                <a:cxn ang="0">
                  <a:pos x="94" y="43"/>
                </a:cxn>
                <a:cxn ang="0">
                  <a:pos x="58" y="18"/>
                </a:cxn>
                <a:cxn ang="0">
                  <a:pos x="51" y="20"/>
                </a:cxn>
                <a:cxn ang="0">
                  <a:pos x="30" y="2"/>
                </a:cxn>
                <a:cxn ang="0">
                  <a:pos x="9" y="0"/>
                </a:cxn>
                <a:cxn ang="0">
                  <a:pos x="0" y="26"/>
                </a:cxn>
                <a:cxn ang="0">
                  <a:pos x="47" y="52"/>
                </a:cxn>
                <a:cxn ang="0">
                  <a:pos x="67" y="54"/>
                </a:cxn>
                <a:cxn ang="0">
                  <a:pos x="82" y="65"/>
                </a:cxn>
                <a:cxn ang="0">
                  <a:pos x="116" y="71"/>
                </a:cxn>
                <a:cxn ang="0">
                  <a:pos x="131" y="71"/>
                </a:cxn>
                <a:cxn ang="0">
                  <a:pos x="127" y="58"/>
                </a:cxn>
                <a:cxn ang="0">
                  <a:pos x="127" y="58"/>
                </a:cxn>
              </a:cxnLst>
              <a:rect l="0" t="0" r="r" b="b"/>
              <a:pathLst>
                <a:path w="131" h="71">
                  <a:moveTo>
                    <a:pt x="127" y="58"/>
                  </a:moveTo>
                  <a:lnTo>
                    <a:pt x="127" y="43"/>
                  </a:lnTo>
                  <a:lnTo>
                    <a:pt x="94" y="43"/>
                  </a:lnTo>
                  <a:lnTo>
                    <a:pt x="58" y="18"/>
                  </a:lnTo>
                  <a:lnTo>
                    <a:pt x="51" y="20"/>
                  </a:lnTo>
                  <a:lnTo>
                    <a:pt x="30" y="2"/>
                  </a:lnTo>
                  <a:lnTo>
                    <a:pt x="9" y="0"/>
                  </a:lnTo>
                  <a:lnTo>
                    <a:pt x="0" y="26"/>
                  </a:lnTo>
                  <a:lnTo>
                    <a:pt x="47" y="52"/>
                  </a:lnTo>
                  <a:lnTo>
                    <a:pt x="67" y="54"/>
                  </a:lnTo>
                  <a:lnTo>
                    <a:pt x="82" y="65"/>
                  </a:lnTo>
                  <a:lnTo>
                    <a:pt x="116" y="71"/>
                  </a:lnTo>
                  <a:lnTo>
                    <a:pt x="131" y="71"/>
                  </a:lnTo>
                  <a:lnTo>
                    <a:pt x="127" y="58"/>
                  </a:lnTo>
                  <a:lnTo>
                    <a:pt x="127" y="5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88" name="Freeform 5696"/>
            <p:cNvSpPr>
              <a:spLocks/>
            </p:cNvSpPr>
            <p:nvPr>
              <p:custDataLst>
                <p:tags r:id="rId68"/>
              </p:custDataLst>
            </p:nvPr>
          </p:nvSpPr>
          <p:spPr bwMode="gray">
            <a:xfrm>
              <a:off x="7830151" y="3484625"/>
              <a:ext cx="306659" cy="314717"/>
            </a:xfrm>
            <a:custGeom>
              <a:avLst/>
              <a:gdLst/>
              <a:ahLst/>
              <a:cxnLst>
                <a:cxn ang="0">
                  <a:pos x="136" y="234"/>
                </a:cxn>
                <a:cxn ang="0">
                  <a:pos x="168" y="234"/>
                </a:cxn>
                <a:cxn ang="0">
                  <a:pos x="168" y="223"/>
                </a:cxn>
                <a:cxn ang="0">
                  <a:pos x="161" y="208"/>
                </a:cxn>
                <a:cxn ang="0">
                  <a:pos x="153" y="202"/>
                </a:cxn>
                <a:cxn ang="0">
                  <a:pos x="153" y="193"/>
                </a:cxn>
                <a:cxn ang="0">
                  <a:pos x="142" y="191"/>
                </a:cxn>
                <a:cxn ang="0">
                  <a:pos x="142" y="178"/>
                </a:cxn>
                <a:cxn ang="0">
                  <a:pos x="151" y="167"/>
                </a:cxn>
                <a:cxn ang="0">
                  <a:pos x="161" y="170"/>
                </a:cxn>
                <a:cxn ang="0">
                  <a:pos x="174" y="167"/>
                </a:cxn>
                <a:cxn ang="0">
                  <a:pos x="211" y="107"/>
                </a:cxn>
                <a:cxn ang="0">
                  <a:pos x="208" y="94"/>
                </a:cxn>
                <a:cxn ang="0">
                  <a:pos x="215" y="90"/>
                </a:cxn>
                <a:cxn ang="0">
                  <a:pos x="215" y="84"/>
                </a:cxn>
                <a:cxn ang="0">
                  <a:pos x="194" y="71"/>
                </a:cxn>
                <a:cxn ang="0">
                  <a:pos x="193" y="52"/>
                </a:cxn>
                <a:cxn ang="0">
                  <a:pos x="185" y="45"/>
                </a:cxn>
                <a:cxn ang="0">
                  <a:pos x="187" y="39"/>
                </a:cxn>
                <a:cxn ang="0">
                  <a:pos x="215" y="45"/>
                </a:cxn>
                <a:cxn ang="0">
                  <a:pos x="232" y="39"/>
                </a:cxn>
                <a:cxn ang="0">
                  <a:pos x="239" y="28"/>
                </a:cxn>
                <a:cxn ang="0">
                  <a:pos x="215" y="19"/>
                </a:cxn>
                <a:cxn ang="0">
                  <a:pos x="206" y="4"/>
                </a:cxn>
                <a:cxn ang="0">
                  <a:pos x="187" y="0"/>
                </a:cxn>
                <a:cxn ang="0">
                  <a:pos x="174" y="2"/>
                </a:cxn>
                <a:cxn ang="0">
                  <a:pos x="161" y="2"/>
                </a:cxn>
                <a:cxn ang="0">
                  <a:pos x="142" y="13"/>
                </a:cxn>
                <a:cxn ang="0">
                  <a:pos x="148" y="36"/>
                </a:cxn>
                <a:cxn ang="0">
                  <a:pos x="142" y="54"/>
                </a:cxn>
                <a:cxn ang="0">
                  <a:pos x="127" y="54"/>
                </a:cxn>
                <a:cxn ang="0">
                  <a:pos x="133" y="64"/>
                </a:cxn>
                <a:cxn ang="0">
                  <a:pos x="125" y="73"/>
                </a:cxn>
                <a:cxn ang="0">
                  <a:pos x="121" y="96"/>
                </a:cxn>
                <a:cxn ang="0">
                  <a:pos x="89" y="103"/>
                </a:cxn>
                <a:cxn ang="0">
                  <a:pos x="84" y="111"/>
                </a:cxn>
                <a:cxn ang="0">
                  <a:pos x="82" y="131"/>
                </a:cxn>
                <a:cxn ang="0">
                  <a:pos x="22" y="139"/>
                </a:cxn>
                <a:cxn ang="0">
                  <a:pos x="0" y="131"/>
                </a:cxn>
                <a:cxn ang="0">
                  <a:pos x="0" y="131"/>
                </a:cxn>
                <a:cxn ang="0">
                  <a:pos x="16" y="156"/>
                </a:cxn>
                <a:cxn ang="0">
                  <a:pos x="30" y="161"/>
                </a:cxn>
                <a:cxn ang="0">
                  <a:pos x="43" y="180"/>
                </a:cxn>
                <a:cxn ang="0">
                  <a:pos x="41" y="187"/>
                </a:cxn>
                <a:cxn ang="0">
                  <a:pos x="22" y="200"/>
                </a:cxn>
                <a:cxn ang="0">
                  <a:pos x="20" y="215"/>
                </a:cxn>
                <a:cxn ang="0">
                  <a:pos x="56" y="214"/>
                </a:cxn>
                <a:cxn ang="0">
                  <a:pos x="69" y="217"/>
                </a:cxn>
                <a:cxn ang="0">
                  <a:pos x="99" y="214"/>
                </a:cxn>
                <a:cxn ang="0">
                  <a:pos x="114" y="240"/>
                </a:cxn>
                <a:cxn ang="0">
                  <a:pos x="125" y="245"/>
                </a:cxn>
                <a:cxn ang="0">
                  <a:pos x="136" y="234"/>
                </a:cxn>
                <a:cxn ang="0">
                  <a:pos x="136" y="234"/>
                </a:cxn>
              </a:cxnLst>
              <a:rect l="0" t="0" r="r" b="b"/>
              <a:pathLst>
                <a:path w="239" h="245">
                  <a:moveTo>
                    <a:pt x="136" y="234"/>
                  </a:moveTo>
                  <a:lnTo>
                    <a:pt x="168" y="234"/>
                  </a:lnTo>
                  <a:lnTo>
                    <a:pt x="168" y="223"/>
                  </a:lnTo>
                  <a:lnTo>
                    <a:pt x="161" y="208"/>
                  </a:lnTo>
                  <a:lnTo>
                    <a:pt x="153" y="202"/>
                  </a:lnTo>
                  <a:lnTo>
                    <a:pt x="153" y="193"/>
                  </a:lnTo>
                  <a:lnTo>
                    <a:pt x="142" y="191"/>
                  </a:lnTo>
                  <a:lnTo>
                    <a:pt x="142" y="178"/>
                  </a:lnTo>
                  <a:lnTo>
                    <a:pt x="151" y="167"/>
                  </a:lnTo>
                  <a:lnTo>
                    <a:pt x="161" y="170"/>
                  </a:lnTo>
                  <a:lnTo>
                    <a:pt x="174" y="167"/>
                  </a:lnTo>
                  <a:lnTo>
                    <a:pt x="211" y="107"/>
                  </a:lnTo>
                  <a:lnTo>
                    <a:pt x="208" y="94"/>
                  </a:lnTo>
                  <a:lnTo>
                    <a:pt x="215" y="90"/>
                  </a:lnTo>
                  <a:lnTo>
                    <a:pt x="215" y="84"/>
                  </a:lnTo>
                  <a:lnTo>
                    <a:pt x="194" y="71"/>
                  </a:lnTo>
                  <a:lnTo>
                    <a:pt x="193" y="52"/>
                  </a:lnTo>
                  <a:lnTo>
                    <a:pt x="185" y="45"/>
                  </a:lnTo>
                  <a:lnTo>
                    <a:pt x="187" y="39"/>
                  </a:lnTo>
                  <a:lnTo>
                    <a:pt x="215" y="45"/>
                  </a:lnTo>
                  <a:lnTo>
                    <a:pt x="232" y="39"/>
                  </a:lnTo>
                  <a:lnTo>
                    <a:pt x="239" y="28"/>
                  </a:lnTo>
                  <a:lnTo>
                    <a:pt x="215" y="19"/>
                  </a:lnTo>
                  <a:lnTo>
                    <a:pt x="206" y="4"/>
                  </a:lnTo>
                  <a:lnTo>
                    <a:pt x="187" y="0"/>
                  </a:lnTo>
                  <a:lnTo>
                    <a:pt x="174" y="2"/>
                  </a:lnTo>
                  <a:lnTo>
                    <a:pt x="161" y="2"/>
                  </a:lnTo>
                  <a:lnTo>
                    <a:pt x="142" y="13"/>
                  </a:lnTo>
                  <a:lnTo>
                    <a:pt x="148" y="36"/>
                  </a:lnTo>
                  <a:lnTo>
                    <a:pt x="142" y="54"/>
                  </a:lnTo>
                  <a:lnTo>
                    <a:pt x="127" y="54"/>
                  </a:lnTo>
                  <a:lnTo>
                    <a:pt x="133" y="64"/>
                  </a:lnTo>
                  <a:lnTo>
                    <a:pt x="125" y="73"/>
                  </a:lnTo>
                  <a:lnTo>
                    <a:pt x="121" y="96"/>
                  </a:lnTo>
                  <a:lnTo>
                    <a:pt x="89" y="103"/>
                  </a:lnTo>
                  <a:lnTo>
                    <a:pt x="84" y="111"/>
                  </a:lnTo>
                  <a:lnTo>
                    <a:pt x="82" y="131"/>
                  </a:lnTo>
                  <a:lnTo>
                    <a:pt x="22" y="139"/>
                  </a:lnTo>
                  <a:lnTo>
                    <a:pt x="0" y="131"/>
                  </a:lnTo>
                  <a:lnTo>
                    <a:pt x="0" y="131"/>
                  </a:lnTo>
                  <a:lnTo>
                    <a:pt x="16" y="156"/>
                  </a:lnTo>
                  <a:lnTo>
                    <a:pt x="30" y="161"/>
                  </a:lnTo>
                  <a:lnTo>
                    <a:pt x="43" y="180"/>
                  </a:lnTo>
                  <a:lnTo>
                    <a:pt x="41" y="187"/>
                  </a:lnTo>
                  <a:lnTo>
                    <a:pt x="22" y="200"/>
                  </a:lnTo>
                  <a:lnTo>
                    <a:pt x="20" y="215"/>
                  </a:lnTo>
                  <a:lnTo>
                    <a:pt x="56" y="214"/>
                  </a:lnTo>
                  <a:lnTo>
                    <a:pt x="69" y="217"/>
                  </a:lnTo>
                  <a:lnTo>
                    <a:pt x="99" y="214"/>
                  </a:lnTo>
                  <a:lnTo>
                    <a:pt x="114" y="240"/>
                  </a:lnTo>
                  <a:lnTo>
                    <a:pt x="125" y="245"/>
                  </a:lnTo>
                  <a:lnTo>
                    <a:pt x="136" y="234"/>
                  </a:lnTo>
                  <a:lnTo>
                    <a:pt x="136" y="23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89" name="Freeform 5697"/>
            <p:cNvSpPr>
              <a:spLocks/>
            </p:cNvSpPr>
            <p:nvPr>
              <p:custDataLst>
                <p:tags r:id="rId69"/>
              </p:custDataLst>
            </p:nvPr>
          </p:nvSpPr>
          <p:spPr bwMode="gray">
            <a:xfrm>
              <a:off x="9077317" y="3448657"/>
              <a:ext cx="74419" cy="98911"/>
            </a:xfrm>
            <a:custGeom>
              <a:avLst/>
              <a:gdLst/>
              <a:ahLst/>
              <a:cxnLst>
                <a:cxn ang="0">
                  <a:pos x="0" y="13"/>
                </a:cxn>
                <a:cxn ang="0">
                  <a:pos x="5" y="6"/>
                </a:cxn>
                <a:cxn ang="0">
                  <a:pos x="22" y="0"/>
                </a:cxn>
                <a:cxn ang="0">
                  <a:pos x="41" y="19"/>
                </a:cxn>
                <a:cxn ang="0">
                  <a:pos x="58" y="47"/>
                </a:cxn>
                <a:cxn ang="0">
                  <a:pos x="58" y="60"/>
                </a:cxn>
                <a:cxn ang="0">
                  <a:pos x="26" y="77"/>
                </a:cxn>
                <a:cxn ang="0">
                  <a:pos x="15" y="58"/>
                </a:cxn>
                <a:cxn ang="0">
                  <a:pos x="18" y="50"/>
                </a:cxn>
                <a:cxn ang="0">
                  <a:pos x="0" y="28"/>
                </a:cxn>
                <a:cxn ang="0">
                  <a:pos x="9" y="28"/>
                </a:cxn>
                <a:cxn ang="0">
                  <a:pos x="2" y="21"/>
                </a:cxn>
                <a:cxn ang="0">
                  <a:pos x="0" y="13"/>
                </a:cxn>
                <a:cxn ang="0">
                  <a:pos x="0" y="13"/>
                </a:cxn>
              </a:cxnLst>
              <a:rect l="0" t="0" r="r" b="b"/>
              <a:pathLst>
                <a:path w="58" h="77">
                  <a:moveTo>
                    <a:pt x="0" y="13"/>
                  </a:moveTo>
                  <a:lnTo>
                    <a:pt x="5" y="6"/>
                  </a:lnTo>
                  <a:lnTo>
                    <a:pt x="22" y="0"/>
                  </a:lnTo>
                  <a:lnTo>
                    <a:pt x="41" y="19"/>
                  </a:lnTo>
                  <a:lnTo>
                    <a:pt x="58" y="47"/>
                  </a:lnTo>
                  <a:lnTo>
                    <a:pt x="58" y="60"/>
                  </a:lnTo>
                  <a:lnTo>
                    <a:pt x="26" y="77"/>
                  </a:lnTo>
                  <a:lnTo>
                    <a:pt x="15" y="58"/>
                  </a:lnTo>
                  <a:lnTo>
                    <a:pt x="18" y="50"/>
                  </a:lnTo>
                  <a:lnTo>
                    <a:pt x="0" y="28"/>
                  </a:lnTo>
                  <a:lnTo>
                    <a:pt x="9" y="28"/>
                  </a:lnTo>
                  <a:lnTo>
                    <a:pt x="2" y="21"/>
                  </a:lnTo>
                  <a:lnTo>
                    <a:pt x="0" y="13"/>
                  </a:lnTo>
                  <a:lnTo>
                    <a:pt x="0" y="13"/>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90" name="Freeform 5698"/>
            <p:cNvSpPr>
              <a:spLocks/>
            </p:cNvSpPr>
            <p:nvPr>
              <p:custDataLst>
                <p:tags r:id="rId70"/>
              </p:custDataLst>
            </p:nvPr>
          </p:nvSpPr>
          <p:spPr bwMode="gray">
            <a:xfrm>
              <a:off x="8229193" y="3131371"/>
              <a:ext cx="605620" cy="242782"/>
            </a:xfrm>
            <a:custGeom>
              <a:avLst/>
              <a:gdLst/>
              <a:ahLst/>
              <a:cxnLst>
                <a:cxn ang="0">
                  <a:pos x="393" y="50"/>
                </a:cxn>
                <a:cxn ang="0">
                  <a:pos x="410" y="80"/>
                </a:cxn>
                <a:cxn ang="0">
                  <a:pos x="428" y="82"/>
                </a:cxn>
                <a:cxn ang="0">
                  <a:pos x="445" y="76"/>
                </a:cxn>
                <a:cxn ang="0">
                  <a:pos x="462" y="84"/>
                </a:cxn>
                <a:cxn ang="0">
                  <a:pos x="472" y="99"/>
                </a:cxn>
                <a:cxn ang="0">
                  <a:pos x="436" y="99"/>
                </a:cxn>
                <a:cxn ang="0">
                  <a:pos x="428" y="114"/>
                </a:cxn>
                <a:cxn ang="0">
                  <a:pos x="415" y="120"/>
                </a:cxn>
                <a:cxn ang="0">
                  <a:pos x="406" y="133"/>
                </a:cxn>
                <a:cxn ang="0">
                  <a:pos x="385" y="127"/>
                </a:cxn>
                <a:cxn ang="0">
                  <a:pos x="380" y="136"/>
                </a:cxn>
                <a:cxn ang="0">
                  <a:pos x="391" y="151"/>
                </a:cxn>
                <a:cxn ang="0">
                  <a:pos x="374" y="172"/>
                </a:cxn>
                <a:cxn ang="0">
                  <a:pos x="370" y="174"/>
                </a:cxn>
                <a:cxn ang="0">
                  <a:pos x="339" y="176"/>
                </a:cxn>
                <a:cxn ang="0">
                  <a:pos x="307" y="189"/>
                </a:cxn>
                <a:cxn ang="0">
                  <a:pos x="234" y="168"/>
                </a:cxn>
                <a:cxn ang="0">
                  <a:pos x="176" y="168"/>
                </a:cxn>
                <a:cxn ang="0">
                  <a:pos x="138" y="138"/>
                </a:cxn>
                <a:cxn ang="0">
                  <a:pos x="67" y="121"/>
                </a:cxn>
                <a:cxn ang="0">
                  <a:pos x="58" y="95"/>
                </a:cxn>
                <a:cxn ang="0">
                  <a:pos x="43" y="78"/>
                </a:cxn>
                <a:cxn ang="0">
                  <a:pos x="22" y="75"/>
                </a:cxn>
                <a:cxn ang="0">
                  <a:pos x="0" y="56"/>
                </a:cxn>
                <a:cxn ang="0">
                  <a:pos x="3" y="48"/>
                </a:cxn>
                <a:cxn ang="0">
                  <a:pos x="44" y="28"/>
                </a:cxn>
                <a:cxn ang="0">
                  <a:pos x="80" y="30"/>
                </a:cxn>
                <a:cxn ang="0">
                  <a:pos x="97" y="39"/>
                </a:cxn>
                <a:cxn ang="0">
                  <a:pos x="134" y="37"/>
                </a:cxn>
                <a:cxn ang="0">
                  <a:pos x="133" y="26"/>
                </a:cxn>
                <a:cxn ang="0">
                  <a:pos x="123" y="13"/>
                </a:cxn>
                <a:cxn ang="0">
                  <a:pos x="134" y="0"/>
                </a:cxn>
                <a:cxn ang="0">
                  <a:pos x="177" y="11"/>
                </a:cxn>
                <a:cxn ang="0">
                  <a:pos x="204" y="31"/>
                </a:cxn>
                <a:cxn ang="0">
                  <a:pos x="239" y="28"/>
                </a:cxn>
                <a:cxn ang="0">
                  <a:pos x="314" y="52"/>
                </a:cxn>
                <a:cxn ang="0">
                  <a:pos x="314" y="52"/>
                </a:cxn>
                <a:cxn ang="0">
                  <a:pos x="354" y="46"/>
                </a:cxn>
                <a:cxn ang="0">
                  <a:pos x="370" y="33"/>
                </a:cxn>
                <a:cxn ang="0">
                  <a:pos x="397" y="39"/>
                </a:cxn>
                <a:cxn ang="0">
                  <a:pos x="393" y="50"/>
                </a:cxn>
                <a:cxn ang="0">
                  <a:pos x="393" y="50"/>
                </a:cxn>
              </a:cxnLst>
              <a:rect l="0" t="0" r="r" b="b"/>
              <a:pathLst>
                <a:path w="472" h="189">
                  <a:moveTo>
                    <a:pt x="393" y="50"/>
                  </a:moveTo>
                  <a:lnTo>
                    <a:pt x="410" y="80"/>
                  </a:lnTo>
                  <a:lnTo>
                    <a:pt x="428" y="82"/>
                  </a:lnTo>
                  <a:lnTo>
                    <a:pt x="445" y="76"/>
                  </a:lnTo>
                  <a:lnTo>
                    <a:pt x="462" y="84"/>
                  </a:lnTo>
                  <a:lnTo>
                    <a:pt x="472" y="99"/>
                  </a:lnTo>
                  <a:lnTo>
                    <a:pt x="436" y="99"/>
                  </a:lnTo>
                  <a:lnTo>
                    <a:pt x="428" y="114"/>
                  </a:lnTo>
                  <a:lnTo>
                    <a:pt x="415" y="120"/>
                  </a:lnTo>
                  <a:lnTo>
                    <a:pt x="406" y="133"/>
                  </a:lnTo>
                  <a:lnTo>
                    <a:pt x="385" y="127"/>
                  </a:lnTo>
                  <a:lnTo>
                    <a:pt x="380" y="136"/>
                  </a:lnTo>
                  <a:lnTo>
                    <a:pt x="391" y="151"/>
                  </a:lnTo>
                  <a:lnTo>
                    <a:pt x="374" y="172"/>
                  </a:lnTo>
                  <a:lnTo>
                    <a:pt x="370" y="174"/>
                  </a:lnTo>
                  <a:lnTo>
                    <a:pt x="339" y="176"/>
                  </a:lnTo>
                  <a:lnTo>
                    <a:pt x="307" y="189"/>
                  </a:lnTo>
                  <a:lnTo>
                    <a:pt x="234" y="168"/>
                  </a:lnTo>
                  <a:lnTo>
                    <a:pt x="176" y="168"/>
                  </a:lnTo>
                  <a:lnTo>
                    <a:pt x="138" y="138"/>
                  </a:lnTo>
                  <a:lnTo>
                    <a:pt x="67" y="121"/>
                  </a:lnTo>
                  <a:lnTo>
                    <a:pt x="58" y="95"/>
                  </a:lnTo>
                  <a:lnTo>
                    <a:pt x="43" y="78"/>
                  </a:lnTo>
                  <a:lnTo>
                    <a:pt x="22" y="75"/>
                  </a:lnTo>
                  <a:lnTo>
                    <a:pt x="0" y="56"/>
                  </a:lnTo>
                  <a:lnTo>
                    <a:pt x="3" y="48"/>
                  </a:lnTo>
                  <a:lnTo>
                    <a:pt x="44" y="28"/>
                  </a:lnTo>
                  <a:lnTo>
                    <a:pt x="80" y="30"/>
                  </a:lnTo>
                  <a:lnTo>
                    <a:pt x="97" y="39"/>
                  </a:lnTo>
                  <a:lnTo>
                    <a:pt x="134" y="37"/>
                  </a:lnTo>
                  <a:lnTo>
                    <a:pt x="133" y="26"/>
                  </a:lnTo>
                  <a:lnTo>
                    <a:pt x="123" y="13"/>
                  </a:lnTo>
                  <a:lnTo>
                    <a:pt x="134" y="0"/>
                  </a:lnTo>
                  <a:lnTo>
                    <a:pt x="177" y="11"/>
                  </a:lnTo>
                  <a:lnTo>
                    <a:pt x="204" y="31"/>
                  </a:lnTo>
                  <a:lnTo>
                    <a:pt x="239" y="28"/>
                  </a:lnTo>
                  <a:lnTo>
                    <a:pt x="314" y="52"/>
                  </a:lnTo>
                  <a:lnTo>
                    <a:pt x="314" y="52"/>
                  </a:lnTo>
                  <a:lnTo>
                    <a:pt x="354" y="46"/>
                  </a:lnTo>
                  <a:lnTo>
                    <a:pt x="370" y="33"/>
                  </a:lnTo>
                  <a:lnTo>
                    <a:pt x="397" y="39"/>
                  </a:lnTo>
                  <a:lnTo>
                    <a:pt x="393" y="50"/>
                  </a:lnTo>
                  <a:lnTo>
                    <a:pt x="393" y="5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91" name="Freeform 5699"/>
            <p:cNvSpPr>
              <a:spLocks/>
            </p:cNvSpPr>
            <p:nvPr>
              <p:custDataLst>
                <p:tags r:id="rId71"/>
              </p:custDataLst>
            </p:nvPr>
          </p:nvSpPr>
          <p:spPr bwMode="gray">
            <a:xfrm>
              <a:off x="7115469" y="3366445"/>
              <a:ext cx="370814" cy="142586"/>
            </a:xfrm>
            <a:custGeom>
              <a:avLst/>
              <a:gdLst/>
              <a:ahLst/>
              <a:cxnLst>
                <a:cxn ang="0">
                  <a:pos x="257" y="17"/>
                </a:cxn>
                <a:cxn ang="0">
                  <a:pos x="251" y="8"/>
                </a:cxn>
                <a:cxn ang="0">
                  <a:pos x="231" y="6"/>
                </a:cxn>
                <a:cxn ang="0">
                  <a:pos x="231" y="6"/>
                </a:cxn>
                <a:cxn ang="0">
                  <a:pos x="206" y="17"/>
                </a:cxn>
                <a:cxn ang="0">
                  <a:pos x="167" y="17"/>
                </a:cxn>
                <a:cxn ang="0">
                  <a:pos x="131" y="0"/>
                </a:cxn>
                <a:cxn ang="0">
                  <a:pos x="105" y="0"/>
                </a:cxn>
                <a:cxn ang="0">
                  <a:pos x="75" y="17"/>
                </a:cxn>
                <a:cxn ang="0">
                  <a:pos x="56" y="17"/>
                </a:cxn>
                <a:cxn ang="0">
                  <a:pos x="38" y="11"/>
                </a:cxn>
                <a:cxn ang="0">
                  <a:pos x="28" y="2"/>
                </a:cxn>
                <a:cxn ang="0">
                  <a:pos x="4" y="2"/>
                </a:cxn>
                <a:cxn ang="0">
                  <a:pos x="4" y="2"/>
                </a:cxn>
                <a:cxn ang="0">
                  <a:pos x="0" y="26"/>
                </a:cxn>
                <a:cxn ang="0">
                  <a:pos x="8" y="25"/>
                </a:cxn>
                <a:cxn ang="0">
                  <a:pos x="4" y="34"/>
                </a:cxn>
                <a:cxn ang="0">
                  <a:pos x="21" y="19"/>
                </a:cxn>
                <a:cxn ang="0">
                  <a:pos x="41" y="17"/>
                </a:cxn>
                <a:cxn ang="0">
                  <a:pos x="51" y="25"/>
                </a:cxn>
                <a:cxn ang="0">
                  <a:pos x="43" y="25"/>
                </a:cxn>
                <a:cxn ang="0">
                  <a:pos x="47" y="30"/>
                </a:cxn>
                <a:cxn ang="0">
                  <a:pos x="12" y="30"/>
                </a:cxn>
                <a:cxn ang="0">
                  <a:pos x="4" y="36"/>
                </a:cxn>
                <a:cxn ang="0">
                  <a:pos x="0" y="47"/>
                </a:cxn>
                <a:cxn ang="0">
                  <a:pos x="13" y="45"/>
                </a:cxn>
                <a:cxn ang="0">
                  <a:pos x="15" y="66"/>
                </a:cxn>
                <a:cxn ang="0">
                  <a:pos x="8" y="62"/>
                </a:cxn>
                <a:cxn ang="0">
                  <a:pos x="6" y="68"/>
                </a:cxn>
                <a:cxn ang="0">
                  <a:pos x="21" y="73"/>
                </a:cxn>
                <a:cxn ang="0">
                  <a:pos x="19" y="81"/>
                </a:cxn>
                <a:cxn ang="0">
                  <a:pos x="26" y="86"/>
                </a:cxn>
                <a:cxn ang="0">
                  <a:pos x="21" y="92"/>
                </a:cxn>
                <a:cxn ang="0">
                  <a:pos x="36" y="92"/>
                </a:cxn>
                <a:cxn ang="0">
                  <a:pos x="34" y="96"/>
                </a:cxn>
                <a:cxn ang="0">
                  <a:pos x="62" y="107"/>
                </a:cxn>
                <a:cxn ang="0">
                  <a:pos x="73" y="101"/>
                </a:cxn>
                <a:cxn ang="0">
                  <a:pos x="75" y="94"/>
                </a:cxn>
                <a:cxn ang="0">
                  <a:pos x="85" y="96"/>
                </a:cxn>
                <a:cxn ang="0">
                  <a:pos x="107" y="111"/>
                </a:cxn>
                <a:cxn ang="0">
                  <a:pos x="120" y="107"/>
                </a:cxn>
                <a:cxn ang="0">
                  <a:pos x="133" y="94"/>
                </a:cxn>
                <a:cxn ang="0">
                  <a:pos x="150" y="100"/>
                </a:cxn>
                <a:cxn ang="0">
                  <a:pos x="156" y="92"/>
                </a:cxn>
                <a:cxn ang="0">
                  <a:pos x="158" y="111"/>
                </a:cxn>
                <a:cxn ang="0">
                  <a:pos x="158" y="111"/>
                </a:cxn>
                <a:cxn ang="0">
                  <a:pos x="167" y="103"/>
                </a:cxn>
                <a:cxn ang="0">
                  <a:pos x="165" y="94"/>
                </a:cxn>
                <a:cxn ang="0">
                  <a:pos x="191" y="92"/>
                </a:cxn>
                <a:cxn ang="0">
                  <a:pos x="206" y="96"/>
                </a:cxn>
                <a:cxn ang="0">
                  <a:pos x="229" y="88"/>
                </a:cxn>
                <a:cxn ang="0">
                  <a:pos x="255" y="88"/>
                </a:cxn>
                <a:cxn ang="0">
                  <a:pos x="261" y="83"/>
                </a:cxn>
                <a:cxn ang="0">
                  <a:pos x="289" y="86"/>
                </a:cxn>
                <a:cxn ang="0">
                  <a:pos x="274" y="47"/>
                </a:cxn>
                <a:cxn ang="0">
                  <a:pos x="279" y="38"/>
                </a:cxn>
                <a:cxn ang="0">
                  <a:pos x="279" y="38"/>
                </a:cxn>
                <a:cxn ang="0">
                  <a:pos x="268" y="30"/>
                </a:cxn>
                <a:cxn ang="0">
                  <a:pos x="257" y="17"/>
                </a:cxn>
                <a:cxn ang="0">
                  <a:pos x="257" y="17"/>
                </a:cxn>
              </a:cxnLst>
              <a:rect l="0" t="0" r="r" b="b"/>
              <a:pathLst>
                <a:path w="289" h="111">
                  <a:moveTo>
                    <a:pt x="257" y="17"/>
                  </a:moveTo>
                  <a:lnTo>
                    <a:pt x="251" y="8"/>
                  </a:lnTo>
                  <a:lnTo>
                    <a:pt x="231" y="6"/>
                  </a:lnTo>
                  <a:lnTo>
                    <a:pt x="231" y="6"/>
                  </a:lnTo>
                  <a:lnTo>
                    <a:pt x="206" y="17"/>
                  </a:lnTo>
                  <a:lnTo>
                    <a:pt x="167" y="17"/>
                  </a:lnTo>
                  <a:lnTo>
                    <a:pt x="131" y="0"/>
                  </a:lnTo>
                  <a:lnTo>
                    <a:pt x="105" y="0"/>
                  </a:lnTo>
                  <a:lnTo>
                    <a:pt x="75" y="17"/>
                  </a:lnTo>
                  <a:lnTo>
                    <a:pt x="56" y="17"/>
                  </a:lnTo>
                  <a:lnTo>
                    <a:pt x="38" y="11"/>
                  </a:lnTo>
                  <a:lnTo>
                    <a:pt x="28" y="2"/>
                  </a:lnTo>
                  <a:lnTo>
                    <a:pt x="4" y="2"/>
                  </a:lnTo>
                  <a:lnTo>
                    <a:pt x="4" y="2"/>
                  </a:lnTo>
                  <a:lnTo>
                    <a:pt x="0" y="26"/>
                  </a:lnTo>
                  <a:lnTo>
                    <a:pt x="8" y="25"/>
                  </a:lnTo>
                  <a:lnTo>
                    <a:pt x="4" y="34"/>
                  </a:lnTo>
                  <a:lnTo>
                    <a:pt x="21" y="19"/>
                  </a:lnTo>
                  <a:lnTo>
                    <a:pt x="41" y="17"/>
                  </a:lnTo>
                  <a:lnTo>
                    <a:pt x="51" y="25"/>
                  </a:lnTo>
                  <a:lnTo>
                    <a:pt x="43" y="25"/>
                  </a:lnTo>
                  <a:lnTo>
                    <a:pt x="47" y="30"/>
                  </a:lnTo>
                  <a:lnTo>
                    <a:pt x="12" y="30"/>
                  </a:lnTo>
                  <a:lnTo>
                    <a:pt x="4" y="36"/>
                  </a:lnTo>
                  <a:lnTo>
                    <a:pt x="0" y="47"/>
                  </a:lnTo>
                  <a:lnTo>
                    <a:pt x="13" y="45"/>
                  </a:lnTo>
                  <a:lnTo>
                    <a:pt x="15" y="66"/>
                  </a:lnTo>
                  <a:lnTo>
                    <a:pt x="8" y="62"/>
                  </a:lnTo>
                  <a:lnTo>
                    <a:pt x="6" y="68"/>
                  </a:lnTo>
                  <a:lnTo>
                    <a:pt x="21" y="73"/>
                  </a:lnTo>
                  <a:lnTo>
                    <a:pt x="19" y="81"/>
                  </a:lnTo>
                  <a:lnTo>
                    <a:pt x="26" y="86"/>
                  </a:lnTo>
                  <a:lnTo>
                    <a:pt x="21" y="92"/>
                  </a:lnTo>
                  <a:lnTo>
                    <a:pt x="36" y="92"/>
                  </a:lnTo>
                  <a:lnTo>
                    <a:pt x="34" y="96"/>
                  </a:lnTo>
                  <a:lnTo>
                    <a:pt x="62" y="107"/>
                  </a:lnTo>
                  <a:lnTo>
                    <a:pt x="73" y="101"/>
                  </a:lnTo>
                  <a:lnTo>
                    <a:pt x="75" y="94"/>
                  </a:lnTo>
                  <a:lnTo>
                    <a:pt x="85" y="96"/>
                  </a:lnTo>
                  <a:lnTo>
                    <a:pt x="107" y="111"/>
                  </a:lnTo>
                  <a:lnTo>
                    <a:pt x="120" y="107"/>
                  </a:lnTo>
                  <a:lnTo>
                    <a:pt x="133" y="94"/>
                  </a:lnTo>
                  <a:lnTo>
                    <a:pt x="150" y="100"/>
                  </a:lnTo>
                  <a:lnTo>
                    <a:pt x="156" y="92"/>
                  </a:lnTo>
                  <a:lnTo>
                    <a:pt x="158" y="111"/>
                  </a:lnTo>
                  <a:lnTo>
                    <a:pt x="158" y="111"/>
                  </a:lnTo>
                  <a:lnTo>
                    <a:pt x="167" y="103"/>
                  </a:lnTo>
                  <a:lnTo>
                    <a:pt x="165" y="94"/>
                  </a:lnTo>
                  <a:lnTo>
                    <a:pt x="191" y="92"/>
                  </a:lnTo>
                  <a:lnTo>
                    <a:pt x="206" y="96"/>
                  </a:lnTo>
                  <a:lnTo>
                    <a:pt x="229" y="88"/>
                  </a:lnTo>
                  <a:lnTo>
                    <a:pt x="255" y="88"/>
                  </a:lnTo>
                  <a:lnTo>
                    <a:pt x="261" y="83"/>
                  </a:lnTo>
                  <a:lnTo>
                    <a:pt x="289" y="86"/>
                  </a:lnTo>
                  <a:lnTo>
                    <a:pt x="274" y="47"/>
                  </a:lnTo>
                  <a:lnTo>
                    <a:pt x="279" y="38"/>
                  </a:lnTo>
                  <a:lnTo>
                    <a:pt x="279" y="38"/>
                  </a:lnTo>
                  <a:lnTo>
                    <a:pt x="268" y="30"/>
                  </a:lnTo>
                  <a:lnTo>
                    <a:pt x="257" y="17"/>
                  </a:lnTo>
                  <a:lnTo>
                    <a:pt x="257" y="17"/>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92" name="Freeform 5700"/>
            <p:cNvSpPr>
              <a:spLocks/>
            </p:cNvSpPr>
            <p:nvPr>
              <p:custDataLst>
                <p:tags r:id="rId72"/>
              </p:custDataLst>
            </p:nvPr>
          </p:nvSpPr>
          <p:spPr bwMode="gray">
            <a:xfrm>
              <a:off x="7313065" y="3479486"/>
              <a:ext cx="129592" cy="113041"/>
            </a:xfrm>
            <a:custGeom>
              <a:avLst/>
              <a:gdLst/>
              <a:ahLst/>
              <a:cxnLst>
                <a:cxn ang="0">
                  <a:pos x="101" y="0"/>
                </a:cxn>
                <a:cxn ang="0">
                  <a:pos x="75" y="0"/>
                </a:cxn>
                <a:cxn ang="0">
                  <a:pos x="52" y="8"/>
                </a:cxn>
                <a:cxn ang="0">
                  <a:pos x="37" y="4"/>
                </a:cxn>
                <a:cxn ang="0">
                  <a:pos x="11" y="6"/>
                </a:cxn>
                <a:cxn ang="0">
                  <a:pos x="13" y="15"/>
                </a:cxn>
                <a:cxn ang="0">
                  <a:pos x="4" y="23"/>
                </a:cxn>
                <a:cxn ang="0">
                  <a:pos x="4" y="23"/>
                </a:cxn>
                <a:cxn ang="0">
                  <a:pos x="4" y="51"/>
                </a:cxn>
                <a:cxn ang="0">
                  <a:pos x="15" y="53"/>
                </a:cxn>
                <a:cxn ang="0">
                  <a:pos x="2" y="73"/>
                </a:cxn>
                <a:cxn ang="0">
                  <a:pos x="0" y="83"/>
                </a:cxn>
                <a:cxn ang="0">
                  <a:pos x="15" y="88"/>
                </a:cxn>
                <a:cxn ang="0">
                  <a:pos x="49" y="70"/>
                </a:cxn>
                <a:cxn ang="0">
                  <a:pos x="84" y="49"/>
                </a:cxn>
                <a:cxn ang="0">
                  <a:pos x="84" y="13"/>
                </a:cxn>
                <a:cxn ang="0">
                  <a:pos x="101" y="0"/>
                </a:cxn>
                <a:cxn ang="0">
                  <a:pos x="101" y="0"/>
                </a:cxn>
                <a:cxn ang="0">
                  <a:pos x="101" y="0"/>
                </a:cxn>
              </a:cxnLst>
              <a:rect l="0" t="0" r="r" b="b"/>
              <a:pathLst>
                <a:path w="101" h="88">
                  <a:moveTo>
                    <a:pt x="101" y="0"/>
                  </a:moveTo>
                  <a:lnTo>
                    <a:pt x="75" y="0"/>
                  </a:lnTo>
                  <a:lnTo>
                    <a:pt x="52" y="8"/>
                  </a:lnTo>
                  <a:lnTo>
                    <a:pt x="37" y="4"/>
                  </a:lnTo>
                  <a:lnTo>
                    <a:pt x="11" y="6"/>
                  </a:lnTo>
                  <a:lnTo>
                    <a:pt x="13" y="15"/>
                  </a:lnTo>
                  <a:lnTo>
                    <a:pt x="4" y="23"/>
                  </a:lnTo>
                  <a:lnTo>
                    <a:pt x="4" y="23"/>
                  </a:lnTo>
                  <a:lnTo>
                    <a:pt x="4" y="51"/>
                  </a:lnTo>
                  <a:lnTo>
                    <a:pt x="15" y="53"/>
                  </a:lnTo>
                  <a:lnTo>
                    <a:pt x="2" y="73"/>
                  </a:lnTo>
                  <a:lnTo>
                    <a:pt x="0" y="83"/>
                  </a:lnTo>
                  <a:lnTo>
                    <a:pt x="15" y="88"/>
                  </a:lnTo>
                  <a:lnTo>
                    <a:pt x="49" y="70"/>
                  </a:lnTo>
                  <a:lnTo>
                    <a:pt x="84" y="49"/>
                  </a:lnTo>
                  <a:lnTo>
                    <a:pt x="84" y="13"/>
                  </a:lnTo>
                  <a:lnTo>
                    <a:pt x="101" y="0"/>
                  </a:lnTo>
                  <a:lnTo>
                    <a:pt x="101" y="0"/>
                  </a:lnTo>
                  <a:lnTo>
                    <a:pt x="101"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93" name="Freeform 5701"/>
            <p:cNvSpPr>
              <a:spLocks/>
            </p:cNvSpPr>
            <p:nvPr>
              <p:custDataLst>
                <p:tags r:id="rId73"/>
              </p:custDataLst>
            </p:nvPr>
          </p:nvSpPr>
          <p:spPr bwMode="gray">
            <a:xfrm>
              <a:off x="7302800" y="3569406"/>
              <a:ext cx="84684" cy="97627"/>
            </a:xfrm>
            <a:custGeom>
              <a:avLst/>
              <a:gdLst/>
              <a:ahLst/>
              <a:cxnLst>
                <a:cxn ang="0">
                  <a:pos x="8" y="13"/>
                </a:cxn>
                <a:cxn ang="0">
                  <a:pos x="23" y="18"/>
                </a:cxn>
                <a:cxn ang="0">
                  <a:pos x="57" y="0"/>
                </a:cxn>
                <a:cxn ang="0">
                  <a:pos x="66" y="22"/>
                </a:cxn>
                <a:cxn ang="0">
                  <a:pos x="34" y="35"/>
                </a:cxn>
                <a:cxn ang="0">
                  <a:pos x="49" y="52"/>
                </a:cxn>
                <a:cxn ang="0">
                  <a:pos x="40" y="63"/>
                </a:cxn>
                <a:cxn ang="0">
                  <a:pos x="30" y="63"/>
                </a:cxn>
                <a:cxn ang="0">
                  <a:pos x="21" y="76"/>
                </a:cxn>
                <a:cxn ang="0">
                  <a:pos x="4" y="75"/>
                </a:cxn>
                <a:cxn ang="0">
                  <a:pos x="4" y="75"/>
                </a:cxn>
                <a:cxn ang="0">
                  <a:pos x="8" y="41"/>
                </a:cxn>
                <a:cxn ang="0">
                  <a:pos x="0" y="26"/>
                </a:cxn>
                <a:cxn ang="0">
                  <a:pos x="8" y="13"/>
                </a:cxn>
                <a:cxn ang="0">
                  <a:pos x="8" y="13"/>
                </a:cxn>
              </a:cxnLst>
              <a:rect l="0" t="0" r="r" b="b"/>
              <a:pathLst>
                <a:path w="66" h="76">
                  <a:moveTo>
                    <a:pt x="8" y="13"/>
                  </a:moveTo>
                  <a:lnTo>
                    <a:pt x="23" y="18"/>
                  </a:lnTo>
                  <a:lnTo>
                    <a:pt x="57" y="0"/>
                  </a:lnTo>
                  <a:lnTo>
                    <a:pt x="66" y="22"/>
                  </a:lnTo>
                  <a:lnTo>
                    <a:pt x="34" y="35"/>
                  </a:lnTo>
                  <a:lnTo>
                    <a:pt x="49" y="52"/>
                  </a:lnTo>
                  <a:lnTo>
                    <a:pt x="40" y="63"/>
                  </a:lnTo>
                  <a:lnTo>
                    <a:pt x="30" y="63"/>
                  </a:lnTo>
                  <a:lnTo>
                    <a:pt x="21" y="76"/>
                  </a:lnTo>
                  <a:lnTo>
                    <a:pt x="4" y="75"/>
                  </a:lnTo>
                  <a:lnTo>
                    <a:pt x="4" y="75"/>
                  </a:lnTo>
                  <a:lnTo>
                    <a:pt x="8" y="41"/>
                  </a:lnTo>
                  <a:lnTo>
                    <a:pt x="0" y="26"/>
                  </a:lnTo>
                  <a:lnTo>
                    <a:pt x="8" y="13"/>
                  </a:lnTo>
                  <a:lnTo>
                    <a:pt x="8" y="1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94" name="Freeform 5702"/>
            <p:cNvSpPr>
              <a:spLocks/>
            </p:cNvSpPr>
            <p:nvPr>
              <p:custDataLst>
                <p:tags r:id="rId74"/>
              </p:custDataLst>
            </p:nvPr>
          </p:nvSpPr>
          <p:spPr bwMode="gray">
            <a:xfrm>
              <a:off x="7375936" y="3473064"/>
              <a:ext cx="206578" cy="196538"/>
            </a:xfrm>
            <a:custGeom>
              <a:avLst/>
              <a:gdLst/>
              <a:ahLst/>
              <a:cxnLst>
                <a:cxn ang="0">
                  <a:pos x="86" y="3"/>
                </a:cxn>
                <a:cxn ang="0">
                  <a:pos x="112" y="39"/>
                </a:cxn>
                <a:cxn ang="0">
                  <a:pos x="103" y="63"/>
                </a:cxn>
                <a:cxn ang="0">
                  <a:pos x="114" y="80"/>
                </a:cxn>
                <a:cxn ang="0">
                  <a:pos x="134" y="91"/>
                </a:cxn>
                <a:cxn ang="0">
                  <a:pos x="144" y="118"/>
                </a:cxn>
                <a:cxn ang="0">
                  <a:pos x="161" y="136"/>
                </a:cxn>
                <a:cxn ang="0">
                  <a:pos x="159" y="138"/>
                </a:cxn>
                <a:cxn ang="0">
                  <a:pos x="159" y="138"/>
                </a:cxn>
                <a:cxn ang="0">
                  <a:pos x="142" y="138"/>
                </a:cxn>
                <a:cxn ang="0">
                  <a:pos x="131" y="153"/>
                </a:cxn>
                <a:cxn ang="0">
                  <a:pos x="131" y="153"/>
                </a:cxn>
                <a:cxn ang="0">
                  <a:pos x="112" y="148"/>
                </a:cxn>
                <a:cxn ang="0">
                  <a:pos x="103" y="151"/>
                </a:cxn>
                <a:cxn ang="0">
                  <a:pos x="82" y="142"/>
                </a:cxn>
                <a:cxn ang="0">
                  <a:pos x="80" y="131"/>
                </a:cxn>
                <a:cxn ang="0">
                  <a:pos x="69" y="123"/>
                </a:cxn>
                <a:cxn ang="0">
                  <a:pos x="33" y="103"/>
                </a:cxn>
                <a:cxn ang="0">
                  <a:pos x="9" y="97"/>
                </a:cxn>
                <a:cxn ang="0">
                  <a:pos x="0" y="75"/>
                </a:cxn>
                <a:cxn ang="0">
                  <a:pos x="35" y="54"/>
                </a:cxn>
                <a:cxn ang="0">
                  <a:pos x="35" y="18"/>
                </a:cxn>
                <a:cxn ang="0">
                  <a:pos x="52" y="5"/>
                </a:cxn>
                <a:cxn ang="0">
                  <a:pos x="58" y="0"/>
                </a:cxn>
                <a:cxn ang="0">
                  <a:pos x="86" y="3"/>
                </a:cxn>
                <a:cxn ang="0">
                  <a:pos x="86" y="3"/>
                </a:cxn>
              </a:cxnLst>
              <a:rect l="0" t="0" r="r" b="b"/>
              <a:pathLst>
                <a:path w="161" h="153">
                  <a:moveTo>
                    <a:pt x="86" y="3"/>
                  </a:moveTo>
                  <a:lnTo>
                    <a:pt x="112" y="39"/>
                  </a:lnTo>
                  <a:lnTo>
                    <a:pt x="103" y="63"/>
                  </a:lnTo>
                  <a:lnTo>
                    <a:pt x="114" y="80"/>
                  </a:lnTo>
                  <a:lnTo>
                    <a:pt x="134" y="91"/>
                  </a:lnTo>
                  <a:lnTo>
                    <a:pt x="144" y="118"/>
                  </a:lnTo>
                  <a:lnTo>
                    <a:pt x="161" y="136"/>
                  </a:lnTo>
                  <a:lnTo>
                    <a:pt x="159" y="138"/>
                  </a:lnTo>
                  <a:lnTo>
                    <a:pt x="159" y="138"/>
                  </a:lnTo>
                  <a:lnTo>
                    <a:pt x="142" y="138"/>
                  </a:lnTo>
                  <a:lnTo>
                    <a:pt x="131" y="153"/>
                  </a:lnTo>
                  <a:lnTo>
                    <a:pt x="131" y="153"/>
                  </a:lnTo>
                  <a:lnTo>
                    <a:pt x="112" y="148"/>
                  </a:lnTo>
                  <a:lnTo>
                    <a:pt x="103" y="151"/>
                  </a:lnTo>
                  <a:lnTo>
                    <a:pt x="82" y="142"/>
                  </a:lnTo>
                  <a:lnTo>
                    <a:pt x="80" y="131"/>
                  </a:lnTo>
                  <a:lnTo>
                    <a:pt x="69" y="123"/>
                  </a:lnTo>
                  <a:lnTo>
                    <a:pt x="33" y="103"/>
                  </a:lnTo>
                  <a:lnTo>
                    <a:pt x="9" y="97"/>
                  </a:lnTo>
                  <a:lnTo>
                    <a:pt x="0" y="75"/>
                  </a:lnTo>
                  <a:lnTo>
                    <a:pt x="35" y="54"/>
                  </a:lnTo>
                  <a:lnTo>
                    <a:pt x="35" y="18"/>
                  </a:lnTo>
                  <a:lnTo>
                    <a:pt x="52" y="5"/>
                  </a:lnTo>
                  <a:lnTo>
                    <a:pt x="58" y="0"/>
                  </a:lnTo>
                  <a:lnTo>
                    <a:pt x="86" y="3"/>
                  </a:lnTo>
                  <a:lnTo>
                    <a:pt x="86" y="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95" name="Freeform 5703"/>
            <p:cNvSpPr>
              <a:spLocks/>
            </p:cNvSpPr>
            <p:nvPr>
              <p:custDataLst>
                <p:tags r:id="rId75"/>
              </p:custDataLst>
            </p:nvPr>
          </p:nvSpPr>
          <p:spPr bwMode="gray">
            <a:xfrm>
              <a:off x="7302800" y="3544999"/>
              <a:ext cx="29511" cy="30829"/>
            </a:xfrm>
            <a:custGeom>
              <a:avLst/>
              <a:gdLst/>
              <a:ahLst/>
              <a:cxnLst>
                <a:cxn ang="0">
                  <a:pos x="12" y="0"/>
                </a:cxn>
                <a:cxn ang="0">
                  <a:pos x="23" y="2"/>
                </a:cxn>
                <a:cxn ang="0">
                  <a:pos x="10" y="22"/>
                </a:cxn>
                <a:cxn ang="0">
                  <a:pos x="0" y="24"/>
                </a:cxn>
                <a:cxn ang="0">
                  <a:pos x="12" y="0"/>
                </a:cxn>
                <a:cxn ang="0">
                  <a:pos x="12" y="0"/>
                </a:cxn>
              </a:cxnLst>
              <a:rect l="0" t="0" r="r" b="b"/>
              <a:pathLst>
                <a:path w="23" h="24">
                  <a:moveTo>
                    <a:pt x="12" y="0"/>
                  </a:moveTo>
                  <a:lnTo>
                    <a:pt x="23" y="2"/>
                  </a:lnTo>
                  <a:lnTo>
                    <a:pt x="10" y="22"/>
                  </a:lnTo>
                  <a:lnTo>
                    <a:pt x="0" y="24"/>
                  </a:lnTo>
                  <a:lnTo>
                    <a:pt x="12" y="0"/>
                  </a:lnTo>
                  <a:lnTo>
                    <a:pt x="12"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96" name="Freeform 5704"/>
            <p:cNvSpPr>
              <a:spLocks/>
            </p:cNvSpPr>
            <p:nvPr>
              <p:custDataLst>
                <p:tags r:id="rId76"/>
              </p:custDataLst>
            </p:nvPr>
          </p:nvSpPr>
          <p:spPr bwMode="gray">
            <a:xfrm>
              <a:off x="7288686" y="3573259"/>
              <a:ext cx="26945" cy="92488"/>
            </a:xfrm>
            <a:custGeom>
              <a:avLst/>
              <a:gdLst/>
              <a:ahLst/>
              <a:cxnLst>
                <a:cxn ang="0">
                  <a:pos x="19" y="10"/>
                </a:cxn>
                <a:cxn ang="0">
                  <a:pos x="11" y="23"/>
                </a:cxn>
                <a:cxn ang="0">
                  <a:pos x="19" y="38"/>
                </a:cxn>
                <a:cxn ang="0">
                  <a:pos x="15" y="72"/>
                </a:cxn>
                <a:cxn ang="0">
                  <a:pos x="15" y="72"/>
                </a:cxn>
                <a:cxn ang="0">
                  <a:pos x="0" y="36"/>
                </a:cxn>
                <a:cxn ang="0">
                  <a:pos x="4" y="32"/>
                </a:cxn>
                <a:cxn ang="0">
                  <a:pos x="11" y="2"/>
                </a:cxn>
                <a:cxn ang="0">
                  <a:pos x="21" y="0"/>
                </a:cxn>
                <a:cxn ang="0">
                  <a:pos x="19" y="10"/>
                </a:cxn>
                <a:cxn ang="0">
                  <a:pos x="19" y="10"/>
                </a:cxn>
              </a:cxnLst>
              <a:rect l="0" t="0" r="r" b="b"/>
              <a:pathLst>
                <a:path w="21" h="72">
                  <a:moveTo>
                    <a:pt x="19" y="10"/>
                  </a:moveTo>
                  <a:lnTo>
                    <a:pt x="11" y="23"/>
                  </a:lnTo>
                  <a:lnTo>
                    <a:pt x="19" y="38"/>
                  </a:lnTo>
                  <a:lnTo>
                    <a:pt x="15" y="72"/>
                  </a:lnTo>
                  <a:lnTo>
                    <a:pt x="15" y="72"/>
                  </a:lnTo>
                  <a:lnTo>
                    <a:pt x="0" y="36"/>
                  </a:lnTo>
                  <a:lnTo>
                    <a:pt x="4" y="32"/>
                  </a:lnTo>
                  <a:lnTo>
                    <a:pt x="11" y="2"/>
                  </a:lnTo>
                  <a:lnTo>
                    <a:pt x="21" y="0"/>
                  </a:lnTo>
                  <a:lnTo>
                    <a:pt x="19" y="10"/>
                  </a:lnTo>
                  <a:lnTo>
                    <a:pt x="19" y="1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97" name="Freeform 5705"/>
            <p:cNvSpPr>
              <a:spLocks/>
            </p:cNvSpPr>
            <p:nvPr>
              <p:custDataLst>
                <p:tags r:id="rId77"/>
              </p:custDataLst>
            </p:nvPr>
          </p:nvSpPr>
          <p:spPr bwMode="gray">
            <a:xfrm>
              <a:off x="7101355" y="3607942"/>
              <a:ext cx="228390" cy="232505"/>
            </a:xfrm>
            <a:custGeom>
              <a:avLst/>
              <a:gdLst/>
              <a:ahLst/>
              <a:cxnLst>
                <a:cxn ang="0">
                  <a:pos x="146" y="9"/>
                </a:cxn>
                <a:cxn ang="0">
                  <a:pos x="124" y="13"/>
                </a:cxn>
                <a:cxn ang="0">
                  <a:pos x="118" y="9"/>
                </a:cxn>
                <a:cxn ang="0">
                  <a:pos x="116" y="16"/>
                </a:cxn>
                <a:cxn ang="0">
                  <a:pos x="109" y="13"/>
                </a:cxn>
                <a:cxn ang="0">
                  <a:pos x="111" y="5"/>
                </a:cxn>
                <a:cxn ang="0">
                  <a:pos x="99" y="5"/>
                </a:cxn>
                <a:cxn ang="0">
                  <a:pos x="67" y="16"/>
                </a:cxn>
                <a:cxn ang="0">
                  <a:pos x="34" y="5"/>
                </a:cxn>
                <a:cxn ang="0">
                  <a:pos x="6" y="5"/>
                </a:cxn>
                <a:cxn ang="0">
                  <a:pos x="4" y="0"/>
                </a:cxn>
                <a:cxn ang="0">
                  <a:pos x="0" y="35"/>
                </a:cxn>
                <a:cxn ang="0">
                  <a:pos x="6" y="56"/>
                </a:cxn>
                <a:cxn ang="0">
                  <a:pos x="9" y="178"/>
                </a:cxn>
                <a:cxn ang="0">
                  <a:pos x="9" y="178"/>
                </a:cxn>
                <a:cxn ang="0">
                  <a:pos x="141" y="178"/>
                </a:cxn>
                <a:cxn ang="0">
                  <a:pos x="154" y="181"/>
                </a:cxn>
                <a:cxn ang="0">
                  <a:pos x="178" y="159"/>
                </a:cxn>
                <a:cxn ang="0">
                  <a:pos x="176" y="144"/>
                </a:cxn>
                <a:cxn ang="0">
                  <a:pos x="126" y="50"/>
                </a:cxn>
                <a:cxn ang="0">
                  <a:pos x="120" y="35"/>
                </a:cxn>
                <a:cxn ang="0">
                  <a:pos x="124" y="31"/>
                </a:cxn>
                <a:cxn ang="0">
                  <a:pos x="139" y="61"/>
                </a:cxn>
                <a:cxn ang="0">
                  <a:pos x="150" y="74"/>
                </a:cxn>
                <a:cxn ang="0">
                  <a:pos x="161" y="45"/>
                </a:cxn>
                <a:cxn ang="0">
                  <a:pos x="146" y="9"/>
                </a:cxn>
                <a:cxn ang="0">
                  <a:pos x="146" y="9"/>
                </a:cxn>
              </a:cxnLst>
              <a:rect l="0" t="0" r="r" b="b"/>
              <a:pathLst>
                <a:path w="178" h="181">
                  <a:moveTo>
                    <a:pt x="146" y="9"/>
                  </a:moveTo>
                  <a:lnTo>
                    <a:pt x="124" y="13"/>
                  </a:lnTo>
                  <a:lnTo>
                    <a:pt x="118" y="9"/>
                  </a:lnTo>
                  <a:lnTo>
                    <a:pt x="116" y="16"/>
                  </a:lnTo>
                  <a:lnTo>
                    <a:pt x="109" y="13"/>
                  </a:lnTo>
                  <a:lnTo>
                    <a:pt x="111" y="5"/>
                  </a:lnTo>
                  <a:lnTo>
                    <a:pt x="99" y="5"/>
                  </a:lnTo>
                  <a:lnTo>
                    <a:pt x="67" y="16"/>
                  </a:lnTo>
                  <a:lnTo>
                    <a:pt x="34" y="5"/>
                  </a:lnTo>
                  <a:lnTo>
                    <a:pt x="6" y="5"/>
                  </a:lnTo>
                  <a:lnTo>
                    <a:pt x="4" y="0"/>
                  </a:lnTo>
                  <a:lnTo>
                    <a:pt x="0" y="35"/>
                  </a:lnTo>
                  <a:lnTo>
                    <a:pt x="6" y="56"/>
                  </a:lnTo>
                  <a:lnTo>
                    <a:pt x="9" y="178"/>
                  </a:lnTo>
                  <a:lnTo>
                    <a:pt x="9" y="178"/>
                  </a:lnTo>
                  <a:lnTo>
                    <a:pt x="141" y="178"/>
                  </a:lnTo>
                  <a:lnTo>
                    <a:pt x="154" y="181"/>
                  </a:lnTo>
                  <a:lnTo>
                    <a:pt x="178" y="159"/>
                  </a:lnTo>
                  <a:lnTo>
                    <a:pt x="176" y="144"/>
                  </a:lnTo>
                  <a:lnTo>
                    <a:pt x="126" y="50"/>
                  </a:lnTo>
                  <a:lnTo>
                    <a:pt x="120" y="35"/>
                  </a:lnTo>
                  <a:lnTo>
                    <a:pt x="124" y="31"/>
                  </a:lnTo>
                  <a:lnTo>
                    <a:pt x="139" y="61"/>
                  </a:lnTo>
                  <a:lnTo>
                    <a:pt x="150" y="74"/>
                  </a:lnTo>
                  <a:lnTo>
                    <a:pt x="161" y="45"/>
                  </a:lnTo>
                  <a:lnTo>
                    <a:pt x="146" y="9"/>
                  </a:lnTo>
                  <a:lnTo>
                    <a:pt x="146" y="9"/>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98" name="Freeform 5706"/>
            <p:cNvSpPr>
              <a:spLocks/>
            </p:cNvSpPr>
            <p:nvPr>
              <p:custDataLst>
                <p:tags r:id="rId78"/>
              </p:custDataLst>
            </p:nvPr>
          </p:nvSpPr>
          <p:spPr bwMode="gray">
            <a:xfrm>
              <a:off x="7286120" y="3931651"/>
              <a:ext cx="310508" cy="344262"/>
            </a:xfrm>
            <a:custGeom>
              <a:avLst/>
              <a:gdLst/>
              <a:ahLst/>
              <a:cxnLst>
                <a:cxn ang="0">
                  <a:pos x="60" y="248"/>
                </a:cxn>
                <a:cxn ang="0">
                  <a:pos x="79" y="265"/>
                </a:cxn>
                <a:cxn ang="0">
                  <a:pos x="98" y="268"/>
                </a:cxn>
                <a:cxn ang="0">
                  <a:pos x="128" y="255"/>
                </a:cxn>
                <a:cxn ang="0">
                  <a:pos x="144" y="261"/>
                </a:cxn>
                <a:cxn ang="0">
                  <a:pos x="144" y="261"/>
                </a:cxn>
                <a:cxn ang="0">
                  <a:pos x="174" y="242"/>
                </a:cxn>
                <a:cxn ang="0">
                  <a:pos x="197" y="240"/>
                </a:cxn>
                <a:cxn ang="0">
                  <a:pos x="242" y="186"/>
                </a:cxn>
                <a:cxn ang="0">
                  <a:pos x="229" y="186"/>
                </a:cxn>
                <a:cxn ang="0">
                  <a:pos x="178" y="165"/>
                </a:cxn>
                <a:cxn ang="0">
                  <a:pos x="159" y="143"/>
                </a:cxn>
                <a:cxn ang="0">
                  <a:pos x="159" y="133"/>
                </a:cxn>
                <a:cxn ang="0">
                  <a:pos x="159" y="132"/>
                </a:cxn>
                <a:cxn ang="0">
                  <a:pos x="143" y="132"/>
                </a:cxn>
                <a:cxn ang="0">
                  <a:pos x="143" y="126"/>
                </a:cxn>
                <a:cxn ang="0">
                  <a:pos x="148" y="107"/>
                </a:cxn>
                <a:cxn ang="0">
                  <a:pos x="158" y="100"/>
                </a:cxn>
                <a:cxn ang="0">
                  <a:pos x="158" y="98"/>
                </a:cxn>
                <a:cxn ang="0">
                  <a:pos x="130" y="64"/>
                </a:cxn>
                <a:cxn ang="0">
                  <a:pos x="101" y="45"/>
                </a:cxn>
                <a:cxn ang="0">
                  <a:pos x="85" y="0"/>
                </a:cxn>
                <a:cxn ang="0">
                  <a:pos x="79" y="10"/>
                </a:cxn>
                <a:cxn ang="0">
                  <a:pos x="60" y="21"/>
                </a:cxn>
                <a:cxn ang="0">
                  <a:pos x="49" y="94"/>
                </a:cxn>
                <a:cxn ang="0">
                  <a:pos x="21" y="141"/>
                </a:cxn>
                <a:cxn ang="0">
                  <a:pos x="19" y="175"/>
                </a:cxn>
                <a:cxn ang="0">
                  <a:pos x="6" y="178"/>
                </a:cxn>
                <a:cxn ang="0">
                  <a:pos x="0" y="188"/>
                </a:cxn>
                <a:cxn ang="0">
                  <a:pos x="17" y="197"/>
                </a:cxn>
                <a:cxn ang="0">
                  <a:pos x="34" y="231"/>
                </a:cxn>
                <a:cxn ang="0">
                  <a:pos x="47" y="235"/>
                </a:cxn>
                <a:cxn ang="0">
                  <a:pos x="47" y="248"/>
                </a:cxn>
                <a:cxn ang="0">
                  <a:pos x="60" y="248"/>
                </a:cxn>
                <a:cxn ang="0">
                  <a:pos x="60" y="248"/>
                </a:cxn>
              </a:cxnLst>
              <a:rect l="0" t="0" r="r" b="b"/>
              <a:pathLst>
                <a:path w="242" h="268">
                  <a:moveTo>
                    <a:pt x="60" y="248"/>
                  </a:moveTo>
                  <a:lnTo>
                    <a:pt x="79" y="265"/>
                  </a:lnTo>
                  <a:lnTo>
                    <a:pt x="98" y="268"/>
                  </a:lnTo>
                  <a:lnTo>
                    <a:pt x="128" y="255"/>
                  </a:lnTo>
                  <a:lnTo>
                    <a:pt x="144" y="261"/>
                  </a:lnTo>
                  <a:lnTo>
                    <a:pt x="144" y="261"/>
                  </a:lnTo>
                  <a:lnTo>
                    <a:pt x="174" y="242"/>
                  </a:lnTo>
                  <a:lnTo>
                    <a:pt x="197" y="240"/>
                  </a:lnTo>
                  <a:lnTo>
                    <a:pt x="242" y="186"/>
                  </a:lnTo>
                  <a:lnTo>
                    <a:pt x="229" y="186"/>
                  </a:lnTo>
                  <a:lnTo>
                    <a:pt x="178" y="165"/>
                  </a:lnTo>
                  <a:lnTo>
                    <a:pt x="159" y="143"/>
                  </a:lnTo>
                  <a:lnTo>
                    <a:pt x="159" y="133"/>
                  </a:lnTo>
                  <a:lnTo>
                    <a:pt x="159" y="132"/>
                  </a:lnTo>
                  <a:lnTo>
                    <a:pt x="143" y="132"/>
                  </a:lnTo>
                  <a:lnTo>
                    <a:pt x="143" y="126"/>
                  </a:lnTo>
                  <a:lnTo>
                    <a:pt x="148" y="107"/>
                  </a:lnTo>
                  <a:lnTo>
                    <a:pt x="158" y="100"/>
                  </a:lnTo>
                  <a:lnTo>
                    <a:pt x="158" y="98"/>
                  </a:lnTo>
                  <a:lnTo>
                    <a:pt x="130" y="64"/>
                  </a:lnTo>
                  <a:lnTo>
                    <a:pt x="101" y="45"/>
                  </a:lnTo>
                  <a:lnTo>
                    <a:pt x="85" y="0"/>
                  </a:lnTo>
                  <a:lnTo>
                    <a:pt x="79" y="10"/>
                  </a:lnTo>
                  <a:lnTo>
                    <a:pt x="60" y="21"/>
                  </a:lnTo>
                  <a:lnTo>
                    <a:pt x="49" y="94"/>
                  </a:lnTo>
                  <a:lnTo>
                    <a:pt x="21" y="141"/>
                  </a:lnTo>
                  <a:lnTo>
                    <a:pt x="19" y="175"/>
                  </a:lnTo>
                  <a:lnTo>
                    <a:pt x="6" y="178"/>
                  </a:lnTo>
                  <a:lnTo>
                    <a:pt x="0" y="188"/>
                  </a:lnTo>
                  <a:lnTo>
                    <a:pt x="17" y="197"/>
                  </a:lnTo>
                  <a:lnTo>
                    <a:pt x="34" y="231"/>
                  </a:lnTo>
                  <a:lnTo>
                    <a:pt x="47" y="235"/>
                  </a:lnTo>
                  <a:lnTo>
                    <a:pt x="47" y="248"/>
                  </a:lnTo>
                  <a:lnTo>
                    <a:pt x="60" y="248"/>
                  </a:lnTo>
                  <a:lnTo>
                    <a:pt x="60" y="24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99" name="Freeform 5707"/>
            <p:cNvSpPr>
              <a:spLocks/>
            </p:cNvSpPr>
            <p:nvPr>
              <p:custDataLst>
                <p:tags r:id="rId79"/>
              </p:custDataLst>
            </p:nvPr>
          </p:nvSpPr>
          <p:spPr bwMode="gray">
            <a:xfrm>
              <a:off x="7039288" y="4532923"/>
              <a:ext cx="243788" cy="233790"/>
            </a:xfrm>
            <a:custGeom>
              <a:avLst/>
              <a:gdLst/>
              <a:ahLst/>
              <a:cxnLst>
                <a:cxn ang="0">
                  <a:pos x="115" y="140"/>
                </a:cxn>
                <a:cxn ang="0">
                  <a:pos x="105" y="157"/>
                </a:cxn>
                <a:cxn ang="0">
                  <a:pos x="75" y="182"/>
                </a:cxn>
                <a:cxn ang="0">
                  <a:pos x="49" y="178"/>
                </a:cxn>
                <a:cxn ang="0">
                  <a:pos x="49" y="178"/>
                </a:cxn>
                <a:cxn ang="0">
                  <a:pos x="32" y="170"/>
                </a:cxn>
                <a:cxn ang="0">
                  <a:pos x="17" y="174"/>
                </a:cxn>
                <a:cxn ang="0">
                  <a:pos x="0" y="155"/>
                </a:cxn>
                <a:cxn ang="0">
                  <a:pos x="0" y="92"/>
                </a:cxn>
                <a:cxn ang="0">
                  <a:pos x="34" y="88"/>
                </a:cxn>
                <a:cxn ang="0">
                  <a:pos x="32" y="86"/>
                </a:cxn>
                <a:cxn ang="0">
                  <a:pos x="34" y="49"/>
                </a:cxn>
                <a:cxn ang="0">
                  <a:pos x="66" y="67"/>
                </a:cxn>
                <a:cxn ang="0">
                  <a:pos x="81" y="65"/>
                </a:cxn>
                <a:cxn ang="0">
                  <a:pos x="107" y="88"/>
                </a:cxn>
                <a:cxn ang="0">
                  <a:pos x="120" y="92"/>
                </a:cxn>
                <a:cxn ang="0">
                  <a:pos x="124" y="73"/>
                </a:cxn>
                <a:cxn ang="0">
                  <a:pos x="113" y="75"/>
                </a:cxn>
                <a:cxn ang="0">
                  <a:pos x="107" y="67"/>
                </a:cxn>
                <a:cxn ang="0">
                  <a:pos x="111" y="17"/>
                </a:cxn>
                <a:cxn ang="0">
                  <a:pos x="115" y="7"/>
                </a:cxn>
                <a:cxn ang="0">
                  <a:pos x="139" y="0"/>
                </a:cxn>
                <a:cxn ang="0">
                  <a:pos x="145" y="0"/>
                </a:cxn>
                <a:cxn ang="0">
                  <a:pos x="150" y="7"/>
                </a:cxn>
                <a:cxn ang="0">
                  <a:pos x="150" y="7"/>
                </a:cxn>
                <a:cxn ang="0">
                  <a:pos x="180" y="22"/>
                </a:cxn>
                <a:cxn ang="0">
                  <a:pos x="190" y="47"/>
                </a:cxn>
                <a:cxn ang="0">
                  <a:pos x="184" y="62"/>
                </a:cxn>
                <a:cxn ang="0">
                  <a:pos x="186" y="77"/>
                </a:cxn>
                <a:cxn ang="0">
                  <a:pos x="175" y="101"/>
                </a:cxn>
                <a:cxn ang="0">
                  <a:pos x="180" y="108"/>
                </a:cxn>
                <a:cxn ang="0">
                  <a:pos x="132" y="127"/>
                </a:cxn>
                <a:cxn ang="0">
                  <a:pos x="133" y="137"/>
                </a:cxn>
                <a:cxn ang="0">
                  <a:pos x="115" y="140"/>
                </a:cxn>
                <a:cxn ang="0">
                  <a:pos x="115" y="140"/>
                </a:cxn>
              </a:cxnLst>
              <a:rect l="0" t="0" r="r" b="b"/>
              <a:pathLst>
                <a:path w="190" h="182">
                  <a:moveTo>
                    <a:pt x="115" y="140"/>
                  </a:moveTo>
                  <a:lnTo>
                    <a:pt x="105" y="157"/>
                  </a:lnTo>
                  <a:lnTo>
                    <a:pt x="75" y="182"/>
                  </a:lnTo>
                  <a:lnTo>
                    <a:pt x="49" y="178"/>
                  </a:lnTo>
                  <a:lnTo>
                    <a:pt x="49" y="178"/>
                  </a:lnTo>
                  <a:lnTo>
                    <a:pt x="32" y="170"/>
                  </a:lnTo>
                  <a:lnTo>
                    <a:pt x="17" y="174"/>
                  </a:lnTo>
                  <a:lnTo>
                    <a:pt x="0" y="155"/>
                  </a:lnTo>
                  <a:lnTo>
                    <a:pt x="0" y="92"/>
                  </a:lnTo>
                  <a:lnTo>
                    <a:pt x="34" y="88"/>
                  </a:lnTo>
                  <a:lnTo>
                    <a:pt x="32" y="86"/>
                  </a:lnTo>
                  <a:lnTo>
                    <a:pt x="34" y="49"/>
                  </a:lnTo>
                  <a:lnTo>
                    <a:pt x="66" y="67"/>
                  </a:lnTo>
                  <a:lnTo>
                    <a:pt x="81" y="65"/>
                  </a:lnTo>
                  <a:lnTo>
                    <a:pt x="107" y="88"/>
                  </a:lnTo>
                  <a:lnTo>
                    <a:pt x="120" y="92"/>
                  </a:lnTo>
                  <a:lnTo>
                    <a:pt x="124" y="73"/>
                  </a:lnTo>
                  <a:lnTo>
                    <a:pt x="113" y="75"/>
                  </a:lnTo>
                  <a:lnTo>
                    <a:pt x="107" y="67"/>
                  </a:lnTo>
                  <a:lnTo>
                    <a:pt x="111" y="17"/>
                  </a:lnTo>
                  <a:lnTo>
                    <a:pt x="115" y="7"/>
                  </a:lnTo>
                  <a:lnTo>
                    <a:pt x="139" y="0"/>
                  </a:lnTo>
                  <a:lnTo>
                    <a:pt x="145" y="0"/>
                  </a:lnTo>
                  <a:lnTo>
                    <a:pt x="150" y="7"/>
                  </a:lnTo>
                  <a:lnTo>
                    <a:pt x="150" y="7"/>
                  </a:lnTo>
                  <a:lnTo>
                    <a:pt x="180" y="22"/>
                  </a:lnTo>
                  <a:lnTo>
                    <a:pt x="190" y="47"/>
                  </a:lnTo>
                  <a:lnTo>
                    <a:pt x="184" y="62"/>
                  </a:lnTo>
                  <a:lnTo>
                    <a:pt x="186" y="77"/>
                  </a:lnTo>
                  <a:lnTo>
                    <a:pt x="175" y="101"/>
                  </a:lnTo>
                  <a:lnTo>
                    <a:pt x="180" y="108"/>
                  </a:lnTo>
                  <a:lnTo>
                    <a:pt x="132" y="127"/>
                  </a:lnTo>
                  <a:lnTo>
                    <a:pt x="133" y="137"/>
                  </a:lnTo>
                  <a:lnTo>
                    <a:pt x="115" y="140"/>
                  </a:lnTo>
                  <a:lnTo>
                    <a:pt x="115" y="14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00" name="Freeform 5708"/>
            <p:cNvSpPr>
              <a:spLocks/>
            </p:cNvSpPr>
            <p:nvPr>
              <p:custDataLst>
                <p:tags r:id="rId80"/>
              </p:custDataLst>
            </p:nvPr>
          </p:nvSpPr>
          <p:spPr bwMode="gray">
            <a:xfrm>
              <a:off x="7102160" y="4708908"/>
              <a:ext cx="161670" cy="165708"/>
            </a:xfrm>
            <a:custGeom>
              <a:avLst/>
              <a:gdLst/>
              <a:ahLst/>
              <a:cxnLst>
                <a:cxn ang="0">
                  <a:pos x="64" y="119"/>
                </a:cxn>
                <a:cxn ang="0">
                  <a:pos x="45" y="112"/>
                </a:cxn>
                <a:cxn ang="0">
                  <a:pos x="39" y="93"/>
                </a:cxn>
                <a:cxn ang="0">
                  <a:pos x="13" y="71"/>
                </a:cxn>
                <a:cxn ang="0">
                  <a:pos x="0" y="41"/>
                </a:cxn>
                <a:cxn ang="0">
                  <a:pos x="0" y="41"/>
                </a:cxn>
                <a:cxn ang="0">
                  <a:pos x="26" y="45"/>
                </a:cxn>
                <a:cxn ang="0">
                  <a:pos x="56" y="20"/>
                </a:cxn>
                <a:cxn ang="0">
                  <a:pos x="66" y="3"/>
                </a:cxn>
                <a:cxn ang="0">
                  <a:pos x="84" y="0"/>
                </a:cxn>
                <a:cxn ang="0">
                  <a:pos x="84" y="0"/>
                </a:cxn>
                <a:cxn ang="0">
                  <a:pos x="84" y="7"/>
                </a:cxn>
                <a:cxn ang="0">
                  <a:pos x="101" y="7"/>
                </a:cxn>
                <a:cxn ang="0">
                  <a:pos x="124" y="20"/>
                </a:cxn>
                <a:cxn ang="0">
                  <a:pos x="126" y="33"/>
                </a:cxn>
                <a:cxn ang="0">
                  <a:pos x="124" y="80"/>
                </a:cxn>
                <a:cxn ang="0">
                  <a:pos x="101" y="129"/>
                </a:cxn>
                <a:cxn ang="0">
                  <a:pos x="90" y="123"/>
                </a:cxn>
                <a:cxn ang="0">
                  <a:pos x="64" y="119"/>
                </a:cxn>
                <a:cxn ang="0">
                  <a:pos x="64" y="119"/>
                </a:cxn>
              </a:cxnLst>
              <a:rect l="0" t="0" r="r" b="b"/>
              <a:pathLst>
                <a:path w="126" h="129">
                  <a:moveTo>
                    <a:pt x="64" y="119"/>
                  </a:moveTo>
                  <a:lnTo>
                    <a:pt x="45" y="112"/>
                  </a:lnTo>
                  <a:lnTo>
                    <a:pt x="39" y="93"/>
                  </a:lnTo>
                  <a:lnTo>
                    <a:pt x="13" y="71"/>
                  </a:lnTo>
                  <a:lnTo>
                    <a:pt x="0" y="41"/>
                  </a:lnTo>
                  <a:lnTo>
                    <a:pt x="0" y="41"/>
                  </a:lnTo>
                  <a:lnTo>
                    <a:pt x="26" y="45"/>
                  </a:lnTo>
                  <a:lnTo>
                    <a:pt x="56" y="20"/>
                  </a:lnTo>
                  <a:lnTo>
                    <a:pt x="66" y="3"/>
                  </a:lnTo>
                  <a:lnTo>
                    <a:pt x="84" y="0"/>
                  </a:lnTo>
                  <a:lnTo>
                    <a:pt x="84" y="0"/>
                  </a:lnTo>
                  <a:lnTo>
                    <a:pt x="84" y="7"/>
                  </a:lnTo>
                  <a:lnTo>
                    <a:pt x="101" y="7"/>
                  </a:lnTo>
                  <a:lnTo>
                    <a:pt x="124" y="20"/>
                  </a:lnTo>
                  <a:lnTo>
                    <a:pt x="126" y="33"/>
                  </a:lnTo>
                  <a:lnTo>
                    <a:pt x="124" y="80"/>
                  </a:lnTo>
                  <a:lnTo>
                    <a:pt x="101" y="129"/>
                  </a:lnTo>
                  <a:lnTo>
                    <a:pt x="90" y="123"/>
                  </a:lnTo>
                  <a:lnTo>
                    <a:pt x="64" y="119"/>
                  </a:lnTo>
                  <a:lnTo>
                    <a:pt x="64" y="11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01" name="Freeform 5709"/>
            <p:cNvSpPr>
              <a:spLocks/>
            </p:cNvSpPr>
            <p:nvPr>
              <p:custDataLst>
                <p:tags r:id="rId81"/>
              </p:custDataLst>
            </p:nvPr>
          </p:nvSpPr>
          <p:spPr bwMode="gray">
            <a:xfrm>
              <a:off x="6922527" y="4861770"/>
              <a:ext cx="331038" cy="301871"/>
            </a:xfrm>
            <a:custGeom>
              <a:avLst/>
              <a:gdLst/>
              <a:ahLst/>
              <a:cxnLst>
                <a:cxn ang="0">
                  <a:pos x="204" y="0"/>
                </a:cxn>
                <a:cxn ang="0">
                  <a:pos x="230" y="4"/>
                </a:cxn>
                <a:cxn ang="0">
                  <a:pos x="241" y="10"/>
                </a:cxn>
                <a:cxn ang="0">
                  <a:pos x="245" y="70"/>
                </a:cxn>
                <a:cxn ang="0">
                  <a:pos x="232" y="70"/>
                </a:cxn>
                <a:cxn ang="0">
                  <a:pos x="226" y="87"/>
                </a:cxn>
                <a:cxn ang="0">
                  <a:pos x="236" y="94"/>
                </a:cxn>
                <a:cxn ang="0">
                  <a:pos x="245" y="87"/>
                </a:cxn>
                <a:cxn ang="0">
                  <a:pos x="256" y="87"/>
                </a:cxn>
                <a:cxn ang="0">
                  <a:pos x="258" y="90"/>
                </a:cxn>
                <a:cxn ang="0">
                  <a:pos x="249" y="120"/>
                </a:cxn>
                <a:cxn ang="0">
                  <a:pos x="234" y="132"/>
                </a:cxn>
                <a:cxn ang="0">
                  <a:pos x="217" y="163"/>
                </a:cxn>
                <a:cxn ang="0">
                  <a:pos x="183" y="197"/>
                </a:cxn>
                <a:cxn ang="0">
                  <a:pos x="161" y="214"/>
                </a:cxn>
                <a:cxn ang="0">
                  <a:pos x="125" y="225"/>
                </a:cxn>
                <a:cxn ang="0">
                  <a:pos x="93" y="222"/>
                </a:cxn>
                <a:cxn ang="0">
                  <a:pos x="54" y="235"/>
                </a:cxn>
                <a:cxn ang="0">
                  <a:pos x="45" y="235"/>
                </a:cxn>
                <a:cxn ang="0">
                  <a:pos x="33" y="222"/>
                </a:cxn>
                <a:cxn ang="0">
                  <a:pos x="28" y="225"/>
                </a:cxn>
                <a:cxn ang="0">
                  <a:pos x="20" y="199"/>
                </a:cxn>
                <a:cxn ang="0">
                  <a:pos x="28" y="195"/>
                </a:cxn>
                <a:cxn ang="0">
                  <a:pos x="26" y="184"/>
                </a:cxn>
                <a:cxn ang="0">
                  <a:pos x="3" y="128"/>
                </a:cxn>
                <a:cxn ang="0">
                  <a:pos x="0" y="122"/>
                </a:cxn>
                <a:cxn ang="0">
                  <a:pos x="5" y="115"/>
                </a:cxn>
                <a:cxn ang="0">
                  <a:pos x="15" y="120"/>
                </a:cxn>
                <a:cxn ang="0">
                  <a:pos x="18" y="128"/>
                </a:cxn>
                <a:cxn ang="0">
                  <a:pos x="39" y="128"/>
                </a:cxn>
                <a:cxn ang="0">
                  <a:pos x="52" y="117"/>
                </a:cxn>
                <a:cxn ang="0">
                  <a:pos x="54" y="49"/>
                </a:cxn>
                <a:cxn ang="0">
                  <a:pos x="54" y="49"/>
                </a:cxn>
                <a:cxn ang="0">
                  <a:pos x="65" y="62"/>
                </a:cxn>
                <a:cxn ang="0">
                  <a:pos x="65" y="83"/>
                </a:cxn>
                <a:cxn ang="0">
                  <a:pos x="73" y="87"/>
                </a:cxn>
                <a:cxn ang="0">
                  <a:pos x="88" y="85"/>
                </a:cxn>
                <a:cxn ang="0">
                  <a:pos x="110" y="60"/>
                </a:cxn>
                <a:cxn ang="0">
                  <a:pos x="125" y="66"/>
                </a:cxn>
                <a:cxn ang="0">
                  <a:pos x="140" y="64"/>
                </a:cxn>
                <a:cxn ang="0">
                  <a:pos x="176" y="21"/>
                </a:cxn>
                <a:cxn ang="0">
                  <a:pos x="204" y="0"/>
                </a:cxn>
                <a:cxn ang="0">
                  <a:pos x="204" y="0"/>
                </a:cxn>
              </a:cxnLst>
              <a:rect l="0" t="0" r="r" b="b"/>
              <a:pathLst>
                <a:path w="258" h="235">
                  <a:moveTo>
                    <a:pt x="204" y="0"/>
                  </a:moveTo>
                  <a:lnTo>
                    <a:pt x="230" y="4"/>
                  </a:lnTo>
                  <a:lnTo>
                    <a:pt x="241" y="10"/>
                  </a:lnTo>
                  <a:lnTo>
                    <a:pt x="245" y="70"/>
                  </a:lnTo>
                  <a:lnTo>
                    <a:pt x="232" y="70"/>
                  </a:lnTo>
                  <a:lnTo>
                    <a:pt x="226" y="87"/>
                  </a:lnTo>
                  <a:lnTo>
                    <a:pt x="236" y="94"/>
                  </a:lnTo>
                  <a:lnTo>
                    <a:pt x="245" y="87"/>
                  </a:lnTo>
                  <a:lnTo>
                    <a:pt x="256" y="87"/>
                  </a:lnTo>
                  <a:lnTo>
                    <a:pt x="258" y="90"/>
                  </a:lnTo>
                  <a:lnTo>
                    <a:pt x="249" y="120"/>
                  </a:lnTo>
                  <a:lnTo>
                    <a:pt x="234" y="132"/>
                  </a:lnTo>
                  <a:lnTo>
                    <a:pt x="217" y="163"/>
                  </a:lnTo>
                  <a:lnTo>
                    <a:pt x="183" y="197"/>
                  </a:lnTo>
                  <a:lnTo>
                    <a:pt x="161" y="214"/>
                  </a:lnTo>
                  <a:lnTo>
                    <a:pt x="125" y="225"/>
                  </a:lnTo>
                  <a:lnTo>
                    <a:pt x="93" y="222"/>
                  </a:lnTo>
                  <a:lnTo>
                    <a:pt x="54" y="235"/>
                  </a:lnTo>
                  <a:lnTo>
                    <a:pt x="45" y="235"/>
                  </a:lnTo>
                  <a:lnTo>
                    <a:pt x="33" y="222"/>
                  </a:lnTo>
                  <a:lnTo>
                    <a:pt x="28" y="225"/>
                  </a:lnTo>
                  <a:lnTo>
                    <a:pt x="20" y="199"/>
                  </a:lnTo>
                  <a:lnTo>
                    <a:pt x="28" y="195"/>
                  </a:lnTo>
                  <a:lnTo>
                    <a:pt x="26" y="184"/>
                  </a:lnTo>
                  <a:lnTo>
                    <a:pt x="3" y="128"/>
                  </a:lnTo>
                  <a:lnTo>
                    <a:pt x="0" y="122"/>
                  </a:lnTo>
                  <a:lnTo>
                    <a:pt x="5" y="115"/>
                  </a:lnTo>
                  <a:lnTo>
                    <a:pt x="15" y="120"/>
                  </a:lnTo>
                  <a:lnTo>
                    <a:pt x="18" y="128"/>
                  </a:lnTo>
                  <a:lnTo>
                    <a:pt x="39" y="128"/>
                  </a:lnTo>
                  <a:lnTo>
                    <a:pt x="52" y="117"/>
                  </a:lnTo>
                  <a:lnTo>
                    <a:pt x="54" y="49"/>
                  </a:lnTo>
                  <a:lnTo>
                    <a:pt x="54" y="49"/>
                  </a:lnTo>
                  <a:lnTo>
                    <a:pt x="65" y="62"/>
                  </a:lnTo>
                  <a:lnTo>
                    <a:pt x="65" y="83"/>
                  </a:lnTo>
                  <a:lnTo>
                    <a:pt x="73" y="87"/>
                  </a:lnTo>
                  <a:lnTo>
                    <a:pt x="88" y="85"/>
                  </a:lnTo>
                  <a:lnTo>
                    <a:pt x="110" y="60"/>
                  </a:lnTo>
                  <a:lnTo>
                    <a:pt x="125" y="66"/>
                  </a:lnTo>
                  <a:lnTo>
                    <a:pt x="140" y="64"/>
                  </a:lnTo>
                  <a:lnTo>
                    <a:pt x="176" y="21"/>
                  </a:lnTo>
                  <a:lnTo>
                    <a:pt x="204" y="0"/>
                  </a:lnTo>
                  <a:lnTo>
                    <a:pt x="204"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02" name="Freeform 5710"/>
            <p:cNvSpPr>
              <a:spLocks/>
            </p:cNvSpPr>
            <p:nvPr>
              <p:custDataLst>
                <p:tags r:id="rId82"/>
              </p:custDataLst>
            </p:nvPr>
          </p:nvSpPr>
          <p:spPr bwMode="gray">
            <a:xfrm>
              <a:off x="6849390" y="4739737"/>
              <a:ext cx="275865" cy="286457"/>
            </a:xfrm>
            <a:custGeom>
              <a:avLst/>
              <a:gdLst/>
              <a:ahLst/>
              <a:cxnLst>
                <a:cxn ang="0">
                  <a:pos x="129" y="144"/>
                </a:cxn>
                <a:cxn ang="0">
                  <a:pos x="129" y="97"/>
                </a:cxn>
                <a:cxn ang="0">
                  <a:pos x="146" y="90"/>
                </a:cxn>
                <a:cxn ang="0">
                  <a:pos x="148" y="28"/>
                </a:cxn>
                <a:cxn ang="0">
                  <a:pos x="180" y="22"/>
                </a:cxn>
                <a:cxn ang="0">
                  <a:pos x="185" y="22"/>
                </a:cxn>
                <a:cxn ang="0">
                  <a:pos x="189" y="32"/>
                </a:cxn>
                <a:cxn ang="0">
                  <a:pos x="198" y="22"/>
                </a:cxn>
                <a:cxn ang="0">
                  <a:pos x="215" y="17"/>
                </a:cxn>
                <a:cxn ang="0">
                  <a:pos x="198" y="9"/>
                </a:cxn>
                <a:cxn ang="0">
                  <a:pos x="183" y="13"/>
                </a:cxn>
                <a:cxn ang="0">
                  <a:pos x="159" y="21"/>
                </a:cxn>
                <a:cxn ang="0">
                  <a:pos x="120" y="17"/>
                </a:cxn>
                <a:cxn ang="0">
                  <a:pos x="107" y="9"/>
                </a:cxn>
                <a:cxn ang="0">
                  <a:pos x="37" y="7"/>
                </a:cxn>
                <a:cxn ang="0">
                  <a:pos x="24" y="0"/>
                </a:cxn>
                <a:cxn ang="0">
                  <a:pos x="0" y="7"/>
                </a:cxn>
                <a:cxn ang="0">
                  <a:pos x="2" y="19"/>
                </a:cxn>
                <a:cxn ang="0">
                  <a:pos x="43" y="103"/>
                </a:cxn>
                <a:cxn ang="0">
                  <a:pos x="43" y="131"/>
                </a:cxn>
                <a:cxn ang="0">
                  <a:pos x="56" y="197"/>
                </a:cxn>
                <a:cxn ang="0">
                  <a:pos x="75" y="217"/>
                </a:cxn>
                <a:cxn ang="0">
                  <a:pos x="80" y="210"/>
                </a:cxn>
                <a:cxn ang="0">
                  <a:pos x="90" y="215"/>
                </a:cxn>
                <a:cxn ang="0">
                  <a:pos x="93" y="223"/>
                </a:cxn>
                <a:cxn ang="0">
                  <a:pos x="114" y="223"/>
                </a:cxn>
                <a:cxn ang="0">
                  <a:pos x="127" y="212"/>
                </a:cxn>
                <a:cxn ang="0">
                  <a:pos x="129" y="144"/>
                </a:cxn>
                <a:cxn ang="0">
                  <a:pos x="129" y="144"/>
                </a:cxn>
              </a:cxnLst>
              <a:rect l="0" t="0" r="r" b="b"/>
              <a:pathLst>
                <a:path w="215" h="223">
                  <a:moveTo>
                    <a:pt x="129" y="144"/>
                  </a:moveTo>
                  <a:lnTo>
                    <a:pt x="129" y="97"/>
                  </a:lnTo>
                  <a:lnTo>
                    <a:pt x="146" y="90"/>
                  </a:lnTo>
                  <a:lnTo>
                    <a:pt x="148" y="28"/>
                  </a:lnTo>
                  <a:lnTo>
                    <a:pt x="180" y="22"/>
                  </a:lnTo>
                  <a:lnTo>
                    <a:pt x="185" y="22"/>
                  </a:lnTo>
                  <a:lnTo>
                    <a:pt x="189" y="32"/>
                  </a:lnTo>
                  <a:lnTo>
                    <a:pt x="198" y="22"/>
                  </a:lnTo>
                  <a:lnTo>
                    <a:pt x="215" y="17"/>
                  </a:lnTo>
                  <a:lnTo>
                    <a:pt x="198" y="9"/>
                  </a:lnTo>
                  <a:lnTo>
                    <a:pt x="183" y="13"/>
                  </a:lnTo>
                  <a:lnTo>
                    <a:pt x="159" y="21"/>
                  </a:lnTo>
                  <a:lnTo>
                    <a:pt x="120" y="17"/>
                  </a:lnTo>
                  <a:lnTo>
                    <a:pt x="107" y="9"/>
                  </a:lnTo>
                  <a:lnTo>
                    <a:pt x="37" y="7"/>
                  </a:lnTo>
                  <a:lnTo>
                    <a:pt x="24" y="0"/>
                  </a:lnTo>
                  <a:lnTo>
                    <a:pt x="0" y="7"/>
                  </a:lnTo>
                  <a:lnTo>
                    <a:pt x="2" y="19"/>
                  </a:lnTo>
                  <a:lnTo>
                    <a:pt x="43" y="103"/>
                  </a:lnTo>
                  <a:lnTo>
                    <a:pt x="43" y="131"/>
                  </a:lnTo>
                  <a:lnTo>
                    <a:pt x="56" y="197"/>
                  </a:lnTo>
                  <a:lnTo>
                    <a:pt x="75" y="217"/>
                  </a:lnTo>
                  <a:lnTo>
                    <a:pt x="80" y="210"/>
                  </a:lnTo>
                  <a:lnTo>
                    <a:pt x="90" y="215"/>
                  </a:lnTo>
                  <a:lnTo>
                    <a:pt x="93" y="223"/>
                  </a:lnTo>
                  <a:lnTo>
                    <a:pt x="114" y="223"/>
                  </a:lnTo>
                  <a:lnTo>
                    <a:pt x="127" y="212"/>
                  </a:lnTo>
                  <a:lnTo>
                    <a:pt x="129" y="144"/>
                  </a:lnTo>
                  <a:lnTo>
                    <a:pt x="129" y="14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03" name="Freeform 5711"/>
            <p:cNvSpPr>
              <a:spLocks/>
            </p:cNvSpPr>
            <p:nvPr>
              <p:custDataLst>
                <p:tags r:id="rId83"/>
              </p:custDataLst>
            </p:nvPr>
          </p:nvSpPr>
          <p:spPr bwMode="gray">
            <a:xfrm>
              <a:off x="6849390" y="4475118"/>
              <a:ext cx="256619" cy="291595"/>
            </a:xfrm>
            <a:custGeom>
              <a:avLst/>
              <a:gdLst/>
              <a:ahLst/>
              <a:cxnLst>
                <a:cxn ang="0">
                  <a:pos x="30" y="2"/>
                </a:cxn>
                <a:cxn ang="0">
                  <a:pos x="69" y="0"/>
                </a:cxn>
                <a:cxn ang="0">
                  <a:pos x="78" y="7"/>
                </a:cxn>
                <a:cxn ang="0">
                  <a:pos x="84" y="30"/>
                </a:cxn>
                <a:cxn ang="0">
                  <a:pos x="101" y="45"/>
                </a:cxn>
                <a:cxn ang="0">
                  <a:pos x="121" y="41"/>
                </a:cxn>
                <a:cxn ang="0">
                  <a:pos x="127" y="24"/>
                </a:cxn>
                <a:cxn ang="0">
                  <a:pos x="148" y="20"/>
                </a:cxn>
                <a:cxn ang="0">
                  <a:pos x="148" y="26"/>
                </a:cxn>
                <a:cxn ang="0">
                  <a:pos x="161" y="30"/>
                </a:cxn>
                <a:cxn ang="0">
                  <a:pos x="163" y="34"/>
                </a:cxn>
                <a:cxn ang="0">
                  <a:pos x="163" y="71"/>
                </a:cxn>
                <a:cxn ang="0">
                  <a:pos x="170" y="88"/>
                </a:cxn>
                <a:cxn ang="0">
                  <a:pos x="165" y="97"/>
                </a:cxn>
                <a:cxn ang="0">
                  <a:pos x="168" y="103"/>
                </a:cxn>
                <a:cxn ang="0">
                  <a:pos x="200" y="94"/>
                </a:cxn>
                <a:cxn ang="0">
                  <a:pos x="198" y="131"/>
                </a:cxn>
                <a:cxn ang="0">
                  <a:pos x="200" y="133"/>
                </a:cxn>
                <a:cxn ang="0">
                  <a:pos x="166" y="137"/>
                </a:cxn>
                <a:cxn ang="0">
                  <a:pos x="166" y="200"/>
                </a:cxn>
                <a:cxn ang="0">
                  <a:pos x="183" y="219"/>
                </a:cxn>
                <a:cxn ang="0">
                  <a:pos x="159" y="227"/>
                </a:cxn>
                <a:cxn ang="0">
                  <a:pos x="120" y="223"/>
                </a:cxn>
                <a:cxn ang="0">
                  <a:pos x="107" y="215"/>
                </a:cxn>
                <a:cxn ang="0">
                  <a:pos x="37" y="213"/>
                </a:cxn>
                <a:cxn ang="0">
                  <a:pos x="24" y="206"/>
                </a:cxn>
                <a:cxn ang="0">
                  <a:pos x="0" y="213"/>
                </a:cxn>
                <a:cxn ang="0">
                  <a:pos x="2" y="189"/>
                </a:cxn>
                <a:cxn ang="0">
                  <a:pos x="15" y="140"/>
                </a:cxn>
                <a:cxn ang="0">
                  <a:pos x="32" y="120"/>
                </a:cxn>
                <a:cxn ang="0">
                  <a:pos x="35" y="103"/>
                </a:cxn>
                <a:cxn ang="0">
                  <a:pos x="20" y="64"/>
                </a:cxn>
                <a:cxn ang="0">
                  <a:pos x="28" y="54"/>
                </a:cxn>
                <a:cxn ang="0">
                  <a:pos x="13" y="11"/>
                </a:cxn>
                <a:cxn ang="0">
                  <a:pos x="30" y="2"/>
                </a:cxn>
                <a:cxn ang="0">
                  <a:pos x="30" y="2"/>
                </a:cxn>
              </a:cxnLst>
              <a:rect l="0" t="0" r="r" b="b"/>
              <a:pathLst>
                <a:path w="200" h="227">
                  <a:moveTo>
                    <a:pt x="30" y="2"/>
                  </a:moveTo>
                  <a:lnTo>
                    <a:pt x="69" y="0"/>
                  </a:lnTo>
                  <a:lnTo>
                    <a:pt x="78" y="7"/>
                  </a:lnTo>
                  <a:lnTo>
                    <a:pt x="84" y="30"/>
                  </a:lnTo>
                  <a:lnTo>
                    <a:pt x="101" y="45"/>
                  </a:lnTo>
                  <a:lnTo>
                    <a:pt x="121" y="41"/>
                  </a:lnTo>
                  <a:lnTo>
                    <a:pt x="127" y="24"/>
                  </a:lnTo>
                  <a:lnTo>
                    <a:pt x="148" y="20"/>
                  </a:lnTo>
                  <a:lnTo>
                    <a:pt x="148" y="26"/>
                  </a:lnTo>
                  <a:lnTo>
                    <a:pt x="161" y="30"/>
                  </a:lnTo>
                  <a:lnTo>
                    <a:pt x="163" y="34"/>
                  </a:lnTo>
                  <a:lnTo>
                    <a:pt x="163" y="71"/>
                  </a:lnTo>
                  <a:lnTo>
                    <a:pt x="170" y="88"/>
                  </a:lnTo>
                  <a:lnTo>
                    <a:pt x="165" y="97"/>
                  </a:lnTo>
                  <a:lnTo>
                    <a:pt x="168" y="103"/>
                  </a:lnTo>
                  <a:lnTo>
                    <a:pt x="200" y="94"/>
                  </a:lnTo>
                  <a:lnTo>
                    <a:pt x="198" y="131"/>
                  </a:lnTo>
                  <a:lnTo>
                    <a:pt x="200" y="133"/>
                  </a:lnTo>
                  <a:lnTo>
                    <a:pt x="166" y="137"/>
                  </a:lnTo>
                  <a:lnTo>
                    <a:pt x="166" y="200"/>
                  </a:lnTo>
                  <a:lnTo>
                    <a:pt x="183" y="219"/>
                  </a:lnTo>
                  <a:lnTo>
                    <a:pt x="159" y="227"/>
                  </a:lnTo>
                  <a:lnTo>
                    <a:pt x="120" y="223"/>
                  </a:lnTo>
                  <a:lnTo>
                    <a:pt x="107" y="215"/>
                  </a:lnTo>
                  <a:lnTo>
                    <a:pt x="37" y="213"/>
                  </a:lnTo>
                  <a:lnTo>
                    <a:pt x="24" y="206"/>
                  </a:lnTo>
                  <a:lnTo>
                    <a:pt x="0" y="213"/>
                  </a:lnTo>
                  <a:lnTo>
                    <a:pt x="2" y="189"/>
                  </a:lnTo>
                  <a:lnTo>
                    <a:pt x="15" y="140"/>
                  </a:lnTo>
                  <a:lnTo>
                    <a:pt x="32" y="120"/>
                  </a:lnTo>
                  <a:lnTo>
                    <a:pt x="35" y="103"/>
                  </a:lnTo>
                  <a:lnTo>
                    <a:pt x="20" y="64"/>
                  </a:lnTo>
                  <a:lnTo>
                    <a:pt x="28" y="54"/>
                  </a:lnTo>
                  <a:lnTo>
                    <a:pt x="13" y="11"/>
                  </a:lnTo>
                  <a:lnTo>
                    <a:pt x="30" y="2"/>
                  </a:lnTo>
                  <a:lnTo>
                    <a:pt x="30" y="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04" name="Freeform 5712"/>
            <p:cNvSpPr>
              <a:spLocks/>
            </p:cNvSpPr>
            <p:nvPr>
              <p:custDataLst>
                <p:tags r:id="rId84"/>
              </p:custDataLst>
            </p:nvPr>
          </p:nvSpPr>
          <p:spPr bwMode="gray">
            <a:xfrm>
              <a:off x="6832710" y="4443004"/>
              <a:ext cx="19246" cy="34683"/>
            </a:xfrm>
            <a:custGeom>
              <a:avLst/>
              <a:gdLst/>
              <a:ahLst/>
              <a:cxnLst>
                <a:cxn ang="0">
                  <a:pos x="15" y="6"/>
                </a:cxn>
                <a:cxn ang="0">
                  <a:pos x="8" y="12"/>
                </a:cxn>
                <a:cxn ang="0">
                  <a:pos x="6" y="27"/>
                </a:cxn>
                <a:cxn ang="0">
                  <a:pos x="6" y="27"/>
                </a:cxn>
                <a:cxn ang="0">
                  <a:pos x="2" y="17"/>
                </a:cxn>
                <a:cxn ang="0">
                  <a:pos x="0" y="12"/>
                </a:cxn>
                <a:cxn ang="0">
                  <a:pos x="12" y="0"/>
                </a:cxn>
                <a:cxn ang="0">
                  <a:pos x="15" y="6"/>
                </a:cxn>
                <a:cxn ang="0">
                  <a:pos x="15" y="6"/>
                </a:cxn>
              </a:cxnLst>
              <a:rect l="0" t="0" r="r" b="b"/>
              <a:pathLst>
                <a:path w="15" h="27">
                  <a:moveTo>
                    <a:pt x="15" y="6"/>
                  </a:moveTo>
                  <a:lnTo>
                    <a:pt x="8" y="12"/>
                  </a:lnTo>
                  <a:lnTo>
                    <a:pt x="6" y="27"/>
                  </a:lnTo>
                  <a:lnTo>
                    <a:pt x="6" y="27"/>
                  </a:lnTo>
                  <a:lnTo>
                    <a:pt x="2" y="17"/>
                  </a:lnTo>
                  <a:lnTo>
                    <a:pt x="0" y="12"/>
                  </a:lnTo>
                  <a:lnTo>
                    <a:pt x="12" y="0"/>
                  </a:lnTo>
                  <a:lnTo>
                    <a:pt x="15" y="6"/>
                  </a:lnTo>
                  <a:lnTo>
                    <a:pt x="15"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05" name="Freeform 5713"/>
            <p:cNvSpPr>
              <a:spLocks/>
            </p:cNvSpPr>
            <p:nvPr>
              <p:custDataLst>
                <p:tags r:id="rId85"/>
              </p:custDataLst>
            </p:nvPr>
          </p:nvSpPr>
          <p:spPr bwMode="gray">
            <a:xfrm>
              <a:off x="6783953" y="4026807"/>
              <a:ext cx="159103" cy="272327"/>
            </a:xfrm>
            <a:custGeom>
              <a:avLst/>
              <a:gdLst/>
              <a:ahLst/>
              <a:cxnLst>
                <a:cxn ang="0">
                  <a:pos x="90" y="0"/>
                </a:cxn>
                <a:cxn ang="0">
                  <a:pos x="90" y="12"/>
                </a:cxn>
                <a:cxn ang="0">
                  <a:pos x="96" y="27"/>
                </a:cxn>
                <a:cxn ang="0">
                  <a:pos x="79" y="43"/>
                </a:cxn>
                <a:cxn ang="0">
                  <a:pos x="70" y="79"/>
                </a:cxn>
                <a:cxn ang="0">
                  <a:pos x="62" y="87"/>
                </a:cxn>
                <a:cxn ang="0">
                  <a:pos x="49" y="120"/>
                </a:cxn>
                <a:cxn ang="0">
                  <a:pos x="41" y="124"/>
                </a:cxn>
                <a:cxn ang="0">
                  <a:pos x="34" y="117"/>
                </a:cxn>
                <a:cxn ang="0">
                  <a:pos x="19" y="117"/>
                </a:cxn>
                <a:cxn ang="0">
                  <a:pos x="0" y="156"/>
                </a:cxn>
                <a:cxn ang="0">
                  <a:pos x="8" y="169"/>
                </a:cxn>
                <a:cxn ang="0">
                  <a:pos x="13" y="171"/>
                </a:cxn>
                <a:cxn ang="0">
                  <a:pos x="23" y="188"/>
                </a:cxn>
                <a:cxn ang="0">
                  <a:pos x="19" y="203"/>
                </a:cxn>
                <a:cxn ang="0">
                  <a:pos x="45" y="203"/>
                </a:cxn>
                <a:cxn ang="0">
                  <a:pos x="81" y="203"/>
                </a:cxn>
                <a:cxn ang="0">
                  <a:pos x="124" y="212"/>
                </a:cxn>
                <a:cxn ang="0">
                  <a:pos x="124" y="191"/>
                </a:cxn>
                <a:cxn ang="0">
                  <a:pos x="101" y="154"/>
                </a:cxn>
                <a:cxn ang="0">
                  <a:pos x="98" y="137"/>
                </a:cxn>
                <a:cxn ang="0">
                  <a:pos x="111" y="105"/>
                </a:cxn>
                <a:cxn ang="0">
                  <a:pos x="111" y="105"/>
                </a:cxn>
                <a:cxn ang="0">
                  <a:pos x="105" y="83"/>
                </a:cxn>
                <a:cxn ang="0">
                  <a:pos x="90" y="70"/>
                </a:cxn>
                <a:cxn ang="0">
                  <a:pos x="96" y="58"/>
                </a:cxn>
                <a:cxn ang="0">
                  <a:pos x="111" y="55"/>
                </a:cxn>
                <a:cxn ang="0">
                  <a:pos x="103" y="40"/>
                </a:cxn>
                <a:cxn ang="0">
                  <a:pos x="98" y="6"/>
                </a:cxn>
                <a:cxn ang="0">
                  <a:pos x="98" y="6"/>
                </a:cxn>
                <a:cxn ang="0">
                  <a:pos x="90" y="0"/>
                </a:cxn>
                <a:cxn ang="0">
                  <a:pos x="90" y="0"/>
                </a:cxn>
              </a:cxnLst>
              <a:rect l="0" t="0" r="r" b="b"/>
              <a:pathLst>
                <a:path w="124" h="212">
                  <a:moveTo>
                    <a:pt x="90" y="0"/>
                  </a:moveTo>
                  <a:lnTo>
                    <a:pt x="90" y="12"/>
                  </a:lnTo>
                  <a:lnTo>
                    <a:pt x="96" y="27"/>
                  </a:lnTo>
                  <a:lnTo>
                    <a:pt x="79" y="43"/>
                  </a:lnTo>
                  <a:lnTo>
                    <a:pt x="70" y="79"/>
                  </a:lnTo>
                  <a:lnTo>
                    <a:pt x="62" y="87"/>
                  </a:lnTo>
                  <a:lnTo>
                    <a:pt x="49" y="120"/>
                  </a:lnTo>
                  <a:lnTo>
                    <a:pt x="41" y="124"/>
                  </a:lnTo>
                  <a:lnTo>
                    <a:pt x="34" y="117"/>
                  </a:lnTo>
                  <a:lnTo>
                    <a:pt x="19" y="117"/>
                  </a:lnTo>
                  <a:lnTo>
                    <a:pt x="0" y="156"/>
                  </a:lnTo>
                  <a:lnTo>
                    <a:pt x="8" y="169"/>
                  </a:lnTo>
                  <a:lnTo>
                    <a:pt x="13" y="171"/>
                  </a:lnTo>
                  <a:lnTo>
                    <a:pt x="23" y="188"/>
                  </a:lnTo>
                  <a:lnTo>
                    <a:pt x="19" y="203"/>
                  </a:lnTo>
                  <a:lnTo>
                    <a:pt x="45" y="203"/>
                  </a:lnTo>
                  <a:lnTo>
                    <a:pt x="81" y="203"/>
                  </a:lnTo>
                  <a:lnTo>
                    <a:pt x="124" y="212"/>
                  </a:lnTo>
                  <a:lnTo>
                    <a:pt x="124" y="191"/>
                  </a:lnTo>
                  <a:lnTo>
                    <a:pt x="101" y="154"/>
                  </a:lnTo>
                  <a:lnTo>
                    <a:pt x="98" y="137"/>
                  </a:lnTo>
                  <a:lnTo>
                    <a:pt x="111" y="105"/>
                  </a:lnTo>
                  <a:lnTo>
                    <a:pt x="111" y="105"/>
                  </a:lnTo>
                  <a:lnTo>
                    <a:pt x="105" y="83"/>
                  </a:lnTo>
                  <a:lnTo>
                    <a:pt x="90" y="70"/>
                  </a:lnTo>
                  <a:lnTo>
                    <a:pt x="96" y="58"/>
                  </a:lnTo>
                  <a:lnTo>
                    <a:pt x="111" y="55"/>
                  </a:lnTo>
                  <a:lnTo>
                    <a:pt x="103" y="40"/>
                  </a:lnTo>
                  <a:lnTo>
                    <a:pt x="98" y="6"/>
                  </a:lnTo>
                  <a:lnTo>
                    <a:pt x="98" y="6"/>
                  </a:lnTo>
                  <a:lnTo>
                    <a:pt x="90" y="0"/>
                  </a:lnTo>
                  <a:lnTo>
                    <a:pt x="90"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06" name="Freeform 5714"/>
            <p:cNvSpPr>
              <a:spLocks/>
            </p:cNvSpPr>
            <p:nvPr>
              <p:custDataLst>
                <p:tags r:id="rId86"/>
              </p:custDataLst>
            </p:nvPr>
          </p:nvSpPr>
          <p:spPr bwMode="gray">
            <a:xfrm>
              <a:off x="6844258" y="4251605"/>
              <a:ext cx="151405" cy="206814"/>
            </a:xfrm>
            <a:custGeom>
              <a:avLst/>
              <a:gdLst/>
              <a:ahLst/>
              <a:cxnLst>
                <a:cxn ang="0">
                  <a:pos x="23" y="149"/>
                </a:cxn>
                <a:cxn ang="0">
                  <a:pos x="26" y="155"/>
                </a:cxn>
                <a:cxn ang="0">
                  <a:pos x="36" y="157"/>
                </a:cxn>
                <a:cxn ang="0">
                  <a:pos x="47" y="149"/>
                </a:cxn>
                <a:cxn ang="0">
                  <a:pos x="53" y="157"/>
                </a:cxn>
                <a:cxn ang="0">
                  <a:pos x="73" y="140"/>
                </a:cxn>
                <a:cxn ang="0">
                  <a:pos x="81" y="106"/>
                </a:cxn>
                <a:cxn ang="0">
                  <a:pos x="103" y="82"/>
                </a:cxn>
                <a:cxn ang="0">
                  <a:pos x="109" y="31"/>
                </a:cxn>
                <a:cxn ang="0">
                  <a:pos x="118" y="0"/>
                </a:cxn>
                <a:cxn ang="0">
                  <a:pos x="107" y="5"/>
                </a:cxn>
                <a:cxn ang="0">
                  <a:pos x="98" y="0"/>
                </a:cxn>
                <a:cxn ang="0">
                  <a:pos x="84" y="5"/>
                </a:cxn>
                <a:cxn ang="0">
                  <a:pos x="77" y="16"/>
                </a:cxn>
                <a:cxn ang="0">
                  <a:pos x="77" y="37"/>
                </a:cxn>
                <a:cxn ang="0">
                  <a:pos x="34" y="28"/>
                </a:cxn>
                <a:cxn ang="0">
                  <a:pos x="41" y="35"/>
                </a:cxn>
                <a:cxn ang="0">
                  <a:pos x="39" y="41"/>
                </a:cxn>
                <a:cxn ang="0">
                  <a:pos x="47" y="46"/>
                </a:cxn>
                <a:cxn ang="0">
                  <a:pos x="43" y="63"/>
                </a:cxn>
                <a:cxn ang="0">
                  <a:pos x="47" y="90"/>
                </a:cxn>
                <a:cxn ang="0">
                  <a:pos x="43" y="112"/>
                </a:cxn>
                <a:cxn ang="0">
                  <a:pos x="21" y="103"/>
                </a:cxn>
                <a:cxn ang="0">
                  <a:pos x="4" y="118"/>
                </a:cxn>
                <a:cxn ang="0">
                  <a:pos x="6" y="133"/>
                </a:cxn>
                <a:cxn ang="0">
                  <a:pos x="0" y="144"/>
                </a:cxn>
                <a:cxn ang="0">
                  <a:pos x="11" y="161"/>
                </a:cxn>
                <a:cxn ang="0">
                  <a:pos x="23" y="149"/>
                </a:cxn>
                <a:cxn ang="0">
                  <a:pos x="23" y="149"/>
                </a:cxn>
              </a:cxnLst>
              <a:rect l="0" t="0" r="r" b="b"/>
              <a:pathLst>
                <a:path w="118" h="161">
                  <a:moveTo>
                    <a:pt x="23" y="149"/>
                  </a:moveTo>
                  <a:lnTo>
                    <a:pt x="26" y="155"/>
                  </a:lnTo>
                  <a:lnTo>
                    <a:pt x="36" y="157"/>
                  </a:lnTo>
                  <a:lnTo>
                    <a:pt x="47" y="149"/>
                  </a:lnTo>
                  <a:lnTo>
                    <a:pt x="53" y="157"/>
                  </a:lnTo>
                  <a:lnTo>
                    <a:pt x="73" y="140"/>
                  </a:lnTo>
                  <a:lnTo>
                    <a:pt x="81" y="106"/>
                  </a:lnTo>
                  <a:lnTo>
                    <a:pt x="103" y="82"/>
                  </a:lnTo>
                  <a:lnTo>
                    <a:pt x="109" y="31"/>
                  </a:lnTo>
                  <a:lnTo>
                    <a:pt x="118" y="0"/>
                  </a:lnTo>
                  <a:lnTo>
                    <a:pt x="107" y="5"/>
                  </a:lnTo>
                  <a:lnTo>
                    <a:pt x="98" y="0"/>
                  </a:lnTo>
                  <a:lnTo>
                    <a:pt x="84" y="5"/>
                  </a:lnTo>
                  <a:lnTo>
                    <a:pt x="77" y="16"/>
                  </a:lnTo>
                  <a:lnTo>
                    <a:pt x="77" y="37"/>
                  </a:lnTo>
                  <a:lnTo>
                    <a:pt x="34" y="28"/>
                  </a:lnTo>
                  <a:lnTo>
                    <a:pt x="41" y="35"/>
                  </a:lnTo>
                  <a:lnTo>
                    <a:pt x="39" y="41"/>
                  </a:lnTo>
                  <a:lnTo>
                    <a:pt x="47" y="46"/>
                  </a:lnTo>
                  <a:lnTo>
                    <a:pt x="43" y="63"/>
                  </a:lnTo>
                  <a:lnTo>
                    <a:pt x="47" y="90"/>
                  </a:lnTo>
                  <a:lnTo>
                    <a:pt x="43" y="112"/>
                  </a:lnTo>
                  <a:lnTo>
                    <a:pt x="21" y="103"/>
                  </a:lnTo>
                  <a:lnTo>
                    <a:pt x="4" y="118"/>
                  </a:lnTo>
                  <a:lnTo>
                    <a:pt x="6" y="133"/>
                  </a:lnTo>
                  <a:lnTo>
                    <a:pt x="0" y="144"/>
                  </a:lnTo>
                  <a:lnTo>
                    <a:pt x="11" y="161"/>
                  </a:lnTo>
                  <a:lnTo>
                    <a:pt x="23" y="149"/>
                  </a:lnTo>
                  <a:lnTo>
                    <a:pt x="23" y="14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07" name="Freeform 5715"/>
            <p:cNvSpPr>
              <a:spLocks/>
            </p:cNvSpPr>
            <p:nvPr>
              <p:custDataLst>
                <p:tags r:id="rId87"/>
              </p:custDataLst>
            </p:nvPr>
          </p:nvSpPr>
          <p:spPr bwMode="gray">
            <a:xfrm>
              <a:off x="6789085" y="4287572"/>
              <a:ext cx="115478" cy="149009"/>
            </a:xfrm>
            <a:custGeom>
              <a:avLst/>
              <a:gdLst/>
              <a:ahLst/>
              <a:cxnLst>
                <a:cxn ang="0">
                  <a:pos x="84" y="7"/>
                </a:cxn>
                <a:cxn ang="0">
                  <a:pos x="82" y="13"/>
                </a:cxn>
                <a:cxn ang="0">
                  <a:pos x="90" y="18"/>
                </a:cxn>
                <a:cxn ang="0">
                  <a:pos x="86" y="35"/>
                </a:cxn>
                <a:cxn ang="0">
                  <a:pos x="90" y="62"/>
                </a:cxn>
                <a:cxn ang="0">
                  <a:pos x="86" y="84"/>
                </a:cxn>
                <a:cxn ang="0">
                  <a:pos x="64" y="75"/>
                </a:cxn>
                <a:cxn ang="0">
                  <a:pos x="47" y="90"/>
                </a:cxn>
                <a:cxn ang="0">
                  <a:pos x="49" y="105"/>
                </a:cxn>
                <a:cxn ang="0">
                  <a:pos x="43" y="116"/>
                </a:cxn>
                <a:cxn ang="0">
                  <a:pos x="19" y="92"/>
                </a:cxn>
                <a:cxn ang="0">
                  <a:pos x="0" y="56"/>
                </a:cxn>
                <a:cxn ang="0">
                  <a:pos x="9" y="48"/>
                </a:cxn>
                <a:cxn ang="0">
                  <a:pos x="9" y="41"/>
                </a:cxn>
                <a:cxn ang="0">
                  <a:pos x="15" y="24"/>
                </a:cxn>
                <a:cxn ang="0">
                  <a:pos x="43" y="20"/>
                </a:cxn>
                <a:cxn ang="0">
                  <a:pos x="41" y="0"/>
                </a:cxn>
                <a:cxn ang="0">
                  <a:pos x="77" y="0"/>
                </a:cxn>
                <a:cxn ang="0">
                  <a:pos x="84" y="7"/>
                </a:cxn>
                <a:cxn ang="0">
                  <a:pos x="84" y="7"/>
                </a:cxn>
              </a:cxnLst>
              <a:rect l="0" t="0" r="r" b="b"/>
              <a:pathLst>
                <a:path w="90" h="116">
                  <a:moveTo>
                    <a:pt x="84" y="7"/>
                  </a:moveTo>
                  <a:lnTo>
                    <a:pt x="82" y="13"/>
                  </a:lnTo>
                  <a:lnTo>
                    <a:pt x="90" y="18"/>
                  </a:lnTo>
                  <a:lnTo>
                    <a:pt x="86" y="35"/>
                  </a:lnTo>
                  <a:lnTo>
                    <a:pt x="90" y="62"/>
                  </a:lnTo>
                  <a:lnTo>
                    <a:pt x="86" y="84"/>
                  </a:lnTo>
                  <a:lnTo>
                    <a:pt x="64" y="75"/>
                  </a:lnTo>
                  <a:lnTo>
                    <a:pt x="47" y="90"/>
                  </a:lnTo>
                  <a:lnTo>
                    <a:pt x="49" y="105"/>
                  </a:lnTo>
                  <a:lnTo>
                    <a:pt x="43" y="116"/>
                  </a:lnTo>
                  <a:lnTo>
                    <a:pt x="19" y="92"/>
                  </a:lnTo>
                  <a:lnTo>
                    <a:pt x="0" y="56"/>
                  </a:lnTo>
                  <a:lnTo>
                    <a:pt x="9" y="48"/>
                  </a:lnTo>
                  <a:lnTo>
                    <a:pt x="9" y="41"/>
                  </a:lnTo>
                  <a:lnTo>
                    <a:pt x="15" y="24"/>
                  </a:lnTo>
                  <a:lnTo>
                    <a:pt x="43" y="20"/>
                  </a:lnTo>
                  <a:lnTo>
                    <a:pt x="41" y="0"/>
                  </a:lnTo>
                  <a:lnTo>
                    <a:pt x="77" y="0"/>
                  </a:lnTo>
                  <a:lnTo>
                    <a:pt x="84" y="7"/>
                  </a:lnTo>
                  <a:lnTo>
                    <a:pt x="84" y="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08" name="Freeform 5716"/>
            <p:cNvSpPr>
              <a:spLocks/>
            </p:cNvSpPr>
            <p:nvPr>
              <p:custDataLst>
                <p:tags r:id="rId88"/>
              </p:custDataLst>
            </p:nvPr>
          </p:nvSpPr>
          <p:spPr bwMode="gray">
            <a:xfrm>
              <a:off x="6800633" y="4287572"/>
              <a:ext cx="43625" cy="30829"/>
            </a:xfrm>
            <a:custGeom>
              <a:avLst/>
              <a:gdLst/>
              <a:ahLst/>
              <a:cxnLst>
                <a:cxn ang="0">
                  <a:pos x="34" y="20"/>
                </a:cxn>
                <a:cxn ang="0">
                  <a:pos x="32" y="0"/>
                </a:cxn>
                <a:cxn ang="0">
                  <a:pos x="6" y="0"/>
                </a:cxn>
                <a:cxn ang="0">
                  <a:pos x="0" y="20"/>
                </a:cxn>
                <a:cxn ang="0">
                  <a:pos x="4" y="24"/>
                </a:cxn>
                <a:cxn ang="0">
                  <a:pos x="34" y="20"/>
                </a:cxn>
                <a:cxn ang="0">
                  <a:pos x="34" y="20"/>
                </a:cxn>
              </a:cxnLst>
              <a:rect l="0" t="0" r="r" b="b"/>
              <a:pathLst>
                <a:path w="34" h="24">
                  <a:moveTo>
                    <a:pt x="34" y="20"/>
                  </a:moveTo>
                  <a:lnTo>
                    <a:pt x="32" y="0"/>
                  </a:lnTo>
                  <a:lnTo>
                    <a:pt x="6" y="0"/>
                  </a:lnTo>
                  <a:lnTo>
                    <a:pt x="0" y="20"/>
                  </a:lnTo>
                  <a:lnTo>
                    <a:pt x="4" y="24"/>
                  </a:lnTo>
                  <a:lnTo>
                    <a:pt x="34" y="20"/>
                  </a:lnTo>
                  <a:lnTo>
                    <a:pt x="34" y="2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09" name="Freeform 5717"/>
            <p:cNvSpPr>
              <a:spLocks/>
            </p:cNvSpPr>
            <p:nvPr>
              <p:custDataLst>
                <p:tags r:id="rId89"/>
              </p:custDataLst>
            </p:nvPr>
          </p:nvSpPr>
          <p:spPr bwMode="gray">
            <a:xfrm>
              <a:off x="6535033" y="4083327"/>
              <a:ext cx="91100" cy="151578"/>
            </a:xfrm>
            <a:custGeom>
              <a:avLst/>
              <a:gdLst/>
              <a:ahLst/>
              <a:cxnLst>
                <a:cxn ang="0">
                  <a:pos x="64" y="79"/>
                </a:cxn>
                <a:cxn ang="0">
                  <a:pos x="60" y="37"/>
                </a:cxn>
                <a:cxn ang="0">
                  <a:pos x="49" y="0"/>
                </a:cxn>
                <a:cxn ang="0">
                  <a:pos x="9" y="2"/>
                </a:cxn>
                <a:cxn ang="0">
                  <a:pos x="6" y="5"/>
                </a:cxn>
                <a:cxn ang="0">
                  <a:pos x="9" y="30"/>
                </a:cxn>
                <a:cxn ang="0">
                  <a:pos x="13" y="52"/>
                </a:cxn>
                <a:cxn ang="0">
                  <a:pos x="0" y="84"/>
                </a:cxn>
                <a:cxn ang="0">
                  <a:pos x="8" y="110"/>
                </a:cxn>
                <a:cxn ang="0">
                  <a:pos x="0" y="112"/>
                </a:cxn>
                <a:cxn ang="0">
                  <a:pos x="19" y="118"/>
                </a:cxn>
                <a:cxn ang="0">
                  <a:pos x="56" y="99"/>
                </a:cxn>
                <a:cxn ang="0">
                  <a:pos x="68" y="99"/>
                </a:cxn>
                <a:cxn ang="0">
                  <a:pos x="71" y="92"/>
                </a:cxn>
                <a:cxn ang="0">
                  <a:pos x="64" y="79"/>
                </a:cxn>
                <a:cxn ang="0">
                  <a:pos x="64" y="79"/>
                </a:cxn>
              </a:cxnLst>
              <a:rect l="0" t="0" r="r" b="b"/>
              <a:pathLst>
                <a:path w="71" h="118">
                  <a:moveTo>
                    <a:pt x="64" y="79"/>
                  </a:moveTo>
                  <a:lnTo>
                    <a:pt x="60" y="37"/>
                  </a:lnTo>
                  <a:lnTo>
                    <a:pt x="49" y="0"/>
                  </a:lnTo>
                  <a:lnTo>
                    <a:pt x="9" y="2"/>
                  </a:lnTo>
                  <a:lnTo>
                    <a:pt x="6" y="5"/>
                  </a:lnTo>
                  <a:lnTo>
                    <a:pt x="9" y="30"/>
                  </a:lnTo>
                  <a:lnTo>
                    <a:pt x="13" y="52"/>
                  </a:lnTo>
                  <a:lnTo>
                    <a:pt x="0" y="84"/>
                  </a:lnTo>
                  <a:lnTo>
                    <a:pt x="8" y="110"/>
                  </a:lnTo>
                  <a:lnTo>
                    <a:pt x="0" y="112"/>
                  </a:lnTo>
                  <a:lnTo>
                    <a:pt x="19" y="118"/>
                  </a:lnTo>
                  <a:lnTo>
                    <a:pt x="56" y="99"/>
                  </a:lnTo>
                  <a:lnTo>
                    <a:pt x="68" y="99"/>
                  </a:lnTo>
                  <a:lnTo>
                    <a:pt x="71" y="92"/>
                  </a:lnTo>
                  <a:lnTo>
                    <a:pt x="64" y="79"/>
                  </a:lnTo>
                  <a:lnTo>
                    <a:pt x="64" y="7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10" name="Freeform 5718"/>
            <p:cNvSpPr>
              <a:spLocks/>
            </p:cNvSpPr>
            <p:nvPr>
              <p:custDataLst>
                <p:tags r:id="rId90"/>
              </p:custDataLst>
            </p:nvPr>
          </p:nvSpPr>
          <p:spPr bwMode="gray">
            <a:xfrm>
              <a:off x="6664625" y="4010107"/>
              <a:ext cx="242505" cy="228652"/>
            </a:xfrm>
            <a:custGeom>
              <a:avLst/>
              <a:gdLst/>
              <a:ahLst/>
              <a:cxnLst>
                <a:cxn ang="0">
                  <a:pos x="183" y="13"/>
                </a:cxn>
                <a:cxn ang="0">
                  <a:pos x="174" y="0"/>
                </a:cxn>
                <a:cxn ang="0">
                  <a:pos x="170" y="0"/>
                </a:cxn>
                <a:cxn ang="0">
                  <a:pos x="155" y="13"/>
                </a:cxn>
                <a:cxn ang="0">
                  <a:pos x="125" y="10"/>
                </a:cxn>
                <a:cxn ang="0">
                  <a:pos x="106" y="21"/>
                </a:cxn>
                <a:cxn ang="0">
                  <a:pos x="82" y="10"/>
                </a:cxn>
                <a:cxn ang="0">
                  <a:pos x="71" y="17"/>
                </a:cxn>
                <a:cxn ang="0">
                  <a:pos x="48" y="0"/>
                </a:cxn>
                <a:cxn ang="0">
                  <a:pos x="31" y="4"/>
                </a:cxn>
                <a:cxn ang="0">
                  <a:pos x="16" y="23"/>
                </a:cxn>
                <a:cxn ang="0">
                  <a:pos x="15" y="40"/>
                </a:cxn>
                <a:cxn ang="0">
                  <a:pos x="15" y="40"/>
                </a:cxn>
                <a:cxn ang="0">
                  <a:pos x="16" y="60"/>
                </a:cxn>
                <a:cxn ang="0">
                  <a:pos x="2" y="100"/>
                </a:cxn>
                <a:cxn ang="0">
                  <a:pos x="0" y="139"/>
                </a:cxn>
                <a:cxn ang="0">
                  <a:pos x="20" y="137"/>
                </a:cxn>
                <a:cxn ang="0">
                  <a:pos x="37" y="146"/>
                </a:cxn>
                <a:cxn ang="0">
                  <a:pos x="43" y="171"/>
                </a:cxn>
                <a:cxn ang="0">
                  <a:pos x="52" y="178"/>
                </a:cxn>
                <a:cxn ang="0">
                  <a:pos x="93" y="169"/>
                </a:cxn>
                <a:cxn ang="0">
                  <a:pos x="112" y="130"/>
                </a:cxn>
                <a:cxn ang="0">
                  <a:pos x="127" y="130"/>
                </a:cxn>
                <a:cxn ang="0">
                  <a:pos x="134" y="137"/>
                </a:cxn>
                <a:cxn ang="0">
                  <a:pos x="142" y="133"/>
                </a:cxn>
                <a:cxn ang="0">
                  <a:pos x="155" y="100"/>
                </a:cxn>
                <a:cxn ang="0">
                  <a:pos x="163" y="92"/>
                </a:cxn>
                <a:cxn ang="0">
                  <a:pos x="172" y="56"/>
                </a:cxn>
                <a:cxn ang="0">
                  <a:pos x="189" y="40"/>
                </a:cxn>
                <a:cxn ang="0">
                  <a:pos x="183" y="25"/>
                </a:cxn>
                <a:cxn ang="0">
                  <a:pos x="183" y="13"/>
                </a:cxn>
                <a:cxn ang="0">
                  <a:pos x="183" y="13"/>
                </a:cxn>
              </a:cxnLst>
              <a:rect l="0" t="0" r="r" b="b"/>
              <a:pathLst>
                <a:path w="189" h="178">
                  <a:moveTo>
                    <a:pt x="183" y="13"/>
                  </a:moveTo>
                  <a:lnTo>
                    <a:pt x="174" y="0"/>
                  </a:lnTo>
                  <a:lnTo>
                    <a:pt x="170" y="0"/>
                  </a:lnTo>
                  <a:lnTo>
                    <a:pt x="155" y="13"/>
                  </a:lnTo>
                  <a:lnTo>
                    <a:pt x="125" y="10"/>
                  </a:lnTo>
                  <a:lnTo>
                    <a:pt x="106" y="21"/>
                  </a:lnTo>
                  <a:lnTo>
                    <a:pt x="82" y="10"/>
                  </a:lnTo>
                  <a:lnTo>
                    <a:pt x="71" y="17"/>
                  </a:lnTo>
                  <a:lnTo>
                    <a:pt x="48" y="0"/>
                  </a:lnTo>
                  <a:lnTo>
                    <a:pt x="31" y="4"/>
                  </a:lnTo>
                  <a:lnTo>
                    <a:pt x="16" y="23"/>
                  </a:lnTo>
                  <a:lnTo>
                    <a:pt x="15" y="40"/>
                  </a:lnTo>
                  <a:lnTo>
                    <a:pt x="15" y="40"/>
                  </a:lnTo>
                  <a:lnTo>
                    <a:pt x="16" y="60"/>
                  </a:lnTo>
                  <a:lnTo>
                    <a:pt x="2" y="100"/>
                  </a:lnTo>
                  <a:lnTo>
                    <a:pt x="0" y="139"/>
                  </a:lnTo>
                  <a:lnTo>
                    <a:pt x="20" y="137"/>
                  </a:lnTo>
                  <a:lnTo>
                    <a:pt x="37" y="146"/>
                  </a:lnTo>
                  <a:lnTo>
                    <a:pt x="43" y="171"/>
                  </a:lnTo>
                  <a:lnTo>
                    <a:pt x="52" y="178"/>
                  </a:lnTo>
                  <a:lnTo>
                    <a:pt x="93" y="169"/>
                  </a:lnTo>
                  <a:lnTo>
                    <a:pt x="112" y="130"/>
                  </a:lnTo>
                  <a:lnTo>
                    <a:pt x="127" y="130"/>
                  </a:lnTo>
                  <a:lnTo>
                    <a:pt x="134" y="137"/>
                  </a:lnTo>
                  <a:lnTo>
                    <a:pt x="142" y="133"/>
                  </a:lnTo>
                  <a:lnTo>
                    <a:pt x="155" y="100"/>
                  </a:lnTo>
                  <a:lnTo>
                    <a:pt x="163" y="92"/>
                  </a:lnTo>
                  <a:lnTo>
                    <a:pt x="172" y="56"/>
                  </a:lnTo>
                  <a:lnTo>
                    <a:pt x="189" y="40"/>
                  </a:lnTo>
                  <a:lnTo>
                    <a:pt x="183" y="25"/>
                  </a:lnTo>
                  <a:lnTo>
                    <a:pt x="183" y="13"/>
                  </a:lnTo>
                  <a:lnTo>
                    <a:pt x="183" y="1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11" name="Freeform 5719"/>
            <p:cNvSpPr>
              <a:spLocks/>
            </p:cNvSpPr>
            <p:nvPr>
              <p:custDataLst>
                <p:tags r:id="rId91"/>
              </p:custDataLst>
            </p:nvPr>
          </p:nvSpPr>
          <p:spPr bwMode="gray">
            <a:xfrm>
              <a:off x="6424687" y="4092319"/>
              <a:ext cx="127026" cy="151578"/>
            </a:xfrm>
            <a:custGeom>
              <a:avLst/>
              <a:gdLst/>
              <a:ahLst/>
              <a:cxnLst>
                <a:cxn ang="0">
                  <a:pos x="94" y="103"/>
                </a:cxn>
                <a:cxn ang="0">
                  <a:pos x="86" y="77"/>
                </a:cxn>
                <a:cxn ang="0">
                  <a:pos x="99" y="45"/>
                </a:cxn>
                <a:cxn ang="0">
                  <a:pos x="95" y="23"/>
                </a:cxn>
                <a:cxn ang="0">
                  <a:pos x="80" y="13"/>
                </a:cxn>
                <a:cxn ang="0">
                  <a:pos x="60" y="15"/>
                </a:cxn>
                <a:cxn ang="0">
                  <a:pos x="54" y="8"/>
                </a:cxn>
                <a:cxn ang="0">
                  <a:pos x="41" y="8"/>
                </a:cxn>
                <a:cxn ang="0">
                  <a:pos x="36" y="0"/>
                </a:cxn>
                <a:cxn ang="0">
                  <a:pos x="22" y="10"/>
                </a:cxn>
                <a:cxn ang="0">
                  <a:pos x="13" y="6"/>
                </a:cxn>
                <a:cxn ang="0">
                  <a:pos x="9" y="10"/>
                </a:cxn>
                <a:cxn ang="0">
                  <a:pos x="6" y="21"/>
                </a:cxn>
                <a:cxn ang="0">
                  <a:pos x="13" y="40"/>
                </a:cxn>
                <a:cxn ang="0">
                  <a:pos x="4" y="45"/>
                </a:cxn>
                <a:cxn ang="0">
                  <a:pos x="6" y="55"/>
                </a:cxn>
                <a:cxn ang="0">
                  <a:pos x="0" y="58"/>
                </a:cxn>
                <a:cxn ang="0">
                  <a:pos x="2" y="79"/>
                </a:cxn>
                <a:cxn ang="0">
                  <a:pos x="17" y="94"/>
                </a:cxn>
                <a:cxn ang="0">
                  <a:pos x="15" y="118"/>
                </a:cxn>
                <a:cxn ang="0">
                  <a:pos x="41" y="105"/>
                </a:cxn>
                <a:cxn ang="0">
                  <a:pos x="67" y="102"/>
                </a:cxn>
                <a:cxn ang="0">
                  <a:pos x="86" y="105"/>
                </a:cxn>
                <a:cxn ang="0">
                  <a:pos x="94" y="103"/>
                </a:cxn>
                <a:cxn ang="0">
                  <a:pos x="94" y="103"/>
                </a:cxn>
              </a:cxnLst>
              <a:rect l="0" t="0" r="r" b="b"/>
              <a:pathLst>
                <a:path w="99" h="118">
                  <a:moveTo>
                    <a:pt x="94" y="103"/>
                  </a:moveTo>
                  <a:lnTo>
                    <a:pt x="86" y="77"/>
                  </a:lnTo>
                  <a:lnTo>
                    <a:pt x="99" y="45"/>
                  </a:lnTo>
                  <a:lnTo>
                    <a:pt x="95" y="23"/>
                  </a:lnTo>
                  <a:lnTo>
                    <a:pt x="80" y="13"/>
                  </a:lnTo>
                  <a:lnTo>
                    <a:pt x="60" y="15"/>
                  </a:lnTo>
                  <a:lnTo>
                    <a:pt x="54" y="8"/>
                  </a:lnTo>
                  <a:lnTo>
                    <a:pt x="41" y="8"/>
                  </a:lnTo>
                  <a:lnTo>
                    <a:pt x="36" y="0"/>
                  </a:lnTo>
                  <a:lnTo>
                    <a:pt x="22" y="10"/>
                  </a:lnTo>
                  <a:lnTo>
                    <a:pt x="13" y="6"/>
                  </a:lnTo>
                  <a:lnTo>
                    <a:pt x="9" y="10"/>
                  </a:lnTo>
                  <a:lnTo>
                    <a:pt x="6" y="21"/>
                  </a:lnTo>
                  <a:lnTo>
                    <a:pt x="13" y="40"/>
                  </a:lnTo>
                  <a:lnTo>
                    <a:pt x="4" y="45"/>
                  </a:lnTo>
                  <a:lnTo>
                    <a:pt x="6" y="55"/>
                  </a:lnTo>
                  <a:lnTo>
                    <a:pt x="0" y="58"/>
                  </a:lnTo>
                  <a:lnTo>
                    <a:pt x="2" y="79"/>
                  </a:lnTo>
                  <a:lnTo>
                    <a:pt x="17" y="94"/>
                  </a:lnTo>
                  <a:lnTo>
                    <a:pt x="15" y="118"/>
                  </a:lnTo>
                  <a:lnTo>
                    <a:pt x="41" y="105"/>
                  </a:lnTo>
                  <a:lnTo>
                    <a:pt x="67" y="102"/>
                  </a:lnTo>
                  <a:lnTo>
                    <a:pt x="86" y="105"/>
                  </a:lnTo>
                  <a:lnTo>
                    <a:pt x="94" y="103"/>
                  </a:lnTo>
                  <a:lnTo>
                    <a:pt x="94" y="10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12" name="Freeform 5720"/>
            <p:cNvSpPr>
              <a:spLocks/>
            </p:cNvSpPr>
            <p:nvPr>
              <p:custDataLst>
                <p:tags r:id="rId92"/>
              </p:custDataLst>
            </p:nvPr>
          </p:nvSpPr>
          <p:spPr bwMode="gray">
            <a:xfrm>
              <a:off x="6242488" y="3951018"/>
              <a:ext cx="124460" cy="102765"/>
            </a:xfrm>
            <a:custGeom>
              <a:avLst/>
              <a:gdLst/>
              <a:ahLst/>
              <a:cxnLst>
                <a:cxn ang="0">
                  <a:pos x="86" y="35"/>
                </a:cxn>
                <a:cxn ang="0">
                  <a:pos x="97" y="79"/>
                </a:cxn>
                <a:cxn ang="0">
                  <a:pos x="60" y="73"/>
                </a:cxn>
                <a:cxn ang="0">
                  <a:pos x="11" y="79"/>
                </a:cxn>
                <a:cxn ang="0">
                  <a:pos x="9" y="80"/>
                </a:cxn>
                <a:cxn ang="0">
                  <a:pos x="9" y="65"/>
                </a:cxn>
                <a:cxn ang="0">
                  <a:pos x="11" y="67"/>
                </a:cxn>
                <a:cxn ang="0">
                  <a:pos x="35" y="60"/>
                </a:cxn>
                <a:cxn ang="0">
                  <a:pos x="56" y="62"/>
                </a:cxn>
                <a:cxn ang="0">
                  <a:pos x="58" y="58"/>
                </a:cxn>
                <a:cxn ang="0">
                  <a:pos x="35" y="50"/>
                </a:cxn>
                <a:cxn ang="0">
                  <a:pos x="11" y="56"/>
                </a:cxn>
                <a:cxn ang="0">
                  <a:pos x="11" y="56"/>
                </a:cxn>
                <a:cxn ang="0">
                  <a:pos x="11" y="50"/>
                </a:cxn>
                <a:cxn ang="0">
                  <a:pos x="0" y="37"/>
                </a:cxn>
                <a:cxn ang="0">
                  <a:pos x="18" y="15"/>
                </a:cxn>
                <a:cxn ang="0">
                  <a:pos x="30" y="4"/>
                </a:cxn>
                <a:cxn ang="0">
                  <a:pos x="46" y="0"/>
                </a:cxn>
                <a:cxn ang="0">
                  <a:pos x="67" y="13"/>
                </a:cxn>
                <a:cxn ang="0">
                  <a:pos x="86" y="35"/>
                </a:cxn>
                <a:cxn ang="0">
                  <a:pos x="86" y="35"/>
                </a:cxn>
              </a:cxnLst>
              <a:rect l="0" t="0" r="r" b="b"/>
              <a:pathLst>
                <a:path w="97" h="80">
                  <a:moveTo>
                    <a:pt x="86" y="35"/>
                  </a:moveTo>
                  <a:lnTo>
                    <a:pt x="97" y="79"/>
                  </a:lnTo>
                  <a:lnTo>
                    <a:pt x="60" y="73"/>
                  </a:lnTo>
                  <a:lnTo>
                    <a:pt x="11" y="79"/>
                  </a:lnTo>
                  <a:lnTo>
                    <a:pt x="9" y="80"/>
                  </a:lnTo>
                  <a:lnTo>
                    <a:pt x="9" y="65"/>
                  </a:lnTo>
                  <a:lnTo>
                    <a:pt x="11" y="67"/>
                  </a:lnTo>
                  <a:lnTo>
                    <a:pt x="35" y="60"/>
                  </a:lnTo>
                  <a:lnTo>
                    <a:pt x="56" y="62"/>
                  </a:lnTo>
                  <a:lnTo>
                    <a:pt x="58" y="58"/>
                  </a:lnTo>
                  <a:lnTo>
                    <a:pt x="35" y="50"/>
                  </a:lnTo>
                  <a:lnTo>
                    <a:pt x="11" y="56"/>
                  </a:lnTo>
                  <a:lnTo>
                    <a:pt x="11" y="56"/>
                  </a:lnTo>
                  <a:lnTo>
                    <a:pt x="11" y="50"/>
                  </a:lnTo>
                  <a:lnTo>
                    <a:pt x="0" y="37"/>
                  </a:lnTo>
                  <a:lnTo>
                    <a:pt x="18" y="15"/>
                  </a:lnTo>
                  <a:lnTo>
                    <a:pt x="30" y="4"/>
                  </a:lnTo>
                  <a:lnTo>
                    <a:pt x="46" y="0"/>
                  </a:lnTo>
                  <a:lnTo>
                    <a:pt x="67" y="13"/>
                  </a:lnTo>
                  <a:lnTo>
                    <a:pt x="86" y="35"/>
                  </a:lnTo>
                  <a:lnTo>
                    <a:pt x="86" y="3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13" name="Freeform 5721"/>
            <p:cNvSpPr>
              <a:spLocks/>
            </p:cNvSpPr>
            <p:nvPr>
              <p:custDataLst>
                <p:tags r:id="rId93"/>
              </p:custDataLst>
            </p:nvPr>
          </p:nvSpPr>
          <p:spPr bwMode="gray">
            <a:xfrm>
              <a:off x="6757486" y="3476917"/>
              <a:ext cx="71853" cy="164424"/>
            </a:xfrm>
            <a:custGeom>
              <a:avLst/>
              <a:gdLst/>
              <a:ahLst/>
              <a:cxnLst>
                <a:cxn ang="0">
                  <a:pos x="54" y="75"/>
                </a:cxn>
                <a:cxn ang="0">
                  <a:pos x="56" y="90"/>
                </a:cxn>
                <a:cxn ang="0">
                  <a:pos x="40" y="107"/>
                </a:cxn>
                <a:cxn ang="0">
                  <a:pos x="40" y="124"/>
                </a:cxn>
                <a:cxn ang="0">
                  <a:pos x="28" y="128"/>
                </a:cxn>
                <a:cxn ang="0">
                  <a:pos x="25" y="100"/>
                </a:cxn>
                <a:cxn ang="0">
                  <a:pos x="10" y="88"/>
                </a:cxn>
                <a:cxn ang="0">
                  <a:pos x="0" y="66"/>
                </a:cxn>
                <a:cxn ang="0">
                  <a:pos x="13" y="45"/>
                </a:cxn>
                <a:cxn ang="0">
                  <a:pos x="13" y="14"/>
                </a:cxn>
                <a:cxn ang="0">
                  <a:pos x="21" y="6"/>
                </a:cxn>
                <a:cxn ang="0">
                  <a:pos x="32" y="0"/>
                </a:cxn>
                <a:cxn ang="0">
                  <a:pos x="41" y="2"/>
                </a:cxn>
                <a:cxn ang="0">
                  <a:pos x="45" y="12"/>
                </a:cxn>
                <a:cxn ang="0">
                  <a:pos x="54" y="6"/>
                </a:cxn>
                <a:cxn ang="0">
                  <a:pos x="45" y="17"/>
                </a:cxn>
                <a:cxn ang="0">
                  <a:pos x="54" y="38"/>
                </a:cxn>
                <a:cxn ang="0">
                  <a:pos x="40" y="57"/>
                </a:cxn>
                <a:cxn ang="0">
                  <a:pos x="41" y="64"/>
                </a:cxn>
                <a:cxn ang="0">
                  <a:pos x="53" y="66"/>
                </a:cxn>
                <a:cxn ang="0">
                  <a:pos x="54" y="75"/>
                </a:cxn>
                <a:cxn ang="0">
                  <a:pos x="54" y="75"/>
                </a:cxn>
                <a:cxn ang="0">
                  <a:pos x="54" y="75"/>
                </a:cxn>
              </a:cxnLst>
              <a:rect l="0" t="0" r="r" b="b"/>
              <a:pathLst>
                <a:path w="56" h="128">
                  <a:moveTo>
                    <a:pt x="54" y="75"/>
                  </a:moveTo>
                  <a:lnTo>
                    <a:pt x="56" y="90"/>
                  </a:lnTo>
                  <a:lnTo>
                    <a:pt x="40" y="107"/>
                  </a:lnTo>
                  <a:lnTo>
                    <a:pt x="40" y="124"/>
                  </a:lnTo>
                  <a:lnTo>
                    <a:pt x="28" y="128"/>
                  </a:lnTo>
                  <a:lnTo>
                    <a:pt x="25" y="100"/>
                  </a:lnTo>
                  <a:lnTo>
                    <a:pt x="10" y="88"/>
                  </a:lnTo>
                  <a:lnTo>
                    <a:pt x="0" y="66"/>
                  </a:lnTo>
                  <a:lnTo>
                    <a:pt x="13" y="45"/>
                  </a:lnTo>
                  <a:lnTo>
                    <a:pt x="13" y="14"/>
                  </a:lnTo>
                  <a:lnTo>
                    <a:pt x="21" y="6"/>
                  </a:lnTo>
                  <a:lnTo>
                    <a:pt x="32" y="0"/>
                  </a:lnTo>
                  <a:lnTo>
                    <a:pt x="41" y="2"/>
                  </a:lnTo>
                  <a:lnTo>
                    <a:pt x="45" y="12"/>
                  </a:lnTo>
                  <a:lnTo>
                    <a:pt x="54" y="6"/>
                  </a:lnTo>
                  <a:lnTo>
                    <a:pt x="45" y="17"/>
                  </a:lnTo>
                  <a:lnTo>
                    <a:pt x="54" y="38"/>
                  </a:lnTo>
                  <a:lnTo>
                    <a:pt x="40" y="57"/>
                  </a:lnTo>
                  <a:lnTo>
                    <a:pt x="41" y="64"/>
                  </a:lnTo>
                  <a:lnTo>
                    <a:pt x="53" y="66"/>
                  </a:lnTo>
                  <a:lnTo>
                    <a:pt x="54" y="75"/>
                  </a:lnTo>
                  <a:lnTo>
                    <a:pt x="54" y="75"/>
                  </a:lnTo>
                  <a:lnTo>
                    <a:pt x="54" y="7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14" name="Freeform 5722"/>
            <p:cNvSpPr>
              <a:spLocks/>
            </p:cNvSpPr>
            <p:nvPr>
              <p:custDataLst>
                <p:tags r:id="rId94"/>
              </p:custDataLst>
            </p:nvPr>
          </p:nvSpPr>
          <p:spPr bwMode="gray">
            <a:xfrm>
              <a:off x="6445694" y="3325339"/>
              <a:ext cx="232240" cy="181123"/>
            </a:xfrm>
            <a:custGeom>
              <a:avLst/>
              <a:gdLst/>
              <a:ahLst/>
              <a:cxnLst>
                <a:cxn ang="0">
                  <a:pos x="129" y="17"/>
                </a:cxn>
                <a:cxn ang="0">
                  <a:pos x="179" y="21"/>
                </a:cxn>
                <a:cxn ang="0">
                  <a:pos x="181" y="32"/>
                </a:cxn>
                <a:cxn ang="0">
                  <a:pos x="148" y="49"/>
                </a:cxn>
                <a:cxn ang="0">
                  <a:pos x="127" y="77"/>
                </a:cxn>
                <a:cxn ang="0">
                  <a:pos x="135" y="92"/>
                </a:cxn>
                <a:cxn ang="0">
                  <a:pos x="97" y="128"/>
                </a:cxn>
                <a:cxn ang="0">
                  <a:pos x="60" y="130"/>
                </a:cxn>
                <a:cxn ang="0">
                  <a:pos x="45" y="141"/>
                </a:cxn>
                <a:cxn ang="0">
                  <a:pos x="24" y="118"/>
                </a:cxn>
                <a:cxn ang="0">
                  <a:pos x="30" y="100"/>
                </a:cxn>
                <a:cxn ang="0">
                  <a:pos x="24" y="75"/>
                </a:cxn>
                <a:cxn ang="0">
                  <a:pos x="32" y="68"/>
                </a:cxn>
                <a:cxn ang="0">
                  <a:pos x="33" y="53"/>
                </a:cxn>
                <a:cxn ang="0">
                  <a:pos x="43" y="42"/>
                </a:cxn>
                <a:cxn ang="0">
                  <a:pos x="41" y="34"/>
                </a:cxn>
                <a:cxn ang="0">
                  <a:pos x="7" y="32"/>
                </a:cxn>
                <a:cxn ang="0">
                  <a:pos x="0" y="13"/>
                </a:cxn>
                <a:cxn ang="0">
                  <a:pos x="3" y="8"/>
                </a:cxn>
                <a:cxn ang="0">
                  <a:pos x="18" y="0"/>
                </a:cxn>
                <a:cxn ang="0">
                  <a:pos x="71" y="8"/>
                </a:cxn>
                <a:cxn ang="0">
                  <a:pos x="103" y="8"/>
                </a:cxn>
                <a:cxn ang="0">
                  <a:pos x="110" y="6"/>
                </a:cxn>
                <a:cxn ang="0">
                  <a:pos x="129" y="17"/>
                </a:cxn>
                <a:cxn ang="0">
                  <a:pos x="129" y="17"/>
                </a:cxn>
              </a:cxnLst>
              <a:rect l="0" t="0" r="r" b="b"/>
              <a:pathLst>
                <a:path w="181" h="141">
                  <a:moveTo>
                    <a:pt x="129" y="17"/>
                  </a:moveTo>
                  <a:lnTo>
                    <a:pt x="179" y="21"/>
                  </a:lnTo>
                  <a:lnTo>
                    <a:pt x="181" y="32"/>
                  </a:lnTo>
                  <a:lnTo>
                    <a:pt x="148" y="49"/>
                  </a:lnTo>
                  <a:lnTo>
                    <a:pt x="127" y="77"/>
                  </a:lnTo>
                  <a:lnTo>
                    <a:pt x="135" y="92"/>
                  </a:lnTo>
                  <a:lnTo>
                    <a:pt x="97" y="128"/>
                  </a:lnTo>
                  <a:lnTo>
                    <a:pt x="60" y="130"/>
                  </a:lnTo>
                  <a:lnTo>
                    <a:pt x="45" y="141"/>
                  </a:lnTo>
                  <a:lnTo>
                    <a:pt x="24" y="118"/>
                  </a:lnTo>
                  <a:lnTo>
                    <a:pt x="30" y="100"/>
                  </a:lnTo>
                  <a:lnTo>
                    <a:pt x="24" y="75"/>
                  </a:lnTo>
                  <a:lnTo>
                    <a:pt x="32" y="68"/>
                  </a:lnTo>
                  <a:lnTo>
                    <a:pt x="33" y="53"/>
                  </a:lnTo>
                  <a:lnTo>
                    <a:pt x="43" y="42"/>
                  </a:lnTo>
                  <a:lnTo>
                    <a:pt x="41" y="34"/>
                  </a:lnTo>
                  <a:lnTo>
                    <a:pt x="7" y="32"/>
                  </a:lnTo>
                  <a:lnTo>
                    <a:pt x="0" y="13"/>
                  </a:lnTo>
                  <a:lnTo>
                    <a:pt x="3" y="8"/>
                  </a:lnTo>
                  <a:lnTo>
                    <a:pt x="18" y="0"/>
                  </a:lnTo>
                  <a:lnTo>
                    <a:pt x="71" y="8"/>
                  </a:lnTo>
                  <a:lnTo>
                    <a:pt x="103" y="8"/>
                  </a:lnTo>
                  <a:lnTo>
                    <a:pt x="110" y="6"/>
                  </a:lnTo>
                  <a:lnTo>
                    <a:pt x="129" y="17"/>
                  </a:lnTo>
                  <a:lnTo>
                    <a:pt x="129" y="17"/>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15" name="Freeform 5723"/>
            <p:cNvSpPr>
              <a:spLocks/>
            </p:cNvSpPr>
            <p:nvPr>
              <p:custDataLst>
                <p:tags r:id="rId95"/>
              </p:custDataLst>
            </p:nvPr>
          </p:nvSpPr>
          <p:spPr bwMode="gray">
            <a:xfrm>
              <a:off x="6432863" y="3366445"/>
              <a:ext cx="68004" cy="115610"/>
            </a:xfrm>
            <a:custGeom>
              <a:avLst/>
              <a:gdLst/>
              <a:ahLst/>
              <a:cxnLst>
                <a:cxn ang="0">
                  <a:pos x="40" y="68"/>
                </a:cxn>
                <a:cxn ang="0">
                  <a:pos x="34" y="43"/>
                </a:cxn>
                <a:cxn ang="0">
                  <a:pos x="42" y="36"/>
                </a:cxn>
                <a:cxn ang="0">
                  <a:pos x="43" y="21"/>
                </a:cxn>
                <a:cxn ang="0">
                  <a:pos x="53" y="10"/>
                </a:cxn>
                <a:cxn ang="0">
                  <a:pos x="51" y="2"/>
                </a:cxn>
                <a:cxn ang="0">
                  <a:pos x="17" y="0"/>
                </a:cxn>
                <a:cxn ang="0">
                  <a:pos x="15" y="15"/>
                </a:cxn>
                <a:cxn ang="0">
                  <a:pos x="0" y="58"/>
                </a:cxn>
                <a:cxn ang="0">
                  <a:pos x="10" y="64"/>
                </a:cxn>
                <a:cxn ang="0">
                  <a:pos x="4" y="90"/>
                </a:cxn>
                <a:cxn ang="0">
                  <a:pos x="34" y="86"/>
                </a:cxn>
                <a:cxn ang="0">
                  <a:pos x="40" y="68"/>
                </a:cxn>
                <a:cxn ang="0">
                  <a:pos x="40" y="68"/>
                </a:cxn>
              </a:cxnLst>
              <a:rect l="0" t="0" r="r" b="b"/>
              <a:pathLst>
                <a:path w="53" h="90">
                  <a:moveTo>
                    <a:pt x="40" y="68"/>
                  </a:moveTo>
                  <a:lnTo>
                    <a:pt x="34" y="43"/>
                  </a:lnTo>
                  <a:lnTo>
                    <a:pt x="42" y="36"/>
                  </a:lnTo>
                  <a:lnTo>
                    <a:pt x="43" y="21"/>
                  </a:lnTo>
                  <a:lnTo>
                    <a:pt x="53" y="10"/>
                  </a:lnTo>
                  <a:lnTo>
                    <a:pt x="51" y="2"/>
                  </a:lnTo>
                  <a:lnTo>
                    <a:pt x="17" y="0"/>
                  </a:lnTo>
                  <a:lnTo>
                    <a:pt x="15" y="15"/>
                  </a:lnTo>
                  <a:lnTo>
                    <a:pt x="0" y="58"/>
                  </a:lnTo>
                  <a:lnTo>
                    <a:pt x="10" y="64"/>
                  </a:lnTo>
                  <a:lnTo>
                    <a:pt x="4" y="90"/>
                  </a:lnTo>
                  <a:lnTo>
                    <a:pt x="34" y="86"/>
                  </a:lnTo>
                  <a:lnTo>
                    <a:pt x="40" y="68"/>
                  </a:lnTo>
                  <a:lnTo>
                    <a:pt x="40" y="68"/>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16" name="Freeform 5724"/>
            <p:cNvSpPr>
              <a:spLocks/>
            </p:cNvSpPr>
            <p:nvPr>
              <p:custDataLst>
                <p:tags r:id="rId96"/>
              </p:custDataLst>
            </p:nvPr>
          </p:nvSpPr>
          <p:spPr bwMode="gray">
            <a:xfrm>
              <a:off x="6539360" y="3151924"/>
              <a:ext cx="232240" cy="200391"/>
            </a:xfrm>
            <a:custGeom>
              <a:avLst/>
              <a:gdLst/>
              <a:ahLst/>
              <a:cxnLst>
                <a:cxn ang="0">
                  <a:pos x="174" y="64"/>
                </a:cxn>
                <a:cxn ang="0">
                  <a:pos x="181" y="42"/>
                </a:cxn>
                <a:cxn ang="0">
                  <a:pos x="157" y="30"/>
                </a:cxn>
                <a:cxn ang="0">
                  <a:pos x="150" y="29"/>
                </a:cxn>
                <a:cxn ang="0">
                  <a:pos x="140" y="27"/>
                </a:cxn>
                <a:cxn ang="0">
                  <a:pos x="138" y="19"/>
                </a:cxn>
                <a:cxn ang="0">
                  <a:pos x="129" y="21"/>
                </a:cxn>
                <a:cxn ang="0">
                  <a:pos x="110" y="2"/>
                </a:cxn>
                <a:cxn ang="0">
                  <a:pos x="108" y="0"/>
                </a:cxn>
                <a:cxn ang="0">
                  <a:pos x="95" y="8"/>
                </a:cxn>
                <a:cxn ang="0">
                  <a:pos x="90" y="21"/>
                </a:cxn>
                <a:cxn ang="0">
                  <a:pos x="71" y="27"/>
                </a:cxn>
                <a:cxn ang="0">
                  <a:pos x="69" y="36"/>
                </a:cxn>
                <a:cxn ang="0">
                  <a:pos x="52" y="36"/>
                </a:cxn>
                <a:cxn ang="0">
                  <a:pos x="50" y="27"/>
                </a:cxn>
                <a:cxn ang="0">
                  <a:pos x="41" y="27"/>
                </a:cxn>
                <a:cxn ang="0">
                  <a:pos x="47" y="47"/>
                </a:cxn>
                <a:cxn ang="0">
                  <a:pos x="30" y="49"/>
                </a:cxn>
                <a:cxn ang="0">
                  <a:pos x="24" y="44"/>
                </a:cxn>
                <a:cxn ang="0">
                  <a:pos x="0" y="49"/>
                </a:cxn>
                <a:cxn ang="0">
                  <a:pos x="0" y="59"/>
                </a:cxn>
                <a:cxn ang="0">
                  <a:pos x="30" y="66"/>
                </a:cxn>
                <a:cxn ang="0">
                  <a:pos x="47" y="89"/>
                </a:cxn>
                <a:cxn ang="0">
                  <a:pos x="50" y="96"/>
                </a:cxn>
                <a:cxn ang="0">
                  <a:pos x="41" y="135"/>
                </a:cxn>
                <a:cxn ang="0">
                  <a:pos x="37" y="141"/>
                </a:cxn>
                <a:cxn ang="0">
                  <a:pos x="56" y="152"/>
                </a:cxn>
                <a:cxn ang="0">
                  <a:pos x="106" y="156"/>
                </a:cxn>
                <a:cxn ang="0">
                  <a:pos x="106" y="148"/>
                </a:cxn>
                <a:cxn ang="0">
                  <a:pos x="121" y="139"/>
                </a:cxn>
                <a:cxn ang="0">
                  <a:pos x="157" y="147"/>
                </a:cxn>
                <a:cxn ang="0">
                  <a:pos x="174" y="133"/>
                </a:cxn>
                <a:cxn ang="0">
                  <a:pos x="163" y="115"/>
                </a:cxn>
                <a:cxn ang="0">
                  <a:pos x="166" y="96"/>
                </a:cxn>
                <a:cxn ang="0">
                  <a:pos x="163" y="87"/>
                </a:cxn>
                <a:cxn ang="0">
                  <a:pos x="153" y="90"/>
                </a:cxn>
                <a:cxn ang="0">
                  <a:pos x="151" y="85"/>
                </a:cxn>
                <a:cxn ang="0">
                  <a:pos x="166" y="66"/>
                </a:cxn>
                <a:cxn ang="0">
                  <a:pos x="174" y="64"/>
                </a:cxn>
                <a:cxn ang="0">
                  <a:pos x="174" y="64"/>
                </a:cxn>
                <a:cxn ang="0">
                  <a:pos x="174" y="64"/>
                </a:cxn>
              </a:cxnLst>
              <a:rect l="0" t="0" r="r" b="b"/>
              <a:pathLst>
                <a:path w="181" h="156">
                  <a:moveTo>
                    <a:pt x="174" y="64"/>
                  </a:moveTo>
                  <a:lnTo>
                    <a:pt x="181" y="42"/>
                  </a:lnTo>
                  <a:lnTo>
                    <a:pt x="157" y="30"/>
                  </a:lnTo>
                  <a:lnTo>
                    <a:pt x="150" y="29"/>
                  </a:lnTo>
                  <a:lnTo>
                    <a:pt x="140" y="27"/>
                  </a:lnTo>
                  <a:lnTo>
                    <a:pt x="138" y="19"/>
                  </a:lnTo>
                  <a:lnTo>
                    <a:pt x="129" y="21"/>
                  </a:lnTo>
                  <a:lnTo>
                    <a:pt x="110" y="2"/>
                  </a:lnTo>
                  <a:lnTo>
                    <a:pt x="108" y="0"/>
                  </a:lnTo>
                  <a:lnTo>
                    <a:pt x="95" y="8"/>
                  </a:lnTo>
                  <a:lnTo>
                    <a:pt x="90" y="21"/>
                  </a:lnTo>
                  <a:lnTo>
                    <a:pt x="71" y="27"/>
                  </a:lnTo>
                  <a:lnTo>
                    <a:pt x="69" y="36"/>
                  </a:lnTo>
                  <a:lnTo>
                    <a:pt x="52" y="36"/>
                  </a:lnTo>
                  <a:lnTo>
                    <a:pt x="50" y="27"/>
                  </a:lnTo>
                  <a:lnTo>
                    <a:pt x="41" y="27"/>
                  </a:lnTo>
                  <a:lnTo>
                    <a:pt x="47" y="47"/>
                  </a:lnTo>
                  <a:lnTo>
                    <a:pt x="30" y="49"/>
                  </a:lnTo>
                  <a:lnTo>
                    <a:pt x="24" y="44"/>
                  </a:lnTo>
                  <a:lnTo>
                    <a:pt x="0" y="49"/>
                  </a:lnTo>
                  <a:lnTo>
                    <a:pt x="0" y="59"/>
                  </a:lnTo>
                  <a:lnTo>
                    <a:pt x="30" y="66"/>
                  </a:lnTo>
                  <a:lnTo>
                    <a:pt x="47" y="89"/>
                  </a:lnTo>
                  <a:lnTo>
                    <a:pt x="50" y="96"/>
                  </a:lnTo>
                  <a:lnTo>
                    <a:pt x="41" y="135"/>
                  </a:lnTo>
                  <a:lnTo>
                    <a:pt x="37" y="141"/>
                  </a:lnTo>
                  <a:lnTo>
                    <a:pt x="56" y="152"/>
                  </a:lnTo>
                  <a:lnTo>
                    <a:pt x="106" y="156"/>
                  </a:lnTo>
                  <a:lnTo>
                    <a:pt x="106" y="148"/>
                  </a:lnTo>
                  <a:lnTo>
                    <a:pt x="121" y="139"/>
                  </a:lnTo>
                  <a:lnTo>
                    <a:pt x="157" y="147"/>
                  </a:lnTo>
                  <a:lnTo>
                    <a:pt x="174" y="133"/>
                  </a:lnTo>
                  <a:lnTo>
                    <a:pt x="163" y="115"/>
                  </a:lnTo>
                  <a:lnTo>
                    <a:pt x="166" y="96"/>
                  </a:lnTo>
                  <a:lnTo>
                    <a:pt x="163" y="87"/>
                  </a:lnTo>
                  <a:lnTo>
                    <a:pt x="153" y="90"/>
                  </a:lnTo>
                  <a:lnTo>
                    <a:pt x="151" y="85"/>
                  </a:lnTo>
                  <a:lnTo>
                    <a:pt x="166" y="66"/>
                  </a:lnTo>
                  <a:lnTo>
                    <a:pt x="174" y="64"/>
                  </a:lnTo>
                  <a:lnTo>
                    <a:pt x="174" y="64"/>
                  </a:lnTo>
                  <a:lnTo>
                    <a:pt x="174" y="64"/>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17" name="Freeform 5725"/>
            <p:cNvSpPr>
              <a:spLocks/>
            </p:cNvSpPr>
            <p:nvPr>
              <p:custDataLst>
                <p:tags r:id="rId97"/>
              </p:custDataLst>
            </p:nvPr>
          </p:nvSpPr>
          <p:spPr bwMode="gray">
            <a:xfrm>
              <a:off x="6748504" y="3246981"/>
              <a:ext cx="220692" cy="213237"/>
            </a:xfrm>
            <a:custGeom>
              <a:avLst/>
              <a:gdLst/>
              <a:ahLst/>
              <a:cxnLst>
                <a:cxn ang="0">
                  <a:pos x="0" y="41"/>
                </a:cxn>
                <a:cxn ang="0">
                  <a:pos x="3" y="22"/>
                </a:cxn>
                <a:cxn ang="0">
                  <a:pos x="3" y="22"/>
                </a:cxn>
                <a:cxn ang="0">
                  <a:pos x="24" y="13"/>
                </a:cxn>
                <a:cxn ang="0">
                  <a:pos x="32" y="20"/>
                </a:cxn>
                <a:cxn ang="0">
                  <a:pos x="37" y="13"/>
                </a:cxn>
                <a:cxn ang="0">
                  <a:pos x="48" y="15"/>
                </a:cxn>
                <a:cxn ang="0">
                  <a:pos x="52" y="5"/>
                </a:cxn>
                <a:cxn ang="0">
                  <a:pos x="54" y="5"/>
                </a:cxn>
                <a:cxn ang="0">
                  <a:pos x="76" y="0"/>
                </a:cxn>
                <a:cxn ang="0">
                  <a:pos x="78" y="5"/>
                </a:cxn>
                <a:cxn ang="0">
                  <a:pos x="99" y="11"/>
                </a:cxn>
                <a:cxn ang="0">
                  <a:pos x="97" y="16"/>
                </a:cxn>
                <a:cxn ang="0">
                  <a:pos x="103" y="26"/>
                </a:cxn>
                <a:cxn ang="0">
                  <a:pos x="99" y="28"/>
                </a:cxn>
                <a:cxn ang="0">
                  <a:pos x="99" y="30"/>
                </a:cxn>
                <a:cxn ang="0">
                  <a:pos x="91" y="24"/>
                </a:cxn>
                <a:cxn ang="0">
                  <a:pos x="78" y="30"/>
                </a:cxn>
                <a:cxn ang="0">
                  <a:pos x="80" y="52"/>
                </a:cxn>
                <a:cxn ang="0">
                  <a:pos x="99" y="67"/>
                </a:cxn>
                <a:cxn ang="0">
                  <a:pos x="108" y="86"/>
                </a:cxn>
                <a:cxn ang="0">
                  <a:pos x="125" y="95"/>
                </a:cxn>
                <a:cxn ang="0">
                  <a:pos x="136" y="95"/>
                </a:cxn>
                <a:cxn ang="0">
                  <a:pos x="133" y="103"/>
                </a:cxn>
                <a:cxn ang="0">
                  <a:pos x="172" y="127"/>
                </a:cxn>
                <a:cxn ang="0">
                  <a:pos x="170" y="133"/>
                </a:cxn>
                <a:cxn ang="0">
                  <a:pos x="150" y="119"/>
                </a:cxn>
                <a:cxn ang="0">
                  <a:pos x="144" y="136"/>
                </a:cxn>
                <a:cxn ang="0">
                  <a:pos x="151" y="140"/>
                </a:cxn>
                <a:cxn ang="0">
                  <a:pos x="151" y="148"/>
                </a:cxn>
                <a:cxn ang="0">
                  <a:pos x="144" y="151"/>
                </a:cxn>
                <a:cxn ang="0">
                  <a:pos x="136" y="166"/>
                </a:cxn>
                <a:cxn ang="0">
                  <a:pos x="133" y="166"/>
                </a:cxn>
                <a:cxn ang="0">
                  <a:pos x="138" y="151"/>
                </a:cxn>
                <a:cxn ang="0">
                  <a:pos x="131" y="129"/>
                </a:cxn>
                <a:cxn ang="0">
                  <a:pos x="99" y="106"/>
                </a:cxn>
                <a:cxn ang="0">
                  <a:pos x="82" y="103"/>
                </a:cxn>
                <a:cxn ang="0">
                  <a:pos x="69" y="86"/>
                </a:cxn>
                <a:cxn ang="0">
                  <a:pos x="61" y="86"/>
                </a:cxn>
                <a:cxn ang="0">
                  <a:pos x="48" y="56"/>
                </a:cxn>
                <a:cxn ang="0">
                  <a:pos x="28" y="50"/>
                </a:cxn>
                <a:cxn ang="0">
                  <a:pos x="11" y="59"/>
                </a:cxn>
                <a:cxn ang="0">
                  <a:pos x="0" y="41"/>
                </a:cxn>
                <a:cxn ang="0">
                  <a:pos x="0" y="41"/>
                </a:cxn>
              </a:cxnLst>
              <a:rect l="0" t="0" r="r" b="b"/>
              <a:pathLst>
                <a:path w="172" h="166">
                  <a:moveTo>
                    <a:pt x="0" y="41"/>
                  </a:moveTo>
                  <a:lnTo>
                    <a:pt x="3" y="22"/>
                  </a:lnTo>
                  <a:lnTo>
                    <a:pt x="3" y="22"/>
                  </a:lnTo>
                  <a:lnTo>
                    <a:pt x="24" y="13"/>
                  </a:lnTo>
                  <a:lnTo>
                    <a:pt x="32" y="20"/>
                  </a:lnTo>
                  <a:lnTo>
                    <a:pt x="37" y="13"/>
                  </a:lnTo>
                  <a:lnTo>
                    <a:pt x="48" y="15"/>
                  </a:lnTo>
                  <a:lnTo>
                    <a:pt x="52" y="5"/>
                  </a:lnTo>
                  <a:lnTo>
                    <a:pt x="54" y="5"/>
                  </a:lnTo>
                  <a:lnTo>
                    <a:pt x="76" y="0"/>
                  </a:lnTo>
                  <a:lnTo>
                    <a:pt x="78" y="5"/>
                  </a:lnTo>
                  <a:lnTo>
                    <a:pt x="99" y="11"/>
                  </a:lnTo>
                  <a:lnTo>
                    <a:pt x="97" y="16"/>
                  </a:lnTo>
                  <a:lnTo>
                    <a:pt x="103" y="26"/>
                  </a:lnTo>
                  <a:lnTo>
                    <a:pt x="99" y="28"/>
                  </a:lnTo>
                  <a:lnTo>
                    <a:pt x="99" y="30"/>
                  </a:lnTo>
                  <a:lnTo>
                    <a:pt x="91" y="24"/>
                  </a:lnTo>
                  <a:lnTo>
                    <a:pt x="78" y="30"/>
                  </a:lnTo>
                  <a:lnTo>
                    <a:pt x="80" y="52"/>
                  </a:lnTo>
                  <a:lnTo>
                    <a:pt x="99" y="67"/>
                  </a:lnTo>
                  <a:lnTo>
                    <a:pt x="108" y="86"/>
                  </a:lnTo>
                  <a:lnTo>
                    <a:pt x="125" y="95"/>
                  </a:lnTo>
                  <a:lnTo>
                    <a:pt x="136" y="95"/>
                  </a:lnTo>
                  <a:lnTo>
                    <a:pt x="133" y="103"/>
                  </a:lnTo>
                  <a:lnTo>
                    <a:pt x="172" y="127"/>
                  </a:lnTo>
                  <a:lnTo>
                    <a:pt x="170" y="133"/>
                  </a:lnTo>
                  <a:lnTo>
                    <a:pt x="150" y="119"/>
                  </a:lnTo>
                  <a:lnTo>
                    <a:pt x="144" y="136"/>
                  </a:lnTo>
                  <a:lnTo>
                    <a:pt x="151" y="140"/>
                  </a:lnTo>
                  <a:lnTo>
                    <a:pt x="151" y="148"/>
                  </a:lnTo>
                  <a:lnTo>
                    <a:pt x="144" y="151"/>
                  </a:lnTo>
                  <a:lnTo>
                    <a:pt x="136" y="166"/>
                  </a:lnTo>
                  <a:lnTo>
                    <a:pt x="133" y="166"/>
                  </a:lnTo>
                  <a:lnTo>
                    <a:pt x="138" y="151"/>
                  </a:lnTo>
                  <a:lnTo>
                    <a:pt x="131" y="129"/>
                  </a:lnTo>
                  <a:lnTo>
                    <a:pt x="99" y="106"/>
                  </a:lnTo>
                  <a:lnTo>
                    <a:pt x="82" y="103"/>
                  </a:lnTo>
                  <a:lnTo>
                    <a:pt x="69" y="86"/>
                  </a:lnTo>
                  <a:lnTo>
                    <a:pt x="61" y="86"/>
                  </a:lnTo>
                  <a:lnTo>
                    <a:pt x="48" y="56"/>
                  </a:lnTo>
                  <a:lnTo>
                    <a:pt x="28" y="50"/>
                  </a:lnTo>
                  <a:lnTo>
                    <a:pt x="11" y="59"/>
                  </a:lnTo>
                  <a:lnTo>
                    <a:pt x="0" y="41"/>
                  </a:lnTo>
                  <a:lnTo>
                    <a:pt x="0" y="41"/>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18" name="Freeform 5726"/>
            <p:cNvSpPr>
              <a:spLocks/>
            </p:cNvSpPr>
            <p:nvPr>
              <p:custDataLst>
                <p:tags r:id="rId98"/>
              </p:custDataLst>
            </p:nvPr>
          </p:nvSpPr>
          <p:spPr bwMode="gray">
            <a:xfrm>
              <a:off x="7041049" y="3316347"/>
              <a:ext cx="120611" cy="66797"/>
            </a:xfrm>
            <a:custGeom>
              <a:avLst/>
              <a:gdLst/>
              <a:ahLst/>
              <a:cxnLst>
                <a:cxn ang="0">
                  <a:pos x="68" y="0"/>
                </a:cxn>
                <a:cxn ang="0">
                  <a:pos x="45" y="7"/>
                </a:cxn>
                <a:cxn ang="0">
                  <a:pos x="23" y="5"/>
                </a:cxn>
                <a:cxn ang="0">
                  <a:pos x="6" y="0"/>
                </a:cxn>
                <a:cxn ang="0">
                  <a:pos x="0" y="5"/>
                </a:cxn>
                <a:cxn ang="0">
                  <a:pos x="4" y="20"/>
                </a:cxn>
                <a:cxn ang="0">
                  <a:pos x="2" y="34"/>
                </a:cxn>
                <a:cxn ang="0">
                  <a:pos x="11" y="50"/>
                </a:cxn>
                <a:cxn ang="0">
                  <a:pos x="34" y="45"/>
                </a:cxn>
                <a:cxn ang="0">
                  <a:pos x="49" y="52"/>
                </a:cxn>
                <a:cxn ang="0">
                  <a:pos x="62" y="41"/>
                </a:cxn>
                <a:cxn ang="0">
                  <a:pos x="86" y="41"/>
                </a:cxn>
                <a:cxn ang="0">
                  <a:pos x="77" y="30"/>
                </a:cxn>
                <a:cxn ang="0">
                  <a:pos x="83" y="15"/>
                </a:cxn>
                <a:cxn ang="0">
                  <a:pos x="92" y="13"/>
                </a:cxn>
                <a:cxn ang="0">
                  <a:pos x="94" y="7"/>
                </a:cxn>
                <a:cxn ang="0">
                  <a:pos x="68" y="0"/>
                </a:cxn>
                <a:cxn ang="0">
                  <a:pos x="68" y="0"/>
                </a:cxn>
              </a:cxnLst>
              <a:rect l="0" t="0" r="r" b="b"/>
              <a:pathLst>
                <a:path w="94" h="52">
                  <a:moveTo>
                    <a:pt x="68" y="0"/>
                  </a:moveTo>
                  <a:lnTo>
                    <a:pt x="45" y="7"/>
                  </a:lnTo>
                  <a:lnTo>
                    <a:pt x="23" y="5"/>
                  </a:lnTo>
                  <a:lnTo>
                    <a:pt x="6" y="0"/>
                  </a:lnTo>
                  <a:lnTo>
                    <a:pt x="0" y="5"/>
                  </a:lnTo>
                  <a:lnTo>
                    <a:pt x="4" y="20"/>
                  </a:lnTo>
                  <a:lnTo>
                    <a:pt x="2" y="34"/>
                  </a:lnTo>
                  <a:lnTo>
                    <a:pt x="11" y="50"/>
                  </a:lnTo>
                  <a:lnTo>
                    <a:pt x="34" y="45"/>
                  </a:lnTo>
                  <a:lnTo>
                    <a:pt x="49" y="52"/>
                  </a:lnTo>
                  <a:lnTo>
                    <a:pt x="62" y="41"/>
                  </a:lnTo>
                  <a:lnTo>
                    <a:pt x="86" y="41"/>
                  </a:lnTo>
                  <a:lnTo>
                    <a:pt x="77" y="30"/>
                  </a:lnTo>
                  <a:lnTo>
                    <a:pt x="83" y="15"/>
                  </a:lnTo>
                  <a:lnTo>
                    <a:pt x="92" y="13"/>
                  </a:lnTo>
                  <a:lnTo>
                    <a:pt x="94" y="7"/>
                  </a:lnTo>
                  <a:lnTo>
                    <a:pt x="68" y="0"/>
                  </a:lnTo>
                  <a:lnTo>
                    <a:pt x="68"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19" name="Freeform 5727"/>
            <p:cNvSpPr>
              <a:spLocks/>
            </p:cNvSpPr>
            <p:nvPr>
              <p:custDataLst>
                <p:tags r:id="rId99"/>
              </p:custDataLst>
            </p:nvPr>
          </p:nvSpPr>
          <p:spPr bwMode="gray">
            <a:xfrm>
              <a:off x="7002556" y="3369014"/>
              <a:ext cx="118045" cy="101480"/>
            </a:xfrm>
            <a:custGeom>
              <a:avLst/>
              <a:gdLst/>
              <a:ahLst/>
              <a:cxnLst>
                <a:cxn ang="0">
                  <a:pos x="92" y="0"/>
                </a:cxn>
                <a:cxn ang="0">
                  <a:pos x="79" y="11"/>
                </a:cxn>
                <a:cxn ang="0">
                  <a:pos x="64" y="4"/>
                </a:cxn>
                <a:cxn ang="0">
                  <a:pos x="41" y="9"/>
                </a:cxn>
                <a:cxn ang="0">
                  <a:pos x="13" y="19"/>
                </a:cxn>
                <a:cxn ang="0">
                  <a:pos x="13" y="19"/>
                </a:cxn>
                <a:cxn ang="0">
                  <a:pos x="13" y="24"/>
                </a:cxn>
                <a:cxn ang="0">
                  <a:pos x="0" y="39"/>
                </a:cxn>
                <a:cxn ang="0">
                  <a:pos x="0" y="41"/>
                </a:cxn>
                <a:cxn ang="0">
                  <a:pos x="15" y="66"/>
                </a:cxn>
                <a:cxn ang="0">
                  <a:pos x="38" y="66"/>
                </a:cxn>
                <a:cxn ang="0">
                  <a:pos x="60" y="79"/>
                </a:cxn>
                <a:cxn ang="0">
                  <a:pos x="60" y="68"/>
                </a:cxn>
                <a:cxn ang="0">
                  <a:pos x="70" y="71"/>
                </a:cxn>
                <a:cxn ang="0">
                  <a:pos x="49" y="54"/>
                </a:cxn>
                <a:cxn ang="0">
                  <a:pos x="36" y="34"/>
                </a:cxn>
                <a:cxn ang="0">
                  <a:pos x="36" y="23"/>
                </a:cxn>
                <a:cxn ang="0">
                  <a:pos x="53" y="32"/>
                </a:cxn>
                <a:cxn ang="0">
                  <a:pos x="51" y="23"/>
                </a:cxn>
                <a:cxn ang="0">
                  <a:pos x="60" y="17"/>
                </a:cxn>
                <a:cxn ang="0">
                  <a:pos x="83" y="19"/>
                </a:cxn>
                <a:cxn ang="0">
                  <a:pos x="88" y="24"/>
                </a:cxn>
                <a:cxn ang="0">
                  <a:pos x="92" y="0"/>
                </a:cxn>
                <a:cxn ang="0">
                  <a:pos x="92" y="0"/>
                </a:cxn>
              </a:cxnLst>
              <a:rect l="0" t="0" r="r" b="b"/>
              <a:pathLst>
                <a:path w="92" h="79">
                  <a:moveTo>
                    <a:pt x="92" y="0"/>
                  </a:moveTo>
                  <a:lnTo>
                    <a:pt x="79" y="11"/>
                  </a:lnTo>
                  <a:lnTo>
                    <a:pt x="64" y="4"/>
                  </a:lnTo>
                  <a:lnTo>
                    <a:pt x="41" y="9"/>
                  </a:lnTo>
                  <a:lnTo>
                    <a:pt x="13" y="19"/>
                  </a:lnTo>
                  <a:lnTo>
                    <a:pt x="13" y="19"/>
                  </a:lnTo>
                  <a:lnTo>
                    <a:pt x="13" y="24"/>
                  </a:lnTo>
                  <a:lnTo>
                    <a:pt x="0" y="39"/>
                  </a:lnTo>
                  <a:lnTo>
                    <a:pt x="0" y="41"/>
                  </a:lnTo>
                  <a:lnTo>
                    <a:pt x="15" y="66"/>
                  </a:lnTo>
                  <a:lnTo>
                    <a:pt x="38" y="66"/>
                  </a:lnTo>
                  <a:lnTo>
                    <a:pt x="60" y="79"/>
                  </a:lnTo>
                  <a:lnTo>
                    <a:pt x="60" y="68"/>
                  </a:lnTo>
                  <a:lnTo>
                    <a:pt x="70" y="71"/>
                  </a:lnTo>
                  <a:lnTo>
                    <a:pt x="49" y="54"/>
                  </a:lnTo>
                  <a:lnTo>
                    <a:pt x="36" y="34"/>
                  </a:lnTo>
                  <a:lnTo>
                    <a:pt x="36" y="23"/>
                  </a:lnTo>
                  <a:lnTo>
                    <a:pt x="53" y="32"/>
                  </a:lnTo>
                  <a:lnTo>
                    <a:pt x="51" y="23"/>
                  </a:lnTo>
                  <a:lnTo>
                    <a:pt x="60" y="17"/>
                  </a:lnTo>
                  <a:lnTo>
                    <a:pt x="83" y="19"/>
                  </a:lnTo>
                  <a:lnTo>
                    <a:pt x="88" y="24"/>
                  </a:lnTo>
                  <a:lnTo>
                    <a:pt x="92" y="0"/>
                  </a:lnTo>
                  <a:lnTo>
                    <a:pt x="92"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20" name="Freeform 5728"/>
            <p:cNvSpPr>
              <a:spLocks/>
            </p:cNvSpPr>
            <p:nvPr>
              <p:custDataLst>
                <p:tags r:id="rId100"/>
              </p:custDataLst>
            </p:nvPr>
          </p:nvSpPr>
          <p:spPr bwMode="gray">
            <a:xfrm>
              <a:off x="6997424" y="3220005"/>
              <a:ext cx="178350" cy="105334"/>
            </a:xfrm>
            <a:custGeom>
              <a:avLst/>
              <a:gdLst/>
              <a:ahLst/>
              <a:cxnLst>
                <a:cxn ang="0">
                  <a:pos x="120" y="47"/>
                </a:cxn>
                <a:cxn ang="0">
                  <a:pos x="122" y="52"/>
                </a:cxn>
                <a:cxn ang="0">
                  <a:pos x="139" y="52"/>
                </a:cxn>
                <a:cxn ang="0">
                  <a:pos x="137" y="62"/>
                </a:cxn>
                <a:cxn ang="0">
                  <a:pos x="126" y="71"/>
                </a:cxn>
                <a:cxn ang="0">
                  <a:pos x="128" y="82"/>
                </a:cxn>
                <a:cxn ang="0">
                  <a:pos x="102" y="75"/>
                </a:cxn>
                <a:cxn ang="0">
                  <a:pos x="79" y="82"/>
                </a:cxn>
                <a:cxn ang="0">
                  <a:pos x="57" y="80"/>
                </a:cxn>
                <a:cxn ang="0">
                  <a:pos x="40" y="75"/>
                </a:cxn>
                <a:cxn ang="0">
                  <a:pos x="34" y="64"/>
                </a:cxn>
                <a:cxn ang="0">
                  <a:pos x="19" y="62"/>
                </a:cxn>
                <a:cxn ang="0">
                  <a:pos x="0" y="37"/>
                </a:cxn>
                <a:cxn ang="0">
                  <a:pos x="0" y="37"/>
                </a:cxn>
                <a:cxn ang="0">
                  <a:pos x="14" y="34"/>
                </a:cxn>
                <a:cxn ang="0">
                  <a:pos x="27" y="9"/>
                </a:cxn>
                <a:cxn ang="0">
                  <a:pos x="36" y="6"/>
                </a:cxn>
                <a:cxn ang="0">
                  <a:pos x="66" y="7"/>
                </a:cxn>
                <a:cxn ang="0">
                  <a:pos x="89" y="0"/>
                </a:cxn>
                <a:cxn ang="0">
                  <a:pos x="96" y="2"/>
                </a:cxn>
                <a:cxn ang="0">
                  <a:pos x="113" y="26"/>
                </a:cxn>
                <a:cxn ang="0">
                  <a:pos x="120" y="47"/>
                </a:cxn>
                <a:cxn ang="0">
                  <a:pos x="120" y="47"/>
                </a:cxn>
              </a:cxnLst>
              <a:rect l="0" t="0" r="r" b="b"/>
              <a:pathLst>
                <a:path w="139" h="82">
                  <a:moveTo>
                    <a:pt x="120" y="47"/>
                  </a:moveTo>
                  <a:lnTo>
                    <a:pt x="122" y="52"/>
                  </a:lnTo>
                  <a:lnTo>
                    <a:pt x="139" y="52"/>
                  </a:lnTo>
                  <a:lnTo>
                    <a:pt x="137" y="62"/>
                  </a:lnTo>
                  <a:lnTo>
                    <a:pt x="126" y="71"/>
                  </a:lnTo>
                  <a:lnTo>
                    <a:pt x="128" y="82"/>
                  </a:lnTo>
                  <a:lnTo>
                    <a:pt x="102" y="75"/>
                  </a:lnTo>
                  <a:lnTo>
                    <a:pt x="79" y="82"/>
                  </a:lnTo>
                  <a:lnTo>
                    <a:pt x="57" y="80"/>
                  </a:lnTo>
                  <a:lnTo>
                    <a:pt x="40" y="75"/>
                  </a:lnTo>
                  <a:lnTo>
                    <a:pt x="34" y="64"/>
                  </a:lnTo>
                  <a:lnTo>
                    <a:pt x="19" y="62"/>
                  </a:lnTo>
                  <a:lnTo>
                    <a:pt x="0" y="37"/>
                  </a:lnTo>
                  <a:lnTo>
                    <a:pt x="0" y="37"/>
                  </a:lnTo>
                  <a:lnTo>
                    <a:pt x="14" y="34"/>
                  </a:lnTo>
                  <a:lnTo>
                    <a:pt x="27" y="9"/>
                  </a:lnTo>
                  <a:lnTo>
                    <a:pt x="36" y="6"/>
                  </a:lnTo>
                  <a:lnTo>
                    <a:pt x="66" y="7"/>
                  </a:lnTo>
                  <a:lnTo>
                    <a:pt x="89" y="0"/>
                  </a:lnTo>
                  <a:lnTo>
                    <a:pt x="96" y="2"/>
                  </a:lnTo>
                  <a:lnTo>
                    <a:pt x="113" y="26"/>
                  </a:lnTo>
                  <a:lnTo>
                    <a:pt x="120" y="47"/>
                  </a:lnTo>
                  <a:lnTo>
                    <a:pt x="120" y="4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21" name="Freeform 5729"/>
            <p:cNvSpPr>
              <a:spLocks/>
            </p:cNvSpPr>
            <p:nvPr>
              <p:custDataLst>
                <p:tags r:id="rId101"/>
              </p:custDataLst>
            </p:nvPr>
          </p:nvSpPr>
          <p:spPr bwMode="gray">
            <a:xfrm>
              <a:off x="6872964" y="3250835"/>
              <a:ext cx="52607" cy="34683"/>
            </a:xfrm>
            <a:custGeom>
              <a:avLst/>
              <a:gdLst/>
              <a:ahLst/>
              <a:cxnLst>
                <a:cxn ang="0">
                  <a:pos x="2" y="27"/>
                </a:cxn>
                <a:cxn ang="0">
                  <a:pos x="2" y="25"/>
                </a:cxn>
                <a:cxn ang="0">
                  <a:pos x="6" y="23"/>
                </a:cxn>
                <a:cxn ang="0">
                  <a:pos x="0" y="13"/>
                </a:cxn>
                <a:cxn ang="0">
                  <a:pos x="2" y="8"/>
                </a:cxn>
                <a:cxn ang="0">
                  <a:pos x="38" y="0"/>
                </a:cxn>
                <a:cxn ang="0">
                  <a:pos x="41" y="4"/>
                </a:cxn>
                <a:cxn ang="0">
                  <a:pos x="41" y="4"/>
                </a:cxn>
                <a:cxn ang="0">
                  <a:pos x="28" y="13"/>
                </a:cxn>
                <a:cxn ang="0">
                  <a:pos x="26" y="23"/>
                </a:cxn>
                <a:cxn ang="0">
                  <a:pos x="17" y="21"/>
                </a:cxn>
                <a:cxn ang="0">
                  <a:pos x="8" y="27"/>
                </a:cxn>
                <a:cxn ang="0">
                  <a:pos x="2" y="27"/>
                </a:cxn>
                <a:cxn ang="0">
                  <a:pos x="2" y="27"/>
                </a:cxn>
              </a:cxnLst>
              <a:rect l="0" t="0" r="r" b="b"/>
              <a:pathLst>
                <a:path w="41" h="27">
                  <a:moveTo>
                    <a:pt x="2" y="27"/>
                  </a:moveTo>
                  <a:lnTo>
                    <a:pt x="2" y="25"/>
                  </a:lnTo>
                  <a:lnTo>
                    <a:pt x="6" y="23"/>
                  </a:lnTo>
                  <a:lnTo>
                    <a:pt x="0" y="13"/>
                  </a:lnTo>
                  <a:lnTo>
                    <a:pt x="2" y="8"/>
                  </a:lnTo>
                  <a:lnTo>
                    <a:pt x="38" y="0"/>
                  </a:lnTo>
                  <a:lnTo>
                    <a:pt x="41" y="4"/>
                  </a:lnTo>
                  <a:lnTo>
                    <a:pt x="41" y="4"/>
                  </a:lnTo>
                  <a:lnTo>
                    <a:pt x="28" y="13"/>
                  </a:lnTo>
                  <a:lnTo>
                    <a:pt x="26" y="23"/>
                  </a:lnTo>
                  <a:lnTo>
                    <a:pt x="17" y="21"/>
                  </a:lnTo>
                  <a:lnTo>
                    <a:pt x="8" y="27"/>
                  </a:lnTo>
                  <a:lnTo>
                    <a:pt x="2" y="27"/>
                  </a:lnTo>
                  <a:lnTo>
                    <a:pt x="2" y="2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22" name="Freeform 5730"/>
            <p:cNvSpPr>
              <a:spLocks/>
            </p:cNvSpPr>
            <p:nvPr>
              <p:custDataLst>
                <p:tags r:id="rId102"/>
              </p:custDataLst>
            </p:nvPr>
          </p:nvSpPr>
          <p:spPr bwMode="gray">
            <a:xfrm>
              <a:off x="6875530" y="3255973"/>
              <a:ext cx="107780" cy="96342"/>
            </a:xfrm>
            <a:custGeom>
              <a:avLst/>
              <a:gdLst/>
              <a:ahLst/>
              <a:cxnLst>
                <a:cxn ang="0">
                  <a:pos x="75" y="15"/>
                </a:cxn>
                <a:cxn ang="0">
                  <a:pos x="62" y="17"/>
                </a:cxn>
                <a:cxn ang="0">
                  <a:pos x="39" y="0"/>
                </a:cxn>
                <a:cxn ang="0">
                  <a:pos x="39" y="0"/>
                </a:cxn>
                <a:cxn ang="0">
                  <a:pos x="26" y="9"/>
                </a:cxn>
                <a:cxn ang="0">
                  <a:pos x="24" y="19"/>
                </a:cxn>
                <a:cxn ang="0">
                  <a:pos x="15" y="17"/>
                </a:cxn>
                <a:cxn ang="0">
                  <a:pos x="6" y="23"/>
                </a:cxn>
                <a:cxn ang="0">
                  <a:pos x="0" y="23"/>
                </a:cxn>
                <a:cxn ang="0">
                  <a:pos x="2" y="34"/>
                </a:cxn>
                <a:cxn ang="0">
                  <a:pos x="7" y="24"/>
                </a:cxn>
                <a:cxn ang="0">
                  <a:pos x="17" y="32"/>
                </a:cxn>
                <a:cxn ang="0">
                  <a:pos x="24" y="49"/>
                </a:cxn>
                <a:cxn ang="0">
                  <a:pos x="66" y="75"/>
                </a:cxn>
                <a:cxn ang="0">
                  <a:pos x="69" y="71"/>
                </a:cxn>
                <a:cxn ang="0">
                  <a:pos x="41" y="45"/>
                </a:cxn>
                <a:cxn ang="0">
                  <a:pos x="36" y="34"/>
                </a:cxn>
                <a:cxn ang="0">
                  <a:pos x="37" y="26"/>
                </a:cxn>
                <a:cxn ang="0">
                  <a:pos x="69" y="30"/>
                </a:cxn>
                <a:cxn ang="0">
                  <a:pos x="81" y="32"/>
                </a:cxn>
                <a:cxn ang="0">
                  <a:pos x="84" y="28"/>
                </a:cxn>
                <a:cxn ang="0">
                  <a:pos x="79" y="24"/>
                </a:cxn>
                <a:cxn ang="0">
                  <a:pos x="75" y="15"/>
                </a:cxn>
                <a:cxn ang="0">
                  <a:pos x="75" y="15"/>
                </a:cxn>
              </a:cxnLst>
              <a:rect l="0" t="0" r="r" b="b"/>
              <a:pathLst>
                <a:path w="84" h="75">
                  <a:moveTo>
                    <a:pt x="75" y="15"/>
                  </a:moveTo>
                  <a:lnTo>
                    <a:pt x="62" y="17"/>
                  </a:lnTo>
                  <a:lnTo>
                    <a:pt x="39" y="0"/>
                  </a:lnTo>
                  <a:lnTo>
                    <a:pt x="39" y="0"/>
                  </a:lnTo>
                  <a:lnTo>
                    <a:pt x="26" y="9"/>
                  </a:lnTo>
                  <a:lnTo>
                    <a:pt x="24" y="19"/>
                  </a:lnTo>
                  <a:lnTo>
                    <a:pt x="15" y="17"/>
                  </a:lnTo>
                  <a:lnTo>
                    <a:pt x="6" y="23"/>
                  </a:lnTo>
                  <a:lnTo>
                    <a:pt x="0" y="23"/>
                  </a:lnTo>
                  <a:lnTo>
                    <a:pt x="2" y="34"/>
                  </a:lnTo>
                  <a:lnTo>
                    <a:pt x="7" y="24"/>
                  </a:lnTo>
                  <a:lnTo>
                    <a:pt x="17" y="32"/>
                  </a:lnTo>
                  <a:lnTo>
                    <a:pt x="24" y="49"/>
                  </a:lnTo>
                  <a:lnTo>
                    <a:pt x="66" y="75"/>
                  </a:lnTo>
                  <a:lnTo>
                    <a:pt x="69" y="71"/>
                  </a:lnTo>
                  <a:lnTo>
                    <a:pt x="41" y="45"/>
                  </a:lnTo>
                  <a:lnTo>
                    <a:pt x="36" y="34"/>
                  </a:lnTo>
                  <a:lnTo>
                    <a:pt x="37" y="26"/>
                  </a:lnTo>
                  <a:lnTo>
                    <a:pt x="69" y="30"/>
                  </a:lnTo>
                  <a:lnTo>
                    <a:pt x="81" y="32"/>
                  </a:lnTo>
                  <a:lnTo>
                    <a:pt x="84" y="28"/>
                  </a:lnTo>
                  <a:lnTo>
                    <a:pt x="79" y="24"/>
                  </a:lnTo>
                  <a:lnTo>
                    <a:pt x="75" y="15"/>
                  </a:lnTo>
                  <a:lnTo>
                    <a:pt x="75" y="1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23" name="Freeform 5731"/>
            <p:cNvSpPr>
              <a:spLocks/>
            </p:cNvSpPr>
            <p:nvPr>
              <p:custDataLst>
                <p:tags r:id="rId103"/>
              </p:custDataLst>
            </p:nvPr>
          </p:nvSpPr>
          <p:spPr bwMode="gray">
            <a:xfrm>
              <a:off x="6921722" y="3289372"/>
              <a:ext cx="66721" cy="57805"/>
            </a:xfrm>
            <a:custGeom>
              <a:avLst/>
              <a:gdLst/>
              <a:ahLst/>
              <a:cxnLst>
                <a:cxn ang="0">
                  <a:pos x="45" y="6"/>
                </a:cxn>
                <a:cxn ang="0">
                  <a:pos x="48" y="10"/>
                </a:cxn>
                <a:cxn ang="0">
                  <a:pos x="46" y="19"/>
                </a:cxn>
                <a:cxn ang="0">
                  <a:pos x="52" y="21"/>
                </a:cxn>
                <a:cxn ang="0">
                  <a:pos x="48" y="30"/>
                </a:cxn>
                <a:cxn ang="0">
                  <a:pos x="37" y="30"/>
                </a:cxn>
                <a:cxn ang="0">
                  <a:pos x="33" y="45"/>
                </a:cxn>
                <a:cxn ang="0">
                  <a:pos x="5" y="19"/>
                </a:cxn>
                <a:cxn ang="0">
                  <a:pos x="0" y="8"/>
                </a:cxn>
                <a:cxn ang="0">
                  <a:pos x="1" y="0"/>
                </a:cxn>
                <a:cxn ang="0">
                  <a:pos x="33" y="4"/>
                </a:cxn>
                <a:cxn ang="0">
                  <a:pos x="45" y="6"/>
                </a:cxn>
                <a:cxn ang="0">
                  <a:pos x="45" y="6"/>
                </a:cxn>
              </a:cxnLst>
              <a:rect l="0" t="0" r="r" b="b"/>
              <a:pathLst>
                <a:path w="52" h="45">
                  <a:moveTo>
                    <a:pt x="45" y="6"/>
                  </a:moveTo>
                  <a:lnTo>
                    <a:pt x="48" y="10"/>
                  </a:lnTo>
                  <a:lnTo>
                    <a:pt x="46" y="19"/>
                  </a:lnTo>
                  <a:lnTo>
                    <a:pt x="52" y="21"/>
                  </a:lnTo>
                  <a:lnTo>
                    <a:pt x="48" y="30"/>
                  </a:lnTo>
                  <a:lnTo>
                    <a:pt x="37" y="30"/>
                  </a:lnTo>
                  <a:lnTo>
                    <a:pt x="33" y="45"/>
                  </a:lnTo>
                  <a:lnTo>
                    <a:pt x="5" y="19"/>
                  </a:lnTo>
                  <a:lnTo>
                    <a:pt x="0" y="8"/>
                  </a:lnTo>
                  <a:lnTo>
                    <a:pt x="1" y="0"/>
                  </a:lnTo>
                  <a:lnTo>
                    <a:pt x="33" y="4"/>
                  </a:lnTo>
                  <a:lnTo>
                    <a:pt x="45" y="6"/>
                  </a:lnTo>
                  <a:lnTo>
                    <a:pt x="45" y="6"/>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24" name="Freeform 5732"/>
            <p:cNvSpPr>
              <a:spLocks/>
            </p:cNvSpPr>
            <p:nvPr>
              <p:custDataLst>
                <p:tags r:id="rId104"/>
              </p:custDataLst>
            </p:nvPr>
          </p:nvSpPr>
          <p:spPr bwMode="gray">
            <a:xfrm>
              <a:off x="6960214" y="3327908"/>
              <a:ext cx="37210" cy="41106"/>
            </a:xfrm>
            <a:custGeom>
              <a:avLst/>
              <a:gdLst/>
              <a:ahLst/>
              <a:cxnLst>
                <a:cxn ang="0">
                  <a:pos x="0" y="19"/>
                </a:cxn>
                <a:cxn ang="0">
                  <a:pos x="20" y="32"/>
                </a:cxn>
                <a:cxn ang="0">
                  <a:pos x="20" y="32"/>
                </a:cxn>
                <a:cxn ang="0">
                  <a:pos x="24" y="17"/>
                </a:cxn>
                <a:cxn ang="0">
                  <a:pos x="29" y="11"/>
                </a:cxn>
                <a:cxn ang="0">
                  <a:pos x="18" y="0"/>
                </a:cxn>
                <a:cxn ang="0">
                  <a:pos x="7" y="0"/>
                </a:cxn>
                <a:cxn ang="0">
                  <a:pos x="3" y="15"/>
                </a:cxn>
                <a:cxn ang="0">
                  <a:pos x="0" y="19"/>
                </a:cxn>
                <a:cxn ang="0">
                  <a:pos x="0" y="19"/>
                </a:cxn>
              </a:cxnLst>
              <a:rect l="0" t="0" r="r" b="b"/>
              <a:pathLst>
                <a:path w="29" h="32">
                  <a:moveTo>
                    <a:pt x="0" y="19"/>
                  </a:moveTo>
                  <a:lnTo>
                    <a:pt x="20" y="32"/>
                  </a:lnTo>
                  <a:lnTo>
                    <a:pt x="20" y="32"/>
                  </a:lnTo>
                  <a:lnTo>
                    <a:pt x="24" y="17"/>
                  </a:lnTo>
                  <a:lnTo>
                    <a:pt x="29" y="11"/>
                  </a:lnTo>
                  <a:lnTo>
                    <a:pt x="18" y="0"/>
                  </a:lnTo>
                  <a:lnTo>
                    <a:pt x="7" y="0"/>
                  </a:lnTo>
                  <a:lnTo>
                    <a:pt x="3" y="15"/>
                  </a:lnTo>
                  <a:lnTo>
                    <a:pt x="0" y="19"/>
                  </a:lnTo>
                  <a:lnTo>
                    <a:pt x="0" y="1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25" name="Freeform 5733"/>
            <p:cNvSpPr>
              <a:spLocks/>
            </p:cNvSpPr>
            <p:nvPr>
              <p:custDataLst>
                <p:tags r:id="rId105"/>
              </p:custDataLst>
            </p:nvPr>
          </p:nvSpPr>
          <p:spPr bwMode="gray">
            <a:xfrm>
              <a:off x="6971762" y="3267534"/>
              <a:ext cx="76986" cy="106618"/>
            </a:xfrm>
            <a:custGeom>
              <a:avLst/>
              <a:gdLst/>
              <a:ahLst/>
              <a:cxnLst>
                <a:cxn ang="0">
                  <a:pos x="30" y="83"/>
                </a:cxn>
                <a:cxn ang="0">
                  <a:pos x="22" y="68"/>
                </a:cxn>
                <a:cxn ang="0">
                  <a:pos x="15" y="64"/>
                </a:cxn>
                <a:cxn ang="0">
                  <a:pos x="20" y="58"/>
                </a:cxn>
                <a:cxn ang="0">
                  <a:pos x="9" y="47"/>
                </a:cxn>
                <a:cxn ang="0">
                  <a:pos x="13" y="38"/>
                </a:cxn>
                <a:cxn ang="0">
                  <a:pos x="7" y="36"/>
                </a:cxn>
                <a:cxn ang="0">
                  <a:pos x="9" y="27"/>
                </a:cxn>
                <a:cxn ang="0">
                  <a:pos x="6" y="23"/>
                </a:cxn>
                <a:cxn ang="0">
                  <a:pos x="9" y="19"/>
                </a:cxn>
                <a:cxn ang="0">
                  <a:pos x="4" y="15"/>
                </a:cxn>
                <a:cxn ang="0">
                  <a:pos x="0" y="6"/>
                </a:cxn>
                <a:cxn ang="0">
                  <a:pos x="20" y="0"/>
                </a:cxn>
                <a:cxn ang="0">
                  <a:pos x="39" y="25"/>
                </a:cxn>
                <a:cxn ang="0">
                  <a:pos x="54" y="27"/>
                </a:cxn>
                <a:cxn ang="0">
                  <a:pos x="60" y="38"/>
                </a:cxn>
                <a:cxn ang="0">
                  <a:pos x="54" y="43"/>
                </a:cxn>
                <a:cxn ang="0">
                  <a:pos x="58" y="58"/>
                </a:cxn>
                <a:cxn ang="0">
                  <a:pos x="56" y="72"/>
                </a:cxn>
                <a:cxn ang="0">
                  <a:pos x="41" y="72"/>
                </a:cxn>
                <a:cxn ang="0">
                  <a:pos x="30" y="83"/>
                </a:cxn>
                <a:cxn ang="0">
                  <a:pos x="30" y="83"/>
                </a:cxn>
              </a:cxnLst>
              <a:rect l="0" t="0" r="r" b="b"/>
              <a:pathLst>
                <a:path w="60" h="83">
                  <a:moveTo>
                    <a:pt x="30" y="83"/>
                  </a:moveTo>
                  <a:lnTo>
                    <a:pt x="22" y="68"/>
                  </a:lnTo>
                  <a:lnTo>
                    <a:pt x="15" y="64"/>
                  </a:lnTo>
                  <a:lnTo>
                    <a:pt x="20" y="58"/>
                  </a:lnTo>
                  <a:lnTo>
                    <a:pt x="9" y="47"/>
                  </a:lnTo>
                  <a:lnTo>
                    <a:pt x="13" y="38"/>
                  </a:lnTo>
                  <a:lnTo>
                    <a:pt x="7" y="36"/>
                  </a:lnTo>
                  <a:lnTo>
                    <a:pt x="9" y="27"/>
                  </a:lnTo>
                  <a:lnTo>
                    <a:pt x="6" y="23"/>
                  </a:lnTo>
                  <a:lnTo>
                    <a:pt x="9" y="19"/>
                  </a:lnTo>
                  <a:lnTo>
                    <a:pt x="4" y="15"/>
                  </a:lnTo>
                  <a:lnTo>
                    <a:pt x="0" y="6"/>
                  </a:lnTo>
                  <a:lnTo>
                    <a:pt x="20" y="0"/>
                  </a:lnTo>
                  <a:lnTo>
                    <a:pt x="39" y="25"/>
                  </a:lnTo>
                  <a:lnTo>
                    <a:pt x="54" y="27"/>
                  </a:lnTo>
                  <a:lnTo>
                    <a:pt x="60" y="38"/>
                  </a:lnTo>
                  <a:lnTo>
                    <a:pt x="54" y="43"/>
                  </a:lnTo>
                  <a:lnTo>
                    <a:pt x="58" y="58"/>
                  </a:lnTo>
                  <a:lnTo>
                    <a:pt x="56" y="72"/>
                  </a:lnTo>
                  <a:lnTo>
                    <a:pt x="41" y="72"/>
                  </a:lnTo>
                  <a:lnTo>
                    <a:pt x="30" y="83"/>
                  </a:lnTo>
                  <a:lnTo>
                    <a:pt x="30" y="8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26" name="Freeform 5734"/>
            <p:cNvSpPr>
              <a:spLocks/>
            </p:cNvSpPr>
            <p:nvPr>
              <p:custDataLst>
                <p:tags r:id="rId106"/>
              </p:custDataLst>
            </p:nvPr>
          </p:nvSpPr>
          <p:spPr bwMode="gray">
            <a:xfrm>
              <a:off x="7010255" y="3360022"/>
              <a:ext cx="44908" cy="33399"/>
            </a:xfrm>
            <a:custGeom>
              <a:avLst/>
              <a:gdLst/>
              <a:ahLst/>
              <a:cxnLst>
                <a:cxn ang="0">
                  <a:pos x="35" y="16"/>
                </a:cxn>
                <a:cxn ang="0">
                  <a:pos x="26" y="0"/>
                </a:cxn>
                <a:cxn ang="0">
                  <a:pos x="11" y="0"/>
                </a:cxn>
                <a:cxn ang="0">
                  <a:pos x="0" y="11"/>
                </a:cxn>
                <a:cxn ang="0">
                  <a:pos x="7" y="26"/>
                </a:cxn>
                <a:cxn ang="0">
                  <a:pos x="35" y="16"/>
                </a:cxn>
                <a:cxn ang="0">
                  <a:pos x="35" y="16"/>
                </a:cxn>
              </a:cxnLst>
              <a:rect l="0" t="0" r="r" b="b"/>
              <a:pathLst>
                <a:path w="35" h="26">
                  <a:moveTo>
                    <a:pt x="35" y="16"/>
                  </a:moveTo>
                  <a:lnTo>
                    <a:pt x="26" y="0"/>
                  </a:lnTo>
                  <a:lnTo>
                    <a:pt x="11" y="0"/>
                  </a:lnTo>
                  <a:lnTo>
                    <a:pt x="0" y="11"/>
                  </a:lnTo>
                  <a:lnTo>
                    <a:pt x="7" y="26"/>
                  </a:lnTo>
                  <a:lnTo>
                    <a:pt x="35" y="16"/>
                  </a:lnTo>
                  <a:lnTo>
                    <a:pt x="35" y="16"/>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27" name="Freeform 5735"/>
            <p:cNvSpPr>
              <a:spLocks/>
            </p:cNvSpPr>
            <p:nvPr>
              <p:custDataLst>
                <p:tags r:id="rId107"/>
              </p:custDataLst>
            </p:nvPr>
          </p:nvSpPr>
          <p:spPr bwMode="gray">
            <a:xfrm>
              <a:off x="6854523" y="4003685"/>
              <a:ext cx="46191" cy="38537"/>
            </a:xfrm>
            <a:custGeom>
              <a:avLst/>
              <a:gdLst/>
              <a:ahLst/>
              <a:cxnLst>
                <a:cxn ang="0">
                  <a:pos x="0" y="2"/>
                </a:cxn>
                <a:cxn ang="0">
                  <a:pos x="17" y="30"/>
                </a:cxn>
                <a:cxn ang="0">
                  <a:pos x="32" y="24"/>
                </a:cxn>
                <a:cxn ang="0">
                  <a:pos x="36" y="15"/>
                </a:cxn>
                <a:cxn ang="0">
                  <a:pos x="17" y="13"/>
                </a:cxn>
                <a:cxn ang="0">
                  <a:pos x="13" y="0"/>
                </a:cxn>
                <a:cxn ang="0">
                  <a:pos x="0" y="2"/>
                </a:cxn>
                <a:cxn ang="0">
                  <a:pos x="0" y="2"/>
                </a:cxn>
              </a:cxnLst>
              <a:rect l="0" t="0" r="r" b="b"/>
              <a:pathLst>
                <a:path w="36" h="30">
                  <a:moveTo>
                    <a:pt x="0" y="2"/>
                  </a:moveTo>
                  <a:lnTo>
                    <a:pt x="17" y="30"/>
                  </a:lnTo>
                  <a:lnTo>
                    <a:pt x="32" y="24"/>
                  </a:lnTo>
                  <a:lnTo>
                    <a:pt x="36" y="15"/>
                  </a:lnTo>
                  <a:lnTo>
                    <a:pt x="17" y="13"/>
                  </a:lnTo>
                  <a:lnTo>
                    <a:pt x="13" y="0"/>
                  </a:lnTo>
                  <a:lnTo>
                    <a:pt x="0" y="2"/>
                  </a:lnTo>
                  <a:lnTo>
                    <a:pt x="0" y="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28" name="Freeform 5736"/>
            <p:cNvSpPr>
              <a:spLocks/>
            </p:cNvSpPr>
            <p:nvPr>
              <p:custDataLst>
                <p:tags r:id="rId108"/>
              </p:custDataLst>
            </p:nvPr>
          </p:nvSpPr>
          <p:spPr bwMode="gray">
            <a:xfrm>
              <a:off x="7263829" y="4561183"/>
              <a:ext cx="64155" cy="178554"/>
            </a:xfrm>
            <a:custGeom>
              <a:avLst/>
              <a:gdLst/>
              <a:ahLst/>
              <a:cxnLst>
                <a:cxn ang="0">
                  <a:pos x="37" y="83"/>
                </a:cxn>
                <a:cxn ang="0">
                  <a:pos x="39" y="94"/>
                </a:cxn>
                <a:cxn ang="0">
                  <a:pos x="24" y="75"/>
                </a:cxn>
                <a:cxn ang="0">
                  <a:pos x="20" y="51"/>
                </a:cxn>
                <a:cxn ang="0">
                  <a:pos x="26" y="43"/>
                </a:cxn>
                <a:cxn ang="0">
                  <a:pos x="22" y="4"/>
                </a:cxn>
                <a:cxn ang="0">
                  <a:pos x="20" y="4"/>
                </a:cxn>
                <a:cxn ang="0">
                  <a:pos x="5" y="0"/>
                </a:cxn>
                <a:cxn ang="0">
                  <a:pos x="15" y="25"/>
                </a:cxn>
                <a:cxn ang="0">
                  <a:pos x="9" y="40"/>
                </a:cxn>
                <a:cxn ang="0">
                  <a:pos x="11" y="55"/>
                </a:cxn>
                <a:cxn ang="0">
                  <a:pos x="0" y="79"/>
                </a:cxn>
                <a:cxn ang="0">
                  <a:pos x="5" y="86"/>
                </a:cxn>
                <a:cxn ang="0">
                  <a:pos x="13" y="96"/>
                </a:cxn>
                <a:cxn ang="0">
                  <a:pos x="26" y="96"/>
                </a:cxn>
                <a:cxn ang="0">
                  <a:pos x="24" y="120"/>
                </a:cxn>
                <a:cxn ang="0">
                  <a:pos x="35" y="139"/>
                </a:cxn>
                <a:cxn ang="0">
                  <a:pos x="48" y="118"/>
                </a:cxn>
                <a:cxn ang="0">
                  <a:pos x="50" y="101"/>
                </a:cxn>
                <a:cxn ang="0">
                  <a:pos x="37" y="83"/>
                </a:cxn>
              </a:cxnLst>
              <a:rect l="0" t="0" r="r" b="b"/>
              <a:pathLst>
                <a:path w="50" h="139">
                  <a:moveTo>
                    <a:pt x="37" y="83"/>
                  </a:moveTo>
                  <a:lnTo>
                    <a:pt x="39" y="94"/>
                  </a:lnTo>
                  <a:lnTo>
                    <a:pt x="24" y="75"/>
                  </a:lnTo>
                  <a:lnTo>
                    <a:pt x="20" y="51"/>
                  </a:lnTo>
                  <a:lnTo>
                    <a:pt x="26" y="43"/>
                  </a:lnTo>
                  <a:lnTo>
                    <a:pt x="22" y="4"/>
                  </a:lnTo>
                  <a:lnTo>
                    <a:pt x="20" y="4"/>
                  </a:lnTo>
                  <a:lnTo>
                    <a:pt x="5" y="0"/>
                  </a:lnTo>
                  <a:lnTo>
                    <a:pt x="15" y="25"/>
                  </a:lnTo>
                  <a:lnTo>
                    <a:pt x="9" y="40"/>
                  </a:lnTo>
                  <a:lnTo>
                    <a:pt x="11" y="55"/>
                  </a:lnTo>
                  <a:lnTo>
                    <a:pt x="0" y="79"/>
                  </a:lnTo>
                  <a:lnTo>
                    <a:pt x="5" y="86"/>
                  </a:lnTo>
                  <a:lnTo>
                    <a:pt x="13" y="96"/>
                  </a:lnTo>
                  <a:lnTo>
                    <a:pt x="26" y="96"/>
                  </a:lnTo>
                  <a:lnTo>
                    <a:pt x="24" y="120"/>
                  </a:lnTo>
                  <a:lnTo>
                    <a:pt x="35" y="139"/>
                  </a:lnTo>
                  <a:lnTo>
                    <a:pt x="48" y="118"/>
                  </a:lnTo>
                  <a:lnTo>
                    <a:pt x="50" y="101"/>
                  </a:lnTo>
                  <a:lnTo>
                    <a:pt x="37" y="8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29" name="Freeform 5737"/>
            <p:cNvSpPr>
              <a:spLocks/>
            </p:cNvSpPr>
            <p:nvPr>
              <p:custDataLst>
                <p:tags r:id="rId109"/>
              </p:custDataLst>
            </p:nvPr>
          </p:nvSpPr>
          <p:spPr bwMode="gray">
            <a:xfrm>
              <a:off x="6883229" y="3070997"/>
              <a:ext cx="177067" cy="129740"/>
            </a:xfrm>
            <a:custGeom>
              <a:avLst/>
              <a:gdLst/>
              <a:ahLst/>
              <a:cxnLst>
                <a:cxn ang="0">
                  <a:pos x="131" y="56"/>
                </a:cxn>
                <a:cxn ang="0">
                  <a:pos x="127" y="47"/>
                </a:cxn>
                <a:cxn ang="0">
                  <a:pos x="133" y="34"/>
                </a:cxn>
                <a:cxn ang="0">
                  <a:pos x="127" y="13"/>
                </a:cxn>
                <a:cxn ang="0">
                  <a:pos x="118" y="7"/>
                </a:cxn>
                <a:cxn ang="0">
                  <a:pos x="73" y="5"/>
                </a:cxn>
                <a:cxn ang="0">
                  <a:pos x="69" y="9"/>
                </a:cxn>
                <a:cxn ang="0">
                  <a:pos x="61" y="9"/>
                </a:cxn>
                <a:cxn ang="0">
                  <a:pos x="56" y="0"/>
                </a:cxn>
                <a:cxn ang="0">
                  <a:pos x="0" y="19"/>
                </a:cxn>
                <a:cxn ang="0">
                  <a:pos x="7" y="69"/>
                </a:cxn>
                <a:cxn ang="0">
                  <a:pos x="22" y="71"/>
                </a:cxn>
                <a:cxn ang="0">
                  <a:pos x="37" y="82"/>
                </a:cxn>
                <a:cxn ang="0">
                  <a:pos x="39" y="77"/>
                </a:cxn>
                <a:cxn ang="0">
                  <a:pos x="56" y="84"/>
                </a:cxn>
                <a:cxn ang="0">
                  <a:pos x="84" y="99"/>
                </a:cxn>
                <a:cxn ang="0">
                  <a:pos x="104" y="95"/>
                </a:cxn>
                <a:cxn ang="0">
                  <a:pos x="118" y="101"/>
                </a:cxn>
                <a:cxn ang="0">
                  <a:pos x="138" y="77"/>
                </a:cxn>
                <a:cxn ang="0">
                  <a:pos x="131" y="56"/>
                </a:cxn>
                <a:cxn ang="0">
                  <a:pos x="131" y="56"/>
                </a:cxn>
              </a:cxnLst>
              <a:rect l="0" t="0" r="r" b="b"/>
              <a:pathLst>
                <a:path w="138" h="101">
                  <a:moveTo>
                    <a:pt x="131" y="56"/>
                  </a:moveTo>
                  <a:lnTo>
                    <a:pt x="127" y="47"/>
                  </a:lnTo>
                  <a:lnTo>
                    <a:pt x="133" y="34"/>
                  </a:lnTo>
                  <a:lnTo>
                    <a:pt x="127" y="13"/>
                  </a:lnTo>
                  <a:lnTo>
                    <a:pt x="118" y="7"/>
                  </a:lnTo>
                  <a:lnTo>
                    <a:pt x="73" y="5"/>
                  </a:lnTo>
                  <a:lnTo>
                    <a:pt x="69" y="9"/>
                  </a:lnTo>
                  <a:lnTo>
                    <a:pt x="61" y="9"/>
                  </a:lnTo>
                  <a:lnTo>
                    <a:pt x="56" y="0"/>
                  </a:lnTo>
                  <a:lnTo>
                    <a:pt x="0" y="19"/>
                  </a:lnTo>
                  <a:lnTo>
                    <a:pt x="7" y="69"/>
                  </a:lnTo>
                  <a:lnTo>
                    <a:pt x="22" y="71"/>
                  </a:lnTo>
                  <a:lnTo>
                    <a:pt x="37" y="82"/>
                  </a:lnTo>
                  <a:lnTo>
                    <a:pt x="39" y="77"/>
                  </a:lnTo>
                  <a:lnTo>
                    <a:pt x="56" y="84"/>
                  </a:lnTo>
                  <a:lnTo>
                    <a:pt x="84" y="99"/>
                  </a:lnTo>
                  <a:lnTo>
                    <a:pt x="104" y="95"/>
                  </a:lnTo>
                  <a:lnTo>
                    <a:pt x="118" y="101"/>
                  </a:lnTo>
                  <a:lnTo>
                    <a:pt x="138" y="77"/>
                  </a:lnTo>
                  <a:lnTo>
                    <a:pt x="131" y="56"/>
                  </a:lnTo>
                  <a:lnTo>
                    <a:pt x="131" y="56"/>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30" name="Freeform 5738"/>
            <p:cNvSpPr>
              <a:spLocks/>
            </p:cNvSpPr>
            <p:nvPr>
              <p:custDataLst>
                <p:tags r:id="rId110"/>
              </p:custDataLst>
            </p:nvPr>
          </p:nvSpPr>
          <p:spPr bwMode="gray">
            <a:xfrm>
              <a:off x="6735673" y="3070997"/>
              <a:ext cx="156537" cy="165708"/>
            </a:xfrm>
            <a:custGeom>
              <a:avLst/>
              <a:gdLst/>
              <a:ahLst/>
              <a:cxnLst>
                <a:cxn ang="0">
                  <a:pos x="70" y="9"/>
                </a:cxn>
                <a:cxn ang="0">
                  <a:pos x="51" y="0"/>
                </a:cxn>
                <a:cxn ang="0">
                  <a:pos x="42" y="0"/>
                </a:cxn>
                <a:cxn ang="0">
                  <a:pos x="43" y="5"/>
                </a:cxn>
                <a:cxn ang="0">
                  <a:pos x="38" y="24"/>
                </a:cxn>
                <a:cxn ang="0">
                  <a:pos x="21" y="20"/>
                </a:cxn>
                <a:cxn ang="0">
                  <a:pos x="12" y="39"/>
                </a:cxn>
                <a:cxn ang="0">
                  <a:pos x="15" y="45"/>
                </a:cxn>
                <a:cxn ang="0">
                  <a:pos x="0" y="52"/>
                </a:cxn>
                <a:cxn ang="0">
                  <a:pos x="0" y="71"/>
                </a:cxn>
                <a:cxn ang="0">
                  <a:pos x="0" y="82"/>
                </a:cxn>
                <a:cxn ang="0">
                  <a:pos x="4" y="93"/>
                </a:cxn>
                <a:cxn ang="0">
                  <a:pos x="4" y="93"/>
                </a:cxn>
                <a:cxn ang="0">
                  <a:pos x="28" y="105"/>
                </a:cxn>
                <a:cxn ang="0">
                  <a:pos x="21" y="127"/>
                </a:cxn>
                <a:cxn ang="0">
                  <a:pos x="21" y="127"/>
                </a:cxn>
                <a:cxn ang="0">
                  <a:pos x="49" y="129"/>
                </a:cxn>
                <a:cxn ang="0">
                  <a:pos x="98" y="125"/>
                </a:cxn>
                <a:cxn ang="0">
                  <a:pos x="96" y="120"/>
                </a:cxn>
                <a:cxn ang="0">
                  <a:pos x="111" y="107"/>
                </a:cxn>
                <a:cxn ang="0">
                  <a:pos x="92" y="93"/>
                </a:cxn>
                <a:cxn ang="0">
                  <a:pos x="85" y="78"/>
                </a:cxn>
                <a:cxn ang="0">
                  <a:pos x="116" y="63"/>
                </a:cxn>
                <a:cxn ang="0">
                  <a:pos x="122" y="69"/>
                </a:cxn>
                <a:cxn ang="0">
                  <a:pos x="115" y="19"/>
                </a:cxn>
                <a:cxn ang="0">
                  <a:pos x="101" y="11"/>
                </a:cxn>
                <a:cxn ang="0">
                  <a:pos x="107" y="9"/>
                </a:cxn>
                <a:cxn ang="0">
                  <a:pos x="103" y="4"/>
                </a:cxn>
                <a:cxn ang="0">
                  <a:pos x="70" y="17"/>
                </a:cxn>
                <a:cxn ang="0">
                  <a:pos x="70" y="9"/>
                </a:cxn>
                <a:cxn ang="0">
                  <a:pos x="70" y="9"/>
                </a:cxn>
              </a:cxnLst>
              <a:rect l="0" t="0" r="r" b="b"/>
              <a:pathLst>
                <a:path w="122" h="129">
                  <a:moveTo>
                    <a:pt x="70" y="9"/>
                  </a:moveTo>
                  <a:lnTo>
                    <a:pt x="51" y="0"/>
                  </a:lnTo>
                  <a:lnTo>
                    <a:pt x="42" y="0"/>
                  </a:lnTo>
                  <a:lnTo>
                    <a:pt x="43" y="5"/>
                  </a:lnTo>
                  <a:lnTo>
                    <a:pt x="38" y="24"/>
                  </a:lnTo>
                  <a:lnTo>
                    <a:pt x="21" y="20"/>
                  </a:lnTo>
                  <a:lnTo>
                    <a:pt x="12" y="39"/>
                  </a:lnTo>
                  <a:lnTo>
                    <a:pt x="15" y="45"/>
                  </a:lnTo>
                  <a:lnTo>
                    <a:pt x="0" y="52"/>
                  </a:lnTo>
                  <a:lnTo>
                    <a:pt x="0" y="71"/>
                  </a:lnTo>
                  <a:lnTo>
                    <a:pt x="0" y="82"/>
                  </a:lnTo>
                  <a:lnTo>
                    <a:pt x="4" y="93"/>
                  </a:lnTo>
                  <a:lnTo>
                    <a:pt x="4" y="93"/>
                  </a:lnTo>
                  <a:lnTo>
                    <a:pt x="28" y="105"/>
                  </a:lnTo>
                  <a:lnTo>
                    <a:pt x="21" y="127"/>
                  </a:lnTo>
                  <a:lnTo>
                    <a:pt x="21" y="127"/>
                  </a:lnTo>
                  <a:lnTo>
                    <a:pt x="49" y="129"/>
                  </a:lnTo>
                  <a:lnTo>
                    <a:pt x="98" y="125"/>
                  </a:lnTo>
                  <a:lnTo>
                    <a:pt x="96" y="120"/>
                  </a:lnTo>
                  <a:lnTo>
                    <a:pt x="111" y="107"/>
                  </a:lnTo>
                  <a:lnTo>
                    <a:pt x="92" y="93"/>
                  </a:lnTo>
                  <a:lnTo>
                    <a:pt x="85" y="78"/>
                  </a:lnTo>
                  <a:lnTo>
                    <a:pt x="116" y="63"/>
                  </a:lnTo>
                  <a:lnTo>
                    <a:pt x="122" y="69"/>
                  </a:lnTo>
                  <a:lnTo>
                    <a:pt x="115" y="19"/>
                  </a:lnTo>
                  <a:lnTo>
                    <a:pt x="101" y="11"/>
                  </a:lnTo>
                  <a:lnTo>
                    <a:pt x="107" y="9"/>
                  </a:lnTo>
                  <a:lnTo>
                    <a:pt x="103" y="4"/>
                  </a:lnTo>
                  <a:lnTo>
                    <a:pt x="70" y="17"/>
                  </a:lnTo>
                  <a:lnTo>
                    <a:pt x="70" y="9"/>
                  </a:lnTo>
                  <a:lnTo>
                    <a:pt x="70" y="9"/>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31" name="Freeform 5739"/>
            <p:cNvSpPr>
              <a:spLocks/>
            </p:cNvSpPr>
            <p:nvPr>
              <p:custDataLst>
                <p:tags r:id="rId111"/>
              </p:custDataLst>
            </p:nvPr>
          </p:nvSpPr>
          <p:spPr bwMode="gray">
            <a:xfrm>
              <a:off x="6680500" y="3148070"/>
              <a:ext cx="55173" cy="41106"/>
            </a:xfrm>
            <a:custGeom>
              <a:avLst/>
              <a:gdLst/>
              <a:ahLst/>
              <a:cxnLst>
                <a:cxn ang="0">
                  <a:pos x="11" y="0"/>
                </a:cxn>
                <a:cxn ang="0">
                  <a:pos x="32" y="0"/>
                </a:cxn>
                <a:cxn ang="0">
                  <a:pos x="32" y="0"/>
                </a:cxn>
                <a:cxn ang="0">
                  <a:pos x="43" y="11"/>
                </a:cxn>
                <a:cxn ang="0">
                  <a:pos x="43" y="22"/>
                </a:cxn>
                <a:cxn ang="0">
                  <a:pos x="40" y="32"/>
                </a:cxn>
                <a:cxn ang="0">
                  <a:pos x="30" y="30"/>
                </a:cxn>
                <a:cxn ang="0">
                  <a:pos x="28" y="22"/>
                </a:cxn>
                <a:cxn ang="0">
                  <a:pos x="19" y="24"/>
                </a:cxn>
                <a:cxn ang="0">
                  <a:pos x="0" y="5"/>
                </a:cxn>
                <a:cxn ang="0">
                  <a:pos x="11" y="0"/>
                </a:cxn>
                <a:cxn ang="0">
                  <a:pos x="11" y="0"/>
                </a:cxn>
              </a:cxnLst>
              <a:rect l="0" t="0" r="r" b="b"/>
              <a:pathLst>
                <a:path w="43" h="32">
                  <a:moveTo>
                    <a:pt x="11" y="0"/>
                  </a:moveTo>
                  <a:lnTo>
                    <a:pt x="32" y="0"/>
                  </a:lnTo>
                  <a:lnTo>
                    <a:pt x="32" y="0"/>
                  </a:lnTo>
                  <a:lnTo>
                    <a:pt x="43" y="11"/>
                  </a:lnTo>
                  <a:lnTo>
                    <a:pt x="43" y="22"/>
                  </a:lnTo>
                  <a:lnTo>
                    <a:pt x="40" y="32"/>
                  </a:lnTo>
                  <a:lnTo>
                    <a:pt x="30" y="30"/>
                  </a:lnTo>
                  <a:lnTo>
                    <a:pt x="28" y="22"/>
                  </a:lnTo>
                  <a:lnTo>
                    <a:pt x="19" y="24"/>
                  </a:lnTo>
                  <a:lnTo>
                    <a:pt x="0" y="5"/>
                  </a:lnTo>
                  <a:lnTo>
                    <a:pt x="11" y="0"/>
                  </a:lnTo>
                  <a:lnTo>
                    <a:pt x="11"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32" name="Freeform 5740"/>
            <p:cNvSpPr>
              <a:spLocks/>
            </p:cNvSpPr>
            <p:nvPr>
              <p:custDataLst>
                <p:tags r:id="rId112"/>
              </p:custDataLst>
            </p:nvPr>
          </p:nvSpPr>
          <p:spPr bwMode="gray">
            <a:xfrm>
              <a:off x="6726691" y="2726735"/>
              <a:ext cx="401608" cy="273611"/>
            </a:xfrm>
            <a:custGeom>
              <a:avLst/>
              <a:gdLst/>
              <a:ahLst/>
              <a:cxnLst>
                <a:cxn ang="0">
                  <a:pos x="187" y="41"/>
                </a:cxn>
                <a:cxn ang="0">
                  <a:pos x="163" y="47"/>
                </a:cxn>
                <a:cxn ang="0">
                  <a:pos x="138" y="65"/>
                </a:cxn>
                <a:cxn ang="0">
                  <a:pos x="112" y="101"/>
                </a:cxn>
                <a:cxn ang="0">
                  <a:pos x="93" y="118"/>
                </a:cxn>
                <a:cxn ang="0">
                  <a:pos x="99" y="159"/>
                </a:cxn>
                <a:cxn ang="0">
                  <a:pos x="95" y="180"/>
                </a:cxn>
                <a:cxn ang="0">
                  <a:pos x="84" y="197"/>
                </a:cxn>
                <a:cxn ang="0">
                  <a:pos x="73" y="191"/>
                </a:cxn>
                <a:cxn ang="0">
                  <a:pos x="11" y="208"/>
                </a:cxn>
                <a:cxn ang="0">
                  <a:pos x="15" y="191"/>
                </a:cxn>
                <a:cxn ang="0">
                  <a:pos x="7" y="180"/>
                </a:cxn>
                <a:cxn ang="0">
                  <a:pos x="0" y="159"/>
                </a:cxn>
                <a:cxn ang="0">
                  <a:pos x="0" y="148"/>
                </a:cxn>
                <a:cxn ang="0">
                  <a:pos x="41" y="129"/>
                </a:cxn>
                <a:cxn ang="0">
                  <a:pos x="60" y="122"/>
                </a:cxn>
                <a:cxn ang="0">
                  <a:pos x="112" y="64"/>
                </a:cxn>
                <a:cxn ang="0">
                  <a:pos x="101" y="50"/>
                </a:cxn>
                <a:cxn ang="0">
                  <a:pos x="120" y="37"/>
                </a:cxn>
                <a:cxn ang="0">
                  <a:pos x="137" y="35"/>
                </a:cxn>
                <a:cxn ang="0">
                  <a:pos x="146" y="37"/>
                </a:cxn>
                <a:cxn ang="0">
                  <a:pos x="150" y="32"/>
                </a:cxn>
                <a:cxn ang="0">
                  <a:pos x="170" y="15"/>
                </a:cxn>
                <a:cxn ang="0">
                  <a:pos x="221" y="4"/>
                </a:cxn>
                <a:cxn ang="0">
                  <a:pos x="247" y="0"/>
                </a:cxn>
                <a:cxn ang="0">
                  <a:pos x="258" y="4"/>
                </a:cxn>
                <a:cxn ang="0">
                  <a:pos x="271" y="2"/>
                </a:cxn>
                <a:cxn ang="0">
                  <a:pos x="313" y="11"/>
                </a:cxn>
                <a:cxn ang="0">
                  <a:pos x="313" y="22"/>
                </a:cxn>
                <a:cxn ang="0">
                  <a:pos x="292" y="32"/>
                </a:cxn>
                <a:cxn ang="0">
                  <a:pos x="275" y="17"/>
                </a:cxn>
                <a:cxn ang="0">
                  <a:pos x="253" y="34"/>
                </a:cxn>
                <a:cxn ang="0">
                  <a:pos x="217" y="35"/>
                </a:cxn>
                <a:cxn ang="0">
                  <a:pos x="191" y="32"/>
                </a:cxn>
              </a:cxnLst>
              <a:rect l="0" t="0" r="r" b="b"/>
              <a:pathLst>
                <a:path w="313" h="213">
                  <a:moveTo>
                    <a:pt x="191" y="32"/>
                  </a:moveTo>
                  <a:lnTo>
                    <a:pt x="187" y="41"/>
                  </a:lnTo>
                  <a:lnTo>
                    <a:pt x="167" y="39"/>
                  </a:lnTo>
                  <a:lnTo>
                    <a:pt x="163" y="47"/>
                  </a:lnTo>
                  <a:lnTo>
                    <a:pt x="148" y="49"/>
                  </a:lnTo>
                  <a:lnTo>
                    <a:pt x="138" y="65"/>
                  </a:lnTo>
                  <a:lnTo>
                    <a:pt x="123" y="79"/>
                  </a:lnTo>
                  <a:lnTo>
                    <a:pt x="112" y="101"/>
                  </a:lnTo>
                  <a:lnTo>
                    <a:pt x="116" y="110"/>
                  </a:lnTo>
                  <a:lnTo>
                    <a:pt x="93" y="118"/>
                  </a:lnTo>
                  <a:lnTo>
                    <a:pt x="92" y="137"/>
                  </a:lnTo>
                  <a:lnTo>
                    <a:pt x="99" y="159"/>
                  </a:lnTo>
                  <a:lnTo>
                    <a:pt x="93" y="161"/>
                  </a:lnTo>
                  <a:lnTo>
                    <a:pt x="95" y="180"/>
                  </a:lnTo>
                  <a:lnTo>
                    <a:pt x="86" y="185"/>
                  </a:lnTo>
                  <a:lnTo>
                    <a:pt x="84" y="197"/>
                  </a:lnTo>
                  <a:lnTo>
                    <a:pt x="78" y="195"/>
                  </a:lnTo>
                  <a:lnTo>
                    <a:pt x="73" y="191"/>
                  </a:lnTo>
                  <a:lnTo>
                    <a:pt x="34" y="213"/>
                  </a:lnTo>
                  <a:lnTo>
                    <a:pt x="11" y="208"/>
                  </a:lnTo>
                  <a:lnTo>
                    <a:pt x="7" y="202"/>
                  </a:lnTo>
                  <a:lnTo>
                    <a:pt x="15" y="191"/>
                  </a:lnTo>
                  <a:lnTo>
                    <a:pt x="5" y="193"/>
                  </a:lnTo>
                  <a:lnTo>
                    <a:pt x="7" y="180"/>
                  </a:lnTo>
                  <a:lnTo>
                    <a:pt x="2" y="174"/>
                  </a:lnTo>
                  <a:lnTo>
                    <a:pt x="0" y="159"/>
                  </a:lnTo>
                  <a:lnTo>
                    <a:pt x="4" y="154"/>
                  </a:lnTo>
                  <a:lnTo>
                    <a:pt x="0" y="148"/>
                  </a:lnTo>
                  <a:lnTo>
                    <a:pt x="28" y="131"/>
                  </a:lnTo>
                  <a:lnTo>
                    <a:pt x="41" y="129"/>
                  </a:lnTo>
                  <a:lnTo>
                    <a:pt x="52" y="118"/>
                  </a:lnTo>
                  <a:lnTo>
                    <a:pt x="60" y="122"/>
                  </a:lnTo>
                  <a:lnTo>
                    <a:pt x="93" y="94"/>
                  </a:lnTo>
                  <a:lnTo>
                    <a:pt x="112" y="64"/>
                  </a:lnTo>
                  <a:lnTo>
                    <a:pt x="135" y="45"/>
                  </a:lnTo>
                  <a:lnTo>
                    <a:pt x="101" y="50"/>
                  </a:lnTo>
                  <a:lnTo>
                    <a:pt x="125" y="41"/>
                  </a:lnTo>
                  <a:lnTo>
                    <a:pt x="120" y="37"/>
                  </a:lnTo>
                  <a:lnTo>
                    <a:pt x="140" y="28"/>
                  </a:lnTo>
                  <a:lnTo>
                    <a:pt x="137" y="35"/>
                  </a:lnTo>
                  <a:lnTo>
                    <a:pt x="144" y="32"/>
                  </a:lnTo>
                  <a:lnTo>
                    <a:pt x="146" y="37"/>
                  </a:lnTo>
                  <a:lnTo>
                    <a:pt x="155" y="32"/>
                  </a:lnTo>
                  <a:lnTo>
                    <a:pt x="150" y="32"/>
                  </a:lnTo>
                  <a:lnTo>
                    <a:pt x="150" y="26"/>
                  </a:lnTo>
                  <a:lnTo>
                    <a:pt x="170" y="15"/>
                  </a:lnTo>
                  <a:lnTo>
                    <a:pt x="200" y="13"/>
                  </a:lnTo>
                  <a:lnTo>
                    <a:pt x="221" y="4"/>
                  </a:lnTo>
                  <a:lnTo>
                    <a:pt x="232" y="7"/>
                  </a:lnTo>
                  <a:lnTo>
                    <a:pt x="247" y="0"/>
                  </a:lnTo>
                  <a:lnTo>
                    <a:pt x="247" y="7"/>
                  </a:lnTo>
                  <a:lnTo>
                    <a:pt x="258" y="4"/>
                  </a:lnTo>
                  <a:lnTo>
                    <a:pt x="262" y="9"/>
                  </a:lnTo>
                  <a:lnTo>
                    <a:pt x="271" y="2"/>
                  </a:lnTo>
                  <a:lnTo>
                    <a:pt x="288" y="4"/>
                  </a:lnTo>
                  <a:lnTo>
                    <a:pt x="313" y="11"/>
                  </a:lnTo>
                  <a:lnTo>
                    <a:pt x="286" y="15"/>
                  </a:lnTo>
                  <a:lnTo>
                    <a:pt x="313" y="22"/>
                  </a:lnTo>
                  <a:lnTo>
                    <a:pt x="313" y="22"/>
                  </a:lnTo>
                  <a:lnTo>
                    <a:pt x="292" y="32"/>
                  </a:lnTo>
                  <a:lnTo>
                    <a:pt x="292" y="22"/>
                  </a:lnTo>
                  <a:lnTo>
                    <a:pt x="275" y="17"/>
                  </a:lnTo>
                  <a:lnTo>
                    <a:pt x="256" y="20"/>
                  </a:lnTo>
                  <a:lnTo>
                    <a:pt x="253" y="34"/>
                  </a:lnTo>
                  <a:lnTo>
                    <a:pt x="243" y="37"/>
                  </a:lnTo>
                  <a:lnTo>
                    <a:pt x="217" y="35"/>
                  </a:lnTo>
                  <a:lnTo>
                    <a:pt x="198" y="28"/>
                  </a:lnTo>
                  <a:lnTo>
                    <a:pt x="191" y="32"/>
                  </a:lnTo>
                  <a:lnTo>
                    <a:pt x="191" y="32"/>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33" name="Freeform 5741"/>
            <p:cNvSpPr>
              <a:spLocks/>
            </p:cNvSpPr>
            <p:nvPr>
              <p:custDataLst>
                <p:tags r:id="rId113"/>
              </p:custDataLst>
            </p:nvPr>
          </p:nvSpPr>
          <p:spPr bwMode="gray">
            <a:xfrm>
              <a:off x="6826773" y="2767841"/>
              <a:ext cx="205295" cy="289026"/>
            </a:xfrm>
            <a:custGeom>
              <a:avLst/>
              <a:gdLst/>
              <a:ahLst/>
              <a:cxnLst>
                <a:cxn ang="0">
                  <a:pos x="6" y="165"/>
                </a:cxn>
                <a:cxn ang="0">
                  <a:pos x="8" y="153"/>
                </a:cxn>
                <a:cxn ang="0">
                  <a:pos x="17" y="148"/>
                </a:cxn>
                <a:cxn ang="0">
                  <a:pos x="15" y="129"/>
                </a:cxn>
                <a:cxn ang="0">
                  <a:pos x="21" y="127"/>
                </a:cxn>
                <a:cxn ang="0">
                  <a:pos x="14" y="105"/>
                </a:cxn>
                <a:cxn ang="0">
                  <a:pos x="15" y="86"/>
                </a:cxn>
                <a:cxn ang="0">
                  <a:pos x="38" y="78"/>
                </a:cxn>
                <a:cxn ang="0">
                  <a:pos x="34" y="69"/>
                </a:cxn>
                <a:cxn ang="0">
                  <a:pos x="45" y="47"/>
                </a:cxn>
                <a:cxn ang="0">
                  <a:pos x="60" y="33"/>
                </a:cxn>
                <a:cxn ang="0">
                  <a:pos x="70" y="17"/>
                </a:cxn>
                <a:cxn ang="0">
                  <a:pos x="85" y="15"/>
                </a:cxn>
                <a:cxn ang="0">
                  <a:pos x="89" y="7"/>
                </a:cxn>
                <a:cxn ang="0">
                  <a:pos x="109" y="9"/>
                </a:cxn>
                <a:cxn ang="0">
                  <a:pos x="113" y="0"/>
                </a:cxn>
                <a:cxn ang="0">
                  <a:pos x="148" y="15"/>
                </a:cxn>
                <a:cxn ang="0">
                  <a:pos x="160" y="50"/>
                </a:cxn>
                <a:cxn ang="0">
                  <a:pos x="141" y="50"/>
                </a:cxn>
                <a:cxn ang="0">
                  <a:pos x="124" y="69"/>
                </a:cxn>
                <a:cxn ang="0">
                  <a:pos x="133" y="73"/>
                </a:cxn>
                <a:cxn ang="0">
                  <a:pos x="83" y="110"/>
                </a:cxn>
                <a:cxn ang="0">
                  <a:pos x="81" y="133"/>
                </a:cxn>
                <a:cxn ang="0">
                  <a:pos x="102" y="150"/>
                </a:cxn>
                <a:cxn ang="0">
                  <a:pos x="92" y="159"/>
                </a:cxn>
                <a:cxn ang="0">
                  <a:pos x="96" y="161"/>
                </a:cxn>
                <a:cxn ang="0">
                  <a:pos x="77" y="170"/>
                </a:cxn>
                <a:cxn ang="0">
                  <a:pos x="66" y="213"/>
                </a:cxn>
                <a:cxn ang="0">
                  <a:pos x="49" y="213"/>
                </a:cxn>
                <a:cxn ang="0">
                  <a:pos x="44" y="225"/>
                </a:cxn>
                <a:cxn ang="0">
                  <a:pos x="27" y="225"/>
                </a:cxn>
                <a:cxn ang="0">
                  <a:pos x="23" y="213"/>
                </a:cxn>
                <a:cxn ang="0">
                  <a:pos x="25" y="208"/>
                </a:cxn>
                <a:cxn ang="0">
                  <a:pos x="0" y="163"/>
                </a:cxn>
                <a:cxn ang="0">
                  <a:pos x="6" y="165"/>
                </a:cxn>
                <a:cxn ang="0">
                  <a:pos x="6" y="165"/>
                </a:cxn>
              </a:cxnLst>
              <a:rect l="0" t="0" r="r" b="b"/>
              <a:pathLst>
                <a:path w="160" h="225">
                  <a:moveTo>
                    <a:pt x="6" y="165"/>
                  </a:moveTo>
                  <a:lnTo>
                    <a:pt x="8" y="153"/>
                  </a:lnTo>
                  <a:lnTo>
                    <a:pt x="17" y="148"/>
                  </a:lnTo>
                  <a:lnTo>
                    <a:pt x="15" y="129"/>
                  </a:lnTo>
                  <a:lnTo>
                    <a:pt x="21" y="127"/>
                  </a:lnTo>
                  <a:lnTo>
                    <a:pt x="14" y="105"/>
                  </a:lnTo>
                  <a:lnTo>
                    <a:pt x="15" y="86"/>
                  </a:lnTo>
                  <a:lnTo>
                    <a:pt x="38" y="78"/>
                  </a:lnTo>
                  <a:lnTo>
                    <a:pt x="34" y="69"/>
                  </a:lnTo>
                  <a:lnTo>
                    <a:pt x="45" y="47"/>
                  </a:lnTo>
                  <a:lnTo>
                    <a:pt x="60" y="33"/>
                  </a:lnTo>
                  <a:lnTo>
                    <a:pt x="70" y="17"/>
                  </a:lnTo>
                  <a:lnTo>
                    <a:pt x="85" y="15"/>
                  </a:lnTo>
                  <a:lnTo>
                    <a:pt x="89" y="7"/>
                  </a:lnTo>
                  <a:lnTo>
                    <a:pt x="109" y="9"/>
                  </a:lnTo>
                  <a:lnTo>
                    <a:pt x="113" y="0"/>
                  </a:lnTo>
                  <a:lnTo>
                    <a:pt x="148" y="15"/>
                  </a:lnTo>
                  <a:lnTo>
                    <a:pt x="160" y="50"/>
                  </a:lnTo>
                  <a:lnTo>
                    <a:pt x="141" y="50"/>
                  </a:lnTo>
                  <a:lnTo>
                    <a:pt x="124" y="69"/>
                  </a:lnTo>
                  <a:lnTo>
                    <a:pt x="133" y="73"/>
                  </a:lnTo>
                  <a:lnTo>
                    <a:pt x="83" y="110"/>
                  </a:lnTo>
                  <a:lnTo>
                    <a:pt x="81" y="133"/>
                  </a:lnTo>
                  <a:lnTo>
                    <a:pt x="102" y="150"/>
                  </a:lnTo>
                  <a:lnTo>
                    <a:pt x="92" y="159"/>
                  </a:lnTo>
                  <a:lnTo>
                    <a:pt x="96" y="161"/>
                  </a:lnTo>
                  <a:lnTo>
                    <a:pt x="77" y="170"/>
                  </a:lnTo>
                  <a:lnTo>
                    <a:pt x="66" y="213"/>
                  </a:lnTo>
                  <a:lnTo>
                    <a:pt x="49" y="213"/>
                  </a:lnTo>
                  <a:lnTo>
                    <a:pt x="44" y="225"/>
                  </a:lnTo>
                  <a:lnTo>
                    <a:pt x="27" y="225"/>
                  </a:lnTo>
                  <a:lnTo>
                    <a:pt x="23" y="213"/>
                  </a:lnTo>
                  <a:lnTo>
                    <a:pt x="25" y="208"/>
                  </a:lnTo>
                  <a:lnTo>
                    <a:pt x="0" y="163"/>
                  </a:lnTo>
                  <a:lnTo>
                    <a:pt x="6" y="165"/>
                  </a:lnTo>
                  <a:lnTo>
                    <a:pt x="6" y="165"/>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34" name="Freeform 5742"/>
            <p:cNvSpPr>
              <a:spLocks/>
            </p:cNvSpPr>
            <p:nvPr>
              <p:custDataLst>
                <p:tags r:id="rId114"/>
              </p:custDataLst>
            </p:nvPr>
          </p:nvSpPr>
          <p:spPr bwMode="gray">
            <a:xfrm>
              <a:off x="6971762" y="2748572"/>
              <a:ext cx="187332" cy="209383"/>
            </a:xfrm>
            <a:custGeom>
              <a:avLst/>
              <a:gdLst/>
              <a:ahLst/>
              <a:cxnLst>
                <a:cxn ang="0">
                  <a:pos x="101" y="15"/>
                </a:cxn>
                <a:cxn ang="0">
                  <a:pos x="97" y="17"/>
                </a:cxn>
                <a:cxn ang="0">
                  <a:pos x="97" y="28"/>
                </a:cxn>
                <a:cxn ang="0">
                  <a:pos x="116" y="35"/>
                </a:cxn>
                <a:cxn ang="0">
                  <a:pos x="109" y="47"/>
                </a:cxn>
                <a:cxn ang="0">
                  <a:pos x="122" y="63"/>
                </a:cxn>
                <a:cxn ang="0">
                  <a:pos x="120" y="80"/>
                </a:cxn>
                <a:cxn ang="0">
                  <a:pos x="131" y="92"/>
                </a:cxn>
                <a:cxn ang="0">
                  <a:pos x="129" y="101"/>
                </a:cxn>
                <a:cxn ang="0">
                  <a:pos x="146" y="116"/>
                </a:cxn>
                <a:cxn ang="0">
                  <a:pos x="103" y="153"/>
                </a:cxn>
                <a:cxn ang="0">
                  <a:pos x="50" y="163"/>
                </a:cxn>
                <a:cxn ang="0">
                  <a:pos x="20" y="151"/>
                </a:cxn>
                <a:cxn ang="0">
                  <a:pos x="24" y="137"/>
                </a:cxn>
                <a:cxn ang="0">
                  <a:pos x="15" y="120"/>
                </a:cxn>
                <a:cxn ang="0">
                  <a:pos x="20" y="112"/>
                </a:cxn>
                <a:cxn ang="0">
                  <a:pos x="64" y="80"/>
                </a:cxn>
                <a:cxn ang="0">
                  <a:pos x="64" y="71"/>
                </a:cxn>
                <a:cxn ang="0">
                  <a:pos x="52" y="65"/>
                </a:cxn>
                <a:cxn ang="0">
                  <a:pos x="47" y="65"/>
                </a:cxn>
                <a:cxn ang="0">
                  <a:pos x="35" y="30"/>
                </a:cxn>
                <a:cxn ang="0">
                  <a:pos x="0" y="15"/>
                </a:cxn>
                <a:cxn ang="0">
                  <a:pos x="7" y="11"/>
                </a:cxn>
                <a:cxn ang="0">
                  <a:pos x="26" y="18"/>
                </a:cxn>
                <a:cxn ang="0">
                  <a:pos x="52" y="20"/>
                </a:cxn>
                <a:cxn ang="0">
                  <a:pos x="62" y="17"/>
                </a:cxn>
                <a:cxn ang="0">
                  <a:pos x="65" y="3"/>
                </a:cxn>
                <a:cxn ang="0">
                  <a:pos x="84" y="0"/>
                </a:cxn>
                <a:cxn ang="0">
                  <a:pos x="101" y="5"/>
                </a:cxn>
                <a:cxn ang="0">
                  <a:pos x="101" y="15"/>
                </a:cxn>
                <a:cxn ang="0">
                  <a:pos x="101" y="15"/>
                </a:cxn>
              </a:cxnLst>
              <a:rect l="0" t="0" r="r" b="b"/>
              <a:pathLst>
                <a:path w="146" h="163">
                  <a:moveTo>
                    <a:pt x="101" y="15"/>
                  </a:moveTo>
                  <a:lnTo>
                    <a:pt x="97" y="17"/>
                  </a:lnTo>
                  <a:lnTo>
                    <a:pt x="97" y="28"/>
                  </a:lnTo>
                  <a:lnTo>
                    <a:pt x="116" y="35"/>
                  </a:lnTo>
                  <a:lnTo>
                    <a:pt x="109" y="47"/>
                  </a:lnTo>
                  <a:lnTo>
                    <a:pt x="122" y="63"/>
                  </a:lnTo>
                  <a:lnTo>
                    <a:pt x="120" y="80"/>
                  </a:lnTo>
                  <a:lnTo>
                    <a:pt x="131" y="92"/>
                  </a:lnTo>
                  <a:lnTo>
                    <a:pt x="129" y="101"/>
                  </a:lnTo>
                  <a:lnTo>
                    <a:pt x="146" y="116"/>
                  </a:lnTo>
                  <a:lnTo>
                    <a:pt x="103" y="153"/>
                  </a:lnTo>
                  <a:lnTo>
                    <a:pt x="50" y="163"/>
                  </a:lnTo>
                  <a:lnTo>
                    <a:pt x="20" y="151"/>
                  </a:lnTo>
                  <a:lnTo>
                    <a:pt x="24" y="137"/>
                  </a:lnTo>
                  <a:lnTo>
                    <a:pt x="15" y="120"/>
                  </a:lnTo>
                  <a:lnTo>
                    <a:pt x="20" y="112"/>
                  </a:lnTo>
                  <a:lnTo>
                    <a:pt x="64" y="80"/>
                  </a:lnTo>
                  <a:lnTo>
                    <a:pt x="64" y="71"/>
                  </a:lnTo>
                  <a:lnTo>
                    <a:pt x="52" y="65"/>
                  </a:lnTo>
                  <a:lnTo>
                    <a:pt x="47" y="65"/>
                  </a:lnTo>
                  <a:lnTo>
                    <a:pt x="35" y="30"/>
                  </a:lnTo>
                  <a:lnTo>
                    <a:pt x="0" y="15"/>
                  </a:lnTo>
                  <a:lnTo>
                    <a:pt x="7" y="11"/>
                  </a:lnTo>
                  <a:lnTo>
                    <a:pt x="26" y="18"/>
                  </a:lnTo>
                  <a:lnTo>
                    <a:pt x="52" y="20"/>
                  </a:lnTo>
                  <a:lnTo>
                    <a:pt x="62" y="17"/>
                  </a:lnTo>
                  <a:lnTo>
                    <a:pt x="65" y="3"/>
                  </a:lnTo>
                  <a:lnTo>
                    <a:pt x="84" y="0"/>
                  </a:lnTo>
                  <a:lnTo>
                    <a:pt x="101" y="5"/>
                  </a:lnTo>
                  <a:lnTo>
                    <a:pt x="101" y="15"/>
                  </a:lnTo>
                  <a:lnTo>
                    <a:pt x="101" y="15"/>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35" name="Freeform 5743"/>
            <p:cNvSpPr>
              <a:spLocks/>
            </p:cNvSpPr>
            <p:nvPr>
              <p:custDataLst>
                <p:tags r:id="rId115"/>
              </p:custDataLst>
            </p:nvPr>
          </p:nvSpPr>
          <p:spPr bwMode="gray">
            <a:xfrm>
              <a:off x="3743501" y="2724166"/>
              <a:ext cx="792951" cy="358392"/>
            </a:xfrm>
            <a:custGeom>
              <a:avLst/>
              <a:gdLst/>
              <a:ahLst/>
              <a:cxnLst>
                <a:cxn ang="0">
                  <a:pos x="433" y="178"/>
                </a:cxn>
                <a:cxn ang="0">
                  <a:pos x="450" y="180"/>
                </a:cxn>
                <a:cxn ang="0">
                  <a:pos x="495" y="185"/>
                </a:cxn>
                <a:cxn ang="0">
                  <a:pos x="497" y="204"/>
                </a:cxn>
                <a:cxn ang="0">
                  <a:pos x="500" y="251"/>
                </a:cxn>
                <a:cxn ang="0">
                  <a:pos x="472" y="272"/>
                </a:cxn>
                <a:cxn ang="0">
                  <a:pos x="470" y="253"/>
                </a:cxn>
                <a:cxn ang="0">
                  <a:pos x="467" y="245"/>
                </a:cxn>
                <a:cxn ang="0">
                  <a:pos x="452" y="274"/>
                </a:cxn>
                <a:cxn ang="0">
                  <a:pos x="457" y="244"/>
                </a:cxn>
                <a:cxn ang="0">
                  <a:pos x="455" y="236"/>
                </a:cxn>
                <a:cxn ang="0">
                  <a:pos x="476" y="234"/>
                </a:cxn>
                <a:cxn ang="0">
                  <a:pos x="457" y="232"/>
                </a:cxn>
                <a:cxn ang="0">
                  <a:pos x="465" y="210"/>
                </a:cxn>
                <a:cxn ang="0">
                  <a:pos x="440" y="247"/>
                </a:cxn>
                <a:cxn ang="0">
                  <a:pos x="435" y="191"/>
                </a:cxn>
                <a:cxn ang="0">
                  <a:pos x="429" y="185"/>
                </a:cxn>
                <a:cxn ang="0">
                  <a:pos x="369" y="167"/>
                </a:cxn>
                <a:cxn ang="0">
                  <a:pos x="324" y="182"/>
                </a:cxn>
                <a:cxn ang="0">
                  <a:pos x="307" y="169"/>
                </a:cxn>
                <a:cxn ang="0">
                  <a:pos x="326" y="159"/>
                </a:cxn>
                <a:cxn ang="0">
                  <a:pos x="238" y="197"/>
                </a:cxn>
                <a:cxn ang="0">
                  <a:pos x="229" y="206"/>
                </a:cxn>
                <a:cxn ang="0">
                  <a:pos x="115" y="249"/>
                </a:cxn>
                <a:cxn ang="0">
                  <a:pos x="159" y="223"/>
                </a:cxn>
                <a:cxn ang="0">
                  <a:pos x="159" y="208"/>
                </a:cxn>
                <a:cxn ang="0">
                  <a:pos x="131" y="202"/>
                </a:cxn>
                <a:cxn ang="0">
                  <a:pos x="122" y="185"/>
                </a:cxn>
                <a:cxn ang="0">
                  <a:pos x="184" y="131"/>
                </a:cxn>
                <a:cxn ang="0">
                  <a:pos x="272" y="101"/>
                </a:cxn>
                <a:cxn ang="0">
                  <a:pos x="216" y="107"/>
                </a:cxn>
                <a:cxn ang="0">
                  <a:pos x="216" y="92"/>
                </a:cxn>
                <a:cxn ang="0">
                  <a:pos x="264" y="75"/>
                </a:cxn>
                <a:cxn ang="0">
                  <a:pos x="266" y="81"/>
                </a:cxn>
                <a:cxn ang="0">
                  <a:pos x="294" y="64"/>
                </a:cxn>
                <a:cxn ang="0">
                  <a:pos x="289" y="45"/>
                </a:cxn>
                <a:cxn ang="0">
                  <a:pos x="339" y="34"/>
                </a:cxn>
                <a:cxn ang="0">
                  <a:pos x="476" y="0"/>
                </a:cxn>
                <a:cxn ang="0">
                  <a:pos x="489" y="6"/>
                </a:cxn>
                <a:cxn ang="0">
                  <a:pos x="514" y="11"/>
                </a:cxn>
                <a:cxn ang="0">
                  <a:pos x="618" y="24"/>
                </a:cxn>
                <a:cxn ang="0">
                  <a:pos x="435" y="174"/>
                </a:cxn>
              </a:cxnLst>
              <a:rect l="0" t="0" r="r" b="b"/>
              <a:pathLst>
                <a:path w="618" h="279">
                  <a:moveTo>
                    <a:pt x="435" y="174"/>
                  </a:moveTo>
                  <a:lnTo>
                    <a:pt x="433" y="178"/>
                  </a:lnTo>
                  <a:lnTo>
                    <a:pt x="455" y="176"/>
                  </a:lnTo>
                  <a:lnTo>
                    <a:pt x="450" y="180"/>
                  </a:lnTo>
                  <a:lnTo>
                    <a:pt x="455" y="199"/>
                  </a:lnTo>
                  <a:lnTo>
                    <a:pt x="495" y="185"/>
                  </a:lnTo>
                  <a:lnTo>
                    <a:pt x="491" y="200"/>
                  </a:lnTo>
                  <a:lnTo>
                    <a:pt x="497" y="204"/>
                  </a:lnTo>
                  <a:lnTo>
                    <a:pt x="485" y="238"/>
                  </a:lnTo>
                  <a:lnTo>
                    <a:pt x="500" y="251"/>
                  </a:lnTo>
                  <a:lnTo>
                    <a:pt x="484" y="268"/>
                  </a:lnTo>
                  <a:lnTo>
                    <a:pt x="472" y="272"/>
                  </a:lnTo>
                  <a:lnTo>
                    <a:pt x="469" y="268"/>
                  </a:lnTo>
                  <a:lnTo>
                    <a:pt x="470" y="253"/>
                  </a:lnTo>
                  <a:lnTo>
                    <a:pt x="476" y="249"/>
                  </a:lnTo>
                  <a:lnTo>
                    <a:pt x="467" y="245"/>
                  </a:lnTo>
                  <a:lnTo>
                    <a:pt x="461" y="262"/>
                  </a:lnTo>
                  <a:lnTo>
                    <a:pt x="452" y="274"/>
                  </a:lnTo>
                  <a:lnTo>
                    <a:pt x="450" y="260"/>
                  </a:lnTo>
                  <a:lnTo>
                    <a:pt x="457" y="244"/>
                  </a:lnTo>
                  <a:lnTo>
                    <a:pt x="450" y="245"/>
                  </a:lnTo>
                  <a:lnTo>
                    <a:pt x="455" y="236"/>
                  </a:lnTo>
                  <a:lnTo>
                    <a:pt x="469" y="230"/>
                  </a:lnTo>
                  <a:lnTo>
                    <a:pt x="476" y="234"/>
                  </a:lnTo>
                  <a:lnTo>
                    <a:pt x="478" y="223"/>
                  </a:lnTo>
                  <a:lnTo>
                    <a:pt x="457" y="232"/>
                  </a:lnTo>
                  <a:lnTo>
                    <a:pt x="480" y="204"/>
                  </a:lnTo>
                  <a:lnTo>
                    <a:pt x="465" y="210"/>
                  </a:lnTo>
                  <a:lnTo>
                    <a:pt x="467" y="217"/>
                  </a:lnTo>
                  <a:lnTo>
                    <a:pt x="440" y="247"/>
                  </a:lnTo>
                  <a:lnTo>
                    <a:pt x="452" y="212"/>
                  </a:lnTo>
                  <a:lnTo>
                    <a:pt x="435" y="191"/>
                  </a:lnTo>
                  <a:lnTo>
                    <a:pt x="442" y="182"/>
                  </a:lnTo>
                  <a:lnTo>
                    <a:pt x="429" y="185"/>
                  </a:lnTo>
                  <a:lnTo>
                    <a:pt x="386" y="182"/>
                  </a:lnTo>
                  <a:lnTo>
                    <a:pt x="369" y="167"/>
                  </a:lnTo>
                  <a:lnTo>
                    <a:pt x="351" y="163"/>
                  </a:lnTo>
                  <a:lnTo>
                    <a:pt x="324" y="182"/>
                  </a:lnTo>
                  <a:lnTo>
                    <a:pt x="268" y="195"/>
                  </a:lnTo>
                  <a:lnTo>
                    <a:pt x="307" y="169"/>
                  </a:lnTo>
                  <a:lnTo>
                    <a:pt x="336" y="159"/>
                  </a:lnTo>
                  <a:lnTo>
                    <a:pt x="326" y="159"/>
                  </a:lnTo>
                  <a:lnTo>
                    <a:pt x="248" y="191"/>
                  </a:lnTo>
                  <a:lnTo>
                    <a:pt x="238" y="197"/>
                  </a:lnTo>
                  <a:lnTo>
                    <a:pt x="244" y="200"/>
                  </a:lnTo>
                  <a:lnTo>
                    <a:pt x="229" y="206"/>
                  </a:lnTo>
                  <a:lnTo>
                    <a:pt x="161" y="232"/>
                  </a:lnTo>
                  <a:lnTo>
                    <a:pt x="115" y="249"/>
                  </a:lnTo>
                  <a:lnTo>
                    <a:pt x="0" y="279"/>
                  </a:lnTo>
                  <a:lnTo>
                    <a:pt x="159" y="223"/>
                  </a:lnTo>
                  <a:lnTo>
                    <a:pt x="188" y="202"/>
                  </a:lnTo>
                  <a:lnTo>
                    <a:pt x="159" y="208"/>
                  </a:lnTo>
                  <a:lnTo>
                    <a:pt x="161" y="200"/>
                  </a:lnTo>
                  <a:lnTo>
                    <a:pt x="131" y="202"/>
                  </a:lnTo>
                  <a:lnTo>
                    <a:pt x="154" y="180"/>
                  </a:lnTo>
                  <a:lnTo>
                    <a:pt x="122" y="185"/>
                  </a:lnTo>
                  <a:lnTo>
                    <a:pt x="133" y="156"/>
                  </a:lnTo>
                  <a:lnTo>
                    <a:pt x="184" y="131"/>
                  </a:lnTo>
                  <a:lnTo>
                    <a:pt x="242" y="124"/>
                  </a:lnTo>
                  <a:lnTo>
                    <a:pt x="272" y="101"/>
                  </a:lnTo>
                  <a:lnTo>
                    <a:pt x="242" y="107"/>
                  </a:lnTo>
                  <a:lnTo>
                    <a:pt x="216" y="107"/>
                  </a:lnTo>
                  <a:lnTo>
                    <a:pt x="203" y="103"/>
                  </a:lnTo>
                  <a:lnTo>
                    <a:pt x="216" y="92"/>
                  </a:lnTo>
                  <a:lnTo>
                    <a:pt x="204" y="88"/>
                  </a:lnTo>
                  <a:lnTo>
                    <a:pt x="264" y="75"/>
                  </a:lnTo>
                  <a:lnTo>
                    <a:pt x="276" y="75"/>
                  </a:lnTo>
                  <a:lnTo>
                    <a:pt x="266" y="81"/>
                  </a:lnTo>
                  <a:lnTo>
                    <a:pt x="298" y="75"/>
                  </a:lnTo>
                  <a:lnTo>
                    <a:pt x="294" y="64"/>
                  </a:lnTo>
                  <a:lnTo>
                    <a:pt x="300" y="56"/>
                  </a:lnTo>
                  <a:lnTo>
                    <a:pt x="289" y="45"/>
                  </a:lnTo>
                  <a:lnTo>
                    <a:pt x="304" y="37"/>
                  </a:lnTo>
                  <a:lnTo>
                    <a:pt x="339" y="34"/>
                  </a:lnTo>
                  <a:lnTo>
                    <a:pt x="392" y="13"/>
                  </a:lnTo>
                  <a:lnTo>
                    <a:pt x="476" y="0"/>
                  </a:lnTo>
                  <a:lnTo>
                    <a:pt x="489" y="2"/>
                  </a:lnTo>
                  <a:lnTo>
                    <a:pt x="489" y="6"/>
                  </a:lnTo>
                  <a:lnTo>
                    <a:pt x="510" y="6"/>
                  </a:lnTo>
                  <a:lnTo>
                    <a:pt x="514" y="11"/>
                  </a:lnTo>
                  <a:lnTo>
                    <a:pt x="605" y="17"/>
                  </a:lnTo>
                  <a:lnTo>
                    <a:pt x="618" y="24"/>
                  </a:lnTo>
                  <a:lnTo>
                    <a:pt x="435" y="174"/>
                  </a:lnTo>
                  <a:lnTo>
                    <a:pt x="435" y="174"/>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36" name="Freeform 5744"/>
            <p:cNvSpPr>
              <a:spLocks/>
            </p:cNvSpPr>
            <p:nvPr>
              <p:custDataLst>
                <p:tags r:id="rId116"/>
              </p:custDataLst>
            </p:nvPr>
          </p:nvSpPr>
          <p:spPr bwMode="gray">
            <a:xfrm>
              <a:off x="4282400" y="3586105"/>
              <a:ext cx="540182" cy="427758"/>
            </a:xfrm>
            <a:custGeom>
              <a:avLst/>
              <a:gdLst/>
              <a:ahLst/>
              <a:cxnLst>
                <a:cxn ang="0">
                  <a:pos x="2" y="54"/>
                </a:cxn>
                <a:cxn ang="0">
                  <a:pos x="9" y="91"/>
                </a:cxn>
                <a:cxn ang="0">
                  <a:pos x="7" y="101"/>
                </a:cxn>
                <a:cxn ang="0">
                  <a:pos x="35" y="129"/>
                </a:cxn>
                <a:cxn ang="0">
                  <a:pos x="54" y="168"/>
                </a:cxn>
                <a:cxn ang="0">
                  <a:pos x="69" y="172"/>
                </a:cxn>
                <a:cxn ang="0">
                  <a:pos x="54" y="155"/>
                </a:cxn>
                <a:cxn ang="0">
                  <a:pos x="20" y="47"/>
                </a:cxn>
                <a:cxn ang="0">
                  <a:pos x="41" y="20"/>
                </a:cxn>
                <a:cxn ang="0">
                  <a:pos x="52" y="67"/>
                </a:cxn>
                <a:cxn ang="0">
                  <a:pos x="71" y="88"/>
                </a:cxn>
                <a:cxn ang="0">
                  <a:pos x="84" y="118"/>
                </a:cxn>
                <a:cxn ang="0">
                  <a:pos x="94" y="136"/>
                </a:cxn>
                <a:cxn ang="0">
                  <a:pos x="129" y="206"/>
                </a:cxn>
                <a:cxn ang="0">
                  <a:pos x="122" y="238"/>
                </a:cxn>
                <a:cxn ang="0">
                  <a:pos x="170" y="269"/>
                </a:cxn>
                <a:cxn ang="0">
                  <a:pos x="228" y="307"/>
                </a:cxn>
                <a:cxn ang="0">
                  <a:pos x="275" y="305"/>
                </a:cxn>
                <a:cxn ang="0">
                  <a:pos x="318" y="333"/>
                </a:cxn>
                <a:cxn ang="0">
                  <a:pos x="350" y="301"/>
                </a:cxn>
                <a:cxn ang="0">
                  <a:pos x="350" y="273"/>
                </a:cxn>
                <a:cxn ang="0">
                  <a:pos x="389" y="262"/>
                </a:cxn>
                <a:cxn ang="0">
                  <a:pos x="395" y="271"/>
                </a:cxn>
                <a:cxn ang="0">
                  <a:pos x="421" y="210"/>
                </a:cxn>
                <a:cxn ang="0">
                  <a:pos x="371" y="211"/>
                </a:cxn>
                <a:cxn ang="0">
                  <a:pos x="354" y="247"/>
                </a:cxn>
                <a:cxn ang="0">
                  <a:pos x="345" y="260"/>
                </a:cxn>
                <a:cxn ang="0">
                  <a:pos x="326" y="258"/>
                </a:cxn>
                <a:cxn ang="0">
                  <a:pos x="268" y="247"/>
                </a:cxn>
                <a:cxn ang="0">
                  <a:pos x="256" y="153"/>
                </a:cxn>
                <a:cxn ang="0">
                  <a:pos x="245" y="116"/>
                </a:cxn>
                <a:cxn ang="0">
                  <a:pos x="206" y="52"/>
                </a:cxn>
                <a:cxn ang="0">
                  <a:pos x="183" y="65"/>
                </a:cxn>
                <a:cxn ang="0">
                  <a:pos x="174" y="37"/>
                </a:cxn>
                <a:cxn ang="0">
                  <a:pos x="84" y="26"/>
                </a:cxn>
                <a:cxn ang="0">
                  <a:pos x="0" y="3"/>
                </a:cxn>
              </a:cxnLst>
              <a:rect l="0" t="0" r="r" b="b"/>
              <a:pathLst>
                <a:path w="421" h="333">
                  <a:moveTo>
                    <a:pt x="0" y="3"/>
                  </a:moveTo>
                  <a:lnTo>
                    <a:pt x="2" y="54"/>
                  </a:lnTo>
                  <a:lnTo>
                    <a:pt x="20" y="78"/>
                  </a:lnTo>
                  <a:lnTo>
                    <a:pt x="9" y="91"/>
                  </a:lnTo>
                  <a:lnTo>
                    <a:pt x="2" y="90"/>
                  </a:lnTo>
                  <a:lnTo>
                    <a:pt x="7" y="101"/>
                  </a:lnTo>
                  <a:lnTo>
                    <a:pt x="34" y="120"/>
                  </a:lnTo>
                  <a:lnTo>
                    <a:pt x="35" y="129"/>
                  </a:lnTo>
                  <a:lnTo>
                    <a:pt x="28" y="144"/>
                  </a:lnTo>
                  <a:lnTo>
                    <a:pt x="54" y="168"/>
                  </a:lnTo>
                  <a:lnTo>
                    <a:pt x="58" y="181"/>
                  </a:lnTo>
                  <a:lnTo>
                    <a:pt x="69" y="172"/>
                  </a:lnTo>
                  <a:lnTo>
                    <a:pt x="60" y="155"/>
                  </a:lnTo>
                  <a:lnTo>
                    <a:pt x="54" y="155"/>
                  </a:lnTo>
                  <a:lnTo>
                    <a:pt x="49" y="114"/>
                  </a:lnTo>
                  <a:lnTo>
                    <a:pt x="20" y="47"/>
                  </a:lnTo>
                  <a:lnTo>
                    <a:pt x="28" y="17"/>
                  </a:lnTo>
                  <a:lnTo>
                    <a:pt x="41" y="20"/>
                  </a:lnTo>
                  <a:lnTo>
                    <a:pt x="50" y="28"/>
                  </a:lnTo>
                  <a:lnTo>
                    <a:pt x="52" y="67"/>
                  </a:lnTo>
                  <a:lnTo>
                    <a:pt x="62" y="86"/>
                  </a:lnTo>
                  <a:lnTo>
                    <a:pt x="71" y="88"/>
                  </a:lnTo>
                  <a:lnTo>
                    <a:pt x="69" y="97"/>
                  </a:lnTo>
                  <a:lnTo>
                    <a:pt x="84" y="118"/>
                  </a:lnTo>
                  <a:lnTo>
                    <a:pt x="79" y="127"/>
                  </a:lnTo>
                  <a:lnTo>
                    <a:pt x="94" y="136"/>
                  </a:lnTo>
                  <a:lnTo>
                    <a:pt x="125" y="189"/>
                  </a:lnTo>
                  <a:lnTo>
                    <a:pt x="129" y="206"/>
                  </a:lnTo>
                  <a:lnTo>
                    <a:pt x="118" y="228"/>
                  </a:lnTo>
                  <a:lnTo>
                    <a:pt x="122" y="238"/>
                  </a:lnTo>
                  <a:lnTo>
                    <a:pt x="146" y="264"/>
                  </a:lnTo>
                  <a:lnTo>
                    <a:pt x="170" y="269"/>
                  </a:lnTo>
                  <a:lnTo>
                    <a:pt x="183" y="284"/>
                  </a:lnTo>
                  <a:lnTo>
                    <a:pt x="228" y="307"/>
                  </a:lnTo>
                  <a:lnTo>
                    <a:pt x="255" y="314"/>
                  </a:lnTo>
                  <a:lnTo>
                    <a:pt x="275" y="305"/>
                  </a:lnTo>
                  <a:lnTo>
                    <a:pt x="288" y="307"/>
                  </a:lnTo>
                  <a:lnTo>
                    <a:pt x="318" y="333"/>
                  </a:lnTo>
                  <a:lnTo>
                    <a:pt x="333" y="305"/>
                  </a:lnTo>
                  <a:lnTo>
                    <a:pt x="350" y="301"/>
                  </a:lnTo>
                  <a:lnTo>
                    <a:pt x="341" y="283"/>
                  </a:lnTo>
                  <a:lnTo>
                    <a:pt x="350" y="273"/>
                  </a:lnTo>
                  <a:lnTo>
                    <a:pt x="374" y="271"/>
                  </a:lnTo>
                  <a:lnTo>
                    <a:pt x="389" y="262"/>
                  </a:lnTo>
                  <a:lnTo>
                    <a:pt x="389" y="262"/>
                  </a:lnTo>
                  <a:lnTo>
                    <a:pt x="395" y="271"/>
                  </a:lnTo>
                  <a:lnTo>
                    <a:pt x="401" y="262"/>
                  </a:lnTo>
                  <a:lnTo>
                    <a:pt x="421" y="210"/>
                  </a:lnTo>
                  <a:lnTo>
                    <a:pt x="404" y="206"/>
                  </a:lnTo>
                  <a:lnTo>
                    <a:pt x="371" y="211"/>
                  </a:lnTo>
                  <a:lnTo>
                    <a:pt x="365" y="215"/>
                  </a:lnTo>
                  <a:lnTo>
                    <a:pt x="354" y="247"/>
                  </a:lnTo>
                  <a:lnTo>
                    <a:pt x="343" y="256"/>
                  </a:lnTo>
                  <a:lnTo>
                    <a:pt x="345" y="260"/>
                  </a:lnTo>
                  <a:lnTo>
                    <a:pt x="333" y="262"/>
                  </a:lnTo>
                  <a:lnTo>
                    <a:pt x="326" y="258"/>
                  </a:lnTo>
                  <a:lnTo>
                    <a:pt x="290" y="268"/>
                  </a:lnTo>
                  <a:lnTo>
                    <a:pt x="268" y="247"/>
                  </a:lnTo>
                  <a:lnTo>
                    <a:pt x="249" y="189"/>
                  </a:lnTo>
                  <a:lnTo>
                    <a:pt x="256" y="153"/>
                  </a:lnTo>
                  <a:lnTo>
                    <a:pt x="273" y="125"/>
                  </a:lnTo>
                  <a:lnTo>
                    <a:pt x="245" y="116"/>
                  </a:lnTo>
                  <a:lnTo>
                    <a:pt x="225" y="54"/>
                  </a:lnTo>
                  <a:lnTo>
                    <a:pt x="206" y="52"/>
                  </a:lnTo>
                  <a:lnTo>
                    <a:pt x="193" y="67"/>
                  </a:lnTo>
                  <a:lnTo>
                    <a:pt x="183" y="65"/>
                  </a:lnTo>
                  <a:lnTo>
                    <a:pt x="174" y="52"/>
                  </a:lnTo>
                  <a:lnTo>
                    <a:pt x="174" y="37"/>
                  </a:lnTo>
                  <a:lnTo>
                    <a:pt x="159" y="18"/>
                  </a:lnTo>
                  <a:lnTo>
                    <a:pt x="84" y="26"/>
                  </a:lnTo>
                  <a:lnTo>
                    <a:pt x="32" y="0"/>
                  </a:lnTo>
                  <a:lnTo>
                    <a:pt x="0" y="3"/>
                  </a:lnTo>
                  <a:lnTo>
                    <a:pt x="0" y="3"/>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37" name="Freeform 5745"/>
            <p:cNvSpPr>
              <a:spLocks/>
            </p:cNvSpPr>
            <p:nvPr>
              <p:custDataLst>
                <p:tags r:id="rId117"/>
              </p:custDataLst>
            </p:nvPr>
          </p:nvSpPr>
          <p:spPr bwMode="gray">
            <a:xfrm>
              <a:off x="4219529" y="3193030"/>
              <a:ext cx="1149651" cy="572913"/>
            </a:xfrm>
            <a:custGeom>
              <a:avLst/>
              <a:gdLst/>
              <a:ahLst/>
              <a:cxnLst>
                <a:cxn ang="0">
                  <a:pos x="373" y="360"/>
                </a:cxn>
                <a:cxn ang="0">
                  <a:pos x="392" y="360"/>
                </a:cxn>
                <a:cxn ang="0">
                  <a:pos x="429" y="371"/>
                </a:cxn>
                <a:cxn ang="0">
                  <a:pos x="465" y="371"/>
                </a:cxn>
                <a:cxn ang="0">
                  <a:pos x="448" y="354"/>
                </a:cxn>
                <a:cxn ang="0">
                  <a:pos x="487" y="343"/>
                </a:cxn>
                <a:cxn ang="0">
                  <a:pos x="525" y="354"/>
                </a:cxn>
                <a:cxn ang="0">
                  <a:pos x="562" y="373"/>
                </a:cxn>
                <a:cxn ang="0">
                  <a:pos x="581" y="444"/>
                </a:cxn>
                <a:cxn ang="0">
                  <a:pos x="590" y="336"/>
                </a:cxn>
                <a:cxn ang="0">
                  <a:pos x="704" y="246"/>
                </a:cxn>
                <a:cxn ang="0">
                  <a:pos x="708" y="249"/>
                </a:cxn>
                <a:cxn ang="0">
                  <a:pos x="703" y="203"/>
                </a:cxn>
                <a:cxn ang="0">
                  <a:pos x="723" y="180"/>
                </a:cxn>
                <a:cxn ang="0">
                  <a:pos x="714" y="208"/>
                </a:cxn>
                <a:cxn ang="0">
                  <a:pos x="733" y="201"/>
                </a:cxn>
                <a:cxn ang="0">
                  <a:pos x="744" y="184"/>
                </a:cxn>
                <a:cxn ang="0">
                  <a:pos x="807" y="139"/>
                </a:cxn>
                <a:cxn ang="0">
                  <a:pos x="830" y="135"/>
                </a:cxn>
                <a:cxn ang="0">
                  <a:pos x="837" y="103"/>
                </a:cxn>
                <a:cxn ang="0">
                  <a:pos x="894" y="77"/>
                </a:cxn>
                <a:cxn ang="0">
                  <a:pos x="896" y="42"/>
                </a:cxn>
                <a:cxn ang="0">
                  <a:pos x="824" y="81"/>
                </a:cxn>
                <a:cxn ang="0">
                  <a:pos x="757" y="92"/>
                </a:cxn>
                <a:cxn ang="0">
                  <a:pos x="704" y="111"/>
                </a:cxn>
                <a:cxn ang="0">
                  <a:pos x="654" y="143"/>
                </a:cxn>
                <a:cxn ang="0">
                  <a:pos x="631" y="137"/>
                </a:cxn>
                <a:cxn ang="0">
                  <a:pos x="654" y="115"/>
                </a:cxn>
                <a:cxn ang="0">
                  <a:pos x="650" y="90"/>
                </a:cxn>
                <a:cxn ang="0">
                  <a:pos x="615" y="81"/>
                </a:cxn>
                <a:cxn ang="0">
                  <a:pos x="573" y="141"/>
                </a:cxn>
                <a:cxn ang="0">
                  <a:pos x="573" y="113"/>
                </a:cxn>
                <a:cxn ang="0">
                  <a:pos x="609" y="66"/>
                </a:cxn>
                <a:cxn ang="0">
                  <a:pos x="656" y="57"/>
                </a:cxn>
                <a:cxn ang="0">
                  <a:pos x="645" y="53"/>
                </a:cxn>
                <a:cxn ang="0">
                  <a:pos x="607" y="47"/>
                </a:cxn>
                <a:cxn ang="0">
                  <a:pos x="564" y="53"/>
                </a:cxn>
                <a:cxn ang="0">
                  <a:pos x="586" y="27"/>
                </a:cxn>
                <a:cxn ang="0">
                  <a:pos x="527" y="0"/>
                </a:cxn>
                <a:cxn ang="0">
                  <a:pos x="129" y="15"/>
                </a:cxn>
                <a:cxn ang="0">
                  <a:pos x="118" y="28"/>
                </a:cxn>
                <a:cxn ang="0">
                  <a:pos x="90" y="23"/>
                </a:cxn>
                <a:cxn ang="0">
                  <a:pos x="23" y="145"/>
                </a:cxn>
                <a:cxn ang="0">
                  <a:pos x="0" y="191"/>
                </a:cxn>
                <a:cxn ang="0">
                  <a:pos x="15" y="206"/>
                </a:cxn>
                <a:cxn ang="0">
                  <a:pos x="10" y="227"/>
                </a:cxn>
                <a:cxn ang="0">
                  <a:pos x="8" y="270"/>
                </a:cxn>
                <a:cxn ang="0">
                  <a:pos x="47" y="293"/>
                </a:cxn>
                <a:cxn ang="0">
                  <a:pos x="133" y="332"/>
                </a:cxn>
                <a:cxn ang="0">
                  <a:pos x="223" y="358"/>
                </a:cxn>
                <a:cxn ang="0">
                  <a:pos x="255" y="358"/>
                </a:cxn>
                <a:cxn ang="0">
                  <a:pos x="322" y="431"/>
                </a:cxn>
              </a:cxnLst>
              <a:rect l="0" t="0" r="r" b="b"/>
              <a:pathLst>
                <a:path w="896" h="446">
                  <a:moveTo>
                    <a:pt x="326" y="397"/>
                  </a:moveTo>
                  <a:lnTo>
                    <a:pt x="373" y="369"/>
                  </a:lnTo>
                  <a:lnTo>
                    <a:pt x="373" y="360"/>
                  </a:lnTo>
                  <a:lnTo>
                    <a:pt x="379" y="358"/>
                  </a:lnTo>
                  <a:lnTo>
                    <a:pt x="377" y="366"/>
                  </a:lnTo>
                  <a:lnTo>
                    <a:pt x="392" y="360"/>
                  </a:lnTo>
                  <a:lnTo>
                    <a:pt x="416" y="364"/>
                  </a:lnTo>
                  <a:lnTo>
                    <a:pt x="423" y="358"/>
                  </a:lnTo>
                  <a:lnTo>
                    <a:pt x="429" y="371"/>
                  </a:lnTo>
                  <a:lnTo>
                    <a:pt x="452" y="368"/>
                  </a:lnTo>
                  <a:lnTo>
                    <a:pt x="461" y="373"/>
                  </a:lnTo>
                  <a:lnTo>
                    <a:pt x="465" y="371"/>
                  </a:lnTo>
                  <a:lnTo>
                    <a:pt x="457" y="366"/>
                  </a:lnTo>
                  <a:lnTo>
                    <a:pt x="465" y="354"/>
                  </a:lnTo>
                  <a:lnTo>
                    <a:pt x="448" y="354"/>
                  </a:lnTo>
                  <a:lnTo>
                    <a:pt x="453" y="347"/>
                  </a:lnTo>
                  <a:lnTo>
                    <a:pt x="461" y="351"/>
                  </a:lnTo>
                  <a:lnTo>
                    <a:pt x="487" y="343"/>
                  </a:lnTo>
                  <a:lnTo>
                    <a:pt x="489" y="349"/>
                  </a:lnTo>
                  <a:lnTo>
                    <a:pt x="513" y="347"/>
                  </a:lnTo>
                  <a:lnTo>
                    <a:pt x="525" y="354"/>
                  </a:lnTo>
                  <a:lnTo>
                    <a:pt x="525" y="360"/>
                  </a:lnTo>
                  <a:lnTo>
                    <a:pt x="549" y="354"/>
                  </a:lnTo>
                  <a:lnTo>
                    <a:pt x="562" y="373"/>
                  </a:lnTo>
                  <a:lnTo>
                    <a:pt x="558" y="409"/>
                  </a:lnTo>
                  <a:lnTo>
                    <a:pt x="573" y="446"/>
                  </a:lnTo>
                  <a:lnTo>
                    <a:pt x="581" y="444"/>
                  </a:lnTo>
                  <a:lnTo>
                    <a:pt x="590" y="431"/>
                  </a:lnTo>
                  <a:lnTo>
                    <a:pt x="596" y="411"/>
                  </a:lnTo>
                  <a:lnTo>
                    <a:pt x="590" y="336"/>
                  </a:lnTo>
                  <a:lnTo>
                    <a:pt x="613" y="309"/>
                  </a:lnTo>
                  <a:lnTo>
                    <a:pt x="699" y="257"/>
                  </a:lnTo>
                  <a:lnTo>
                    <a:pt x="704" y="246"/>
                  </a:lnTo>
                  <a:lnTo>
                    <a:pt x="689" y="246"/>
                  </a:lnTo>
                  <a:lnTo>
                    <a:pt x="703" y="242"/>
                  </a:lnTo>
                  <a:lnTo>
                    <a:pt x="708" y="249"/>
                  </a:lnTo>
                  <a:lnTo>
                    <a:pt x="703" y="223"/>
                  </a:lnTo>
                  <a:lnTo>
                    <a:pt x="708" y="208"/>
                  </a:lnTo>
                  <a:lnTo>
                    <a:pt x="703" y="203"/>
                  </a:lnTo>
                  <a:lnTo>
                    <a:pt x="708" y="205"/>
                  </a:lnTo>
                  <a:lnTo>
                    <a:pt x="716" y="184"/>
                  </a:lnTo>
                  <a:lnTo>
                    <a:pt x="723" y="180"/>
                  </a:lnTo>
                  <a:lnTo>
                    <a:pt x="712" y="201"/>
                  </a:lnTo>
                  <a:lnTo>
                    <a:pt x="716" y="203"/>
                  </a:lnTo>
                  <a:lnTo>
                    <a:pt x="714" y="208"/>
                  </a:lnTo>
                  <a:lnTo>
                    <a:pt x="719" y="208"/>
                  </a:lnTo>
                  <a:lnTo>
                    <a:pt x="714" y="221"/>
                  </a:lnTo>
                  <a:lnTo>
                    <a:pt x="733" y="201"/>
                  </a:lnTo>
                  <a:lnTo>
                    <a:pt x="731" y="180"/>
                  </a:lnTo>
                  <a:lnTo>
                    <a:pt x="734" y="190"/>
                  </a:lnTo>
                  <a:lnTo>
                    <a:pt x="744" y="184"/>
                  </a:lnTo>
                  <a:lnTo>
                    <a:pt x="763" y="156"/>
                  </a:lnTo>
                  <a:lnTo>
                    <a:pt x="804" y="146"/>
                  </a:lnTo>
                  <a:lnTo>
                    <a:pt x="807" y="139"/>
                  </a:lnTo>
                  <a:lnTo>
                    <a:pt x="809" y="145"/>
                  </a:lnTo>
                  <a:lnTo>
                    <a:pt x="828" y="141"/>
                  </a:lnTo>
                  <a:lnTo>
                    <a:pt x="830" y="135"/>
                  </a:lnTo>
                  <a:lnTo>
                    <a:pt x="821" y="139"/>
                  </a:lnTo>
                  <a:lnTo>
                    <a:pt x="817" y="128"/>
                  </a:lnTo>
                  <a:lnTo>
                    <a:pt x="837" y="103"/>
                  </a:lnTo>
                  <a:lnTo>
                    <a:pt x="864" y="90"/>
                  </a:lnTo>
                  <a:lnTo>
                    <a:pt x="884" y="87"/>
                  </a:lnTo>
                  <a:lnTo>
                    <a:pt x="894" y="77"/>
                  </a:lnTo>
                  <a:lnTo>
                    <a:pt x="896" y="77"/>
                  </a:lnTo>
                  <a:lnTo>
                    <a:pt x="888" y="68"/>
                  </a:lnTo>
                  <a:lnTo>
                    <a:pt x="896" y="42"/>
                  </a:lnTo>
                  <a:lnTo>
                    <a:pt x="875" y="36"/>
                  </a:lnTo>
                  <a:lnTo>
                    <a:pt x="843" y="75"/>
                  </a:lnTo>
                  <a:lnTo>
                    <a:pt x="824" y="81"/>
                  </a:lnTo>
                  <a:lnTo>
                    <a:pt x="779" y="81"/>
                  </a:lnTo>
                  <a:lnTo>
                    <a:pt x="757" y="92"/>
                  </a:lnTo>
                  <a:lnTo>
                    <a:pt x="757" y="92"/>
                  </a:lnTo>
                  <a:lnTo>
                    <a:pt x="748" y="107"/>
                  </a:lnTo>
                  <a:lnTo>
                    <a:pt x="704" y="111"/>
                  </a:lnTo>
                  <a:lnTo>
                    <a:pt x="704" y="111"/>
                  </a:lnTo>
                  <a:lnTo>
                    <a:pt x="704" y="120"/>
                  </a:lnTo>
                  <a:lnTo>
                    <a:pt x="704" y="120"/>
                  </a:lnTo>
                  <a:lnTo>
                    <a:pt x="654" y="143"/>
                  </a:lnTo>
                  <a:lnTo>
                    <a:pt x="635" y="145"/>
                  </a:lnTo>
                  <a:lnTo>
                    <a:pt x="626" y="139"/>
                  </a:lnTo>
                  <a:lnTo>
                    <a:pt x="631" y="137"/>
                  </a:lnTo>
                  <a:lnTo>
                    <a:pt x="631" y="137"/>
                  </a:lnTo>
                  <a:lnTo>
                    <a:pt x="654" y="115"/>
                  </a:lnTo>
                  <a:lnTo>
                    <a:pt x="654" y="115"/>
                  </a:lnTo>
                  <a:lnTo>
                    <a:pt x="654" y="98"/>
                  </a:lnTo>
                  <a:lnTo>
                    <a:pt x="637" y="105"/>
                  </a:lnTo>
                  <a:lnTo>
                    <a:pt x="650" y="90"/>
                  </a:lnTo>
                  <a:lnTo>
                    <a:pt x="656" y="73"/>
                  </a:lnTo>
                  <a:lnTo>
                    <a:pt x="637" y="68"/>
                  </a:lnTo>
                  <a:lnTo>
                    <a:pt x="615" y="81"/>
                  </a:lnTo>
                  <a:lnTo>
                    <a:pt x="601" y="98"/>
                  </a:lnTo>
                  <a:lnTo>
                    <a:pt x="586" y="131"/>
                  </a:lnTo>
                  <a:lnTo>
                    <a:pt x="573" y="141"/>
                  </a:lnTo>
                  <a:lnTo>
                    <a:pt x="566" y="141"/>
                  </a:lnTo>
                  <a:lnTo>
                    <a:pt x="566" y="131"/>
                  </a:lnTo>
                  <a:lnTo>
                    <a:pt x="573" y="113"/>
                  </a:lnTo>
                  <a:lnTo>
                    <a:pt x="598" y="81"/>
                  </a:lnTo>
                  <a:lnTo>
                    <a:pt x="585" y="87"/>
                  </a:lnTo>
                  <a:lnTo>
                    <a:pt x="609" y="66"/>
                  </a:lnTo>
                  <a:lnTo>
                    <a:pt x="654" y="64"/>
                  </a:lnTo>
                  <a:lnTo>
                    <a:pt x="654" y="57"/>
                  </a:lnTo>
                  <a:lnTo>
                    <a:pt x="656" y="57"/>
                  </a:lnTo>
                  <a:lnTo>
                    <a:pt x="650" y="53"/>
                  </a:lnTo>
                  <a:lnTo>
                    <a:pt x="650" y="53"/>
                  </a:lnTo>
                  <a:lnTo>
                    <a:pt x="645" y="53"/>
                  </a:lnTo>
                  <a:lnTo>
                    <a:pt x="646" y="49"/>
                  </a:lnTo>
                  <a:lnTo>
                    <a:pt x="609" y="55"/>
                  </a:lnTo>
                  <a:lnTo>
                    <a:pt x="607" y="47"/>
                  </a:lnTo>
                  <a:lnTo>
                    <a:pt x="596" y="49"/>
                  </a:lnTo>
                  <a:lnTo>
                    <a:pt x="613" y="36"/>
                  </a:lnTo>
                  <a:lnTo>
                    <a:pt x="564" y="53"/>
                  </a:lnTo>
                  <a:lnTo>
                    <a:pt x="562" y="45"/>
                  </a:lnTo>
                  <a:lnTo>
                    <a:pt x="543" y="51"/>
                  </a:lnTo>
                  <a:lnTo>
                    <a:pt x="586" y="27"/>
                  </a:lnTo>
                  <a:lnTo>
                    <a:pt x="588" y="27"/>
                  </a:lnTo>
                  <a:lnTo>
                    <a:pt x="530" y="13"/>
                  </a:lnTo>
                  <a:lnTo>
                    <a:pt x="527" y="0"/>
                  </a:lnTo>
                  <a:lnTo>
                    <a:pt x="517" y="8"/>
                  </a:lnTo>
                  <a:lnTo>
                    <a:pt x="129" y="8"/>
                  </a:lnTo>
                  <a:lnTo>
                    <a:pt x="129" y="15"/>
                  </a:lnTo>
                  <a:lnTo>
                    <a:pt x="113" y="34"/>
                  </a:lnTo>
                  <a:lnTo>
                    <a:pt x="107" y="34"/>
                  </a:lnTo>
                  <a:lnTo>
                    <a:pt x="118" y="28"/>
                  </a:lnTo>
                  <a:lnTo>
                    <a:pt x="113" y="23"/>
                  </a:lnTo>
                  <a:lnTo>
                    <a:pt x="94" y="17"/>
                  </a:lnTo>
                  <a:lnTo>
                    <a:pt x="90" y="23"/>
                  </a:lnTo>
                  <a:lnTo>
                    <a:pt x="77" y="58"/>
                  </a:lnTo>
                  <a:lnTo>
                    <a:pt x="30" y="120"/>
                  </a:lnTo>
                  <a:lnTo>
                    <a:pt x="23" y="145"/>
                  </a:lnTo>
                  <a:lnTo>
                    <a:pt x="4" y="165"/>
                  </a:lnTo>
                  <a:lnTo>
                    <a:pt x="6" y="178"/>
                  </a:lnTo>
                  <a:lnTo>
                    <a:pt x="0" y="191"/>
                  </a:lnTo>
                  <a:lnTo>
                    <a:pt x="6" y="203"/>
                  </a:lnTo>
                  <a:lnTo>
                    <a:pt x="2" y="208"/>
                  </a:lnTo>
                  <a:lnTo>
                    <a:pt x="15" y="206"/>
                  </a:lnTo>
                  <a:lnTo>
                    <a:pt x="4" y="221"/>
                  </a:lnTo>
                  <a:lnTo>
                    <a:pt x="6" y="227"/>
                  </a:lnTo>
                  <a:lnTo>
                    <a:pt x="10" y="227"/>
                  </a:lnTo>
                  <a:lnTo>
                    <a:pt x="4" y="238"/>
                  </a:lnTo>
                  <a:lnTo>
                    <a:pt x="13" y="261"/>
                  </a:lnTo>
                  <a:lnTo>
                    <a:pt x="8" y="270"/>
                  </a:lnTo>
                  <a:lnTo>
                    <a:pt x="38" y="279"/>
                  </a:lnTo>
                  <a:lnTo>
                    <a:pt x="36" y="285"/>
                  </a:lnTo>
                  <a:lnTo>
                    <a:pt x="47" y="293"/>
                  </a:lnTo>
                  <a:lnTo>
                    <a:pt x="49" y="309"/>
                  </a:lnTo>
                  <a:lnTo>
                    <a:pt x="81" y="306"/>
                  </a:lnTo>
                  <a:lnTo>
                    <a:pt x="133" y="332"/>
                  </a:lnTo>
                  <a:lnTo>
                    <a:pt x="208" y="324"/>
                  </a:lnTo>
                  <a:lnTo>
                    <a:pt x="223" y="343"/>
                  </a:lnTo>
                  <a:lnTo>
                    <a:pt x="223" y="358"/>
                  </a:lnTo>
                  <a:lnTo>
                    <a:pt x="232" y="371"/>
                  </a:lnTo>
                  <a:lnTo>
                    <a:pt x="242" y="373"/>
                  </a:lnTo>
                  <a:lnTo>
                    <a:pt x="255" y="358"/>
                  </a:lnTo>
                  <a:lnTo>
                    <a:pt x="274" y="360"/>
                  </a:lnTo>
                  <a:lnTo>
                    <a:pt x="294" y="422"/>
                  </a:lnTo>
                  <a:lnTo>
                    <a:pt x="322" y="431"/>
                  </a:lnTo>
                  <a:lnTo>
                    <a:pt x="326" y="397"/>
                  </a:lnTo>
                  <a:lnTo>
                    <a:pt x="326" y="397"/>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38" name="Freeform 5746"/>
            <p:cNvSpPr>
              <a:spLocks/>
            </p:cNvSpPr>
            <p:nvPr>
              <p:custDataLst>
                <p:tags r:id="rId118"/>
              </p:custDataLst>
            </p:nvPr>
          </p:nvSpPr>
          <p:spPr bwMode="gray">
            <a:xfrm>
              <a:off x="4690423" y="3934220"/>
              <a:ext cx="82118" cy="101480"/>
            </a:xfrm>
            <a:custGeom>
              <a:avLst/>
              <a:gdLst/>
              <a:ahLst/>
              <a:cxnLst>
                <a:cxn ang="0">
                  <a:pos x="45" y="64"/>
                </a:cxn>
                <a:cxn ang="0">
                  <a:pos x="34" y="77"/>
                </a:cxn>
                <a:cxn ang="0">
                  <a:pos x="34" y="79"/>
                </a:cxn>
                <a:cxn ang="0">
                  <a:pos x="4" y="68"/>
                </a:cxn>
                <a:cxn ang="0">
                  <a:pos x="0" y="62"/>
                </a:cxn>
                <a:cxn ang="0">
                  <a:pos x="15" y="34"/>
                </a:cxn>
                <a:cxn ang="0">
                  <a:pos x="32" y="30"/>
                </a:cxn>
                <a:cxn ang="0">
                  <a:pos x="23" y="12"/>
                </a:cxn>
                <a:cxn ang="0">
                  <a:pos x="32" y="2"/>
                </a:cxn>
                <a:cxn ang="0">
                  <a:pos x="56" y="0"/>
                </a:cxn>
                <a:cxn ang="0">
                  <a:pos x="51" y="32"/>
                </a:cxn>
                <a:cxn ang="0">
                  <a:pos x="55" y="36"/>
                </a:cxn>
                <a:cxn ang="0">
                  <a:pos x="64" y="42"/>
                </a:cxn>
                <a:cxn ang="0">
                  <a:pos x="45" y="64"/>
                </a:cxn>
                <a:cxn ang="0">
                  <a:pos x="45" y="64"/>
                </a:cxn>
              </a:cxnLst>
              <a:rect l="0" t="0" r="r" b="b"/>
              <a:pathLst>
                <a:path w="64" h="79">
                  <a:moveTo>
                    <a:pt x="45" y="64"/>
                  </a:moveTo>
                  <a:lnTo>
                    <a:pt x="34" y="77"/>
                  </a:lnTo>
                  <a:lnTo>
                    <a:pt x="34" y="79"/>
                  </a:lnTo>
                  <a:lnTo>
                    <a:pt x="4" y="68"/>
                  </a:lnTo>
                  <a:lnTo>
                    <a:pt x="0" y="62"/>
                  </a:lnTo>
                  <a:lnTo>
                    <a:pt x="15" y="34"/>
                  </a:lnTo>
                  <a:lnTo>
                    <a:pt x="32" y="30"/>
                  </a:lnTo>
                  <a:lnTo>
                    <a:pt x="23" y="12"/>
                  </a:lnTo>
                  <a:lnTo>
                    <a:pt x="32" y="2"/>
                  </a:lnTo>
                  <a:lnTo>
                    <a:pt x="56" y="0"/>
                  </a:lnTo>
                  <a:lnTo>
                    <a:pt x="51" y="32"/>
                  </a:lnTo>
                  <a:lnTo>
                    <a:pt x="55" y="36"/>
                  </a:lnTo>
                  <a:lnTo>
                    <a:pt x="64" y="42"/>
                  </a:lnTo>
                  <a:lnTo>
                    <a:pt x="45" y="64"/>
                  </a:lnTo>
                  <a:lnTo>
                    <a:pt x="45" y="6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39" name="Freeform 5747"/>
            <p:cNvSpPr>
              <a:spLocks/>
            </p:cNvSpPr>
            <p:nvPr>
              <p:custDataLst>
                <p:tags r:id="rId119"/>
              </p:custDataLst>
            </p:nvPr>
          </p:nvSpPr>
          <p:spPr bwMode="gray">
            <a:xfrm>
              <a:off x="4734049" y="4016432"/>
              <a:ext cx="46191" cy="30829"/>
            </a:xfrm>
            <a:custGeom>
              <a:avLst/>
              <a:gdLst/>
              <a:ahLst/>
              <a:cxnLst>
                <a:cxn ang="0">
                  <a:pos x="36" y="13"/>
                </a:cxn>
                <a:cxn ang="0">
                  <a:pos x="11" y="0"/>
                </a:cxn>
                <a:cxn ang="0">
                  <a:pos x="0" y="13"/>
                </a:cxn>
                <a:cxn ang="0">
                  <a:pos x="0" y="15"/>
                </a:cxn>
                <a:cxn ang="0">
                  <a:pos x="4" y="21"/>
                </a:cxn>
                <a:cxn ang="0">
                  <a:pos x="34" y="24"/>
                </a:cxn>
                <a:cxn ang="0">
                  <a:pos x="36" y="21"/>
                </a:cxn>
                <a:cxn ang="0">
                  <a:pos x="36" y="13"/>
                </a:cxn>
                <a:cxn ang="0">
                  <a:pos x="36" y="13"/>
                </a:cxn>
              </a:cxnLst>
              <a:rect l="0" t="0" r="r" b="b"/>
              <a:pathLst>
                <a:path w="36" h="24">
                  <a:moveTo>
                    <a:pt x="36" y="13"/>
                  </a:moveTo>
                  <a:lnTo>
                    <a:pt x="11" y="0"/>
                  </a:lnTo>
                  <a:lnTo>
                    <a:pt x="0" y="13"/>
                  </a:lnTo>
                  <a:lnTo>
                    <a:pt x="0" y="15"/>
                  </a:lnTo>
                  <a:lnTo>
                    <a:pt x="4" y="21"/>
                  </a:lnTo>
                  <a:lnTo>
                    <a:pt x="34" y="24"/>
                  </a:lnTo>
                  <a:lnTo>
                    <a:pt x="36" y="21"/>
                  </a:lnTo>
                  <a:lnTo>
                    <a:pt x="36" y="13"/>
                  </a:lnTo>
                  <a:lnTo>
                    <a:pt x="36" y="1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40" name="Freeform 5748"/>
            <p:cNvSpPr>
              <a:spLocks/>
            </p:cNvSpPr>
            <p:nvPr>
              <p:custDataLst>
                <p:tags r:id="rId120"/>
              </p:custDataLst>
            </p:nvPr>
          </p:nvSpPr>
          <p:spPr bwMode="gray">
            <a:xfrm>
              <a:off x="4932928" y="4141035"/>
              <a:ext cx="10265" cy="12846"/>
            </a:xfrm>
            <a:custGeom>
              <a:avLst/>
              <a:gdLst/>
              <a:ahLst/>
              <a:cxnLst>
                <a:cxn ang="0">
                  <a:pos x="0" y="0"/>
                </a:cxn>
                <a:cxn ang="0">
                  <a:pos x="2" y="0"/>
                </a:cxn>
                <a:cxn ang="0">
                  <a:pos x="8" y="6"/>
                </a:cxn>
                <a:cxn ang="0">
                  <a:pos x="6" y="10"/>
                </a:cxn>
                <a:cxn ang="0">
                  <a:pos x="0" y="0"/>
                </a:cxn>
                <a:cxn ang="0">
                  <a:pos x="0" y="0"/>
                </a:cxn>
              </a:cxnLst>
              <a:rect l="0" t="0" r="r" b="b"/>
              <a:pathLst>
                <a:path w="8" h="10">
                  <a:moveTo>
                    <a:pt x="0" y="0"/>
                  </a:moveTo>
                  <a:lnTo>
                    <a:pt x="2" y="0"/>
                  </a:lnTo>
                  <a:lnTo>
                    <a:pt x="8" y="6"/>
                  </a:lnTo>
                  <a:lnTo>
                    <a:pt x="6" y="1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41" name="Freeform 5749"/>
            <p:cNvSpPr>
              <a:spLocks/>
            </p:cNvSpPr>
            <p:nvPr>
              <p:custDataLst>
                <p:tags r:id="rId121"/>
              </p:custDataLst>
            </p:nvPr>
          </p:nvSpPr>
          <p:spPr bwMode="gray">
            <a:xfrm>
              <a:off x="4935494" y="4134612"/>
              <a:ext cx="53890" cy="52667"/>
            </a:xfrm>
            <a:custGeom>
              <a:avLst/>
              <a:gdLst/>
              <a:ahLst/>
              <a:cxnLst>
                <a:cxn ang="0">
                  <a:pos x="40" y="17"/>
                </a:cxn>
                <a:cxn ang="0">
                  <a:pos x="27" y="4"/>
                </a:cxn>
                <a:cxn ang="0">
                  <a:pos x="13" y="0"/>
                </a:cxn>
                <a:cxn ang="0">
                  <a:pos x="0" y="5"/>
                </a:cxn>
                <a:cxn ang="0">
                  <a:pos x="6" y="11"/>
                </a:cxn>
                <a:cxn ang="0">
                  <a:pos x="27" y="22"/>
                </a:cxn>
                <a:cxn ang="0">
                  <a:pos x="23" y="28"/>
                </a:cxn>
                <a:cxn ang="0">
                  <a:pos x="30" y="41"/>
                </a:cxn>
                <a:cxn ang="0">
                  <a:pos x="42" y="28"/>
                </a:cxn>
                <a:cxn ang="0">
                  <a:pos x="40" y="17"/>
                </a:cxn>
                <a:cxn ang="0">
                  <a:pos x="40" y="17"/>
                </a:cxn>
              </a:cxnLst>
              <a:rect l="0" t="0" r="r" b="b"/>
              <a:pathLst>
                <a:path w="42" h="41">
                  <a:moveTo>
                    <a:pt x="40" y="17"/>
                  </a:moveTo>
                  <a:lnTo>
                    <a:pt x="27" y="4"/>
                  </a:lnTo>
                  <a:lnTo>
                    <a:pt x="13" y="0"/>
                  </a:lnTo>
                  <a:lnTo>
                    <a:pt x="0" y="5"/>
                  </a:lnTo>
                  <a:lnTo>
                    <a:pt x="6" y="11"/>
                  </a:lnTo>
                  <a:lnTo>
                    <a:pt x="27" y="22"/>
                  </a:lnTo>
                  <a:lnTo>
                    <a:pt x="23" y="28"/>
                  </a:lnTo>
                  <a:lnTo>
                    <a:pt x="30" y="41"/>
                  </a:lnTo>
                  <a:lnTo>
                    <a:pt x="42" y="28"/>
                  </a:lnTo>
                  <a:lnTo>
                    <a:pt x="40" y="17"/>
                  </a:lnTo>
                  <a:lnTo>
                    <a:pt x="40" y="1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42" name="Freeform 5750"/>
            <p:cNvSpPr>
              <a:spLocks/>
            </p:cNvSpPr>
            <p:nvPr>
              <p:custDataLst>
                <p:tags r:id="rId122"/>
              </p:custDataLst>
            </p:nvPr>
          </p:nvSpPr>
          <p:spPr bwMode="gray">
            <a:xfrm>
              <a:off x="4871340" y="4134612"/>
              <a:ext cx="69287" cy="55236"/>
            </a:xfrm>
            <a:custGeom>
              <a:avLst/>
              <a:gdLst/>
              <a:ahLst/>
              <a:cxnLst>
                <a:cxn ang="0">
                  <a:pos x="2" y="0"/>
                </a:cxn>
                <a:cxn ang="0">
                  <a:pos x="7" y="0"/>
                </a:cxn>
                <a:cxn ang="0">
                  <a:pos x="13" y="9"/>
                </a:cxn>
                <a:cxn ang="0">
                  <a:pos x="24" y="13"/>
                </a:cxn>
                <a:cxn ang="0">
                  <a:pos x="48" y="5"/>
                </a:cxn>
                <a:cxn ang="0">
                  <a:pos x="54" y="15"/>
                </a:cxn>
                <a:cxn ang="0">
                  <a:pos x="39" y="24"/>
                </a:cxn>
                <a:cxn ang="0">
                  <a:pos x="47" y="37"/>
                </a:cxn>
                <a:cxn ang="0">
                  <a:pos x="32" y="43"/>
                </a:cxn>
                <a:cxn ang="0">
                  <a:pos x="30" y="32"/>
                </a:cxn>
                <a:cxn ang="0">
                  <a:pos x="0" y="22"/>
                </a:cxn>
                <a:cxn ang="0">
                  <a:pos x="2" y="0"/>
                </a:cxn>
                <a:cxn ang="0">
                  <a:pos x="2" y="0"/>
                </a:cxn>
              </a:cxnLst>
              <a:rect l="0" t="0" r="r" b="b"/>
              <a:pathLst>
                <a:path w="54" h="43">
                  <a:moveTo>
                    <a:pt x="2" y="0"/>
                  </a:moveTo>
                  <a:lnTo>
                    <a:pt x="7" y="0"/>
                  </a:lnTo>
                  <a:lnTo>
                    <a:pt x="13" y="9"/>
                  </a:lnTo>
                  <a:lnTo>
                    <a:pt x="24" y="13"/>
                  </a:lnTo>
                  <a:lnTo>
                    <a:pt x="48" y="5"/>
                  </a:lnTo>
                  <a:lnTo>
                    <a:pt x="54" y="15"/>
                  </a:lnTo>
                  <a:lnTo>
                    <a:pt x="39" y="24"/>
                  </a:lnTo>
                  <a:lnTo>
                    <a:pt x="47" y="37"/>
                  </a:lnTo>
                  <a:lnTo>
                    <a:pt x="32" y="43"/>
                  </a:lnTo>
                  <a:lnTo>
                    <a:pt x="30" y="32"/>
                  </a:lnTo>
                  <a:lnTo>
                    <a:pt x="0" y="22"/>
                  </a:lnTo>
                  <a:lnTo>
                    <a:pt x="2" y="0"/>
                  </a:lnTo>
                  <a:lnTo>
                    <a:pt x="2"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43" name="Freeform 5751"/>
            <p:cNvSpPr>
              <a:spLocks/>
            </p:cNvSpPr>
            <p:nvPr>
              <p:custDataLst>
                <p:tags r:id="rId123"/>
              </p:custDataLst>
            </p:nvPr>
          </p:nvSpPr>
          <p:spPr bwMode="gray">
            <a:xfrm>
              <a:off x="4816167" y="4098644"/>
              <a:ext cx="64155" cy="64228"/>
            </a:xfrm>
            <a:custGeom>
              <a:avLst/>
              <a:gdLst/>
              <a:ahLst/>
              <a:cxnLst>
                <a:cxn ang="0">
                  <a:pos x="45" y="28"/>
                </a:cxn>
                <a:cxn ang="0">
                  <a:pos x="50" y="28"/>
                </a:cxn>
                <a:cxn ang="0">
                  <a:pos x="41" y="18"/>
                </a:cxn>
                <a:cxn ang="0">
                  <a:pos x="33" y="2"/>
                </a:cxn>
                <a:cxn ang="0">
                  <a:pos x="2" y="0"/>
                </a:cxn>
                <a:cxn ang="0">
                  <a:pos x="0" y="20"/>
                </a:cxn>
                <a:cxn ang="0">
                  <a:pos x="7" y="26"/>
                </a:cxn>
                <a:cxn ang="0">
                  <a:pos x="13" y="18"/>
                </a:cxn>
                <a:cxn ang="0">
                  <a:pos x="32" y="37"/>
                </a:cxn>
                <a:cxn ang="0">
                  <a:pos x="30" y="47"/>
                </a:cxn>
                <a:cxn ang="0">
                  <a:pos x="43" y="50"/>
                </a:cxn>
                <a:cxn ang="0">
                  <a:pos x="45" y="28"/>
                </a:cxn>
                <a:cxn ang="0">
                  <a:pos x="45" y="28"/>
                </a:cxn>
              </a:cxnLst>
              <a:rect l="0" t="0" r="r" b="b"/>
              <a:pathLst>
                <a:path w="50" h="50">
                  <a:moveTo>
                    <a:pt x="45" y="28"/>
                  </a:moveTo>
                  <a:lnTo>
                    <a:pt x="50" y="28"/>
                  </a:lnTo>
                  <a:lnTo>
                    <a:pt x="41" y="18"/>
                  </a:lnTo>
                  <a:lnTo>
                    <a:pt x="33" y="2"/>
                  </a:lnTo>
                  <a:lnTo>
                    <a:pt x="2" y="0"/>
                  </a:lnTo>
                  <a:lnTo>
                    <a:pt x="0" y="20"/>
                  </a:lnTo>
                  <a:lnTo>
                    <a:pt x="7" y="26"/>
                  </a:lnTo>
                  <a:lnTo>
                    <a:pt x="13" y="18"/>
                  </a:lnTo>
                  <a:lnTo>
                    <a:pt x="32" y="37"/>
                  </a:lnTo>
                  <a:lnTo>
                    <a:pt x="30" y="47"/>
                  </a:lnTo>
                  <a:lnTo>
                    <a:pt x="43" y="50"/>
                  </a:lnTo>
                  <a:lnTo>
                    <a:pt x="45" y="28"/>
                  </a:lnTo>
                  <a:lnTo>
                    <a:pt x="45" y="2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44" name="Freeform 5752"/>
            <p:cNvSpPr>
              <a:spLocks/>
            </p:cNvSpPr>
            <p:nvPr>
              <p:custDataLst>
                <p:tags r:id="rId124"/>
              </p:custDataLst>
            </p:nvPr>
          </p:nvSpPr>
          <p:spPr bwMode="gray">
            <a:xfrm>
              <a:off x="4748163" y="3983034"/>
              <a:ext cx="125743" cy="66797"/>
            </a:xfrm>
            <a:custGeom>
              <a:avLst/>
              <a:gdLst/>
              <a:ahLst/>
              <a:cxnLst>
                <a:cxn ang="0">
                  <a:pos x="19" y="4"/>
                </a:cxn>
                <a:cxn ang="0">
                  <a:pos x="75" y="0"/>
                </a:cxn>
                <a:cxn ang="0">
                  <a:pos x="98" y="15"/>
                </a:cxn>
                <a:cxn ang="0">
                  <a:pos x="73" y="22"/>
                </a:cxn>
                <a:cxn ang="0">
                  <a:pos x="30" y="52"/>
                </a:cxn>
                <a:cxn ang="0">
                  <a:pos x="25" y="47"/>
                </a:cxn>
                <a:cxn ang="0">
                  <a:pos x="25" y="39"/>
                </a:cxn>
                <a:cxn ang="0">
                  <a:pos x="0" y="26"/>
                </a:cxn>
                <a:cxn ang="0">
                  <a:pos x="19" y="4"/>
                </a:cxn>
                <a:cxn ang="0">
                  <a:pos x="19" y="4"/>
                </a:cxn>
              </a:cxnLst>
              <a:rect l="0" t="0" r="r" b="b"/>
              <a:pathLst>
                <a:path w="98" h="52">
                  <a:moveTo>
                    <a:pt x="19" y="4"/>
                  </a:moveTo>
                  <a:lnTo>
                    <a:pt x="75" y="0"/>
                  </a:lnTo>
                  <a:lnTo>
                    <a:pt x="98" y="15"/>
                  </a:lnTo>
                  <a:lnTo>
                    <a:pt x="73" y="22"/>
                  </a:lnTo>
                  <a:lnTo>
                    <a:pt x="30" y="52"/>
                  </a:lnTo>
                  <a:lnTo>
                    <a:pt x="25" y="47"/>
                  </a:lnTo>
                  <a:lnTo>
                    <a:pt x="25" y="39"/>
                  </a:lnTo>
                  <a:lnTo>
                    <a:pt x="0" y="26"/>
                  </a:lnTo>
                  <a:lnTo>
                    <a:pt x="19" y="4"/>
                  </a:lnTo>
                  <a:lnTo>
                    <a:pt x="19" y="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45" name="Freeform 5753"/>
            <p:cNvSpPr>
              <a:spLocks/>
            </p:cNvSpPr>
            <p:nvPr>
              <p:custDataLst>
                <p:tags r:id="rId125"/>
              </p:custDataLst>
            </p:nvPr>
          </p:nvSpPr>
          <p:spPr bwMode="gray">
            <a:xfrm>
              <a:off x="5450014" y="5074909"/>
              <a:ext cx="101364" cy="109188"/>
            </a:xfrm>
            <a:custGeom>
              <a:avLst/>
              <a:gdLst/>
              <a:ahLst/>
              <a:cxnLst>
                <a:cxn ang="0">
                  <a:pos x="4" y="72"/>
                </a:cxn>
                <a:cxn ang="0">
                  <a:pos x="0" y="0"/>
                </a:cxn>
                <a:cxn ang="0">
                  <a:pos x="15" y="0"/>
                </a:cxn>
                <a:cxn ang="0">
                  <a:pos x="30" y="15"/>
                </a:cxn>
                <a:cxn ang="0">
                  <a:pos x="36" y="12"/>
                </a:cxn>
                <a:cxn ang="0">
                  <a:pos x="68" y="32"/>
                </a:cxn>
                <a:cxn ang="0">
                  <a:pos x="79" y="47"/>
                </a:cxn>
                <a:cxn ang="0">
                  <a:pos x="79" y="66"/>
                </a:cxn>
                <a:cxn ang="0">
                  <a:pos x="73" y="79"/>
                </a:cxn>
                <a:cxn ang="0">
                  <a:pos x="40" y="85"/>
                </a:cxn>
                <a:cxn ang="0">
                  <a:pos x="4" y="72"/>
                </a:cxn>
                <a:cxn ang="0">
                  <a:pos x="4" y="72"/>
                </a:cxn>
                <a:cxn ang="0">
                  <a:pos x="4" y="72"/>
                </a:cxn>
              </a:cxnLst>
              <a:rect l="0" t="0" r="r" b="b"/>
              <a:pathLst>
                <a:path w="79" h="85">
                  <a:moveTo>
                    <a:pt x="4" y="72"/>
                  </a:moveTo>
                  <a:lnTo>
                    <a:pt x="0" y="0"/>
                  </a:lnTo>
                  <a:lnTo>
                    <a:pt x="15" y="0"/>
                  </a:lnTo>
                  <a:lnTo>
                    <a:pt x="30" y="15"/>
                  </a:lnTo>
                  <a:lnTo>
                    <a:pt x="36" y="12"/>
                  </a:lnTo>
                  <a:lnTo>
                    <a:pt x="68" y="32"/>
                  </a:lnTo>
                  <a:lnTo>
                    <a:pt x="79" y="47"/>
                  </a:lnTo>
                  <a:lnTo>
                    <a:pt x="79" y="66"/>
                  </a:lnTo>
                  <a:lnTo>
                    <a:pt x="73" y="79"/>
                  </a:lnTo>
                  <a:lnTo>
                    <a:pt x="40" y="85"/>
                  </a:lnTo>
                  <a:lnTo>
                    <a:pt x="4" y="72"/>
                  </a:lnTo>
                  <a:lnTo>
                    <a:pt x="4" y="72"/>
                  </a:lnTo>
                  <a:lnTo>
                    <a:pt x="4" y="7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46" name="Freeform 5754"/>
            <p:cNvSpPr>
              <a:spLocks/>
            </p:cNvSpPr>
            <p:nvPr>
              <p:custDataLst>
                <p:tags r:id="rId126"/>
              </p:custDataLst>
            </p:nvPr>
          </p:nvSpPr>
          <p:spPr bwMode="gray">
            <a:xfrm>
              <a:off x="5061237" y="4237376"/>
              <a:ext cx="812198" cy="922314"/>
            </a:xfrm>
            <a:custGeom>
              <a:avLst/>
              <a:gdLst/>
              <a:ahLst/>
              <a:cxnLst>
                <a:cxn ang="0">
                  <a:pos x="335" y="53"/>
                </a:cxn>
                <a:cxn ang="0">
                  <a:pos x="311" y="53"/>
                </a:cxn>
                <a:cxn ang="0">
                  <a:pos x="284" y="62"/>
                </a:cxn>
                <a:cxn ang="0">
                  <a:pos x="268" y="58"/>
                </a:cxn>
                <a:cxn ang="0">
                  <a:pos x="232" y="68"/>
                </a:cxn>
                <a:cxn ang="0">
                  <a:pos x="228" y="19"/>
                </a:cxn>
                <a:cxn ang="0">
                  <a:pos x="211" y="0"/>
                </a:cxn>
                <a:cxn ang="0">
                  <a:pos x="172" y="25"/>
                </a:cxn>
                <a:cxn ang="0">
                  <a:pos x="151" y="28"/>
                </a:cxn>
                <a:cxn ang="0">
                  <a:pos x="163" y="57"/>
                </a:cxn>
                <a:cxn ang="0">
                  <a:pos x="116" y="81"/>
                </a:cxn>
                <a:cxn ang="0">
                  <a:pos x="97" y="62"/>
                </a:cxn>
                <a:cxn ang="0">
                  <a:pos x="60" y="75"/>
                </a:cxn>
                <a:cxn ang="0">
                  <a:pos x="56" y="90"/>
                </a:cxn>
                <a:cxn ang="0">
                  <a:pos x="58" y="173"/>
                </a:cxn>
                <a:cxn ang="0">
                  <a:pos x="11" y="203"/>
                </a:cxn>
                <a:cxn ang="0">
                  <a:pos x="15" y="261"/>
                </a:cxn>
                <a:cxn ang="0">
                  <a:pos x="32" y="280"/>
                </a:cxn>
                <a:cxn ang="0">
                  <a:pos x="56" y="296"/>
                </a:cxn>
                <a:cxn ang="0">
                  <a:pos x="92" y="296"/>
                </a:cxn>
                <a:cxn ang="0">
                  <a:pos x="136" y="274"/>
                </a:cxn>
                <a:cxn ang="0">
                  <a:pos x="146" y="317"/>
                </a:cxn>
                <a:cxn ang="0">
                  <a:pos x="226" y="366"/>
                </a:cxn>
                <a:cxn ang="0">
                  <a:pos x="230" y="394"/>
                </a:cxn>
                <a:cxn ang="0">
                  <a:pos x="260" y="409"/>
                </a:cxn>
                <a:cxn ang="0">
                  <a:pos x="271" y="467"/>
                </a:cxn>
                <a:cxn ang="0">
                  <a:pos x="307" y="506"/>
                </a:cxn>
                <a:cxn ang="0">
                  <a:pos x="320" y="534"/>
                </a:cxn>
                <a:cxn ang="0">
                  <a:pos x="341" y="566"/>
                </a:cxn>
                <a:cxn ang="0">
                  <a:pos x="356" y="592"/>
                </a:cxn>
                <a:cxn ang="0">
                  <a:pos x="303" y="652"/>
                </a:cxn>
                <a:cxn ang="0">
                  <a:pos x="333" y="667"/>
                </a:cxn>
                <a:cxn ang="0">
                  <a:pos x="371" y="684"/>
                </a:cxn>
                <a:cxn ang="0">
                  <a:pos x="382" y="718"/>
                </a:cxn>
                <a:cxn ang="0">
                  <a:pos x="412" y="677"/>
                </a:cxn>
                <a:cxn ang="0">
                  <a:pos x="438" y="620"/>
                </a:cxn>
                <a:cxn ang="0">
                  <a:pos x="459" y="540"/>
                </a:cxn>
                <a:cxn ang="0">
                  <a:pos x="479" y="534"/>
                </a:cxn>
                <a:cxn ang="0">
                  <a:pos x="494" y="527"/>
                </a:cxn>
                <a:cxn ang="0">
                  <a:pos x="534" y="517"/>
                </a:cxn>
                <a:cxn ang="0">
                  <a:pos x="547" y="501"/>
                </a:cxn>
                <a:cxn ang="0">
                  <a:pos x="565" y="456"/>
                </a:cxn>
                <a:cxn ang="0">
                  <a:pos x="571" y="420"/>
                </a:cxn>
                <a:cxn ang="0">
                  <a:pos x="620" y="272"/>
                </a:cxn>
                <a:cxn ang="0">
                  <a:pos x="633" y="223"/>
                </a:cxn>
                <a:cxn ang="0">
                  <a:pos x="595" y="190"/>
                </a:cxn>
                <a:cxn ang="0">
                  <a:pos x="522" y="150"/>
                </a:cxn>
                <a:cxn ang="0">
                  <a:pos x="472" y="148"/>
                </a:cxn>
                <a:cxn ang="0">
                  <a:pos x="468" y="122"/>
                </a:cxn>
                <a:cxn ang="0">
                  <a:pos x="457" y="120"/>
                </a:cxn>
                <a:cxn ang="0">
                  <a:pos x="414" y="111"/>
                </a:cxn>
                <a:cxn ang="0">
                  <a:pos x="402" y="122"/>
                </a:cxn>
                <a:cxn ang="0">
                  <a:pos x="399" y="98"/>
                </a:cxn>
                <a:cxn ang="0">
                  <a:pos x="374" y="126"/>
                </a:cxn>
                <a:cxn ang="0">
                  <a:pos x="359" y="118"/>
                </a:cxn>
                <a:cxn ang="0">
                  <a:pos x="382" y="77"/>
                </a:cxn>
                <a:cxn ang="0">
                  <a:pos x="374" y="62"/>
                </a:cxn>
                <a:cxn ang="0">
                  <a:pos x="358" y="21"/>
                </a:cxn>
              </a:cxnLst>
              <a:rect l="0" t="0" r="r" b="b"/>
              <a:pathLst>
                <a:path w="633" h="718">
                  <a:moveTo>
                    <a:pt x="358" y="21"/>
                  </a:moveTo>
                  <a:lnTo>
                    <a:pt x="335" y="53"/>
                  </a:lnTo>
                  <a:lnTo>
                    <a:pt x="320" y="58"/>
                  </a:lnTo>
                  <a:lnTo>
                    <a:pt x="311" y="53"/>
                  </a:lnTo>
                  <a:lnTo>
                    <a:pt x="290" y="51"/>
                  </a:lnTo>
                  <a:lnTo>
                    <a:pt x="284" y="62"/>
                  </a:lnTo>
                  <a:lnTo>
                    <a:pt x="279" y="58"/>
                  </a:lnTo>
                  <a:lnTo>
                    <a:pt x="268" y="58"/>
                  </a:lnTo>
                  <a:lnTo>
                    <a:pt x="241" y="72"/>
                  </a:lnTo>
                  <a:lnTo>
                    <a:pt x="232" y="68"/>
                  </a:lnTo>
                  <a:lnTo>
                    <a:pt x="223" y="47"/>
                  </a:lnTo>
                  <a:lnTo>
                    <a:pt x="228" y="19"/>
                  </a:lnTo>
                  <a:lnTo>
                    <a:pt x="223" y="2"/>
                  </a:lnTo>
                  <a:lnTo>
                    <a:pt x="211" y="0"/>
                  </a:lnTo>
                  <a:lnTo>
                    <a:pt x="208" y="10"/>
                  </a:lnTo>
                  <a:lnTo>
                    <a:pt x="172" y="25"/>
                  </a:lnTo>
                  <a:lnTo>
                    <a:pt x="144" y="21"/>
                  </a:lnTo>
                  <a:lnTo>
                    <a:pt x="151" y="28"/>
                  </a:lnTo>
                  <a:lnTo>
                    <a:pt x="151" y="47"/>
                  </a:lnTo>
                  <a:lnTo>
                    <a:pt x="163" y="57"/>
                  </a:lnTo>
                  <a:lnTo>
                    <a:pt x="127" y="81"/>
                  </a:lnTo>
                  <a:lnTo>
                    <a:pt x="116" y="81"/>
                  </a:lnTo>
                  <a:lnTo>
                    <a:pt x="108" y="72"/>
                  </a:lnTo>
                  <a:lnTo>
                    <a:pt x="97" y="62"/>
                  </a:lnTo>
                  <a:lnTo>
                    <a:pt x="62" y="64"/>
                  </a:lnTo>
                  <a:lnTo>
                    <a:pt x="60" y="75"/>
                  </a:lnTo>
                  <a:lnTo>
                    <a:pt x="71" y="85"/>
                  </a:lnTo>
                  <a:lnTo>
                    <a:pt x="56" y="90"/>
                  </a:lnTo>
                  <a:lnTo>
                    <a:pt x="65" y="120"/>
                  </a:lnTo>
                  <a:lnTo>
                    <a:pt x="58" y="173"/>
                  </a:lnTo>
                  <a:lnTo>
                    <a:pt x="22" y="188"/>
                  </a:lnTo>
                  <a:lnTo>
                    <a:pt x="11" y="203"/>
                  </a:lnTo>
                  <a:lnTo>
                    <a:pt x="0" y="238"/>
                  </a:lnTo>
                  <a:lnTo>
                    <a:pt x="15" y="261"/>
                  </a:lnTo>
                  <a:lnTo>
                    <a:pt x="13" y="266"/>
                  </a:lnTo>
                  <a:lnTo>
                    <a:pt x="32" y="280"/>
                  </a:lnTo>
                  <a:lnTo>
                    <a:pt x="52" y="268"/>
                  </a:lnTo>
                  <a:lnTo>
                    <a:pt x="56" y="296"/>
                  </a:lnTo>
                  <a:lnTo>
                    <a:pt x="69" y="296"/>
                  </a:lnTo>
                  <a:lnTo>
                    <a:pt x="92" y="296"/>
                  </a:lnTo>
                  <a:lnTo>
                    <a:pt x="116" y="276"/>
                  </a:lnTo>
                  <a:lnTo>
                    <a:pt x="136" y="274"/>
                  </a:lnTo>
                  <a:lnTo>
                    <a:pt x="138" y="304"/>
                  </a:lnTo>
                  <a:lnTo>
                    <a:pt x="146" y="317"/>
                  </a:lnTo>
                  <a:lnTo>
                    <a:pt x="213" y="345"/>
                  </a:lnTo>
                  <a:lnTo>
                    <a:pt x="226" y="366"/>
                  </a:lnTo>
                  <a:lnTo>
                    <a:pt x="225" y="377"/>
                  </a:lnTo>
                  <a:lnTo>
                    <a:pt x="230" y="394"/>
                  </a:lnTo>
                  <a:lnTo>
                    <a:pt x="258" y="398"/>
                  </a:lnTo>
                  <a:lnTo>
                    <a:pt x="260" y="409"/>
                  </a:lnTo>
                  <a:lnTo>
                    <a:pt x="273" y="431"/>
                  </a:lnTo>
                  <a:lnTo>
                    <a:pt x="271" y="467"/>
                  </a:lnTo>
                  <a:lnTo>
                    <a:pt x="277" y="499"/>
                  </a:lnTo>
                  <a:lnTo>
                    <a:pt x="307" y="506"/>
                  </a:lnTo>
                  <a:lnTo>
                    <a:pt x="314" y="510"/>
                  </a:lnTo>
                  <a:lnTo>
                    <a:pt x="320" y="534"/>
                  </a:lnTo>
                  <a:lnTo>
                    <a:pt x="339" y="538"/>
                  </a:lnTo>
                  <a:lnTo>
                    <a:pt x="341" y="566"/>
                  </a:lnTo>
                  <a:lnTo>
                    <a:pt x="348" y="568"/>
                  </a:lnTo>
                  <a:lnTo>
                    <a:pt x="356" y="592"/>
                  </a:lnTo>
                  <a:lnTo>
                    <a:pt x="341" y="604"/>
                  </a:lnTo>
                  <a:lnTo>
                    <a:pt x="303" y="652"/>
                  </a:lnTo>
                  <a:lnTo>
                    <a:pt x="318" y="652"/>
                  </a:lnTo>
                  <a:lnTo>
                    <a:pt x="333" y="667"/>
                  </a:lnTo>
                  <a:lnTo>
                    <a:pt x="339" y="664"/>
                  </a:lnTo>
                  <a:lnTo>
                    <a:pt x="371" y="684"/>
                  </a:lnTo>
                  <a:lnTo>
                    <a:pt x="382" y="699"/>
                  </a:lnTo>
                  <a:lnTo>
                    <a:pt x="382" y="718"/>
                  </a:lnTo>
                  <a:lnTo>
                    <a:pt x="393" y="695"/>
                  </a:lnTo>
                  <a:lnTo>
                    <a:pt x="412" y="677"/>
                  </a:lnTo>
                  <a:lnTo>
                    <a:pt x="423" y="639"/>
                  </a:lnTo>
                  <a:lnTo>
                    <a:pt x="438" y="620"/>
                  </a:lnTo>
                  <a:lnTo>
                    <a:pt x="434" y="572"/>
                  </a:lnTo>
                  <a:lnTo>
                    <a:pt x="459" y="540"/>
                  </a:lnTo>
                  <a:lnTo>
                    <a:pt x="474" y="532"/>
                  </a:lnTo>
                  <a:lnTo>
                    <a:pt x="479" y="534"/>
                  </a:lnTo>
                  <a:lnTo>
                    <a:pt x="487" y="527"/>
                  </a:lnTo>
                  <a:lnTo>
                    <a:pt x="494" y="527"/>
                  </a:lnTo>
                  <a:lnTo>
                    <a:pt x="491" y="519"/>
                  </a:lnTo>
                  <a:lnTo>
                    <a:pt x="534" y="517"/>
                  </a:lnTo>
                  <a:lnTo>
                    <a:pt x="534" y="510"/>
                  </a:lnTo>
                  <a:lnTo>
                    <a:pt x="547" y="501"/>
                  </a:lnTo>
                  <a:lnTo>
                    <a:pt x="549" y="484"/>
                  </a:lnTo>
                  <a:lnTo>
                    <a:pt x="565" y="456"/>
                  </a:lnTo>
                  <a:lnTo>
                    <a:pt x="565" y="428"/>
                  </a:lnTo>
                  <a:lnTo>
                    <a:pt x="571" y="420"/>
                  </a:lnTo>
                  <a:lnTo>
                    <a:pt x="569" y="341"/>
                  </a:lnTo>
                  <a:lnTo>
                    <a:pt x="620" y="272"/>
                  </a:lnTo>
                  <a:lnTo>
                    <a:pt x="633" y="246"/>
                  </a:lnTo>
                  <a:lnTo>
                    <a:pt x="633" y="223"/>
                  </a:lnTo>
                  <a:lnTo>
                    <a:pt x="622" y="191"/>
                  </a:lnTo>
                  <a:lnTo>
                    <a:pt x="595" y="190"/>
                  </a:lnTo>
                  <a:lnTo>
                    <a:pt x="547" y="148"/>
                  </a:lnTo>
                  <a:lnTo>
                    <a:pt x="522" y="150"/>
                  </a:lnTo>
                  <a:lnTo>
                    <a:pt x="489" y="141"/>
                  </a:lnTo>
                  <a:lnTo>
                    <a:pt x="472" y="148"/>
                  </a:lnTo>
                  <a:lnTo>
                    <a:pt x="474" y="139"/>
                  </a:lnTo>
                  <a:lnTo>
                    <a:pt x="468" y="122"/>
                  </a:lnTo>
                  <a:lnTo>
                    <a:pt x="459" y="126"/>
                  </a:lnTo>
                  <a:lnTo>
                    <a:pt x="457" y="120"/>
                  </a:lnTo>
                  <a:lnTo>
                    <a:pt x="427" y="109"/>
                  </a:lnTo>
                  <a:lnTo>
                    <a:pt x="414" y="111"/>
                  </a:lnTo>
                  <a:lnTo>
                    <a:pt x="406" y="124"/>
                  </a:lnTo>
                  <a:lnTo>
                    <a:pt x="402" y="122"/>
                  </a:lnTo>
                  <a:lnTo>
                    <a:pt x="408" y="102"/>
                  </a:lnTo>
                  <a:lnTo>
                    <a:pt x="399" y="98"/>
                  </a:lnTo>
                  <a:lnTo>
                    <a:pt x="376" y="103"/>
                  </a:lnTo>
                  <a:lnTo>
                    <a:pt x="374" y="126"/>
                  </a:lnTo>
                  <a:lnTo>
                    <a:pt x="369" y="115"/>
                  </a:lnTo>
                  <a:lnTo>
                    <a:pt x="359" y="118"/>
                  </a:lnTo>
                  <a:lnTo>
                    <a:pt x="365" y="98"/>
                  </a:lnTo>
                  <a:lnTo>
                    <a:pt x="382" y="77"/>
                  </a:lnTo>
                  <a:lnTo>
                    <a:pt x="384" y="64"/>
                  </a:lnTo>
                  <a:lnTo>
                    <a:pt x="374" y="62"/>
                  </a:lnTo>
                  <a:lnTo>
                    <a:pt x="367" y="27"/>
                  </a:lnTo>
                  <a:lnTo>
                    <a:pt x="358" y="21"/>
                  </a:lnTo>
                  <a:lnTo>
                    <a:pt x="358" y="21"/>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47" name="Freeform 5755"/>
            <p:cNvSpPr>
              <a:spLocks/>
            </p:cNvSpPr>
            <p:nvPr>
              <p:custDataLst>
                <p:tags r:id="rId127"/>
              </p:custDataLst>
            </p:nvPr>
          </p:nvSpPr>
          <p:spPr bwMode="gray">
            <a:xfrm>
              <a:off x="5408955" y="5600294"/>
              <a:ext cx="87250" cy="66797"/>
            </a:xfrm>
            <a:custGeom>
              <a:avLst/>
              <a:gdLst/>
              <a:ahLst/>
              <a:cxnLst>
                <a:cxn ang="0">
                  <a:pos x="0" y="0"/>
                </a:cxn>
                <a:cxn ang="0">
                  <a:pos x="19" y="17"/>
                </a:cxn>
                <a:cxn ang="0">
                  <a:pos x="68" y="35"/>
                </a:cxn>
                <a:cxn ang="0">
                  <a:pos x="62" y="41"/>
                </a:cxn>
                <a:cxn ang="0">
                  <a:pos x="30" y="47"/>
                </a:cxn>
                <a:cxn ang="0">
                  <a:pos x="36" y="52"/>
                </a:cxn>
                <a:cxn ang="0">
                  <a:pos x="25" y="50"/>
                </a:cxn>
                <a:cxn ang="0">
                  <a:pos x="0" y="0"/>
                </a:cxn>
                <a:cxn ang="0">
                  <a:pos x="0" y="0"/>
                </a:cxn>
              </a:cxnLst>
              <a:rect l="0" t="0" r="r" b="b"/>
              <a:pathLst>
                <a:path w="68" h="52">
                  <a:moveTo>
                    <a:pt x="0" y="0"/>
                  </a:moveTo>
                  <a:lnTo>
                    <a:pt x="19" y="17"/>
                  </a:lnTo>
                  <a:lnTo>
                    <a:pt x="68" y="35"/>
                  </a:lnTo>
                  <a:lnTo>
                    <a:pt x="62" y="41"/>
                  </a:lnTo>
                  <a:lnTo>
                    <a:pt x="30" y="47"/>
                  </a:lnTo>
                  <a:lnTo>
                    <a:pt x="36" y="52"/>
                  </a:lnTo>
                  <a:lnTo>
                    <a:pt x="25" y="50"/>
                  </a:lnTo>
                  <a:lnTo>
                    <a:pt x="0" y="0"/>
                  </a:lnTo>
                  <a:lnTo>
                    <a:pt x="0"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48" name="Freeform 5756"/>
            <p:cNvSpPr>
              <a:spLocks/>
            </p:cNvSpPr>
            <p:nvPr>
              <p:custDataLst>
                <p:tags r:id="rId128"/>
              </p:custDataLst>
            </p:nvPr>
          </p:nvSpPr>
          <p:spPr bwMode="gray">
            <a:xfrm>
              <a:off x="5330687" y="5600294"/>
              <a:ext cx="110346" cy="64228"/>
            </a:xfrm>
            <a:custGeom>
              <a:avLst/>
              <a:gdLst/>
              <a:ahLst/>
              <a:cxnLst>
                <a:cxn ang="0">
                  <a:pos x="61" y="0"/>
                </a:cxn>
                <a:cxn ang="0">
                  <a:pos x="43" y="3"/>
                </a:cxn>
                <a:cxn ang="0">
                  <a:pos x="44" y="11"/>
                </a:cxn>
                <a:cxn ang="0">
                  <a:pos x="61" y="15"/>
                </a:cxn>
                <a:cxn ang="0">
                  <a:pos x="52" y="18"/>
                </a:cxn>
                <a:cxn ang="0">
                  <a:pos x="46" y="17"/>
                </a:cxn>
                <a:cxn ang="0">
                  <a:pos x="43" y="26"/>
                </a:cxn>
                <a:cxn ang="0">
                  <a:pos x="1" y="11"/>
                </a:cxn>
                <a:cxn ang="0">
                  <a:pos x="0" y="17"/>
                </a:cxn>
                <a:cxn ang="0">
                  <a:pos x="11" y="26"/>
                </a:cxn>
                <a:cxn ang="0">
                  <a:pos x="20" y="26"/>
                </a:cxn>
                <a:cxn ang="0">
                  <a:pos x="48" y="41"/>
                </a:cxn>
                <a:cxn ang="0">
                  <a:pos x="65" y="41"/>
                </a:cxn>
                <a:cxn ang="0">
                  <a:pos x="71" y="47"/>
                </a:cxn>
                <a:cxn ang="0">
                  <a:pos x="86" y="50"/>
                </a:cxn>
                <a:cxn ang="0">
                  <a:pos x="61" y="0"/>
                </a:cxn>
                <a:cxn ang="0">
                  <a:pos x="61" y="0"/>
                </a:cxn>
              </a:cxnLst>
              <a:rect l="0" t="0" r="r" b="b"/>
              <a:pathLst>
                <a:path w="86" h="50">
                  <a:moveTo>
                    <a:pt x="61" y="0"/>
                  </a:moveTo>
                  <a:lnTo>
                    <a:pt x="43" y="3"/>
                  </a:lnTo>
                  <a:lnTo>
                    <a:pt x="44" y="11"/>
                  </a:lnTo>
                  <a:lnTo>
                    <a:pt x="61" y="15"/>
                  </a:lnTo>
                  <a:lnTo>
                    <a:pt x="52" y="18"/>
                  </a:lnTo>
                  <a:lnTo>
                    <a:pt x="46" y="17"/>
                  </a:lnTo>
                  <a:lnTo>
                    <a:pt x="43" y="26"/>
                  </a:lnTo>
                  <a:lnTo>
                    <a:pt x="1" y="11"/>
                  </a:lnTo>
                  <a:lnTo>
                    <a:pt x="0" y="17"/>
                  </a:lnTo>
                  <a:lnTo>
                    <a:pt x="11" y="26"/>
                  </a:lnTo>
                  <a:lnTo>
                    <a:pt x="20" y="26"/>
                  </a:lnTo>
                  <a:lnTo>
                    <a:pt x="48" y="41"/>
                  </a:lnTo>
                  <a:lnTo>
                    <a:pt x="65" y="41"/>
                  </a:lnTo>
                  <a:lnTo>
                    <a:pt x="71" y="47"/>
                  </a:lnTo>
                  <a:lnTo>
                    <a:pt x="86" y="50"/>
                  </a:lnTo>
                  <a:lnTo>
                    <a:pt x="61" y="0"/>
                  </a:lnTo>
                  <a:lnTo>
                    <a:pt x="61"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49" name="Freeform 5757"/>
            <p:cNvSpPr>
              <a:spLocks/>
            </p:cNvSpPr>
            <p:nvPr>
              <p:custDataLst>
                <p:tags r:id="rId129"/>
              </p:custDataLst>
            </p:nvPr>
          </p:nvSpPr>
          <p:spPr bwMode="gray">
            <a:xfrm>
              <a:off x="4899568" y="4363263"/>
              <a:ext cx="274582" cy="427758"/>
            </a:xfrm>
            <a:custGeom>
              <a:avLst/>
              <a:gdLst/>
              <a:ahLst/>
              <a:cxnLst>
                <a:cxn ang="0">
                  <a:pos x="15" y="62"/>
                </a:cxn>
                <a:cxn ang="0">
                  <a:pos x="0" y="75"/>
                </a:cxn>
                <a:cxn ang="0">
                  <a:pos x="10" y="101"/>
                </a:cxn>
                <a:cxn ang="0">
                  <a:pos x="4" y="108"/>
                </a:cxn>
                <a:cxn ang="0">
                  <a:pos x="23" y="123"/>
                </a:cxn>
                <a:cxn ang="0">
                  <a:pos x="47" y="157"/>
                </a:cxn>
                <a:cxn ang="0">
                  <a:pos x="101" y="268"/>
                </a:cxn>
                <a:cxn ang="0">
                  <a:pos x="193" y="333"/>
                </a:cxn>
                <a:cxn ang="0">
                  <a:pos x="208" y="320"/>
                </a:cxn>
                <a:cxn ang="0">
                  <a:pos x="214" y="301"/>
                </a:cxn>
                <a:cxn ang="0">
                  <a:pos x="206" y="286"/>
                </a:cxn>
                <a:cxn ang="0">
                  <a:pos x="212" y="225"/>
                </a:cxn>
                <a:cxn ang="0">
                  <a:pos x="195" y="198"/>
                </a:cxn>
                <a:cxn ang="0">
                  <a:pos x="182" y="198"/>
                </a:cxn>
                <a:cxn ang="0">
                  <a:pos x="178" y="170"/>
                </a:cxn>
                <a:cxn ang="0">
                  <a:pos x="158" y="182"/>
                </a:cxn>
                <a:cxn ang="0">
                  <a:pos x="139" y="168"/>
                </a:cxn>
                <a:cxn ang="0">
                  <a:pos x="141" y="163"/>
                </a:cxn>
                <a:cxn ang="0">
                  <a:pos x="126" y="140"/>
                </a:cxn>
                <a:cxn ang="0">
                  <a:pos x="137" y="105"/>
                </a:cxn>
                <a:cxn ang="0">
                  <a:pos x="148" y="90"/>
                </a:cxn>
                <a:cxn ang="0">
                  <a:pos x="184" y="75"/>
                </a:cxn>
                <a:cxn ang="0">
                  <a:pos x="174" y="64"/>
                </a:cxn>
                <a:cxn ang="0">
                  <a:pos x="182" y="52"/>
                </a:cxn>
                <a:cxn ang="0">
                  <a:pos x="180" y="47"/>
                </a:cxn>
                <a:cxn ang="0">
                  <a:pos x="169" y="41"/>
                </a:cxn>
                <a:cxn ang="0">
                  <a:pos x="133" y="43"/>
                </a:cxn>
                <a:cxn ang="0">
                  <a:pos x="124" y="22"/>
                </a:cxn>
                <a:cxn ang="0">
                  <a:pos x="96" y="0"/>
                </a:cxn>
                <a:cxn ang="0">
                  <a:pos x="92" y="4"/>
                </a:cxn>
                <a:cxn ang="0">
                  <a:pos x="98" y="15"/>
                </a:cxn>
                <a:cxn ang="0">
                  <a:pos x="90" y="30"/>
                </a:cxn>
                <a:cxn ang="0">
                  <a:pos x="79" y="43"/>
                </a:cxn>
                <a:cxn ang="0">
                  <a:pos x="55" y="54"/>
                </a:cxn>
                <a:cxn ang="0">
                  <a:pos x="34" y="90"/>
                </a:cxn>
                <a:cxn ang="0">
                  <a:pos x="13" y="78"/>
                </a:cxn>
                <a:cxn ang="0">
                  <a:pos x="15" y="62"/>
                </a:cxn>
                <a:cxn ang="0">
                  <a:pos x="15" y="62"/>
                </a:cxn>
              </a:cxnLst>
              <a:rect l="0" t="0" r="r" b="b"/>
              <a:pathLst>
                <a:path w="214" h="333">
                  <a:moveTo>
                    <a:pt x="15" y="62"/>
                  </a:moveTo>
                  <a:lnTo>
                    <a:pt x="0" y="75"/>
                  </a:lnTo>
                  <a:lnTo>
                    <a:pt x="10" y="101"/>
                  </a:lnTo>
                  <a:lnTo>
                    <a:pt x="4" y="108"/>
                  </a:lnTo>
                  <a:lnTo>
                    <a:pt x="23" y="123"/>
                  </a:lnTo>
                  <a:lnTo>
                    <a:pt x="47" y="157"/>
                  </a:lnTo>
                  <a:lnTo>
                    <a:pt x="101" y="268"/>
                  </a:lnTo>
                  <a:lnTo>
                    <a:pt x="193" y="333"/>
                  </a:lnTo>
                  <a:lnTo>
                    <a:pt x="208" y="320"/>
                  </a:lnTo>
                  <a:lnTo>
                    <a:pt x="214" y="301"/>
                  </a:lnTo>
                  <a:lnTo>
                    <a:pt x="206" y="286"/>
                  </a:lnTo>
                  <a:lnTo>
                    <a:pt x="212" y="225"/>
                  </a:lnTo>
                  <a:lnTo>
                    <a:pt x="195" y="198"/>
                  </a:lnTo>
                  <a:lnTo>
                    <a:pt x="182" y="198"/>
                  </a:lnTo>
                  <a:lnTo>
                    <a:pt x="178" y="170"/>
                  </a:lnTo>
                  <a:lnTo>
                    <a:pt x="158" y="182"/>
                  </a:lnTo>
                  <a:lnTo>
                    <a:pt x="139" y="168"/>
                  </a:lnTo>
                  <a:lnTo>
                    <a:pt x="141" y="163"/>
                  </a:lnTo>
                  <a:lnTo>
                    <a:pt x="126" y="140"/>
                  </a:lnTo>
                  <a:lnTo>
                    <a:pt x="137" y="105"/>
                  </a:lnTo>
                  <a:lnTo>
                    <a:pt x="148" y="90"/>
                  </a:lnTo>
                  <a:lnTo>
                    <a:pt x="184" y="75"/>
                  </a:lnTo>
                  <a:lnTo>
                    <a:pt x="174" y="64"/>
                  </a:lnTo>
                  <a:lnTo>
                    <a:pt x="182" y="52"/>
                  </a:lnTo>
                  <a:lnTo>
                    <a:pt x="180" y="47"/>
                  </a:lnTo>
                  <a:lnTo>
                    <a:pt x="169" y="41"/>
                  </a:lnTo>
                  <a:lnTo>
                    <a:pt x="133" y="43"/>
                  </a:lnTo>
                  <a:lnTo>
                    <a:pt x="124" y="22"/>
                  </a:lnTo>
                  <a:lnTo>
                    <a:pt x="96" y="0"/>
                  </a:lnTo>
                  <a:lnTo>
                    <a:pt x="92" y="4"/>
                  </a:lnTo>
                  <a:lnTo>
                    <a:pt x="98" y="15"/>
                  </a:lnTo>
                  <a:lnTo>
                    <a:pt x="90" y="30"/>
                  </a:lnTo>
                  <a:lnTo>
                    <a:pt x="79" y="43"/>
                  </a:lnTo>
                  <a:lnTo>
                    <a:pt x="55" y="54"/>
                  </a:lnTo>
                  <a:lnTo>
                    <a:pt x="34" y="90"/>
                  </a:lnTo>
                  <a:lnTo>
                    <a:pt x="13" y="78"/>
                  </a:lnTo>
                  <a:lnTo>
                    <a:pt x="15" y="62"/>
                  </a:lnTo>
                  <a:lnTo>
                    <a:pt x="15" y="6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50" name="Freeform 5758"/>
            <p:cNvSpPr>
              <a:spLocks/>
            </p:cNvSpPr>
            <p:nvPr>
              <p:custDataLst>
                <p:tags r:id="rId130"/>
              </p:custDataLst>
            </p:nvPr>
          </p:nvSpPr>
          <p:spPr bwMode="gray">
            <a:xfrm>
              <a:off x="4907266" y="4329865"/>
              <a:ext cx="118045" cy="149009"/>
            </a:xfrm>
            <a:custGeom>
              <a:avLst/>
              <a:gdLst/>
              <a:ahLst/>
              <a:cxnLst>
                <a:cxn ang="0">
                  <a:pos x="9" y="88"/>
                </a:cxn>
                <a:cxn ang="0">
                  <a:pos x="7" y="104"/>
                </a:cxn>
                <a:cxn ang="0">
                  <a:pos x="28" y="116"/>
                </a:cxn>
                <a:cxn ang="0">
                  <a:pos x="49" y="80"/>
                </a:cxn>
                <a:cxn ang="0">
                  <a:pos x="73" y="69"/>
                </a:cxn>
                <a:cxn ang="0">
                  <a:pos x="84" y="56"/>
                </a:cxn>
                <a:cxn ang="0">
                  <a:pos x="92" y="41"/>
                </a:cxn>
                <a:cxn ang="0">
                  <a:pos x="86" y="30"/>
                </a:cxn>
                <a:cxn ang="0">
                  <a:pos x="90" y="26"/>
                </a:cxn>
                <a:cxn ang="0">
                  <a:pos x="80" y="20"/>
                </a:cxn>
                <a:cxn ang="0">
                  <a:pos x="60" y="22"/>
                </a:cxn>
                <a:cxn ang="0">
                  <a:pos x="34" y="0"/>
                </a:cxn>
                <a:cxn ang="0">
                  <a:pos x="15" y="11"/>
                </a:cxn>
                <a:cxn ang="0">
                  <a:pos x="13" y="24"/>
                </a:cxn>
                <a:cxn ang="0">
                  <a:pos x="5" y="30"/>
                </a:cxn>
                <a:cxn ang="0">
                  <a:pos x="5" y="39"/>
                </a:cxn>
                <a:cxn ang="0">
                  <a:pos x="0" y="43"/>
                </a:cxn>
                <a:cxn ang="0">
                  <a:pos x="0" y="67"/>
                </a:cxn>
                <a:cxn ang="0">
                  <a:pos x="13" y="78"/>
                </a:cxn>
                <a:cxn ang="0">
                  <a:pos x="13" y="69"/>
                </a:cxn>
                <a:cxn ang="0">
                  <a:pos x="20" y="69"/>
                </a:cxn>
                <a:cxn ang="0">
                  <a:pos x="15" y="86"/>
                </a:cxn>
                <a:cxn ang="0">
                  <a:pos x="9" y="88"/>
                </a:cxn>
                <a:cxn ang="0">
                  <a:pos x="9" y="88"/>
                </a:cxn>
              </a:cxnLst>
              <a:rect l="0" t="0" r="r" b="b"/>
              <a:pathLst>
                <a:path w="92" h="116">
                  <a:moveTo>
                    <a:pt x="9" y="88"/>
                  </a:moveTo>
                  <a:lnTo>
                    <a:pt x="7" y="104"/>
                  </a:lnTo>
                  <a:lnTo>
                    <a:pt x="28" y="116"/>
                  </a:lnTo>
                  <a:lnTo>
                    <a:pt x="49" y="80"/>
                  </a:lnTo>
                  <a:lnTo>
                    <a:pt x="73" y="69"/>
                  </a:lnTo>
                  <a:lnTo>
                    <a:pt x="84" y="56"/>
                  </a:lnTo>
                  <a:lnTo>
                    <a:pt x="92" y="41"/>
                  </a:lnTo>
                  <a:lnTo>
                    <a:pt x="86" y="30"/>
                  </a:lnTo>
                  <a:lnTo>
                    <a:pt x="90" y="26"/>
                  </a:lnTo>
                  <a:lnTo>
                    <a:pt x="80" y="20"/>
                  </a:lnTo>
                  <a:lnTo>
                    <a:pt x="60" y="22"/>
                  </a:lnTo>
                  <a:lnTo>
                    <a:pt x="34" y="0"/>
                  </a:lnTo>
                  <a:lnTo>
                    <a:pt x="15" y="11"/>
                  </a:lnTo>
                  <a:lnTo>
                    <a:pt x="13" y="24"/>
                  </a:lnTo>
                  <a:lnTo>
                    <a:pt x="5" y="30"/>
                  </a:lnTo>
                  <a:lnTo>
                    <a:pt x="5" y="39"/>
                  </a:lnTo>
                  <a:lnTo>
                    <a:pt x="0" y="43"/>
                  </a:lnTo>
                  <a:lnTo>
                    <a:pt x="0" y="67"/>
                  </a:lnTo>
                  <a:lnTo>
                    <a:pt x="13" y="78"/>
                  </a:lnTo>
                  <a:lnTo>
                    <a:pt x="13" y="69"/>
                  </a:lnTo>
                  <a:lnTo>
                    <a:pt x="20" y="69"/>
                  </a:lnTo>
                  <a:lnTo>
                    <a:pt x="15" y="86"/>
                  </a:lnTo>
                  <a:lnTo>
                    <a:pt x="9" y="88"/>
                  </a:lnTo>
                  <a:lnTo>
                    <a:pt x="9" y="8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51" name="Freeform 5759"/>
            <p:cNvSpPr>
              <a:spLocks/>
            </p:cNvSpPr>
            <p:nvPr>
              <p:custDataLst>
                <p:tags r:id="rId131"/>
              </p:custDataLst>
            </p:nvPr>
          </p:nvSpPr>
          <p:spPr bwMode="gray">
            <a:xfrm>
              <a:off x="4948325" y="4066530"/>
              <a:ext cx="251486" cy="393075"/>
            </a:xfrm>
            <a:custGeom>
              <a:avLst/>
              <a:gdLst/>
              <a:ahLst/>
              <a:cxnLst>
                <a:cxn ang="0">
                  <a:pos x="2" y="205"/>
                </a:cxn>
                <a:cxn ang="0">
                  <a:pos x="0" y="197"/>
                </a:cxn>
                <a:cxn ang="0">
                  <a:pos x="5" y="197"/>
                </a:cxn>
                <a:cxn ang="0">
                  <a:pos x="9" y="178"/>
                </a:cxn>
                <a:cxn ang="0">
                  <a:pos x="20" y="178"/>
                </a:cxn>
                <a:cxn ang="0">
                  <a:pos x="30" y="161"/>
                </a:cxn>
                <a:cxn ang="0">
                  <a:pos x="24" y="154"/>
                </a:cxn>
                <a:cxn ang="0">
                  <a:pos x="28" y="107"/>
                </a:cxn>
                <a:cxn ang="0">
                  <a:pos x="20" y="94"/>
                </a:cxn>
                <a:cxn ang="0">
                  <a:pos x="32" y="81"/>
                </a:cxn>
                <a:cxn ang="0">
                  <a:pos x="30" y="70"/>
                </a:cxn>
                <a:cxn ang="0">
                  <a:pos x="39" y="85"/>
                </a:cxn>
                <a:cxn ang="0">
                  <a:pos x="41" y="70"/>
                </a:cxn>
                <a:cxn ang="0">
                  <a:pos x="60" y="53"/>
                </a:cxn>
                <a:cxn ang="0">
                  <a:pos x="67" y="28"/>
                </a:cxn>
                <a:cxn ang="0">
                  <a:pos x="80" y="27"/>
                </a:cxn>
                <a:cxn ang="0">
                  <a:pos x="86" y="21"/>
                </a:cxn>
                <a:cxn ang="0">
                  <a:pos x="95" y="23"/>
                </a:cxn>
                <a:cxn ang="0">
                  <a:pos x="127" y="0"/>
                </a:cxn>
                <a:cxn ang="0">
                  <a:pos x="135" y="6"/>
                </a:cxn>
                <a:cxn ang="0">
                  <a:pos x="121" y="15"/>
                </a:cxn>
                <a:cxn ang="0">
                  <a:pos x="121" y="17"/>
                </a:cxn>
                <a:cxn ang="0">
                  <a:pos x="112" y="27"/>
                </a:cxn>
                <a:cxn ang="0">
                  <a:pos x="99" y="55"/>
                </a:cxn>
                <a:cxn ang="0">
                  <a:pos x="110" y="79"/>
                </a:cxn>
                <a:cxn ang="0">
                  <a:pos x="110" y="92"/>
                </a:cxn>
                <a:cxn ang="0">
                  <a:pos x="120" y="98"/>
                </a:cxn>
                <a:cxn ang="0">
                  <a:pos x="146" y="100"/>
                </a:cxn>
                <a:cxn ang="0">
                  <a:pos x="161" y="117"/>
                </a:cxn>
                <a:cxn ang="0">
                  <a:pos x="189" y="115"/>
                </a:cxn>
                <a:cxn ang="0">
                  <a:pos x="181" y="143"/>
                </a:cxn>
                <a:cxn ang="0">
                  <a:pos x="189" y="167"/>
                </a:cxn>
                <a:cxn ang="0">
                  <a:pos x="181" y="176"/>
                </a:cxn>
                <a:cxn ang="0">
                  <a:pos x="196" y="205"/>
                </a:cxn>
                <a:cxn ang="0">
                  <a:pos x="196" y="205"/>
                </a:cxn>
                <a:cxn ang="0">
                  <a:pos x="185" y="195"/>
                </a:cxn>
                <a:cxn ang="0">
                  <a:pos x="150" y="197"/>
                </a:cxn>
                <a:cxn ang="0">
                  <a:pos x="148" y="208"/>
                </a:cxn>
                <a:cxn ang="0">
                  <a:pos x="159" y="218"/>
                </a:cxn>
                <a:cxn ang="0">
                  <a:pos x="144" y="223"/>
                </a:cxn>
                <a:cxn ang="0">
                  <a:pos x="153" y="253"/>
                </a:cxn>
                <a:cxn ang="0">
                  <a:pos x="146" y="306"/>
                </a:cxn>
                <a:cxn ang="0">
                  <a:pos x="136" y="295"/>
                </a:cxn>
                <a:cxn ang="0">
                  <a:pos x="144" y="283"/>
                </a:cxn>
                <a:cxn ang="0">
                  <a:pos x="142" y="278"/>
                </a:cxn>
                <a:cxn ang="0">
                  <a:pos x="131" y="272"/>
                </a:cxn>
                <a:cxn ang="0">
                  <a:pos x="95" y="274"/>
                </a:cxn>
                <a:cxn ang="0">
                  <a:pos x="86" y="253"/>
                </a:cxn>
                <a:cxn ang="0">
                  <a:pos x="58" y="231"/>
                </a:cxn>
                <a:cxn ang="0">
                  <a:pos x="48" y="225"/>
                </a:cxn>
                <a:cxn ang="0">
                  <a:pos x="28" y="227"/>
                </a:cxn>
                <a:cxn ang="0">
                  <a:pos x="2" y="205"/>
                </a:cxn>
                <a:cxn ang="0">
                  <a:pos x="2" y="205"/>
                </a:cxn>
              </a:cxnLst>
              <a:rect l="0" t="0" r="r" b="b"/>
              <a:pathLst>
                <a:path w="196" h="306">
                  <a:moveTo>
                    <a:pt x="2" y="205"/>
                  </a:moveTo>
                  <a:lnTo>
                    <a:pt x="0" y="197"/>
                  </a:lnTo>
                  <a:lnTo>
                    <a:pt x="5" y="197"/>
                  </a:lnTo>
                  <a:lnTo>
                    <a:pt x="9" y="178"/>
                  </a:lnTo>
                  <a:lnTo>
                    <a:pt x="20" y="178"/>
                  </a:lnTo>
                  <a:lnTo>
                    <a:pt x="30" y="161"/>
                  </a:lnTo>
                  <a:lnTo>
                    <a:pt x="24" y="154"/>
                  </a:lnTo>
                  <a:lnTo>
                    <a:pt x="28" y="107"/>
                  </a:lnTo>
                  <a:lnTo>
                    <a:pt x="20" y="94"/>
                  </a:lnTo>
                  <a:lnTo>
                    <a:pt x="32" y="81"/>
                  </a:lnTo>
                  <a:lnTo>
                    <a:pt x="30" y="70"/>
                  </a:lnTo>
                  <a:lnTo>
                    <a:pt x="39" y="85"/>
                  </a:lnTo>
                  <a:lnTo>
                    <a:pt x="41" y="70"/>
                  </a:lnTo>
                  <a:lnTo>
                    <a:pt x="60" y="53"/>
                  </a:lnTo>
                  <a:lnTo>
                    <a:pt x="67" y="28"/>
                  </a:lnTo>
                  <a:lnTo>
                    <a:pt x="80" y="27"/>
                  </a:lnTo>
                  <a:lnTo>
                    <a:pt x="86" y="21"/>
                  </a:lnTo>
                  <a:lnTo>
                    <a:pt x="95" y="23"/>
                  </a:lnTo>
                  <a:lnTo>
                    <a:pt x="127" y="0"/>
                  </a:lnTo>
                  <a:lnTo>
                    <a:pt x="135" y="6"/>
                  </a:lnTo>
                  <a:lnTo>
                    <a:pt x="121" y="15"/>
                  </a:lnTo>
                  <a:lnTo>
                    <a:pt x="121" y="17"/>
                  </a:lnTo>
                  <a:lnTo>
                    <a:pt x="112" y="27"/>
                  </a:lnTo>
                  <a:lnTo>
                    <a:pt x="99" y="55"/>
                  </a:lnTo>
                  <a:lnTo>
                    <a:pt x="110" y="79"/>
                  </a:lnTo>
                  <a:lnTo>
                    <a:pt x="110" y="92"/>
                  </a:lnTo>
                  <a:lnTo>
                    <a:pt x="120" y="98"/>
                  </a:lnTo>
                  <a:lnTo>
                    <a:pt x="146" y="100"/>
                  </a:lnTo>
                  <a:lnTo>
                    <a:pt x="161" y="117"/>
                  </a:lnTo>
                  <a:lnTo>
                    <a:pt x="189" y="115"/>
                  </a:lnTo>
                  <a:lnTo>
                    <a:pt x="181" y="143"/>
                  </a:lnTo>
                  <a:lnTo>
                    <a:pt x="189" y="167"/>
                  </a:lnTo>
                  <a:lnTo>
                    <a:pt x="181" y="176"/>
                  </a:lnTo>
                  <a:lnTo>
                    <a:pt x="196" y="205"/>
                  </a:lnTo>
                  <a:lnTo>
                    <a:pt x="196" y="205"/>
                  </a:lnTo>
                  <a:lnTo>
                    <a:pt x="185" y="195"/>
                  </a:lnTo>
                  <a:lnTo>
                    <a:pt x="150" y="197"/>
                  </a:lnTo>
                  <a:lnTo>
                    <a:pt x="148" y="208"/>
                  </a:lnTo>
                  <a:lnTo>
                    <a:pt x="159" y="218"/>
                  </a:lnTo>
                  <a:lnTo>
                    <a:pt x="144" y="223"/>
                  </a:lnTo>
                  <a:lnTo>
                    <a:pt x="153" y="253"/>
                  </a:lnTo>
                  <a:lnTo>
                    <a:pt x="146" y="306"/>
                  </a:lnTo>
                  <a:lnTo>
                    <a:pt x="136" y="295"/>
                  </a:lnTo>
                  <a:lnTo>
                    <a:pt x="144" y="283"/>
                  </a:lnTo>
                  <a:lnTo>
                    <a:pt x="142" y="278"/>
                  </a:lnTo>
                  <a:lnTo>
                    <a:pt x="131" y="272"/>
                  </a:lnTo>
                  <a:lnTo>
                    <a:pt x="95" y="274"/>
                  </a:lnTo>
                  <a:lnTo>
                    <a:pt x="86" y="253"/>
                  </a:lnTo>
                  <a:lnTo>
                    <a:pt x="58" y="231"/>
                  </a:lnTo>
                  <a:lnTo>
                    <a:pt x="48" y="225"/>
                  </a:lnTo>
                  <a:lnTo>
                    <a:pt x="28" y="227"/>
                  </a:lnTo>
                  <a:lnTo>
                    <a:pt x="2" y="205"/>
                  </a:lnTo>
                  <a:lnTo>
                    <a:pt x="2" y="20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52" name="Freeform 5760"/>
            <p:cNvSpPr>
              <a:spLocks/>
            </p:cNvSpPr>
            <p:nvPr>
              <p:custDataLst>
                <p:tags r:id="rId132"/>
              </p:custDataLst>
            </p:nvPr>
          </p:nvSpPr>
          <p:spPr bwMode="gray">
            <a:xfrm>
              <a:off x="5075351" y="4071668"/>
              <a:ext cx="275865" cy="269757"/>
            </a:xfrm>
            <a:custGeom>
              <a:avLst/>
              <a:gdLst/>
              <a:ahLst/>
              <a:cxnLst>
                <a:cxn ang="0">
                  <a:pos x="215" y="71"/>
                </a:cxn>
                <a:cxn ang="0">
                  <a:pos x="200" y="83"/>
                </a:cxn>
                <a:cxn ang="0">
                  <a:pos x="199" y="94"/>
                </a:cxn>
                <a:cxn ang="0">
                  <a:pos x="202" y="96"/>
                </a:cxn>
                <a:cxn ang="0">
                  <a:pos x="195" y="101"/>
                </a:cxn>
                <a:cxn ang="0">
                  <a:pos x="191" y="114"/>
                </a:cxn>
                <a:cxn ang="0">
                  <a:pos x="200" y="129"/>
                </a:cxn>
                <a:cxn ang="0">
                  <a:pos x="197" y="139"/>
                </a:cxn>
                <a:cxn ang="0">
                  <a:pos x="161" y="154"/>
                </a:cxn>
                <a:cxn ang="0">
                  <a:pos x="133" y="150"/>
                </a:cxn>
                <a:cxn ang="0">
                  <a:pos x="140" y="157"/>
                </a:cxn>
                <a:cxn ang="0">
                  <a:pos x="140" y="176"/>
                </a:cxn>
                <a:cxn ang="0">
                  <a:pos x="152" y="186"/>
                </a:cxn>
                <a:cxn ang="0">
                  <a:pos x="116" y="210"/>
                </a:cxn>
                <a:cxn ang="0">
                  <a:pos x="105" y="210"/>
                </a:cxn>
                <a:cxn ang="0">
                  <a:pos x="97" y="201"/>
                </a:cxn>
                <a:cxn ang="0">
                  <a:pos x="97" y="201"/>
                </a:cxn>
                <a:cxn ang="0">
                  <a:pos x="82" y="172"/>
                </a:cxn>
                <a:cxn ang="0">
                  <a:pos x="90" y="163"/>
                </a:cxn>
                <a:cxn ang="0">
                  <a:pos x="82" y="139"/>
                </a:cxn>
                <a:cxn ang="0">
                  <a:pos x="90" y="111"/>
                </a:cxn>
                <a:cxn ang="0">
                  <a:pos x="62" y="113"/>
                </a:cxn>
                <a:cxn ang="0">
                  <a:pos x="47" y="96"/>
                </a:cxn>
                <a:cxn ang="0">
                  <a:pos x="21" y="94"/>
                </a:cxn>
                <a:cxn ang="0">
                  <a:pos x="11" y="88"/>
                </a:cxn>
                <a:cxn ang="0">
                  <a:pos x="11" y="75"/>
                </a:cxn>
                <a:cxn ang="0">
                  <a:pos x="0" y="51"/>
                </a:cxn>
                <a:cxn ang="0">
                  <a:pos x="13" y="23"/>
                </a:cxn>
                <a:cxn ang="0">
                  <a:pos x="22" y="13"/>
                </a:cxn>
                <a:cxn ang="0">
                  <a:pos x="22" y="11"/>
                </a:cxn>
                <a:cxn ang="0">
                  <a:pos x="28" y="30"/>
                </a:cxn>
                <a:cxn ang="0">
                  <a:pos x="19" y="45"/>
                </a:cxn>
                <a:cxn ang="0">
                  <a:pos x="24" y="58"/>
                </a:cxn>
                <a:cxn ang="0">
                  <a:pos x="34" y="54"/>
                </a:cxn>
                <a:cxn ang="0">
                  <a:pos x="30" y="23"/>
                </a:cxn>
                <a:cxn ang="0">
                  <a:pos x="51" y="11"/>
                </a:cxn>
                <a:cxn ang="0">
                  <a:pos x="49" y="4"/>
                </a:cxn>
                <a:cxn ang="0">
                  <a:pos x="56" y="0"/>
                </a:cxn>
                <a:cxn ang="0">
                  <a:pos x="58" y="11"/>
                </a:cxn>
                <a:cxn ang="0">
                  <a:pos x="79" y="19"/>
                </a:cxn>
                <a:cxn ang="0">
                  <a:pos x="82" y="32"/>
                </a:cxn>
                <a:cxn ang="0">
                  <a:pos x="114" y="30"/>
                </a:cxn>
                <a:cxn ang="0">
                  <a:pos x="133" y="38"/>
                </a:cxn>
                <a:cxn ang="0">
                  <a:pos x="150" y="28"/>
                </a:cxn>
                <a:cxn ang="0">
                  <a:pos x="180" y="28"/>
                </a:cxn>
                <a:cxn ang="0">
                  <a:pos x="167" y="30"/>
                </a:cxn>
                <a:cxn ang="0">
                  <a:pos x="176" y="45"/>
                </a:cxn>
                <a:cxn ang="0">
                  <a:pos x="197" y="49"/>
                </a:cxn>
                <a:cxn ang="0">
                  <a:pos x="197" y="69"/>
                </a:cxn>
                <a:cxn ang="0">
                  <a:pos x="210" y="66"/>
                </a:cxn>
                <a:cxn ang="0">
                  <a:pos x="215" y="71"/>
                </a:cxn>
                <a:cxn ang="0">
                  <a:pos x="215" y="71"/>
                </a:cxn>
              </a:cxnLst>
              <a:rect l="0" t="0" r="r" b="b"/>
              <a:pathLst>
                <a:path w="215" h="210">
                  <a:moveTo>
                    <a:pt x="215" y="71"/>
                  </a:moveTo>
                  <a:lnTo>
                    <a:pt x="200" y="83"/>
                  </a:lnTo>
                  <a:lnTo>
                    <a:pt x="199" y="94"/>
                  </a:lnTo>
                  <a:lnTo>
                    <a:pt x="202" y="96"/>
                  </a:lnTo>
                  <a:lnTo>
                    <a:pt x="195" y="101"/>
                  </a:lnTo>
                  <a:lnTo>
                    <a:pt x="191" y="114"/>
                  </a:lnTo>
                  <a:lnTo>
                    <a:pt x="200" y="129"/>
                  </a:lnTo>
                  <a:lnTo>
                    <a:pt x="197" y="139"/>
                  </a:lnTo>
                  <a:lnTo>
                    <a:pt x="161" y="154"/>
                  </a:lnTo>
                  <a:lnTo>
                    <a:pt x="133" y="150"/>
                  </a:lnTo>
                  <a:lnTo>
                    <a:pt x="140" y="157"/>
                  </a:lnTo>
                  <a:lnTo>
                    <a:pt x="140" y="176"/>
                  </a:lnTo>
                  <a:lnTo>
                    <a:pt x="152" y="186"/>
                  </a:lnTo>
                  <a:lnTo>
                    <a:pt x="116" y="210"/>
                  </a:lnTo>
                  <a:lnTo>
                    <a:pt x="105" y="210"/>
                  </a:lnTo>
                  <a:lnTo>
                    <a:pt x="97" y="201"/>
                  </a:lnTo>
                  <a:lnTo>
                    <a:pt x="97" y="201"/>
                  </a:lnTo>
                  <a:lnTo>
                    <a:pt x="82" y="172"/>
                  </a:lnTo>
                  <a:lnTo>
                    <a:pt x="90" y="163"/>
                  </a:lnTo>
                  <a:lnTo>
                    <a:pt x="82" y="139"/>
                  </a:lnTo>
                  <a:lnTo>
                    <a:pt x="90" y="111"/>
                  </a:lnTo>
                  <a:lnTo>
                    <a:pt x="62" y="113"/>
                  </a:lnTo>
                  <a:lnTo>
                    <a:pt x="47" y="96"/>
                  </a:lnTo>
                  <a:lnTo>
                    <a:pt x="21" y="94"/>
                  </a:lnTo>
                  <a:lnTo>
                    <a:pt x="11" y="88"/>
                  </a:lnTo>
                  <a:lnTo>
                    <a:pt x="11" y="75"/>
                  </a:lnTo>
                  <a:lnTo>
                    <a:pt x="0" y="51"/>
                  </a:lnTo>
                  <a:lnTo>
                    <a:pt x="13" y="23"/>
                  </a:lnTo>
                  <a:lnTo>
                    <a:pt x="22" y="13"/>
                  </a:lnTo>
                  <a:lnTo>
                    <a:pt x="22" y="11"/>
                  </a:lnTo>
                  <a:lnTo>
                    <a:pt x="28" y="30"/>
                  </a:lnTo>
                  <a:lnTo>
                    <a:pt x="19" y="45"/>
                  </a:lnTo>
                  <a:lnTo>
                    <a:pt x="24" y="58"/>
                  </a:lnTo>
                  <a:lnTo>
                    <a:pt x="34" y="54"/>
                  </a:lnTo>
                  <a:lnTo>
                    <a:pt x="30" y="23"/>
                  </a:lnTo>
                  <a:lnTo>
                    <a:pt x="51" y="11"/>
                  </a:lnTo>
                  <a:lnTo>
                    <a:pt x="49" y="4"/>
                  </a:lnTo>
                  <a:lnTo>
                    <a:pt x="56" y="0"/>
                  </a:lnTo>
                  <a:lnTo>
                    <a:pt x="58" y="11"/>
                  </a:lnTo>
                  <a:lnTo>
                    <a:pt x="79" y="19"/>
                  </a:lnTo>
                  <a:lnTo>
                    <a:pt x="82" y="32"/>
                  </a:lnTo>
                  <a:lnTo>
                    <a:pt x="114" y="30"/>
                  </a:lnTo>
                  <a:lnTo>
                    <a:pt x="133" y="38"/>
                  </a:lnTo>
                  <a:lnTo>
                    <a:pt x="150" y="28"/>
                  </a:lnTo>
                  <a:lnTo>
                    <a:pt x="180" y="28"/>
                  </a:lnTo>
                  <a:lnTo>
                    <a:pt x="167" y="30"/>
                  </a:lnTo>
                  <a:lnTo>
                    <a:pt x="176" y="45"/>
                  </a:lnTo>
                  <a:lnTo>
                    <a:pt x="197" y="49"/>
                  </a:lnTo>
                  <a:lnTo>
                    <a:pt x="197" y="69"/>
                  </a:lnTo>
                  <a:lnTo>
                    <a:pt x="210" y="66"/>
                  </a:lnTo>
                  <a:lnTo>
                    <a:pt x="215" y="71"/>
                  </a:lnTo>
                  <a:lnTo>
                    <a:pt x="215" y="7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53" name="Freeform 5761"/>
            <p:cNvSpPr>
              <a:spLocks/>
            </p:cNvSpPr>
            <p:nvPr>
              <p:custDataLst>
                <p:tags r:id="rId133"/>
              </p:custDataLst>
            </p:nvPr>
          </p:nvSpPr>
          <p:spPr bwMode="gray">
            <a:xfrm>
              <a:off x="5147204" y="4774322"/>
              <a:ext cx="245071" cy="851663"/>
            </a:xfrm>
            <a:custGeom>
              <a:avLst/>
              <a:gdLst/>
              <a:ahLst/>
              <a:cxnLst>
                <a:cxn ang="0">
                  <a:pos x="15" y="0"/>
                </a:cxn>
                <a:cxn ang="0">
                  <a:pos x="32" y="47"/>
                </a:cxn>
                <a:cxn ang="0">
                  <a:pos x="64" y="99"/>
                </a:cxn>
                <a:cxn ang="0">
                  <a:pos x="49" y="131"/>
                </a:cxn>
                <a:cxn ang="0">
                  <a:pos x="43" y="199"/>
                </a:cxn>
                <a:cxn ang="0">
                  <a:pos x="62" y="304"/>
                </a:cxn>
                <a:cxn ang="0">
                  <a:pos x="64" y="343"/>
                </a:cxn>
                <a:cxn ang="0">
                  <a:pos x="69" y="390"/>
                </a:cxn>
                <a:cxn ang="0">
                  <a:pos x="81" y="452"/>
                </a:cxn>
                <a:cxn ang="0">
                  <a:pos x="96" y="495"/>
                </a:cxn>
                <a:cxn ang="0">
                  <a:pos x="99" y="502"/>
                </a:cxn>
                <a:cxn ang="0">
                  <a:pos x="116" y="592"/>
                </a:cxn>
                <a:cxn ang="0">
                  <a:pos x="137" y="607"/>
                </a:cxn>
                <a:cxn ang="0">
                  <a:pos x="189" y="635"/>
                </a:cxn>
                <a:cxn ang="0">
                  <a:pos x="191" y="641"/>
                </a:cxn>
                <a:cxn ang="0">
                  <a:pos x="184" y="661"/>
                </a:cxn>
                <a:cxn ang="0">
                  <a:pos x="163" y="656"/>
                </a:cxn>
                <a:cxn ang="0">
                  <a:pos x="174" y="646"/>
                </a:cxn>
                <a:cxn ang="0">
                  <a:pos x="159" y="656"/>
                </a:cxn>
                <a:cxn ang="0">
                  <a:pos x="122" y="639"/>
                </a:cxn>
                <a:cxn ang="0">
                  <a:pos x="109" y="628"/>
                </a:cxn>
                <a:cxn ang="0">
                  <a:pos x="118" y="622"/>
                </a:cxn>
                <a:cxn ang="0">
                  <a:pos x="113" y="620"/>
                </a:cxn>
                <a:cxn ang="0">
                  <a:pos x="101" y="607"/>
                </a:cxn>
                <a:cxn ang="0">
                  <a:pos x="101" y="596"/>
                </a:cxn>
                <a:cxn ang="0">
                  <a:pos x="92" y="594"/>
                </a:cxn>
                <a:cxn ang="0">
                  <a:pos x="71" y="562"/>
                </a:cxn>
                <a:cxn ang="0">
                  <a:pos x="77" y="555"/>
                </a:cxn>
                <a:cxn ang="0">
                  <a:pos x="83" y="538"/>
                </a:cxn>
                <a:cxn ang="0">
                  <a:pos x="62" y="540"/>
                </a:cxn>
                <a:cxn ang="0">
                  <a:pos x="66" y="527"/>
                </a:cxn>
                <a:cxn ang="0">
                  <a:pos x="68" y="521"/>
                </a:cxn>
                <a:cxn ang="0">
                  <a:pos x="62" y="485"/>
                </a:cxn>
                <a:cxn ang="0">
                  <a:pos x="71" y="506"/>
                </a:cxn>
                <a:cxn ang="0">
                  <a:pos x="77" y="484"/>
                </a:cxn>
                <a:cxn ang="0">
                  <a:pos x="58" y="442"/>
                </a:cxn>
                <a:cxn ang="0">
                  <a:pos x="53" y="448"/>
                </a:cxn>
                <a:cxn ang="0">
                  <a:pos x="41" y="405"/>
                </a:cxn>
                <a:cxn ang="0">
                  <a:pos x="23" y="362"/>
                </a:cxn>
                <a:cxn ang="0">
                  <a:pos x="34" y="298"/>
                </a:cxn>
                <a:cxn ang="0">
                  <a:pos x="19" y="244"/>
                </a:cxn>
                <a:cxn ang="0">
                  <a:pos x="15" y="212"/>
                </a:cxn>
                <a:cxn ang="0">
                  <a:pos x="13" y="101"/>
                </a:cxn>
                <a:cxn ang="0">
                  <a:pos x="0" y="13"/>
                </a:cxn>
              </a:cxnLst>
              <a:rect l="0" t="0" r="r" b="b"/>
              <a:pathLst>
                <a:path w="191" h="663">
                  <a:moveTo>
                    <a:pt x="0" y="13"/>
                  </a:moveTo>
                  <a:lnTo>
                    <a:pt x="15" y="0"/>
                  </a:lnTo>
                  <a:lnTo>
                    <a:pt x="34" y="32"/>
                  </a:lnTo>
                  <a:lnTo>
                    <a:pt x="32" y="47"/>
                  </a:lnTo>
                  <a:lnTo>
                    <a:pt x="53" y="98"/>
                  </a:lnTo>
                  <a:lnTo>
                    <a:pt x="64" y="99"/>
                  </a:lnTo>
                  <a:lnTo>
                    <a:pt x="64" y="120"/>
                  </a:lnTo>
                  <a:lnTo>
                    <a:pt x="49" y="131"/>
                  </a:lnTo>
                  <a:lnTo>
                    <a:pt x="56" y="169"/>
                  </a:lnTo>
                  <a:lnTo>
                    <a:pt x="43" y="199"/>
                  </a:lnTo>
                  <a:lnTo>
                    <a:pt x="40" y="255"/>
                  </a:lnTo>
                  <a:lnTo>
                    <a:pt x="62" y="304"/>
                  </a:lnTo>
                  <a:lnTo>
                    <a:pt x="58" y="328"/>
                  </a:lnTo>
                  <a:lnTo>
                    <a:pt x="64" y="343"/>
                  </a:lnTo>
                  <a:lnTo>
                    <a:pt x="58" y="356"/>
                  </a:lnTo>
                  <a:lnTo>
                    <a:pt x="69" y="390"/>
                  </a:lnTo>
                  <a:lnTo>
                    <a:pt x="71" y="435"/>
                  </a:lnTo>
                  <a:lnTo>
                    <a:pt x="81" y="452"/>
                  </a:lnTo>
                  <a:lnTo>
                    <a:pt x="81" y="467"/>
                  </a:lnTo>
                  <a:lnTo>
                    <a:pt x="96" y="495"/>
                  </a:lnTo>
                  <a:lnTo>
                    <a:pt x="105" y="502"/>
                  </a:lnTo>
                  <a:lnTo>
                    <a:pt x="99" y="502"/>
                  </a:lnTo>
                  <a:lnTo>
                    <a:pt x="114" y="536"/>
                  </a:lnTo>
                  <a:lnTo>
                    <a:pt x="116" y="592"/>
                  </a:lnTo>
                  <a:lnTo>
                    <a:pt x="124" y="609"/>
                  </a:lnTo>
                  <a:lnTo>
                    <a:pt x="137" y="607"/>
                  </a:lnTo>
                  <a:lnTo>
                    <a:pt x="156" y="632"/>
                  </a:lnTo>
                  <a:lnTo>
                    <a:pt x="189" y="635"/>
                  </a:lnTo>
                  <a:lnTo>
                    <a:pt x="189" y="635"/>
                  </a:lnTo>
                  <a:lnTo>
                    <a:pt x="191" y="641"/>
                  </a:lnTo>
                  <a:lnTo>
                    <a:pt x="178" y="645"/>
                  </a:lnTo>
                  <a:lnTo>
                    <a:pt x="184" y="661"/>
                  </a:lnTo>
                  <a:lnTo>
                    <a:pt x="180" y="663"/>
                  </a:lnTo>
                  <a:lnTo>
                    <a:pt x="163" y="656"/>
                  </a:lnTo>
                  <a:lnTo>
                    <a:pt x="173" y="652"/>
                  </a:lnTo>
                  <a:lnTo>
                    <a:pt x="174" y="646"/>
                  </a:lnTo>
                  <a:lnTo>
                    <a:pt x="167" y="645"/>
                  </a:lnTo>
                  <a:lnTo>
                    <a:pt x="159" y="656"/>
                  </a:lnTo>
                  <a:lnTo>
                    <a:pt x="126" y="633"/>
                  </a:lnTo>
                  <a:lnTo>
                    <a:pt x="122" y="639"/>
                  </a:lnTo>
                  <a:lnTo>
                    <a:pt x="113" y="635"/>
                  </a:lnTo>
                  <a:lnTo>
                    <a:pt x="109" y="628"/>
                  </a:lnTo>
                  <a:lnTo>
                    <a:pt x="118" y="628"/>
                  </a:lnTo>
                  <a:lnTo>
                    <a:pt x="118" y="622"/>
                  </a:lnTo>
                  <a:lnTo>
                    <a:pt x="113" y="613"/>
                  </a:lnTo>
                  <a:lnTo>
                    <a:pt x="113" y="620"/>
                  </a:lnTo>
                  <a:lnTo>
                    <a:pt x="103" y="624"/>
                  </a:lnTo>
                  <a:lnTo>
                    <a:pt x="101" y="607"/>
                  </a:lnTo>
                  <a:lnTo>
                    <a:pt x="107" y="609"/>
                  </a:lnTo>
                  <a:lnTo>
                    <a:pt x="101" y="596"/>
                  </a:lnTo>
                  <a:lnTo>
                    <a:pt x="96" y="609"/>
                  </a:lnTo>
                  <a:lnTo>
                    <a:pt x="92" y="594"/>
                  </a:lnTo>
                  <a:lnTo>
                    <a:pt x="84" y="594"/>
                  </a:lnTo>
                  <a:lnTo>
                    <a:pt x="71" y="562"/>
                  </a:lnTo>
                  <a:lnTo>
                    <a:pt x="71" y="557"/>
                  </a:lnTo>
                  <a:lnTo>
                    <a:pt x="77" y="555"/>
                  </a:lnTo>
                  <a:lnTo>
                    <a:pt x="86" y="566"/>
                  </a:lnTo>
                  <a:lnTo>
                    <a:pt x="83" y="538"/>
                  </a:lnTo>
                  <a:lnTo>
                    <a:pt x="66" y="536"/>
                  </a:lnTo>
                  <a:lnTo>
                    <a:pt x="62" y="540"/>
                  </a:lnTo>
                  <a:lnTo>
                    <a:pt x="58" y="534"/>
                  </a:lnTo>
                  <a:lnTo>
                    <a:pt x="66" y="527"/>
                  </a:lnTo>
                  <a:lnTo>
                    <a:pt x="60" y="523"/>
                  </a:lnTo>
                  <a:lnTo>
                    <a:pt x="68" y="521"/>
                  </a:lnTo>
                  <a:lnTo>
                    <a:pt x="58" y="491"/>
                  </a:lnTo>
                  <a:lnTo>
                    <a:pt x="62" y="485"/>
                  </a:lnTo>
                  <a:lnTo>
                    <a:pt x="69" y="491"/>
                  </a:lnTo>
                  <a:lnTo>
                    <a:pt x="71" y="506"/>
                  </a:lnTo>
                  <a:lnTo>
                    <a:pt x="79" y="515"/>
                  </a:lnTo>
                  <a:lnTo>
                    <a:pt x="77" y="484"/>
                  </a:lnTo>
                  <a:lnTo>
                    <a:pt x="66" y="446"/>
                  </a:lnTo>
                  <a:lnTo>
                    <a:pt x="58" y="442"/>
                  </a:lnTo>
                  <a:lnTo>
                    <a:pt x="58" y="448"/>
                  </a:lnTo>
                  <a:lnTo>
                    <a:pt x="53" y="448"/>
                  </a:lnTo>
                  <a:lnTo>
                    <a:pt x="43" y="433"/>
                  </a:lnTo>
                  <a:lnTo>
                    <a:pt x="41" y="405"/>
                  </a:lnTo>
                  <a:lnTo>
                    <a:pt x="25" y="373"/>
                  </a:lnTo>
                  <a:lnTo>
                    <a:pt x="23" y="362"/>
                  </a:lnTo>
                  <a:lnTo>
                    <a:pt x="30" y="362"/>
                  </a:lnTo>
                  <a:lnTo>
                    <a:pt x="34" y="298"/>
                  </a:lnTo>
                  <a:lnTo>
                    <a:pt x="34" y="277"/>
                  </a:lnTo>
                  <a:lnTo>
                    <a:pt x="19" y="244"/>
                  </a:lnTo>
                  <a:lnTo>
                    <a:pt x="23" y="231"/>
                  </a:lnTo>
                  <a:lnTo>
                    <a:pt x="15" y="212"/>
                  </a:lnTo>
                  <a:lnTo>
                    <a:pt x="21" y="163"/>
                  </a:lnTo>
                  <a:lnTo>
                    <a:pt x="13" y="101"/>
                  </a:lnTo>
                  <a:lnTo>
                    <a:pt x="15" y="73"/>
                  </a:lnTo>
                  <a:lnTo>
                    <a:pt x="0" y="13"/>
                  </a:lnTo>
                  <a:lnTo>
                    <a:pt x="0" y="13"/>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54" name="Freeform 5762"/>
            <p:cNvSpPr>
              <a:spLocks/>
            </p:cNvSpPr>
            <p:nvPr>
              <p:custDataLst>
                <p:tags r:id="rId134"/>
              </p:custDataLst>
            </p:nvPr>
          </p:nvSpPr>
          <p:spPr bwMode="gray">
            <a:xfrm>
              <a:off x="6798545" y="3236705"/>
              <a:ext cx="7699" cy="11561"/>
            </a:xfrm>
            <a:custGeom>
              <a:avLst/>
              <a:gdLst/>
              <a:ahLst/>
              <a:cxnLst>
                <a:cxn ang="0">
                  <a:pos x="0" y="0"/>
                </a:cxn>
                <a:cxn ang="0">
                  <a:pos x="4" y="9"/>
                </a:cxn>
                <a:cxn ang="0">
                  <a:pos x="4" y="9"/>
                </a:cxn>
                <a:cxn ang="0">
                  <a:pos x="6" y="6"/>
                </a:cxn>
                <a:cxn ang="0">
                  <a:pos x="4" y="2"/>
                </a:cxn>
                <a:cxn ang="0">
                  <a:pos x="0" y="0"/>
                </a:cxn>
                <a:cxn ang="0">
                  <a:pos x="0" y="0"/>
                </a:cxn>
              </a:cxnLst>
              <a:rect l="0" t="0" r="r" b="b"/>
              <a:pathLst>
                <a:path w="6" h="9">
                  <a:moveTo>
                    <a:pt x="0" y="0"/>
                  </a:moveTo>
                  <a:lnTo>
                    <a:pt x="4" y="9"/>
                  </a:lnTo>
                  <a:lnTo>
                    <a:pt x="4" y="9"/>
                  </a:lnTo>
                  <a:lnTo>
                    <a:pt x="6" y="6"/>
                  </a:lnTo>
                  <a:lnTo>
                    <a:pt x="4" y="2"/>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55" name="Freeform 5763"/>
            <p:cNvSpPr>
              <a:spLocks/>
            </p:cNvSpPr>
            <p:nvPr>
              <p:custDataLst>
                <p:tags r:id="rId135"/>
              </p:custDataLst>
            </p:nvPr>
          </p:nvSpPr>
          <p:spPr bwMode="gray">
            <a:xfrm>
              <a:off x="7029501" y="3126233"/>
              <a:ext cx="327189" cy="184977"/>
            </a:xfrm>
            <a:custGeom>
              <a:avLst/>
              <a:gdLst/>
              <a:ahLst/>
              <a:cxnLst>
                <a:cxn ang="0">
                  <a:pos x="95" y="120"/>
                </a:cxn>
                <a:cxn ang="0">
                  <a:pos x="97" y="125"/>
                </a:cxn>
                <a:cxn ang="0">
                  <a:pos x="114" y="125"/>
                </a:cxn>
                <a:cxn ang="0">
                  <a:pos x="112" y="120"/>
                </a:cxn>
                <a:cxn ang="0">
                  <a:pos x="122" y="116"/>
                </a:cxn>
                <a:cxn ang="0">
                  <a:pos x="129" y="103"/>
                </a:cxn>
                <a:cxn ang="0">
                  <a:pos x="148" y="103"/>
                </a:cxn>
                <a:cxn ang="0">
                  <a:pos x="144" y="109"/>
                </a:cxn>
                <a:cxn ang="0">
                  <a:pos x="172" y="116"/>
                </a:cxn>
                <a:cxn ang="0">
                  <a:pos x="157" y="125"/>
                </a:cxn>
                <a:cxn ang="0">
                  <a:pos x="172" y="133"/>
                </a:cxn>
                <a:cxn ang="0">
                  <a:pos x="170" y="139"/>
                </a:cxn>
                <a:cxn ang="0">
                  <a:pos x="176" y="144"/>
                </a:cxn>
                <a:cxn ang="0">
                  <a:pos x="200" y="131"/>
                </a:cxn>
                <a:cxn ang="0">
                  <a:pos x="213" y="131"/>
                </a:cxn>
                <a:cxn ang="0">
                  <a:pos x="213" y="127"/>
                </a:cxn>
                <a:cxn ang="0">
                  <a:pos x="200" y="127"/>
                </a:cxn>
                <a:cxn ang="0">
                  <a:pos x="182" y="116"/>
                </a:cxn>
                <a:cxn ang="0">
                  <a:pos x="225" y="94"/>
                </a:cxn>
                <a:cxn ang="0">
                  <a:pos x="234" y="94"/>
                </a:cxn>
                <a:cxn ang="0">
                  <a:pos x="234" y="84"/>
                </a:cxn>
                <a:cxn ang="0">
                  <a:pos x="241" y="79"/>
                </a:cxn>
                <a:cxn ang="0">
                  <a:pos x="253" y="80"/>
                </a:cxn>
                <a:cxn ang="0">
                  <a:pos x="251" y="64"/>
                </a:cxn>
                <a:cxn ang="0">
                  <a:pos x="255" y="62"/>
                </a:cxn>
                <a:cxn ang="0">
                  <a:pos x="249" y="60"/>
                </a:cxn>
                <a:cxn ang="0">
                  <a:pos x="255" y="50"/>
                </a:cxn>
                <a:cxn ang="0">
                  <a:pos x="223" y="41"/>
                </a:cxn>
                <a:cxn ang="0">
                  <a:pos x="213" y="34"/>
                </a:cxn>
                <a:cxn ang="0">
                  <a:pos x="187" y="34"/>
                </a:cxn>
                <a:cxn ang="0">
                  <a:pos x="178" y="19"/>
                </a:cxn>
                <a:cxn ang="0">
                  <a:pos x="167" y="17"/>
                </a:cxn>
                <a:cxn ang="0">
                  <a:pos x="168" y="9"/>
                </a:cxn>
                <a:cxn ang="0">
                  <a:pos x="157" y="0"/>
                </a:cxn>
                <a:cxn ang="0">
                  <a:pos x="131" y="4"/>
                </a:cxn>
                <a:cxn ang="0">
                  <a:pos x="120" y="5"/>
                </a:cxn>
                <a:cxn ang="0">
                  <a:pos x="112" y="19"/>
                </a:cxn>
                <a:cxn ang="0">
                  <a:pos x="93" y="13"/>
                </a:cxn>
                <a:cxn ang="0">
                  <a:pos x="75" y="17"/>
                </a:cxn>
                <a:cxn ang="0">
                  <a:pos x="49" y="7"/>
                </a:cxn>
                <a:cxn ang="0">
                  <a:pos x="17" y="13"/>
                </a:cxn>
                <a:cxn ang="0">
                  <a:pos x="24" y="34"/>
                </a:cxn>
                <a:cxn ang="0">
                  <a:pos x="4" y="58"/>
                </a:cxn>
                <a:cxn ang="0">
                  <a:pos x="0" y="69"/>
                </a:cxn>
                <a:cxn ang="0">
                  <a:pos x="2" y="71"/>
                </a:cxn>
                <a:cxn ang="0">
                  <a:pos x="11" y="79"/>
                </a:cxn>
                <a:cxn ang="0">
                  <a:pos x="41" y="80"/>
                </a:cxn>
                <a:cxn ang="0">
                  <a:pos x="64" y="73"/>
                </a:cxn>
                <a:cxn ang="0">
                  <a:pos x="77" y="69"/>
                </a:cxn>
                <a:cxn ang="0">
                  <a:pos x="101" y="77"/>
                </a:cxn>
                <a:cxn ang="0">
                  <a:pos x="103" y="86"/>
                </a:cxn>
                <a:cxn ang="0">
                  <a:pos x="114" y="99"/>
                </a:cxn>
                <a:cxn ang="0">
                  <a:pos x="116" y="107"/>
                </a:cxn>
                <a:cxn ang="0">
                  <a:pos x="103" y="107"/>
                </a:cxn>
                <a:cxn ang="0">
                  <a:pos x="95" y="120"/>
                </a:cxn>
                <a:cxn ang="0">
                  <a:pos x="95" y="120"/>
                </a:cxn>
              </a:cxnLst>
              <a:rect l="0" t="0" r="r" b="b"/>
              <a:pathLst>
                <a:path w="255" h="144">
                  <a:moveTo>
                    <a:pt x="95" y="120"/>
                  </a:moveTo>
                  <a:lnTo>
                    <a:pt x="97" y="125"/>
                  </a:lnTo>
                  <a:lnTo>
                    <a:pt x="114" y="125"/>
                  </a:lnTo>
                  <a:lnTo>
                    <a:pt x="112" y="120"/>
                  </a:lnTo>
                  <a:lnTo>
                    <a:pt x="122" y="116"/>
                  </a:lnTo>
                  <a:lnTo>
                    <a:pt x="129" y="103"/>
                  </a:lnTo>
                  <a:lnTo>
                    <a:pt x="148" y="103"/>
                  </a:lnTo>
                  <a:lnTo>
                    <a:pt x="144" y="109"/>
                  </a:lnTo>
                  <a:lnTo>
                    <a:pt x="172" y="116"/>
                  </a:lnTo>
                  <a:lnTo>
                    <a:pt x="157" y="125"/>
                  </a:lnTo>
                  <a:lnTo>
                    <a:pt x="172" y="133"/>
                  </a:lnTo>
                  <a:lnTo>
                    <a:pt x="170" y="139"/>
                  </a:lnTo>
                  <a:lnTo>
                    <a:pt x="176" y="144"/>
                  </a:lnTo>
                  <a:lnTo>
                    <a:pt x="200" y="131"/>
                  </a:lnTo>
                  <a:lnTo>
                    <a:pt x="213" y="131"/>
                  </a:lnTo>
                  <a:lnTo>
                    <a:pt x="213" y="127"/>
                  </a:lnTo>
                  <a:lnTo>
                    <a:pt x="200" y="127"/>
                  </a:lnTo>
                  <a:lnTo>
                    <a:pt x="182" y="116"/>
                  </a:lnTo>
                  <a:lnTo>
                    <a:pt x="225" y="94"/>
                  </a:lnTo>
                  <a:lnTo>
                    <a:pt x="234" y="94"/>
                  </a:lnTo>
                  <a:lnTo>
                    <a:pt x="234" y="84"/>
                  </a:lnTo>
                  <a:lnTo>
                    <a:pt x="241" y="79"/>
                  </a:lnTo>
                  <a:lnTo>
                    <a:pt x="253" y="80"/>
                  </a:lnTo>
                  <a:lnTo>
                    <a:pt x="251" y="64"/>
                  </a:lnTo>
                  <a:lnTo>
                    <a:pt x="255" y="62"/>
                  </a:lnTo>
                  <a:lnTo>
                    <a:pt x="249" y="60"/>
                  </a:lnTo>
                  <a:lnTo>
                    <a:pt x="255" y="50"/>
                  </a:lnTo>
                  <a:lnTo>
                    <a:pt x="223" y="41"/>
                  </a:lnTo>
                  <a:lnTo>
                    <a:pt x="213" y="34"/>
                  </a:lnTo>
                  <a:lnTo>
                    <a:pt x="187" y="34"/>
                  </a:lnTo>
                  <a:lnTo>
                    <a:pt x="178" y="19"/>
                  </a:lnTo>
                  <a:lnTo>
                    <a:pt x="167" y="17"/>
                  </a:lnTo>
                  <a:lnTo>
                    <a:pt x="168" y="9"/>
                  </a:lnTo>
                  <a:lnTo>
                    <a:pt x="157" y="0"/>
                  </a:lnTo>
                  <a:lnTo>
                    <a:pt x="131" y="4"/>
                  </a:lnTo>
                  <a:lnTo>
                    <a:pt x="120" y="5"/>
                  </a:lnTo>
                  <a:lnTo>
                    <a:pt x="112" y="19"/>
                  </a:lnTo>
                  <a:lnTo>
                    <a:pt x="93" y="13"/>
                  </a:lnTo>
                  <a:lnTo>
                    <a:pt x="75" y="17"/>
                  </a:lnTo>
                  <a:lnTo>
                    <a:pt x="49" y="7"/>
                  </a:lnTo>
                  <a:lnTo>
                    <a:pt x="17" y="13"/>
                  </a:lnTo>
                  <a:lnTo>
                    <a:pt x="24" y="34"/>
                  </a:lnTo>
                  <a:lnTo>
                    <a:pt x="4" y="58"/>
                  </a:lnTo>
                  <a:lnTo>
                    <a:pt x="0" y="69"/>
                  </a:lnTo>
                  <a:lnTo>
                    <a:pt x="2" y="71"/>
                  </a:lnTo>
                  <a:lnTo>
                    <a:pt x="11" y="79"/>
                  </a:lnTo>
                  <a:lnTo>
                    <a:pt x="41" y="80"/>
                  </a:lnTo>
                  <a:lnTo>
                    <a:pt x="64" y="73"/>
                  </a:lnTo>
                  <a:lnTo>
                    <a:pt x="77" y="69"/>
                  </a:lnTo>
                  <a:lnTo>
                    <a:pt x="101" y="77"/>
                  </a:lnTo>
                  <a:lnTo>
                    <a:pt x="103" y="86"/>
                  </a:lnTo>
                  <a:lnTo>
                    <a:pt x="114" y="99"/>
                  </a:lnTo>
                  <a:lnTo>
                    <a:pt x="116" y="107"/>
                  </a:lnTo>
                  <a:lnTo>
                    <a:pt x="103" y="107"/>
                  </a:lnTo>
                  <a:lnTo>
                    <a:pt x="95" y="120"/>
                  </a:lnTo>
                  <a:lnTo>
                    <a:pt x="95" y="12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56" name="Freeform 5764"/>
            <p:cNvSpPr>
              <a:spLocks/>
            </p:cNvSpPr>
            <p:nvPr>
              <p:custDataLst>
                <p:tags r:id="rId136"/>
              </p:custDataLst>
            </p:nvPr>
          </p:nvSpPr>
          <p:spPr bwMode="gray">
            <a:xfrm>
              <a:off x="7913552" y="3388283"/>
              <a:ext cx="159103" cy="101480"/>
            </a:xfrm>
            <a:custGeom>
              <a:avLst/>
              <a:gdLst/>
              <a:ahLst/>
              <a:cxnLst>
                <a:cxn ang="0">
                  <a:pos x="21" y="73"/>
                </a:cxn>
                <a:cxn ang="0">
                  <a:pos x="38" y="71"/>
                </a:cxn>
                <a:cxn ang="0">
                  <a:pos x="41" y="62"/>
                </a:cxn>
                <a:cxn ang="0">
                  <a:pos x="51" y="64"/>
                </a:cxn>
                <a:cxn ang="0">
                  <a:pos x="58" y="47"/>
                </a:cxn>
                <a:cxn ang="0">
                  <a:pos x="71" y="56"/>
                </a:cxn>
                <a:cxn ang="0">
                  <a:pos x="77" y="79"/>
                </a:cxn>
                <a:cxn ang="0">
                  <a:pos x="101" y="66"/>
                </a:cxn>
                <a:cxn ang="0">
                  <a:pos x="124" y="69"/>
                </a:cxn>
                <a:cxn ang="0">
                  <a:pos x="118" y="49"/>
                </a:cxn>
                <a:cxn ang="0">
                  <a:pos x="105" y="47"/>
                </a:cxn>
                <a:cxn ang="0">
                  <a:pos x="99" y="41"/>
                </a:cxn>
                <a:cxn ang="0">
                  <a:pos x="99" y="28"/>
                </a:cxn>
                <a:cxn ang="0">
                  <a:pos x="75" y="32"/>
                </a:cxn>
                <a:cxn ang="0">
                  <a:pos x="60" y="26"/>
                </a:cxn>
                <a:cxn ang="0">
                  <a:pos x="30" y="26"/>
                </a:cxn>
                <a:cxn ang="0">
                  <a:pos x="26" y="19"/>
                </a:cxn>
                <a:cxn ang="0">
                  <a:pos x="45" y="19"/>
                </a:cxn>
                <a:cxn ang="0">
                  <a:pos x="51" y="15"/>
                </a:cxn>
                <a:cxn ang="0">
                  <a:pos x="45" y="15"/>
                </a:cxn>
                <a:cxn ang="0">
                  <a:pos x="39" y="0"/>
                </a:cxn>
                <a:cxn ang="0">
                  <a:pos x="24" y="6"/>
                </a:cxn>
                <a:cxn ang="0">
                  <a:pos x="26" y="15"/>
                </a:cxn>
                <a:cxn ang="0">
                  <a:pos x="19" y="19"/>
                </a:cxn>
                <a:cxn ang="0">
                  <a:pos x="17" y="26"/>
                </a:cxn>
                <a:cxn ang="0">
                  <a:pos x="2" y="26"/>
                </a:cxn>
                <a:cxn ang="0">
                  <a:pos x="0" y="32"/>
                </a:cxn>
                <a:cxn ang="0">
                  <a:pos x="13" y="38"/>
                </a:cxn>
                <a:cxn ang="0">
                  <a:pos x="21" y="53"/>
                </a:cxn>
                <a:cxn ang="0">
                  <a:pos x="15" y="73"/>
                </a:cxn>
                <a:cxn ang="0">
                  <a:pos x="21" y="73"/>
                </a:cxn>
                <a:cxn ang="0">
                  <a:pos x="21" y="73"/>
                </a:cxn>
              </a:cxnLst>
              <a:rect l="0" t="0" r="r" b="b"/>
              <a:pathLst>
                <a:path w="124" h="79">
                  <a:moveTo>
                    <a:pt x="21" y="73"/>
                  </a:moveTo>
                  <a:lnTo>
                    <a:pt x="38" y="71"/>
                  </a:lnTo>
                  <a:lnTo>
                    <a:pt x="41" y="62"/>
                  </a:lnTo>
                  <a:lnTo>
                    <a:pt x="51" y="64"/>
                  </a:lnTo>
                  <a:lnTo>
                    <a:pt x="58" y="47"/>
                  </a:lnTo>
                  <a:lnTo>
                    <a:pt x="71" y="56"/>
                  </a:lnTo>
                  <a:lnTo>
                    <a:pt x="77" y="79"/>
                  </a:lnTo>
                  <a:lnTo>
                    <a:pt x="101" y="66"/>
                  </a:lnTo>
                  <a:lnTo>
                    <a:pt x="124" y="69"/>
                  </a:lnTo>
                  <a:lnTo>
                    <a:pt x="118" y="49"/>
                  </a:lnTo>
                  <a:lnTo>
                    <a:pt x="105" y="47"/>
                  </a:lnTo>
                  <a:lnTo>
                    <a:pt x="99" y="41"/>
                  </a:lnTo>
                  <a:lnTo>
                    <a:pt x="99" y="28"/>
                  </a:lnTo>
                  <a:lnTo>
                    <a:pt x="75" y="32"/>
                  </a:lnTo>
                  <a:lnTo>
                    <a:pt x="60" y="26"/>
                  </a:lnTo>
                  <a:lnTo>
                    <a:pt x="30" y="26"/>
                  </a:lnTo>
                  <a:lnTo>
                    <a:pt x="26" y="19"/>
                  </a:lnTo>
                  <a:lnTo>
                    <a:pt x="45" y="19"/>
                  </a:lnTo>
                  <a:lnTo>
                    <a:pt x="51" y="15"/>
                  </a:lnTo>
                  <a:lnTo>
                    <a:pt x="45" y="15"/>
                  </a:lnTo>
                  <a:lnTo>
                    <a:pt x="39" y="0"/>
                  </a:lnTo>
                  <a:lnTo>
                    <a:pt x="24" y="6"/>
                  </a:lnTo>
                  <a:lnTo>
                    <a:pt x="26" y="15"/>
                  </a:lnTo>
                  <a:lnTo>
                    <a:pt x="19" y="19"/>
                  </a:lnTo>
                  <a:lnTo>
                    <a:pt x="17" y="26"/>
                  </a:lnTo>
                  <a:lnTo>
                    <a:pt x="2" y="26"/>
                  </a:lnTo>
                  <a:lnTo>
                    <a:pt x="0" y="32"/>
                  </a:lnTo>
                  <a:lnTo>
                    <a:pt x="13" y="38"/>
                  </a:lnTo>
                  <a:lnTo>
                    <a:pt x="21" y="53"/>
                  </a:lnTo>
                  <a:lnTo>
                    <a:pt x="15" y="73"/>
                  </a:lnTo>
                  <a:lnTo>
                    <a:pt x="21" y="73"/>
                  </a:lnTo>
                  <a:lnTo>
                    <a:pt x="21" y="7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57" name="Freeform 5765"/>
            <p:cNvSpPr>
              <a:spLocks/>
            </p:cNvSpPr>
            <p:nvPr>
              <p:custDataLst>
                <p:tags r:id="rId137"/>
              </p:custDataLst>
            </p:nvPr>
          </p:nvSpPr>
          <p:spPr bwMode="gray">
            <a:xfrm>
              <a:off x="7946913" y="3338185"/>
              <a:ext cx="195030" cy="91204"/>
            </a:xfrm>
            <a:custGeom>
              <a:avLst/>
              <a:gdLst/>
              <a:ahLst/>
              <a:cxnLst>
                <a:cxn ang="0">
                  <a:pos x="25" y="54"/>
                </a:cxn>
                <a:cxn ang="0">
                  <a:pos x="19" y="58"/>
                </a:cxn>
                <a:cxn ang="0">
                  <a:pos x="0" y="58"/>
                </a:cxn>
                <a:cxn ang="0">
                  <a:pos x="4" y="65"/>
                </a:cxn>
                <a:cxn ang="0">
                  <a:pos x="34" y="65"/>
                </a:cxn>
                <a:cxn ang="0">
                  <a:pos x="49" y="71"/>
                </a:cxn>
                <a:cxn ang="0">
                  <a:pos x="73" y="67"/>
                </a:cxn>
                <a:cxn ang="0">
                  <a:pos x="73" y="58"/>
                </a:cxn>
                <a:cxn ang="0">
                  <a:pos x="83" y="48"/>
                </a:cxn>
                <a:cxn ang="0">
                  <a:pos x="109" y="48"/>
                </a:cxn>
                <a:cxn ang="0">
                  <a:pos x="111" y="41"/>
                </a:cxn>
                <a:cxn ang="0">
                  <a:pos x="128" y="39"/>
                </a:cxn>
                <a:cxn ang="0">
                  <a:pos x="152" y="22"/>
                </a:cxn>
                <a:cxn ang="0">
                  <a:pos x="152" y="17"/>
                </a:cxn>
                <a:cxn ang="0">
                  <a:pos x="135" y="7"/>
                </a:cxn>
                <a:cxn ang="0">
                  <a:pos x="77" y="5"/>
                </a:cxn>
                <a:cxn ang="0">
                  <a:pos x="57" y="0"/>
                </a:cxn>
                <a:cxn ang="0">
                  <a:pos x="49" y="3"/>
                </a:cxn>
                <a:cxn ang="0">
                  <a:pos x="49" y="13"/>
                </a:cxn>
                <a:cxn ang="0">
                  <a:pos x="15" y="9"/>
                </a:cxn>
                <a:cxn ang="0">
                  <a:pos x="13" y="15"/>
                </a:cxn>
                <a:cxn ang="0">
                  <a:pos x="19" y="18"/>
                </a:cxn>
                <a:cxn ang="0">
                  <a:pos x="8" y="32"/>
                </a:cxn>
                <a:cxn ang="0">
                  <a:pos x="27" y="37"/>
                </a:cxn>
                <a:cxn ang="0">
                  <a:pos x="28" y="30"/>
                </a:cxn>
                <a:cxn ang="0">
                  <a:pos x="55" y="43"/>
                </a:cxn>
                <a:cxn ang="0">
                  <a:pos x="40" y="52"/>
                </a:cxn>
                <a:cxn ang="0">
                  <a:pos x="25" y="54"/>
                </a:cxn>
                <a:cxn ang="0">
                  <a:pos x="25" y="54"/>
                </a:cxn>
              </a:cxnLst>
              <a:rect l="0" t="0" r="r" b="b"/>
              <a:pathLst>
                <a:path w="152" h="71">
                  <a:moveTo>
                    <a:pt x="25" y="54"/>
                  </a:moveTo>
                  <a:lnTo>
                    <a:pt x="19" y="58"/>
                  </a:lnTo>
                  <a:lnTo>
                    <a:pt x="0" y="58"/>
                  </a:lnTo>
                  <a:lnTo>
                    <a:pt x="4" y="65"/>
                  </a:lnTo>
                  <a:lnTo>
                    <a:pt x="34" y="65"/>
                  </a:lnTo>
                  <a:lnTo>
                    <a:pt x="49" y="71"/>
                  </a:lnTo>
                  <a:lnTo>
                    <a:pt x="73" y="67"/>
                  </a:lnTo>
                  <a:lnTo>
                    <a:pt x="73" y="58"/>
                  </a:lnTo>
                  <a:lnTo>
                    <a:pt x="83" y="48"/>
                  </a:lnTo>
                  <a:lnTo>
                    <a:pt x="109" y="48"/>
                  </a:lnTo>
                  <a:lnTo>
                    <a:pt x="111" y="41"/>
                  </a:lnTo>
                  <a:lnTo>
                    <a:pt x="128" y="39"/>
                  </a:lnTo>
                  <a:lnTo>
                    <a:pt x="152" y="22"/>
                  </a:lnTo>
                  <a:lnTo>
                    <a:pt x="152" y="17"/>
                  </a:lnTo>
                  <a:lnTo>
                    <a:pt x="135" y="7"/>
                  </a:lnTo>
                  <a:lnTo>
                    <a:pt x="77" y="5"/>
                  </a:lnTo>
                  <a:lnTo>
                    <a:pt x="57" y="0"/>
                  </a:lnTo>
                  <a:lnTo>
                    <a:pt x="49" y="3"/>
                  </a:lnTo>
                  <a:lnTo>
                    <a:pt x="49" y="13"/>
                  </a:lnTo>
                  <a:lnTo>
                    <a:pt x="15" y="9"/>
                  </a:lnTo>
                  <a:lnTo>
                    <a:pt x="13" y="15"/>
                  </a:lnTo>
                  <a:lnTo>
                    <a:pt x="19" y="18"/>
                  </a:lnTo>
                  <a:lnTo>
                    <a:pt x="8" y="32"/>
                  </a:lnTo>
                  <a:lnTo>
                    <a:pt x="27" y="37"/>
                  </a:lnTo>
                  <a:lnTo>
                    <a:pt x="28" y="30"/>
                  </a:lnTo>
                  <a:lnTo>
                    <a:pt x="55" y="43"/>
                  </a:lnTo>
                  <a:lnTo>
                    <a:pt x="40" y="52"/>
                  </a:lnTo>
                  <a:lnTo>
                    <a:pt x="25" y="54"/>
                  </a:lnTo>
                  <a:lnTo>
                    <a:pt x="25" y="5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58" name="Freeform 5766"/>
            <p:cNvSpPr>
              <a:spLocks/>
            </p:cNvSpPr>
            <p:nvPr>
              <p:custDataLst>
                <p:tags r:id="rId138"/>
              </p:custDataLst>
            </p:nvPr>
          </p:nvSpPr>
          <p:spPr bwMode="gray">
            <a:xfrm>
              <a:off x="7615875" y="3347177"/>
              <a:ext cx="292545" cy="170846"/>
            </a:xfrm>
            <a:custGeom>
              <a:avLst/>
              <a:gdLst/>
              <a:ahLst/>
              <a:cxnLst>
                <a:cxn ang="0">
                  <a:pos x="56" y="28"/>
                </a:cxn>
                <a:cxn ang="0">
                  <a:pos x="69" y="28"/>
                </a:cxn>
                <a:cxn ang="0">
                  <a:pos x="67" y="15"/>
                </a:cxn>
                <a:cxn ang="0">
                  <a:pos x="80" y="6"/>
                </a:cxn>
                <a:cxn ang="0">
                  <a:pos x="82" y="4"/>
                </a:cxn>
                <a:cxn ang="0">
                  <a:pos x="88" y="0"/>
                </a:cxn>
                <a:cxn ang="0">
                  <a:pos x="110" y="10"/>
                </a:cxn>
                <a:cxn ang="0">
                  <a:pos x="116" y="26"/>
                </a:cxn>
                <a:cxn ang="0">
                  <a:pos x="144" y="30"/>
                </a:cxn>
                <a:cxn ang="0">
                  <a:pos x="159" y="55"/>
                </a:cxn>
                <a:cxn ang="0">
                  <a:pos x="210" y="83"/>
                </a:cxn>
                <a:cxn ang="0">
                  <a:pos x="225" y="86"/>
                </a:cxn>
                <a:cxn ang="0">
                  <a:pos x="228" y="100"/>
                </a:cxn>
                <a:cxn ang="0">
                  <a:pos x="215" y="96"/>
                </a:cxn>
                <a:cxn ang="0">
                  <a:pos x="213" y="101"/>
                </a:cxn>
                <a:cxn ang="0">
                  <a:pos x="206" y="101"/>
                </a:cxn>
                <a:cxn ang="0">
                  <a:pos x="202" y="118"/>
                </a:cxn>
                <a:cxn ang="0">
                  <a:pos x="185" y="128"/>
                </a:cxn>
                <a:cxn ang="0">
                  <a:pos x="178" y="133"/>
                </a:cxn>
                <a:cxn ang="0">
                  <a:pos x="155" y="128"/>
                </a:cxn>
                <a:cxn ang="0">
                  <a:pos x="155" y="128"/>
                </a:cxn>
                <a:cxn ang="0">
                  <a:pos x="153" y="116"/>
                </a:cxn>
                <a:cxn ang="0">
                  <a:pos x="82" y="83"/>
                </a:cxn>
                <a:cxn ang="0">
                  <a:pos x="58" y="85"/>
                </a:cxn>
                <a:cxn ang="0">
                  <a:pos x="37" y="98"/>
                </a:cxn>
                <a:cxn ang="0">
                  <a:pos x="34" y="68"/>
                </a:cxn>
                <a:cxn ang="0">
                  <a:pos x="28" y="66"/>
                </a:cxn>
                <a:cxn ang="0">
                  <a:pos x="22" y="51"/>
                </a:cxn>
                <a:cxn ang="0">
                  <a:pos x="11" y="51"/>
                </a:cxn>
                <a:cxn ang="0">
                  <a:pos x="9" y="45"/>
                </a:cxn>
                <a:cxn ang="0">
                  <a:pos x="11" y="36"/>
                </a:cxn>
                <a:cxn ang="0">
                  <a:pos x="32" y="40"/>
                </a:cxn>
                <a:cxn ang="0">
                  <a:pos x="39" y="32"/>
                </a:cxn>
                <a:cxn ang="0">
                  <a:pos x="19" y="13"/>
                </a:cxn>
                <a:cxn ang="0">
                  <a:pos x="9" y="15"/>
                </a:cxn>
                <a:cxn ang="0">
                  <a:pos x="7" y="28"/>
                </a:cxn>
                <a:cxn ang="0">
                  <a:pos x="0" y="15"/>
                </a:cxn>
                <a:cxn ang="0">
                  <a:pos x="9" y="10"/>
                </a:cxn>
                <a:cxn ang="0">
                  <a:pos x="22" y="8"/>
                </a:cxn>
                <a:cxn ang="0">
                  <a:pos x="47" y="28"/>
                </a:cxn>
                <a:cxn ang="0">
                  <a:pos x="56" y="28"/>
                </a:cxn>
                <a:cxn ang="0">
                  <a:pos x="56" y="28"/>
                </a:cxn>
              </a:cxnLst>
              <a:rect l="0" t="0" r="r" b="b"/>
              <a:pathLst>
                <a:path w="228" h="133">
                  <a:moveTo>
                    <a:pt x="56" y="28"/>
                  </a:moveTo>
                  <a:lnTo>
                    <a:pt x="69" y="28"/>
                  </a:lnTo>
                  <a:lnTo>
                    <a:pt x="67" y="15"/>
                  </a:lnTo>
                  <a:lnTo>
                    <a:pt x="80" y="6"/>
                  </a:lnTo>
                  <a:lnTo>
                    <a:pt x="82" y="4"/>
                  </a:lnTo>
                  <a:lnTo>
                    <a:pt x="88" y="0"/>
                  </a:lnTo>
                  <a:lnTo>
                    <a:pt x="110" y="10"/>
                  </a:lnTo>
                  <a:lnTo>
                    <a:pt x="116" y="26"/>
                  </a:lnTo>
                  <a:lnTo>
                    <a:pt x="144" y="30"/>
                  </a:lnTo>
                  <a:lnTo>
                    <a:pt x="159" y="55"/>
                  </a:lnTo>
                  <a:lnTo>
                    <a:pt x="210" y="83"/>
                  </a:lnTo>
                  <a:lnTo>
                    <a:pt x="225" y="86"/>
                  </a:lnTo>
                  <a:lnTo>
                    <a:pt x="228" y="100"/>
                  </a:lnTo>
                  <a:lnTo>
                    <a:pt x="215" y="96"/>
                  </a:lnTo>
                  <a:lnTo>
                    <a:pt x="213" y="101"/>
                  </a:lnTo>
                  <a:lnTo>
                    <a:pt x="206" y="101"/>
                  </a:lnTo>
                  <a:lnTo>
                    <a:pt x="202" y="118"/>
                  </a:lnTo>
                  <a:lnTo>
                    <a:pt x="185" y="128"/>
                  </a:lnTo>
                  <a:lnTo>
                    <a:pt x="178" y="133"/>
                  </a:lnTo>
                  <a:lnTo>
                    <a:pt x="155" y="128"/>
                  </a:lnTo>
                  <a:lnTo>
                    <a:pt x="155" y="128"/>
                  </a:lnTo>
                  <a:lnTo>
                    <a:pt x="153" y="116"/>
                  </a:lnTo>
                  <a:lnTo>
                    <a:pt x="82" y="83"/>
                  </a:lnTo>
                  <a:lnTo>
                    <a:pt x="58" y="85"/>
                  </a:lnTo>
                  <a:lnTo>
                    <a:pt x="37" y="98"/>
                  </a:lnTo>
                  <a:lnTo>
                    <a:pt x="34" y="68"/>
                  </a:lnTo>
                  <a:lnTo>
                    <a:pt x="28" y="66"/>
                  </a:lnTo>
                  <a:lnTo>
                    <a:pt x="22" y="51"/>
                  </a:lnTo>
                  <a:lnTo>
                    <a:pt x="11" y="51"/>
                  </a:lnTo>
                  <a:lnTo>
                    <a:pt x="9" y="45"/>
                  </a:lnTo>
                  <a:lnTo>
                    <a:pt x="11" y="36"/>
                  </a:lnTo>
                  <a:lnTo>
                    <a:pt x="32" y="40"/>
                  </a:lnTo>
                  <a:lnTo>
                    <a:pt x="39" y="32"/>
                  </a:lnTo>
                  <a:lnTo>
                    <a:pt x="19" y="13"/>
                  </a:lnTo>
                  <a:lnTo>
                    <a:pt x="9" y="15"/>
                  </a:lnTo>
                  <a:lnTo>
                    <a:pt x="7" y="28"/>
                  </a:lnTo>
                  <a:lnTo>
                    <a:pt x="0" y="15"/>
                  </a:lnTo>
                  <a:lnTo>
                    <a:pt x="9" y="10"/>
                  </a:lnTo>
                  <a:lnTo>
                    <a:pt x="22" y="8"/>
                  </a:lnTo>
                  <a:lnTo>
                    <a:pt x="47" y="28"/>
                  </a:lnTo>
                  <a:lnTo>
                    <a:pt x="56" y="28"/>
                  </a:lnTo>
                  <a:lnTo>
                    <a:pt x="56" y="2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59" name="Freeform 5767"/>
            <p:cNvSpPr>
              <a:spLocks/>
            </p:cNvSpPr>
            <p:nvPr>
              <p:custDataLst>
                <p:tags r:id="rId139"/>
              </p:custDataLst>
            </p:nvPr>
          </p:nvSpPr>
          <p:spPr bwMode="gray">
            <a:xfrm>
              <a:off x="7046182" y="3038883"/>
              <a:ext cx="162953" cy="111757"/>
            </a:xfrm>
            <a:custGeom>
              <a:avLst/>
              <a:gdLst/>
              <a:ahLst/>
              <a:cxnLst>
                <a:cxn ang="0">
                  <a:pos x="6" y="59"/>
                </a:cxn>
                <a:cxn ang="0">
                  <a:pos x="0" y="72"/>
                </a:cxn>
                <a:cxn ang="0">
                  <a:pos x="4" y="81"/>
                </a:cxn>
                <a:cxn ang="0">
                  <a:pos x="36" y="75"/>
                </a:cxn>
                <a:cxn ang="0">
                  <a:pos x="62" y="85"/>
                </a:cxn>
                <a:cxn ang="0">
                  <a:pos x="80" y="81"/>
                </a:cxn>
                <a:cxn ang="0">
                  <a:pos x="99" y="87"/>
                </a:cxn>
                <a:cxn ang="0">
                  <a:pos x="107" y="73"/>
                </a:cxn>
                <a:cxn ang="0">
                  <a:pos x="118" y="72"/>
                </a:cxn>
                <a:cxn ang="0">
                  <a:pos x="109" y="55"/>
                </a:cxn>
                <a:cxn ang="0">
                  <a:pos x="122" y="55"/>
                </a:cxn>
                <a:cxn ang="0">
                  <a:pos x="127" y="47"/>
                </a:cxn>
                <a:cxn ang="0">
                  <a:pos x="114" y="42"/>
                </a:cxn>
                <a:cxn ang="0">
                  <a:pos x="99" y="25"/>
                </a:cxn>
                <a:cxn ang="0">
                  <a:pos x="97" y="12"/>
                </a:cxn>
                <a:cxn ang="0">
                  <a:pos x="60" y="0"/>
                </a:cxn>
                <a:cxn ang="0">
                  <a:pos x="41" y="10"/>
                </a:cxn>
                <a:cxn ang="0">
                  <a:pos x="41" y="19"/>
                </a:cxn>
                <a:cxn ang="0">
                  <a:pos x="30" y="23"/>
                </a:cxn>
                <a:cxn ang="0">
                  <a:pos x="30" y="36"/>
                </a:cxn>
                <a:cxn ang="0">
                  <a:pos x="0" y="38"/>
                </a:cxn>
                <a:cxn ang="0">
                  <a:pos x="6" y="59"/>
                </a:cxn>
                <a:cxn ang="0">
                  <a:pos x="6" y="59"/>
                </a:cxn>
              </a:cxnLst>
              <a:rect l="0" t="0" r="r" b="b"/>
              <a:pathLst>
                <a:path w="127" h="87">
                  <a:moveTo>
                    <a:pt x="6" y="59"/>
                  </a:moveTo>
                  <a:lnTo>
                    <a:pt x="0" y="72"/>
                  </a:lnTo>
                  <a:lnTo>
                    <a:pt x="4" y="81"/>
                  </a:lnTo>
                  <a:lnTo>
                    <a:pt x="36" y="75"/>
                  </a:lnTo>
                  <a:lnTo>
                    <a:pt x="62" y="85"/>
                  </a:lnTo>
                  <a:lnTo>
                    <a:pt x="80" y="81"/>
                  </a:lnTo>
                  <a:lnTo>
                    <a:pt x="99" y="87"/>
                  </a:lnTo>
                  <a:lnTo>
                    <a:pt x="107" y="73"/>
                  </a:lnTo>
                  <a:lnTo>
                    <a:pt x="118" y="72"/>
                  </a:lnTo>
                  <a:lnTo>
                    <a:pt x="109" y="55"/>
                  </a:lnTo>
                  <a:lnTo>
                    <a:pt x="122" y="55"/>
                  </a:lnTo>
                  <a:lnTo>
                    <a:pt x="127" y="47"/>
                  </a:lnTo>
                  <a:lnTo>
                    <a:pt x="114" y="42"/>
                  </a:lnTo>
                  <a:lnTo>
                    <a:pt x="99" y="25"/>
                  </a:lnTo>
                  <a:lnTo>
                    <a:pt x="97" y="12"/>
                  </a:lnTo>
                  <a:lnTo>
                    <a:pt x="60" y="0"/>
                  </a:lnTo>
                  <a:lnTo>
                    <a:pt x="41" y="10"/>
                  </a:lnTo>
                  <a:lnTo>
                    <a:pt x="41" y="19"/>
                  </a:lnTo>
                  <a:lnTo>
                    <a:pt x="30" y="23"/>
                  </a:lnTo>
                  <a:lnTo>
                    <a:pt x="30" y="36"/>
                  </a:lnTo>
                  <a:lnTo>
                    <a:pt x="0" y="38"/>
                  </a:lnTo>
                  <a:lnTo>
                    <a:pt x="6" y="59"/>
                  </a:lnTo>
                  <a:lnTo>
                    <a:pt x="6" y="5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60" name="Freeform 5768"/>
            <p:cNvSpPr>
              <a:spLocks/>
            </p:cNvSpPr>
            <p:nvPr>
              <p:custDataLst>
                <p:tags r:id="rId140"/>
              </p:custDataLst>
            </p:nvPr>
          </p:nvSpPr>
          <p:spPr bwMode="gray">
            <a:xfrm>
              <a:off x="7035917" y="2964378"/>
              <a:ext cx="75702" cy="43675"/>
            </a:xfrm>
            <a:custGeom>
              <a:avLst/>
              <a:gdLst/>
              <a:ahLst/>
              <a:cxnLst>
                <a:cxn ang="0">
                  <a:pos x="14" y="30"/>
                </a:cxn>
                <a:cxn ang="0">
                  <a:pos x="14" y="23"/>
                </a:cxn>
                <a:cxn ang="0">
                  <a:pos x="6" y="23"/>
                </a:cxn>
                <a:cxn ang="0">
                  <a:pos x="0" y="8"/>
                </a:cxn>
                <a:cxn ang="0">
                  <a:pos x="32" y="0"/>
                </a:cxn>
                <a:cxn ang="0">
                  <a:pos x="59" y="4"/>
                </a:cxn>
                <a:cxn ang="0">
                  <a:pos x="57" y="10"/>
                </a:cxn>
                <a:cxn ang="0">
                  <a:pos x="45" y="13"/>
                </a:cxn>
                <a:cxn ang="0">
                  <a:pos x="57" y="27"/>
                </a:cxn>
                <a:cxn ang="0">
                  <a:pos x="55" y="34"/>
                </a:cxn>
                <a:cxn ang="0">
                  <a:pos x="25" y="27"/>
                </a:cxn>
                <a:cxn ang="0">
                  <a:pos x="14" y="30"/>
                </a:cxn>
                <a:cxn ang="0">
                  <a:pos x="14" y="30"/>
                </a:cxn>
              </a:cxnLst>
              <a:rect l="0" t="0" r="r" b="b"/>
              <a:pathLst>
                <a:path w="59" h="34">
                  <a:moveTo>
                    <a:pt x="14" y="30"/>
                  </a:moveTo>
                  <a:lnTo>
                    <a:pt x="14" y="23"/>
                  </a:lnTo>
                  <a:lnTo>
                    <a:pt x="6" y="23"/>
                  </a:lnTo>
                  <a:lnTo>
                    <a:pt x="0" y="8"/>
                  </a:lnTo>
                  <a:lnTo>
                    <a:pt x="32" y="0"/>
                  </a:lnTo>
                  <a:lnTo>
                    <a:pt x="59" y="4"/>
                  </a:lnTo>
                  <a:lnTo>
                    <a:pt x="57" y="10"/>
                  </a:lnTo>
                  <a:lnTo>
                    <a:pt x="45" y="13"/>
                  </a:lnTo>
                  <a:lnTo>
                    <a:pt x="57" y="27"/>
                  </a:lnTo>
                  <a:lnTo>
                    <a:pt x="55" y="34"/>
                  </a:lnTo>
                  <a:lnTo>
                    <a:pt x="25" y="27"/>
                  </a:lnTo>
                  <a:lnTo>
                    <a:pt x="14" y="30"/>
                  </a:lnTo>
                  <a:lnTo>
                    <a:pt x="14" y="3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61" name="Freeform 5769"/>
            <p:cNvSpPr>
              <a:spLocks/>
            </p:cNvSpPr>
            <p:nvPr>
              <p:custDataLst>
                <p:tags r:id="rId141"/>
              </p:custDataLst>
            </p:nvPr>
          </p:nvSpPr>
          <p:spPr bwMode="gray">
            <a:xfrm>
              <a:off x="6997424" y="2999061"/>
              <a:ext cx="125743" cy="52667"/>
            </a:xfrm>
            <a:custGeom>
              <a:avLst/>
              <a:gdLst/>
              <a:ahLst/>
              <a:cxnLst>
                <a:cxn ang="0">
                  <a:pos x="0" y="33"/>
                </a:cxn>
                <a:cxn ang="0">
                  <a:pos x="2" y="22"/>
                </a:cxn>
                <a:cxn ang="0">
                  <a:pos x="10" y="9"/>
                </a:cxn>
                <a:cxn ang="0">
                  <a:pos x="19" y="7"/>
                </a:cxn>
                <a:cxn ang="0">
                  <a:pos x="38" y="18"/>
                </a:cxn>
                <a:cxn ang="0">
                  <a:pos x="45" y="15"/>
                </a:cxn>
                <a:cxn ang="0">
                  <a:pos x="44" y="3"/>
                </a:cxn>
                <a:cxn ang="0">
                  <a:pos x="55" y="0"/>
                </a:cxn>
                <a:cxn ang="0">
                  <a:pos x="85" y="7"/>
                </a:cxn>
                <a:cxn ang="0">
                  <a:pos x="98" y="31"/>
                </a:cxn>
                <a:cxn ang="0">
                  <a:pos x="79" y="41"/>
                </a:cxn>
                <a:cxn ang="0">
                  <a:pos x="53" y="28"/>
                </a:cxn>
                <a:cxn ang="0">
                  <a:pos x="15" y="28"/>
                </a:cxn>
                <a:cxn ang="0">
                  <a:pos x="0" y="33"/>
                </a:cxn>
                <a:cxn ang="0">
                  <a:pos x="0" y="33"/>
                </a:cxn>
                <a:cxn ang="0">
                  <a:pos x="0" y="33"/>
                </a:cxn>
              </a:cxnLst>
              <a:rect l="0" t="0" r="r" b="b"/>
              <a:pathLst>
                <a:path w="98" h="41">
                  <a:moveTo>
                    <a:pt x="0" y="33"/>
                  </a:moveTo>
                  <a:lnTo>
                    <a:pt x="2" y="22"/>
                  </a:lnTo>
                  <a:lnTo>
                    <a:pt x="10" y="9"/>
                  </a:lnTo>
                  <a:lnTo>
                    <a:pt x="19" y="7"/>
                  </a:lnTo>
                  <a:lnTo>
                    <a:pt x="38" y="18"/>
                  </a:lnTo>
                  <a:lnTo>
                    <a:pt x="45" y="15"/>
                  </a:lnTo>
                  <a:lnTo>
                    <a:pt x="44" y="3"/>
                  </a:lnTo>
                  <a:lnTo>
                    <a:pt x="55" y="0"/>
                  </a:lnTo>
                  <a:lnTo>
                    <a:pt x="85" y="7"/>
                  </a:lnTo>
                  <a:lnTo>
                    <a:pt x="98" y="31"/>
                  </a:lnTo>
                  <a:lnTo>
                    <a:pt x="79" y="41"/>
                  </a:lnTo>
                  <a:lnTo>
                    <a:pt x="53" y="28"/>
                  </a:lnTo>
                  <a:lnTo>
                    <a:pt x="15" y="28"/>
                  </a:lnTo>
                  <a:lnTo>
                    <a:pt x="0" y="33"/>
                  </a:lnTo>
                  <a:lnTo>
                    <a:pt x="0" y="33"/>
                  </a:lnTo>
                  <a:lnTo>
                    <a:pt x="0" y="3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62" name="Freeform 5770"/>
            <p:cNvSpPr>
              <a:spLocks/>
            </p:cNvSpPr>
            <p:nvPr>
              <p:custDataLst>
                <p:tags r:id="rId142"/>
              </p:custDataLst>
            </p:nvPr>
          </p:nvSpPr>
          <p:spPr bwMode="gray">
            <a:xfrm>
              <a:off x="6997424" y="3035029"/>
              <a:ext cx="101364" cy="52667"/>
            </a:xfrm>
            <a:custGeom>
              <a:avLst/>
              <a:gdLst/>
              <a:ahLst/>
              <a:cxnLst>
                <a:cxn ang="0">
                  <a:pos x="38" y="41"/>
                </a:cxn>
                <a:cxn ang="0">
                  <a:pos x="29" y="35"/>
                </a:cxn>
                <a:cxn ang="0">
                  <a:pos x="25" y="24"/>
                </a:cxn>
                <a:cxn ang="0">
                  <a:pos x="0" y="22"/>
                </a:cxn>
                <a:cxn ang="0">
                  <a:pos x="0" y="5"/>
                </a:cxn>
                <a:cxn ang="0">
                  <a:pos x="0" y="5"/>
                </a:cxn>
                <a:cxn ang="0">
                  <a:pos x="15" y="0"/>
                </a:cxn>
                <a:cxn ang="0">
                  <a:pos x="53" y="0"/>
                </a:cxn>
                <a:cxn ang="0">
                  <a:pos x="79" y="13"/>
                </a:cxn>
                <a:cxn ang="0">
                  <a:pos x="79" y="22"/>
                </a:cxn>
                <a:cxn ang="0">
                  <a:pos x="68" y="26"/>
                </a:cxn>
                <a:cxn ang="0">
                  <a:pos x="68" y="39"/>
                </a:cxn>
                <a:cxn ang="0">
                  <a:pos x="38" y="41"/>
                </a:cxn>
                <a:cxn ang="0">
                  <a:pos x="38" y="41"/>
                </a:cxn>
              </a:cxnLst>
              <a:rect l="0" t="0" r="r" b="b"/>
              <a:pathLst>
                <a:path w="79" h="41">
                  <a:moveTo>
                    <a:pt x="38" y="41"/>
                  </a:moveTo>
                  <a:lnTo>
                    <a:pt x="29" y="35"/>
                  </a:lnTo>
                  <a:lnTo>
                    <a:pt x="25" y="24"/>
                  </a:lnTo>
                  <a:lnTo>
                    <a:pt x="0" y="22"/>
                  </a:lnTo>
                  <a:lnTo>
                    <a:pt x="0" y="5"/>
                  </a:lnTo>
                  <a:lnTo>
                    <a:pt x="0" y="5"/>
                  </a:lnTo>
                  <a:lnTo>
                    <a:pt x="15" y="0"/>
                  </a:lnTo>
                  <a:lnTo>
                    <a:pt x="53" y="0"/>
                  </a:lnTo>
                  <a:lnTo>
                    <a:pt x="79" y="13"/>
                  </a:lnTo>
                  <a:lnTo>
                    <a:pt x="79" y="22"/>
                  </a:lnTo>
                  <a:lnTo>
                    <a:pt x="68" y="26"/>
                  </a:lnTo>
                  <a:lnTo>
                    <a:pt x="68" y="39"/>
                  </a:lnTo>
                  <a:lnTo>
                    <a:pt x="38" y="41"/>
                  </a:lnTo>
                  <a:lnTo>
                    <a:pt x="38" y="4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63" name="Freeform 5771"/>
            <p:cNvSpPr>
              <a:spLocks/>
            </p:cNvSpPr>
            <p:nvPr>
              <p:custDataLst>
                <p:tags r:id="rId143"/>
              </p:custDataLst>
            </p:nvPr>
          </p:nvSpPr>
          <p:spPr bwMode="gray">
            <a:xfrm>
              <a:off x="6976895" y="3063289"/>
              <a:ext cx="57739" cy="16699"/>
            </a:xfrm>
            <a:custGeom>
              <a:avLst/>
              <a:gdLst/>
              <a:ahLst/>
              <a:cxnLst>
                <a:cxn ang="0">
                  <a:pos x="0" y="11"/>
                </a:cxn>
                <a:cxn ang="0">
                  <a:pos x="45" y="13"/>
                </a:cxn>
                <a:cxn ang="0">
                  <a:pos x="41" y="2"/>
                </a:cxn>
                <a:cxn ang="0">
                  <a:pos x="16" y="0"/>
                </a:cxn>
                <a:cxn ang="0">
                  <a:pos x="0" y="11"/>
                </a:cxn>
                <a:cxn ang="0">
                  <a:pos x="0" y="11"/>
                </a:cxn>
              </a:cxnLst>
              <a:rect l="0" t="0" r="r" b="b"/>
              <a:pathLst>
                <a:path w="45" h="13">
                  <a:moveTo>
                    <a:pt x="0" y="11"/>
                  </a:moveTo>
                  <a:lnTo>
                    <a:pt x="45" y="13"/>
                  </a:lnTo>
                  <a:lnTo>
                    <a:pt x="41" y="2"/>
                  </a:lnTo>
                  <a:lnTo>
                    <a:pt x="16" y="0"/>
                  </a:lnTo>
                  <a:lnTo>
                    <a:pt x="0" y="11"/>
                  </a:lnTo>
                  <a:lnTo>
                    <a:pt x="0" y="1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64" name="Freeform 5772"/>
            <p:cNvSpPr>
              <a:spLocks/>
            </p:cNvSpPr>
            <p:nvPr>
              <p:custDataLst>
                <p:tags r:id="rId144"/>
              </p:custDataLst>
            </p:nvPr>
          </p:nvSpPr>
          <p:spPr bwMode="gray">
            <a:xfrm>
              <a:off x="7111619" y="3214867"/>
              <a:ext cx="66721" cy="65513"/>
            </a:xfrm>
            <a:custGeom>
              <a:avLst/>
              <a:gdLst/>
              <a:ahLst/>
              <a:cxnLst>
                <a:cxn ang="0">
                  <a:pos x="31" y="51"/>
                </a:cxn>
                <a:cxn ang="0">
                  <a:pos x="24" y="30"/>
                </a:cxn>
                <a:cxn ang="0">
                  <a:pos x="7" y="6"/>
                </a:cxn>
                <a:cxn ang="0">
                  <a:pos x="0" y="4"/>
                </a:cxn>
                <a:cxn ang="0">
                  <a:pos x="13" y="0"/>
                </a:cxn>
                <a:cxn ang="0">
                  <a:pos x="37" y="8"/>
                </a:cxn>
                <a:cxn ang="0">
                  <a:pos x="39" y="17"/>
                </a:cxn>
                <a:cxn ang="0">
                  <a:pos x="50" y="30"/>
                </a:cxn>
                <a:cxn ang="0">
                  <a:pos x="52" y="38"/>
                </a:cxn>
                <a:cxn ang="0">
                  <a:pos x="39" y="38"/>
                </a:cxn>
                <a:cxn ang="0">
                  <a:pos x="31" y="51"/>
                </a:cxn>
                <a:cxn ang="0">
                  <a:pos x="31" y="51"/>
                </a:cxn>
              </a:cxnLst>
              <a:rect l="0" t="0" r="r" b="b"/>
              <a:pathLst>
                <a:path w="52" h="51">
                  <a:moveTo>
                    <a:pt x="31" y="51"/>
                  </a:moveTo>
                  <a:lnTo>
                    <a:pt x="24" y="30"/>
                  </a:lnTo>
                  <a:lnTo>
                    <a:pt x="7" y="6"/>
                  </a:lnTo>
                  <a:lnTo>
                    <a:pt x="0" y="4"/>
                  </a:lnTo>
                  <a:lnTo>
                    <a:pt x="13" y="0"/>
                  </a:lnTo>
                  <a:lnTo>
                    <a:pt x="37" y="8"/>
                  </a:lnTo>
                  <a:lnTo>
                    <a:pt x="39" y="17"/>
                  </a:lnTo>
                  <a:lnTo>
                    <a:pt x="50" y="30"/>
                  </a:lnTo>
                  <a:lnTo>
                    <a:pt x="52" y="38"/>
                  </a:lnTo>
                  <a:lnTo>
                    <a:pt x="39" y="38"/>
                  </a:lnTo>
                  <a:lnTo>
                    <a:pt x="31" y="51"/>
                  </a:lnTo>
                  <a:lnTo>
                    <a:pt x="31" y="5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65" name="Freeform 5773"/>
            <p:cNvSpPr>
              <a:spLocks/>
            </p:cNvSpPr>
            <p:nvPr>
              <p:custDataLst>
                <p:tags r:id="rId145"/>
              </p:custDataLst>
            </p:nvPr>
          </p:nvSpPr>
          <p:spPr bwMode="gray">
            <a:xfrm>
              <a:off x="7375936" y="3330478"/>
              <a:ext cx="129592" cy="57805"/>
            </a:xfrm>
            <a:custGeom>
              <a:avLst/>
              <a:gdLst/>
              <a:ahLst/>
              <a:cxnLst>
                <a:cxn ang="0">
                  <a:pos x="76" y="39"/>
                </a:cxn>
                <a:cxn ang="0">
                  <a:pos x="82" y="38"/>
                </a:cxn>
                <a:cxn ang="0">
                  <a:pos x="101" y="43"/>
                </a:cxn>
                <a:cxn ang="0">
                  <a:pos x="95" y="34"/>
                </a:cxn>
                <a:cxn ang="0">
                  <a:pos x="97" y="28"/>
                </a:cxn>
                <a:cxn ang="0">
                  <a:pos x="97" y="28"/>
                </a:cxn>
                <a:cxn ang="0">
                  <a:pos x="76" y="15"/>
                </a:cxn>
                <a:cxn ang="0">
                  <a:pos x="58" y="17"/>
                </a:cxn>
                <a:cxn ang="0">
                  <a:pos x="41" y="6"/>
                </a:cxn>
                <a:cxn ang="0">
                  <a:pos x="0" y="0"/>
                </a:cxn>
                <a:cxn ang="0">
                  <a:pos x="15" y="9"/>
                </a:cxn>
                <a:cxn ang="0">
                  <a:pos x="28" y="28"/>
                </a:cxn>
                <a:cxn ang="0">
                  <a:pos x="28" y="34"/>
                </a:cxn>
                <a:cxn ang="0">
                  <a:pos x="28" y="34"/>
                </a:cxn>
                <a:cxn ang="0">
                  <a:pos x="48" y="36"/>
                </a:cxn>
                <a:cxn ang="0">
                  <a:pos x="54" y="45"/>
                </a:cxn>
                <a:cxn ang="0">
                  <a:pos x="56" y="43"/>
                </a:cxn>
                <a:cxn ang="0">
                  <a:pos x="76" y="39"/>
                </a:cxn>
                <a:cxn ang="0">
                  <a:pos x="76" y="39"/>
                </a:cxn>
              </a:cxnLst>
              <a:rect l="0" t="0" r="r" b="b"/>
              <a:pathLst>
                <a:path w="101" h="45">
                  <a:moveTo>
                    <a:pt x="76" y="39"/>
                  </a:moveTo>
                  <a:lnTo>
                    <a:pt x="82" y="38"/>
                  </a:lnTo>
                  <a:lnTo>
                    <a:pt x="101" y="43"/>
                  </a:lnTo>
                  <a:lnTo>
                    <a:pt x="95" y="34"/>
                  </a:lnTo>
                  <a:lnTo>
                    <a:pt x="97" y="28"/>
                  </a:lnTo>
                  <a:lnTo>
                    <a:pt x="97" y="28"/>
                  </a:lnTo>
                  <a:lnTo>
                    <a:pt x="76" y="15"/>
                  </a:lnTo>
                  <a:lnTo>
                    <a:pt x="58" y="17"/>
                  </a:lnTo>
                  <a:lnTo>
                    <a:pt x="41" y="6"/>
                  </a:lnTo>
                  <a:lnTo>
                    <a:pt x="0" y="0"/>
                  </a:lnTo>
                  <a:lnTo>
                    <a:pt x="15" y="9"/>
                  </a:lnTo>
                  <a:lnTo>
                    <a:pt x="28" y="28"/>
                  </a:lnTo>
                  <a:lnTo>
                    <a:pt x="28" y="34"/>
                  </a:lnTo>
                  <a:lnTo>
                    <a:pt x="28" y="34"/>
                  </a:lnTo>
                  <a:lnTo>
                    <a:pt x="48" y="36"/>
                  </a:lnTo>
                  <a:lnTo>
                    <a:pt x="54" y="45"/>
                  </a:lnTo>
                  <a:lnTo>
                    <a:pt x="56" y="43"/>
                  </a:lnTo>
                  <a:lnTo>
                    <a:pt x="76" y="39"/>
                  </a:lnTo>
                  <a:lnTo>
                    <a:pt x="76" y="3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66" name="Freeform 5774"/>
            <p:cNvSpPr>
              <a:spLocks/>
            </p:cNvSpPr>
            <p:nvPr>
              <p:custDataLst>
                <p:tags r:id="rId146"/>
              </p:custDataLst>
            </p:nvPr>
          </p:nvSpPr>
          <p:spPr bwMode="gray">
            <a:xfrm>
              <a:off x="7445223" y="3380575"/>
              <a:ext cx="66721" cy="56521"/>
            </a:xfrm>
            <a:custGeom>
              <a:avLst/>
              <a:gdLst/>
              <a:ahLst/>
              <a:cxnLst>
                <a:cxn ang="0">
                  <a:pos x="22" y="27"/>
                </a:cxn>
                <a:cxn ang="0">
                  <a:pos x="11" y="19"/>
                </a:cxn>
                <a:cxn ang="0">
                  <a:pos x="0" y="6"/>
                </a:cxn>
                <a:cxn ang="0">
                  <a:pos x="2" y="4"/>
                </a:cxn>
                <a:cxn ang="0">
                  <a:pos x="22" y="0"/>
                </a:cxn>
                <a:cxn ang="0">
                  <a:pos x="39" y="15"/>
                </a:cxn>
                <a:cxn ang="0">
                  <a:pos x="39" y="23"/>
                </a:cxn>
                <a:cxn ang="0">
                  <a:pos x="50" y="29"/>
                </a:cxn>
                <a:cxn ang="0">
                  <a:pos x="52" y="44"/>
                </a:cxn>
                <a:cxn ang="0">
                  <a:pos x="47" y="44"/>
                </a:cxn>
                <a:cxn ang="0">
                  <a:pos x="39" y="30"/>
                </a:cxn>
                <a:cxn ang="0">
                  <a:pos x="22" y="27"/>
                </a:cxn>
                <a:cxn ang="0">
                  <a:pos x="22" y="27"/>
                </a:cxn>
              </a:cxnLst>
              <a:rect l="0" t="0" r="r" b="b"/>
              <a:pathLst>
                <a:path w="52" h="44">
                  <a:moveTo>
                    <a:pt x="22" y="27"/>
                  </a:moveTo>
                  <a:lnTo>
                    <a:pt x="11" y="19"/>
                  </a:lnTo>
                  <a:lnTo>
                    <a:pt x="0" y="6"/>
                  </a:lnTo>
                  <a:lnTo>
                    <a:pt x="2" y="4"/>
                  </a:lnTo>
                  <a:lnTo>
                    <a:pt x="22" y="0"/>
                  </a:lnTo>
                  <a:lnTo>
                    <a:pt x="39" y="15"/>
                  </a:lnTo>
                  <a:lnTo>
                    <a:pt x="39" y="23"/>
                  </a:lnTo>
                  <a:lnTo>
                    <a:pt x="50" y="29"/>
                  </a:lnTo>
                  <a:lnTo>
                    <a:pt x="52" y="44"/>
                  </a:lnTo>
                  <a:lnTo>
                    <a:pt x="47" y="44"/>
                  </a:lnTo>
                  <a:lnTo>
                    <a:pt x="39" y="30"/>
                  </a:lnTo>
                  <a:lnTo>
                    <a:pt x="22" y="27"/>
                  </a:lnTo>
                  <a:lnTo>
                    <a:pt x="22" y="2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67" name="Freeform 5775"/>
            <p:cNvSpPr>
              <a:spLocks/>
            </p:cNvSpPr>
            <p:nvPr>
              <p:custDataLst>
                <p:tags r:id="rId147"/>
              </p:custDataLst>
            </p:nvPr>
          </p:nvSpPr>
          <p:spPr bwMode="gray">
            <a:xfrm>
              <a:off x="7473451" y="3415258"/>
              <a:ext cx="32077" cy="21838"/>
            </a:xfrm>
            <a:custGeom>
              <a:avLst/>
              <a:gdLst/>
              <a:ahLst/>
              <a:cxnLst>
                <a:cxn ang="0">
                  <a:pos x="25" y="17"/>
                </a:cxn>
                <a:cxn ang="0">
                  <a:pos x="15" y="17"/>
                </a:cxn>
                <a:cxn ang="0">
                  <a:pos x="0" y="0"/>
                </a:cxn>
                <a:cxn ang="0">
                  <a:pos x="17" y="3"/>
                </a:cxn>
                <a:cxn ang="0">
                  <a:pos x="25" y="17"/>
                </a:cxn>
                <a:cxn ang="0">
                  <a:pos x="25" y="17"/>
                </a:cxn>
              </a:cxnLst>
              <a:rect l="0" t="0" r="r" b="b"/>
              <a:pathLst>
                <a:path w="25" h="17">
                  <a:moveTo>
                    <a:pt x="25" y="17"/>
                  </a:moveTo>
                  <a:lnTo>
                    <a:pt x="15" y="17"/>
                  </a:lnTo>
                  <a:lnTo>
                    <a:pt x="0" y="0"/>
                  </a:lnTo>
                  <a:lnTo>
                    <a:pt x="17" y="3"/>
                  </a:lnTo>
                  <a:lnTo>
                    <a:pt x="25" y="17"/>
                  </a:lnTo>
                  <a:lnTo>
                    <a:pt x="25" y="1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68" name="Freeform 5776"/>
            <p:cNvSpPr>
              <a:spLocks/>
            </p:cNvSpPr>
            <p:nvPr>
              <p:custDataLst>
                <p:tags r:id="rId148"/>
              </p:custDataLst>
            </p:nvPr>
          </p:nvSpPr>
          <p:spPr bwMode="gray">
            <a:xfrm>
              <a:off x="7473451" y="3366445"/>
              <a:ext cx="109063" cy="82212"/>
            </a:xfrm>
            <a:custGeom>
              <a:avLst/>
              <a:gdLst/>
              <a:ahLst/>
              <a:cxnLst>
                <a:cxn ang="0">
                  <a:pos x="53" y="2"/>
                </a:cxn>
                <a:cxn ang="0">
                  <a:pos x="66" y="17"/>
                </a:cxn>
                <a:cxn ang="0">
                  <a:pos x="85" y="28"/>
                </a:cxn>
                <a:cxn ang="0">
                  <a:pos x="73" y="36"/>
                </a:cxn>
                <a:cxn ang="0">
                  <a:pos x="72" y="51"/>
                </a:cxn>
                <a:cxn ang="0">
                  <a:pos x="66" y="51"/>
                </a:cxn>
                <a:cxn ang="0">
                  <a:pos x="68" y="64"/>
                </a:cxn>
                <a:cxn ang="0">
                  <a:pos x="68" y="64"/>
                </a:cxn>
                <a:cxn ang="0">
                  <a:pos x="55" y="55"/>
                </a:cxn>
                <a:cxn ang="0">
                  <a:pos x="55" y="43"/>
                </a:cxn>
                <a:cxn ang="0">
                  <a:pos x="51" y="41"/>
                </a:cxn>
                <a:cxn ang="0">
                  <a:pos x="34" y="55"/>
                </a:cxn>
                <a:cxn ang="0">
                  <a:pos x="30" y="55"/>
                </a:cxn>
                <a:cxn ang="0">
                  <a:pos x="28" y="40"/>
                </a:cxn>
                <a:cxn ang="0">
                  <a:pos x="17" y="34"/>
                </a:cxn>
                <a:cxn ang="0">
                  <a:pos x="17" y="26"/>
                </a:cxn>
                <a:cxn ang="0">
                  <a:pos x="0" y="11"/>
                </a:cxn>
                <a:cxn ang="0">
                  <a:pos x="6" y="10"/>
                </a:cxn>
                <a:cxn ang="0">
                  <a:pos x="25" y="15"/>
                </a:cxn>
                <a:cxn ang="0">
                  <a:pos x="19" y="6"/>
                </a:cxn>
                <a:cxn ang="0">
                  <a:pos x="21" y="0"/>
                </a:cxn>
                <a:cxn ang="0">
                  <a:pos x="21" y="0"/>
                </a:cxn>
                <a:cxn ang="0">
                  <a:pos x="36" y="13"/>
                </a:cxn>
                <a:cxn ang="0">
                  <a:pos x="45" y="13"/>
                </a:cxn>
                <a:cxn ang="0">
                  <a:pos x="53" y="2"/>
                </a:cxn>
                <a:cxn ang="0">
                  <a:pos x="53" y="2"/>
                </a:cxn>
              </a:cxnLst>
              <a:rect l="0" t="0" r="r" b="b"/>
              <a:pathLst>
                <a:path w="85" h="64">
                  <a:moveTo>
                    <a:pt x="53" y="2"/>
                  </a:moveTo>
                  <a:lnTo>
                    <a:pt x="66" y="17"/>
                  </a:lnTo>
                  <a:lnTo>
                    <a:pt x="85" y="28"/>
                  </a:lnTo>
                  <a:lnTo>
                    <a:pt x="73" y="36"/>
                  </a:lnTo>
                  <a:lnTo>
                    <a:pt x="72" y="51"/>
                  </a:lnTo>
                  <a:lnTo>
                    <a:pt x="66" y="51"/>
                  </a:lnTo>
                  <a:lnTo>
                    <a:pt x="68" y="64"/>
                  </a:lnTo>
                  <a:lnTo>
                    <a:pt x="68" y="64"/>
                  </a:lnTo>
                  <a:lnTo>
                    <a:pt x="55" y="55"/>
                  </a:lnTo>
                  <a:lnTo>
                    <a:pt x="55" y="43"/>
                  </a:lnTo>
                  <a:lnTo>
                    <a:pt x="51" y="41"/>
                  </a:lnTo>
                  <a:lnTo>
                    <a:pt x="34" y="55"/>
                  </a:lnTo>
                  <a:lnTo>
                    <a:pt x="30" y="55"/>
                  </a:lnTo>
                  <a:lnTo>
                    <a:pt x="28" y="40"/>
                  </a:lnTo>
                  <a:lnTo>
                    <a:pt x="17" y="34"/>
                  </a:lnTo>
                  <a:lnTo>
                    <a:pt x="17" y="26"/>
                  </a:lnTo>
                  <a:lnTo>
                    <a:pt x="0" y="11"/>
                  </a:lnTo>
                  <a:lnTo>
                    <a:pt x="6" y="10"/>
                  </a:lnTo>
                  <a:lnTo>
                    <a:pt x="25" y="15"/>
                  </a:lnTo>
                  <a:lnTo>
                    <a:pt x="19" y="6"/>
                  </a:lnTo>
                  <a:lnTo>
                    <a:pt x="21" y="0"/>
                  </a:lnTo>
                  <a:lnTo>
                    <a:pt x="21" y="0"/>
                  </a:lnTo>
                  <a:lnTo>
                    <a:pt x="36" y="13"/>
                  </a:lnTo>
                  <a:lnTo>
                    <a:pt x="45" y="13"/>
                  </a:lnTo>
                  <a:lnTo>
                    <a:pt x="53" y="2"/>
                  </a:lnTo>
                  <a:lnTo>
                    <a:pt x="53" y="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69" name="Freeform 5777"/>
            <p:cNvSpPr>
              <a:spLocks/>
            </p:cNvSpPr>
            <p:nvPr>
              <p:custDataLst>
                <p:tags r:id="rId149"/>
              </p:custDataLst>
            </p:nvPr>
          </p:nvSpPr>
          <p:spPr bwMode="gray">
            <a:xfrm>
              <a:off x="5149771" y="4589346"/>
              <a:ext cx="261751" cy="312148"/>
            </a:xfrm>
            <a:custGeom>
              <a:avLst/>
              <a:gdLst/>
              <a:ahLst/>
              <a:cxnLst>
                <a:cxn ang="0">
                  <a:pos x="0" y="22"/>
                </a:cxn>
                <a:cxn ang="0">
                  <a:pos x="23" y="22"/>
                </a:cxn>
                <a:cxn ang="0">
                  <a:pos x="47" y="2"/>
                </a:cxn>
                <a:cxn ang="0">
                  <a:pos x="67" y="0"/>
                </a:cxn>
                <a:cxn ang="0">
                  <a:pos x="69" y="30"/>
                </a:cxn>
                <a:cxn ang="0">
                  <a:pos x="77" y="43"/>
                </a:cxn>
                <a:cxn ang="0">
                  <a:pos x="144" y="71"/>
                </a:cxn>
                <a:cxn ang="0">
                  <a:pos x="157" y="92"/>
                </a:cxn>
                <a:cxn ang="0">
                  <a:pos x="156" y="103"/>
                </a:cxn>
                <a:cxn ang="0">
                  <a:pos x="161" y="120"/>
                </a:cxn>
                <a:cxn ang="0">
                  <a:pos x="189" y="124"/>
                </a:cxn>
                <a:cxn ang="0">
                  <a:pos x="191" y="135"/>
                </a:cxn>
                <a:cxn ang="0">
                  <a:pos x="204" y="157"/>
                </a:cxn>
                <a:cxn ang="0">
                  <a:pos x="202" y="193"/>
                </a:cxn>
                <a:cxn ang="0">
                  <a:pos x="184" y="176"/>
                </a:cxn>
                <a:cxn ang="0">
                  <a:pos x="141" y="187"/>
                </a:cxn>
                <a:cxn ang="0">
                  <a:pos x="133" y="232"/>
                </a:cxn>
                <a:cxn ang="0">
                  <a:pos x="133" y="232"/>
                </a:cxn>
                <a:cxn ang="0">
                  <a:pos x="112" y="228"/>
                </a:cxn>
                <a:cxn ang="0">
                  <a:pos x="109" y="236"/>
                </a:cxn>
                <a:cxn ang="0">
                  <a:pos x="77" y="223"/>
                </a:cxn>
                <a:cxn ang="0">
                  <a:pos x="62" y="243"/>
                </a:cxn>
                <a:cxn ang="0">
                  <a:pos x="51" y="242"/>
                </a:cxn>
                <a:cxn ang="0">
                  <a:pos x="30" y="191"/>
                </a:cxn>
                <a:cxn ang="0">
                  <a:pos x="32" y="176"/>
                </a:cxn>
                <a:cxn ang="0">
                  <a:pos x="13" y="144"/>
                </a:cxn>
                <a:cxn ang="0">
                  <a:pos x="19" y="125"/>
                </a:cxn>
                <a:cxn ang="0">
                  <a:pos x="11" y="110"/>
                </a:cxn>
                <a:cxn ang="0">
                  <a:pos x="17" y="49"/>
                </a:cxn>
                <a:cxn ang="0">
                  <a:pos x="0" y="22"/>
                </a:cxn>
                <a:cxn ang="0">
                  <a:pos x="0" y="22"/>
                </a:cxn>
              </a:cxnLst>
              <a:rect l="0" t="0" r="r" b="b"/>
              <a:pathLst>
                <a:path w="204" h="243">
                  <a:moveTo>
                    <a:pt x="0" y="22"/>
                  </a:moveTo>
                  <a:lnTo>
                    <a:pt x="23" y="22"/>
                  </a:lnTo>
                  <a:lnTo>
                    <a:pt x="47" y="2"/>
                  </a:lnTo>
                  <a:lnTo>
                    <a:pt x="67" y="0"/>
                  </a:lnTo>
                  <a:lnTo>
                    <a:pt x="69" y="30"/>
                  </a:lnTo>
                  <a:lnTo>
                    <a:pt x="77" y="43"/>
                  </a:lnTo>
                  <a:lnTo>
                    <a:pt x="144" y="71"/>
                  </a:lnTo>
                  <a:lnTo>
                    <a:pt x="157" y="92"/>
                  </a:lnTo>
                  <a:lnTo>
                    <a:pt x="156" y="103"/>
                  </a:lnTo>
                  <a:lnTo>
                    <a:pt x="161" y="120"/>
                  </a:lnTo>
                  <a:lnTo>
                    <a:pt x="189" y="124"/>
                  </a:lnTo>
                  <a:lnTo>
                    <a:pt x="191" y="135"/>
                  </a:lnTo>
                  <a:lnTo>
                    <a:pt x="204" y="157"/>
                  </a:lnTo>
                  <a:lnTo>
                    <a:pt x="202" y="193"/>
                  </a:lnTo>
                  <a:lnTo>
                    <a:pt x="184" y="176"/>
                  </a:lnTo>
                  <a:lnTo>
                    <a:pt x="141" y="187"/>
                  </a:lnTo>
                  <a:lnTo>
                    <a:pt x="133" y="232"/>
                  </a:lnTo>
                  <a:lnTo>
                    <a:pt x="133" y="232"/>
                  </a:lnTo>
                  <a:lnTo>
                    <a:pt x="112" y="228"/>
                  </a:lnTo>
                  <a:lnTo>
                    <a:pt x="109" y="236"/>
                  </a:lnTo>
                  <a:lnTo>
                    <a:pt x="77" y="223"/>
                  </a:lnTo>
                  <a:lnTo>
                    <a:pt x="62" y="243"/>
                  </a:lnTo>
                  <a:lnTo>
                    <a:pt x="51" y="242"/>
                  </a:lnTo>
                  <a:lnTo>
                    <a:pt x="30" y="191"/>
                  </a:lnTo>
                  <a:lnTo>
                    <a:pt x="32" y="176"/>
                  </a:lnTo>
                  <a:lnTo>
                    <a:pt x="13" y="144"/>
                  </a:lnTo>
                  <a:lnTo>
                    <a:pt x="19" y="125"/>
                  </a:lnTo>
                  <a:lnTo>
                    <a:pt x="11" y="110"/>
                  </a:lnTo>
                  <a:lnTo>
                    <a:pt x="17" y="49"/>
                  </a:lnTo>
                  <a:lnTo>
                    <a:pt x="0" y="22"/>
                  </a:lnTo>
                  <a:lnTo>
                    <a:pt x="0" y="2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70" name="Freeform 5778"/>
            <p:cNvSpPr>
              <a:spLocks/>
            </p:cNvSpPr>
            <p:nvPr>
              <p:custDataLst>
                <p:tags r:id="rId150"/>
              </p:custDataLst>
            </p:nvPr>
          </p:nvSpPr>
          <p:spPr bwMode="gray">
            <a:xfrm>
              <a:off x="5320422" y="4815428"/>
              <a:ext cx="178350" cy="195253"/>
            </a:xfrm>
            <a:custGeom>
              <a:avLst/>
              <a:gdLst/>
              <a:ahLst/>
              <a:cxnLst>
                <a:cxn ang="0">
                  <a:pos x="139" y="116"/>
                </a:cxn>
                <a:cxn ang="0">
                  <a:pos x="137" y="88"/>
                </a:cxn>
                <a:cxn ang="0">
                  <a:pos x="118" y="84"/>
                </a:cxn>
                <a:cxn ang="0">
                  <a:pos x="112" y="60"/>
                </a:cxn>
                <a:cxn ang="0">
                  <a:pos x="105" y="56"/>
                </a:cxn>
                <a:cxn ang="0">
                  <a:pos x="75" y="49"/>
                </a:cxn>
                <a:cxn ang="0">
                  <a:pos x="69" y="17"/>
                </a:cxn>
                <a:cxn ang="0">
                  <a:pos x="51" y="0"/>
                </a:cxn>
                <a:cxn ang="0">
                  <a:pos x="8" y="11"/>
                </a:cxn>
                <a:cxn ang="0">
                  <a:pos x="0" y="56"/>
                </a:cxn>
                <a:cxn ang="0">
                  <a:pos x="0" y="56"/>
                </a:cxn>
                <a:cxn ang="0">
                  <a:pos x="34" y="88"/>
                </a:cxn>
                <a:cxn ang="0">
                  <a:pos x="54" y="92"/>
                </a:cxn>
                <a:cxn ang="0">
                  <a:pos x="81" y="109"/>
                </a:cxn>
                <a:cxn ang="0">
                  <a:pos x="86" y="122"/>
                </a:cxn>
                <a:cxn ang="0">
                  <a:pos x="79" y="146"/>
                </a:cxn>
                <a:cxn ang="0">
                  <a:pos x="111" y="152"/>
                </a:cxn>
                <a:cxn ang="0">
                  <a:pos x="122" y="150"/>
                </a:cxn>
                <a:cxn ang="0">
                  <a:pos x="135" y="137"/>
                </a:cxn>
                <a:cxn ang="0">
                  <a:pos x="139" y="116"/>
                </a:cxn>
                <a:cxn ang="0">
                  <a:pos x="139" y="116"/>
                </a:cxn>
              </a:cxnLst>
              <a:rect l="0" t="0" r="r" b="b"/>
              <a:pathLst>
                <a:path w="139" h="152">
                  <a:moveTo>
                    <a:pt x="139" y="116"/>
                  </a:moveTo>
                  <a:lnTo>
                    <a:pt x="137" y="88"/>
                  </a:lnTo>
                  <a:lnTo>
                    <a:pt x="118" y="84"/>
                  </a:lnTo>
                  <a:lnTo>
                    <a:pt x="112" y="60"/>
                  </a:lnTo>
                  <a:lnTo>
                    <a:pt x="105" y="56"/>
                  </a:lnTo>
                  <a:lnTo>
                    <a:pt x="75" y="49"/>
                  </a:lnTo>
                  <a:lnTo>
                    <a:pt x="69" y="17"/>
                  </a:lnTo>
                  <a:lnTo>
                    <a:pt x="51" y="0"/>
                  </a:lnTo>
                  <a:lnTo>
                    <a:pt x="8" y="11"/>
                  </a:lnTo>
                  <a:lnTo>
                    <a:pt x="0" y="56"/>
                  </a:lnTo>
                  <a:lnTo>
                    <a:pt x="0" y="56"/>
                  </a:lnTo>
                  <a:lnTo>
                    <a:pt x="34" y="88"/>
                  </a:lnTo>
                  <a:lnTo>
                    <a:pt x="54" y="92"/>
                  </a:lnTo>
                  <a:lnTo>
                    <a:pt x="81" y="109"/>
                  </a:lnTo>
                  <a:lnTo>
                    <a:pt x="86" y="122"/>
                  </a:lnTo>
                  <a:lnTo>
                    <a:pt x="79" y="146"/>
                  </a:lnTo>
                  <a:lnTo>
                    <a:pt x="111" y="152"/>
                  </a:lnTo>
                  <a:lnTo>
                    <a:pt x="122" y="150"/>
                  </a:lnTo>
                  <a:lnTo>
                    <a:pt x="135" y="137"/>
                  </a:lnTo>
                  <a:lnTo>
                    <a:pt x="139" y="116"/>
                  </a:lnTo>
                  <a:lnTo>
                    <a:pt x="139" y="116"/>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71" name="Freeform 5779"/>
            <p:cNvSpPr>
              <a:spLocks/>
            </p:cNvSpPr>
            <p:nvPr>
              <p:custDataLst>
                <p:tags r:id="rId151"/>
              </p:custDataLst>
            </p:nvPr>
          </p:nvSpPr>
          <p:spPr bwMode="gray">
            <a:xfrm>
              <a:off x="5198528" y="4875802"/>
              <a:ext cx="319490" cy="716784"/>
            </a:xfrm>
            <a:custGeom>
              <a:avLst/>
              <a:gdLst/>
              <a:ahLst/>
              <a:cxnLst>
                <a:cxn ang="0">
                  <a:pos x="200" y="227"/>
                </a:cxn>
                <a:cxn ang="0">
                  <a:pos x="204" y="238"/>
                </a:cxn>
                <a:cxn ang="0">
                  <a:pos x="222" y="258"/>
                </a:cxn>
                <a:cxn ang="0">
                  <a:pos x="239" y="277"/>
                </a:cxn>
                <a:cxn ang="0">
                  <a:pos x="191" y="315"/>
                </a:cxn>
                <a:cxn ang="0">
                  <a:pos x="162" y="313"/>
                </a:cxn>
                <a:cxn ang="0">
                  <a:pos x="174" y="352"/>
                </a:cxn>
                <a:cxn ang="0">
                  <a:pos x="136" y="350"/>
                </a:cxn>
                <a:cxn ang="0">
                  <a:pos x="142" y="375"/>
                </a:cxn>
                <a:cxn ang="0">
                  <a:pos x="161" y="375"/>
                </a:cxn>
                <a:cxn ang="0">
                  <a:pos x="166" y="388"/>
                </a:cxn>
                <a:cxn ang="0">
                  <a:pos x="151" y="382"/>
                </a:cxn>
                <a:cxn ang="0">
                  <a:pos x="157" y="391"/>
                </a:cxn>
                <a:cxn ang="0">
                  <a:pos x="153" y="418"/>
                </a:cxn>
                <a:cxn ang="0">
                  <a:pos x="151" y="427"/>
                </a:cxn>
                <a:cxn ang="0">
                  <a:pos x="131" y="446"/>
                </a:cxn>
                <a:cxn ang="0">
                  <a:pos x="153" y="466"/>
                </a:cxn>
                <a:cxn ang="0">
                  <a:pos x="168" y="472"/>
                </a:cxn>
                <a:cxn ang="0">
                  <a:pos x="151" y="498"/>
                </a:cxn>
                <a:cxn ang="0">
                  <a:pos x="142" y="526"/>
                </a:cxn>
                <a:cxn ang="0">
                  <a:pos x="166" y="558"/>
                </a:cxn>
                <a:cxn ang="0">
                  <a:pos x="149" y="556"/>
                </a:cxn>
                <a:cxn ang="0">
                  <a:pos x="97" y="528"/>
                </a:cxn>
                <a:cxn ang="0">
                  <a:pos x="76" y="513"/>
                </a:cxn>
                <a:cxn ang="0">
                  <a:pos x="59" y="423"/>
                </a:cxn>
                <a:cxn ang="0">
                  <a:pos x="56" y="416"/>
                </a:cxn>
                <a:cxn ang="0">
                  <a:pos x="41" y="373"/>
                </a:cxn>
                <a:cxn ang="0">
                  <a:pos x="29" y="311"/>
                </a:cxn>
                <a:cxn ang="0">
                  <a:pos x="24" y="264"/>
                </a:cxn>
                <a:cxn ang="0">
                  <a:pos x="22" y="225"/>
                </a:cxn>
                <a:cxn ang="0">
                  <a:pos x="3" y="120"/>
                </a:cxn>
                <a:cxn ang="0">
                  <a:pos x="9" y="52"/>
                </a:cxn>
                <a:cxn ang="0">
                  <a:pos x="24" y="20"/>
                </a:cxn>
                <a:cxn ang="0">
                  <a:pos x="71" y="13"/>
                </a:cxn>
                <a:cxn ang="0">
                  <a:pos x="95" y="9"/>
                </a:cxn>
                <a:cxn ang="0">
                  <a:pos x="149" y="45"/>
                </a:cxn>
                <a:cxn ang="0">
                  <a:pos x="181" y="75"/>
                </a:cxn>
                <a:cxn ang="0">
                  <a:pos x="206" y="105"/>
                </a:cxn>
                <a:cxn ang="0">
                  <a:pos x="230" y="90"/>
                </a:cxn>
                <a:cxn ang="0">
                  <a:pos x="241" y="71"/>
                </a:cxn>
                <a:cxn ang="0">
                  <a:pos x="234" y="107"/>
                </a:cxn>
                <a:cxn ang="0">
                  <a:pos x="196" y="155"/>
                </a:cxn>
              </a:cxnLst>
              <a:rect l="0" t="0" r="r" b="b"/>
              <a:pathLst>
                <a:path w="249" h="558">
                  <a:moveTo>
                    <a:pt x="196" y="155"/>
                  </a:moveTo>
                  <a:lnTo>
                    <a:pt x="200" y="227"/>
                  </a:lnTo>
                  <a:lnTo>
                    <a:pt x="200" y="227"/>
                  </a:lnTo>
                  <a:lnTo>
                    <a:pt x="204" y="238"/>
                  </a:lnTo>
                  <a:lnTo>
                    <a:pt x="224" y="251"/>
                  </a:lnTo>
                  <a:lnTo>
                    <a:pt x="222" y="258"/>
                  </a:lnTo>
                  <a:lnTo>
                    <a:pt x="236" y="270"/>
                  </a:lnTo>
                  <a:lnTo>
                    <a:pt x="239" y="277"/>
                  </a:lnTo>
                  <a:lnTo>
                    <a:pt x="232" y="301"/>
                  </a:lnTo>
                  <a:lnTo>
                    <a:pt x="191" y="315"/>
                  </a:lnTo>
                  <a:lnTo>
                    <a:pt x="168" y="318"/>
                  </a:lnTo>
                  <a:lnTo>
                    <a:pt x="162" y="313"/>
                  </a:lnTo>
                  <a:lnTo>
                    <a:pt x="170" y="326"/>
                  </a:lnTo>
                  <a:lnTo>
                    <a:pt x="174" y="352"/>
                  </a:lnTo>
                  <a:lnTo>
                    <a:pt x="153" y="358"/>
                  </a:lnTo>
                  <a:lnTo>
                    <a:pt x="136" y="350"/>
                  </a:lnTo>
                  <a:lnTo>
                    <a:pt x="131" y="354"/>
                  </a:lnTo>
                  <a:lnTo>
                    <a:pt x="142" y="375"/>
                  </a:lnTo>
                  <a:lnTo>
                    <a:pt x="149" y="378"/>
                  </a:lnTo>
                  <a:lnTo>
                    <a:pt x="161" y="375"/>
                  </a:lnTo>
                  <a:lnTo>
                    <a:pt x="166" y="382"/>
                  </a:lnTo>
                  <a:lnTo>
                    <a:pt x="166" y="388"/>
                  </a:lnTo>
                  <a:lnTo>
                    <a:pt x="159" y="388"/>
                  </a:lnTo>
                  <a:lnTo>
                    <a:pt x="151" y="382"/>
                  </a:lnTo>
                  <a:lnTo>
                    <a:pt x="146" y="388"/>
                  </a:lnTo>
                  <a:lnTo>
                    <a:pt x="157" y="391"/>
                  </a:lnTo>
                  <a:lnTo>
                    <a:pt x="147" y="403"/>
                  </a:lnTo>
                  <a:lnTo>
                    <a:pt x="153" y="418"/>
                  </a:lnTo>
                  <a:lnTo>
                    <a:pt x="149" y="421"/>
                  </a:lnTo>
                  <a:lnTo>
                    <a:pt x="151" y="427"/>
                  </a:lnTo>
                  <a:lnTo>
                    <a:pt x="136" y="431"/>
                  </a:lnTo>
                  <a:lnTo>
                    <a:pt x="131" y="446"/>
                  </a:lnTo>
                  <a:lnTo>
                    <a:pt x="136" y="453"/>
                  </a:lnTo>
                  <a:lnTo>
                    <a:pt x="153" y="466"/>
                  </a:lnTo>
                  <a:lnTo>
                    <a:pt x="164" y="466"/>
                  </a:lnTo>
                  <a:lnTo>
                    <a:pt x="168" y="472"/>
                  </a:lnTo>
                  <a:lnTo>
                    <a:pt x="168" y="481"/>
                  </a:lnTo>
                  <a:lnTo>
                    <a:pt x="151" y="498"/>
                  </a:lnTo>
                  <a:lnTo>
                    <a:pt x="155" y="517"/>
                  </a:lnTo>
                  <a:lnTo>
                    <a:pt x="142" y="526"/>
                  </a:lnTo>
                  <a:lnTo>
                    <a:pt x="144" y="534"/>
                  </a:lnTo>
                  <a:lnTo>
                    <a:pt x="166" y="558"/>
                  </a:lnTo>
                  <a:lnTo>
                    <a:pt x="149" y="556"/>
                  </a:lnTo>
                  <a:lnTo>
                    <a:pt x="149" y="556"/>
                  </a:lnTo>
                  <a:lnTo>
                    <a:pt x="116" y="553"/>
                  </a:lnTo>
                  <a:lnTo>
                    <a:pt x="97" y="528"/>
                  </a:lnTo>
                  <a:lnTo>
                    <a:pt x="84" y="530"/>
                  </a:lnTo>
                  <a:lnTo>
                    <a:pt x="76" y="513"/>
                  </a:lnTo>
                  <a:lnTo>
                    <a:pt x="74" y="457"/>
                  </a:lnTo>
                  <a:lnTo>
                    <a:pt x="59" y="423"/>
                  </a:lnTo>
                  <a:lnTo>
                    <a:pt x="65" y="423"/>
                  </a:lnTo>
                  <a:lnTo>
                    <a:pt x="56" y="416"/>
                  </a:lnTo>
                  <a:lnTo>
                    <a:pt x="41" y="388"/>
                  </a:lnTo>
                  <a:lnTo>
                    <a:pt x="41" y="373"/>
                  </a:lnTo>
                  <a:lnTo>
                    <a:pt x="31" y="356"/>
                  </a:lnTo>
                  <a:lnTo>
                    <a:pt x="29" y="311"/>
                  </a:lnTo>
                  <a:lnTo>
                    <a:pt x="18" y="277"/>
                  </a:lnTo>
                  <a:lnTo>
                    <a:pt x="24" y="264"/>
                  </a:lnTo>
                  <a:lnTo>
                    <a:pt x="18" y="249"/>
                  </a:lnTo>
                  <a:lnTo>
                    <a:pt x="22" y="225"/>
                  </a:lnTo>
                  <a:lnTo>
                    <a:pt x="0" y="176"/>
                  </a:lnTo>
                  <a:lnTo>
                    <a:pt x="3" y="120"/>
                  </a:lnTo>
                  <a:lnTo>
                    <a:pt x="16" y="90"/>
                  </a:lnTo>
                  <a:lnTo>
                    <a:pt x="9" y="52"/>
                  </a:lnTo>
                  <a:lnTo>
                    <a:pt x="24" y="41"/>
                  </a:lnTo>
                  <a:lnTo>
                    <a:pt x="24" y="20"/>
                  </a:lnTo>
                  <a:lnTo>
                    <a:pt x="39" y="0"/>
                  </a:lnTo>
                  <a:lnTo>
                    <a:pt x="71" y="13"/>
                  </a:lnTo>
                  <a:lnTo>
                    <a:pt x="74" y="5"/>
                  </a:lnTo>
                  <a:lnTo>
                    <a:pt x="95" y="9"/>
                  </a:lnTo>
                  <a:lnTo>
                    <a:pt x="129" y="41"/>
                  </a:lnTo>
                  <a:lnTo>
                    <a:pt x="149" y="45"/>
                  </a:lnTo>
                  <a:lnTo>
                    <a:pt x="176" y="62"/>
                  </a:lnTo>
                  <a:lnTo>
                    <a:pt x="181" y="75"/>
                  </a:lnTo>
                  <a:lnTo>
                    <a:pt x="174" y="99"/>
                  </a:lnTo>
                  <a:lnTo>
                    <a:pt x="206" y="105"/>
                  </a:lnTo>
                  <a:lnTo>
                    <a:pt x="217" y="103"/>
                  </a:lnTo>
                  <a:lnTo>
                    <a:pt x="230" y="90"/>
                  </a:lnTo>
                  <a:lnTo>
                    <a:pt x="234" y="69"/>
                  </a:lnTo>
                  <a:lnTo>
                    <a:pt x="241" y="71"/>
                  </a:lnTo>
                  <a:lnTo>
                    <a:pt x="249" y="95"/>
                  </a:lnTo>
                  <a:lnTo>
                    <a:pt x="234" y="107"/>
                  </a:lnTo>
                  <a:lnTo>
                    <a:pt x="196" y="155"/>
                  </a:lnTo>
                  <a:lnTo>
                    <a:pt x="196" y="155"/>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72" name="Freeform 5780"/>
            <p:cNvSpPr>
              <a:spLocks/>
            </p:cNvSpPr>
            <p:nvPr>
              <p:custDataLst>
                <p:tags r:id="rId152"/>
              </p:custDataLst>
            </p:nvPr>
          </p:nvSpPr>
          <p:spPr bwMode="gray">
            <a:xfrm>
              <a:off x="6495735" y="3065858"/>
              <a:ext cx="38493" cy="24407"/>
            </a:xfrm>
            <a:custGeom>
              <a:avLst/>
              <a:gdLst/>
              <a:ahLst/>
              <a:cxnLst>
                <a:cxn ang="0">
                  <a:pos x="6" y="0"/>
                </a:cxn>
                <a:cxn ang="0">
                  <a:pos x="0" y="9"/>
                </a:cxn>
                <a:cxn ang="0">
                  <a:pos x="7" y="17"/>
                </a:cxn>
                <a:cxn ang="0">
                  <a:pos x="21" y="11"/>
                </a:cxn>
                <a:cxn ang="0">
                  <a:pos x="24" y="19"/>
                </a:cxn>
                <a:cxn ang="0">
                  <a:pos x="30" y="13"/>
                </a:cxn>
                <a:cxn ang="0">
                  <a:pos x="26" y="0"/>
                </a:cxn>
                <a:cxn ang="0">
                  <a:pos x="6" y="0"/>
                </a:cxn>
                <a:cxn ang="0">
                  <a:pos x="6" y="0"/>
                </a:cxn>
              </a:cxnLst>
              <a:rect l="0" t="0" r="r" b="b"/>
              <a:pathLst>
                <a:path w="30" h="19">
                  <a:moveTo>
                    <a:pt x="6" y="0"/>
                  </a:moveTo>
                  <a:lnTo>
                    <a:pt x="0" y="9"/>
                  </a:lnTo>
                  <a:lnTo>
                    <a:pt x="7" y="17"/>
                  </a:lnTo>
                  <a:lnTo>
                    <a:pt x="21" y="11"/>
                  </a:lnTo>
                  <a:lnTo>
                    <a:pt x="24" y="19"/>
                  </a:lnTo>
                  <a:lnTo>
                    <a:pt x="30" y="13"/>
                  </a:lnTo>
                  <a:lnTo>
                    <a:pt x="26" y="0"/>
                  </a:lnTo>
                  <a:lnTo>
                    <a:pt x="6" y="0"/>
                  </a:lnTo>
                  <a:lnTo>
                    <a:pt x="6"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73" name="Freeform 5781"/>
            <p:cNvSpPr>
              <a:spLocks/>
            </p:cNvSpPr>
            <p:nvPr>
              <p:custDataLst>
                <p:tags r:id="rId153"/>
              </p:custDataLst>
            </p:nvPr>
          </p:nvSpPr>
          <p:spPr bwMode="gray">
            <a:xfrm>
              <a:off x="6776732" y="3010622"/>
              <a:ext cx="48758" cy="60374"/>
            </a:xfrm>
            <a:custGeom>
              <a:avLst/>
              <a:gdLst/>
              <a:ahLst/>
              <a:cxnLst>
                <a:cxn ang="0">
                  <a:pos x="10" y="47"/>
                </a:cxn>
                <a:cxn ang="0">
                  <a:pos x="19" y="47"/>
                </a:cxn>
                <a:cxn ang="0">
                  <a:pos x="19" y="47"/>
                </a:cxn>
                <a:cxn ang="0">
                  <a:pos x="28" y="26"/>
                </a:cxn>
                <a:cxn ang="0">
                  <a:pos x="38" y="24"/>
                </a:cxn>
                <a:cxn ang="0">
                  <a:pos x="38" y="19"/>
                </a:cxn>
                <a:cxn ang="0">
                  <a:pos x="30" y="19"/>
                </a:cxn>
                <a:cxn ang="0">
                  <a:pos x="32" y="0"/>
                </a:cxn>
                <a:cxn ang="0">
                  <a:pos x="8" y="7"/>
                </a:cxn>
                <a:cxn ang="0">
                  <a:pos x="0" y="19"/>
                </a:cxn>
                <a:cxn ang="0">
                  <a:pos x="2" y="34"/>
                </a:cxn>
                <a:cxn ang="0">
                  <a:pos x="8" y="37"/>
                </a:cxn>
                <a:cxn ang="0">
                  <a:pos x="10" y="47"/>
                </a:cxn>
                <a:cxn ang="0">
                  <a:pos x="10" y="47"/>
                </a:cxn>
                <a:cxn ang="0">
                  <a:pos x="10" y="47"/>
                </a:cxn>
              </a:cxnLst>
              <a:rect l="0" t="0" r="r" b="b"/>
              <a:pathLst>
                <a:path w="38" h="47">
                  <a:moveTo>
                    <a:pt x="10" y="47"/>
                  </a:moveTo>
                  <a:lnTo>
                    <a:pt x="19" y="47"/>
                  </a:lnTo>
                  <a:lnTo>
                    <a:pt x="19" y="47"/>
                  </a:lnTo>
                  <a:lnTo>
                    <a:pt x="28" y="26"/>
                  </a:lnTo>
                  <a:lnTo>
                    <a:pt x="38" y="24"/>
                  </a:lnTo>
                  <a:lnTo>
                    <a:pt x="38" y="19"/>
                  </a:lnTo>
                  <a:lnTo>
                    <a:pt x="30" y="19"/>
                  </a:lnTo>
                  <a:lnTo>
                    <a:pt x="32" y="0"/>
                  </a:lnTo>
                  <a:lnTo>
                    <a:pt x="8" y="7"/>
                  </a:lnTo>
                  <a:lnTo>
                    <a:pt x="0" y="19"/>
                  </a:lnTo>
                  <a:lnTo>
                    <a:pt x="2" y="34"/>
                  </a:lnTo>
                  <a:lnTo>
                    <a:pt x="8" y="37"/>
                  </a:lnTo>
                  <a:lnTo>
                    <a:pt x="10" y="47"/>
                  </a:lnTo>
                  <a:lnTo>
                    <a:pt x="10" y="47"/>
                  </a:lnTo>
                  <a:lnTo>
                    <a:pt x="10" y="47"/>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74" name="Freeform 5782"/>
            <p:cNvSpPr>
              <a:spLocks/>
            </p:cNvSpPr>
            <p:nvPr>
              <p:custDataLst>
                <p:tags r:id="rId154"/>
              </p:custDataLst>
            </p:nvPr>
          </p:nvSpPr>
          <p:spPr bwMode="gray">
            <a:xfrm>
              <a:off x="6731824" y="3176330"/>
              <a:ext cx="8982" cy="14130"/>
            </a:xfrm>
            <a:custGeom>
              <a:avLst/>
              <a:gdLst/>
              <a:ahLst/>
              <a:cxnLst>
                <a:cxn ang="0">
                  <a:pos x="0" y="10"/>
                </a:cxn>
                <a:cxn ang="0">
                  <a:pos x="3" y="0"/>
                </a:cxn>
                <a:cxn ang="0">
                  <a:pos x="7" y="11"/>
                </a:cxn>
                <a:cxn ang="0">
                  <a:pos x="7" y="11"/>
                </a:cxn>
                <a:cxn ang="0">
                  <a:pos x="0" y="10"/>
                </a:cxn>
                <a:cxn ang="0">
                  <a:pos x="0" y="10"/>
                </a:cxn>
              </a:cxnLst>
              <a:rect l="0" t="0" r="r" b="b"/>
              <a:pathLst>
                <a:path w="7" h="11">
                  <a:moveTo>
                    <a:pt x="0" y="10"/>
                  </a:moveTo>
                  <a:lnTo>
                    <a:pt x="3" y="0"/>
                  </a:lnTo>
                  <a:lnTo>
                    <a:pt x="7" y="11"/>
                  </a:lnTo>
                  <a:lnTo>
                    <a:pt x="7" y="11"/>
                  </a:lnTo>
                  <a:lnTo>
                    <a:pt x="0" y="10"/>
                  </a:lnTo>
                  <a:lnTo>
                    <a:pt x="0" y="10"/>
                  </a:lnTo>
                  <a:close/>
                </a:path>
              </a:pathLst>
            </a:custGeom>
            <a:solidFill>
              <a:srgbClr val="003755"/>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75" name="Freeform 5783"/>
            <p:cNvSpPr>
              <a:spLocks/>
            </p:cNvSpPr>
            <p:nvPr>
              <p:custDataLst>
                <p:tags r:id="rId155"/>
              </p:custDataLst>
            </p:nvPr>
          </p:nvSpPr>
          <p:spPr bwMode="gray">
            <a:xfrm>
              <a:off x="6798545" y="3203306"/>
              <a:ext cx="142423" cy="57805"/>
            </a:xfrm>
            <a:custGeom>
              <a:avLst/>
              <a:gdLst/>
              <a:ahLst/>
              <a:cxnLst>
                <a:cxn ang="0">
                  <a:pos x="0" y="26"/>
                </a:cxn>
                <a:cxn ang="0">
                  <a:pos x="4" y="28"/>
                </a:cxn>
                <a:cxn ang="0">
                  <a:pos x="6" y="32"/>
                </a:cxn>
                <a:cxn ang="0">
                  <a:pos x="4" y="35"/>
                </a:cxn>
                <a:cxn ang="0">
                  <a:pos x="4" y="35"/>
                </a:cxn>
                <a:cxn ang="0">
                  <a:pos x="13" y="39"/>
                </a:cxn>
                <a:cxn ang="0">
                  <a:pos x="15" y="39"/>
                </a:cxn>
                <a:cxn ang="0">
                  <a:pos x="37" y="34"/>
                </a:cxn>
                <a:cxn ang="0">
                  <a:pos x="39" y="39"/>
                </a:cxn>
                <a:cxn ang="0">
                  <a:pos x="60" y="45"/>
                </a:cxn>
                <a:cxn ang="0">
                  <a:pos x="96" y="37"/>
                </a:cxn>
                <a:cxn ang="0">
                  <a:pos x="111" y="17"/>
                </a:cxn>
                <a:cxn ang="0">
                  <a:pos x="105" y="4"/>
                </a:cxn>
                <a:cxn ang="0">
                  <a:pos x="81" y="0"/>
                </a:cxn>
                <a:cxn ang="0">
                  <a:pos x="75" y="5"/>
                </a:cxn>
                <a:cxn ang="0">
                  <a:pos x="62" y="4"/>
                </a:cxn>
                <a:cxn ang="0">
                  <a:pos x="47" y="17"/>
                </a:cxn>
                <a:cxn ang="0">
                  <a:pos x="49" y="22"/>
                </a:cxn>
                <a:cxn ang="0">
                  <a:pos x="0" y="26"/>
                </a:cxn>
                <a:cxn ang="0">
                  <a:pos x="0" y="26"/>
                </a:cxn>
              </a:cxnLst>
              <a:rect l="0" t="0" r="r" b="b"/>
              <a:pathLst>
                <a:path w="111" h="45">
                  <a:moveTo>
                    <a:pt x="0" y="26"/>
                  </a:moveTo>
                  <a:lnTo>
                    <a:pt x="4" y="28"/>
                  </a:lnTo>
                  <a:lnTo>
                    <a:pt x="6" y="32"/>
                  </a:lnTo>
                  <a:lnTo>
                    <a:pt x="4" y="35"/>
                  </a:lnTo>
                  <a:lnTo>
                    <a:pt x="4" y="35"/>
                  </a:lnTo>
                  <a:lnTo>
                    <a:pt x="13" y="39"/>
                  </a:lnTo>
                  <a:lnTo>
                    <a:pt x="15" y="39"/>
                  </a:lnTo>
                  <a:lnTo>
                    <a:pt x="37" y="34"/>
                  </a:lnTo>
                  <a:lnTo>
                    <a:pt x="39" y="39"/>
                  </a:lnTo>
                  <a:lnTo>
                    <a:pt x="60" y="45"/>
                  </a:lnTo>
                  <a:lnTo>
                    <a:pt x="96" y="37"/>
                  </a:lnTo>
                  <a:lnTo>
                    <a:pt x="111" y="17"/>
                  </a:lnTo>
                  <a:lnTo>
                    <a:pt x="105" y="4"/>
                  </a:lnTo>
                  <a:lnTo>
                    <a:pt x="81" y="0"/>
                  </a:lnTo>
                  <a:lnTo>
                    <a:pt x="75" y="5"/>
                  </a:lnTo>
                  <a:lnTo>
                    <a:pt x="62" y="4"/>
                  </a:lnTo>
                  <a:lnTo>
                    <a:pt x="47" y="17"/>
                  </a:lnTo>
                  <a:lnTo>
                    <a:pt x="49" y="22"/>
                  </a:lnTo>
                  <a:lnTo>
                    <a:pt x="0" y="26"/>
                  </a:lnTo>
                  <a:lnTo>
                    <a:pt x="0" y="26"/>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76" name="Freeform 5784"/>
            <p:cNvSpPr>
              <a:spLocks/>
            </p:cNvSpPr>
            <p:nvPr>
              <p:custDataLst>
                <p:tags r:id="rId156"/>
              </p:custDataLst>
            </p:nvPr>
          </p:nvSpPr>
          <p:spPr bwMode="gray">
            <a:xfrm>
              <a:off x="6733107" y="3234136"/>
              <a:ext cx="82118" cy="41106"/>
            </a:xfrm>
            <a:custGeom>
              <a:avLst/>
              <a:gdLst/>
              <a:ahLst/>
              <a:cxnLst>
                <a:cxn ang="0">
                  <a:pos x="15" y="32"/>
                </a:cxn>
                <a:cxn ang="0">
                  <a:pos x="12" y="23"/>
                </a:cxn>
                <a:cxn ang="0">
                  <a:pos x="2" y="26"/>
                </a:cxn>
                <a:cxn ang="0">
                  <a:pos x="0" y="21"/>
                </a:cxn>
                <a:cxn ang="0">
                  <a:pos x="15" y="2"/>
                </a:cxn>
                <a:cxn ang="0">
                  <a:pos x="23" y="0"/>
                </a:cxn>
                <a:cxn ang="0">
                  <a:pos x="51" y="2"/>
                </a:cxn>
                <a:cxn ang="0">
                  <a:pos x="55" y="11"/>
                </a:cxn>
                <a:cxn ang="0">
                  <a:pos x="64" y="15"/>
                </a:cxn>
                <a:cxn ang="0">
                  <a:pos x="60" y="25"/>
                </a:cxn>
                <a:cxn ang="0">
                  <a:pos x="49" y="23"/>
                </a:cxn>
                <a:cxn ang="0">
                  <a:pos x="44" y="30"/>
                </a:cxn>
                <a:cxn ang="0">
                  <a:pos x="36" y="23"/>
                </a:cxn>
                <a:cxn ang="0">
                  <a:pos x="15" y="32"/>
                </a:cxn>
                <a:cxn ang="0">
                  <a:pos x="15" y="32"/>
                </a:cxn>
                <a:cxn ang="0">
                  <a:pos x="15" y="32"/>
                </a:cxn>
              </a:cxnLst>
              <a:rect l="0" t="0" r="r" b="b"/>
              <a:pathLst>
                <a:path w="64" h="32">
                  <a:moveTo>
                    <a:pt x="15" y="32"/>
                  </a:moveTo>
                  <a:lnTo>
                    <a:pt x="12" y="23"/>
                  </a:lnTo>
                  <a:lnTo>
                    <a:pt x="2" y="26"/>
                  </a:lnTo>
                  <a:lnTo>
                    <a:pt x="0" y="21"/>
                  </a:lnTo>
                  <a:lnTo>
                    <a:pt x="15" y="2"/>
                  </a:lnTo>
                  <a:lnTo>
                    <a:pt x="23" y="0"/>
                  </a:lnTo>
                  <a:lnTo>
                    <a:pt x="51" y="2"/>
                  </a:lnTo>
                  <a:lnTo>
                    <a:pt x="55" y="11"/>
                  </a:lnTo>
                  <a:lnTo>
                    <a:pt x="64" y="15"/>
                  </a:lnTo>
                  <a:lnTo>
                    <a:pt x="60" y="25"/>
                  </a:lnTo>
                  <a:lnTo>
                    <a:pt x="49" y="23"/>
                  </a:lnTo>
                  <a:lnTo>
                    <a:pt x="44" y="30"/>
                  </a:lnTo>
                  <a:lnTo>
                    <a:pt x="36" y="23"/>
                  </a:lnTo>
                  <a:lnTo>
                    <a:pt x="15" y="32"/>
                  </a:lnTo>
                  <a:lnTo>
                    <a:pt x="15" y="32"/>
                  </a:lnTo>
                  <a:lnTo>
                    <a:pt x="15" y="32"/>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77" name="Freeform 5785"/>
            <p:cNvSpPr>
              <a:spLocks/>
            </p:cNvSpPr>
            <p:nvPr>
              <p:custDataLst>
                <p:tags r:id="rId157"/>
              </p:custDataLst>
            </p:nvPr>
          </p:nvSpPr>
          <p:spPr bwMode="gray">
            <a:xfrm>
              <a:off x="6985876" y="3349746"/>
              <a:ext cx="33360" cy="71935"/>
            </a:xfrm>
            <a:custGeom>
              <a:avLst/>
              <a:gdLst/>
              <a:ahLst/>
              <a:cxnLst>
                <a:cxn ang="0">
                  <a:pos x="19" y="19"/>
                </a:cxn>
                <a:cxn ang="0">
                  <a:pos x="26" y="34"/>
                </a:cxn>
                <a:cxn ang="0">
                  <a:pos x="26" y="39"/>
                </a:cxn>
                <a:cxn ang="0">
                  <a:pos x="13" y="54"/>
                </a:cxn>
                <a:cxn ang="0">
                  <a:pos x="13" y="56"/>
                </a:cxn>
                <a:cxn ang="0">
                  <a:pos x="0" y="43"/>
                </a:cxn>
                <a:cxn ang="0">
                  <a:pos x="0" y="15"/>
                </a:cxn>
                <a:cxn ang="0">
                  <a:pos x="0" y="15"/>
                </a:cxn>
                <a:cxn ang="0">
                  <a:pos x="4" y="0"/>
                </a:cxn>
                <a:cxn ang="0">
                  <a:pos x="11" y="4"/>
                </a:cxn>
                <a:cxn ang="0">
                  <a:pos x="19" y="19"/>
                </a:cxn>
                <a:cxn ang="0">
                  <a:pos x="19" y="19"/>
                </a:cxn>
              </a:cxnLst>
              <a:rect l="0" t="0" r="r" b="b"/>
              <a:pathLst>
                <a:path w="26" h="56">
                  <a:moveTo>
                    <a:pt x="19" y="19"/>
                  </a:moveTo>
                  <a:lnTo>
                    <a:pt x="26" y="34"/>
                  </a:lnTo>
                  <a:lnTo>
                    <a:pt x="26" y="39"/>
                  </a:lnTo>
                  <a:lnTo>
                    <a:pt x="13" y="54"/>
                  </a:lnTo>
                  <a:lnTo>
                    <a:pt x="13" y="56"/>
                  </a:lnTo>
                  <a:lnTo>
                    <a:pt x="0" y="43"/>
                  </a:lnTo>
                  <a:lnTo>
                    <a:pt x="0" y="15"/>
                  </a:lnTo>
                  <a:lnTo>
                    <a:pt x="0" y="15"/>
                  </a:lnTo>
                  <a:lnTo>
                    <a:pt x="4" y="0"/>
                  </a:lnTo>
                  <a:lnTo>
                    <a:pt x="11" y="4"/>
                  </a:lnTo>
                  <a:lnTo>
                    <a:pt x="19" y="19"/>
                  </a:lnTo>
                  <a:lnTo>
                    <a:pt x="19" y="1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78" name="Freeform 5786"/>
            <p:cNvSpPr>
              <a:spLocks/>
            </p:cNvSpPr>
            <p:nvPr>
              <p:custDataLst>
                <p:tags r:id="rId158"/>
              </p:custDataLst>
            </p:nvPr>
          </p:nvSpPr>
          <p:spPr bwMode="gray">
            <a:xfrm>
              <a:off x="6921722" y="3212298"/>
              <a:ext cx="121894" cy="65513"/>
            </a:xfrm>
            <a:custGeom>
              <a:avLst/>
              <a:gdLst/>
              <a:ahLst/>
              <a:cxnLst>
                <a:cxn ang="0">
                  <a:pos x="3" y="32"/>
                </a:cxn>
                <a:cxn ang="0">
                  <a:pos x="26" y="51"/>
                </a:cxn>
                <a:cxn ang="0">
                  <a:pos x="59" y="43"/>
                </a:cxn>
                <a:cxn ang="0">
                  <a:pos x="73" y="40"/>
                </a:cxn>
                <a:cxn ang="0">
                  <a:pos x="86" y="15"/>
                </a:cxn>
                <a:cxn ang="0">
                  <a:pos x="95" y="12"/>
                </a:cxn>
                <a:cxn ang="0">
                  <a:pos x="86" y="4"/>
                </a:cxn>
                <a:cxn ang="0">
                  <a:pos x="84" y="2"/>
                </a:cxn>
                <a:cxn ang="0">
                  <a:pos x="65" y="0"/>
                </a:cxn>
                <a:cxn ang="0">
                  <a:pos x="30" y="15"/>
                </a:cxn>
                <a:cxn ang="0">
                  <a:pos x="15" y="10"/>
                </a:cxn>
                <a:cxn ang="0">
                  <a:pos x="0" y="30"/>
                </a:cxn>
                <a:cxn ang="0">
                  <a:pos x="3" y="32"/>
                </a:cxn>
                <a:cxn ang="0">
                  <a:pos x="3" y="32"/>
                </a:cxn>
              </a:cxnLst>
              <a:rect l="0" t="0" r="r" b="b"/>
              <a:pathLst>
                <a:path w="95" h="51">
                  <a:moveTo>
                    <a:pt x="3" y="32"/>
                  </a:moveTo>
                  <a:lnTo>
                    <a:pt x="26" y="51"/>
                  </a:lnTo>
                  <a:lnTo>
                    <a:pt x="59" y="43"/>
                  </a:lnTo>
                  <a:lnTo>
                    <a:pt x="73" y="40"/>
                  </a:lnTo>
                  <a:lnTo>
                    <a:pt x="86" y="15"/>
                  </a:lnTo>
                  <a:lnTo>
                    <a:pt x="95" y="12"/>
                  </a:lnTo>
                  <a:lnTo>
                    <a:pt x="86" y="4"/>
                  </a:lnTo>
                  <a:lnTo>
                    <a:pt x="84" y="2"/>
                  </a:lnTo>
                  <a:lnTo>
                    <a:pt x="65" y="0"/>
                  </a:lnTo>
                  <a:lnTo>
                    <a:pt x="30" y="15"/>
                  </a:lnTo>
                  <a:lnTo>
                    <a:pt x="15" y="10"/>
                  </a:lnTo>
                  <a:lnTo>
                    <a:pt x="0" y="30"/>
                  </a:lnTo>
                  <a:lnTo>
                    <a:pt x="3" y="32"/>
                  </a:lnTo>
                  <a:lnTo>
                    <a:pt x="3" y="3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79" name="Freeform 5787"/>
            <p:cNvSpPr>
              <a:spLocks/>
            </p:cNvSpPr>
            <p:nvPr>
              <p:custDataLst>
                <p:tags r:id="rId159"/>
              </p:custDataLst>
            </p:nvPr>
          </p:nvSpPr>
          <p:spPr bwMode="gray">
            <a:xfrm>
              <a:off x="7544021" y="3650333"/>
              <a:ext cx="35927" cy="34683"/>
            </a:xfrm>
            <a:custGeom>
              <a:avLst/>
              <a:gdLst/>
              <a:ahLst/>
              <a:cxnLst>
                <a:cxn ang="0">
                  <a:pos x="0" y="15"/>
                </a:cxn>
                <a:cxn ang="0">
                  <a:pos x="11" y="0"/>
                </a:cxn>
                <a:cxn ang="0">
                  <a:pos x="28" y="0"/>
                </a:cxn>
                <a:cxn ang="0">
                  <a:pos x="28" y="0"/>
                </a:cxn>
                <a:cxn ang="0">
                  <a:pos x="26" y="8"/>
                </a:cxn>
                <a:cxn ang="0">
                  <a:pos x="17" y="10"/>
                </a:cxn>
                <a:cxn ang="0">
                  <a:pos x="28" y="27"/>
                </a:cxn>
                <a:cxn ang="0">
                  <a:pos x="28" y="25"/>
                </a:cxn>
                <a:cxn ang="0">
                  <a:pos x="0" y="15"/>
                </a:cxn>
                <a:cxn ang="0">
                  <a:pos x="0" y="15"/>
                </a:cxn>
                <a:cxn ang="0">
                  <a:pos x="0" y="15"/>
                </a:cxn>
              </a:cxnLst>
              <a:rect l="0" t="0" r="r" b="b"/>
              <a:pathLst>
                <a:path w="28" h="27">
                  <a:moveTo>
                    <a:pt x="0" y="15"/>
                  </a:moveTo>
                  <a:lnTo>
                    <a:pt x="11" y="0"/>
                  </a:lnTo>
                  <a:lnTo>
                    <a:pt x="28" y="0"/>
                  </a:lnTo>
                  <a:lnTo>
                    <a:pt x="28" y="0"/>
                  </a:lnTo>
                  <a:lnTo>
                    <a:pt x="26" y="8"/>
                  </a:lnTo>
                  <a:lnTo>
                    <a:pt x="17" y="10"/>
                  </a:lnTo>
                  <a:lnTo>
                    <a:pt x="28" y="27"/>
                  </a:lnTo>
                  <a:lnTo>
                    <a:pt x="28" y="25"/>
                  </a:lnTo>
                  <a:lnTo>
                    <a:pt x="0" y="15"/>
                  </a:lnTo>
                  <a:lnTo>
                    <a:pt x="0" y="15"/>
                  </a:lnTo>
                  <a:lnTo>
                    <a:pt x="0" y="1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80" name="Freeform 5788"/>
            <p:cNvSpPr>
              <a:spLocks/>
            </p:cNvSpPr>
            <p:nvPr>
              <p:custDataLst>
                <p:tags r:id="rId160"/>
              </p:custDataLst>
            </p:nvPr>
          </p:nvSpPr>
          <p:spPr bwMode="gray">
            <a:xfrm>
              <a:off x="7508095" y="3663178"/>
              <a:ext cx="35927" cy="14130"/>
            </a:xfrm>
            <a:custGeom>
              <a:avLst/>
              <a:gdLst/>
              <a:ahLst/>
              <a:cxnLst>
                <a:cxn ang="0">
                  <a:pos x="0" y="3"/>
                </a:cxn>
                <a:cxn ang="0">
                  <a:pos x="9" y="0"/>
                </a:cxn>
                <a:cxn ang="0">
                  <a:pos x="28" y="5"/>
                </a:cxn>
                <a:cxn ang="0">
                  <a:pos x="28" y="5"/>
                </a:cxn>
                <a:cxn ang="0">
                  <a:pos x="11" y="11"/>
                </a:cxn>
                <a:cxn ang="0">
                  <a:pos x="0" y="3"/>
                </a:cxn>
                <a:cxn ang="0">
                  <a:pos x="0" y="3"/>
                </a:cxn>
              </a:cxnLst>
              <a:rect l="0" t="0" r="r" b="b"/>
              <a:pathLst>
                <a:path w="28" h="11">
                  <a:moveTo>
                    <a:pt x="0" y="3"/>
                  </a:moveTo>
                  <a:lnTo>
                    <a:pt x="9" y="0"/>
                  </a:lnTo>
                  <a:lnTo>
                    <a:pt x="28" y="5"/>
                  </a:lnTo>
                  <a:lnTo>
                    <a:pt x="28" y="5"/>
                  </a:lnTo>
                  <a:lnTo>
                    <a:pt x="11" y="11"/>
                  </a:lnTo>
                  <a:lnTo>
                    <a:pt x="0" y="3"/>
                  </a:lnTo>
                  <a:lnTo>
                    <a:pt x="0" y="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81" name="Freeform 5789"/>
            <p:cNvSpPr>
              <a:spLocks/>
            </p:cNvSpPr>
            <p:nvPr>
              <p:custDataLst>
                <p:tags r:id="rId161"/>
              </p:custDataLst>
            </p:nvPr>
          </p:nvSpPr>
          <p:spPr bwMode="gray">
            <a:xfrm>
              <a:off x="6344330" y="3511600"/>
              <a:ext cx="239938" cy="191399"/>
            </a:xfrm>
            <a:custGeom>
              <a:avLst/>
              <a:gdLst/>
              <a:ahLst/>
              <a:cxnLst>
                <a:cxn ang="0">
                  <a:pos x="182" y="18"/>
                </a:cxn>
                <a:cxn ang="0">
                  <a:pos x="187" y="63"/>
                </a:cxn>
                <a:cxn ang="0">
                  <a:pos x="148" y="75"/>
                </a:cxn>
                <a:cxn ang="0">
                  <a:pos x="148" y="86"/>
                </a:cxn>
                <a:cxn ang="0">
                  <a:pos x="120" y="106"/>
                </a:cxn>
                <a:cxn ang="0">
                  <a:pos x="79" y="121"/>
                </a:cxn>
                <a:cxn ang="0">
                  <a:pos x="71" y="127"/>
                </a:cxn>
                <a:cxn ang="0">
                  <a:pos x="69" y="149"/>
                </a:cxn>
                <a:cxn ang="0">
                  <a:pos x="0" y="149"/>
                </a:cxn>
                <a:cxn ang="0">
                  <a:pos x="22" y="140"/>
                </a:cxn>
                <a:cxn ang="0">
                  <a:pos x="51" y="112"/>
                </a:cxn>
                <a:cxn ang="0">
                  <a:pos x="54" y="101"/>
                </a:cxn>
                <a:cxn ang="0">
                  <a:pos x="52" y="80"/>
                </a:cxn>
                <a:cxn ang="0">
                  <a:pos x="62" y="61"/>
                </a:cxn>
                <a:cxn ang="0">
                  <a:pos x="75" y="48"/>
                </a:cxn>
                <a:cxn ang="0">
                  <a:pos x="101" y="33"/>
                </a:cxn>
                <a:cxn ang="0">
                  <a:pos x="118" y="1"/>
                </a:cxn>
                <a:cxn ang="0">
                  <a:pos x="125" y="0"/>
                </a:cxn>
                <a:cxn ang="0">
                  <a:pos x="139" y="11"/>
                </a:cxn>
                <a:cxn ang="0">
                  <a:pos x="161" y="9"/>
                </a:cxn>
                <a:cxn ang="0">
                  <a:pos x="176" y="11"/>
                </a:cxn>
                <a:cxn ang="0">
                  <a:pos x="182" y="18"/>
                </a:cxn>
                <a:cxn ang="0">
                  <a:pos x="182" y="18"/>
                </a:cxn>
              </a:cxnLst>
              <a:rect l="0" t="0" r="r" b="b"/>
              <a:pathLst>
                <a:path w="187" h="149">
                  <a:moveTo>
                    <a:pt x="182" y="18"/>
                  </a:moveTo>
                  <a:lnTo>
                    <a:pt x="187" y="63"/>
                  </a:lnTo>
                  <a:lnTo>
                    <a:pt x="148" y="75"/>
                  </a:lnTo>
                  <a:lnTo>
                    <a:pt x="148" y="86"/>
                  </a:lnTo>
                  <a:lnTo>
                    <a:pt x="120" y="106"/>
                  </a:lnTo>
                  <a:lnTo>
                    <a:pt x="79" y="121"/>
                  </a:lnTo>
                  <a:lnTo>
                    <a:pt x="71" y="127"/>
                  </a:lnTo>
                  <a:lnTo>
                    <a:pt x="69" y="149"/>
                  </a:lnTo>
                  <a:lnTo>
                    <a:pt x="0" y="149"/>
                  </a:lnTo>
                  <a:lnTo>
                    <a:pt x="22" y="140"/>
                  </a:lnTo>
                  <a:lnTo>
                    <a:pt x="51" y="112"/>
                  </a:lnTo>
                  <a:lnTo>
                    <a:pt x="54" y="101"/>
                  </a:lnTo>
                  <a:lnTo>
                    <a:pt x="52" y="80"/>
                  </a:lnTo>
                  <a:lnTo>
                    <a:pt x="62" y="61"/>
                  </a:lnTo>
                  <a:lnTo>
                    <a:pt x="75" y="48"/>
                  </a:lnTo>
                  <a:lnTo>
                    <a:pt x="101" y="33"/>
                  </a:lnTo>
                  <a:lnTo>
                    <a:pt x="118" y="1"/>
                  </a:lnTo>
                  <a:lnTo>
                    <a:pt x="125" y="0"/>
                  </a:lnTo>
                  <a:lnTo>
                    <a:pt x="139" y="11"/>
                  </a:lnTo>
                  <a:lnTo>
                    <a:pt x="161" y="9"/>
                  </a:lnTo>
                  <a:lnTo>
                    <a:pt x="176" y="11"/>
                  </a:lnTo>
                  <a:lnTo>
                    <a:pt x="182" y="18"/>
                  </a:lnTo>
                  <a:lnTo>
                    <a:pt x="182" y="1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82" name="Freeform 5790"/>
            <p:cNvSpPr>
              <a:spLocks/>
            </p:cNvSpPr>
            <p:nvPr>
              <p:custDataLst>
                <p:tags r:id="rId162"/>
              </p:custDataLst>
            </p:nvPr>
          </p:nvSpPr>
          <p:spPr bwMode="gray">
            <a:xfrm>
              <a:off x="7453727" y="4037083"/>
              <a:ext cx="30794" cy="44960"/>
            </a:xfrm>
            <a:custGeom>
              <a:avLst/>
              <a:gdLst/>
              <a:ahLst/>
              <a:cxnLst>
                <a:cxn ang="0">
                  <a:pos x="22" y="24"/>
                </a:cxn>
                <a:cxn ang="0">
                  <a:pos x="15" y="20"/>
                </a:cxn>
                <a:cxn ang="0">
                  <a:pos x="24" y="15"/>
                </a:cxn>
                <a:cxn ang="0">
                  <a:pos x="22" y="7"/>
                </a:cxn>
                <a:cxn ang="0">
                  <a:pos x="15" y="0"/>
                </a:cxn>
                <a:cxn ang="0">
                  <a:pos x="15" y="2"/>
                </a:cxn>
                <a:cxn ang="0">
                  <a:pos x="5" y="9"/>
                </a:cxn>
                <a:cxn ang="0">
                  <a:pos x="0" y="28"/>
                </a:cxn>
                <a:cxn ang="0">
                  <a:pos x="0" y="34"/>
                </a:cxn>
                <a:cxn ang="0">
                  <a:pos x="16" y="34"/>
                </a:cxn>
                <a:cxn ang="0">
                  <a:pos x="16" y="35"/>
                </a:cxn>
                <a:cxn ang="0">
                  <a:pos x="22" y="24"/>
                </a:cxn>
                <a:cxn ang="0">
                  <a:pos x="22" y="24"/>
                </a:cxn>
                <a:cxn ang="0">
                  <a:pos x="22" y="24"/>
                </a:cxn>
              </a:cxnLst>
              <a:rect l="0" t="0" r="r" b="b"/>
              <a:pathLst>
                <a:path w="24" h="35">
                  <a:moveTo>
                    <a:pt x="22" y="24"/>
                  </a:moveTo>
                  <a:lnTo>
                    <a:pt x="15" y="20"/>
                  </a:lnTo>
                  <a:lnTo>
                    <a:pt x="24" y="15"/>
                  </a:lnTo>
                  <a:lnTo>
                    <a:pt x="22" y="7"/>
                  </a:lnTo>
                  <a:lnTo>
                    <a:pt x="15" y="0"/>
                  </a:lnTo>
                  <a:lnTo>
                    <a:pt x="15" y="2"/>
                  </a:lnTo>
                  <a:lnTo>
                    <a:pt x="5" y="9"/>
                  </a:lnTo>
                  <a:lnTo>
                    <a:pt x="0" y="28"/>
                  </a:lnTo>
                  <a:lnTo>
                    <a:pt x="0" y="34"/>
                  </a:lnTo>
                  <a:lnTo>
                    <a:pt x="16" y="34"/>
                  </a:lnTo>
                  <a:lnTo>
                    <a:pt x="16" y="35"/>
                  </a:lnTo>
                  <a:lnTo>
                    <a:pt x="22" y="24"/>
                  </a:lnTo>
                  <a:lnTo>
                    <a:pt x="22" y="24"/>
                  </a:lnTo>
                  <a:lnTo>
                    <a:pt x="22" y="2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83" name="Freeform 5791"/>
            <p:cNvSpPr>
              <a:spLocks/>
            </p:cNvSpPr>
            <p:nvPr>
              <p:custDataLst>
                <p:tags r:id="rId163"/>
              </p:custDataLst>
            </p:nvPr>
          </p:nvSpPr>
          <p:spPr bwMode="gray">
            <a:xfrm>
              <a:off x="6254036" y="4015246"/>
              <a:ext cx="62872" cy="21838"/>
            </a:xfrm>
            <a:custGeom>
              <a:avLst/>
              <a:gdLst/>
              <a:ahLst/>
              <a:cxnLst>
                <a:cxn ang="0">
                  <a:pos x="2" y="17"/>
                </a:cxn>
                <a:cxn ang="0">
                  <a:pos x="26" y="10"/>
                </a:cxn>
                <a:cxn ang="0">
                  <a:pos x="47" y="12"/>
                </a:cxn>
                <a:cxn ang="0">
                  <a:pos x="49" y="8"/>
                </a:cxn>
                <a:cxn ang="0">
                  <a:pos x="26" y="0"/>
                </a:cxn>
                <a:cxn ang="0">
                  <a:pos x="2" y="6"/>
                </a:cxn>
                <a:cxn ang="0">
                  <a:pos x="2" y="6"/>
                </a:cxn>
                <a:cxn ang="0">
                  <a:pos x="0" y="15"/>
                </a:cxn>
                <a:cxn ang="0">
                  <a:pos x="2" y="17"/>
                </a:cxn>
                <a:cxn ang="0">
                  <a:pos x="2" y="17"/>
                </a:cxn>
              </a:cxnLst>
              <a:rect l="0" t="0" r="r" b="b"/>
              <a:pathLst>
                <a:path w="49" h="17">
                  <a:moveTo>
                    <a:pt x="2" y="17"/>
                  </a:moveTo>
                  <a:lnTo>
                    <a:pt x="26" y="10"/>
                  </a:lnTo>
                  <a:lnTo>
                    <a:pt x="47" y="12"/>
                  </a:lnTo>
                  <a:lnTo>
                    <a:pt x="49" y="8"/>
                  </a:lnTo>
                  <a:lnTo>
                    <a:pt x="26" y="0"/>
                  </a:lnTo>
                  <a:lnTo>
                    <a:pt x="2" y="6"/>
                  </a:lnTo>
                  <a:lnTo>
                    <a:pt x="2" y="6"/>
                  </a:lnTo>
                  <a:lnTo>
                    <a:pt x="0" y="15"/>
                  </a:lnTo>
                  <a:lnTo>
                    <a:pt x="2" y="17"/>
                  </a:lnTo>
                  <a:lnTo>
                    <a:pt x="2" y="1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84" name="Freeform 5792"/>
            <p:cNvSpPr>
              <a:spLocks/>
            </p:cNvSpPr>
            <p:nvPr>
              <p:custDataLst>
                <p:tags r:id="rId164"/>
              </p:custDataLst>
            </p:nvPr>
          </p:nvSpPr>
          <p:spPr bwMode="gray">
            <a:xfrm>
              <a:off x="7190693" y="4395475"/>
              <a:ext cx="32077" cy="47529"/>
            </a:xfrm>
            <a:custGeom>
              <a:avLst/>
              <a:gdLst/>
              <a:ahLst/>
              <a:cxnLst>
                <a:cxn ang="0">
                  <a:pos x="0" y="6"/>
                </a:cxn>
                <a:cxn ang="0">
                  <a:pos x="25" y="0"/>
                </a:cxn>
                <a:cxn ang="0">
                  <a:pos x="25" y="19"/>
                </a:cxn>
                <a:cxn ang="0">
                  <a:pos x="10" y="37"/>
                </a:cxn>
                <a:cxn ang="0">
                  <a:pos x="6" y="37"/>
                </a:cxn>
                <a:cxn ang="0">
                  <a:pos x="2" y="19"/>
                </a:cxn>
                <a:cxn ang="0">
                  <a:pos x="0" y="6"/>
                </a:cxn>
                <a:cxn ang="0">
                  <a:pos x="0" y="6"/>
                </a:cxn>
              </a:cxnLst>
              <a:rect l="0" t="0" r="r" b="b"/>
              <a:pathLst>
                <a:path w="25" h="37">
                  <a:moveTo>
                    <a:pt x="0" y="6"/>
                  </a:moveTo>
                  <a:lnTo>
                    <a:pt x="25" y="0"/>
                  </a:lnTo>
                  <a:lnTo>
                    <a:pt x="25" y="19"/>
                  </a:lnTo>
                  <a:lnTo>
                    <a:pt x="10" y="37"/>
                  </a:lnTo>
                  <a:lnTo>
                    <a:pt x="6" y="37"/>
                  </a:lnTo>
                  <a:lnTo>
                    <a:pt x="2" y="19"/>
                  </a:lnTo>
                  <a:lnTo>
                    <a:pt x="0" y="6"/>
                  </a:lnTo>
                  <a:lnTo>
                    <a:pt x="0" y="6"/>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85" name="Freeform 5793"/>
            <p:cNvSpPr>
              <a:spLocks/>
            </p:cNvSpPr>
            <p:nvPr>
              <p:custDataLst>
                <p:tags r:id="rId165"/>
              </p:custDataLst>
            </p:nvPr>
          </p:nvSpPr>
          <p:spPr bwMode="gray">
            <a:xfrm>
              <a:off x="7189410" y="4364646"/>
              <a:ext cx="38493" cy="38537"/>
            </a:xfrm>
            <a:custGeom>
              <a:avLst/>
              <a:gdLst/>
              <a:ahLst/>
              <a:cxnLst>
                <a:cxn ang="0">
                  <a:pos x="26" y="24"/>
                </a:cxn>
                <a:cxn ang="0">
                  <a:pos x="1" y="30"/>
                </a:cxn>
                <a:cxn ang="0">
                  <a:pos x="0" y="24"/>
                </a:cxn>
                <a:cxn ang="0">
                  <a:pos x="11" y="3"/>
                </a:cxn>
                <a:cxn ang="0">
                  <a:pos x="22" y="0"/>
                </a:cxn>
                <a:cxn ang="0">
                  <a:pos x="22" y="0"/>
                </a:cxn>
                <a:cxn ang="0">
                  <a:pos x="30" y="13"/>
                </a:cxn>
                <a:cxn ang="0">
                  <a:pos x="26" y="24"/>
                </a:cxn>
                <a:cxn ang="0">
                  <a:pos x="26" y="24"/>
                </a:cxn>
              </a:cxnLst>
              <a:rect l="0" t="0" r="r" b="b"/>
              <a:pathLst>
                <a:path w="30" h="30">
                  <a:moveTo>
                    <a:pt x="26" y="24"/>
                  </a:moveTo>
                  <a:lnTo>
                    <a:pt x="1" y="30"/>
                  </a:lnTo>
                  <a:lnTo>
                    <a:pt x="0" y="24"/>
                  </a:lnTo>
                  <a:lnTo>
                    <a:pt x="11" y="3"/>
                  </a:lnTo>
                  <a:lnTo>
                    <a:pt x="22" y="0"/>
                  </a:lnTo>
                  <a:lnTo>
                    <a:pt x="22" y="0"/>
                  </a:lnTo>
                  <a:lnTo>
                    <a:pt x="30" y="13"/>
                  </a:lnTo>
                  <a:lnTo>
                    <a:pt x="26" y="24"/>
                  </a:lnTo>
                  <a:lnTo>
                    <a:pt x="26" y="2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86" name="Freeform 5794"/>
            <p:cNvSpPr>
              <a:spLocks/>
            </p:cNvSpPr>
            <p:nvPr>
              <p:custDataLst>
                <p:tags r:id="rId166"/>
              </p:custDataLst>
            </p:nvPr>
          </p:nvSpPr>
          <p:spPr bwMode="gray">
            <a:xfrm>
              <a:off x="7212506" y="4951689"/>
              <a:ext cx="24379" cy="30829"/>
            </a:xfrm>
            <a:custGeom>
              <a:avLst/>
              <a:gdLst/>
              <a:ahLst/>
              <a:cxnLst>
                <a:cxn ang="0">
                  <a:pos x="19" y="17"/>
                </a:cxn>
                <a:cxn ang="0">
                  <a:pos x="19" y="0"/>
                </a:cxn>
                <a:cxn ang="0">
                  <a:pos x="6" y="0"/>
                </a:cxn>
                <a:cxn ang="0">
                  <a:pos x="0" y="17"/>
                </a:cxn>
                <a:cxn ang="0">
                  <a:pos x="10" y="24"/>
                </a:cxn>
                <a:cxn ang="0">
                  <a:pos x="19" y="17"/>
                </a:cxn>
                <a:cxn ang="0">
                  <a:pos x="19" y="17"/>
                </a:cxn>
              </a:cxnLst>
              <a:rect l="0" t="0" r="r" b="b"/>
              <a:pathLst>
                <a:path w="19" h="24">
                  <a:moveTo>
                    <a:pt x="19" y="17"/>
                  </a:moveTo>
                  <a:lnTo>
                    <a:pt x="19" y="0"/>
                  </a:lnTo>
                  <a:lnTo>
                    <a:pt x="6" y="0"/>
                  </a:lnTo>
                  <a:lnTo>
                    <a:pt x="0" y="17"/>
                  </a:lnTo>
                  <a:lnTo>
                    <a:pt x="10" y="24"/>
                  </a:lnTo>
                  <a:lnTo>
                    <a:pt x="19" y="17"/>
                  </a:lnTo>
                  <a:lnTo>
                    <a:pt x="19" y="1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87" name="Freeform 5795"/>
            <p:cNvSpPr>
              <a:spLocks/>
            </p:cNvSpPr>
            <p:nvPr>
              <p:custDataLst>
                <p:tags r:id="rId167"/>
              </p:custDataLst>
            </p:nvPr>
          </p:nvSpPr>
          <p:spPr bwMode="gray">
            <a:xfrm>
              <a:off x="6991814" y="4761575"/>
              <a:ext cx="192464" cy="211952"/>
            </a:xfrm>
            <a:custGeom>
              <a:avLst/>
              <a:gdLst/>
              <a:ahLst/>
              <a:cxnLst>
                <a:cxn ang="0">
                  <a:pos x="86" y="0"/>
                </a:cxn>
                <a:cxn ang="0">
                  <a:pos x="99" y="30"/>
                </a:cxn>
                <a:cxn ang="0">
                  <a:pos x="125" y="52"/>
                </a:cxn>
                <a:cxn ang="0">
                  <a:pos x="131" y="71"/>
                </a:cxn>
                <a:cxn ang="0">
                  <a:pos x="150" y="78"/>
                </a:cxn>
                <a:cxn ang="0">
                  <a:pos x="122" y="99"/>
                </a:cxn>
                <a:cxn ang="0">
                  <a:pos x="86" y="142"/>
                </a:cxn>
                <a:cxn ang="0">
                  <a:pos x="71" y="144"/>
                </a:cxn>
                <a:cxn ang="0">
                  <a:pos x="56" y="138"/>
                </a:cxn>
                <a:cxn ang="0">
                  <a:pos x="34" y="163"/>
                </a:cxn>
                <a:cxn ang="0">
                  <a:pos x="19" y="165"/>
                </a:cxn>
                <a:cxn ang="0">
                  <a:pos x="11" y="161"/>
                </a:cxn>
                <a:cxn ang="0">
                  <a:pos x="11" y="140"/>
                </a:cxn>
                <a:cxn ang="0">
                  <a:pos x="0" y="127"/>
                </a:cxn>
                <a:cxn ang="0">
                  <a:pos x="0" y="127"/>
                </a:cxn>
                <a:cxn ang="0">
                  <a:pos x="0" y="80"/>
                </a:cxn>
                <a:cxn ang="0">
                  <a:pos x="17" y="73"/>
                </a:cxn>
                <a:cxn ang="0">
                  <a:pos x="19" y="11"/>
                </a:cxn>
                <a:cxn ang="0">
                  <a:pos x="51" y="5"/>
                </a:cxn>
                <a:cxn ang="0">
                  <a:pos x="56" y="5"/>
                </a:cxn>
                <a:cxn ang="0">
                  <a:pos x="60" y="15"/>
                </a:cxn>
                <a:cxn ang="0">
                  <a:pos x="69" y="5"/>
                </a:cxn>
                <a:cxn ang="0">
                  <a:pos x="86" y="0"/>
                </a:cxn>
                <a:cxn ang="0">
                  <a:pos x="86" y="0"/>
                </a:cxn>
              </a:cxnLst>
              <a:rect l="0" t="0" r="r" b="b"/>
              <a:pathLst>
                <a:path w="150" h="165">
                  <a:moveTo>
                    <a:pt x="86" y="0"/>
                  </a:moveTo>
                  <a:lnTo>
                    <a:pt x="99" y="30"/>
                  </a:lnTo>
                  <a:lnTo>
                    <a:pt x="125" y="52"/>
                  </a:lnTo>
                  <a:lnTo>
                    <a:pt x="131" y="71"/>
                  </a:lnTo>
                  <a:lnTo>
                    <a:pt x="150" y="78"/>
                  </a:lnTo>
                  <a:lnTo>
                    <a:pt x="122" y="99"/>
                  </a:lnTo>
                  <a:lnTo>
                    <a:pt x="86" y="142"/>
                  </a:lnTo>
                  <a:lnTo>
                    <a:pt x="71" y="144"/>
                  </a:lnTo>
                  <a:lnTo>
                    <a:pt x="56" y="138"/>
                  </a:lnTo>
                  <a:lnTo>
                    <a:pt x="34" y="163"/>
                  </a:lnTo>
                  <a:lnTo>
                    <a:pt x="19" y="165"/>
                  </a:lnTo>
                  <a:lnTo>
                    <a:pt x="11" y="161"/>
                  </a:lnTo>
                  <a:lnTo>
                    <a:pt x="11" y="140"/>
                  </a:lnTo>
                  <a:lnTo>
                    <a:pt x="0" y="127"/>
                  </a:lnTo>
                  <a:lnTo>
                    <a:pt x="0" y="127"/>
                  </a:lnTo>
                  <a:lnTo>
                    <a:pt x="0" y="80"/>
                  </a:lnTo>
                  <a:lnTo>
                    <a:pt x="17" y="73"/>
                  </a:lnTo>
                  <a:lnTo>
                    <a:pt x="19" y="11"/>
                  </a:lnTo>
                  <a:lnTo>
                    <a:pt x="51" y="5"/>
                  </a:lnTo>
                  <a:lnTo>
                    <a:pt x="56" y="5"/>
                  </a:lnTo>
                  <a:lnTo>
                    <a:pt x="60" y="15"/>
                  </a:lnTo>
                  <a:lnTo>
                    <a:pt x="69" y="5"/>
                  </a:lnTo>
                  <a:lnTo>
                    <a:pt x="86" y="0"/>
                  </a:lnTo>
                  <a:lnTo>
                    <a:pt x="86"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88" name="Freeform 5798"/>
            <p:cNvSpPr>
              <a:spLocks/>
            </p:cNvSpPr>
            <p:nvPr>
              <p:custDataLst>
                <p:tags r:id="rId168"/>
              </p:custDataLst>
            </p:nvPr>
          </p:nvSpPr>
          <p:spPr bwMode="gray">
            <a:xfrm>
              <a:off x="4986818" y="498370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89" name="Freeform 5799"/>
            <p:cNvSpPr>
              <a:spLocks/>
            </p:cNvSpPr>
            <p:nvPr>
              <p:custDataLst>
                <p:tags r:id="rId169"/>
              </p:custDataLst>
            </p:nvPr>
          </p:nvSpPr>
          <p:spPr bwMode="gray">
            <a:xfrm>
              <a:off x="5009914" y="515969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90" name="Freeform 5800"/>
            <p:cNvSpPr>
              <a:spLocks/>
            </p:cNvSpPr>
            <p:nvPr>
              <p:custDataLst>
                <p:tags r:id="rId170"/>
              </p:custDataLst>
            </p:nvPr>
          </p:nvSpPr>
          <p:spPr bwMode="gray">
            <a:xfrm>
              <a:off x="5047123" y="515712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91" name="Freeform 5801"/>
            <p:cNvSpPr>
              <a:spLocks/>
            </p:cNvSpPr>
            <p:nvPr>
              <p:custDataLst>
                <p:tags r:id="rId171"/>
              </p:custDataLst>
            </p:nvPr>
          </p:nvSpPr>
          <p:spPr bwMode="gray">
            <a:xfrm>
              <a:off x="5204944" y="5349805"/>
              <a:ext cx="19246" cy="38537"/>
            </a:xfrm>
            <a:custGeom>
              <a:avLst/>
              <a:gdLst/>
              <a:ahLst/>
              <a:cxnLst>
                <a:cxn ang="0">
                  <a:pos x="0" y="0"/>
                </a:cxn>
                <a:cxn ang="0">
                  <a:pos x="8" y="28"/>
                </a:cxn>
                <a:cxn ang="0">
                  <a:pos x="15" y="30"/>
                </a:cxn>
                <a:cxn ang="0">
                  <a:pos x="15" y="9"/>
                </a:cxn>
                <a:cxn ang="0">
                  <a:pos x="0" y="0"/>
                </a:cxn>
                <a:cxn ang="0">
                  <a:pos x="0" y="0"/>
                </a:cxn>
              </a:cxnLst>
              <a:rect l="0" t="0" r="r" b="b"/>
              <a:pathLst>
                <a:path w="15" h="30">
                  <a:moveTo>
                    <a:pt x="0" y="0"/>
                  </a:moveTo>
                  <a:lnTo>
                    <a:pt x="8" y="28"/>
                  </a:lnTo>
                  <a:lnTo>
                    <a:pt x="15" y="30"/>
                  </a:lnTo>
                  <a:lnTo>
                    <a:pt x="15" y="9"/>
                  </a:lnTo>
                  <a:lnTo>
                    <a:pt x="0" y="0"/>
                  </a:lnTo>
                  <a:lnTo>
                    <a:pt x="0"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92" name="Freeform 5802"/>
            <p:cNvSpPr>
              <a:spLocks/>
            </p:cNvSpPr>
            <p:nvPr>
              <p:custDataLst>
                <p:tags r:id="rId172"/>
              </p:custDataLst>
            </p:nvPr>
          </p:nvSpPr>
          <p:spPr bwMode="gray">
            <a:xfrm>
              <a:off x="5537265" y="5570749"/>
              <a:ext cx="59022" cy="21838"/>
            </a:xfrm>
            <a:custGeom>
              <a:avLst/>
              <a:gdLst/>
              <a:ahLst/>
              <a:cxnLst>
                <a:cxn ang="0">
                  <a:pos x="0" y="8"/>
                </a:cxn>
                <a:cxn ang="0">
                  <a:pos x="26" y="17"/>
                </a:cxn>
                <a:cxn ang="0">
                  <a:pos x="46" y="8"/>
                </a:cxn>
                <a:cxn ang="0">
                  <a:pos x="35" y="0"/>
                </a:cxn>
                <a:cxn ang="0">
                  <a:pos x="16" y="0"/>
                </a:cxn>
                <a:cxn ang="0">
                  <a:pos x="5" y="2"/>
                </a:cxn>
                <a:cxn ang="0">
                  <a:pos x="11" y="8"/>
                </a:cxn>
                <a:cxn ang="0">
                  <a:pos x="9" y="12"/>
                </a:cxn>
                <a:cxn ang="0">
                  <a:pos x="0" y="8"/>
                </a:cxn>
                <a:cxn ang="0">
                  <a:pos x="0" y="8"/>
                </a:cxn>
              </a:cxnLst>
              <a:rect l="0" t="0" r="r" b="b"/>
              <a:pathLst>
                <a:path w="46" h="17">
                  <a:moveTo>
                    <a:pt x="0" y="8"/>
                  </a:moveTo>
                  <a:lnTo>
                    <a:pt x="26" y="17"/>
                  </a:lnTo>
                  <a:lnTo>
                    <a:pt x="46" y="8"/>
                  </a:lnTo>
                  <a:lnTo>
                    <a:pt x="35" y="0"/>
                  </a:lnTo>
                  <a:lnTo>
                    <a:pt x="16" y="0"/>
                  </a:lnTo>
                  <a:lnTo>
                    <a:pt x="5" y="2"/>
                  </a:lnTo>
                  <a:lnTo>
                    <a:pt x="11" y="8"/>
                  </a:lnTo>
                  <a:lnTo>
                    <a:pt x="9" y="12"/>
                  </a:lnTo>
                  <a:lnTo>
                    <a:pt x="0" y="8"/>
                  </a:lnTo>
                  <a:lnTo>
                    <a:pt x="0" y="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93" name="Freeform 5803"/>
            <p:cNvSpPr>
              <a:spLocks/>
            </p:cNvSpPr>
            <p:nvPr>
              <p:custDataLst>
                <p:tags r:id="rId173"/>
              </p:custDataLst>
            </p:nvPr>
          </p:nvSpPr>
          <p:spPr bwMode="gray">
            <a:xfrm>
              <a:off x="5312723" y="4105067"/>
              <a:ext cx="17963" cy="16699"/>
            </a:xfrm>
            <a:custGeom>
              <a:avLst/>
              <a:gdLst/>
              <a:ahLst/>
              <a:cxnLst>
                <a:cxn ang="0">
                  <a:pos x="0" y="13"/>
                </a:cxn>
                <a:cxn ang="0">
                  <a:pos x="10" y="13"/>
                </a:cxn>
                <a:cxn ang="0">
                  <a:pos x="14" y="0"/>
                </a:cxn>
                <a:cxn ang="0">
                  <a:pos x="2" y="2"/>
                </a:cxn>
                <a:cxn ang="0">
                  <a:pos x="6" y="12"/>
                </a:cxn>
                <a:cxn ang="0">
                  <a:pos x="0" y="13"/>
                </a:cxn>
                <a:cxn ang="0">
                  <a:pos x="0" y="13"/>
                </a:cxn>
              </a:cxnLst>
              <a:rect l="0" t="0" r="r" b="b"/>
              <a:pathLst>
                <a:path w="14" h="13">
                  <a:moveTo>
                    <a:pt x="0" y="13"/>
                  </a:moveTo>
                  <a:lnTo>
                    <a:pt x="10" y="13"/>
                  </a:lnTo>
                  <a:lnTo>
                    <a:pt x="14" y="0"/>
                  </a:lnTo>
                  <a:lnTo>
                    <a:pt x="2" y="2"/>
                  </a:lnTo>
                  <a:lnTo>
                    <a:pt x="6" y="12"/>
                  </a:lnTo>
                  <a:lnTo>
                    <a:pt x="0" y="13"/>
                  </a:lnTo>
                  <a:lnTo>
                    <a:pt x="0" y="13"/>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94" name="Freeform 5804"/>
            <p:cNvSpPr>
              <a:spLocks/>
            </p:cNvSpPr>
            <p:nvPr>
              <p:custDataLst>
                <p:tags r:id="rId174"/>
              </p:custDataLst>
            </p:nvPr>
          </p:nvSpPr>
          <p:spPr bwMode="gray">
            <a:xfrm>
              <a:off x="5180565" y="407166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95" name="Freeform 5805"/>
            <p:cNvSpPr>
              <a:spLocks/>
            </p:cNvSpPr>
            <p:nvPr>
              <p:custDataLst>
                <p:tags r:id="rId175"/>
              </p:custDataLst>
            </p:nvPr>
          </p:nvSpPr>
          <p:spPr bwMode="gray">
            <a:xfrm>
              <a:off x="5163885" y="4066530"/>
              <a:ext cx="5132" cy="7707"/>
            </a:xfrm>
            <a:custGeom>
              <a:avLst/>
              <a:gdLst/>
              <a:ahLst/>
              <a:cxnLst>
                <a:cxn ang="0">
                  <a:pos x="0" y="0"/>
                </a:cxn>
                <a:cxn ang="0">
                  <a:pos x="4" y="6"/>
                </a:cxn>
                <a:cxn ang="0">
                  <a:pos x="0" y="0"/>
                </a:cxn>
              </a:cxnLst>
              <a:rect l="0" t="0" r="r" b="b"/>
              <a:pathLst>
                <a:path w="4" h="6">
                  <a:moveTo>
                    <a:pt x="0" y="0"/>
                  </a:moveTo>
                  <a:lnTo>
                    <a:pt x="4" y="6"/>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96" name="Line 5806"/>
            <p:cNvSpPr>
              <a:spLocks noChangeShapeType="1"/>
            </p:cNvSpPr>
            <p:nvPr>
              <p:custDataLst>
                <p:tags r:id="rId176"/>
              </p:custDataLst>
            </p:nvPr>
          </p:nvSpPr>
          <p:spPr bwMode="gray">
            <a:xfrm>
              <a:off x="5163885" y="4066530"/>
              <a:ext cx="5132" cy="7707"/>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97" name="Freeform 5807"/>
            <p:cNvSpPr>
              <a:spLocks/>
            </p:cNvSpPr>
            <p:nvPr>
              <p:custDataLst>
                <p:tags r:id="rId177"/>
              </p:custDataLst>
            </p:nvPr>
          </p:nvSpPr>
          <p:spPr bwMode="gray">
            <a:xfrm>
              <a:off x="5147204" y="40626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98" name="Freeform 5809"/>
            <p:cNvSpPr>
              <a:spLocks/>
            </p:cNvSpPr>
            <p:nvPr>
              <p:custDataLst>
                <p:tags r:id="rId178"/>
              </p:custDataLst>
            </p:nvPr>
          </p:nvSpPr>
          <p:spPr bwMode="gray">
            <a:xfrm>
              <a:off x="4902134" y="3837878"/>
              <a:ext cx="11548" cy="15415"/>
            </a:xfrm>
            <a:custGeom>
              <a:avLst/>
              <a:gdLst/>
              <a:ahLst/>
              <a:cxnLst>
                <a:cxn ang="0">
                  <a:pos x="0" y="4"/>
                </a:cxn>
                <a:cxn ang="0">
                  <a:pos x="0" y="12"/>
                </a:cxn>
                <a:cxn ang="0">
                  <a:pos x="9" y="10"/>
                </a:cxn>
                <a:cxn ang="0">
                  <a:pos x="4" y="0"/>
                </a:cxn>
                <a:cxn ang="0">
                  <a:pos x="0" y="4"/>
                </a:cxn>
                <a:cxn ang="0">
                  <a:pos x="0" y="4"/>
                </a:cxn>
              </a:cxnLst>
              <a:rect l="0" t="0" r="r" b="b"/>
              <a:pathLst>
                <a:path w="9" h="12">
                  <a:moveTo>
                    <a:pt x="0" y="4"/>
                  </a:moveTo>
                  <a:lnTo>
                    <a:pt x="0" y="12"/>
                  </a:lnTo>
                  <a:lnTo>
                    <a:pt x="9" y="10"/>
                  </a:lnTo>
                  <a:lnTo>
                    <a:pt x="4" y="0"/>
                  </a:lnTo>
                  <a:lnTo>
                    <a:pt x="0" y="4"/>
                  </a:lnTo>
                  <a:lnTo>
                    <a:pt x="0" y="4"/>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99" name="Freeform 5821"/>
            <p:cNvSpPr>
              <a:spLocks/>
            </p:cNvSpPr>
            <p:nvPr>
              <p:custDataLst>
                <p:tags r:id="rId179"/>
              </p:custDataLst>
            </p:nvPr>
          </p:nvSpPr>
          <p:spPr bwMode="gray">
            <a:xfrm>
              <a:off x="5334536" y="403056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00" name="Freeform 5822"/>
            <p:cNvSpPr>
              <a:spLocks/>
            </p:cNvSpPr>
            <p:nvPr>
              <p:custDataLst>
                <p:tags r:id="rId180"/>
              </p:custDataLst>
            </p:nvPr>
          </p:nvSpPr>
          <p:spPr bwMode="gray">
            <a:xfrm>
              <a:off x="5330687" y="404597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01" name="Freeform 5823"/>
            <p:cNvSpPr>
              <a:spLocks/>
            </p:cNvSpPr>
            <p:nvPr>
              <p:custDataLst>
                <p:tags r:id="rId181"/>
              </p:custDataLst>
            </p:nvPr>
          </p:nvSpPr>
          <p:spPr bwMode="gray">
            <a:xfrm>
              <a:off x="5317856" y="407423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02" name="Freeform 5824"/>
            <p:cNvSpPr>
              <a:spLocks/>
            </p:cNvSpPr>
            <p:nvPr>
              <p:custDataLst>
                <p:tags r:id="rId182"/>
              </p:custDataLst>
            </p:nvPr>
          </p:nvSpPr>
          <p:spPr bwMode="gray">
            <a:xfrm>
              <a:off x="5364047" y="404726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03" name="Freeform 5825"/>
            <p:cNvSpPr>
              <a:spLocks/>
            </p:cNvSpPr>
            <p:nvPr>
              <p:custDataLst>
                <p:tags r:id="rId183"/>
              </p:custDataLst>
            </p:nvPr>
          </p:nvSpPr>
          <p:spPr bwMode="gray">
            <a:xfrm>
              <a:off x="5339668" y="409350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04" name="Freeform 5826"/>
            <p:cNvSpPr>
              <a:spLocks/>
            </p:cNvSpPr>
            <p:nvPr>
              <p:custDataLst>
                <p:tags r:id="rId184"/>
              </p:custDataLst>
            </p:nvPr>
          </p:nvSpPr>
          <p:spPr bwMode="gray">
            <a:xfrm>
              <a:off x="5008630" y="3763374"/>
              <a:ext cx="11548" cy="35968"/>
            </a:xfrm>
            <a:custGeom>
              <a:avLst/>
              <a:gdLst/>
              <a:ahLst/>
              <a:cxnLst>
                <a:cxn ang="0">
                  <a:pos x="3" y="0"/>
                </a:cxn>
                <a:cxn ang="0">
                  <a:pos x="0" y="12"/>
                </a:cxn>
                <a:cxn ang="0">
                  <a:pos x="9" y="28"/>
                </a:cxn>
                <a:cxn ang="0">
                  <a:pos x="9" y="10"/>
                </a:cxn>
                <a:cxn ang="0">
                  <a:pos x="3" y="0"/>
                </a:cxn>
                <a:cxn ang="0">
                  <a:pos x="3" y="0"/>
                </a:cxn>
              </a:cxnLst>
              <a:rect l="0" t="0" r="r" b="b"/>
              <a:pathLst>
                <a:path w="9" h="28">
                  <a:moveTo>
                    <a:pt x="3" y="0"/>
                  </a:moveTo>
                  <a:lnTo>
                    <a:pt x="0" y="12"/>
                  </a:lnTo>
                  <a:lnTo>
                    <a:pt x="9" y="28"/>
                  </a:lnTo>
                  <a:lnTo>
                    <a:pt x="9" y="10"/>
                  </a:lnTo>
                  <a:lnTo>
                    <a:pt x="3" y="0"/>
                  </a:lnTo>
                  <a:lnTo>
                    <a:pt x="3"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05" name="Freeform 5828"/>
            <p:cNvSpPr>
              <a:spLocks/>
            </p:cNvSpPr>
            <p:nvPr>
              <p:custDataLst>
                <p:tags r:id="rId185"/>
              </p:custDataLst>
            </p:nvPr>
          </p:nvSpPr>
          <p:spPr bwMode="gray">
            <a:xfrm>
              <a:off x="5006064" y="3727406"/>
              <a:ext cx="21813" cy="5138"/>
            </a:xfrm>
            <a:custGeom>
              <a:avLst/>
              <a:gdLst/>
              <a:ahLst/>
              <a:cxnLst>
                <a:cxn ang="0">
                  <a:pos x="0" y="0"/>
                </a:cxn>
                <a:cxn ang="0">
                  <a:pos x="17" y="4"/>
                </a:cxn>
                <a:cxn ang="0">
                  <a:pos x="0" y="0"/>
                </a:cxn>
              </a:cxnLst>
              <a:rect l="0" t="0" r="r" b="b"/>
              <a:pathLst>
                <a:path w="17" h="4">
                  <a:moveTo>
                    <a:pt x="0" y="0"/>
                  </a:moveTo>
                  <a:lnTo>
                    <a:pt x="17" y="4"/>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06" name="Line 5829"/>
            <p:cNvSpPr>
              <a:spLocks noChangeShapeType="1"/>
            </p:cNvSpPr>
            <p:nvPr>
              <p:custDataLst>
                <p:tags r:id="rId186"/>
              </p:custDataLst>
            </p:nvPr>
          </p:nvSpPr>
          <p:spPr bwMode="gray">
            <a:xfrm>
              <a:off x="5006064" y="3727406"/>
              <a:ext cx="21813" cy="5138"/>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07" name="Freeform 5834"/>
            <p:cNvSpPr>
              <a:spLocks/>
            </p:cNvSpPr>
            <p:nvPr>
              <p:custDataLst>
                <p:tags r:id="rId187"/>
              </p:custDataLst>
            </p:nvPr>
          </p:nvSpPr>
          <p:spPr bwMode="gray">
            <a:xfrm>
              <a:off x="5029160" y="376594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08" name="Freeform 5856"/>
            <p:cNvSpPr>
              <a:spLocks/>
            </p:cNvSpPr>
            <p:nvPr>
              <p:custDataLst>
                <p:tags r:id="rId188"/>
              </p:custDataLst>
            </p:nvPr>
          </p:nvSpPr>
          <p:spPr bwMode="gray">
            <a:xfrm>
              <a:off x="4938060" y="3776220"/>
              <a:ext cx="10265" cy="2569"/>
            </a:xfrm>
            <a:custGeom>
              <a:avLst/>
              <a:gdLst/>
              <a:ahLst/>
              <a:cxnLst>
                <a:cxn ang="0">
                  <a:pos x="0" y="2"/>
                </a:cxn>
                <a:cxn ang="0">
                  <a:pos x="8" y="0"/>
                </a:cxn>
                <a:cxn ang="0">
                  <a:pos x="0" y="2"/>
                </a:cxn>
              </a:cxnLst>
              <a:rect l="0" t="0" r="r" b="b"/>
              <a:pathLst>
                <a:path w="8" h="2">
                  <a:moveTo>
                    <a:pt x="0" y="2"/>
                  </a:moveTo>
                  <a:lnTo>
                    <a:pt x="8" y="0"/>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09" name="Line 5857"/>
            <p:cNvSpPr>
              <a:spLocks noChangeShapeType="1"/>
            </p:cNvSpPr>
            <p:nvPr>
              <p:custDataLst>
                <p:tags r:id="rId189"/>
              </p:custDataLst>
            </p:nvPr>
          </p:nvSpPr>
          <p:spPr bwMode="gray">
            <a:xfrm flipV="1">
              <a:off x="4938060" y="3776220"/>
              <a:ext cx="10265" cy="2569"/>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10" name="Freeform 5858"/>
            <p:cNvSpPr>
              <a:spLocks/>
            </p:cNvSpPr>
            <p:nvPr>
              <p:custDataLst>
                <p:tags r:id="rId190"/>
              </p:custDataLst>
            </p:nvPr>
          </p:nvSpPr>
          <p:spPr bwMode="gray">
            <a:xfrm>
              <a:off x="5195962" y="3385714"/>
              <a:ext cx="39776" cy="12846"/>
            </a:xfrm>
            <a:custGeom>
              <a:avLst/>
              <a:gdLst/>
              <a:ahLst/>
              <a:cxnLst>
                <a:cxn ang="0">
                  <a:pos x="0" y="10"/>
                </a:cxn>
                <a:cxn ang="0">
                  <a:pos x="31" y="2"/>
                </a:cxn>
                <a:cxn ang="0">
                  <a:pos x="28" y="0"/>
                </a:cxn>
                <a:cxn ang="0">
                  <a:pos x="0" y="10"/>
                </a:cxn>
                <a:cxn ang="0">
                  <a:pos x="0" y="10"/>
                </a:cxn>
              </a:cxnLst>
              <a:rect l="0" t="0" r="r" b="b"/>
              <a:pathLst>
                <a:path w="31" h="10">
                  <a:moveTo>
                    <a:pt x="0" y="10"/>
                  </a:moveTo>
                  <a:lnTo>
                    <a:pt x="31" y="2"/>
                  </a:lnTo>
                  <a:lnTo>
                    <a:pt x="28" y="0"/>
                  </a:lnTo>
                  <a:lnTo>
                    <a:pt x="0" y="10"/>
                  </a:lnTo>
                  <a:lnTo>
                    <a:pt x="0" y="1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11" name="Freeform 5859"/>
            <p:cNvSpPr>
              <a:spLocks/>
            </p:cNvSpPr>
            <p:nvPr>
              <p:custDataLst>
                <p:tags r:id="rId191"/>
              </p:custDataLst>
            </p:nvPr>
          </p:nvSpPr>
          <p:spPr bwMode="gray">
            <a:xfrm>
              <a:off x="5457713" y="3184038"/>
              <a:ext cx="43625" cy="16699"/>
            </a:xfrm>
            <a:custGeom>
              <a:avLst/>
              <a:gdLst/>
              <a:ahLst/>
              <a:cxnLst>
                <a:cxn ang="0">
                  <a:pos x="0" y="0"/>
                </a:cxn>
                <a:cxn ang="0">
                  <a:pos x="17" y="13"/>
                </a:cxn>
                <a:cxn ang="0">
                  <a:pos x="34" y="13"/>
                </a:cxn>
                <a:cxn ang="0">
                  <a:pos x="19" y="2"/>
                </a:cxn>
                <a:cxn ang="0">
                  <a:pos x="0" y="0"/>
                </a:cxn>
                <a:cxn ang="0">
                  <a:pos x="0" y="0"/>
                </a:cxn>
              </a:cxnLst>
              <a:rect l="0" t="0" r="r" b="b"/>
              <a:pathLst>
                <a:path w="34" h="13">
                  <a:moveTo>
                    <a:pt x="0" y="0"/>
                  </a:moveTo>
                  <a:lnTo>
                    <a:pt x="17" y="13"/>
                  </a:lnTo>
                  <a:lnTo>
                    <a:pt x="34" y="13"/>
                  </a:lnTo>
                  <a:lnTo>
                    <a:pt x="19" y="2"/>
                  </a:lnTo>
                  <a:lnTo>
                    <a:pt x="0" y="0"/>
                  </a:lnTo>
                  <a:lnTo>
                    <a:pt x="0"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12" name="Freeform 5860"/>
            <p:cNvSpPr>
              <a:spLocks/>
            </p:cNvSpPr>
            <p:nvPr>
              <p:custDataLst>
                <p:tags r:id="rId192"/>
              </p:custDataLst>
            </p:nvPr>
          </p:nvSpPr>
          <p:spPr bwMode="gray">
            <a:xfrm>
              <a:off x="5433334" y="3250835"/>
              <a:ext cx="38493" cy="24407"/>
            </a:xfrm>
            <a:custGeom>
              <a:avLst/>
              <a:gdLst/>
              <a:ahLst/>
              <a:cxnLst>
                <a:cxn ang="0">
                  <a:pos x="0" y="6"/>
                </a:cxn>
                <a:cxn ang="0">
                  <a:pos x="19" y="19"/>
                </a:cxn>
                <a:cxn ang="0">
                  <a:pos x="30" y="8"/>
                </a:cxn>
                <a:cxn ang="0">
                  <a:pos x="11" y="10"/>
                </a:cxn>
                <a:cxn ang="0">
                  <a:pos x="4" y="6"/>
                </a:cxn>
                <a:cxn ang="0">
                  <a:pos x="4" y="0"/>
                </a:cxn>
                <a:cxn ang="0">
                  <a:pos x="0" y="6"/>
                </a:cxn>
                <a:cxn ang="0">
                  <a:pos x="0" y="6"/>
                </a:cxn>
              </a:cxnLst>
              <a:rect l="0" t="0" r="r" b="b"/>
              <a:pathLst>
                <a:path w="30" h="19">
                  <a:moveTo>
                    <a:pt x="0" y="6"/>
                  </a:moveTo>
                  <a:lnTo>
                    <a:pt x="19" y="19"/>
                  </a:lnTo>
                  <a:lnTo>
                    <a:pt x="30" y="8"/>
                  </a:lnTo>
                  <a:lnTo>
                    <a:pt x="11" y="10"/>
                  </a:lnTo>
                  <a:lnTo>
                    <a:pt x="4" y="6"/>
                  </a:lnTo>
                  <a:lnTo>
                    <a:pt x="4" y="0"/>
                  </a:lnTo>
                  <a:lnTo>
                    <a:pt x="0" y="6"/>
                  </a:lnTo>
                  <a:lnTo>
                    <a:pt x="0" y="6"/>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13" name="Freeform 5861"/>
            <p:cNvSpPr>
              <a:spLocks/>
            </p:cNvSpPr>
            <p:nvPr>
              <p:custDataLst>
                <p:tags r:id="rId193"/>
              </p:custDataLst>
            </p:nvPr>
          </p:nvSpPr>
          <p:spPr bwMode="gray">
            <a:xfrm>
              <a:off x="5279363" y="2897581"/>
              <a:ext cx="38493" cy="14130"/>
            </a:xfrm>
            <a:custGeom>
              <a:avLst/>
              <a:gdLst/>
              <a:ahLst/>
              <a:cxnLst>
                <a:cxn ang="0">
                  <a:pos x="0" y="11"/>
                </a:cxn>
                <a:cxn ang="0">
                  <a:pos x="30" y="0"/>
                </a:cxn>
                <a:cxn ang="0">
                  <a:pos x="10" y="2"/>
                </a:cxn>
                <a:cxn ang="0">
                  <a:pos x="0" y="11"/>
                </a:cxn>
                <a:cxn ang="0">
                  <a:pos x="0" y="11"/>
                </a:cxn>
              </a:cxnLst>
              <a:rect l="0" t="0" r="r" b="b"/>
              <a:pathLst>
                <a:path w="30" h="11">
                  <a:moveTo>
                    <a:pt x="0" y="11"/>
                  </a:moveTo>
                  <a:lnTo>
                    <a:pt x="30" y="0"/>
                  </a:lnTo>
                  <a:lnTo>
                    <a:pt x="10" y="2"/>
                  </a:lnTo>
                  <a:lnTo>
                    <a:pt x="0" y="11"/>
                  </a:lnTo>
                  <a:lnTo>
                    <a:pt x="0"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14" name="Freeform 5862"/>
            <p:cNvSpPr>
              <a:spLocks/>
            </p:cNvSpPr>
            <p:nvPr>
              <p:custDataLst>
                <p:tags r:id="rId194"/>
              </p:custDataLst>
            </p:nvPr>
          </p:nvSpPr>
          <p:spPr bwMode="gray">
            <a:xfrm>
              <a:off x="5330687" y="2906573"/>
              <a:ext cx="23096" cy="17984"/>
            </a:xfrm>
            <a:custGeom>
              <a:avLst/>
              <a:gdLst/>
              <a:ahLst/>
              <a:cxnLst>
                <a:cxn ang="0">
                  <a:pos x="9" y="0"/>
                </a:cxn>
                <a:cxn ang="0">
                  <a:pos x="0" y="10"/>
                </a:cxn>
                <a:cxn ang="0">
                  <a:pos x="3" y="14"/>
                </a:cxn>
                <a:cxn ang="0">
                  <a:pos x="18" y="0"/>
                </a:cxn>
                <a:cxn ang="0">
                  <a:pos x="9" y="0"/>
                </a:cxn>
                <a:cxn ang="0">
                  <a:pos x="9" y="0"/>
                </a:cxn>
              </a:cxnLst>
              <a:rect l="0" t="0" r="r" b="b"/>
              <a:pathLst>
                <a:path w="18" h="14">
                  <a:moveTo>
                    <a:pt x="9" y="0"/>
                  </a:moveTo>
                  <a:lnTo>
                    <a:pt x="0" y="10"/>
                  </a:lnTo>
                  <a:lnTo>
                    <a:pt x="3" y="14"/>
                  </a:lnTo>
                  <a:lnTo>
                    <a:pt x="18" y="0"/>
                  </a:lnTo>
                  <a:lnTo>
                    <a:pt x="9" y="0"/>
                  </a:lnTo>
                  <a:lnTo>
                    <a:pt x="9"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15" name="Freeform 5863"/>
            <p:cNvSpPr>
              <a:spLocks/>
            </p:cNvSpPr>
            <p:nvPr>
              <p:custDataLst>
                <p:tags r:id="rId195"/>
              </p:custDataLst>
            </p:nvPr>
          </p:nvSpPr>
          <p:spPr bwMode="gray">
            <a:xfrm>
              <a:off x="5534698" y="3142932"/>
              <a:ext cx="119328" cy="115610"/>
            </a:xfrm>
            <a:custGeom>
              <a:avLst/>
              <a:gdLst/>
              <a:ahLst/>
              <a:cxnLst>
                <a:cxn ang="0">
                  <a:pos x="0" y="67"/>
                </a:cxn>
                <a:cxn ang="0">
                  <a:pos x="0" y="73"/>
                </a:cxn>
                <a:cxn ang="0">
                  <a:pos x="52" y="73"/>
                </a:cxn>
                <a:cxn ang="0">
                  <a:pos x="43" y="84"/>
                </a:cxn>
                <a:cxn ang="0">
                  <a:pos x="50" y="86"/>
                </a:cxn>
                <a:cxn ang="0">
                  <a:pos x="60" y="77"/>
                </a:cxn>
                <a:cxn ang="0">
                  <a:pos x="73" y="77"/>
                </a:cxn>
                <a:cxn ang="0">
                  <a:pos x="67" y="86"/>
                </a:cxn>
                <a:cxn ang="0">
                  <a:pos x="75" y="81"/>
                </a:cxn>
                <a:cxn ang="0">
                  <a:pos x="73" y="90"/>
                </a:cxn>
                <a:cxn ang="0">
                  <a:pos x="82" y="90"/>
                </a:cxn>
                <a:cxn ang="0">
                  <a:pos x="92" y="71"/>
                </a:cxn>
                <a:cxn ang="0">
                  <a:pos x="84" y="73"/>
                </a:cxn>
                <a:cxn ang="0">
                  <a:pos x="92" y="64"/>
                </a:cxn>
                <a:cxn ang="0">
                  <a:pos x="78" y="73"/>
                </a:cxn>
                <a:cxn ang="0">
                  <a:pos x="77" y="69"/>
                </a:cxn>
                <a:cxn ang="0">
                  <a:pos x="93" y="54"/>
                </a:cxn>
                <a:cxn ang="0">
                  <a:pos x="82" y="56"/>
                </a:cxn>
                <a:cxn ang="0">
                  <a:pos x="80" y="51"/>
                </a:cxn>
                <a:cxn ang="0">
                  <a:pos x="92" y="43"/>
                </a:cxn>
                <a:cxn ang="0">
                  <a:pos x="65" y="41"/>
                </a:cxn>
                <a:cxn ang="0">
                  <a:pos x="60" y="34"/>
                </a:cxn>
                <a:cxn ang="0">
                  <a:pos x="67" y="30"/>
                </a:cxn>
                <a:cxn ang="0">
                  <a:pos x="60" y="28"/>
                </a:cxn>
                <a:cxn ang="0">
                  <a:pos x="47" y="34"/>
                </a:cxn>
                <a:cxn ang="0">
                  <a:pos x="78" y="0"/>
                </a:cxn>
                <a:cxn ang="0">
                  <a:pos x="60" y="6"/>
                </a:cxn>
                <a:cxn ang="0">
                  <a:pos x="11" y="54"/>
                </a:cxn>
                <a:cxn ang="0">
                  <a:pos x="15" y="56"/>
                </a:cxn>
                <a:cxn ang="0">
                  <a:pos x="0" y="67"/>
                </a:cxn>
                <a:cxn ang="0">
                  <a:pos x="0" y="67"/>
                </a:cxn>
              </a:cxnLst>
              <a:rect l="0" t="0" r="r" b="b"/>
              <a:pathLst>
                <a:path w="93" h="90">
                  <a:moveTo>
                    <a:pt x="0" y="67"/>
                  </a:moveTo>
                  <a:lnTo>
                    <a:pt x="0" y="73"/>
                  </a:lnTo>
                  <a:lnTo>
                    <a:pt x="52" y="73"/>
                  </a:lnTo>
                  <a:lnTo>
                    <a:pt x="43" y="84"/>
                  </a:lnTo>
                  <a:lnTo>
                    <a:pt x="50" y="86"/>
                  </a:lnTo>
                  <a:lnTo>
                    <a:pt x="60" y="77"/>
                  </a:lnTo>
                  <a:lnTo>
                    <a:pt x="73" y="77"/>
                  </a:lnTo>
                  <a:lnTo>
                    <a:pt x="67" y="86"/>
                  </a:lnTo>
                  <a:lnTo>
                    <a:pt x="75" y="81"/>
                  </a:lnTo>
                  <a:lnTo>
                    <a:pt x="73" y="90"/>
                  </a:lnTo>
                  <a:lnTo>
                    <a:pt x="82" y="90"/>
                  </a:lnTo>
                  <a:lnTo>
                    <a:pt x="92" y="71"/>
                  </a:lnTo>
                  <a:lnTo>
                    <a:pt x="84" y="73"/>
                  </a:lnTo>
                  <a:lnTo>
                    <a:pt x="92" y="64"/>
                  </a:lnTo>
                  <a:lnTo>
                    <a:pt x="78" y="73"/>
                  </a:lnTo>
                  <a:lnTo>
                    <a:pt x="77" y="69"/>
                  </a:lnTo>
                  <a:lnTo>
                    <a:pt x="93" y="54"/>
                  </a:lnTo>
                  <a:lnTo>
                    <a:pt x="82" y="56"/>
                  </a:lnTo>
                  <a:lnTo>
                    <a:pt x="80" y="51"/>
                  </a:lnTo>
                  <a:lnTo>
                    <a:pt x="92" y="43"/>
                  </a:lnTo>
                  <a:lnTo>
                    <a:pt x="65" y="41"/>
                  </a:lnTo>
                  <a:lnTo>
                    <a:pt x="60" y="34"/>
                  </a:lnTo>
                  <a:lnTo>
                    <a:pt x="67" y="30"/>
                  </a:lnTo>
                  <a:lnTo>
                    <a:pt x="60" y="28"/>
                  </a:lnTo>
                  <a:lnTo>
                    <a:pt x="47" y="34"/>
                  </a:lnTo>
                  <a:lnTo>
                    <a:pt x="78" y="0"/>
                  </a:lnTo>
                  <a:lnTo>
                    <a:pt x="60" y="6"/>
                  </a:lnTo>
                  <a:lnTo>
                    <a:pt x="11" y="54"/>
                  </a:lnTo>
                  <a:lnTo>
                    <a:pt x="15" y="56"/>
                  </a:lnTo>
                  <a:lnTo>
                    <a:pt x="0" y="67"/>
                  </a:lnTo>
                  <a:lnTo>
                    <a:pt x="0" y="67"/>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16" name="Freeform 5864"/>
            <p:cNvSpPr>
              <a:spLocks/>
            </p:cNvSpPr>
            <p:nvPr>
              <p:custDataLst>
                <p:tags r:id="rId196"/>
              </p:custDataLst>
            </p:nvPr>
          </p:nvSpPr>
          <p:spPr bwMode="gray">
            <a:xfrm>
              <a:off x="5248569" y="2828215"/>
              <a:ext cx="112912" cy="59090"/>
            </a:xfrm>
            <a:custGeom>
              <a:avLst/>
              <a:gdLst/>
              <a:ahLst/>
              <a:cxnLst>
                <a:cxn ang="0">
                  <a:pos x="0" y="39"/>
                </a:cxn>
                <a:cxn ang="0">
                  <a:pos x="15" y="39"/>
                </a:cxn>
                <a:cxn ang="0">
                  <a:pos x="11" y="46"/>
                </a:cxn>
                <a:cxn ang="0">
                  <a:pos x="49" y="33"/>
                </a:cxn>
                <a:cxn ang="0">
                  <a:pos x="58" y="33"/>
                </a:cxn>
                <a:cxn ang="0">
                  <a:pos x="71" y="43"/>
                </a:cxn>
                <a:cxn ang="0">
                  <a:pos x="88" y="35"/>
                </a:cxn>
                <a:cxn ang="0">
                  <a:pos x="54" y="7"/>
                </a:cxn>
                <a:cxn ang="0">
                  <a:pos x="56" y="0"/>
                </a:cxn>
                <a:cxn ang="0">
                  <a:pos x="30" y="15"/>
                </a:cxn>
                <a:cxn ang="0">
                  <a:pos x="17" y="31"/>
                </a:cxn>
                <a:cxn ang="0">
                  <a:pos x="0" y="39"/>
                </a:cxn>
                <a:cxn ang="0">
                  <a:pos x="0" y="39"/>
                </a:cxn>
              </a:cxnLst>
              <a:rect l="0" t="0" r="r" b="b"/>
              <a:pathLst>
                <a:path w="88" h="46">
                  <a:moveTo>
                    <a:pt x="0" y="39"/>
                  </a:moveTo>
                  <a:lnTo>
                    <a:pt x="15" y="39"/>
                  </a:lnTo>
                  <a:lnTo>
                    <a:pt x="11" y="46"/>
                  </a:lnTo>
                  <a:lnTo>
                    <a:pt x="49" y="33"/>
                  </a:lnTo>
                  <a:lnTo>
                    <a:pt x="58" y="33"/>
                  </a:lnTo>
                  <a:lnTo>
                    <a:pt x="71" y="43"/>
                  </a:lnTo>
                  <a:lnTo>
                    <a:pt x="88" y="35"/>
                  </a:lnTo>
                  <a:lnTo>
                    <a:pt x="54" y="7"/>
                  </a:lnTo>
                  <a:lnTo>
                    <a:pt x="56" y="0"/>
                  </a:lnTo>
                  <a:lnTo>
                    <a:pt x="30" y="15"/>
                  </a:lnTo>
                  <a:lnTo>
                    <a:pt x="17" y="31"/>
                  </a:lnTo>
                  <a:lnTo>
                    <a:pt x="0" y="39"/>
                  </a:lnTo>
                  <a:lnTo>
                    <a:pt x="0" y="39"/>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17" name="Freeform 5865"/>
            <p:cNvSpPr>
              <a:spLocks/>
            </p:cNvSpPr>
            <p:nvPr>
              <p:custDataLst>
                <p:tags r:id="rId197"/>
              </p:custDataLst>
            </p:nvPr>
          </p:nvSpPr>
          <p:spPr bwMode="gray">
            <a:xfrm>
              <a:off x="5464128" y="2784540"/>
              <a:ext cx="43625" cy="21838"/>
            </a:xfrm>
            <a:custGeom>
              <a:avLst/>
              <a:gdLst/>
              <a:ahLst/>
              <a:cxnLst>
                <a:cxn ang="0">
                  <a:pos x="2" y="9"/>
                </a:cxn>
                <a:cxn ang="0">
                  <a:pos x="0" y="17"/>
                </a:cxn>
                <a:cxn ang="0">
                  <a:pos x="15" y="15"/>
                </a:cxn>
                <a:cxn ang="0">
                  <a:pos x="34" y="5"/>
                </a:cxn>
                <a:cxn ang="0">
                  <a:pos x="32" y="0"/>
                </a:cxn>
                <a:cxn ang="0">
                  <a:pos x="17" y="0"/>
                </a:cxn>
                <a:cxn ang="0">
                  <a:pos x="2" y="9"/>
                </a:cxn>
                <a:cxn ang="0">
                  <a:pos x="2" y="9"/>
                </a:cxn>
              </a:cxnLst>
              <a:rect l="0" t="0" r="r" b="b"/>
              <a:pathLst>
                <a:path w="34" h="17">
                  <a:moveTo>
                    <a:pt x="2" y="9"/>
                  </a:moveTo>
                  <a:lnTo>
                    <a:pt x="0" y="17"/>
                  </a:lnTo>
                  <a:lnTo>
                    <a:pt x="15" y="15"/>
                  </a:lnTo>
                  <a:lnTo>
                    <a:pt x="34" y="5"/>
                  </a:lnTo>
                  <a:lnTo>
                    <a:pt x="32" y="0"/>
                  </a:lnTo>
                  <a:lnTo>
                    <a:pt x="17" y="0"/>
                  </a:lnTo>
                  <a:lnTo>
                    <a:pt x="2" y="9"/>
                  </a:lnTo>
                  <a:lnTo>
                    <a:pt x="2" y="9"/>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18" name="Freeform 5866"/>
            <p:cNvSpPr>
              <a:spLocks/>
            </p:cNvSpPr>
            <p:nvPr>
              <p:custDataLst>
                <p:tags r:id="rId198"/>
              </p:custDataLst>
            </p:nvPr>
          </p:nvSpPr>
          <p:spPr bwMode="gray">
            <a:xfrm>
              <a:off x="5342235" y="2674068"/>
              <a:ext cx="355417" cy="242782"/>
            </a:xfrm>
            <a:custGeom>
              <a:avLst/>
              <a:gdLst/>
              <a:ahLst/>
              <a:cxnLst>
                <a:cxn ang="0">
                  <a:pos x="0" y="32"/>
                </a:cxn>
                <a:cxn ang="0">
                  <a:pos x="11" y="52"/>
                </a:cxn>
                <a:cxn ang="0">
                  <a:pos x="26" y="56"/>
                </a:cxn>
                <a:cxn ang="0">
                  <a:pos x="77" y="58"/>
                </a:cxn>
                <a:cxn ang="0">
                  <a:pos x="88" y="65"/>
                </a:cxn>
                <a:cxn ang="0">
                  <a:pos x="118" y="54"/>
                </a:cxn>
                <a:cxn ang="0">
                  <a:pos x="120" y="61"/>
                </a:cxn>
                <a:cxn ang="0">
                  <a:pos x="133" y="69"/>
                </a:cxn>
                <a:cxn ang="0">
                  <a:pos x="122" y="78"/>
                </a:cxn>
                <a:cxn ang="0">
                  <a:pos x="139" y="73"/>
                </a:cxn>
                <a:cxn ang="0">
                  <a:pos x="142" y="80"/>
                </a:cxn>
                <a:cxn ang="0">
                  <a:pos x="154" y="88"/>
                </a:cxn>
                <a:cxn ang="0">
                  <a:pos x="152" y="101"/>
                </a:cxn>
                <a:cxn ang="0">
                  <a:pos x="110" y="118"/>
                </a:cxn>
                <a:cxn ang="0">
                  <a:pos x="116" y="127"/>
                </a:cxn>
                <a:cxn ang="0">
                  <a:pos x="101" y="131"/>
                </a:cxn>
                <a:cxn ang="0">
                  <a:pos x="67" y="129"/>
                </a:cxn>
                <a:cxn ang="0">
                  <a:pos x="45" y="142"/>
                </a:cxn>
                <a:cxn ang="0">
                  <a:pos x="49" y="150"/>
                </a:cxn>
                <a:cxn ang="0">
                  <a:pos x="79" y="146"/>
                </a:cxn>
                <a:cxn ang="0">
                  <a:pos x="110" y="153"/>
                </a:cxn>
                <a:cxn ang="0">
                  <a:pos x="118" y="159"/>
                </a:cxn>
                <a:cxn ang="0">
                  <a:pos x="112" y="165"/>
                </a:cxn>
                <a:cxn ang="0">
                  <a:pos x="122" y="170"/>
                </a:cxn>
                <a:cxn ang="0">
                  <a:pos x="150" y="185"/>
                </a:cxn>
                <a:cxn ang="0">
                  <a:pos x="172" y="189"/>
                </a:cxn>
                <a:cxn ang="0">
                  <a:pos x="176" y="181"/>
                </a:cxn>
                <a:cxn ang="0">
                  <a:pos x="157" y="163"/>
                </a:cxn>
                <a:cxn ang="0">
                  <a:pos x="155" y="155"/>
                </a:cxn>
                <a:cxn ang="0">
                  <a:pos x="187" y="172"/>
                </a:cxn>
                <a:cxn ang="0">
                  <a:pos x="202" y="172"/>
                </a:cxn>
                <a:cxn ang="0">
                  <a:pos x="212" y="161"/>
                </a:cxn>
                <a:cxn ang="0">
                  <a:pos x="206" y="153"/>
                </a:cxn>
                <a:cxn ang="0">
                  <a:pos x="210" y="146"/>
                </a:cxn>
                <a:cxn ang="0">
                  <a:pos x="195" y="125"/>
                </a:cxn>
                <a:cxn ang="0">
                  <a:pos x="204" y="114"/>
                </a:cxn>
                <a:cxn ang="0">
                  <a:pos x="221" y="123"/>
                </a:cxn>
                <a:cxn ang="0">
                  <a:pos x="221" y="131"/>
                </a:cxn>
                <a:cxn ang="0">
                  <a:pos x="232" y="138"/>
                </a:cxn>
                <a:cxn ang="0">
                  <a:pos x="277" y="110"/>
                </a:cxn>
                <a:cxn ang="0">
                  <a:pos x="245" y="88"/>
                </a:cxn>
                <a:cxn ang="0">
                  <a:pos x="227" y="88"/>
                </a:cxn>
                <a:cxn ang="0">
                  <a:pos x="215" y="80"/>
                </a:cxn>
                <a:cxn ang="0">
                  <a:pos x="221" y="73"/>
                </a:cxn>
                <a:cxn ang="0">
                  <a:pos x="238" y="71"/>
                </a:cxn>
                <a:cxn ang="0">
                  <a:pos x="228" y="65"/>
                </a:cxn>
                <a:cxn ang="0">
                  <a:pos x="238" y="58"/>
                </a:cxn>
                <a:cxn ang="0">
                  <a:pos x="212" y="37"/>
                </a:cxn>
                <a:cxn ang="0">
                  <a:pos x="183" y="32"/>
                </a:cxn>
                <a:cxn ang="0">
                  <a:pos x="189" y="18"/>
                </a:cxn>
                <a:cxn ang="0">
                  <a:pos x="154" y="17"/>
                </a:cxn>
                <a:cxn ang="0">
                  <a:pos x="107" y="26"/>
                </a:cxn>
                <a:cxn ang="0">
                  <a:pos x="127" y="3"/>
                </a:cxn>
                <a:cxn ang="0">
                  <a:pos x="109" y="2"/>
                </a:cxn>
                <a:cxn ang="0">
                  <a:pos x="71" y="13"/>
                </a:cxn>
                <a:cxn ang="0">
                  <a:pos x="52" y="32"/>
                </a:cxn>
                <a:cxn ang="0">
                  <a:pos x="47" y="28"/>
                </a:cxn>
                <a:cxn ang="0">
                  <a:pos x="56" y="17"/>
                </a:cxn>
                <a:cxn ang="0">
                  <a:pos x="99" y="2"/>
                </a:cxn>
                <a:cxn ang="0">
                  <a:pos x="65" y="0"/>
                </a:cxn>
                <a:cxn ang="0">
                  <a:pos x="32" y="11"/>
                </a:cxn>
                <a:cxn ang="0">
                  <a:pos x="0" y="32"/>
                </a:cxn>
                <a:cxn ang="0">
                  <a:pos x="0" y="32"/>
                </a:cxn>
              </a:cxnLst>
              <a:rect l="0" t="0" r="r" b="b"/>
              <a:pathLst>
                <a:path w="277" h="189">
                  <a:moveTo>
                    <a:pt x="0" y="32"/>
                  </a:moveTo>
                  <a:lnTo>
                    <a:pt x="11" y="52"/>
                  </a:lnTo>
                  <a:lnTo>
                    <a:pt x="26" y="56"/>
                  </a:lnTo>
                  <a:lnTo>
                    <a:pt x="77" y="58"/>
                  </a:lnTo>
                  <a:lnTo>
                    <a:pt x="88" y="65"/>
                  </a:lnTo>
                  <a:lnTo>
                    <a:pt x="118" y="54"/>
                  </a:lnTo>
                  <a:lnTo>
                    <a:pt x="120" y="61"/>
                  </a:lnTo>
                  <a:lnTo>
                    <a:pt x="133" y="69"/>
                  </a:lnTo>
                  <a:lnTo>
                    <a:pt x="122" y="78"/>
                  </a:lnTo>
                  <a:lnTo>
                    <a:pt x="139" y="73"/>
                  </a:lnTo>
                  <a:lnTo>
                    <a:pt x="142" y="80"/>
                  </a:lnTo>
                  <a:lnTo>
                    <a:pt x="154" y="88"/>
                  </a:lnTo>
                  <a:lnTo>
                    <a:pt x="152" y="101"/>
                  </a:lnTo>
                  <a:lnTo>
                    <a:pt x="110" y="118"/>
                  </a:lnTo>
                  <a:lnTo>
                    <a:pt x="116" y="127"/>
                  </a:lnTo>
                  <a:lnTo>
                    <a:pt x="101" y="131"/>
                  </a:lnTo>
                  <a:lnTo>
                    <a:pt x="67" y="129"/>
                  </a:lnTo>
                  <a:lnTo>
                    <a:pt x="45" y="142"/>
                  </a:lnTo>
                  <a:lnTo>
                    <a:pt x="49" y="150"/>
                  </a:lnTo>
                  <a:lnTo>
                    <a:pt x="79" y="146"/>
                  </a:lnTo>
                  <a:lnTo>
                    <a:pt x="110" y="153"/>
                  </a:lnTo>
                  <a:lnTo>
                    <a:pt x="118" y="159"/>
                  </a:lnTo>
                  <a:lnTo>
                    <a:pt x="112" y="165"/>
                  </a:lnTo>
                  <a:lnTo>
                    <a:pt x="122" y="170"/>
                  </a:lnTo>
                  <a:lnTo>
                    <a:pt x="150" y="185"/>
                  </a:lnTo>
                  <a:lnTo>
                    <a:pt x="172" y="189"/>
                  </a:lnTo>
                  <a:lnTo>
                    <a:pt x="176" y="181"/>
                  </a:lnTo>
                  <a:lnTo>
                    <a:pt x="157" y="163"/>
                  </a:lnTo>
                  <a:lnTo>
                    <a:pt x="155" y="155"/>
                  </a:lnTo>
                  <a:lnTo>
                    <a:pt x="187" y="172"/>
                  </a:lnTo>
                  <a:lnTo>
                    <a:pt x="202" y="172"/>
                  </a:lnTo>
                  <a:lnTo>
                    <a:pt x="212" y="161"/>
                  </a:lnTo>
                  <a:lnTo>
                    <a:pt x="206" y="153"/>
                  </a:lnTo>
                  <a:lnTo>
                    <a:pt x="210" y="146"/>
                  </a:lnTo>
                  <a:lnTo>
                    <a:pt x="195" y="125"/>
                  </a:lnTo>
                  <a:lnTo>
                    <a:pt x="204" y="114"/>
                  </a:lnTo>
                  <a:lnTo>
                    <a:pt x="221" y="123"/>
                  </a:lnTo>
                  <a:lnTo>
                    <a:pt x="221" y="131"/>
                  </a:lnTo>
                  <a:lnTo>
                    <a:pt x="232" y="138"/>
                  </a:lnTo>
                  <a:lnTo>
                    <a:pt x="277" y="110"/>
                  </a:lnTo>
                  <a:lnTo>
                    <a:pt x="245" y="88"/>
                  </a:lnTo>
                  <a:lnTo>
                    <a:pt x="227" y="88"/>
                  </a:lnTo>
                  <a:lnTo>
                    <a:pt x="215" y="80"/>
                  </a:lnTo>
                  <a:lnTo>
                    <a:pt x="221" y="73"/>
                  </a:lnTo>
                  <a:lnTo>
                    <a:pt x="238" y="71"/>
                  </a:lnTo>
                  <a:lnTo>
                    <a:pt x="228" y="65"/>
                  </a:lnTo>
                  <a:lnTo>
                    <a:pt x="238" y="58"/>
                  </a:lnTo>
                  <a:lnTo>
                    <a:pt x="212" y="37"/>
                  </a:lnTo>
                  <a:lnTo>
                    <a:pt x="183" y="32"/>
                  </a:lnTo>
                  <a:lnTo>
                    <a:pt x="189" y="18"/>
                  </a:lnTo>
                  <a:lnTo>
                    <a:pt x="154" y="17"/>
                  </a:lnTo>
                  <a:lnTo>
                    <a:pt x="107" y="26"/>
                  </a:lnTo>
                  <a:lnTo>
                    <a:pt x="127" y="3"/>
                  </a:lnTo>
                  <a:lnTo>
                    <a:pt x="109" y="2"/>
                  </a:lnTo>
                  <a:lnTo>
                    <a:pt x="71" y="13"/>
                  </a:lnTo>
                  <a:lnTo>
                    <a:pt x="52" y="32"/>
                  </a:lnTo>
                  <a:lnTo>
                    <a:pt x="47" y="28"/>
                  </a:lnTo>
                  <a:lnTo>
                    <a:pt x="56" y="17"/>
                  </a:lnTo>
                  <a:lnTo>
                    <a:pt x="99" y="2"/>
                  </a:lnTo>
                  <a:lnTo>
                    <a:pt x="65" y="0"/>
                  </a:lnTo>
                  <a:lnTo>
                    <a:pt x="32" y="11"/>
                  </a:lnTo>
                  <a:lnTo>
                    <a:pt x="0" y="32"/>
                  </a:lnTo>
                  <a:lnTo>
                    <a:pt x="0" y="32"/>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19" name="Freeform 5867"/>
            <p:cNvSpPr>
              <a:spLocks/>
            </p:cNvSpPr>
            <p:nvPr>
              <p:custDataLst>
                <p:tags r:id="rId199"/>
              </p:custDataLst>
            </p:nvPr>
          </p:nvSpPr>
          <p:spPr bwMode="gray">
            <a:xfrm>
              <a:off x="5502621" y="2676637"/>
              <a:ext cx="65438" cy="19268"/>
            </a:xfrm>
            <a:custGeom>
              <a:avLst/>
              <a:gdLst/>
              <a:ahLst/>
              <a:cxnLst>
                <a:cxn ang="0">
                  <a:pos x="12" y="0"/>
                </a:cxn>
                <a:cxn ang="0">
                  <a:pos x="0" y="11"/>
                </a:cxn>
                <a:cxn ang="0">
                  <a:pos x="14" y="15"/>
                </a:cxn>
                <a:cxn ang="0">
                  <a:pos x="43" y="13"/>
                </a:cxn>
                <a:cxn ang="0">
                  <a:pos x="51" y="1"/>
                </a:cxn>
                <a:cxn ang="0">
                  <a:pos x="12" y="0"/>
                </a:cxn>
                <a:cxn ang="0">
                  <a:pos x="12" y="0"/>
                </a:cxn>
              </a:cxnLst>
              <a:rect l="0" t="0" r="r" b="b"/>
              <a:pathLst>
                <a:path w="51" h="15">
                  <a:moveTo>
                    <a:pt x="12" y="0"/>
                  </a:moveTo>
                  <a:lnTo>
                    <a:pt x="0" y="11"/>
                  </a:lnTo>
                  <a:lnTo>
                    <a:pt x="14" y="15"/>
                  </a:lnTo>
                  <a:lnTo>
                    <a:pt x="43" y="13"/>
                  </a:lnTo>
                  <a:lnTo>
                    <a:pt x="51" y="1"/>
                  </a:lnTo>
                  <a:lnTo>
                    <a:pt x="12" y="0"/>
                  </a:lnTo>
                  <a:lnTo>
                    <a:pt x="12"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20" name="Freeform 5868"/>
            <p:cNvSpPr>
              <a:spLocks/>
            </p:cNvSpPr>
            <p:nvPr>
              <p:custDataLst>
                <p:tags r:id="rId200"/>
              </p:custDataLst>
            </p:nvPr>
          </p:nvSpPr>
          <p:spPr bwMode="gray">
            <a:xfrm>
              <a:off x="5243436" y="2603417"/>
              <a:ext cx="21813" cy="12846"/>
            </a:xfrm>
            <a:custGeom>
              <a:avLst/>
              <a:gdLst/>
              <a:ahLst/>
              <a:cxnLst>
                <a:cxn ang="0">
                  <a:pos x="6" y="2"/>
                </a:cxn>
                <a:cxn ang="0">
                  <a:pos x="0" y="8"/>
                </a:cxn>
                <a:cxn ang="0">
                  <a:pos x="13" y="10"/>
                </a:cxn>
                <a:cxn ang="0">
                  <a:pos x="17" y="0"/>
                </a:cxn>
                <a:cxn ang="0">
                  <a:pos x="6" y="2"/>
                </a:cxn>
                <a:cxn ang="0">
                  <a:pos x="6" y="2"/>
                </a:cxn>
              </a:cxnLst>
              <a:rect l="0" t="0" r="r" b="b"/>
              <a:pathLst>
                <a:path w="17" h="10">
                  <a:moveTo>
                    <a:pt x="6" y="2"/>
                  </a:moveTo>
                  <a:lnTo>
                    <a:pt x="0" y="8"/>
                  </a:lnTo>
                  <a:lnTo>
                    <a:pt x="13" y="10"/>
                  </a:lnTo>
                  <a:lnTo>
                    <a:pt x="17" y="0"/>
                  </a:lnTo>
                  <a:lnTo>
                    <a:pt x="6" y="2"/>
                  </a:lnTo>
                  <a:lnTo>
                    <a:pt x="6" y="2"/>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21" name="Freeform 5869"/>
            <p:cNvSpPr>
              <a:spLocks/>
            </p:cNvSpPr>
            <p:nvPr>
              <p:custDataLst>
                <p:tags r:id="rId201"/>
              </p:custDataLst>
            </p:nvPr>
          </p:nvSpPr>
          <p:spPr bwMode="gray">
            <a:xfrm>
              <a:off x="5234455" y="2620116"/>
              <a:ext cx="91100" cy="32114"/>
            </a:xfrm>
            <a:custGeom>
              <a:avLst/>
              <a:gdLst/>
              <a:ahLst/>
              <a:cxnLst>
                <a:cxn ang="0">
                  <a:pos x="0" y="2"/>
                </a:cxn>
                <a:cxn ang="0">
                  <a:pos x="0" y="19"/>
                </a:cxn>
                <a:cxn ang="0">
                  <a:pos x="18" y="17"/>
                </a:cxn>
                <a:cxn ang="0">
                  <a:pos x="18" y="25"/>
                </a:cxn>
                <a:cxn ang="0">
                  <a:pos x="45" y="25"/>
                </a:cxn>
                <a:cxn ang="0">
                  <a:pos x="71" y="6"/>
                </a:cxn>
                <a:cxn ang="0">
                  <a:pos x="41" y="0"/>
                </a:cxn>
                <a:cxn ang="0">
                  <a:pos x="20" y="12"/>
                </a:cxn>
                <a:cxn ang="0">
                  <a:pos x="11" y="2"/>
                </a:cxn>
                <a:cxn ang="0">
                  <a:pos x="0" y="2"/>
                </a:cxn>
                <a:cxn ang="0">
                  <a:pos x="0" y="2"/>
                </a:cxn>
              </a:cxnLst>
              <a:rect l="0" t="0" r="r" b="b"/>
              <a:pathLst>
                <a:path w="71" h="25">
                  <a:moveTo>
                    <a:pt x="0" y="2"/>
                  </a:moveTo>
                  <a:lnTo>
                    <a:pt x="0" y="19"/>
                  </a:lnTo>
                  <a:lnTo>
                    <a:pt x="18" y="17"/>
                  </a:lnTo>
                  <a:lnTo>
                    <a:pt x="18" y="25"/>
                  </a:lnTo>
                  <a:lnTo>
                    <a:pt x="45" y="25"/>
                  </a:lnTo>
                  <a:lnTo>
                    <a:pt x="71" y="6"/>
                  </a:lnTo>
                  <a:lnTo>
                    <a:pt x="41" y="0"/>
                  </a:lnTo>
                  <a:lnTo>
                    <a:pt x="20" y="12"/>
                  </a:lnTo>
                  <a:lnTo>
                    <a:pt x="11" y="2"/>
                  </a:lnTo>
                  <a:lnTo>
                    <a:pt x="0" y="2"/>
                  </a:lnTo>
                  <a:lnTo>
                    <a:pt x="0" y="2"/>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22" name="Freeform 5870"/>
            <p:cNvSpPr>
              <a:spLocks/>
            </p:cNvSpPr>
            <p:nvPr>
              <p:custDataLst>
                <p:tags r:id="rId202"/>
              </p:custDataLst>
            </p:nvPr>
          </p:nvSpPr>
          <p:spPr bwMode="gray">
            <a:xfrm>
              <a:off x="5199811" y="2644523"/>
              <a:ext cx="19246" cy="5138"/>
            </a:xfrm>
            <a:custGeom>
              <a:avLst/>
              <a:gdLst/>
              <a:ahLst/>
              <a:cxnLst>
                <a:cxn ang="0">
                  <a:pos x="0" y="4"/>
                </a:cxn>
                <a:cxn ang="0">
                  <a:pos x="15" y="4"/>
                </a:cxn>
                <a:cxn ang="0">
                  <a:pos x="14" y="0"/>
                </a:cxn>
                <a:cxn ang="0">
                  <a:pos x="0" y="4"/>
                </a:cxn>
                <a:cxn ang="0">
                  <a:pos x="0" y="4"/>
                </a:cxn>
              </a:cxnLst>
              <a:rect l="0" t="0" r="r" b="b"/>
              <a:pathLst>
                <a:path w="15" h="4">
                  <a:moveTo>
                    <a:pt x="0" y="4"/>
                  </a:moveTo>
                  <a:lnTo>
                    <a:pt x="15" y="4"/>
                  </a:lnTo>
                  <a:lnTo>
                    <a:pt x="14" y="0"/>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23" name="Freeform 5871"/>
            <p:cNvSpPr>
              <a:spLocks/>
            </p:cNvSpPr>
            <p:nvPr>
              <p:custDataLst>
                <p:tags r:id="rId203"/>
              </p:custDataLst>
            </p:nvPr>
          </p:nvSpPr>
          <p:spPr bwMode="gray">
            <a:xfrm>
              <a:off x="5176716" y="2668929"/>
              <a:ext cx="102647" cy="55236"/>
            </a:xfrm>
            <a:custGeom>
              <a:avLst/>
              <a:gdLst/>
              <a:ahLst/>
              <a:cxnLst>
                <a:cxn ang="0">
                  <a:pos x="2" y="19"/>
                </a:cxn>
                <a:cxn ang="0">
                  <a:pos x="0" y="28"/>
                </a:cxn>
                <a:cxn ang="0">
                  <a:pos x="13" y="28"/>
                </a:cxn>
                <a:cxn ang="0">
                  <a:pos x="20" y="43"/>
                </a:cxn>
                <a:cxn ang="0">
                  <a:pos x="58" y="34"/>
                </a:cxn>
                <a:cxn ang="0">
                  <a:pos x="73" y="17"/>
                </a:cxn>
                <a:cxn ang="0">
                  <a:pos x="60" y="15"/>
                </a:cxn>
                <a:cxn ang="0">
                  <a:pos x="78" y="7"/>
                </a:cxn>
                <a:cxn ang="0">
                  <a:pos x="80" y="0"/>
                </a:cxn>
                <a:cxn ang="0">
                  <a:pos x="35" y="4"/>
                </a:cxn>
                <a:cxn ang="0">
                  <a:pos x="28" y="9"/>
                </a:cxn>
                <a:cxn ang="0">
                  <a:pos x="32" y="17"/>
                </a:cxn>
                <a:cxn ang="0">
                  <a:pos x="2" y="19"/>
                </a:cxn>
                <a:cxn ang="0">
                  <a:pos x="2" y="19"/>
                </a:cxn>
              </a:cxnLst>
              <a:rect l="0" t="0" r="r" b="b"/>
              <a:pathLst>
                <a:path w="80" h="43">
                  <a:moveTo>
                    <a:pt x="2" y="19"/>
                  </a:moveTo>
                  <a:lnTo>
                    <a:pt x="0" y="28"/>
                  </a:lnTo>
                  <a:lnTo>
                    <a:pt x="13" y="28"/>
                  </a:lnTo>
                  <a:lnTo>
                    <a:pt x="20" y="43"/>
                  </a:lnTo>
                  <a:lnTo>
                    <a:pt x="58" y="34"/>
                  </a:lnTo>
                  <a:lnTo>
                    <a:pt x="73" y="17"/>
                  </a:lnTo>
                  <a:lnTo>
                    <a:pt x="60" y="15"/>
                  </a:lnTo>
                  <a:lnTo>
                    <a:pt x="78" y="7"/>
                  </a:lnTo>
                  <a:lnTo>
                    <a:pt x="80" y="0"/>
                  </a:lnTo>
                  <a:lnTo>
                    <a:pt x="35" y="4"/>
                  </a:lnTo>
                  <a:lnTo>
                    <a:pt x="28" y="9"/>
                  </a:lnTo>
                  <a:lnTo>
                    <a:pt x="32" y="17"/>
                  </a:lnTo>
                  <a:lnTo>
                    <a:pt x="2" y="19"/>
                  </a:lnTo>
                  <a:lnTo>
                    <a:pt x="2" y="19"/>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24" name="Freeform 5872"/>
            <p:cNvSpPr>
              <a:spLocks/>
            </p:cNvSpPr>
            <p:nvPr>
              <p:custDataLst>
                <p:tags r:id="rId204"/>
              </p:custDataLst>
            </p:nvPr>
          </p:nvSpPr>
          <p:spPr bwMode="gray">
            <a:xfrm>
              <a:off x="5160035" y="2591856"/>
              <a:ext cx="66721" cy="5138"/>
            </a:xfrm>
            <a:custGeom>
              <a:avLst/>
              <a:gdLst/>
              <a:ahLst/>
              <a:cxnLst>
                <a:cxn ang="0">
                  <a:pos x="0" y="4"/>
                </a:cxn>
                <a:cxn ang="0">
                  <a:pos x="52" y="0"/>
                </a:cxn>
                <a:cxn ang="0">
                  <a:pos x="0" y="4"/>
                </a:cxn>
                <a:cxn ang="0">
                  <a:pos x="0" y="4"/>
                </a:cxn>
              </a:cxnLst>
              <a:rect l="0" t="0" r="r" b="b"/>
              <a:pathLst>
                <a:path w="52" h="4">
                  <a:moveTo>
                    <a:pt x="0" y="4"/>
                  </a:moveTo>
                  <a:lnTo>
                    <a:pt x="52" y="0"/>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25" name="Freeform 5873"/>
            <p:cNvSpPr>
              <a:spLocks/>
            </p:cNvSpPr>
            <p:nvPr>
              <p:custDataLst>
                <p:tags r:id="rId205"/>
              </p:custDataLst>
            </p:nvPr>
          </p:nvSpPr>
          <p:spPr bwMode="gray">
            <a:xfrm>
              <a:off x="5125392" y="2599563"/>
              <a:ext cx="21813" cy="3854"/>
            </a:xfrm>
            <a:custGeom>
              <a:avLst/>
              <a:gdLst/>
              <a:ahLst/>
              <a:cxnLst>
                <a:cxn ang="0">
                  <a:pos x="0" y="1"/>
                </a:cxn>
                <a:cxn ang="0">
                  <a:pos x="12" y="3"/>
                </a:cxn>
                <a:cxn ang="0">
                  <a:pos x="17" y="0"/>
                </a:cxn>
                <a:cxn ang="0">
                  <a:pos x="0" y="1"/>
                </a:cxn>
                <a:cxn ang="0">
                  <a:pos x="0" y="1"/>
                </a:cxn>
              </a:cxnLst>
              <a:rect l="0" t="0" r="r" b="b"/>
              <a:pathLst>
                <a:path w="17" h="3">
                  <a:moveTo>
                    <a:pt x="0" y="1"/>
                  </a:moveTo>
                  <a:lnTo>
                    <a:pt x="12" y="3"/>
                  </a:lnTo>
                  <a:lnTo>
                    <a:pt x="17" y="0"/>
                  </a:lnTo>
                  <a:lnTo>
                    <a:pt x="0" y="1"/>
                  </a:lnTo>
                  <a:lnTo>
                    <a:pt x="0" y="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26" name="Freeform 5874"/>
            <p:cNvSpPr>
              <a:spLocks/>
            </p:cNvSpPr>
            <p:nvPr>
              <p:custDataLst>
                <p:tags r:id="rId206"/>
              </p:custDataLst>
            </p:nvPr>
          </p:nvSpPr>
          <p:spPr bwMode="gray">
            <a:xfrm>
              <a:off x="5142072" y="2599563"/>
              <a:ext cx="60305" cy="11561"/>
            </a:xfrm>
            <a:custGeom>
              <a:avLst/>
              <a:gdLst/>
              <a:ahLst/>
              <a:cxnLst>
                <a:cxn ang="0">
                  <a:pos x="4" y="3"/>
                </a:cxn>
                <a:cxn ang="0">
                  <a:pos x="0" y="7"/>
                </a:cxn>
                <a:cxn ang="0">
                  <a:pos x="14" y="9"/>
                </a:cxn>
                <a:cxn ang="0">
                  <a:pos x="47" y="0"/>
                </a:cxn>
                <a:cxn ang="0">
                  <a:pos x="4" y="3"/>
                </a:cxn>
                <a:cxn ang="0">
                  <a:pos x="4" y="3"/>
                </a:cxn>
              </a:cxnLst>
              <a:rect l="0" t="0" r="r" b="b"/>
              <a:pathLst>
                <a:path w="47" h="9">
                  <a:moveTo>
                    <a:pt x="4" y="3"/>
                  </a:moveTo>
                  <a:lnTo>
                    <a:pt x="0" y="7"/>
                  </a:lnTo>
                  <a:lnTo>
                    <a:pt x="14" y="9"/>
                  </a:lnTo>
                  <a:lnTo>
                    <a:pt x="47" y="0"/>
                  </a:lnTo>
                  <a:lnTo>
                    <a:pt x="4" y="3"/>
                  </a:lnTo>
                  <a:lnTo>
                    <a:pt x="4" y="3"/>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27" name="Freeform 5875"/>
            <p:cNvSpPr>
              <a:spLocks/>
            </p:cNvSpPr>
            <p:nvPr>
              <p:custDataLst>
                <p:tags r:id="rId207"/>
              </p:custDataLst>
            </p:nvPr>
          </p:nvSpPr>
          <p:spPr bwMode="gray">
            <a:xfrm>
              <a:off x="5008630" y="2632962"/>
              <a:ext cx="38493" cy="11561"/>
            </a:xfrm>
            <a:custGeom>
              <a:avLst/>
              <a:gdLst/>
              <a:ahLst/>
              <a:cxnLst>
                <a:cxn ang="0">
                  <a:pos x="0" y="7"/>
                </a:cxn>
                <a:cxn ang="0">
                  <a:pos x="7" y="9"/>
                </a:cxn>
                <a:cxn ang="0">
                  <a:pos x="30" y="0"/>
                </a:cxn>
                <a:cxn ang="0">
                  <a:pos x="0" y="7"/>
                </a:cxn>
                <a:cxn ang="0">
                  <a:pos x="0" y="7"/>
                </a:cxn>
              </a:cxnLst>
              <a:rect l="0" t="0" r="r" b="b"/>
              <a:pathLst>
                <a:path w="30" h="9">
                  <a:moveTo>
                    <a:pt x="0" y="7"/>
                  </a:moveTo>
                  <a:lnTo>
                    <a:pt x="7" y="9"/>
                  </a:lnTo>
                  <a:lnTo>
                    <a:pt x="30" y="0"/>
                  </a:lnTo>
                  <a:lnTo>
                    <a:pt x="0" y="7"/>
                  </a:lnTo>
                  <a:lnTo>
                    <a:pt x="0" y="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28" name="Freeform 5876"/>
            <p:cNvSpPr>
              <a:spLocks/>
            </p:cNvSpPr>
            <p:nvPr>
              <p:custDataLst>
                <p:tags r:id="rId208"/>
              </p:custDataLst>
            </p:nvPr>
          </p:nvSpPr>
          <p:spPr bwMode="gray">
            <a:xfrm>
              <a:off x="4959873" y="2611124"/>
              <a:ext cx="148839" cy="26976"/>
            </a:xfrm>
            <a:custGeom>
              <a:avLst/>
              <a:gdLst/>
              <a:ahLst/>
              <a:cxnLst>
                <a:cxn ang="0">
                  <a:pos x="0" y="15"/>
                </a:cxn>
                <a:cxn ang="0">
                  <a:pos x="4" y="21"/>
                </a:cxn>
                <a:cxn ang="0">
                  <a:pos x="30" y="21"/>
                </a:cxn>
                <a:cxn ang="0">
                  <a:pos x="62" y="11"/>
                </a:cxn>
                <a:cxn ang="0">
                  <a:pos x="73" y="15"/>
                </a:cxn>
                <a:cxn ang="0">
                  <a:pos x="116" y="0"/>
                </a:cxn>
                <a:cxn ang="0">
                  <a:pos x="77" y="0"/>
                </a:cxn>
                <a:cxn ang="0">
                  <a:pos x="0" y="15"/>
                </a:cxn>
                <a:cxn ang="0">
                  <a:pos x="0" y="15"/>
                </a:cxn>
              </a:cxnLst>
              <a:rect l="0" t="0" r="r" b="b"/>
              <a:pathLst>
                <a:path w="116" h="21">
                  <a:moveTo>
                    <a:pt x="0" y="15"/>
                  </a:moveTo>
                  <a:lnTo>
                    <a:pt x="4" y="21"/>
                  </a:lnTo>
                  <a:lnTo>
                    <a:pt x="30" y="21"/>
                  </a:lnTo>
                  <a:lnTo>
                    <a:pt x="62" y="11"/>
                  </a:lnTo>
                  <a:lnTo>
                    <a:pt x="73" y="15"/>
                  </a:lnTo>
                  <a:lnTo>
                    <a:pt x="116" y="0"/>
                  </a:lnTo>
                  <a:lnTo>
                    <a:pt x="77" y="0"/>
                  </a:lnTo>
                  <a:lnTo>
                    <a:pt x="0" y="15"/>
                  </a:lnTo>
                  <a:lnTo>
                    <a:pt x="0" y="15"/>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29" name="Freeform 5877"/>
            <p:cNvSpPr>
              <a:spLocks/>
            </p:cNvSpPr>
            <p:nvPr>
              <p:custDataLst>
                <p:tags r:id="rId209"/>
              </p:custDataLst>
            </p:nvPr>
          </p:nvSpPr>
          <p:spPr bwMode="gray">
            <a:xfrm>
              <a:off x="5022744" y="2620116"/>
              <a:ext cx="182199" cy="43675"/>
            </a:xfrm>
            <a:custGeom>
              <a:avLst/>
              <a:gdLst/>
              <a:ahLst/>
              <a:cxnLst>
                <a:cxn ang="0">
                  <a:pos x="0" y="21"/>
                </a:cxn>
                <a:cxn ang="0">
                  <a:pos x="20" y="25"/>
                </a:cxn>
                <a:cxn ang="0">
                  <a:pos x="37" y="21"/>
                </a:cxn>
                <a:cxn ang="0">
                  <a:pos x="43" y="27"/>
                </a:cxn>
                <a:cxn ang="0">
                  <a:pos x="24" y="30"/>
                </a:cxn>
                <a:cxn ang="0">
                  <a:pos x="39" y="34"/>
                </a:cxn>
                <a:cxn ang="0">
                  <a:pos x="122" y="25"/>
                </a:cxn>
                <a:cxn ang="0">
                  <a:pos x="142" y="14"/>
                </a:cxn>
                <a:cxn ang="0">
                  <a:pos x="120" y="8"/>
                </a:cxn>
                <a:cxn ang="0">
                  <a:pos x="123" y="0"/>
                </a:cxn>
                <a:cxn ang="0">
                  <a:pos x="95" y="8"/>
                </a:cxn>
                <a:cxn ang="0">
                  <a:pos x="103" y="10"/>
                </a:cxn>
                <a:cxn ang="0">
                  <a:pos x="95" y="14"/>
                </a:cxn>
                <a:cxn ang="0">
                  <a:pos x="95" y="19"/>
                </a:cxn>
                <a:cxn ang="0">
                  <a:pos x="75" y="17"/>
                </a:cxn>
                <a:cxn ang="0">
                  <a:pos x="73" y="10"/>
                </a:cxn>
                <a:cxn ang="0">
                  <a:pos x="47" y="6"/>
                </a:cxn>
                <a:cxn ang="0">
                  <a:pos x="0" y="21"/>
                </a:cxn>
                <a:cxn ang="0">
                  <a:pos x="0" y="21"/>
                </a:cxn>
              </a:cxnLst>
              <a:rect l="0" t="0" r="r" b="b"/>
              <a:pathLst>
                <a:path w="142" h="34">
                  <a:moveTo>
                    <a:pt x="0" y="21"/>
                  </a:moveTo>
                  <a:lnTo>
                    <a:pt x="20" y="25"/>
                  </a:lnTo>
                  <a:lnTo>
                    <a:pt x="37" y="21"/>
                  </a:lnTo>
                  <a:lnTo>
                    <a:pt x="43" y="27"/>
                  </a:lnTo>
                  <a:lnTo>
                    <a:pt x="24" y="30"/>
                  </a:lnTo>
                  <a:lnTo>
                    <a:pt x="39" y="34"/>
                  </a:lnTo>
                  <a:lnTo>
                    <a:pt x="122" y="25"/>
                  </a:lnTo>
                  <a:lnTo>
                    <a:pt x="142" y="14"/>
                  </a:lnTo>
                  <a:lnTo>
                    <a:pt x="120" y="8"/>
                  </a:lnTo>
                  <a:lnTo>
                    <a:pt x="123" y="0"/>
                  </a:lnTo>
                  <a:lnTo>
                    <a:pt x="95" y="8"/>
                  </a:lnTo>
                  <a:lnTo>
                    <a:pt x="103" y="10"/>
                  </a:lnTo>
                  <a:lnTo>
                    <a:pt x="95" y="14"/>
                  </a:lnTo>
                  <a:lnTo>
                    <a:pt x="95" y="19"/>
                  </a:lnTo>
                  <a:lnTo>
                    <a:pt x="75" y="17"/>
                  </a:lnTo>
                  <a:lnTo>
                    <a:pt x="73" y="10"/>
                  </a:lnTo>
                  <a:lnTo>
                    <a:pt x="47" y="6"/>
                  </a:lnTo>
                  <a:lnTo>
                    <a:pt x="0" y="21"/>
                  </a:lnTo>
                  <a:lnTo>
                    <a:pt x="0" y="21"/>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30" name="Freeform 5878"/>
            <p:cNvSpPr>
              <a:spLocks/>
            </p:cNvSpPr>
            <p:nvPr>
              <p:custDataLst>
                <p:tags r:id="rId210"/>
              </p:custDataLst>
            </p:nvPr>
          </p:nvSpPr>
          <p:spPr bwMode="gray">
            <a:xfrm>
              <a:off x="4902134" y="2677921"/>
              <a:ext cx="269449" cy="98911"/>
            </a:xfrm>
            <a:custGeom>
              <a:avLst/>
              <a:gdLst/>
              <a:ahLst/>
              <a:cxnLst>
                <a:cxn ang="0">
                  <a:pos x="9" y="30"/>
                </a:cxn>
                <a:cxn ang="0">
                  <a:pos x="19" y="34"/>
                </a:cxn>
                <a:cxn ang="0">
                  <a:pos x="9" y="40"/>
                </a:cxn>
                <a:cxn ang="0">
                  <a:pos x="15" y="44"/>
                </a:cxn>
                <a:cxn ang="0">
                  <a:pos x="60" y="49"/>
                </a:cxn>
                <a:cxn ang="0">
                  <a:pos x="8" y="53"/>
                </a:cxn>
                <a:cxn ang="0">
                  <a:pos x="0" y="62"/>
                </a:cxn>
                <a:cxn ang="0">
                  <a:pos x="28" y="66"/>
                </a:cxn>
                <a:cxn ang="0">
                  <a:pos x="24" y="77"/>
                </a:cxn>
                <a:cxn ang="0">
                  <a:pos x="124" y="62"/>
                </a:cxn>
                <a:cxn ang="0">
                  <a:pos x="139" y="72"/>
                </a:cxn>
                <a:cxn ang="0">
                  <a:pos x="156" y="70"/>
                </a:cxn>
                <a:cxn ang="0">
                  <a:pos x="197" y="51"/>
                </a:cxn>
                <a:cxn ang="0">
                  <a:pos x="167" y="45"/>
                </a:cxn>
                <a:cxn ang="0">
                  <a:pos x="163" y="40"/>
                </a:cxn>
                <a:cxn ang="0">
                  <a:pos x="174" y="30"/>
                </a:cxn>
                <a:cxn ang="0">
                  <a:pos x="180" y="15"/>
                </a:cxn>
                <a:cxn ang="0">
                  <a:pos x="210" y="4"/>
                </a:cxn>
                <a:cxn ang="0">
                  <a:pos x="187" y="0"/>
                </a:cxn>
                <a:cxn ang="0">
                  <a:pos x="154" y="15"/>
                </a:cxn>
                <a:cxn ang="0">
                  <a:pos x="116" y="10"/>
                </a:cxn>
                <a:cxn ang="0">
                  <a:pos x="94" y="14"/>
                </a:cxn>
                <a:cxn ang="0">
                  <a:pos x="101" y="4"/>
                </a:cxn>
                <a:cxn ang="0">
                  <a:pos x="88" y="4"/>
                </a:cxn>
                <a:cxn ang="0">
                  <a:pos x="39" y="15"/>
                </a:cxn>
                <a:cxn ang="0">
                  <a:pos x="9" y="30"/>
                </a:cxn>
                <a:cxn ang="0">
                  <a:pos x="9" y="30"/>
                </a:cxn>
              </a:cxnLst>
              <a:rect l="0" t="0" r="r" b="b"/>
              <a:pathLst>
                <a:path w="210" h="77">
                  <a:moveTo>
                    <a:pt x="9" y="30"/>
                  </a:moveTo>
                  <a:lnTo>
                    <a:pt x="19" y="34"/>
                  </a:lnTo>
                  <a:lnTo>
                    <a:pt x="9" y="40"/>
                  </a:lnTo>
                  <a:lnTo>
                    <a:pt x="15" y="44"/>
                  </a:lnTo>
                  <a:lnTo>
                    <a:pt x="60" y="49"/>
                  </a:lnTo>
                  <a:lnTo>
                    <a:pt x="8" y="53"/>
                  </a:lnTo>
                  <a:lnTo>
                    <a:pt x="0" y="62"/>
                  </a:lnTo>
                  <a:lnTo>
                    <a:pt x="28" y="66"/>
                  </a:lnTo>
                  <a:lnTo>
                    <a:pt x="24" y="77"/>
                  </a:lnTo>
                  <a:lnTo>
                    <a:pt x="124" y="62"/>
                  </a:lnTo>
                  <a:lnTo>
                    <a:pt x="139" y="72"/>
                  </a:lnTo>
                  <a:lnTo>
                    <a:pt x="156" y="70"/>
                  </a:lnTo>
                  <a:lnTo>
                    <a:pt x="197" y="51"/>
                  </a:lnTo>
                  <a:lnTo>
                    <a:pt x="167" y="45"/>
                  </a:lnTo>
                  <a:lnTo>
                    <a:pt x="163" y="40"/>
                  </a:lnTo>
                  <a:lnTo>
                    <a:pt x="174" y="30"/>
                  </a:lnTo>
                  <a:lnTo>
                    <a:pt x="180" y="15"/>
                  </a:lnTo>
                  <a:lnTo>
                    <a:pt x="210" y="4"/>
                  </a:lnTo>
                  <a:lnTo>
                    <a:pt x="187" y="0"/>
                  </a:lnTo>
                  <a:lnTo>
                    <a:pt x="154" y="15"/>
                  </a:lnTo>
                  <a:lnTo>
                    <a:pt x="116" y="10"/>
                  </a:lnTo>
                  <a:lnTo>
                    <a:pt x="94" y="14"/>
                  </a:lnTo>
                  <a:lnTo>
                    <a:pt x="101" y="4"/>
                  </a:lnTo>
                  <a:lnTo>
                    <a:pt x="88" y="4"/>
                  </a:lnTo>
                  <a:lnTo>
                    <a:pt x="39" y="15"/>
                  </a:lnTo>
                  <a:lnTo>
                    <a:pt x="9" y="30"/>
                  </a:lnTo>
                  <a:lnTo>
                    <a:pt x="9" y="3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31" name="Freeform 5879"/>
            <p:cNvSpPr>
              <a:spLocks/>
            </p:cNvSpPr>
            <p:nvPr>
              <p:custDataLst>
                <p:tags r:id="rId211"/>
              </p:custDataLst>
            </p:nvPr>
          </p:nvSpPr>
          <p:spPr bwMode="gray">
            <a:xfrm>
              <a:off x="4832847" y="2661222"/>
              <a:ext cx="182199" cy="68082"/>
            </a:xfrm>
            <a:custGeom>
              <a:avLst/>
              <a:gdLst/>
              <a:ahLst/>
              <a:cxnLst>
                <a:cxn ang="0">
                  <a:pos x="0" y="36"/>
                </a:cxn>
                <a:cxn ang="0">
                  <a:pos x="9" y="42"/>
                </a:cxn>
                <a:cxn ang="0">
                  <a:pos x="5" y="53"/>
                </a:cxn>
                <a:cxn ang="0">
                  <a:pos x="41" y="47"/>
                </a:cxn>
                <a:cxn ang="0">
                  <a:pos x="78" y="28"/>
                </a:cxn>
                <a:cxn ang="0">
                  <a:pos x="142" y="15"/>
                </a:cxn>
                <a:cxn ang="0">
                  <a:pos x="131" y="4"/>
                </a:cxn>
                <a:cxn ang="0">
                  <a:pos x="95" y="0"/>
                </a:cxn>
                <a:cxn ang="0">
                  <a:pos x="50" y="8"/>
                </a:cxn>
                <a:cxn ang="0">
                  <a:pos x="47" y="15"/>
                </a:cxn>
                <a:cxn ang="0">
                  <a:pos x="0" y="36"/>
                </a:cxn>
                <a:cxn ang="0">
                  <a:pos x="0" y="36"/>
                </a:cxn>
              </a:cxnLst>
              <a:rect l="0" t="0" r="r" b="b"/>
              <a:pathLst>
                <a:path w="142" h="53">
                  <a:moveTo>
                    <a:pt x="0" y="36"/>
                  </a:moveTo>
                  <a:lnTo>
                    <a:pt x="9" y="42"/>
                  </a:lnTo>
                  <a:lnTo>
                    <a:pt x="5" y="53"/>
                  </a:lnTo>
                  <a:lnTo>
                    <a:pt x="41" y="47"/>
                  </a:lnTo>
                  <a:lnTo>
                    <a:pt x="78" y="28"/>
                  </a:lnTo>
                  <a:lnTo>
                    <a:pt x="142" y="15"/>
                  </a:lnTo>
                  <a:lnTo>
                    <a:pt x="131" y="4"/>
                  </a:lnTo>
                  <a:lnTo>
                    <a:pt x="95" y="0"/>
                  </a:lnTo>
                  <a:lnTo>
                    <a:pt x="50" y="8"/>
                  </a:lnTo>
                  <a:lnTo>
                    <a:pt x="47" y="15"/>
                  </a:lnTo>
                  <a:lnTo>
                    <a:pt x="0" y="36"/>
                  </a:lnTo>
                  <a:lnTo>
                    <a:pt x="0" y="36"/>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32" name="Freeform 5885"/>
            <p:cNvSpPr>
              <a:spLocks/>
            </p:cNvSpPr>
            <p:nvPr>
              <p:custDataLst>
                <p:tags r:id="rId212"/>
              </p:custDataLst>
            </p:nvPr>
          </p:nvSpPr>
          <p:spPr bwMode="gray">
            <a:xfrm>
              <a:off x="9680371" y="2878313"/>
              <a:ext cx="55173" cy="11561"/>
            </a:xfrm>
            <a:custGeom>
              <a:avLst/>
              <a:gdLst/>
              <a:ahLst/>
              <a:cxnLst>
                <a:cxn ang="0">
                  <a:pos x="0" y="0"/>
                </a:cxn>
                <a:cxn ang="0">
                  <a:pos x="7" y="6"/>
                </a:cxn>
                <a:cxn ang="0">
                  <a:pos x="37" y="9"/>
                </a:cxn>
                <a:cxn ang="0">
                  <a:pos x="43" y="6"/>
                </a:cxn>
                <a:cxn ang="0">
                  <a:pos x="0" y="0"/>
                </a:cxn>
              </a:cxnLst>
              <a:rect l="0" t="0" r="r" b="b"/>
              <a:pathLst>
                <a:path w="43" h="9">
                  <a:moveTo>
                    <a:pt x="0" y="0"/>
                  </a:moveTo>
                  <a:lnTo>
                    <a:pt x="7" y="6"/>
                  </a:lnTo>
                  <a:lnTo>
                    <a:pt x="37" y="9"/>
                  </a:lnTo>
                  <a:lnTo>
                    <a:pt x="43" y="6"/>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33" name="Freeform 5886"/>
            <p:cNvSpPr>
              <a:spLocks/>
            </p:cNvSpPr>
            <p:nvPr>
              <p:custDataLst>
                <p:tags r:id="rId213"/>
              </p:custDataLst>
            </p:nvPr>
          </p:nvSpPr>
          <p:spPr bwMode="gray">
            <a:xfrm>
              <a:off x="9680371" y="2878313"/>
              <a:ext cx="55173" cy="11561"/>
            </a:xfrm>
            <a:custGeom>
              <a:avLst/>
              <a:gdLst/>
              <a:ahLst/>
              <a:cxnLst>
                <a:cxn ang="0">
                  <a:pos x="0" y="0"/>
                </a:cxn>
                <a:cxn ang="0">
                  <a:pos x="7" y="6"/>
                </a:cxn>
                <a:cxn ang="0">
                  <a:pos x="37" y="9"/>
                </a:cxn>
                <a:cxn ang="0">
                  <a:pos x="43" y="6"/>
                </a:cxn>
              </a:cxnLst>
              <a:rect l="0" t="0" r="r" b="b"/>
              <a:pathLst>
                <a:path w="43" h="9">
                  <a:moveTo>
                    <a:pt x="0" y="0"/>
                  </a:moveTo>
                  <a:lnTo>
                    <a:pt x="7" y="6"/>
                  </a:lnTo>
                  <a:lnTo>
                    <a:pt x="37" y="9"/>
                  </a:lnTo>
                  <a:lnTo>
                    <a:pt x="43" y="6"/>
                  </a:lnTo>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34" name="Freeform 5889"/>
            <p:cNvSpPr>
              <a:spLocks/>
            </p:cNvSpPr>
            <p:nvPr>
              <p:custDataLst>
                <p:tags r:id="rId214"/>
              </p:custDataLst>
            </p:nvPr>
          </p:nvSpPr>
          <p:spPr bwMode="gray">
            <a:xfrm>
              <a:off x="9680371" y="2878313"/>
              <a:ext cx="52607" cy="7707"/>
            </a:xfrm>
            <a:custGeom>
              <a:avLst/>
              <a:gdLst/>
              <a:ahLst/>
              <a:cxnLst>
                <a:cxn ang="0">
                  <a:pos x="41" y="6"/>
                </a:cxn>
                <a:cxn ang="0">
                  <a:pos x="0" y="0"/>
                </a:cxn>
                <a:cxn ang="0">
                  <a:pos x="41" y="6"/>
                </a:cxn>
              </a:cxnLst>
              <a:rect l="0" t="0" r="r" b="b"/>
              <a:pathLst>
                <a:path w="41" h="6">
                  <a:moveTo>
                    <a:pt x="41" y="6"/>
                  </a:moveTo>
                  <a:lnTo>
                    <a:pt x="0" y="0"/>
                  </a:lnTo>
                  <a:lnTo>
                    <a:pt x="41"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35" name="Line 5890"/>
            <p:cNvSpPr>
              <a:spLocks noChangeShapeType="1"/>
            </p:cNvSpPr>
            <p:nvPr>
              <p:custDataLst>
                <p:tags r:id="rId215"/>
              </p:custDataLst>
            </p:nvPr>
          </p:nvSpPr>
          <p:spPr bwMode="gray">
            <a:xfrm flipH="1" flipV="1">
              <a:off x="9680371" y="2878313"/>
              <a:ext cx="52607" cy="7707"/>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36" name="Freeform 5892"/>
            <p:cNvSpPr>
              <a:spLocks/>
            </p:cNvSpPr>
            <p:nvPr>
              <p:custDataLst>
                <p:tags r:id="rId216"/>
              </p:custDataLst>
            </p:nvPr>
          </p:nvSpPr>
          <p:spPr bwMode="gray">
            <a:xfrm>
              <a:off x="3988572" y="2991354"/>
              <a:ext cx="70570" cy="35968"/>
            </a:xfrm>
            <a:custGeom>
              <a:avLst/>
              <a:gdLst/>
              <a:ahLst/>
              <a:cxnLst>
                <a:cxn ang="0">
                  <a:pos x="0" y="21"/>
                </a:cxn>
                <a:cxn ang="0">
                  <a:pos x="0" y="28"/>
                </a:cxn>
                <a:cxn ang="0">
                  <a:pos x="40" y="15"/>
                </a:cxn>
                <a:cxn ang="0">
                  <a:pos x="43" y="11"/>
                </a:cxn>
                <a:cxn ang="0">
                  <a:pos x="38" y="9"/>
                </a:cxn>
                <a:cxn ang="0">
                  <a:pos x="55" y="4"/>
                </a:cxn>
                <a:cxn ang="0">
                  <a:pos x="55" y="0"/>
                </a:cxn>
                <a:cxn ang="0">
                  <a:pos x="0" y="21"/>
                </a:cxn>
                <a:cxn ang="0">
                  <a:pos x="0" y="21"/>
                </a:cxn>
              </a:cxnLst>
              <a:rect l="0" t="0" r="r" b="b"/>
              <a:pathLst>
                <a:path w="55" h="28">
                  <a:moveTo>
                    <a:pt x="0" y="21"/>
                  </a:moveTo>
                  <a:lnTo>
                    <a:pt x="0" y="28"/>
                  </a:lnTo>
                  <a:lnTo>
                    <a:pt x="40" y="15"/>
                  </a:lnTo>
                  <a:lnTo>
                    <a:pt x="43" y="11"/>
                  </a:lnTo>
                  <a:lnTo>
                    <a:pt x="38" y="9"/>
                  </a:lnTo>
                  <a:lnTo>
                    <a:pt x="55" y="4"/>
                  </a:lnTo>
                  <a:lnTo>
                    <a:pt x="55" y="0"/>
                  </a:lnTo>
                  <a:lnTo>
                    <a:pt x="0" y="21"/>
                  </a:lnTo>
                  <a:lnTo>
                    <a:pt x="0" y="21"/>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37" name="Freeform 5893"/>
            <p:cNvSpPr>
              <a:spLocks/>
            </p:cNvSpPr>
            <p:nvPr>
              <p:custDataLst>
                <p:tags r:id="rId217"/>
              </p:custDataLst>
            </p:nvPr>
          </p:nvSpPr>
          <p:spPr bwMode="gray">
            <a:xfrm>
              <a:off x="4282400" y="3085127"/>
              <a:ext cx="35927" cy="50098"/>
            </a:xfrm>
            <a:custGeom>
              <a:avLst/>
              <a:gdLst/>
              <a:ahLst/>
              <a:cxnLst>
                <a:cxn ang="0">
                  <a:pos x="9" y="0"/>
                </a:cxn>
                <a:cxn ang="0">
                  <a:pos x="2" y="11"/>
                </a:cxn>
                <a:cxn ang="0">
                  <a:pos x="0" y="30"/>
                </a:cxn>
                <a:cxn ang="0">
                  <a:pos x="5" y="39"/>
                </a:cxn>
                <a:cxn ang="0">
                  <a:pos x="5" y="24"/>
                </a:cxn>
                <a:cxn ang="0">
                  <a:pos x="28" y="2"/>
                </a:cxn>
                <a:cxn ang="0">
                  <a:pos x="9" y="0"/>
                </a:cxn>
                <a:cxn ang="0">
                  <a:pos x="9" y="0"/>
                </a:cxn>
              </a:cxnLst>
              <a:rect l="0" t="0" r="r" b="b"/>
              <a:pathLst>
                <a:path w="28" h="39">
                  <a:moveTo>
                    <a:pt x="9" y="0"/>
                  </a:moveTo>
                  <a:lnTo>
                    <a:pt x="2" y="11"/>
                  </a:lnTo>
                  <a:lnTo>
                    <a:pt x="0" y="30"/>
                  </a:lnTo>
                  <a:lnTo>
                    <a:pt x="5" y="39"/>
                  </a:lnTo>
                  <a:lnTo>
                    <a:pt x="5" y="24"/>
                  </a:lnTo>
                  <a:lnTo>
                    <a:pt x="28" y="2"/>
                  </a:lnTo>
                  <a:lnTo>
                    <a:pt x="9" y="0"/>
                  </a:lnTo>
                  <a:lnTo>
                    <a:pt x="9"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38" name="Freeform 5894"/>
            <p:cNvSpPr>
              <a:spLocks/>
            </p:cNvSpPr>
            <p:nvPr>
              <p:custDataLst>
                <p:tags r:id="rId218"/>
              </p:custDataLst>
            </p:nvPr>
          </p:nvSpPr>
          <p:spPr bwMode="gray">
            <a:xfrm>
              <a:off x="4313194" y="3162200"/>
              <a:ext cx="55173" cy="55236"/>
            </a:xfrm>
            <a:custGeom>
              <a:avLst/>
              <a:gdLst/>
              <a:ahLst/>
              <a:cxnLst>
                <a:cxn ang="0">
                  <a:pos x="0" y="2"/>
                </a:cxn>
                <a:cxn ang="0">
                  <a:pos x="0" y="11"/>
                </a:cxn>
                <a:cxn ang="0">
                  <a:pos x="11" y="19"/>
                </a:cxn>
                <a:cxn ang="0">
                  <a:pos x="8" y="24"/>
                </a:cxn>
                <a:cxn ang="0">
                  <a:pos x="25" y="32"/>
                </a:cxn>
                <a:cxn ang="0">
                  <a:pos x="21" y="36"/>
                </a:cxn>
                <a:cxn ang="0">
                  <a:pos x="34" y="43"/>
                </a:cxn>
                <a:cxn ang="0">
                  <a:pos x="43" y="41"/>
                </a:cxn>
                <a:cxn ang="0">
                  <a:pos x="34" y="9"/>
                </a:cxn>
                <a:cxn ang="0">
                  <a:pos x="8" y="0"/>
                </a:cxn>
                <a:cxn ang="0">
                  <a:pos x="0" y="2"/>
                </a:cxn>
                <a:cxn ang="0">
                  <a:pos x="0" y="2"/>
                </a:cxn>
              </a:cxnLst>
              <a:rect l="0" t="0" r="r" b="b"/>
              <a:pathLst>
                <a:path w="43" h="43">
                  <a:moveTo>
                    <a:pt x="0" y="2"/>
                  </a:moveTo>
                  <a:lnTo>
                    <a:pt x="0" y="11"/>
                  </a:lnTo>
                  <a:lnTo>
                    <a:pt x="11" y="19"/>
                  </a:lnTo>
                  <a:lnTo>
                    <a:pt x="8" y="24"/>
                  </a:lnTo>
                  <a:lnTo>
                    <a:pt x="25" y="32"/>
                  </a:lnTo>
                  <a:lnTo>
                    <a:pt x="21" y="36"/>
                  </a:lnTo>
                  <a:lnTo>
                    <a:pt x="34" y="43"/>
                  </a:lnTo>
                  <a:lnTo>
                    <a:pt x="43" y="41"/>
                  </a:lnTo>
                  <a:lnTo>
                    <a:pt x="34" y="9"/>
                  </a:lnTo>
                  <a:lnTo>
                    <a:pt x="8" y="0"/>
                  </a:lnTo>
                  <a:lnTo>
                    <a:pt x="0" y="2"/>
                  </a:lnTo>
                  <a:lnTo>
                    <a:pt x="0" y="2"/>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39" name="Freeform 5895"/>
            <p:cNvSpPr>
              <a:spLocks/>
            </p:cNvSpPr>
            <p:nvPr>
              <p:custDataLst>
                <p:tags r:id="rId219"/>
              </p:custDataLst>
            </p:nvPr>
          </p:nvSpPr>
          <p:spPr bwMode="gray">
            <a:xfrm>
              <a:off x="6269911" y="2820507"/>
              <a:ext cx="168085" cy="62943"/>
            </a:xfrm>
            <a:custGeom>
              <a:avLst/>
              <a:gdLst/>
              <a:ahLst/>
              <a:cxnLst>
                <a:cxn ang="0">
                  <a:pos x="0" y="15"/>
                </a:cxn>
                <a:cxn ang="0">
                  <a:pos x="26" y="17"/>
                </a:cxn>
                <a:cxn ang="0">
                  <a:pos x="0" y="28"/>
                </a:cxn>
                <a:cxn ang="0">
                  <a:pos x="17" y="28"/>
                </a:cxn>
                <a:cxn ang="0">
                  <a:pos x="22" y="36"/>
                </a:cxn>
                <a:cxn ang="0">
                  <a:pos x="11" y="41"/>
                </a:cxn>
                <a:cxn ang="0">
                  <a:pos x="60" y="49"/>
                </a:cxn>
                <a:cxn ang="0">
                  <a:pos x="116" y="32"/>
                </a:cxn>
                <a:cxn ang="0">
                  <a:pos x="129" y="24"/>
                </a:cxn>
                <a:cxn ang="0">
                  <a:pos x="131" y="15"/>
                </a:cxn>
                <a:cxn ang="0">
                  <a:pos x="120" y="11"/>
                </a:cxn>
                <a:cxn ang="0">
                  <a:pos x="120" y="2"/>
                </a:cxn>
                <a:cxn ang="0">
                  <a:pos x="103" y="0"/>
                </a:cxn>
                <a:cxn ang="0">
                  <a:pos x="84" y="7"/>
                </a:cxn>
                <a:cxn ang="0">
                  <a:pos x="58" y="9"/>
                </a:cxn>
                <a:cxn ang="0">
                  <a:pos x="52" y="6"/>
                </a:cxn>
                <a:cxn ang="0">
                  <a:pos x="49" y="13"/>
                </a:cxn>
                <a:cxn ang="0">
                  <a:pos x="36" y="17"/>
                </a:cxn>
                <a:cxn ang="0">
                  <a:pos x="37" y="7"/>
                </a:cxn>
                <a:cxn ang="0">
                  <a:pos x="21" y="0"/>
                </a:cxn>
                <a:cxn ang="0">
                  <a:pos x="0" y="15"/>
                </a:cxn>
                <a:cxn ang="0">
                  <a:pos x="0" y="15"/>
                </a:cxn>
              </a:cxnLst>
              <a:rect l="0" t="0" r="r" b="b"/>
              <a:pathLst>
                <a:path w="131" h="49">
                  <a:moveTo>
                    <a:pt x="0" y="15"/>
                  </a:moveTo>
                  <a:lnTo>
                    <a:pt x="26" y="17"/>
                  </a:lnTo>
                  <a:lnTo>
                    <a:pt x="0" y="28"/>
                  </a:lnTo>
                  <a:lnTo>
                    <a:pt x="17" y="28"/>
                  </a:lnTo>
                  <a:lnTo>
                    <a:pt x="22" y="36"/>
                  </a:lnTo>
                  <a:lnTo>
                    <a:pt x="11" y="41"/>
                  </a:lnTo>
                  <a:lnTo>
                    <a:pt x="60" y="49"/>
                  </a:lnTo>
                  <a:lnTo>
                    <a:pt x="116" y="32"/>
                  </a:lnTo>
                  <a:lnTo>
                    <a:pt x="129" y="24"/>
                  </a:lnTo>
                  <a:lnTo>
                    <a:pt x="131" y="15"/>
                  </a:lnTo>
                  <a:lnTo>
                    <a:pt x="120" y="11"/>
                  </a:lnTo>
                  <a:lnTo>
                    <a:pt x="120" y="2"/>
                  </a:lnTo>
                  <a:lnTo>
                    <a:pt x="103" y="0"/>
                  </a:lnTo>
                  <a:lnTo>
                    <a:pt x="84" y="7"/>
                  </a:lnTo>
                  <a:lnTo>
                    <a:pt x="58" y="9"/>
                  </a:lnTo>
                  <a:lnTo>
                    <a:pt x="52" y="6"/>
                  </a:lnTo>
                  <a:lnTo>
                    <a:pt x="49" y="13"/>
                  </a:lnTo>
                  <a:lnTo>
                    <a:pt x="36" y="17"/>
                  </a:lnTo>
                  <a:lnTo>
                    <a:pt x="37" y="7"/>
                  </a:lnTo>
                  <a:lnTo>
                    <a:pt x="21" y="0"/>
                  </a:lnTo>
                  <a:lnTo>
                    <a:pt x="0" y="15"/>
                  </a:lnTo>
                  <a:lnTo>
                    <a:pt x="0" y="1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40" name="Freeform 5896"/>
            <p:cNvSpPr>
              <a:spLocks/>
            </p:cNvSpPr>
            <p:nvPr>
              <p:custDataLst>
                <p:tags r:id="rId220"/>
              </p:custDataLst>
            </p:nvPr>
          </p:nvSpPr>
          <p:spPr bwMode="gray">
            <a:xfrm>
              <a:off x="6529095" y="2726735"/>
              <a:ext cx="16680" cy="5138"/>
            </a:xfrm>
            <a:custGeom>
              <a:avLst/>
              <a:gdLst/>
              <a:ahLst/>
              <a:cxnLst>
                <a:cxn ang="0">
                  <a:pos x="0" y="4"/>
                </a:cxn>
                <a:cxn ang="0">
                  <a:pos x="13" y="0"/>
                </a:cxn>
                <a:cxn ang="0">
                  <a:pos x="0" y="4"/>
                </a:cxn>
              </a:cxnLst>
              <a:rect l="0" t="0" r="r" b="b"/>
              <a:pathLst>
                <a:path w="13" h="4">
                  <a:moveTo>
                    <a:pt x="0" y="4"/>
                  </a:moveTo>
                  <a:lnTo>
                    <a:pt x="13" y="0"/>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41" name="Line 5897"/>
            <p:cNvSpPr>
              <a:spLocks noChangeShapeType="1"/>
            </p:cNvSpPr>
            <p:nvPr>
              <p:custDataLst>
                <p:tags r:id="rId221"/>
              </p:custDataLst>
            </p:nvPr>
          </p:nvSpPr>
          <p:spPr bwMode="gray">
            <a:xfrm flipV="1">
              <a:off x="6529095" y="2726735"/>
              <a:ext cx="16680" cy="5138"/>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42" name="Freeform 5898"/>
            <p:cNvSpPr>
              <a:spLocks/>
            </p:cNvSpPr>
            <p:nvPr>
              <p:custDataLst>
                <p:tags r:id="rId222"/>
              </p:custDataLst>
            </p:nvPr>
          </p:nvSpPr>
          <p:spPr bwMode="gray">
            <a:xfrm>
              <a:off x="6407201" y="2644523"/>
              <a:ext cx="14114" cy="7707"/>
            </a:xfrm>
            <a:custGeom>
              <a:avLst/>
              <a:gdLst/>
              <a:ahLst/>
              <a:cxnLst>
                <a:cxn ang="0">
                  <a:pos x="2" y="0"/>
                </a:cxn>
                <a:cxn ang="0">
                  <a:pos x="0" y="6"/>
                </a:cxn>
                <a:cxn ang="0">
                  <a:pos x="11" y="6"/>
                </a:cxn>
                <a:cxn ang="0">
                  <a:pos x="2" y="0"/>
                </a:cxn>
                <a:cxn ang="0">
                  <a:pos x="2" y="0"/>
                </a:cxn>
              </a:cxnLst>
              <a:rect l="0" t="0" r="r" b="b"/>
              <a:pathLst>
                <a:path w="11" h="6">
                  <a:moveTo>
                    <a:pt x="2" y="0"/>
                  </a:moveTo>
                  <a:lnTo>
                    <a:pt x="0" y="6"/>
                  </a:lnTo>
                  <a:lnTo>
                    <a:pt x="11" y="6"/>
                  </a:lnTo>
                  <a:lnTo>
                    <a:pt x="2" y="0"/>
                  </a:lnTo>
                  <a:lnTo>
                    <a:pt x="2"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43" name="Freeform 5899"/>
            <p:cNvSpPr>
              <a:spLocks/>
            </p:cNvSpPr>
            <p:nvPr>
              <p:custDataLst>
                <p:tags r:id="rId223"/>
              </p:custDataLst>
            </p:nvPr>
          </p:nvSpPr>
          <p:spPr bwMode="gray">
            <a:xfrm>
              <a:off x="7470407" y="4624127"/>
              <a:ext cx="155254" cy="319855"/>
            </a:xfrm>
            <a:custGeom>
              <a:avLst/>
              <a:gdLst/>
              <a:ahLst/>
              <a:cxnLst>
                <a:cxn ang="0">
                  <a:pos x="0" y="184"/>
                </a:cxn>
                <a:cxn ang="0">
                  <a:pos x="5" y="230"/>
                </a:cxn>
                <a:cxn ang="0">
                  <a:pos x="18" y="245"/>
                </a:cxn>
                <a:cxn ang="0">
                  <a:pos x="24" y="249"/>
                </a:cxn>
                <a:cxn ang="0">
                  <a:pos x="54" y="242"/>
                </a:cxn>
                <a:cxn ang="0">
                  <a:pos x="60" y="234"/>
                </a:cxn>
                <a:cxn ang="0">
                  <a:pos x="99" y="120"/>
                </a:cxn>
                <a:cxn ang="0">
                  <a:pos x="110" y="64"/>
                </a:cxn>
                <a:cxn ang="0">
                  <a:pos x="116" y="71"/>
                </a:cxn>
                <a:cxn ang="0">
                  <a:pos x="121" y="64"/>
                </a:cxn>
                <a:cxn ang="0">
                  <a:pos x="114" y="19"/>
                </a:cxn>
                <a:cxn ang="0">
                  <a:pos x="105" y="0"/>
                </a:cxn>
                <a:cxn ang="0">
                  <a:pos x="97" y="7"/>
                </a:cxn>
                <a:cxn ang="0">
                  <a:pos x="95" y="24"/>
                </a:cxn>
                <a:cxn ang="0">
                  <a:pos x="82" y="28"/>
                </a:cxn>
                <a:cxn ang="0">
                  <a:pos x="77" y="51"/>
                </a:cxn>
                <a:cxn ang="0">
                  <a:pos x="26" y="77"/>
                </a:cxn>
                <a:cxn ang="0">
                  <a:pos x="15" y="99"/>
                </a:cxn>
                <a:cxn ang="0">
                  <a:pos x="20" y="148"/>
                </a:cxn>
                <a:cxn ang="0">
                  <a:pos x="0" y="184"/>
                </a:cxn>
                <a:cxn ang="0">
                  <a:pos x="0" y="184"/>
                </a:cxn>
              </a:cxnLst>
              <a:rect l="0" t="0" r="r" b="b"/>
              <a:pathLst>
                <a:path w="121" h="249">
                  <a:moveTo>
                    <a:pt x="0" y="184"/>
                  </a:moveTo>
                  <a:lnTo>
                    <a:pt x="5" y="230"/>
                  </a:lnTo>
                  <a:lnTo>
                    <a:pt x="18" y="245"/>
                  </a:lnTo>
                  <a:lnTo>
                    <a:pt x="24" y="249"/>
                  </a:lnTo>
                  <a:lnTo>
                    <a:pt x="54" y="242"/>
                  </a:lnTo>
                  <a:lnTo>
                    <a:pt x="60" y="234"/>
                  </a:lnTo>
                  <a:lnTo>
                    <a:pt x="99" y="120"/>
                  </a:lnTo>
                  <a:lnTo>
                    <a:pt x="110" y="64"/>
                  </a:lnTo>
                  <a:lnTo>
                    <a:pt x="116" y="71"/>
                  </a:lnTo>
                  <a:lnTo>
                    <a:pt x="121" y="64"/>
                  </a:lnTo>
                  <a:lnTo>
                    <a:pt x="114" y="19"/>
                  </a:lnTo>
                  <a:lnTo>
                    <a:pt x="105" y="0"/>
                  </a:lnTo>
                  <a:lnTo>
                    <a:pt x="97" y="7"/>
                  </a:lnTo>
                  <a:lnTo>
                    <a:pt x="95" y="24"/>
                  </a:lnTo>
                  <a:lnTo>
                    <a:pt x="82" y="28"/>
                  </a:lnTo>
                  <a:lnTo>
                    <a:pt x="77" y="51"/>
                  </a:lnTo>
                  <a:lnTo>
                    <a:pt x="26" y="77"/>
                  </a:lnTo>
                  <a:lnTo>
                    <a:pt x="15" y="99"/>
                  </a:lnTo>
                  <a:lnTo>
                    <a:pt x="20" y="148"/>
                  </a:lnTo>
                  <a:lnTo>
                    <a:pt x="0" y="184"/>
                  </a:lnTo>
                  <a:lnTo>
                    <a:pt x="0" y="18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44" name="Freeform 5903"/>
            <p:cNvSpPr>
              <a:spLocks/>
            </p:cNvSpPr>
            <p:nvPr>
              <p:custDataLst>
                <p:tags r:id="rId224"/>
              </p:custDataLst>
            </p:nvPr>
          </p:nvSpPr>
          <p:spPr bwMode="gray">
            <a:xfrm>
              <a:off x="7688533" y="4039652"/>
              <a:ext cx="26945" cy="8992"/>
            </a:xfrm>
            <a:custGeom>
              <a:avLst/>
              <a:gdLst/>
              <a:ahLst/>
              <a:cxnLst>
                <a:cxn ang="0">
                  <a:pos x="0" y="5"/>
                </a:cxn>
                <a:cxn ang="0">
                  <a:pos x="13" y="7"/>
                </a:cxn>
                <a:cxn ang="0">
                  <a:pos x="21" y="2"/>
                </a:cxn>
                <a:cxn ang="0">
                  <a:pos x="6" y="0"/>
                </a:cxn>
                <a:cxn ang="0">
                  <a:pos x="0" y="5"/>
                </a:cxn>
                <a:cxn ang="0">
                  <a:pos x="0" y="5"/>
                </a:cxn>
              </a:cxnLst>
              <a:rect l="0" t="0" r="r" b="b"/>
              <a:pathLst>
                <a:path w="21" h="7">
                  <a:moveTo>
                    <a:pt x="0" y="5"/>
                  </a:moveTo>
                  <a:lnTo>
                    <a:pt x="13" y="7"/>
                  </a:lnTo>
                  <a:lnTo>
                    <a:pt x="21" y="2"/>
                  </a:lnTo>
                  <a:lnTo>
                    <a:pt x="6" y="0"/>
                  </a:lnTo>
                  <a:lnTo>
                    <a:pt x="0" y="5"/>
                  </a:lnTo>
                  <a:lnTo>
                    <a:pt x="0"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45" name="Freeform 5904"/>
            <p:cNvSpPr>
              <a:spLocks/>
            </p:cNvSpPr>
            <p:nvPr>
              <p:custDataLst>
                <p:tags r:id="rId225"/>
              </p:custDataLst>
            </p:nvPr>
          </p:nvSpPr>
          <p:spPr bwMode="gray">
            <a:xfrm>
              <a:off x="8521738" y="4045977"/>
              <a:ext cx="5132" cy="33399"/>
            </a:xfrm>
            <a:custGeom>
              <a:avLst/>
              <a:gdLst/>
              <a:ahLst/>
              <a:cxnLst>
                <a:cxn ang="0">
                  <a:pos x="4" y="0"/>
                </a:cxn>
                <a:cxn ang="0">
                  <a:pos x="0" y="26"/>
                </a:cxn>
                <a:cxn ang="0">
                  <a:pos x="4" y="0"/>
                </a:cxn>
              </a:cxnLst>
              <a:rect l="0" t="0" r="r" b="b"/>
              <a:pathLst>
                <a:path w="4" h="26">
                  <a:moveTo>
                    <a:pt x="4" y="0"/>
                  </a:moveTo>
                  <a:lnTo>
                    <a:pt x="0" y="26"/>
                  </a:lnTo>
                  <a:lnTo>
                    <a:pt x="4"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46" name="Line 5905"/>
            <p:cNvSpPr>
              <a:spLocks noChangeShapeType="1"/>
            </p:cNvSpPr>
            <p:nvPr>
              <p:custDataLst>
                <p:tags r:id="rId226"/>
              </p:custDataLst>
            </p:nvPr>
          </p:nvSpPr>
          <p:spPr bwMode="gray">
            <a:xfrm flipH="1">
              <a:off x="8521738" y="4045977"/>
              <a:ext cx="5132" cy="33399"/>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47" name="Freeform 5906"/>
            <p:cNvSpPr>
              <a:spLocks/>
            </p:cNvSpPr>
            <p:nvPr>
              <p:custDataLst>
                <p:tags r:id="rId227"/>
              </p:custDataLst>
            </p:nvPr>
          </p:nvSpPr>
          <p:spPr bwMode="gray">
            <a:xfrm>
              <a:off x="8521738" y="410763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48" name="Freeform 5907"/>
            <p:cNvSpPr>
              <a:spLocks/>
            </p:cNvSpPr>
            <p:nvPr>
              <p:custDataLst>
                <p:tags r:id="rId228"/>
              </p:custDataLst>
            </p:nvPr>
          </p:nvSpPr>
          <p:spPr bwMode="gray">
            <a:xfrm>
              <a:off x="8551249" y="419241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49" name="Freeform 5911"/>
            <p:cNvSpPr>
              <a:spLocks/>
            </p:cNvSpPr>
            <p:nvPr>
              <p:custDataLst>
                <p:tags r:id="rId229"/>
              </p:custDataLst>
            </p:nvPr>
          </p:nvSpPr>
          <p:spPr bwMode="gray">
            <a:xfrm>
              <a:off x="8661595" y="4382532"/>
              <a:ext cx="11548" cy="19268"/>
            </a:xfrm>
            <a:custGeom>
              <a:avLst/>
              <a:gdLst/>
              <a:ahLst/>
              <a:cxnLst>
                <a:cxn ang="0">
                  <a:pos x="0" y="2"/>
                </a:cxn>
                <a:cxn ang="0">
                  <a:pos x="3" y="15"/>
                </a:cxn>
                <a:cxn ang="0">
                  <a:pos x="9" y="13"/>
                </a:cxn>
                <a:cxn ang="0">
                  <a:pos x="3" y="0"/>
                </a:cxn>
                <a:cxn ang="0">
                  <a:pos x="0" y="2"/>
                </a:cxn>
                <a:cxn ang="0">
                  <a:pos x="0" y="2"/>
                </a:cxn>
              </a:cxnLst>
              <a:rect l="0" t="0" r="r" b="b"/>
              <a:pathLst>
                <a:path w="9" h="15">
                  <a:moveTo>
                    <a:pt x="0" y="2"/>
                  </a:moveTo>
                  <a:lnTo>
                    <a:pt x="3" y="15"/>
                  </a:lnTo>
                  <a:lnTo>
                    <a:pt x="9" y="13"/>
                  </a:lnTo>
                  <a:lnTo>
                    <a:pt x="3"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50" name="Freeform 5912"/>
            <p:cNvSpPr>
              <a:spLocks/>
            </p:cNvSpPr>
            <p:nvPr>
              <p:custDataLst>
                <p:tags r:id="rId230"/>
              </p:custDataLst>
            </p:nvPr>
          </p:nvSpPr>
          <p:spPr bwMode="gray">
            <a:xfrm>
              <a:off x="8733448" y="448786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51" name="Freeform 5913"/>
            <p:cNvSpPr>
              <a:spLocks/>
            </p:cNvSpPr>
            <p:nvPr>
              <p:custDataLst>
                <p:tags r:id="rId231"/>
              </p:custDataLst>
            </p:nvPr>
          </p:nvSpPr>
          <p:spPr bwMode="gray">
            <a:xfrm>
              <a:off x="8796320" y="460604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52" name="Freeform 5914"/>
            <p:cNvSpPr>
              <a:spLocks/>
            </p:cNvSpPr>
            <p:nvPr>
              <p:custDataLst>
                <p:tags r:id="rId232"/>
              </p:custDataLst>
            </p:nvPr>
          </p:nvSpPr>
          <p:spPr bwMode="gray">
            <a:xfrm>
              <a:off x="8259987" y="4126904"/>
              <a:ext cx="43625" cy="89919"/>
            </a:xfrm>
            <a:custGeom>
              <a:avLst/>
              <a:gdLst/>
              <a:ahLst/>
              <a:cxnLst>
                <a:cxn ang="0">
                  <a:pos x="0" y="32"/>
                </a:cxn>
                <a:cxn ang="0">
                  <a:pos x="9" y="70"/>
                </a:cxn>
                <a:cxn ang="0">
                  <a:pos x="24" y="68"/>
                </a:cxn>
                <a:cxn ang="0">
                  <a:pos x="32" y="62"/>
                </a:cxn>
                <a:cxn ang="0">
                  <a:pos x="34" y="41"/>
                </a:cxn>
                <a:cxn ang="0">
                  <a:pos x="11" y="6"/>
                </a:cxn>
                <a:cxn ang="0">
                  <a:pos x="2" y="0"/>
                </a:cxn>
                <a:cxn ang="0">
                  <a:pos x="5" y="8"/>
                </a:cxn>
                <a:cxn ang="0">
                  <a:pos x="0" y="32"/>
                </a:cxn>
                <a:cxn ang="0">
                  <a:pos x="0" y="32"/>
                </a:cxn>
              </a:cxnLst>
              <a:rect l="0" t="0" r="r" b="b"/>
              <a:pathLst>
                <a:path w="34" h="70">
                  <a:moveTo>
                    <a:pt x="0" y="32"/>
                  </a:moveTo>
                  <a:lnTo>
                    <a:pt x="9" y="70"/>
                  </a:lnTo>
                  <a:lnTo>
                    <a:pt x="24" y="68"/>
                  </a:lnTo>
                  <a:lnTo>
                    <a:pt x="32" y="62"/>
                  </a:lnTo>
                  <a:lnTo>
                    <a:pt x="34" y="41"/>
                  </a:lnTo>
                  <a:lnTo>
                    <a:pt x="11" y="6"/>
                  </a:lnTo>
                  <a:lnTo>
                    <a:pt x="2" y="0"/>
                  </a:lnTo>
                  <a:lnTo>
                    <a:pt x="5" y="8"/>
                  </a:lnTo>
                  <a:lnTo>
                    <a:pt x="0" y="32"/>
                  </a:lnTo>
                  <a:lnTo>
                    <a:pt x="0" y="3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53" name="Freeform 5915"/>
            <p:cNvSpPr>
              <a:spLocks/>
            </p:cNvSpPr>
            <p:nvPr>
              <p:custDataLst>
                <p:tags r:id="rId233"/>
              </p:custDataLst>
            </p:nvPr>
          </p:nvSpPr>
          <p:spPr bwMode="gray">
            <a:xfrm>
              <a:off x="8834813" y="3886692"/>
              <a:ext cx="44908" cy="41106"/>
            </a:xfrm>
            <a:custGeom>
              <a:avLst/>
              <a:gdLst/>
              <a:ahLst/>
              <a:cxnLst>
                <a:cxn ang="0">
                  <a:pos x="0" y="11"/>
                </a:cxn>
                <a:cxn ang="0">
                  <a:pos x="3" y="28"/>
                </a:cxn>
                <a:cxn ang="0">
                  <a:pos x="18" y="32"/>
                </a:cxn>
                <a:cxn ang="0">
                  <a:pos x="30" y="22"/>
                </a:cxn>
                <a:cxn ang="0">
                  <a:pos x="35" y="0"/>
                </a:cxn>
                <a:cxn ang="0">
                  <a:pos x="13" y="2"/>
                </a:cxn>
                <a:cxn ang="0">
                  <a:pos x="0" y="11"/>
                </a:cxn>
                <a:cxn ang="0">
                  <a:pos x="0" y="11"/>
                </a:cxn>
              </a:cxnLst>
              <a:rect l="0" t="0" r="r" b="b"/>
              <a:pathLst>
                <a:path w="35" h="32">
                  <a:moveTo>
                    <a:pt x="0" y="11"/>
                  </a:moveTo>
                  <a:lnTo>
                    <a:pt x="3" y="28"/>
                  </a:lnTo>
                  <a:lnTo>
                    <a:pt x="18" y="32"/>
                  </a:lnTo>
                  <a:lnTo>
                    <a:pt x="30" y="22"/>
                  </a:lnTo>
                  <a:lnTo>
                    <a:pt x="35" y="0"/>
                  </a:lnTo>
                  <a:lnTo>
                    <a:pt x="13" y="2"/>
                  </a:lnTo>
                  <a:lnTo>
                    <a:pt x="0" y="11"/>
                  </a:lnTo>
                  <a:lnTo>
                    <a:pt x="0" y="1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54" name="Freeform 5916"/>
            <p:cNvSpPr>
              <a:spLocks/>
            </p:cNvSpPr>
            <p:nvPr>
              <p:custDataLst>
                <p:tags r:id="rId234"/>
              </p:custDataLst>
            </p:nvPr>
          </p:nvSpPr>
          <p:spPr bwMode="gray">
            <a:xfrm>
              <a:off x="9052938" y="3760805"/>
              <a:ext cx="28228" cy="77074"/>
            </a:xfrm>
            <a:custGeom>
              <a:avLst/>
              <a:gdLst/>
              <a:ahLst/>
              <a:cxnLst>
                <a:cxn ang="0">
                  <a:pos x="0" y="30"/>
                </a:cxn>
                <a:cxn ang="0">
                  <a:pos x="6" y="49"/>
                </a:cxn>
                <a:cxn ang="0">
                  <a:pos x="15" y="60"/>
                </a:cxn>
                <a:cxn ang="0">
                  <a:pos x="22" y="4"/>
                </a:cxn>
                <a:cxn ang="0">
                  <a:pos x="17" y="0"/>
                </a:cxn>
                <a:cxn ang="0">
                  <a:pos x="9" y="6"/>
                </a:cxn>
                <a:cxn ang="0">
                  <a:pos x="0" y="30"/>
                </a:cxn>
                <a:cxn ang="0">
                  <a:pos x="0" y="30"/>
                </a:cxn>
              </a:cxnLst>
              <a:rect l="0" t="0" r="r" b="b"/>
              <a:pathLst>
                <a:path w="22" h="60">
                  <a:moveTo>
                    <a:pt x="0" y="30"/>
                  </a:moveTo>
                  <a:lnTo>
                    <a:pt x="6" y="49"/>
                  </a:lnTo>
                  <a:lnTo>
                    <a:pt x="15" y="60"/>
                  </a:lnTo>
                  <a:lnTo>
                    <a:pt x="22" y="4"/>
                  </a:lnTo>
                  <a:lnTo>
                    <a:pt x="17" y="0"/>
                  </a:lnTo>
                  <a:lnTo>
                    <a:pt x="9" y="6"/>
                  </a:lnTo>
                  <a:lnTo>
                    <a:pt x="0" y="30"/>
                  </a:lnTo>
                  <a:lnTo>
                    <a:pt x="0" y="3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55" name="Freeform 5917"/>
            <p:cNvSpPr>
              <a:spLocks/>
            </p:cNvSpPr>
            <p:nvPr>
              <p:custDataLst>
                <p:tags r:id="rId235"/>
              </p:custDataLst>
            </p:nvPr>
          </p:nvSpPr>
          <p:spPr bwMode="gray">
            <a:xfrm>
              <a:off x="9177398" y="3559129"/>
              <a:ext cx="51324" cy="65513"/>
            </a:xfrm>
            <a:custGeom>
              <a:avLst/>
              <a:gdLst/>
              <a:ahLst/>
              <a:cxnLst>
                <a:cxn ang="0">
                  <a:pos x="0" y="11"/>
                </a:cxn>
                <a:cxn ang="0">
                  <a:pos x="8" y="19"/>
                </a:cxn>
                <a:cxn ang="0">
                  <a:pos x="14" y="19"/>
                </a:cxn>
                <a:cxn ang="0">
                  <a:pos x="14" y="13"/>
                </a:cxn>
                <a:cxn ang="0">
                  <a:pos x="19" y="19"/>
                </a:cxn>
                <a:cxn ang="0">
                  <a:pos x="23" y="47"/>
                </a:cxn>
                <a:cxn ang="0">
                  <a:pos x="34" y="51"/>
                </a:cxn>
                <a:cxn ang="0">
                  <a:pos x="40" y="43"/>
                </a:cxn>
                <a:cxn ang="0">
                  <a:pos x="40" y="17"/>
                </a:cxn>
                <a:cxn ang="0">
                  <a:pos x="30" y="2"/>
                </a:cxn>
                <a:cxn ang="0">
                  <a:pos x="10" y="0"/>
                </a:cxn>
                <a:cxn ang="0">
                  <a:pos x="0" y="11"/>
                </a:cxn>
                <a:cxn ang="0">
                  <a:pos x="0" y="11"/>
                </a:cxn>
              </a:cxnLst>
              <a:rect l="0" t="0" r="r" b="b"/>
              <a:pathLst>
                <a:path w="40" h="51">
                  <a:moveTo>
                    <a:pt x="0" y="11"/>
                  </a:moveTo>
                  <a:lnTo>
                    <a:pt x="8" y="19"/>
                  </a:lnTo>
                  <a:lnTo>
                    <a:pt x="14" y="19"/>
                  </a:lnTo>
                  <a:lnTo>
                    <a:pt x="14" y="13"/>
                  </a:lnTo>
                  <a:lnTo>
                    <a:pt x="19" y="19"/>
                  </a:lnTo>
                  <a:lnTo>
                    <a:pt x="23" y="47"/>
                  </a:lnTo>
                  <a:lnTo>
                    <a:pt x="34" y="51"/>
                  </a:lnTo>
                  <a:lnTo>
                    <a:pt x="40" y="43"/>
                  </a:lnTo>
                  <a:lnTo>
                    <a:pt x="40" y="17"/>
                  </a:lnTo>
                  <a:lnTo>
                    <a:pt x="30" y="2"/>
                  </a:lnTo>
                  <a:lnTo>
                    <a:pt x="10" y="0"/>
                  </a:lnTo>
                  <a:lnTo>
                    <a:pt x="0" y="11"/>
                  </a:lnTo>
                  <a:lnTo>
                    <a:pt x="0" y="11"/>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56" name="Freeform 5918"/>
            <p:cNvSpPr>
              <a:spLocks/>
            </p:cNvSpPr>
            <p:nvPr>
              <p:custDataLst>
                <p:tags r:id="rId236"/>
              </p:custDataLst>
            </p:nvPr>
          </p:nvSpPr>
          <p:spPr bwMode="gray">
            <a:xfrm>
              <a:off x="9231288" y="3550137"/>
              <a:ext cx="42342" cy="33399"/>
            </a:xfrm>
            <a:custGeom>
              <a:avLst/>
              <a:gdLst/>
              <a:ahLst/>
              <a:cxnLst>
                <a:cxn ang="0">
                  <a:pos x="0" y="15"/>
                </a:cxn>
                <a:cxn ang="0">
                  <a:pos x="15" y="26"/>
                </a:cxn>
                <a:cxn ang="0">
                  <a:pos x="16" y="16"/>
                </a:cxn>
                <a:cxn ang="0">
                  <a:pos x="22" y="13"/>
                </a:cxn>
                <a:cxn ang="0">
                  <a:pos x="28" y="18"/>
                </a:cxn>
                <a:cxn ang="0">
                  <a:pos x="33" y="7"/>
                </a:cxn>
                <a:cxn ang="0">
                  <a:pos x="30" y="0"/>
                </a:cxn>
                <a:cxn ang="0">
                  <a:pos x="15" y="0"/>
                </a:cxn>
                <a:cxn ang="0">
                  <a:pos x="13" y="5"/>
                </a:cxn>
                <a:cxn ang="0">
                  <a:pos x="3" y="3"/>
                </a:cxn>
                <a:cxn ang="0">
                  <a:pos x="0" y="15"/>
                </a:cxn>
                <a:cxn ang="0">
                  <a:pos x="0" y="15"/>
                </a:cxn>
              </a:cxnLst>
              <a:rect l="0" t="0" r="r" b="b"/>
              <a:pathLst>
                <a:path w="33" h="26">
                  <a:moveTo>
                    <a:pt x="0" y="15"/>
                  </a:moveTo>
                  <a:lnTo>
                    <a:pt x="15" y="26"/>
                  </a:lnTo>
                  <a:lnTo>
                    <a:pt x="16" y="16"/>
                  </a:lnTo>
                  <a:lnTo>
                    <a:pt x="22" y="13"/>
                  </a:lnTo>
                  <a:lnTo>
                    <a:pt x="28" y="18"/>
                  </a:lnTo>
                  <a:lnTo>
                    <a:pt x="33" y="7"/>
                  </a:lnTo>
                  <a:lnTo>
                    <a:pt x="30" y="0"/>
                  </a:lnTo>
                  <a:lnTo>
                    <a:pt x="15" y="0"/>
                  </a:lnTo>
                  <a:lnTo>
                    <a:pt x="13" y="5"/>
                  </a:lnTo>
                  <a:lnTo>
                    <a:pt x="3" y="3"/>
                  </a:lnTo>
                  <a:lnTo>
                    <a:pt x="0" y="15"/>
                  </a:lnTo>
                  <a:lnTo>
                    <a:pt x="0" y="15"/>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57" name="Freeform 5919"/>
            <p:cNvSpPr>
              <a:spLocks/>
            </p:cNvSpPr>
            <p:nvPr>
              <p:custDataLst>
                <p:tags r:id="rId237"/>
              </p:custDataLst>
            </p:nvPr>
          </p:nvSpPr>
          <p:spPr bwMode="gray">
            <a:xfrm>
              <a:off x="9195362" y="3379291"/>
              <a:ext cx="179633" cy="190115"/>
            </a:xfrm>
            <a:custGeom>
              <a:avLst/>
              <a:gdLst/>
              <a:ahLst/>
              <a:cxnLst>
                <a:cxn ang="0">
                  <a:pos x="0" y="131"/>
                </a:cxn>
                <a:cxn ang="0">
                  <a:pos x="3" y="138"/>
                </a:cxn>
                <a:cxn ang="0">
                  <a:pos x="20" y="138"/>
                </a:cxn>
                <a:cxn ang="0">
                  <a:pos x="22" y="133"/>
                </a:cxn>
                <a:cxn ang="0">
                  <a:pos x="52" y="121"/>
                </a:cxn>
                <a:cxn ang="0">
                  <a:pos x="67" y="123"/>
                </a:cxn>
                <a:cxn ang="0">
                  <a:pos x="69" y="138"/>
                </a:cxn>
                <a:cxn ang="0">
                  <a:pos x="82" y="148"/>
                </a:cxn>
                <a:cxn ang="0">
                  <a:pos x="89" y="131"/>
                </a:cxn>
                <a:cxn ang="0">
                  <a:pos x="84" y="125"/>
                </a:cxn>
                <a:cxn ang="0">
                  <a:pos x="84" y="118"/>
                </a:cxn>
                <a:cxn ang="0">
                  <a:pos x="95" y="125"/>
                </a:cxn>
                <a:cxn ang="0">
                  <a:pos x="108" y="125"/>
                </a:cxn>
                <a:cxn ang="0">
                  <a:pos x="114" y="116"/>
                </a:cxn>
                <a:cxn ang="0">
                  <a:pos x="119" y="125"/>
                </a:cxn>
                <a:cxn ang="0">
                  <a:pos x="119" y="114"/>
                </a:cxn>
                <a:cxn ang="0">
                  <a:pos x="127" y="108"/>
                </a:cxn>
                <a:cxn ang="0">
                  <a:pos x="131" y="119"/>
                </a:cxn>
                <a:cxn ang="0">
                  <a:pos x="138" y="114"/>
                </a:cxn>
                <a:cxn ang="0">
                  <a:pos x="140" y="104"/>
                </a:cxn>
                <a:cxn ang="0">
                  <a:pos x="121" y="61"/>
                </a:cxn>
                <a:cxn ang="0">
                  <a:pos x="123" y="58"/>
                </a:cxn>
                <a:cxn ang="0">
                  <a:pos x="129" y="58"/>
                </a:cxn>
                <a:cxn ang="0">
                  <a:pos x="127" y="43"/>
                </a:cxn>
                <a:cxn ang="0">
                  <a:pos x="99" y="1"/>
                </a:cxn>
                <a:cxn ang="0">
                  <a:pos x="88" y="0"/>
                </a:cxn>
                <a:cxn ang="0">
                  <a:pos x="97" y="9"/>
                </a:cxn>
                <a:cxn ang="0">
                  <a:pos x="84" y="5"/>
                </a:cxn>
                <a:cxn ang="0">
                  <a:pos x="97" y="45"/>
                </a:cxn>
                <a:cxn ang="0">
                  <a:pos x="93" y="75"/>
                </a:cxn>
                <a:cxn ang="0">
                  <a:pos x="74" y="86"/>
                </a:cxn>
                <a:cxn ang="0">
                  <a:pos x="71" y="73"/>
                </a:cxn>
                <a:cxn ang="0">
                  <a:pos x="67" y="76"/>
                </a:cxn>
                <a:cxn ang="0">
                  <a:pos x="69" y="106"/>
                </a:cxn>
                <a:cxn ang="0">
                  <a:pos x="65" y="108"/>
                </a:cxn>
                <a:cxn ang="0">
                  <a:pos x="56" y="104"/>
                </a:cxn>
                <a:cxn ang="0">
                  <a:pos x="20" y="108"/>
                </a:cxn>
                <a:cxn ang="0">
                  <a:pos x="0" y="131"/>
                </a:cxn>
                <a:cxn ang="0">
                  <a:pos x="0" y="131"/>
                </a:cxn>
              </a:cxnLst>
              <a:rect l="0" t="0" r="r" b="b"/>
              <a:pathLst>
                <a:path w="140" h="148">
                  <a:moveTo>
                    <a:pt x="0" y="131"/>
                  </a:moveTo>
                  <a:lnTo>
                    <a:pt x="3" y="138"/>
                  </a:lnTo>
                  <a:lnTo>
                    <a:pt x="20" y="138"/>
                  </a:lnTo>
                  <a:lnTo>
                    <a:pt x="22" y="133"/>
                  </a:lnTo>
                  <a:lnTo>
                    <a:pt x="52" y="121"/>
                  </a:lnTo>
                  <a:lnTo>
                    <a:pt x="67" y="123"/>
                  </a:lnTo>
                  <a:lnTo>
                    <a:pt x="69" y="138"/>
                  </a:lnTo>
                  <a:lnTo>
                    <a:pt x="82" y="148"/>
                  </a:lnTo>
                  <a:lnTo>
                    <a:pt x="89" y="131"/>
                  </a:lnTo>
                  <a:lnTo>
                    <a:pt x="84" y="125"/>
                  </a:lnTo>
                  <a:lnTo>
                    <a:pt x="84" y="118"/>
                  </a:lnTo>
                  <a:lnTo>
                    <a:pt x="95" y="125"/>
                  </a:lnTo>
                  <a:lnTo>
                    <a:pt x="108" y="125"/>
                  </a:lnTo>
                  <a:lnTo>
                    <a:pt x="114" y="116"/>
                  </a:lnTo>
                  <a:lnTo>
                    <a:pt x="119" y="125"/>
                  </a:lnTo>
                  <a:lnTo>
                    <a:pt x="119" y="114"/>
                  </a:lnTo>
                  <a:lnTo>
                    <a:pt x="127" y="108"/>
                  </a:lnTo>
                  <a:lnTo>
                    <a:pt x="131" y="119"/>
                  </a:lnTo>
                  <a:lnTo>
                    <a:pt x="138" y="114"/>
                  </a:lnTo>
                  <a:lnTo>
                    <a:pt x="140" y="104"/>
                  </a:lnTo>
                  <a:lnTo>
                    <a:pt x="121" y="61"/>
                  </a:lnTo>
                  <a:lnTo>
                    <a:pt x="123" y="58"/>
                  </a:lnTo>
                  <a:lnTo>
                    <a:pt x="129" y="58"/>
                  </a:lnTo>
                  <a:lnTo>
                    <a:pt x="127" y="43"/>
                  </a:lnTo>
                  <a:lnTo>
                    <a:pt x="99" y="1"/>
                  </a:lnTo>
                  <a:lnTo>
                    <a:pt x="88" y="0"/>
                  </a:lnTo>
                  <a:lnTo>
                    <a:pt x="97" y="9"/>
                  </a:lnTo>
                  <a:lnTo>
                    <a:pt x="84" y="5"/>
                  </a:lnTo>
                  <a:lnTo>
                    <a:pt x="97" y="45"/>
                  </a:lnTo>
                  <a:lnTo>
                    <a:pt x="93" y="75"/>
                  </a:lnTo>
                  <a:lnTo>
                    <a:pt x="74" y="86"/>
                  </a:lnTo>
                  <a:lnTo>
                    <a:pt x="71" y="73"/>
                  </a:lnTo>
                  <a:lnTo>
                    <a:pt x="67" y="76"/>
                  </a:lnTo>
                  <a:lnTo>
                    <a:pt x="69" y="106"/>
                  </a:lnTo>
                  <a:lnTo>
                    <a:pt x="65" y="108"/>
                  </a:lnTo>
                  <a:lnTo>
                    <a:pt x="56" y="104"/>
                  </a:lnTo>
                  <a:lnTo>
                    <a:pt x="20" y="108"/>
                  </a:lnTo>
                  <a:lnTo>
                    <a:pt x="0" y="131"/>
                  </a:lnTo>
                  <a:lnTo>
                    <a:pt x="0" y="131"/>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58" name="Freeform 5920"/>
            <p:cNvSpPr>
              <a:spLocks/>
            </p:cNvSpPr>
            <p:nvPr>
              <p:custDataLst>
                <p:tags r:id="rId238"/>
              </p:custDataLst>
            </p:nvPr>
          </p:nvSpPr>
          <p:spPr bwMode="gray">
            <a:xfrm>
              <a:off x="9267215" y="3285518"/>
              <a:ext cx="110346" cy="95057"/>
            </a:xfrm>
            <a:custGeom>
              <a:avLst/>
              <a:gdLst/>
              <a:ahLst/>
              <a:cxnLst>
                <a:cxn ang="0">
                  <a:pos x="5" y="52"/>
                </a:cxn>
                <a:cxn ang="0">
                  <a:pos x="20" y="74"/>
                </a:cxn>
                <a:cxn ang="0">
                  <a:pos x="32" y="65"/>
                </a:cxn>
                <a:cxn ang="0">
                  <a:pos x="15" y="54"/>
                </a:cxn>
                <a:cxn ang="0">
                  <a:pos x="24" y="56"/>
                </a:cxn>
                <a:cxn ang="0">
                  <a:pos x="35" y="52"/>
                </a:cxn>
                <a:cxn ang="0">
                  <a:pos x="62" y="63"/>
                </a:cxn>
                <a:cxn ang="0">
                  <a:pos x="65" y="44"/>
                </a:cxn>
                <a:cxn ang="0">
                  <a:pos x="75" y="44"/>
                </a:cxn>
                <a:cxn ang="0">
                  <a:pos x="86" y="37"/>
                </a:cxn>
                <a:cxn ang="0">
                  <a:pos x="77" y="39"/>
                </a:cxn>
                <a:cxn ang="0">
                  <a:pos x="69" y="31"/>
                </a:cxn>
                <a:cxn ang="0">
                  <a:pos x="67" y="22"/>
                </a:cxn>
                <a:cxn ang="0">
                  <a:pos x="62" y="28"/>
                </a:cxn>
                <a:cxn ang="0">
                  <a:pos x="43" y="24"/>
                </a:cxn>
                <a:cxn ang="0">
                  <a:pos x="3" y="0"/>
                </a:cxn>
                <a:cxn ang="0">
                  <a:pos x="0" y="3"/>
                </a:cxn>
                <a:cxn ang="0">
                  <a:pos x="9" y="13"/>
                </a:cxn>
                <a:cxn ang="0">
                  <a:pos x="20" y="41"/>
                </a:cxn>
                <a:cxn ang="0">
                  <a:pos x="5" y="39"/>
                </a:cxn>
                <a:cxn ang="0">
                  <a:pos x="11" y="44"/>
                </a:cxn>
                <a:cxn ang="0">
                  <a:pos x="5" y="52"/>
                </a:cxn>
                <a:cxn ang="0">
                  <a:pos x="5" y="52"/>
                </a:cxn>
              </a:cxnLst>
              <a:rect l="0" t="0" r="r" b="b"/>
              <a:pathLst>
                <a:path w="86" h="74">
                  <a:moveTo>
                    <a:pt x="5" y="52"/>
                  </a:moveTo>
                  <a:lnTo>
                    <a:pt x="20" y="74"/>
                  </a:lnTo>
                  <a:lnTo>
                    <a:pt x="32" y="65"/>
                  </a:lnTo>
                  <a:lnTo>
                    <a:pt x="15" y="54"/>
                  </a:lnTo>
                  <a:lnTo>
                    <a:pt x="24" y="56"/>
                  </a:lnTo>
                  <a:lnTo>
                    <a:pt x="35" y="52"/>
                  </a:lnTo>
                  <a:lnTo>
                    <a:pt x="62" y="63"/>
                  </a:lnTo>
                  <a:lnTo>
                    <a:pt x="65" y="44"/>
                  </a:lnTo>
                  <a:lnTo>
                    <a:pt x="75" y="44"/>
                  </a:lnTo>
                  <a:lnTo>
                    <a:pt x="86" y="37"/>
                  </a:lnTo>
                  <a:lnTo>
                    <a:pt x="77" y="39"/>
                  </a:lnTo>
                  <a:lnTo>
                    <a:pt x="69" y="31"/>
                  </a:lnTo>
                  <a:lnTo>
                    <a:pt x="67" y="22"/>
                  </a:lnTo>
                  <a:lnTo>
                    <a:pt x="62" y="28"/>
                  </a:lnTo>
                  <a:lnTo>
                    <a:pt x="43" y="24"/>
                  </a:lnTo>
                  <a:lnTo>
                    <a:pt x="3" y="0"/>
                  </a:lnTo>
                  <a:lnTo>
                    <a:pt x="0" y="3"/>
                  </a:lnTo>
                  <a:lnTo>
                    <a:pt x="9" y="13"/>
                  </a:lnTo>
                  <a:lnTo>
                    <a:pt x="20" y="41"/>
                  </a:lnTo>
                  <a:lnTo>
                    <a:pt x="5" y="39"/>
                  </a:lnTo>
                  <a:lnTo>
                    <a:pt x="11" y="44"/>
                  </a:lnTo>
                  <a:lnTo>
                    <a:pt x="5" y="52"/>
                  </a:lnTo>
                  <a:lnTo>
                    <a:pt x="5" y="52"/>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59" name="Freeform 5921"/>
            <p:cNvSpPr>
              <a:spLocks/>
            </p:cNvSpPr>
            <p:nvPr>
              <p:custDataLst>
                <p:tags r:id="rId239"/>
              </p:custDataLst>
            </p:nvPr>
          </p:nvSpPr>
          <p:spPr bwMode="gray">
            <a:xfrm>
              <a:off x="9124792" y="37852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60" name="Freeform 5922"/>
            <p:cNvSpPr>
              <a:spLocks/>
            </p:cNvSpPr>
            <p:nvPr>
              <p:custDataLst>
                <p:tags r:id="rId240"/>
              </p:custDataLst>
            </p:nvPr>
          </p:nvSpPr>
          <p:spPr bwMode="gray">
            <a:xfrm>
              <a:off x="9156869" y="377365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61" name="Freeform 5923"/>
            <p:cNvSpPr>
              <a:spLocks/>
            </p:cNvSpPr>
            <p:nvPr>
              <p:custDataLst>
                <p:tags r:id="rId241"/>
              </p:custDataLst>
            </p:nvPr>
          </p:nvSpPr>
          <p:spPr bwMode="gray">
            <a:xfrm>
              <a:off x="9195362" y="3724837"/>
              <a:ext cx="3849" cy="16699"/>
            </a:xfrm>
            <a:custGeom>
              <a:avLst/>
              <a:gdLst/>
              <a:ahLst/>
              <a:cxnLst>
                <a:cxn ang="0">
                  <a:pos x="0" y="13"/>
                </a:cxn>
                <a:cxn ang="0">
                  <a:pos x="3" y="0"/>
                </a:cxn>
                <a:cxn ang="0">
                  <a:pos x="0" y="13"/>
                </a:cxn>
              </a:cxnLst>
              <a:rect l="0" t="0" r="r" b="b"/>
              <a:pathLst>
                <a:path w="3" h="13">
                  <a:moveTo>
                    <a:pt x="0" y="13"/>
                  </a:moveTo>
                  <a:lnTo>
                    <a:pt x="3" y="0"/>
                  </a:lnTo>
                  <a:lnTo>
                    <a:pt x="0" y="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62" name="Line 5924"/>
            <p:cNvSpPr>
              <a:spLocks noChangeShapeType="1"/>
            </p:cNvSpPr>
            <p:nvPr>
              <p:custDataLst>
                <p:tags r:id="rId242"/>
              </p:custDataLst>
            </p:nvPr>
          </p:nvSpPr>
          <p:spPr bwMode="gray">
            <a:xfrm flipV="1">
              <a:off x="9195362" y="3724837"/>
              <a:ext cx="3849" cy="16699"/>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63" name="Freeform 5925"/>
            <p:cNvSpPr>
              <a:spLocks/>
            </p:cNvSpPr>
            <p:nvPr>
              <p:custDataLst>
                <p:tags r:id="rId243"/>
              </p:custDataLst>
            </p:nvPr>
          </p:nvSpPr>
          <p:spPr bwMode="gray">
            <a:xfrm>
              <a:off x="9214608" y="3686300"/>
              <a:ext cx="3849" cy="7707"/>
            </a:xfrm>
            <a:custGeom>
              <a:avLst/>
              <a:gdLst/>
              <a:ahLst/>
              <a:cxnLst>
                <a:cxn ang="0">
                  <a:pos x="0" y="6"/>
                </a:cxn>
                <a:cxn ang="0">
                  <a:pos x="3" y="0"/>
                </a:cxn>
                <a:cxn ang="0">
                  <a:pos x="0" y="6"/>
                </a:cxn>
              </a:cxnLst>
              <a:rect l="0" t="0" r="r" b="b"/>
              <a:pathLst>
                <a:path w="3" h="6">
                  <a:moveTo>
                    <a:pt x="0" y="6"/>
                  </a:moveTo>
                  <a:lnTo>
                    <a:pt x="3" y="0"/>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64" name="Line 5926"/>
            <p:cNvSpPr>
              <a:spLocks noChangeShapeType="1"/>
            </p:cNvSpPr>
            <p:nvPr>
              <p:custDataLst>
                <p:tags r:id="rId244"/>
              </p:custDataLst>
            </p:nvPr>
          </p:nvSpPr>
          <p:spPr bwMode="gray">
            <a:xfrm flipV="1">
              <a:off x="9214608" y="3686300"/>
              <a:ext cx="3849" cy="7707"/>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65" name="Freeform 5927"/>
            <p:cNvSpPr>
              <a:spLocks/>
            </p:cNvSpPr>
            <p:nvPr>
              <p:custDataLst>
                <p:tags r:id="rId245"/>
              </p:custDataLst>
            </p:nvPr>
          </p:nvSpPr>
          <p:spPr bwMode="gray">
            <a:xfrm>
              <a:off x="9221024" y="364134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66" name="Freeform 5928"/>
            <p:cNvSpPr>
              <a:spLocks/>
            </p:cNvSpPr>
            <p:nvPr>
              <p:custDataLst>
                <p:tags r:id="rId246"/>
              </p:custDataLst>
            </p:nvPr>
          </p:nvSpPr>
          <p:spPr bwMode="gray">
            <a:xfrm>
              <a:off x="9385259" y="357582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67" name="Freeform 5929"/>
            <p:cNvSpPr>
              <a:spLocks/>
            </p:cNvSpPr>
            <p:nvPr>
              <p:custDataLst>
                <p:tags r:id="rId247"/>
              </p:custDataLst>
            </p:nvPr>
          </p:nvSpPr>
          <p:spPr bwMode="gray">
            <a:xfrm>
              <a:off x="9389109" y="358995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68" name="Freeform 5930"/>
            <p:cNvSpPr>
              <a:spLocks/>
            </p:cNvSpPr>
            <p:nvPr>
              <p:custDataLst>
                <p:tags r:id="rId248"/>
              </p:custDataLst>
            </p:nvPr>
          </p:nvSpPr>
          <p:spPr bwMode="gray">
            <a:xfrm>
              <a:off x="9416054" y="363877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69" name="Freeform 5931"/>
            <p:cNvSpPr>
              <a:spLocks/>
            </p:cNvSpPr>
            <p:nvPr>
              <p:custDataLst>
                <p:tags r:id="rId249"/>
              </p:custDataLst>
            </p:nvPr>
          </p:nvSpPr>
          <p:spPr bwMode="gray">
            <a:xfrm>
              <a:off x="9480208" y="371841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70" name="Freeform 5932"/>
            <p:cNvSpPr>
              <a:spLocks/>
            </p:cNvSpPr>
            <p:nvPr>
              <p:custDataLst>
                <p:tags r:id="rId250"/>
              </p:custDataLst>
            </p:nvPr>
          </p:nvSpPr>
          <p:spPr bwMode="gray">
            <a:xfrm>
              <a:off x="9482774" y="37299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71" name="Freeform 5933"/>
            <p:cNvSpPr>
              <a:spLocks/>
            </p:cNvSpPr>
            <p:nvPr>
              <p:custDataLst>
                <p:tags r:id="rId251"/>
              </p:custDataLst>
            </p:nvPr>
          </p:nvSpPr>
          <p:spPr bwMode="gray">
            <a:xfrm>
              <a:off x="9478925" y="377365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72" name="Freeform 5934"/>
            <p:cNvSpPr>
              <a:spLocks/>
            </p:cNvSpPr>
            <p:nvPr>
              <p:custDataLst>
                <p:tags r:id="rId252"/>
              </p:custDataLst>
            </p:nvPr>
          </p:nvSpPr>
          <p:spPr bwMode="gray">
            <a:xfrm>
              <a:off x="9363447" y="3311209"/>
              <a:ext cx="6415" cy="11561"/>
            </a:xfrm>
            <a:custGeom>
              <a:avLst/>
              <a:gdLst/>
              <a:ahLst/>
              <a:cxnLst>
                <a:cxn ang="0">
                  <a:pos x="0" y="9"/>
                </a:cxn>
                <a:cxn ang="0">
                  <a:pos x="5" y="0"/>
                </a:cxn>
                <a:cxn ang="0">
                  <a:pos x="0" y="9"/>
                </a:cxn>
              </a:cxnLst>
              <a:rect l="0" t="0" r="r" b="b"/>
              <a:pathLst>
                <a:path w="5" h="9">
                  <a:moveTo>
                    <a:pt x="0" y="9"/>
                  </a:moveTo>
                  <a:lnTo>
                    <a:pt x="5" y="0"/>
                  </a:lnTo>
                  <a:lnTo>
                    <a:pt x="0" y="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73" name="Line 5935"/>
            <p:cNvSpPr>
              <a:spLocks noChangeShapeType="1"/>
            </p:cNvSpPr>
            <p:nvPr>
              <p:custDataLst>
                <p:tags r:id="rId253"/>
              </p:custDataLst>
            </p:nvPr>
          </p:nvSpPr>
          <p:spPr bwMode="gray">
            <a:xfrm flipV="1">
              <a:off x="9363447" y="3311209"/>
              <a:ext cx="6415" cy="11561"/>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74" name="Freeform 5936"/>
            <p:cNvSpPr>
              <a:spLocks/>
            </p:cNvSpPr>
            <p:nvPr>
              <p:custDataLst>
                <p:tags r:id="rId254"/>
              </p:custDataLst>
            </p:nvPr>
          </p:nvSpPr>
          <p:spPr bwMode="gray">
            <a:xfrm>
              <a:off x="9382693" y="3285518"/>
              <a:ext cx="19246" cy="23122"/>
            </a:xfrm>
            <a:custGeom>
              <a:avLst/>
              <a:gdLst/>
              <a:ahLst/>
              <a:cxnLst>
                <a:cxn ang="0">
                  <a:pos x="0" y="18"/>
                </a:cxn>
                <a:cxn ang="0">
                  <a:pos x="15" y="0"/>
                </a:cxn>
                <a:cxn ang="0">
                  <a:pos x="3" y="1"/>
                </a:cxn>
                <a:cxn ang="0">
                  <a:pos x="0" y="18"/>
                </a:cxn>
                <a:cxn ang="0">
                  <a:pos x="0" y="18"/>
                </a:cxn>
              </a:cxnLst>
              <a:rect l="0" t="0" r="r" b="b"/>
              <a:pathLst>
                <a:path w="15" h="18">
                  <a:moveTo>
                    <a:pt x="0" y="18"/>
                  </a:moveTo>
                  <a:lnTo>
                    <a:pt x="15" y="0"/>
                  </a:lnTo>
                  <a:lnTo>
                    <a:pt x="3" y="1"/>
                  </a:lnTo>
                  <a:lnTo>
                    <a:pt x="0" y="18"/>
                  </a:lnTo>
                  <a:lnTo>
                    <a:pt x="0" y="1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75" name="Freeform 5937"/>
            <p:cNvSpPr>
              <a:spLocks/>
            </p:cNvSpPr>
            <p:nvPr>
              <p:custDataLst>
                <p:tags r:id="rId255"/>
              </p:custDataLst>
            </p:nvPr>
          </p:nvSpPr>
          <p:spPr bwMode="gray">
            <a:xfrm>
              <a:off x="9410921" y="3266250"/>
              <a:ext cx="7699" cy="14130"/>
            </a:xfrm>
            <a:custGeom>
              <a:avLst/>
              <a:gdLst/>
              <a:ahLst/>
              <a:cxnLst>
                <a:cxn ang="0">
                  <a:pos x="0" y="11"/>
                </a:cxn>
                <a:cxn ang="0">
                  <a:pos x="6" y="0"/>
                </a:cxn>
                <a:cxn ang="0">
                  <a:pos x="0" y="11"/>
                </a:cxn>
                <a:cxn ang="0">
                  <a:pos x="0" y="11"/>
                </a:cxn>
              </a:cxnLst>
              <a:rect l="0" t="0" r="r" b="b"/>
              <a:pathLst>
                <a:path w="6" h="11">
                  <a:moveTo>
                    <a:pt x="0" y="11"/>
                  </a:moveTo>
                  <a:lnTo>
                    <a:pt x="6" y="0"/>
                  </a:lnTo>
                  <a:lnTo>
                    <a:pt x="0" y="11"/>
                  </a:lnTo>
                  <a:lnTo>
                    <a:pt x="0"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76" name="Freeform 5938"/>
            <p:cNvSpPr>
              <a:spLocks/>
            </p:cNvSpPr>
            <p:nvPr>
              <p:custDataLst>
                <p:tags r:id="rId256"/>
              </p:custDataLst>
            </p:nvPr>
          </p:nvSpPr>
          <p:spPr bwMode="gray">
            <a:xfrm>
              <a:off x="9432734" y="3246981"/>
              <a:ext cx="2566" cy="6423"/>
            </a:xfrm>
            <a:custGeom>
              <a:avLst/>
              <a:gdLst/>
              <a:ahLst/>
              <a:cxnLst>
                <a:cxn ang="0">
                  <a:pos x="0" y="5"/>
                </a:cxn>
                <a:cxn ang="0">
                  <a:pos x="2" y="0"/>
                </a:cxn>
                <a:cxn ang="0">
                  <a:pos x="0" y="5"/>
                </a:cxn>
              </a:cxnLst>
              <a:rect l="0" t="0" r="r" b="b"/>
              <a:pathLst>
                <a:path w="2" h="5">
                  <a:moveTo>
                    <a:pt x="0" y="5"/>
                  </a:moveTo>
                  <a:lnTo>
                    <a:pt x="2" y="0"/>
                  </a:lnTo>
                  <a:lnTo>
                    <a:pt x="0"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77" name="Line 5939"/>
            <p:cNvSpPr>
              <a:spLocks noChangeShapeType="1"/>
            </p:cNvSpPr>
            <p:nvPr>
              <p:custDataLst>
                <p:tags r:id="rId257"/>
              </p:custDataLst>
            </p:nvPr>
          </p:nvSpPr>
          <p:spPr bwMode="gray">
            <a:xfrm flipV="1">
              <a:off x="9432734" y="3246981"/>
              <a:ext cx="2566" cy="6423"/>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78" name="Freeform 5940"/>
            <p:cNvSpPr>
              <a:spLocks/>
            </p:cNvSpPr>
            <p:nvPr>
              <p:custDataLst>
                <p:tags r:id="rId258"/>
              </p:custDataLst>
            </p:nvPr>
          </p:nvSpPr>
          <p:spPr bwMode="gray">
            <a:xfrm>
              <a:off x="9437866" y="322514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79" name="Freeform 5941"/>
            <p:cNvSpPr>
              <a:spLocks/>
            </p:cNvSpPr>
            <p:nvPr>
              <p:custDataLst>
                <p:tags r:id="rId259"/>
              </p:custDataLst>
            </p:nvPr>
          </p:nvSpPr>
          <p:spPr bwMode="gray">
            <a:xfrm>
              <a:off x="9437866" y="3164769"/>
              <a:ext cx="11548" cy="14130"/>
            </a:xfrm>
            <a:custGeom>
              <a:avLst/>
              <a:gdLst/>
              <a:ahLst/>
              <a:cxnLst>
                <a:cxn ang="0">
                  <a:pos x="0" y="7"/>
                </a:cxn>
                <a:cxn ang="0">
                  <a:pos x="3" y="11"/>
                </a:cxn>
                <a:cxn ang="0">
                  <a:pos x="9" y="9"/>
                </a:cxn>
                <a:cxn ang="0">
                  <a:pos x="5" y="0"/>
                </a:cxn>
                <a:cxn ang="0">
                  <a:pos x="0" y="7"/>
                </a:cxn>
                <a:cxn ang="0">
                  <a:pos x="0" y="7"/>
                </a:cxn>
              </a:cxnLst>
              <a:rect l="0" t="0" r="r" b="b"/>
              <a:pathLst>
                <a:path w="9" h="11">
                  <a:moveTo>
                    <a:pt x="0" y="7"/>
                  </a:moveTo>
                  <a:lnTo>
                    <a:pt x="3" y="11"/>
                  </a:lnTo>
                  <a:lnTo>
                    <a:pt x="9" y="9"/>
                  </a:lnTo>
                  <a:lnTo>
                    <a:pt x="5" y="0"/>
                  </a:lnTo>
                  <a:lnTo>
                    <a:pt x="0" y="7"/>
                  </a:lnTo>
                  <a:lnTo>
                    <a:pt x="0" y="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80" name="Freeform 5942"/>
            <p:cNvSpPr>
              <a:spLocks/>
            </p:cNvSpPr>
            <p:nvPr>
              <p:custDataLst>
                <p:tags r:id="rId260"/>
              </p:custDataLst>
            </p:nvPr>
          </p:nvSpPr>
          <p:spPr bwMode="gray">
            <a:xfrm>
              <a:off x="9399373" y="2974655"/>
              <a:ext cx="14114" cy="14130"/>
            </a:xfrm>
            <a:custGeom>
              <a:avLst/>
              <a:gdLst/>
              <a:ahLst/>
              <a:cxnLst>
                <a:cxn ang="0">
                  <a:pos x="5" y="11"/>
                </a:cxn>
                <a:cxn ang="0">
                  <a:pos x="11" y="5"/>
                </a:cxn>
                <a:cxn ang="0">
                  <a:pos x="3" y="0"/>
                </a:cxn>
                <a:cxn ang="0">
                  <a:pos x="0" y="4"/>
                </a:cxn>
                <a:cxn ang="0">
                  <a:pos x="5" y="11"/>
                </a:cxn>
                <a:cxn ang="0">
                  <a:pos x="5" y="11"/>
                </a:cxn>
              </a:cxnLst>
              <a:rect l="0" t="0" r="r" b="b"/>
              <a:pathLst>
                <a:path w="11" h="11">
                  <a:moveTo>
                    <a:pt x="5" y="11"/>
                  </a:moveTo>
                  <a:lnTo>
                    <a:pt x="11" y="5"/>
                  </a:lnTo>
                  <a:lnTo>
                    <a:pt x="3" y="0"/>
                  </a:lnTo>
                  <a:lnTo>
                    <a:pt x="0" y="4"/>
                  </a:lnTo>
                  <a:lnTo>
                    <a:pt x="5" y="11"/>
                  </a:lnTo>
                  <a:lnTo>
                    <a:pt x="5"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81" name="Freeform 5943"/>
            <p:cNvSpPr>
              <a:spLocks/>
            </p:cNvSpPr>
            <p:nvPr>
              <p:custDataLst>
                <p:tags r:id="rId261"/>
              </p:custDataLst>
            </p:nvPr>
          </p:nvSpPr>
          <p:spPr bwMode="gray">
            <a:xfrm>
              <a:off x="9309557" y="2719027"/>
              <a:ext cx="24379" cy="10276"/>
            </a:xfrm>
            <a:custGeom>
              <a:avLst/>
              <a:gdLst/>
              <a:ahLst/>
              <a:cxnLst>
                <a:cxn ang="0">
                  <a:pos x="6" y="0"/>
                </a:cxn>
                <a:cxn ang="0">
                  <a:pos x="0" y="6"/>
                </a:cxn>
                <a:cxn ang="0">
                  <a:pos x="19" y="8"/>
                </a:cxn>
                <a:cxn ang="0">
                  <a:pos x="6" y="0"/>
                </a:cxn>
              </a:cxnLst>
              <a:rect l="0" t="0" r="r" b="b"/>
              <a:pathLst>
                <a:path w="19" h="8">
                  <a:moveTo>
                    <a:pt x="6" y="0"/>
                  </a:moveTo>
                  <a:lnTo>
                    <a:pt x="0" y="6"/>
                  </a:lnTo>
                  <a:lnTo>
                    <a:pt x="19" y="8"/>
                  </a:lnTo>
                  <a:lnTo>
                    <a:pt x="6"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82" name="Freeform 5944"/>
            <p:cNvSpPr>
              <a:spLocks/>
            </p:cNvSpPr>
            <p:nvPr>
              <p:custDataLst>
                <p:tags r:id="rId262"/>
              </p:custDataLst>
            </p:nvPr>
          </p:nvSpPr>
          <p:spPr bwMode="gray">
            <a:xfrm>
              <a:off x="9309557" y="2719027"/>
              <a:ext cx="24379" cy="10276"/>
            </a:xfrm>
            <a:custGeom>
              <a:avLst/>
              <a:gdLst/>
              <a:ahLst/>
              <a:cxnLst>
                <a:cxn ang="0">
                  <a:pos x="6" y="0"/>
                </a:cxn>
                <a:cxn ang="0">
                  <a:pos x="0" y="6"/>
                </a:cxn>
                <a:cxn ang="0">
                  <a:pos x="19" y="8"/>
                </a:cxn>
              </a:cxnLst>
              <a:rect l="0" t="0" r="r" b="b"/>
              <a:pathLst>
                <a:path w="19" h="8">
                  <a:moveTo>
                    <a:pt x="6" y="0"/>
                  </a:moveTo>
                  <a:lnTo>
                    <a:pt x="0" y="6"/>
                  </a:lnTo>
                  <a:lnTo>
                    <a:pt x="19" y="8"/>
                  </a:lnTo>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83" name="Freeform 5945"/>
            <p:cNvSpPr>
              <a:spLocks/>
            </p:cNvSpPr>
            <p:nvPr>
              <p:custDataLst>
                <p:tags r:id="rId263"/>
              </p:custDataLst>
            </p:nvPr>
          </p:nvSpPr>
          <p:spPr bwMode="gray">
            <a:xfrm>
              <a:off x="9317255" y="2719027"/>
              <a:ext cx="48758" cy="10276"/>
            </a:xfrm>
            <a:custGeom>
              <a:avLst/>
              <a:gdLst/>
              <a:ahLst/>
              <a:cxnLst>
                <a:cxn ang="0">
                  <a:pos x="13" y="8"/>
                </a:cxn>
                <a:cxn ang="0">
                  <a:pos x="38" y="6"/>
                </a:cxn>
                <a:cxn ang="0">
                  <a:pos x="0" y="0"/>
                </a:cxn>
                <a:cxn ang="0">
                  <a:pos x="13" y="8"/>
                </a:cxn>
              </a:cxnLst>
              <a:rect l="0" t="0" r="r" b="b"/>
              <a:pathLst>
                <a:path w="38" h="8">
                  <a:moveTo>
                    <a:pt x="13" y="8"/>
                  </a:moveTo>
                  <a:lnTo>
                    <a:pt x="38" y="6"/>
                  </a:lnTo>
                  <a:lnTo>
                    <a:pt x="0" y="0"/>
                  </a:lnTo>
                  <a:lnTo>
                    <a:pt x="13" y="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84" name="Freeform 5946"/>
            <p:cNvSpPr>
              <a:spLocks/>
            </p:cNvSpPr>
            <p:nvPr>
              <p:custDataLst>
                <p:tags r:id="rId264"/>
              </p:custDataLst>
            </p:nvPr>
          </p:nvSpPr>
          <p:spPr bwMode="gray">
            <a:xfrm>
              <a:off x="9317255" y="2719027"/>
              <a:ext cx="48758" cy="10276"/>
            </a:xfrm>
            <a:custGeom>
              <a:avLst/>
              <a:gdLst/>
              <a:ahLst/>
              <a:cxnLst>
                <a:cxn ang="0">
                  <a:pos x="13" y="8"/>
                </a:cxn>
                <a:cxn ang="0">
                  <a:pos x="38" y="6"/>
                </a:cxn>
                <a:cxn ang="0">
                  <a:pos x="0" y="0"/>
                </a:cxn>
              </a:cxnLst>
              <a:rect l="0" t="0" r="r" b="b"/>
              <a:pathLst>
                <a:path w="38" h="8">
                  <a:moveTo>
                    <a:pt x="13" y="8"/>
                  </a:moveTo>
                  <a:lnTo>
                    <a:pt x="38" y="6"/>
                  </a:lnTo>
                  <a:lnTo>
                    <a:pt x="0" y="0"/>
                  </a:lnTo>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85" name="Freeform 5947"/>
            <p:cNvSpPr>
              <a:spLocks/>
            </p:cNvSpPr>
            <p:nvPr>
              <p:custDataLst>
                <p:tags r:id="rId265"/>
              </p:custDataLst>
            </p:nvPr>
          </p:nvSpPr>
          <p:spPr bwMode="gray">
            <a:xfrm>
              <a:off x="8684691" y="2674068"/>
              <a:ext cx="53890" cy="14130"/>
            </a:xfrm>
            <a:custGeom>
              <a:avLst/>
              <a:gdLst/>
              <a:ahLst/>
              <a:cxnLst>
                <a:cxn ang="0">
                  <a:pos x="2" y="5"/>
                </a:cxn>
                <a:cxn ang="0">
                  <a:pos x="42" y="11"/>
                </a:cxn>
                <a:cxn ang="0">
                  <a:pos x="14" y="0"/>
                </a:cxn>
                <a:cxn ang="0">
                  <a:pos x="0" y="0"/>
                </a:cxn>
                <a:cxn ang="0">
                  <a:pos x="2" y="5"/>
                </a:cxn>
                <a:cxn ang="0">
                  <a:pos x="2" y="5"/>
                </a:cxn>
              </a:cxnLst>
              <a:rect l="0" t="0" r="r" b="b"/>
              <a:pathLst>
                <a:path w="42" h="11">
                  <a:moveTo>
                    <a:pt x="2" y="5"/>
                  </a:moveTo>
                  <a:lnTo>
                    <a:pt x="42" y="11"/>
                  </a:lnTo>
                  <a:lnTo>
                    <a:pt x="14" y="0"/>
                  </a:lnTo>
                  <a:lnTo>
                    <a:pt x="0" y="0"/>
                  </a:lnTo>
                  <a:lnTo>
                    <a:pt x="2" y="5"/>
                  </a:lnTo>
                  <a:lnTo>
                    <a:pt x="2"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86" name="Freeform 5948"/>
            <p:cNvSpPr>
              <a:spLocks/>
            </p:cNvSpPr>
            <p:nvPr>
              <p:custDataLst>
                <p:tags r:id="rId266"/>
              </p:custDataLst>
            </p:nvPr>
          </p:nvSpPr>
          <p:spPr bwMode="gray">
            <a:xfrm>
              <a:off x="8664161" y="2666360"/>
              <a:ext cx="19246" cy="5138"/>
            </a:xfrm>
            <a:custGeom>
              <a:avLst/>
              <a:gdLst/>
              <a:ahLst/>
              <a:cxnLst>
                <a:cxn ang="0">
                  <a:pos x="0" y="0"/>
                </a:cxn>
                <a:cxn ang="0">
                  <a:pos x="15" y="4"/>
                </a:cxn>
                <a:cxn ang="0">
                  <a:pos x="0" y="0"/>
                </a:cxn>
                <a:cxn ang="0">
                  <a:pos x="0" y="0"/>
                </a:cxn>
              </a:cxnLst>
              <a:rect l="0" t="0" r="r" b="b"/>
              <a:pathLst>
                <a:path w="15" h="4">
                  <a:moveTo>
                    <a:pt x="0" y="0"/>
                  </a:moveTo>
                  <a:lnTo>
                    <a:pt x="15" y="4"/>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87" name="Freeform 5949"/>
            <p:cNvSpPr>
              <a:spLocks/>
            </p:cNvSpPr>
            <p:nvPr>
              <p:custDataLst>
                <p:tags r:id="rId267"/>
              </p:custDataLst>
            </p:nvPr>
          </p:nvSpPr>
          <p:spPr bwMode="gray">
            <a:xfrm>
              <a:off x="8716768" y="2641954"/>
              <a:ext cx="79552" cy="16699"/>
            </a:xfrm>
            <a:custGeom>
              <a:avLst/>
              <a:gdLst/>
              <a:ahLst/>
              <a:cxnLst>
                <a:cxn ang="0">
                  <a:pos x="0" y="0"/>
                </a:cxn>
                <a:cxn ang="0">
                  <a:pos x="62" y="13"/>
                </a:cxn>
                <a:cxn ang="0">
                  <a:pos x="58" y="6"/>
                </a:cxn>
                <a:cxn ang="0">
                  <a:pos x="0" y="0"/>
                </a:cxn>
                <a:cxn ang="0">
                  <a:pos x="0" y="0"/>
                </a:cxn>
              </a:cxnLst>
              <a:rect l="0" t="0" r="r" b="b"/>
              <a:pathLst>
                <a:path w="62" h="13">
                  <a:moveTo>
                    <a:pt x="0" y="0"/>
                  </a:moveTo>
                  <a:lnTo>
                    <a:pt x="62" y="13"/>
                  </a:lnTo>
                  <a:lnTo>
                    <a:pt x="58" y="6"/>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88" name="Freeform 5950"/>
            <p:cNvSpPr>
              <a:spLocks/>
            </p:cNvSpPr>
            <p:nvPr>
              <p:custDataLst>
                <p:tags r:id="rId268"/>
              </p:custDataLst>
            </p:nvPr>
          </p:nvSpPr>
          <p:spPr bwMode="gray">
            <a:xfrm>
              <a:off x="8582043" y="2632962"/>
              <a:ext cx="118045" cy="25691"/>
            </a:xfrm>
            <a:custGeom>
              <a:avLst/>
              <a:gdLst/>
              <a:ahLst/>
              <a:cxnLst>
                <a:cxn ang="0">
                  <a:pos x="11" y="11"/>
                </a:cxn>
                <a:cxn ang="0">
                  <a:pos x="45" y="20"/>
                </a:cxn>
                <a:cxn ang="0">
                  <a:pos x="80" y="19"/>
                </a:cxn>
                <a:cxn ang="0">
                  <a:pos x="92" y="9"/>
                </a:cxn>
                <a:cxn ang="0">
                  <a:pos x="43" y="0"/>
                </a:cxn>
                <a:cxn ang="0">
                  <a:pos x="41" y="5"/>
                </a:cxn>
                <a:cxn ang="0">
                  <a:pos x="11" y="0"/>
                </a:cxn>
                <a:cxn ang="0">
                  <a:pos x="0" y="4"/>
                </a:cxn>
                <a:cxn ang="0">
                  <a:pos x="11" y="11"/>
                </a:cxn>
                <a:cxn ang="0">
                  <a:pos x="11" y="11"/>
                </a:cxn>
              </a:cxnLst>
              <a:rect l="0" t="0" r="r" b="b"/>
              <a:pathLst>
                <a:path w="92" h="20">
                  <a:moveTo>
                    <a:pt x="11" y="11"/>
                  </a:moveTo>
                  <a:lnTo>
                    <a:pt x="45" y="20"/>
                  </a:lnTo>
                  <a:lnTo>
                    <a:pt x="80" y="19"/>
                  </a:lnTo>
                  <a:lnTo>
                    <a:pt x="92" y="9"/>
                  </a:lnTo>
                  <a:lnTo>
                    <a:pt x="43" y="0"/>
                  </a:lnTo>
                  <a:lnTo>
                    <a:pt x="41" y="5"/>
                  </a:lnTo>
                  <a:lnTo>
                    <a:pt x="11" y="0"/>
                  </a:lnTo>
                  <a:lnTo>
                    <a:pt x="0" y="4"/>
                  </a:lnTo>
                  <a:lnTo>
                    <a:pt x="11" y="11"/>
                  </a:lnTo>
                  <a:lnTo>
                    <a:pt x="11" y="1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89" name="Freeform 5951"/>
            <p:cNvSpPr>
              <a:spLocks/>
            </p:cNvSpPr>
            <p:nvPr>
              <p:custDataLst>
                <p:tags r:id="rId269"/>
              </p:custDataLst>
            </p:nvPr>
          </p:nvSpPr>
          <p:spPr bwMode="gray">
            <a:xfrm>
              <a:off x="8014916" y="2575157"/>
              <a:ext cx="66721" cy="25691"/>
            </a:xfrm>
            <a:custGeom>
              <a:avLst/>
              <a:gdLst/>
              <a:ahLst/>
              <a:cxnLst>
                <a:cxn ang="0">
                  <a:pos x="0" y="20"/>
                </a:cxn>
                <a:cxn ang="0">
                  <a:pos x="52" y="15"/>
                </a:cxn>
                <a:cxn ang="0">
                  <a:pos x="45" y="7"/>
                </a:cxn>
                <a:cxn ang="0">
                  <a:pos x="7" y="0"/>
                </a:cxn>
                <a:cxn ang="0">
                  <a:pos x="0" y="2"/>
                </a:cxn>
                <a:cxn ang="0">
                  <a:pos x="0" y="20"/>
                </a:cxn>
                <a:cxn ang="0">
                  <a:pos x="0" y="20"/>
                </a:cxn>
              </a:cxnLst>
              <a:rect l="0" t="0" r="r" b="b"/>
              <a:pathLst>
                <a:path w="52" h="20">
                  <a:moveTo>
                    <a:pt x="0" y="20"/>
                  </a:moveTo>
                  <a:lnTo>
                    <a:pt x="52" y="15"/>
                  </a:lnTo>
                  <a:lnTo>
                    <a:pt x="45" y="7"/>
                  </a:lnTo>
                  <a:lnTo>
                    <a:pt x="7" y="0"/>
                  </a:lnTo>
                  <a:lnTo>
                    <a:pt x="0" y="2"/>
                  </a:lnTo>
                  <a:lnTo>
                    <a:pt x="0" y="20"/>
                  </a:lnTo>
                  <a:lnTo>
                    <a:pt x="0" y="2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90" name="Freeform 5952"/>
            <p:cNvSpPr>
              <a:spLocks/>
            </p:cNvSpPr>
            <p:nvPr>
              <p:custDataLst>
                <p:tags r:id="rId270"/>
              </p:custDataLst>
            </p:nvPr>
          </p:nvSpPr>
          <p:spPr bwMode="gray">
            <a:xfrm>
              <a:off x="7866078" y="2545612"/>
              <a:ext cx="138574" cy="38537"/>
            </a:xfrm>
            <a:custGeom>
              <a:avLst/>
              <a:gdLst/>
              <a:ahLst/>
              <a:cxnLst>
                <a:cxn ang="0">
                  <a:pos x="0" y="15"/>
                </a:cxn>
                <a:cxn ang="0">
                  <a:pos x="50" y="27"/>
                </a:cxn>
                <a:cxn ang="0">
                  <a:pos x="108" y="30"/>
                </a:cxn>
                <a:cxn ang="0">
                  <a:pos x="97" y="25"/>
                </a:cxn>
                <a:cxn ang="0">
                  <a:pos x="97" y="19"/>
                </a:cxn>
                <a:cxn ang="0">
                  <a:pos x="30" y="0"/>
                </a:cxn>
                <a:cxn ang="0">
                  <a:pos x="9" y="4"/>
                </a:cxn>
                <a:cxn ang="0">
                  <a:pos x="11" y="10"/>
                </a:cxn>
                <a:cxn ang="0">
                  <a:pos x="0" y="15"/>
                </a:cxn>
                <a:cxn ang="0">
                  <a:pos x="0" y="15"/>
                </a:cxn>
              </a:cxnLst>
              <a:rect l="0" t="0" r="r" b="b"/>
              <a:pathLst>
                <a:path w="108" h="30">
                  <a:moveTo>
                    <a:pt x="0" y="15"/>
                  </a:moveTo>
                  <a:lnTo>
                    <a:pt x="50" y="27"/>
                  </a:lnTo>
                  <a:lnTo>
                    <a:pt x="108" y="30"/>
                  </a:lnTo>
                  <a:lnTo>
                    <a:pt x="97" y="25"/>
                  </a:lnTo>
                  <a:lnTo>
                    <a:pt x="97" y="19"/>
                  </a:lnTo>
                  <a:lnTo>
                    <a:pt x="30" y="0"/>
                  </a:lnTo>
                  <a:lnTo>
                    <a:pt x="9" y="4"/>
                  </a:lnTo>
                  <a:lnTo>
                    <a:pt x="11" y="10"/>
                  </a:lnTo>
                  <a:lnTo>
                    <a:pt x="0" y="15"/>
                  </a:lnTo>
                  <a:lnTo>
                    <a:pt x="0" y="1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91" name="Freeform 5953"/>
            <p:cNvSpPr>
              <a:spLocks/>
            </p:cNvSpPr>
            <p:nvPr>
              <p:custDataLst>
                <p:tags r:id="rId271"/>
              </p:custDataLst>
            </p:nvPr>
          </p:nvSpPr>
          <p:spPr bwMode="gray">
            <a:xfrm>
              <a:off x="7420845" y="2616263"/>
              <a:ext cx="204012" cy="118179"/>
            </a:xfrm>
            <a:custGeom>
              <a:avLst/>
              <a:gdLst/>
              <a:ahLst/>
              <a:cxnLst>
                <a:cxn ang="0">
                  <a:pos x="4" y="78"/>
                </a:cxn>
                <a:cxn ang="0">
                  <a:pos x="34" y="90"/>
                </a:cxn>
                <a:cxn ang="0">
                  <a:pos x="79" y="92"/>
                </a:cxn>
                <a:cxn ang="0">
                  <a:pos x="51" y="80"/>
                </a:cxn>
                <a:cxn ang="0">
                  <a:pos x="43" y="65"/>
                </a:cxn>
                <a:cxn ang="0">
                  <a:pos x="47" y="60"/>
                </a:cxn>
                <a:cxn ang="0">
                  <a:pos x="83" y="28"/>
                </a:cxn>
                <a:cxn ang="0">
                  <a:pos x="159" y="11"/>
                </a:cxn>
                <a:cxn ang="0">
                  <a:pos x="158" y="3"/>
                </a:cxn>
                <a:cxn ang="0">
                  <a:pos x="141" y="0"/>
                </a:cxn>
                <a:cxn ang="0">
                  <a:pos x="118" y="9"/>
                </a:cxn>
                <a:cxn ang="0">
                  <a:pos x="77" y="11"/>
                </a:cxn>
                <a:cxn ang="0">
                  <a:pos x="26" y="28"/>
                </a:cxn>
                <a:cxn ang="0">
                  <a:pos x="25" y="41"/>
                </a:cxn>
                <a:cxn ang="0">
                  <a:pos x="15" y="47"/>
                </a:cxn>
                <a:cxn ang="0">
                  <a:pos x="23" y="52"/>
                </a:cxn>
                <a:cxn ang="0">
                  <a:pos x="6" y="63"/>
                </a:cxn>
                <a:cxn ang="0">
                  <a:pos x="11" y="67"/>
                </a:cxn>
                <a:cxn ang="0">
                  <a:pos x="0" y="71"/>
                </a:cxn>
                <a:cxn ang="0">
                  <a:pos x="4" y="78"/>
                </a:cxn>
                <a:cxn ang="0">
                  <a:pos x="4" y="78"/>
                </a:cxn>
              </a:cxnLst>
              <a:rect l="0" t="0" r="r" b="b"/>
              <a:pathLst>
                <a:path w="159" h="92">
                  <a:moveTo>
                    <a:pt x="4" y="78"/>
                  </a:moveTo>
                  <a:lnTo>
                    <a:pt x="34" y="90"/>
                  </a:lnTo>
                  <a:lnTo>
                    <a:pt x="79" y="92"/>
                  </a:lnTo>
                  <a:lnTo>
                    <a:pt x="51" y="80"/>
                  </a:lnTo>
                  <a:lnTo>
                    <a:pt x="43" y="65"/>
                  </a:lnTo>
                  <a:lnTo>
                    <a:pt x="47" y="60"/>
                  </a:lnTo>
                  <a:lnTo>
                    <a:pt x="83" y="28"/>
                  </a:lnTo>
                  <a:lnTo>
                    <a:pt x="159" y="11"/>
                  </a:lnTo>
                  <a:lnTo>
                    <a:pt x="158" y="3"/>
                  </a:lnTo>
                  <a:lnTo>
                    <a:pt x="141" y="0"/>
                  </a:lnTo>
                  <a:lnTo>
                    <a:pt x="118" y="9"/>
                  </a:lnTo>
                  <a:lnTo>
                    <a:pt x="77" y="11"/>
                  </a:lnTo>
                  <a:lnTo>
                    <a:pt x="26" y="28"/>
                  </a:lnTo>
                  <a:lnTo>
                    <a:pt x="25" y="41"/>
                  </a:lnTo>
                  <a:lnTo>
                    <a:pt x="15" y="47"/>
                  </a:lnTo>
                  <a:lnTo>
                    <a:pt x="23" y="52"/>
                  </a:lnTo>
                  <a:lnTo>
                    <a:pt x="6" y="63"/>
                  </a:lnTo>
                  <a:lnTo>
                    <a:pt x="11" y="67"/>
                  </a:lnTo>
                  <a:lnTo>
                    <a:pt x="0" y="71"/>
                  </a:lnTo>
                  <a:lnTo>
                    <a:pt x="4" y="78"/>
                  </a:lnTo>
                  <a:lnTo>
                    <a:pt x="4" y="7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92" name="Freeform 5954"/>
            <p:cNvSpPr>
              <a:spLocks/>
            </p:cNvSpPr>
            <p:nvPr>
              <p:custDataLst>
                <p:tags r:id="rId272"/>
              </p:custDataLst>
            </p:nvPr>
          </p:nvSpPr>
          <p:spPr bwMode="gray">
            <a:xfrm>
              <a:off x="7395183" y="2757564"/>
              <a:ext cx="28228" cy="14130"/>
            </a:xfrm>
            <a:custGeom>
              <a:avLst/>
              <a:gdLst/>
              <a:ahLst/>
              <a:cxnLst>
                <a:cxn ang="0">
                  <a:pos x="5" y="11"/>
                </a:cxn>
                <a:cxn ang="0">
                  <a:pos x="18" y="10"/>
                </a:cxn>
                <a:cxn ang="0">
                  <a:pos x="22" y="4"/>
                </a:cxn>
                <a:cxn ang="0">
                  <a:pos x="7" y="0"/>
                </a:cxn>
                <a:cxn ang="0">
                  <a:pos x="0" y="4"/>
                </a:cxn>
                <a:cxn ang="0">
                  <a:pos x="5" y="11"/>
                </a:cxn>
                <a:cxn ang="0">
                  <a:pos x="5" y="11"/>
                </a:cxn>
              </a:cxnLst>
              <a:rect l="0" t="0" r="r" b="b"/>
              <a:pathLst>
                <a:path w="22" h="11">
                  <a:moveTo>
                    <a:pt x="5" y="11"/>
                  </a:moveTo>
                  <a:lnTo>
                    <a:pt x="18" y="10"/>
                  </a:lnTo>
                  <a:lnTo>
                    <a:pt x="22" y="4"/>
                  </a:lnTo>
                  <a:lnTo>
                    <a:pt x="7" y="0"/>
                  </a:lnTo>
                  <a:lnTo>
                    <a:pt x="0" y="4"/>
                  </a:lnTo>
                  <a:lnTo>
                    <a:pt x="5" y="11"/>
                  </a:lnTo>
                  <a:lnTo>
                    <a:pt x="5" y="1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93" name="Freeform 5955"/>
            <p:cNvSpPr>
              <a:spLocks/>
            </p:cNvSpPr>
            <p:nvPr>
              <p:custDataLst>
                <p:tags r:id="rId273"/>
              </p:custDataLst>
            </p:nvPr>
          </p:nvSpPr>
          <p:spPr bwMode="gray">
            <a:xfrm>
              <a:off x="7411863" y="2544327"/>
              <a:ext cx="107780" cy="20553"/>
            </a:xfrm>
            <a:custGeom>
              <a:avLst/>
              <a:gdLst/>
              <a:ahLst/>
              <a:cxnLst>
                <a:cxn ang="0">
                  <a:pos x="0" y="16"/>
                </a:cxn>
                <a:cxn ang="0">
                  <a:pos x="52" y="13"/>
                </a:cxn>
                <a:cxn ang="0">
                  <a:pos x="60" y="11"/>
                </a:cxn>
                <a:cxn ang="0">
                  <a:pos x="56" y="5"/>
                </a:cxn>
                <a:cxn ang="0">
                  <a:pos x="84" y="5"/>
                </a:cxn>
                <a:cxn ang="0">
                  <a:pos x="75" y="0"/>
                </a:cxn>
                <a:cxn ang="0">
                  <a:pos x="0" y="16"/>
                </a:cxn>
                <a:cxn ang="0">
                  <a:pos x="0" y="16"/>
                </a:cxn>
              </a:cxnLst>
              <a:rect l="0" t="0" r="r" b="b"/>
              <a:pathLst>
                <a:path w="84" h="16">
                  <a:moveTo>
                    <a:pt x="0" y="16"/>
                  </a:moveTo>
                  <a:lnTo>
                    <a:pt x="52" y="13"/>
                  </a:lnTo>
                  <a:lnTo>
                    <a:pt x="60" y="11"/>
                  </a:lnTo>
                  <a:lnTo>
                    <a:pt x="56" y="5"/>
                  </a:lnTo>
                  <a:lnTo>
                    <a:pt x="84" y="5"/>
                  </a:lnTo>
                  <a:lnTo>
                    <a:pt x="75" y="0"/>
                  </a:lnTo>
                  <a:lnTo>
                    <a:pt x="0" y="16"/>
                  </a:lnTo>
                  <a:lnTo>
                    <a:pt x="0" y="16"/>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94" name="Freeform 5956"/>
            <p:cNvSpPr>
              <a:spLocks/>
            </p:cNvSpPr>
            <p:nvPr>
              <p:custDataLst>
                <p:tags r:id="rId274"/>
              </p:custDataLst>
            </p:nvPr>
          </p:nvSpPr>
          <p:spPr bwMode="gray">
            <a:xfrm>
              <a:off x="7382352" y="2539189"/>
              <a:ext cx="52607" cy="14130"/>
            </a:xfrm>
            <a:custGeom>
              <a:avLst/>
              <a:gdLst/>
              <a:ahLst/>
              <a:cxnLst>
                <a:cxn ang="0">
                  <a:pos x="0" y="11"/>
                </a:cxn>
                <a:cxn ang="0">
                  <a:pos x="41" y="11"/>
                </a:cxn>
                <a:cxn ang="0">
                  <a:pos x="32" y="9"/>
                </a:cxn>
                <a:cxn ang="0">
                  <a:pos x="41" y="5"/>
                </a:cxn>
                <a:cxn ang="0">
                  <a:pos x="34" y="0"/>
                </a:cxn>
                <a:cxn ang="0">
                  <a:pos x="17" y="4"/>
                </a:cxn>
                <a:cxn ang="0">
                  <a:pos x="21" y="7"/>
                </a:cxn>
                <a:cxn ang="0">
                  <a:pos x="0" y="11"/>
                </a:cxn>
                <a:cxn ang="0">
                  <a:pos x="0" y="11"/>
                </a:cxn>
              </a:cxnLst>
              <a:rect l="0" t="0" r="r" b="b"/>
              <a:pathLst>
                <a:path w="41" h="11">
                  <a:moveTo>
                    <a:pt x="0" y="11"/>
                  </a:moveTo>
                  <a:lnTo>
                    <a:pt x="41" y="11"/>
                  </a:lnTo>
                  <a:lnTo>
                    <a:pt x="32" y="9"/>
                  </a:lnTo>
                  <a:lnTo>
                    <a:pt x="41" y="5"/>
                  </a:lnTo>
                  <a:lnTo>
                    <a:pt x="34" y="0"/>
                  </a:lnTo>
                  <a:lnTo>
                    <a:pt x="17" y="4"/>
                  </a:lnTo>
                  <a:lnTo>
                    <a:pt x="21" y="7"/>
                  </a:lnTo>
                  <a:lnTo>
                    <a:pt x="0" y="11"/>
                  </a:lnTo>
                  <a:lnTo>
                    <a:pt x="0"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95" name="Freeform 5957"/>
            <p:cNvSpPr>
              <a:spLocks/>
            </p:cNvSpPr>
            <p:nvPr>
              <p:custDataLst>
                <p:tags r:id="rId275"/>
              </p:custDataLst>
            </p:nvPr>
          </p:nvSpPr>
          <p:spPr bwMode="gray">
            <a:xfrm>
              <a:off x="7373370" y="2561027"/>
              <a:ext cx="21813" cy="0"/>
            </a:xfrm>
            <a:custGeom>
              <a:avLst/>
              <a:gdLst/>
              <a:ahLst/>
              <a:cxnLst>
                <a:cxn ang="0">
                  <a:pos x="0" y="0"/>
                </a:cxn>
                <a:cxn ang="0">
                  <a:pos x="17" y="0"/>
                </a:cxn>
                <a:cxn ang="0">
                  <a:pos x="0" y="0"/>
                </a:cxn>
                <a:cxn ang="0">
                  <a:pos x="0" y="0"/>
                </a:cxn>
              </a:cxnLst>
              <a:rect l="0" t="0" r="r" b="b"/>
              <a:pathLst>
                <a:path w="17">
                  <a:moveTo>
                    <a:pt x="0" y="0"/>
                  </a:moveTo>
                  <a:lnTo>
                    <a:pt x="17" y="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96" name="Freeform 5958"/>
            <p:cNvSpPr>
              <a:spLocks/>
            </p:cNvSpPr>
            <p:nvPr>
              <p:custDataLst>
                <p:tags r:id="rId276"/>
              </p:custDataLst>
            </p:nvPr>
          </p:nvSpPr>
          <p:spPr bwMode="gray">
            <a:xfrm>
              <a:off x="7257892" y="2550750"/>
              <a:ext cx="85967" cy="14130"/>
            </a:xfrm>
            <a:custGeom>
              <a:avLst/>
              <a:gdLst/>
              <a:ahLst/>
              <a:cxnLst>
                <a:cxn ang="0">
                  <a:pos x="0" y="4"/>
                </a:cxn>
                <a:cxn ang="0">
                  <a:pos x="43" y="11"/>
                </a:cxn>
                <a:cxn ang="0">
                  <a:pos x="58" y="11"/>
                </a:cxn>
                <a:cxn ang="0">
                  <a:pos x="56" y="6"/>
                </a:cxn>
                <a:cxn ang="0">
                  <a:pos x="67" y="4"/>
                </a:cxn>
                <a:cxn ang="0">
                  <a:pos x="22" y="0"/>
                </a:cxn>
                <a:cxn ang="0">
                  <a:pos x="0" y="4"/>
                </a:cxn>
                <a:cxn ang="0">
                  <a:pos x="0" y="4"/>
                </a:cxn>
              </a:cxnLst>
              <a:rect l="0" t="0" r="r" b="b"/>
              <a:pathLst>
                <a:path w="67" h="11">
                  <a:moveTo>
                    <a:pt x="0" y="4"/>
                  </a:moveTo>
                  <a:lnTo>
                    <a:pt x="43" y="11"/>
                  </a:lnTo>
                  <a:lnTo>
                    <a:pt x="58" y="11"/>
                  </a:lnTo>
                  <a:lnTo>
                    <a:pt x="56" y="6"/>
                  </a:lnTo>
                  <a:lnTo>
                    <a:pt x="67" y="4"/>
                  </a:lnTo>
                  <a:lnTo>
                    <a:pt x="22" y="0"/>
                  </a:lnTo>
                  <a:lnTo>
                    <a:pt x="0" y="4"/>
                  </a:lnTo>
                  <a:lnTo>
                    <a:pt x="0" y="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97" name="Freeform 5959"/>
            <p:cNvSpPr>
              <a:spLocks/>
            </p:cNvSpPr>
            <p:nvPr>
              <p:custDataLst>
                <p:tags r:id="rId277"/>
              </p:custDataLst>
            </p:nvPr>
          </p:nvSpPr>
          <p:spPr bwMode="gray">
            <a:xfrm>
              <a:off x="6826773" y="2558457"/>
              <a:ext cx="209144" cy="66797"/>
            </a:xfrm>
            <a:custGeom>
              <a:avLst/>
              <a:gdLst/>
              <a:ahLst/>
              <a:cxnLst>
                <a:cxn ang="0">
                  <a:pos x="0" y="9"/>
                </a:cxn>
                <a:cxn ang="0">
                  <a:pos x="6" y="22"/>
                </a:cxn>
                <a:cxn ang="0">
                  <a:pos x="23" y="30"/>
                </a:cxn>
                <a:cxn ang="0">
                  <a:pos x="44" y="30"/>
                </a:cxn>
                <a:cxn ang="0">
                  <a:pos x="29" y="33"/>
                </a:cxn>
                <a:cxn ang="0">
                  <a:pos x="30" y="39"/>
                </a:cxn>
                <a:cxn ang="0">
                  <a:pos x="64" y="52"/>
                </a:cxn>
                <a:cxn ang="0">
                  <a:pos x="83" y="26"/>
                </a:cxn>
                <a:cxn ang="0">
                  <a:pos x="96" y="22"/>
                </a:cxn>
                <a:cxn ang="0">
                  <a:pos x="113" y="33"/>
                </a:cxn>
                <a:cxn ang="0">
                  <a:pos x="104" y="39"/>
                </a:cxn>
                <a:cxn ang="0">
                  <a:pos x="124" y="43"/>
                </a:cxn>
                <a:cxn ang="0">
                  <a:pos x="145" y="35"/>
                </a:cxn>
                <a:cxn ang="0">
                  <a:pos x="83" y="17"/>
                </a:cxn>
                <a:cxn ang="0">
                  <a:pos x="79" y="9"/>
                </a:cxn>
                <a:cxn ang="0">
                  <a:pos x="132" y="17"/>
                </a:cxn>
                <a:cxn ang="0">
                  <a:pos x="163" y="7"/>
                </a:cxn>
                <a:cxn ang="0">
                  <a:pos x="162" y="3"/>
                </a:cxn>
                <a:cxn ang="0">
                  <a:pos x="90" y="0"/>
                </a:cxn>
                <a:cxn ang="0">
                  <a:pos x="45" y="9"/>
                </a:cxn>
                <a:cxn ang="0">
                  <a:pos x="0" y="9"/>
                </a:cxn>
                <a:cxn ang="0">
                  <a:pos x="0" y="9"/>
                </a:cxn>
              </a:cxnLst>
              <a:rect l="0" t="0" r="r" b="b"/>
              <a:pathLst>
                <a:path w="163" h="52">
                  <a:moveTo>
                    <a:pt x="0" y="9"/>
                  </a:moveTo>
                  <a:lnTo>
                    <a:pt x="6" y="22"/>
                  </a:lnTo>
                  <a:lnTo>
                    <a:pt x="23" y="30"/>
                  </a:lnTo>
                  <a:lnTo>
                    <a:pt x="44" y="30"/>
                  </a:lnTo>
                  <a:lnTo>
                    <a:pt x="29" y="33"/>
                  </a:lnTo>
                  <a:lnTo>
                    <a:pt x="30" y="39"/>
                  </a:lnTo>
                  <a:lnTo>
                    <a:pt x="64" y="52"/>
                  </a:lnTo>
                  <a:lnTo>
                    <a:pt x="83" y="26"/>
                  </a:lnTo>
                  <a:lnTo>
                    <a:pt x="96" y="22"/>
                  </a:lnTo>
                  <a:lnTo>
                    <a:pt x="113" y="33"/>
                  </a:lnTo>
                  <a:lnTo>
                    <a:pt x="104" y="39"/>
                  </a:lnTo>
                  <a:lnTo>
                    <a:pt x="124" y="43"/>
                  </a:lnTo>
                  <a:lnTo>
                    <a:pt x="145" y="35"/>
                  </a:lnTo>
                  <a:lnTo>
                    <a:pt x="83" y="17"/>
                  </a:lnTo>
                  <a:lnTo>
                    <a:pt x="79" y="9"/>
                  </a:lnTo>
                  <a:lnTo>
                    <a:pt x="132" y="17"/>
                  </a:lnTo>
                  <a:lnTo>
                    <a:pt x="163" y="7"/>
                  </a:lnTo>
                  <a:lnTo>
                    <a:pt x="162" y="3"/>
                  </a:lnTo>
                  <a:lnTo>
                    <a:pt x="90" y="0"/>
                  </a:lnTo>
                  <a:lnTo>
                    <a:pt x="45" y="9"/>
                  </a:lnTo>
                  <a:lnTo>
                    <a:pt x="0" y="9"/>
                  </a:lnTo>
                  <a:lnTo>
                    <a:pt x="0" y="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98" name="Freeform 5960"/>
            <p:cNvSpPr>
              <a:spLocks/>
            </p:cNvSpPr>
            <p:nvPr>
              <p:custDataLst>
                <p:tags r:id="rId278"/>
              </p:custDataLst>
            </p:nvPr>
          </p:nvSpPr>
          <p:spPr bwMode="gray">
            <a:xfrm>
              <a:off x="6526529" y="2905288"/>
              <a:ext cx="16680" cy="6423"/>
            </a:xfrm>
            <a:custGeom>
              <a:avLst/>
              <a:gdLst/>
              <a:ahLst/>
              <a:cxnLst>
                <a:cxn ang="0">
                  <a:pos x="0" y="5"/>
                </a:cxn>
                <a:cxn ang="0">
                  <a:pos x="13" y="0"/>
                </a:cxn>
                <a:cxn ang="0">
                  <a:pos x="0" y="5"/>
                </a:cxn>
                <a:cxn ang="0">
                  <a:pos x="0" y="5"/>
                </a:cxn>
              </a:cxnLst>
              <a:rect l="0" t="0" r="r" b="b"/>
              <a:pathLst>
                <a:path w="13" h="5">
                  <a:moveTo>
                    <a:pt x="0" y="5"/>
                  </a:moveTo>
                  <a:lnTo>
                    <a:pt x="13" y="0"/>
                  </a:lnTo>
                  <a:lnTo>
                    <a:pt x="0" y="5"/>
                  </a:lnTo>
                  <a:lnTo>
                    <a:pt x="0"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99" name="Freeform 5961"/>
            <p:cNvSpPr>
              <a:spLocks/>
            </p:cNvSpPr>
            <p:nvPr>
              <p:custDataLst>
                <p:tags r:id="rId279"/>
              </p:custDataLst>
            </p:nvPr>
          </p:nvSpPr>
          <p:spPr bwMode="gray">
            <a:xfrm>
              <a:off x="6534228" y="291941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00" name="Freeform 5962"/>
            <p:cNvSpPr>
              <a:spLocks/>
            </p:cNvSpPr>
            <p:nvPr>
              <p:custDataLst>
                <p:tags r:id="rId280"/>
              </p:custDataLst>
            </p:nvPr>
          </p:nvSpPr>
          <p:spPr bwMode="gray">
            <a:xfrm>
              <a:off x="6531661" y="292455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01" name="Freeform 5963"/>
            <p:cNvSpPr>
              <a:spLocks/>
            </p:cNvSpPr>
            <p:nvPr>
              <p:custDataLst>
                <p:tags r:id="rId281"/>
              </p:custDataLst>
            </p:nvPr>
          </p:nvSpPr>
          <p:spPr bwMode="gray">
            <a:xfrm>
              <a:off x="6618912" y="2947679"/>
              <a:ext cx="3849" cy="10276"/>
            </a:xfrm>
            <a:custGeom>
              <a:avLst/>
              <a:gdLst/>
              <a:ahLst/>
              <a:cxnLst>
                <a:cxn ang="0">
                  <a:pos x="0" y="4"/>
                </a:cxn>
                <a:cxn ang="0">
                  <a:pos x="3" y="0"/>
                </a:cxn>
                <a:cxn ang="0">
                  <a:pos x="3" y="8"/>
                </a:cxn>
                <a:cxn ang="0">
                  <a:pos x="0" y="4"/>
                </a:cxn>
                <a:cxn ang="0">
                  <a:pos x="0" y="4"/>
                </a:cxn>
              </a:cxnLst>
              <a:rect l="0" t="0" r="r" b="b"/>
              <a:pathLst>
                <a:path w="3" h="8">
                  <a:moveTo>
                    <a:pt x="0" y="4"/>
                  </a:moveTo>
                  <a:lnTo>
                    <a:pt x="3" y="0"/>
                  </a:lnTo>
                  <a:lnTo>
                    <a:pt x="3" y="8"/>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02" name="Freeform 5964"/>
            <p:cNvSpPr>
              <a:spLocks/>
            </p:cNvSpPr>
            <p:nvPr>
              <p:custDataLst>
                <p:tags r:id="rId282"/>
              </p:custDataLst>
            </p:nvPr>
          </p:nvSpPr>
          <p:spPr bwMode="gray">
            <a:xfrm>
              <a:off x="6620195" y="294511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03" name="Freeform 5965"/>
            <p:cNvSpPr>
              <a:spLocks/>
            </p:cNvSpPr>
            <p:nvPr>
              <p:custDataLst>
                <p:tags r:id="rId283"/>
              </p:custDataLst>
            </p:nvPr>
          </p:nvSpPr>
          <p:spPr bwMode="gray">
            <a:xfrm>
              <a:off x="6627893" y="294254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04" name="Freeform 5966"/>
            <p:cNvSpPr>
              <a:spLocks/>
            </p:cNvSpPr>
            <p:nvPr>
              <p:custDataLst>
                <p:tags r:id="rId284"/>
              </p:custDataLst>
            </p:nvPr>
          </p:nvSpPr>
          <p:spPr bwMode="gray">
            <a:xfrm>
              <a:off x="6586834" y="2974655"/>
              <a:ext cx="10265" cy="5138"/>
            </a:xfrm>
            <a:custGeom>
              <a:avLst/>
              <a:gdLst/>
              <a:ahLst/>
              <a:cxnLst>
                <a:cxn ang="0">
                  <a:pos x="0" y="0"/>
                </a:cxn>
                <a:cxn ang="0">
                  <a:pos x="8" y="4"/>
                </a:cxn>
                <a:cxn ang="0">
                  <a:pos x="0" y="0"/>
                </a:cxn>
              </a:cxnLst>
              <a:rect l="0" t="0" r="r" b="b"/>
              <a:pathLst>
                <a:path w="8" h="4">
                  <a:moveTo>
                    <a:pt x="0" y="0"/>
                  </a:moveTo>
                  <a:lnTo>
                    <a:pt x="8" y="4"/>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05" name="Line 5967"/>
            <p:cNvSpPr>
              <a:spLocks noChangeShapeType="1"/>
            </p:cNvSpPr>
            <p:nvPr>
              <p:custDataLst>
                <p:tags r:id="rId285"/>
              </p:custDataLst>
            </p:nvPr>
          </p:nvSpPr>
          <p:spPr bwMode="gray">
            <a:xfrm>
              <a:off x="6586834" y="2974655"/>
              <a:ext cx="10265" cy="5138"/>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06" name="Freeform 5968"/>
            <p:cNvSpPr>
              <a:spLocks/>
            </p:cNvSpPr>
            <p:nvPr>
              <p:custDataLst>
                <p:tags r:id="rId286"/>
              </p:custDataLst>
            </p:nvPr>
          </p:nvSpPr>
          <p:spPr bwMode="gray">
            <a:xfrm>
              <a:off x="6597099" y="297465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07" name="Freeform 5969"/>
            <p:cNvSpPr>
              <a:spLocks/>
            </p:cNvSpPr>
            <p:nvPr>
              <p:custDataLst>
                <p:tags r:id="rId287"/>
              </p:custDataLst>
            </p:nvPr>
          </p:nvSpPr>
          <p:spPr bwMode="gray">
            <a:xfrm>
              <a:off x="6514981" y="2988785"/>
              <a:ext cx="21813" cy="21838"/>
            </a:xfrm>
            <a:custGeom>
              <a:avLst/>
              <a:gdLst/>
              <a:ahLst/>
              <a:cxnLst>
                <a:cxn ang="0">
                  <a:pos x="0" y="17"/>
                </a:cxn>
                <a:cxn ang="0">
                  <a:pos x="7" y="15"/>
                </a:cxn>
                <a:cxn ang="0">
                  <a:pos x="17" y="0"/>
                </a:cxn>
                <a:cxn ang="0">
                  <a:pos x="6" y="6"/>
                </a:cxn>
                <a:cxn ang="0">
                  <a:pos x="0" y="17"/>
                </a:cxn>
                <a:cxn ang="0">
                  <a:pos x="0" y="17"/>
                </a:cxn>
              </a:cxnLst>
              <a:rect l="0" t="0" r="r" b="b"/>
              <a:pathLst>
                <a:path w="17" h="17">
                  <a:moveTo>
                    <a:pt x="0" y="17"/>
                  </a:moveTo>
                  <a:lnTo>
                    <a:pt x="7" y="15"/>
                  </a:lnTo>
                  <a:lnTo>
                    <a:pt x="17" y="0"/>
                  </a:lnTo>
                  <a:lnTo>
                    <a:pt x="6" y="6"/>
                  </a:lnTo>
                  <a:lnTo>
                    <a:pt x="0" y="17"/>
                  </a:lnTo>
                  <a:lnTo>
                    <a:pt x="0"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08" name="Freeform 5970"/>
            <p:cNvSpPr>
              <a:spLocks/>
            </p:cNvSpPr>
            <p:nvPr>
              <p:custDataLst>
                <p:tags r:id="rId288"/>
              </p:custDataLst>
            </p:nvPr>
          </p:nvSpPr>
          <p:spPr bwMode="gray">
            <a:xfrm>
              <a:off x="6512415" y="301833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09" name="Freeform 5971"/>
            <p:cNvSpPr>
              <a:spLocks/>
            </p:cNvSpPr>
            <p:nvPr>
              <p:custDataLst>
                <p:tags r:id="rId289"/>
              </p:custDataLst>
            </p:nvPr>
          </p:nvSpPr>
          <p:spPr bwMode="gray">
            <a:xfrm>
              <a:off x="6947383" y="3002915"/>
              <a:ext cx="19246" cy="16699"/>
            </a:xfrm>
            <a:custGeom>
              <a:avLst/>
              <a:gdLst/>
              <a:ahLst/>
              <a:cxnLst>
                <a:cxn ang="0">
                  <a:pos x="0" y="6"/>
                </a:cxn>
                <a:cxn ang="0">
                  <a:pos x="2" y="13"/>
                </a:cxn>
                <a:cxn ang="0">
                  <a:pos x="10" y="10"/>
                </a:cxn>
                <a:cxn ang="0">
                  <a:pos x="15" y="0"/>
                </a:cxn>
                <a:cxn ang="0">
                  <a:pos x="0" y="6"/>
                </a:cxn>
                <a:cxn ang="0">
                  <a:pos x="0" y="6"/>
                </a:cxn>
              </a:cxnLst>
              <a:rect l="0" t="0" r="r" b="b"/>
              <a:pathLst>
                <a:path w="15" h="13">
                  <a:moveTo>
                    <a:pt x="0" y="6"/>
                  </a:moveTo>
                  <a:lnTo>
                    <a:pt x="2" y="13"/>
                  </a:lnTo>
                  <a:lnTo>
                    <a:pt x="10" y="10"/>
                  </a:lnTo>
                  <a:lnTo>
                    <a:pt x="15" y="0"/>
                  </a:lnTo>
                  <a:lnTo>
                    <a:pt x="0" y="6"/>
                  </a:lnTo>
                  <a:lnTo>
                    <a:pt x="0" y="6"/>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10" name="Freeform 5972"/>
            <p:cNvSpPr>
              <a:spLocks/>
            </p:cNvSpPr>
            <p:nvPr>
              <p:custDataLst>
                <p:tags r:id="rId290"/>
              </p:custDataLst>
            </p:nvPr>
          </p:nvSpPr>
          <p:spPr bwMode="gray">
            <a:xfrm>
              <a:off x="6974328" y="295024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11" name="Freeform 5973"/>
            <p:cNvSpPr>
              <a:spLocks/>
            </p:cNvSpPr>
            <p:nvPr>
              <p:custDataLst>
                <p:tags r:id="rId291"/>
              </p:custDataLst>
            </p:nvPr>
          </p:nvSpPr>
          <p:spPr bwMode="gray">
            <a:xfrm>
              <a:off x="7010255" y="2986216"/>
              <a:ext cx="24379" cy="12846"/>
            </a:xfrm>
            <a:custGeom>
              <a:avLst/>
              <a:gdLst/>
              <a:ahLst/>
              <a:cxnLst>
                <a:cxn ang="0">
                  <a:pos x="0" y="6"/>
                </a:cxn>
                <a:cxn ang="0">
                  <a:pos x="5" y="10"/>
                </a:cxn>
                <a:cxn ang="0">
                  <a:pos x="19" y="2"/>
                </a:cxn>
                <a:cxn ang="0">
                  <a:pos x="5" y="0"/>
                </a:cxn>
                <a:cxn ang="0">
                  <a:pos x="0" y="6"/>
                </a:cxn>
                <a:cxn ang="0">
                  <a:pos x="0" y="6"/>
                </a:cxn>
              </a:cxnLst>
              <a:rect l="0" t="0" r="r" b="b"/>
              <a:pathLst>
                <a:path w="19" h="10">
                  <a:moveTo>
                    <a:pt x="0" y="6"/>
                  </a:moveTo>
                  <a:lnTo>
                    <a:pt x="5" y="10"/>
                  </a:lnTo>
                  <a:lnTo>
                    <a:pt x="19" y="2"/>
                  </a:lnTo>
                  <a:lnTo>
                    <a:pt x="5" y="0"/>
                  </a:lnTo>
                  <a:lnTo>
                    <a:pt x="0" y="6"/>
                  </a:lnTo>
                  <a:lnTo>
                    <a:pt x="0" y="6"/>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12" name="Freeform 5974"/>
            <p:cNvSpPr>
              <a:spLocks/>
            </p:cNvSpPr>
            <p:nvPr>
              <p:custDataLst>
                <p:tags r:id="rId292"/>
              </p:custDataLst>
            </p:nvPr>
          </p:nvSpPr>
          <p:spPr bwMode="gray">
            <a:xfrm>
              <a:off x="7016670" y="2977224"/>
              <a:ext cx="12831" cy="3854"/>
            </a:xfrm>
            <a:custGeom>
              <a:avLst/>
              <a:gdLst/>
              <a:ahLst/>
              <a:cxnLst>
                <a:cxn ang="0">
                  <a:pos x="0" y="3"/>
                </a:cxn>
                <a:cxn ang="0">
                  <a:pos x="10" y="3"/>
                </a:cxn>
                <a:cxn ang="0">
                  <a:pos x="2" y="0"/>
                </a:cxn>
                <a:cxn ang="0">
                  <a:pos x="0" y="3"/>
                </a:cxn>
                <a:cxn ang="0">
                  <a:pos x="0" y="3"/>
                </a:cxn>
              </a:cxnLst>
              <a:rect l="0" t="0" r="r" b="b"/>
              <a:pathLst>
                <a:path w="10" h="3">
                  <a:moveTo>
                    <a:pt x="0" y="3"/>
                  </a:moveTo>
                  <a:lnTo>
                    <a:pt x="10" y="3"/>
                  </a:lnTo>
                  <a:lnTo>
                    <a:pt x="2" y="0"/>
                  </a:lnTo>
                  <a:lnTo>
                    <a:pt x="0" y="3"/>
                  </a:lnTo>
                  <a:lnTo>
                    <a:pt x="0" y="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13" name="Freeform 5975"/>
            <p:cNvSpPr>
              <a:spLocks/>
            </p:cNvSpPr>
            <p:nvPr>
              <p:custDataLst>
                <p:tags r:id="rId293"/>
              </p:custDataLst>
            </p:nvPr>
          </p:nvSpPr>
          <p:spPr bwMode="gray">
            <a:xfrm>
              <a:off x="6526529" y="2986216"/>
              <a:ext cx="137291" cy="192684"/>
            </a:xfrm>
            <a:custGeom>
              <a:avLst/>
              <a:gdLst/>
              <a:ahLst/>
              <a:cxnLst>
                <a:cxn ang="0">
                  <a:pos x="0" y="150"/>
                </a:cxn>
                <a:cxn ang="0">
                  <a:pos x="15" y="144"/>
                </a:cxn>
                <a:cxn ang="0">
                  <a:pos x="27" y="148"/>
                </a:cxn>
                <a:cxn ang="0">
                  <a:pos x="30" y="141"/>
                </a:cxn>
                <a:cxn ang="0">
                  <a:pos x="40" y="139"/>
                </a:cxn>
                <a:cxn ang="0">
                  <a:pos x="51" y="143"/>
                </a:cxn>
                <a:cxn ang="0">
                  <a:pos x="92" y="137"/>
                </a:cxn>
                <a:cxn ang="0">
                  <a:pos x="100" y="128"/>
                </a:cxn>
                <a:cxn ang="0">
                  <a:pos x="88" y="128"/>
                </a:cxn>
                <a:cxn ang="0">
                  <a:pos x="107" y="107"/>
                </a:cxn>
                <a:cxn ang="0">
                  <a:pos x="96" y="100"/>
                </a:cxn>
                <a:cxn ang="0">
                  <a:pos x="83" y="101"/>
                </a:cxn>
                <a:cxn ang="0">
                  <a:pos x="87" y="96"/>
                </a:cxn>
                <a:cxn ang="0">
                  <a:pos x="77" y="73"/>
                </a:cxn>
                <a:cxn ang="0">
                  <a:pos x="68" y="70"/>
                </a:cxn>
                <a:cxn ang="0">
                  <a:pos x="58" y="49"/>
                </a:cxn>
                <a:cxn ang="0">
                  <a:pos x="42" y="45"/>
                </a:cxn>
                <a:cxn ang="0">
                  <a:pos x="62" y="23"/>
                </a:cxn>
                <a:cxn ang="0">
                  <a:pos x="62" y="17"/>
                </a:cxn>
                <a:cxn ang="0">
                  <a:pos x="32" y="19"/>
                </a:cxn>
                <a:cxn ang="0">
                  <a:pos x="49" y="6"/>
                </a:cxn>
                <a:cxn ang="0">
                  <a:pos x="47" y="0"/>
                </a:cxn>
                <a:cxn ang="0">
                  <a:pos x="23" y="2"/>
                </a:cxn>
                <a:cxn ang="0">
                  <a:pos x="10" y="21"/>
                </a:cxn>
                <a:cxn ang="0">
                  <a:pos x="13" y="25"/>
                </a:cxn>
                <a:cxn ang="0">
                  <a:pos x="6" y="40"/>
                </a:cxn>
                <a:cxn ang="0">
                  <a:pos x="13" y="38"/>
                </a:cxn>
                <a:cxn ang="0">
                  <a:pos x="12" y="45"/>
                </a:cxn>
                <a:cxn ang="0">
                  <a:pos x="2" y="49"/>
                </a:cxn>
                <a:cxn ang="0">
                  <a:pos x="10" y="49"/>
                </a:cxn>
                <a:cxn ang="0">
                  <a:pos x="10" y="55"/>
                </a:cxn>
                <a:cxn ang="0">
                  <a:pos x="17" y="49"/>
                </a:cxn>
                <a:cxn ang="0">
                  <a:pos x="21" y="55"/>
                </a:cxn>
                <a:cxn ang="0">
                  <a:pos x="15" y="64"/>
                </a:cxn>
                <a:cxn ang="0">
                  <a:pos x="19" y="70"/>
                </a:cxn>
                <a:cxn ang="0">
                  <a:pos x="40" y="64"/>
                </a:cxn>
                <a:cxn ang="0">
                  <a:pos x="36" y="71"/>
                </a:cxn>
                <a:cxn ang="0">
                  <a:pos x="47" y="77"/>
                </a:cxn>
                <a:cxn ang="0">
                  <a:pos x="42" y="92"/>
                </a:cxn>
                <a:cxn ang="0">
                  <a:pos x="21" y="92"/>
                </a:cxn>
                <a:cxn ang="0">
                  <a:pos x="17" y="101"/>
                </a:cxn>
                <a:cxn ang="0">
                  <a:pos x="27" y="101"/>
                </a:cxn>
                <a:cxn ang="0">
                  <a:pos x="25" y="111"/>
                </a:cxn>
                <a:cxn ang="0">
                  <a:pos x="8" y="118"/>
                </a:cxn>
                <a:cxn ang="0">
                  <a:pos x="12" y="122"/>
                </a:cxn>
                <a:cxn ang="0">
                  <a:pos x="34" y="128"/>
                </a:cxn>
                <a:cxn ang="0">
                  <a:pos x="43" y="122"/>
                </a:cxn>
                <a:cxn ang="0">
                  <a:pos x="38" y="129"/>
                </a:cxn>
                <a:cxn ang="0">
                  <a:pos x="23" y="129"/>
                </a:cxn>
                <a:cxn ang="0">
                  <a:pos x="0" y="150"/>
                </a:cxn>
                <a:cxn ang="0">
                  <a:pos x="0" y="150"/>
                </a:cxn>
              </a:cxnLst>
              <a:rect l="0" t="0" r="r" b="b"/>
              <a:pathLst>
                <a:path w="107" h="150">
                  <a:moveTo>
                    <a:pt x="0" y="150"/>
                  </a:moveTo>
                  <a:lnTo>
                    <a:pt x="15" y="144"/>
                  </a:lnTo>
                  <a:lnTo>
                    <a:pt x="27" y="148"/>
                  </a:lnTo>
                  <a:lnTo>
                    <a:pt x="30" y="141"/>
                  </a:lnTo>
                  <a:lnTo>
                    <a:pt x="40" y="139"/>
                  </a:lnTo>
                  <a:lnTo>
                    <a:pt x="51" y="143"/>
                  </a:lnTo>
                  <a:lnTo>
                    <a:pt x="92" y="137"/>
                  </a:lnTo>
                  <a:lnTo>
                    <a:pt x="100" y="128"/>
                  </a:lnTo>
                  <a:lnTo>
                    <a:pt x="88" y="128"/>
                  </a:lnTo>
                  <a:lnTo>
                    <a:pt x="107" y="107"/>
                  </a:lnTo>
                  <a:lnTo>
                    <a:pt x="96" y="100"/>
                  </a:lnTo>
                  <a:lnTo>
                    <a:pt x="83" y="101"/>
                  </a:lnTo>
                  <a:lnTo>
                    <a:pt x="87" y="96"/>
                  </a:lnTo>
                  <a:lnTo>
                    <a:pt x="77" y="73"/>
                  </a:lnTo>
                  <a:lnTo>
                    <a:pt x="68" y="70"/>
                  </a:lnTo>
                  <a:lnTo>
                    <a:pt x="58" y="49"/>
                  </a:lnTo>
                  <a:lnTo>
                    <a:pt x="42" y="45"/>
                  </a:lnTo>
                  <a:lnTo>
                    <a:pt x="62" y="23"/>
                  </a:lnTo>
                  <a:lnTo>
                    <a:pt x="62" y="17"/>
                  </a:lnTo>
                  <a:lnTo>
                    <a:pt x="32" y="19"/>
                  </a:lnTo>
                  <a:lnTo>
                    <a:pt x="49" y="6"/>
                  </a:lnTo>
                  <a:lnTo>
                    <a:pt x="47" y="0"/>
                  </a:lnTo>
                  <a:lnTo>
                    <a:pt x="23" y="2"/>
                  </a:lnTo>
                  <a:lnTo>
                    <a:pt x="10" y="21"/>
                  </a:lnTo>
                  <a:lnTo>
                    <a:pt x="13" y="25"/>
                  </a:lnTo>
                  <a:lnTo>
                    <a:pt x="6" y="40"/>
                  </a:lnTo>
                  <a:lnTo>
                    <a:pt x="13" y="38"/>
                  </a:lnTo>
                  <a:lnTo>
                    <a:pt x="12" y="45"/>
                  </a:lnTo>
                  <a:lnTo>
                    <a:pt x="2" y="49"/>
                  </a:lnTo>
                  <a:lnTo>
                    <a:pt x="10" y="49"/>
                  </a:lnTo>
                  <a:lnTo>
                    <a:pt x="10" y="55"/>
                  </a:lnTo>
                  <a:lnTo>
                    <a:pt x="17" y="49"/>
                  </a:lnTo>
                  <a:lnTo>
                    <a:pt x="21" y="55"/>
                  </a:lnTo>
                  <a:lnTo>
                    <a:pt x="15" y="64"/>
                  </a:lnTo>
                  <a:lnTo>
                    <a:pt x="19" y="70"/>
                  </a:lnTo>
                  <a:lnTo>
                    <a:pt x="40" y="64"/>
                  </a:lnTo>
                  <a:lnTo>
                    <a:pt x="36" y="71"/>
                  </a:lnTo>
                  <a:lnTo>
                    <a:pt x="47" y="77"/>
                  </a:lnTo>
                  <a:lnTo>
                    <a:pt x="42" y="92"/>
                  </a:lnTo>
                  <a:lnTo>
                    <a:pt x="21" y="92"/>
                  </a:lnTo>
                  <a:lnTo>
                    <a:pt x="17" y="101"/>
                  </a:lnTo>
                  <a:lnTo>
                    <a:pt x="27" y="101"/>
                  </a:lnTo>
                  <a:lnTo>
                    <a:pt x="25" y="111"/>
                  </a:lnTo>
                  <a:lnTo>
                    <a:pt x="8" y="118"/>
                  </a:lnTo>
                  <a:lnTo>
                    <a:pt x="12" y="122"/>
                  </a:lnTo>
                  <a:lnTo>
                    <a:pt x="34" y="128"/>
                  </a:lnTo>
                  <a:lnTo>
                    <a:pt x="43" y="122"/>
                  </a:lnTo>
                  <a:lnTo>
                    <a:pt x="38" y="129"/>
                  </a:lnTo>
                  <a:lnTo>
                    <a:pt x="23" y="129"/>
                  </a:lnTo>
                  <a:lnTo>
                    <a:pt x="0" y="150"/>
                  </a:lnTo>
                  <a:lnTo>
                    <a:pt x="0" y="15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14" name="Freeform 5976"/>
            <p:cNvSpPr>
              <a:spLocks/>
            </p:cNvSpPr>
            <p:nvPr>
              <p:custDataLst>
                <p:tags r:id="rId294"/>
              </p:custDataLst>
            </p:nvPr>
          </p:nvSpPr>
          <p:spPr bwMode="gray">
            <a:xfrm>
              <a:off x="6781864" y="3342039"/>
              <a:ext cx="14114" cy="38537"/>
            </a:xfrm>
            <a:custGeom>
              <a:avLst/>
              <a:gdLst/>
              <a:ahLst/>
              <a:cxnLst>
                <a:cxn ang="0">
                  <a:pos x="0" y="10"/>
                </a:cxn>
                <a:cxn ang="0">
                  <a:pos x="0" y="23"/>
                </a:cxn>
                <a:cxn ang="0">
                  <a:pos x="7" y="30"/>
                </a:cxn>
                <a:cxn ang="0">
                  <a:pos x="11" y="0"/>
                </a:cxn>
                <a:cxn ang="0">
                  <a:pos x="0" y="10"/>
                </a:cxn>
                <a:cxn ang="0">
                  <a:pos x="0" y="10"/>
                </a:cxn>
              </a:cxnLst>
              <a:rect l="0" t="0" r="r" b="b"/>
              <a:pathLst>
                <a:path w="11" h="30">
                  <a:moveTo>
                    <a:pt x="0" y="10"/>
                  </a:moveTo>
                  <a:lnTo>
                    <a:pt x="0" y="23"/>
                  </a:lnTo>
                  <a:lnTo>
                    <a:pt x="7" y="30"/>
                  </a:lnTo>
                  <a:lnTo>
                    <a:pt x="11" y="0"/>
                  </a:lnTo>
                  <a:lnTo>
                    <a:pt x="0" y="10"/>
                  </a:lnTo>
                  <a:lnTo>
                    <a:pt x="0" y="1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15" name="Freeform 5977"/>
            <p:cNvSpPr>
              <a:spLocks/>
            </p:cNvSpPr>
            <p:nvPr>
              <p:custDataLst>
                <p:tags r:id="rId295"/>
              </p:custDataLst>
            </p:nvPr>
          </p:nvSpPr>
          <p:spPr bwMode="gray">
            <a:xfrm>
              <a:off x="6771600" y="3383144"/>
              <a:ext cx="29511" cy="57805"/>
            </a:xfrm>
            <a:custGeom>
              <a:avLst/>
              <a:gdLst/>
              <a:ahLst/>
              <a:cxnLst>
                <a:cxn ang="0">
                  <a:pos x="0" y="6"/>
                </a:cxn>
                <a:cxn ang="0">
                  <a:pos x="4" y="38"/>
                </a:cxn>
                <a:cxn ang="0">
                  <a:pos x="10" y="45"/>
                </a:cxn>
                <a:cxn ang="0">
                  <a:pos x="21" y="38"/>
                </a:cxn>
                <a:cxn ang="0">
                  <a:pos x="23" y="8"/>
                </a:cxn>
                <a:cxn ang="0">
                  <a:pos x="17" y="0"/>
                </a:cxn>
                <a:cxn ang="0">
                  <a:pos x="0" y="6"/>
                </a:cxn>
                <a:cxn ang="0">
                  <a:pos x="0" y="6"/>
                </a:cxn>
              </a:cxnLst>
              <a:rect l="0" t="0" r="r" b="b"/>
              <a:pathLst>
                <a:path w="23" h="45">
                  <a:moveTo>
                    <a:pt x="0" y="6"/>
                  </a:moveTo>
                  <a:lnTo>
                    <a:pt x="4" y="38"/>
                  </a:lnTo>
                  <a:lnTo>
                    <a:pt x="10" y="45"/>
                  </a:lnTo>
                  <a:lnTo>
                    <a:pt x="21" y="38"/>
                  </a:lnTo>
                  <a:lnTo>
                    <a:pt x="23" y="8"/>
                  </a:lnTo>
                  <a:lnTo>
                    <a:pt x="17" y="0"/>
                  </a:lnTo>
                  <a:lnTo>
                    <a:pt x="0" y="6"/>
                  </a:lnTo>
                  <a:lnTo>
                    <a:pt x="0" y="6"/>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16" name="Freeform 5978"/>
            <p:cNvSpPr>
              <a:spLocks/>
            </p:cNvSpPr>
            <p:nvPr>
              <p:custDataLst>
                <p:tags r:id="rId296"/>
              </p:custDataLst>
            </p:nvPr>
          </p:nvSpPr>
          <p:spPr bwMode="gray">
            <a:xfrm>
              <a:off x="6853718" y="3453795"/>
              <a:ext cx="62872" cy="38537"/>
            </a:xfrm>
            <a:custGeom>
              <a:avLst/>
              <a:gdLst/>
              <a:ahLst/>
              <a:cxnLst>
                <a:cxn ang="0">
                  <a:pos x="0" y="5"/>
                </a:cxn>
                <a:cxn ang="0">
                  <a:pos x="4" y="15"/>
                </a:cxn>
                <a:cxn ang="0">
                  <a:pos x="43" y="30"/>
                </a:cxn>
                <a:cxn ang="0">
                  <a:pos x="49" y="0"/>
                </a:cxn>
                <a:cxn ang="0">
                  <a:pos x="28" y="5"/>
                </a:cxn>
                <a:cxn ang="0">
                  <a:pos x="6" y="2"/>
                </a:cxn>
                <a:cxn ang="0">
                  <a:pos x="0" y="5"/>
                </a:cxn>
                <a:cxn ang="0">
                  <a:pos x="0" y="5"/>
                </a:cxn>
              </a:cxnLst>
              <a:rect l="0" t="0" r="r" b="b"/>
              <a:pathLst>
                <a:path w="49" h="30">
                  <a:moveTo>
                    <a:pt x="0" y="5"/>
                  </a:moveTo>
                  <a:lnTo>
                    <a:pt x="4" y="15"/>
                  </a:lnTo>
                  <a:lnTo>
                    <a:pt x="43" y="30"/>
                  </a:lnTo>
                  <a:lnTo>
                    <a:pt x="49" y="0"/>
                  </a:lnTo>
                  <a:lnTo>
                    <a:pt x="28" y="5"/>
                  </a:lnTo>
                  <a:lnTo>
                    <a:pt x="6" y="2"/>
                  </a:lnTo>
                  <a:lnTo>
                    <a:pt x="0" y="5"/>
                  </a:lnTo>
                  <a:lnTo>
                    <a:pt x="0" y="5"/>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17" name="Freeform 5979"/>
            <p:cNvSpPr>
              <a:spLocks/>
            </p:cNvSpPr>
            <p:nvPr>
              <p:custDataLst>
                <p:tags r:id="rId297"/>
              </p:custDataLst>
            </p:nvPr>
          </p:nvSpPr>
          <p:spPr bwMode="gray">
            <a:xfrm>
              <a:off x="7021803" y="3453795"/>
              <a:ext cx="43625" cy="42390"/>
            </a:xfrm>
            <a:custGeom>
              <a:avLst/>
              <a:gdLst/>
              <a:ahLst/>
              <a:cxnLst>
                <a:cxn ang="0">
                  <a:pos x="0" y="9"/>
                </a:cxn>
                <a:cxn ang="0">
                  <a:pos x="10" y="17"/>
                </a:cxn>
                <a:cxn ang="0">
                  <a:pos x="11" y="28"/>
                </a:cxn>
                <a:cxn ang="0">
                  <a:pos x="21" y="33"/>
                </a:cxn>
                <a:cxn ang="0">
                  <a:pos x="25" y="28"/>
                </a:cxn>
                <a:cxn ang="0">
                  <a:pos x="32" y="33"/>
                </a:cxn>
                <a:cxn ang="0">
                  <a:pos x="25" y="17"/>
                </a:cxn>
                <a:cxn ang="0">
                  <a:pos x="34" y="18"/>
                </a:cxn>
                <a:cxn ang="0">
                  <a:pos x="28" y="7"/>
                </a:cxn>
                <a:cxn ang="0">
                  <a:pos x="11" y="0"/>
                </a:cxn>
                <a:cxn ang="0">
                  <a:pos x="0" y="9"/>
                </a:cxn>
                <a:cxn ang="0">
                  <a:pos x="0" y="9"/>
                </a:cxn>
              </a:cxnLst>
              <a:rect l="0" t="0" r="r" b="b"/>
              <a:pathLst>
                <a:path w="34" h="33">
                  <a:moveTo>
                    <a:pt x="0" y="9"/>
                  </a:moveTo>
                  <a:lnTo>
                    <a:pt x="10" y="17"/>
                  </a:lnTo>
                  <a:lnTo>
                    <a:pt x="11" y="28"/>
                  </a:lnTo>
                  <a:lnTo>
                    <a:pt x="21" y="33"/>
                  </a:lnTo>
                  <a:lnTo>
                    <a:pt x="25" y="28"/>
                  </a:lnTo>
                  <a:lnTo>
                    <a:pt x="32" y="33"/>
                  </a:lnTo>
                  <a:lnTo>
                    <a:pt x="25" y="17"/>
                  </a:lnTo>
                  <a:lnTo>
                    <a:pt x="34" y="18"/>
                  </a:lnTo>
                  <a:lnTo>
                    <a:pt x="28" y="7"/>
                  </a:lnTo>
                  <a:lnTo>
                    <a:pt x="11" y="0"/>
                  </a:lnTo>
                  <a:lnTo>
                    <a:pt x="0" y="9"/>
                  </a:lnTo>
                  <a:lnTo>
                    <a:pt x="0" y="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18" name="Freeform 5980"/>
            <p:cNvSpPr>
              <a:spLocks/>
            </p:cNvSpPr>
            <p:nvPr>
              <p:custDataLst>
                <p:tags r:id="rId298"/>
              </p:custDataLst>
            </p:nvPr>
          </p:nvSpPr>
          <p:spPr bwMode="gray">
            <a:xfrm>
              <a:off x="7073126" y="3515454"/>
              <a:ext cx="55173" cy="16699"/>
            </a:xfrm>
            <a:custGeom>
              <a:avLst/>
              <a:gdLst/>
              <a:ahLst/>
              <a:cxnLst>
                <a:cxn ang="0">
                  <a:pos x="0" y="8"/>
                </a:cxn>
                <a:cxn ang="0">
                  <a:pos x="20" y="13"/>
                </a:cxn>
                <a:cxn ang="0">
                  <a:pos x="41" y="12"/>
                </a:cxn>
                <a:cxn ang="0">
                  <a:pos x="43" y="8"/>
                </a:cxn>
                <a:cxn ang="0">
                  <a:pos x="33" y="10"/>
                </a:cxn>
                <a:cxn ang="0">
                  <a:pos x="33" y="6"/>
                </a:cxn>
                <a:cxn ang="0">
                  <a:pos x="1" y="0"/>
                </a:cxn>
                <a:cxn ang="0">
                  <a:pos x="0" y="8"/>
                </a:cxn>
                <a:cxn ang="0">
                  <a:pos x="0" y="8"/>
                </a:cxn>
              </a:cxnLst>
              <a:rect l="0" t="0" r="r" b="b"/>
              <a:pathLst>
                <a:path w="43" h="13">
                  <a:moveTo>
                    <a:pt x="0" y="8"/>
                  </a:moveTo>
                  <a:lnTo>
                    <a:pt x="20" y="13"/>
                  </a:lnTo>
                  <a:lnTo>
                    <a:pt x="41" y="12"/>
                  </a:lnTo>
                  <a:lnTo>
                    <a:pt x="43" y="8"/>
                  </a:lnTo>
                  <a:lnTo>
                    <a:pt x="33" y="10"/>
                  </a:lnTo>
                  <a:lnTo>
                    <a:pt x="33" y="6"/>
                  </a:lnTo>
                  <a:lnTo>
                    <a:pt x="1" y="0"/>
                  </a:lnTo>
                  <a:lnTo>
                    <a:pt x="0" y="8"/>
                  </a:lnTo>
                  <a:lnTo>
                    <a:pt x="0" y="8"/>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19" name="Freeform 5981"/>
            <p:cNvSpPr>
              <a:spLocks/>
            </p:cNvSpPr>
            <p:nvPr>
              <p:custDataLst>
                <p:tags r:id="rId299"/>
              </p:custDataLst>
            </p:nvPr>
          </p:nvSpPr>
          <p:spPr bwMode="gray">
            <a:xfrm>
              <a:off x="7245061" y="3515454"/>
              <a:ext cx="43625" cy="24407"/>
            </a:xfrm>
            <a:custGeom>
              <a:avLst/>
              <a:gdLst/>
              <a:ahLst/>
              <a:cxnLst>
                <a:cxn ang="0">
                  <a:pos x="0" y="12"/>
                </a:cxn>
                <a:cxn ang="0">
                  <a:pos x="4" y="19"/>
                </a:cxn>
                <a:cxn ang="0">
                  <a:pos x="19" y="17"/>
                </a:cxn>
                <a:cxn ang="0">
                  <a:pos x="29" y="13"/>
                </a:cxn>
                <a:cxn ang="0">
                  <a:pos x="27" y="8"/>
                </a:cxn>
                <a:cxn ang="0">
                  <a:pos x="34" y="0"/>
                </a:cxn>
                <a:cxn ang="0">
                  <a:pos x="0" y="12"/>
                </a:cxn>
                <a:cxn ang="0">
                  <a:pos x="0" y="12"/>
                </a:cxn>
              </a:cxnLst>
              <a:rect l="0" t="0" r="r" b="b"/>
              <a:pathLst>
                <a:path w="34" h="19">
                  <a:moveTo>
                    <a:pt x="0" y="12"/>
                  </a:moveTo>
                  <a:lnTo>
                    <a:pt x="4" y="19"/>
                  </a:lnTo>
                  <a:lnTo>
                    <a:pt x="19" y="17"/>
                  </a:lnTo>
                  <a:lnTo>
                    <a:pt x="29" y="13"/>
                  </a:lnTo>
                  <a:lnTo>
                    <a:pt x="27" y="8"/>
                  </a:lnTo>
                  <a:lnTo>
                    <a:pt x="34" y="0"/>
                  </a:lnTo>
                  <a:lnTo>
                    <a:pt x="0" y="12"/>
                  </a:lnTo>
                  <a:lnTo>
                    <a:pt x="0" y="12"/>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20" name="Freeform 5982"/>
            <p:cNvSpPr>
              <a:spLocks/>
            </p:cNvSpPr>
            <p:nvPr>
              <p:custDataLst>
                <p:tags r:id="rId300"/>
              </p:custDataLst>
            </p:nvPr>
          </p:nvSpPr>
          <p:spPr bwMode="gray">
            <a:xfrm>
              <a:off x="6639441" y="343709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21" name="Freeform 5983"/>
            <p:cNvSpPr>
              <a:spLocks/>
            </p:cNvSpPr>
            <p:nvPr>
              <p:custDataLst>
                <p:tags r:id="rId301"/>
              </p:custDataLst>
            </p:nvPr>
          </p:nvSpPr>
          <p:spPr bwMode="gray">
            <a:xfrm>
              <a:off x="6658688" y="3415258"/>
              <a:ext cx="21813" cy="14130"/>
            </a:xfrm>
            <a:custGeom>
              <a:avLst/>
              <a:gdLst/>
              <a:ahLst/>
              <a:cxnLst>
                <a:cxn ang="0">
                  <a:pos x="0" y="5"/>
                </a:cxn>
                <a:cxn ang="0">
                  <a:pos x="12" y="11"/>
                </a:cxn>
                <a:cxn ang="0">
                  <a:pos x="17" y="5"/>
                </a:cxn>
                <a:cxn ang="0">
                  <a:pos x="10" y="0"/>
                </a:cxn>
                <a:cxn ang="0">
                  <a:pos x="0" y="5"/>
                </a:cxn>
                <a:cxn ang="0">
                  <a:pos x="0" y="5"/>
                </a:cxn>
              </a:cxnLst>
              <a:rect l="0" t="0" r="r" b="b"/>
              <a:pathLst>
                <a:path w="17" h="11">
                  <a:moveTo>
                    <a:pt x="0" y="5"/>
                  </a:moveTo>
                  <a:lnTo>
                    <a:pt x="12" y="11"/>
                  </a:lnTo>
                  <a:lnTo>
                    <a:pt x="17" y="5"/>
                  </a:lnTo>
                  <a:lnTo>
                    <a:pt x="10" y="0"/>
                  </a:lnTo>
                  <a:lnTo>
                    <a:pt x="0" y="5"/>
                  </a:lnTo>
                  <a:lnTo>
                    <a:pt x="0" y="5"/>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22" name="Freeform 5984"/>
            <p:cNvSpPr>
              <a:spLocks/>
            </p:cNvSpPr>
            <p:nvPr>
              <p:custDataLst>
                <p:tags r:id="rId302"/>
              </p:custDataLst>
            </p:nvPr>
          </p:nvSpPr>
          <p:spPr bwMode="gray">
            <a:xfrm>
              <a:off x="6693331" y="341525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23" name="Freeform 5985"/>
            <p:cNvSpPr>
              <a:spLocks/>
            </p:cNvSpPr>
            <p:nvPr>
              <p:custDataLst>
                <p:tags r:id="rId303"/>
              </p:custDataLst>
            </p:nvPr>
          </p:nvSpPr>
          <p:spPr bwMode="gray">
            <a:xfrm>
              <a:off x="6846019" y="348976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24" name="Freeform 5986"/>
            <p:cNvSpPr>
              <a:spLocks/>
            </p:cNvSpPr>
            <p:nvPr>
              <p:custDataLst>
                <p:tags r:id="rId304"/>
              </p:custDataLst>
            </p:nvPr>
          </p:nvSpPr>
          <p:spPr bwMode="gray">
            <a:xfrm>
              <a:off x="6894777" y="351160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25" name="Freeform 5987"/>
            <p:cNvSpPr>
              <a:spLocks/>
            </p:cNvSpPr>
            <p:nvPr>
              <p:custDataLst>
                <p:tags r:id="rId305"/>
              </p:custDataLst>
            </p:nvPr>
          </p:nvSpPr>
          <p:spPr bwMode="gray">
            <a:xfrm>
              <a:off x="7012821" y="345636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26" name="Freeform 5988"/>
            <p:cNvSpPr>
              <a:spLocks/>
            </p:cNvSpPr>
            <p:nvPr>
              <p:custDataLst>
                <p:tags r:id="rId306"/>
              </p:custDataLst>
            </p:nvPr>
          </p:nvSpPr>
          <p:spPr bwMode="gray">
            <a:xfrm>
              <a:off x="7016670" y="346535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27" name="Freeform 5989"/>
            <p:cNvSpPr>
              <a:spLocks/>
            </p:cNvSpPr>
            <p:nvPr>
              <p:custDataLst>
                <p:tags r:id="rId307"/>
              </p:custDataLst>
            </p:nvPr>
          </p:nvSpPr>
          <p:spPr bwMode="gray">
            <a:xfrm>
              <a:off x="7109053" y="349875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28" name="Freeform 5990"/>
            <p:cNvSpPr>
              <a:spLocks/>
            </p:cNvSpPr>
            <p:nvPr>
              <p:custDataLst>
                <p:tags r:id="rId308"/>
              </p:custDataLst>
            </p:nvPr>
          </p:nvSpPr>
          <p:spPr bwMode="gray">
            <a:xfrm>
              <a:off x="7098788" y="341782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29" name="Freeform 5991"/>
            <p:cNvSpPr>
              <a:spLocks/>
            </p:cNvSpPr>
            <p:nvPr>
              <p:custDataLst>
                <p:tags r:id="rId309"/>
              </p:custDataLst>
            </p:nvPr>
          </p:nvSpPr>
          <p:spPr bwMode="gray">
            <a:xfrm>
              <a:off x="6245532" y="367987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30" name="Freeform 5992"/>
            <p:cNvSpPr>
              <a:spLocks/>
            </p:cNvSpPr>
            <p:nvPr>
              <p:custDataLst>
                <p:tags r:id="rId310"/>
              </p:custDataLst>
            </p:nvPr>
          </p:nvSpPr>
          <p:spPr bwMode="gray">
            <a:xfrm>
              <a:off x="6264778" y="3682447"/>
              <a:ext cx="14114" cy="14130"/>
            </a:xfrm>
            <a:custGeom>
              <a:avLst/>
              <a:gdLst/>
              <a:ahLst/>
              <a:cxnLst>
                <a:cxn ang="0">
                  <a:pos x="0" y="5"/>
                </a:cxn>
                <a:cxn ang="0">
                  <a:pos x="4" y="11"/>
                </a:cxn>
                <a:cxn ang="0">
                  <a:pos x="11" y="0"/>
                </a:cxn>
                <a:cxn ang="0">
                  <a:pos x="0" y="5"/>
                </a:cxn>
                <a:cxn ang="0">
                  <a:pos x="0" y="5"/>
                </a:cxn>
              </a:cxnLst>
              <a:rect l="0" t="0" r="r" b="b"/>
              <a:pathLst>
                <a:path w="11" h="11">
                  <a:moveTo>
                    <a:pt x="0" y="5"/>
                  </a:moveTo>
                  <a:lnTo>
                    <a:pt x="4" y="11"/>
                  </a:lnTo>
                  <a:lnTo>
                    <a:pt x="11" y="0"/>
                  </a:lnTo>
                  <a:lnTo>
                    <a:pt x="0" y="5"/>
                  </a:lnTo>
                  <a:lnTo>
                    <a:pt x="0"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31" name="Freeform 5993"/>
            <p:cNvSpPr>
              <a:spLocks/>
            </p:cNvSpPr>
            <p:nvPr>
              <p:custDataLst>
                <p:tags r:id="rId311"/>
              </p:custDataLst>
            </p:nvPr>
          </p:nvSpPr>
          <p:spPr bwMode="gray">
            <a:xfrm>
              <a:off x="6286591" y="3694008"/>
              <a:ext cx="10265" cy="8992"/>
            </a:xfrm>
            <a:custGeom>
              <a:avLst/>
              <a:gdLst/>
              <a:ahLst/>
              <a:cxnLst>
                <a:cxn ang="0">
                  <a:pos x="0" y="2"/>
                </a:cxn>
                <a:cxn ang="0">
                  <a:pos x="2" y="7"/>
                </a:cxn>
                <a:cxn ang="0">
                  <a:pos x="8" y="6"/>
                </a:cxn>
                <a:cxn ang="0">
                  <a:pos x="6" y="0"/>
                </a:cxn>
                <a:cxn ang="0">
                  <a:pos x="0" y="2"/>
                </a:cxn>
                <a:cxn ang="0">
                  <a:pos x="0" y="2"/>
                </a:cxn>
              </a:cxnLst>
              <a:rect l="0" t="0" r="r" b="b"/>
              <a:pathLst>
                <a:path w="8" h="7">
                  <a:moveTo>
                    <a:pt x="0" y="2"/>
                  </a:moveTo>
                  <a:lnTo>
                    <a:pt x="2" y="7"/>
                  </a:lnTo>
                  <a:lnTo>
                    <a:pt x="8" y="6"/>
                  </a:lnTo>
                  <a:lnTo>
                    <a:pt x="6"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32" name="Freeform 5994"/>
            <p:cNvSpPr>
              <a:spLocks/>
            </p:cNvSpPr>
            <p:nvPr>
              <p:custDataLst>
                <p:tags r:id="rId312"/>
              </p:custDataLst>
            </p:nvPr>
          </p:nvSpPr>
          <p:spPr bwMode="gray">
            <a:xfrm>
              <a:off x="6317385" y="3669601"/>
              <a:ext cx="17963" cy="24407"/>
            </a:xfrm>
            <a:custGeom>
              <a:avLst/>
              <a:gdLst/>
              <a:ahLst/>
              <a:cxnLst>
                <a:cxn ang="0">
                  <a:pos x="0" y="19"/>
                </a:cxn>
                <a:cxn ang="0">
                  <a:pos x="6" y="17"/>
                </a:cxn>
                <a:cxn ang="0">
                  <a:pos x="8" y="6"/>
                </a:cxn>
                <a:cxn ang="0">
                  <a:pos x="14" y="0"/>
                </a:cxn>
                <a:cxn ang="0">
                  <a:pos x="0" y="19"/>
                </a:cxn>
                <a:cxn ang="0">
                  <a:pos x="0" y="19"/>
                </a:cxn>
              </a:cxnLst>
              <a:rect l="0" t="0" r="r" b="b"/>
              <a:pathLst>
                <a:path w="14" h="19">
                  <a:moveTo>
                    <a:pt x="0" y="19"/>
                  </a:moveTo>
                  <a:lnTo>
                    <a:pt x="6" y="17"/>
                  </a:lnTo>
                  <a:lnTo>
                    <a:pt x="8" y="6"/>
                  </a:lnTo>
                  <a:lnTo>
                    <a:pt x="14" y="0"/>
                  </a:lnTo>
                  <a:lnTo>
                    <a:pt x="0" y="19"/>
                  </a:lnTo>
                  <a:lnTo>
                    <a:pt x="0" y="1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33" name="Freeform 5998"/>
            <p:cNvSpPr>
              <a:spLocks/>
            </p:cNvSpPr>
            <p:nvPr>
              <p:custDataLst>
                <p:tags r:id="rId313"/>
              </p:custDataLst>
            </p:nvPr>
          </p:nvSpPr>
          <p:spPr bwMode="gray">
            <a:xfrm>
              <a:off x="8884853" y="4616321"/>
              <a:ext cx="823745" cy="670540"/>
            </a:xfrm>
            <a:custGeom>
              <a:avLst/>
              <a:gdLst/>
              <a:ahLst/>
              <a:cxnLst>
                <a:cxn ang="0">
                  <a:pos x="19" y="445"/>
                </a:cxn>
                <a:cxn ang="0">
                  <a:pos x="79" y="427"/>
                </a:cxn>
                <a:cxn ang="0">
                  <a:pos x="146" y="410"/>
                </a:cxn>
                <a:cxn ang="0">
                  <a:pos x="268" y="384"/>
                </a:cxn>
                <a:cxn ang="0">
                  <a:pos x="301" y="410"/>
                </a:cxn>
                <a:cxn ang="0">
                  <a:pos x="311" y="445"/>
                </a:cxn>
                <a:cxn ang="0">
                  <a:pos x="356" y="419"/>
                </a:cxn>
                <a:cxn ang="0">
                  <a:pos x="341" y="449"/>
                </a:cxn>
                <a:cxn ang="0">
                  <a:pos x="356" y="445"/>
                </a:cxn>
                <a:cxn ang="0">
                  <a:pos x="354" y="457"/>
                </a:cxn>
                <a:cxn ang="0">
                  <a:pos x="361" y="479"/>
                </a:cxn>
                <a:cxn ang="0">
                  <a:pos x="369" y="509"/>
                </a:cxn>
                <a:cxn ang="0">
                  <a:pos x="395" y="517"/>
                </a:cxn>
                <a:cxn ang="0">
                  <a:pos x="423" y="509"/>
                </a:cxn>
                <a:cxn ang="0">
                  <a:pos x="429" y="513"/>
                </a:cxn>
                <a:cxn ang="0">
                  <a:pos x="476" y="500"/>
                </a:cxn>
                <a:cxn ang="0">
                  <a:pos x="528" y="460"/>
                </a:cxn>
                <a:cxn ang="0">
                  <a:pos x="635" y="329"/>
                </a:cxn>
                <a:cxn ang="0">
                  <a:pos x="631" y="245"/>
                </a:cxn>
                <a:cxn ang="0">
                  <a:pos x="622" y="219"/>
                </a:cxn>
                <a:cxn ang="0">
                  <a:pos x="607" y="213"/>
                </a:cxn>
                <a:cxn ang="0">
                  <a:pos x="582" y="159"/>
                </a:cxn>
                <a:cxn ang="0">
                  <a:pos x="566" y="119"/>
                </a:cxn>
                <a:cxn ang="0">
                  <a:pos x="562" y="76"/>
                </a:cxn>
                <a:cxn ang="0">
                  <a:pos x="537" y="65"/>
                </a:cxn>
                <a:cxn ang="0">
                  <a:pos x="526" y="0"/>
                </a:cxn>
                <a:cxn ang="0">
                  <a:pos x="496" y="97"/>
                </a:cxn>
                <a:cxn ang="0">
                  <a:pos x="476" y="127"/>
                </a:cxn>
                <a:cxn ang="0">
                  <a:pos x="457" y="114"/>
                </a:cxn>
                <a:cxn ang="0">
                  <a:pos x="418" y="95"/>
                </a:cxn>
                <a:cxn ang="0">
                  <a:pos x="404" y="76"/>
                </a:cxn>
                <a:cxn ang="0">
                  <a:pos x="416" y="46"/>
                </a:cxn>
                <a:cxn ang="0">
                  <a:pos x="434" y="29"/>
                </a:cxn>
                <a:cxn ang="0">
                  <a:pos x="418" y="33"/>
                </a:cxn>
                <a:cxn ang="0">
                  <a:pos x="406" y="28"/>
                </a:cxn>
                <a:cxn ang="0">
                  <a:pos x="365" y="18"/>
                </a:cxn>
                <a:cxn ang="0">
                  <a:pos x="339" y="28"/>
                </a:cxn>
                <a:cxn ang="0">
                  <a:pos x="324" y="50"/>
                </a:cxn>
                <a:cxn ang="0">
                  <a:pos x="305" y="67"/>
                </a:cxn>
                <a:cxn ang="0">
                  <a:pos x="309" y="82"/>
                </a:cxn>
                <a:cxn ang="0">
                  <a:pos x="285" y="82"/>
                </a:cxn>
                <a:cxn ang="0">
                  <a:pos x="275" y="59"/>
                </a:cxn>
                <a:cxn ang="0">
                  <a:pos x="249" y="71"/>
                </a:cxn>
                <a:cxn ang="0">
                  <a:pos x="219" y="103"/>
                </a:cxn>
                <a:cxn ang="0">
                  <a:pos x="208" y="108"/>
                </a:cxn>
                <a:cxn ang="0">
                  <a:pos x="202" y="123"/>
                </a:cxn>
                <a:cxn ang="0">
                  <a:pos x="183" y="121"/>
                </a:cxn>
                <a:cxn ang="0">
                  <a:pos x="155" y="164"/>
                </a:cxn>
                <a:cxn ang="0">
                  <a:pos x="43" y="213"/>
                </a:cxn>
                <a:cxn ang="0">
                  <a:pos x="30" y="219"/>
                </a:cxn>
                <a:cxn ang="0">
                  <a:pos x="22" y="241"/>
                </a:cxn>
                <a:cxn ang="0">
                  <a:pos x="19" y="273"/>
                </a:cxn>
                <a:cxn ang="0">
                  <a:pos x="13" y="282"/>
                </a:cxn>
                <a:cxn ang="0">
                  <a:pos x="26" y="385"/>
                </a:cxn>
                <a:cxn ang="0">
                  <a:pos x="4" y="419"/>
                </a:cxn>
                <a:cxn ang="0">
                  <a:pos x="0" y="430"/>
                </a:cxn>
              </a:cxnLst>
              <a:rect l="0" t="0" r="r" b="b"/>
              <a:pathLst>
                <a:path w="642" h="522">
                  <a:moveTo>
                    <a:pt x="0" y="430"/>
                  </a:moveTo>
                  <a:lnTo>
                    <a:pt x="19" y="445"/>
                  </a:lnTo>
                  <a:lnTo>
                    <a:pt x="45" y="445"/>
                  </a:lnTo>
                  <a:lnTo>
                    <a:pt x="79" y="427"/>
                  </a:lnTo>
                  <a:lnTo>
                    <a:pt x="133" y="425"/>
                  </a:lnTo>
                  <a:lnTo>
                    <a:pt x="146" y="410"/>
                  </a:lnTo>
                  <a:lnTo>
                    <a:pt x="185" y="393"/>
                  </a:lnTo>
                  <a:lnTo>
                    <a:pt x="268" y="384"/>
                  </a:lnTo>
                  <a:lnTo>
                    <a:pt x="307" y="402"/>
                  </a:lnTo>
                  <a:lnTo>
                    <a:pt x="301" y="410"/>
                  </a:lnTo>
                  <a:lnTo>
                    <a:pt x="311" y="414"/>
                  </a:lnTo>
                  <a:lnTo>
                    <a:pt x="311" y="445"/>
                  </a:lnTo>
                  <a:lnTo>
                    <a:pt x="360" y="406"/>
                  </a:lnTo>
                  <a:lnTo>
                    <a:pt x="356" y="419"/>
                  </a:lnTo>
                  <a:lnTo>
                    <a:pt x="328" y="451"/>
                  </a:lnTo>
                  <a:lnTo>
                    <a:pt x="341" y="449"/>
                  </a:lnTo>
                  <a:lnTo>
                    <a:pt x="354" y="432"/>
                  </a:lnTo>
                  <a:lnTo>
                    <a:pt x="356" y="445"/>
                  </a:lnTo>
                  <a:lnTo>
                    <a:pt x="343" y="459"/>
                  </a:lnTo>
                  <a:lnTo>
                    <a:pt x="354" y="457"/>
                  </a:lnTo>
                  <a:lnTo>
                    <a:pt x="360" y="462"/>
                  </a:lnTo>
                  <a:lnTo>
                    <a:pt x="361" y="479"/>
                  </a:lnTo>
                  <a:lnTo>
                    <a:pt x="356" y="488"/>
                  </a:lnTo>
                  <a:lnTo>
                    <a:pt x="369" y="509"/>
                  </a:lnTo>
                  <a:lnTo>
                    <a:pt x="388" y="509"/>
                  </a:lnTo>
                  <a:lnTo>
                    <a:pt x="395" y="517"/>
                  </a:lnTo>
                  <a:lnTo>
                    <a:pt x="427" y="498"/>
                  </a:lnTo>
                  <a:lnTo>
                    <a:pt x="423" y="509"/>
                  </a:lnTo>
                  <a:lnTo>
                    <a:pt x="433" y="505"/>
                  </a:lnTo>
                  <a:lnTo>
                    <a:pt x="429" y="513"/>
                  </a:lnTo>
                  <a:lnTo>
                    <a:pt x="436" y="522"/>
                  </a:lnTo>
                  <a:lnTo>
                    <a:pt x="476" y="500"/>
                  </a:lnTo>
                  <a:lnTo>
                    <a:pt x="506" y="492"/>
                  </a:lnTo>
                  <a:lnTo>
                    <a:pt x="528" y="460"/>
                  </a:lnTo>
                  <a:lnTo>
                    <a:pt x="611" y="372"/>
                  </a:lnTo>
                  <a:lnTo>
                    <a:pt x="635" y="329"/>
                  </a:lnTo>
                  <a:lnTo>
                    <a:pt x="642" y="282"/>
                  </a:lnTo>
                  <a:lnTo>
                    <a:pt x="631" y="245"/>
                  </a:lnTo>
                  <a:lnTo>
                    <a:pt x="622" y="236"/>
                  </a:lnTo>
                  <a:lnTo>
                    <a:pt x="622" y="219"/>
                  </a:lnTo>
                  <a:lnTo>
                    <a:pt x="611" y="207"/>
                  </a:lnTo>
                  <a:lnTo>
                    <a:pt x="607" y="213"/>
                  </a:lnTo>
                  <a:lnTo>
                    <a:pt x="599" y="176"/>
                  </a:lnTo>
                  <a:lnTo>
                    <a:pt x="582" y="159"/>
                  </a:lnTo>
                  <a:lnTo>
                    <a:pt x="566" y="151"/>
                  </a:lnTo>
                  <a:lnTo>
                    <a:pt x="566" y="119"/>
                  </a:lnTo>
                  <a:lnTo>
                    <a:pt x="560" y="106"/>
                  </a:lnTo>
                  <a:lnTo>
                    <a:pt x="562" y="76"/>
                  </a:lnTo>
                  <a:lnTo>
                    <a:pt x="552" y="65"/>
                  </a:lnTo>
                  <a:lnTo>
                    <a:pt x="537" y="65"/>
                  </a:lnTo>
                  <a:lnTo>
                    <a:pt x="532" y="5"/>
                  </a:lnTo>
                  <a:lnTo>
                    <a:pt x="526" y="0"/>
                  </a:lnTo>
                  <a:lnTo>
                    <a:pt x="519" y="9"/>
                  </a:lnTo>
                  <a:lnTo>
                    <a:pt x="496" y="97"/>
                  </a:lnTo>
                  <a:lnTo>
                    <a:pt x="485" y="123"/>
                  </a:lnTo>
                  <a:lnTo>
                    <a:pt x="476" y="127"/>
                  </a:lnTo>
                  <a:lnTo>
                    <a:pt x="466" y="131"/>
                  </a:lnTo>
                  <a:lnTo>
                    <a:pt x="457" y="114"/>
                  </a:lnTo>
                  <a:lnTo>
                    <a:pt x="431" y="95"/>
                  </a:lnTo>
                  <a:lnTo>
                    <a:pt x="418" y="95"/>
                  </a:lnTo>
                  <a:lnTo>
                    <a:pt x="416" y="86"/>
                  </a:lnTo>
                  <a:lnTo>
                    <a:pt x="404" y="76"/>
                  </a:lnTo>
                  <a:lnTo>
                    <a:pt x="414" y="63"/>
                  </a:lnTo>
                  <a:lnTo>
                    <a:pt x="416" y="46"/>
                  </a:lnTo>
                  <a:lnTo>
                    <a:pt x="425" y="46"/>
                  </a:lnTo>
                  <a:lnTo>
                    <a:pt x="434" y="29"/>
                  </a:lnTo>
                  <a:lnTo>
                    <a:pt x="427" y="24"/>
                  </a:lnTo>
                  <a:lnTo>
                    <a:pt x="418" y="33"/>
                  </a:lnTo>
                  <a:lnTo>
                    <a:pt x="416" y="24"/>
                  </a:lnTo>
                  <a:lnTo>
                    <a:pt x="406" y="28"/>
                  </a:lnTo>
                  <a:lnTo>
                    <a:pt x="361" y="11"/>
                  </a:lnTo>
                  <a:lnTo>
                    <a:pt x="365" y="18"/>
                  </a:lnTo>
                  <a:lnTo>
                    <a:pt x="360" y="28"/>
                  </a:lnTo>
                  <a:lnTo>
                    <a:pt x="339" y="28"/>
                  </a:lnTo>
                  <a:lnTo>
                    <a:pt x="328" y="35"/>
                  </a:lnTo>
                  <a:lnTo>
                    <a:pt x="324" y="50"/>
                  </a:lnTo>
                  <a:lnTo>
                    <a:pt x="316" y="52"/>
                  </a:lnTo>
                  <a:lnTo>
                    <a:pt x="305" y="67"/>
                  </a:lnTo>
                  <a:lnTo>
                    <a:pt x="313" y="74"/>
                  </a:lnTo>
                  <a:lnTo>
                    <a:pt x="309" y="82"/>
                  </a:lnTo>
                  <a:lnTo>
                    <a:pt x="294" y="74"/>
                  </a:lnTo>
                  <a:lnTo>
                    <a:pt x="285" y="82"/>
                  </a:lnTo>
                  <a:lnTo>
                    <a:pt x="281" y="67"/>
                  </a:lnTo>
                  <a:lnTo>
                    <a:pt x="275" y="59"/>
                  </a:lnTo>
                  <a:lnTo>
                    <a:pt x="266" y="58"/>
                  </a:lnTo>
                  <a:lnTo>
                    <a:pt x="249" y="71"/>
                  </a:lnTo>
                  <a:lnTo>
                    <a:pt x="240" y="71"/>
                  </a:lnTo>
                  <a:lnTo>
                    <a:pt x="219" y="103"/>
                  </a:lnTo>
                  <a:lnTo>
                    <a:pt x="212" y="99"/>
                  </a:lnTo>
                  <a:lnTo>
                    <a:pt x="208" y="108"/>
                  </a:lnTo>
                  <a:lnTo>
                    <a:pt x="212" y="114"/>
                  </a:lnTo>
                  <a:lnTo>
                    <a:pt x="202" y="123"/>
                  </a:lnTo>
                  <a:lnTo>
                    <a:pt x="198" y="104"/>
                  </a:lnTo>
                  <a:lnTo>
                    <a:pt x="183" y="121"/>
                  </a:lnTo>
                  <a:lnTo>
                    <a:pt x="183" y="136"/>
                  </a:lnTo>
                  <a:lnTo>
                    <a:pt x="155" y="164"/>
                  </a:lnTo>
                  <a:lnTo>
                    <a:pt x="77" y="185"/>
                  </a:lnTo>
                  <a:lnTo>
                    <a:pt x="43" y="213"/>
                  </a:lnTo>
                  <a:lnTo>
                    <a:pt x="39" y="204"/>
                  </a:lnTo>
                  <a:lnTo>
                    <a:pt x="30" y="219"/>
                  </a:lnTo>
                  <a:lnTo>
                    <a:pt x="30" y="234"/>
                  </a:lnTo>
                  <a:lnTo>
                    <a:pt x="22" y="241"/>
                  </a:lnTo>
                  <a:lnTo>
                    <a:pt x="26" y="288"/>
                  </a:lnTo>
                  <a:lnTo>
                    <a:pt x="19" y="273"/>
                  </a:lnTo>
                  <a:lnTo>
                    <a:pt x="19" y="290"/>
                  </a:lnTo>
                  <a:lnTo>
                    <a:pt x="13" y="282"/>
                  </a:lnTo>
                  <a:lnTo>
                    <a:pt x="26" y="337"/>
                  </a:lnTo>
                  <a:lnTo>
                    <a:pt x="26" y="385"/>
                  </a:lnTo>
                  <a:lnTo>
                    <a:pt x="17" y="414"/>
                  </a:lnTo>
                  <a:lnTo>
                    <a:pt x="4" y="419"/>
                  </a:lnTo>
                  <a:lnTo>
                    <a:pt x="0" y="430"/>
                  </a:lnTo>
                  <a:lnTo>
                    <a:pt x="0" y="43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34" name="Freeform 5999"/>
            <p:cNvSpPr>
              <a:spLocks/>
            </p:cNvSpPr>
            <p:nvPr>
              <p:custDataLst>
                <p:tags r:id="rId314"/>
              </p:custDataLst>
            </p:nvPr>
          </p:nvSpPr>
          <p:spPr bwMode="gray">
            <a:xfrm>
              <a:off x="9290311" y="5205934"/>
              <a:ext cx="29511" cy="8992"/>
            </a:xfrm>
            <a:custGeom>
              <a:avLst/>
              <a:gdLst/>
              <a:ahLst/>
              <a:cxnLst>
                <a:cxn ang="0">
                  <a:pos x="0" y="3"/>
                </a:cxn>
                <a:cxn ang="0">
                  <a:pos x="2" y="7"/>
                </a:cxn>
                <a:cxn ang="0">
                  <a:pos x="14" y="7"/>
                </a:cxn>
                <a:cxn ang="0">
                  <a:pos x="23" y="3"/>
                </a:cxn>
                <a:cxn ang="0">
                  <a:pos x="15" y="0"/>
                </a:cxn>
                <a:cxn ang="0">
                  <a:pos x="0" y="3"/>
                </a:cxn>
                <a:cxn ang="0">
                  <a:pos x="0" y="3"/>
                </a:cxn>
              </a:cxnLst>
              <a:rect l="0" t="0" r="r" b="b"/>
              <a:pathLst>
                <a:path w="23" h="7">
                  <a:moveTo>
                    <a:pt x="0" y="3"/>
                  </a:moveTo>
                  <a:lnTo>
                    <a:pt x="2" y="7"/>
                  </a:lnTo>
                  <a:lnTo>
                    <a:pt x="14" y="7"/>
                  </a:lnTo>
                  <a:lnTo>
                    <a:pt x="23" y="3"/>
                  </a:lnTo>
                  <a:lnTo>
                    <a:pt x="15" y="0"/>
                  </a:lnTo>
                  <a:lnTo>
                    <a:pt x="0" y="3"/>
                  </a:lnTo>
                  <a:lnTo>
                    <a:pt x="0" y="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35" name="Freeform 6000"/>
            <p:cNvSpPr>
              <a:spLocks/>
            </p:cNvSpPr>
            <p:nvPr>
              <p:custDataLst>
                <p:tags r:id="rId315"/>
              </p:custDataLst>
            </p:nvPr>
          </p:nvSpPr>
          <p:spPr bwMode="gray">
            <a:xfrm>
              <a:off x="9377561" y="5322829"/>
              <a:ext cx="79552" cy="68082"/>
            </a:xfrm>
            <a:custGeom>
              <a:avLst/>
              <a:gdLst/>
              <a:ahLst/>
              <a:cxnLst>
                <a:cxn ang="0">
                  <a:pos x="13" y="0"/>
                </a:cxn>
                <a:cxn ang="0">
                  <a:pos x="0" y="42"/>
                </a:cxn>
                <a:cxn ang="0">
                  <a:pos x="4" y="51"/>
                </a:cxn>
                <a:cxn ang="0">
                  <a:pos x="11" y="53"/>
                </a:cxn>
                <a:cxn ang="0">
                  <a:pos x="30" y="40"/>
                </a:cxn>
                <a:cxn ang="0">
                  <a:pos x="34" y="45"/>
                </a:cxn>
                <a:cxn ang="0">
                  <a:pos x="62" y="6"/>
                </a:cxn>
                <a:cxn ang="0">
                  <a:pos x="28" y="10"/>
                </a:cxn>
                <a:cxn ang="0">
                  <a:pos x="13" y="0"/>
                </a:cxn>
                <a:cxn ang="0">
                  <a:pos x="13" y="0"/>
                </a:cxn>
              </a:cxnLst>
              <a:rect l="0" t="0" r="r" b="b"/>
              <a:pathLst>
                <a:path w="62" h="53">
                  <a:moveTo>
                    <a:pt x="13" y="0"/>
                  </a:moveTo>
                  <a:lnTo>
                    <a:pt x="0" y="42"/>
                  </a:lnTo>
                  <a:lnTo>
                    <a:pt x="4" y="51"/>
                  </a:lnTo>
                  <a:lnTo>
                    <a:pt x="11" y="53"/>
                  </a:lnTo>
                  <a:lnTo>
                    <a:pt x="30" y="40"/>
                  </a:lnTo>
                  <a:lnTo>
                    <a:pt x="34" y="45"/>
                  </a:lnTo>
                  <a:lnTo>
                    <a:pt x="62" y="6"/>
                  </a:lnTo>
                  <a:lnTo>
                    <a:pt x="28" y="10"/>
                  </a:lnTo>
                  <a:lnTo>
                    <a:pt x="13" y="0"/>
                  </a:lnTo>
                  <a:lnTo>
                    <a:pt x="13"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36" name="Freeform 6001"/>
            <p:cNvSpPr>
              <a:spLocks/>
            </p:cNvSpPr>
            <p:nvPr>
              <p:custDataLst>
                <p:tags r:id="rId316"/>
              </p:custDataLst>
            </p:nvPr>
          </p:nvSpPr>
          <p:spPr bwMode="gray">
            <a:xfrm>
              <a:off x="9958802" y="5176389"/>
              <a:ext cx="129592" cy="165708"/>
            </a:xfrm>
            <a:custGeom>
              <a:avLst/>
              <a:gdLst/>
              <a:ahLst/>
              <a:cxnLst>
                <a:cxn ang="0">
                  <a:pos x="10" y="90"/>
                </a:cxn>
                <a:cxn ang="0">
                  <a:pos x="21" y="101"/>
                </a:cxn>
                <a:cxn ang="0">
                  <a:pos x="0" y="126"/>
                </a:cxn>
                <a:cxn ang="0">
                  <a:pos x="4" y="129"/>
                </a:cxn>
                <a:cxn ang="0">
                  <a:pos x="15" y="127"/>
                </a:cxn>
                <a:cxn ang="0">
                  <a:pos x="62" y="88"/>
                </a:cxn>
                <a:cxn ang="0">
                  <a:pos x="88" y="75"/>
                </a:cxn>
                <a:cxn ang="0">
                  <a:pos x="101" y="60"/>
                </a:cxn>
                <a:cxn ang="0">
                  <a:pos x="96" y="56"/>
                </a:cxn>
                <a:cxn ang="0">
                  <a:pos x="79" y="66"/>
                </a:cxn>
                <a:cxn ang="0">
                  <a:pos x="64" y="60"/>
                </a:cxn>
                <a:cxn ang="0">
                  <a:pos x="71" y="43"/>
                </a:cxn>
                <a:cxn ang="0">
                  <a:pos x="66" y="39"/>
                </a:cxn>
                <a:cxn ang="0">
                  <a:pos x="60" y="51"/>
                </a:cxn>
                <a:cxn ang="0">
                  <a:pos x="54" y="47"/>
                </a:cxn>
                <a:cxn ang="0">
                  <a:pos x="62" y="17"/>
                </a:cxn>
                <a:cxn ang="0">
                  <a:pos x="60" y="11"/>
                </a:cxn>
                <a:cxn ang="0">
                  <a:pos x="53" y="9"/>
                </a:cxn>
                <a:cxn ang="0">
                  <a:pos x="49" y="0"/>
                </a:cxn>
                <a:cxn ang="0">
                  <a:pos x="47" y="45"/>
                </a:cxn>
                <a:cxn ang="0">
                  <a:pos x="54" y="47"/>
                </a:cxn>
                <a:cxn ang="0">
                  <a:pos x="28" y="81"/>
                </a:cxn>
                <a:cxn ang="0">
                  <a:pos x="10" y="90"/>
                </a:cxn>
                <a:cxn ang="0">
                  <a:pos x="10" y="90"/>
                </a:cxn>
              </a:cxnLst>
              <a:rect l="0" t="0" r="r" b="b"/>
              <a:pathLst>
                <a:path w="101" h="129">
                  <a:moveTo>
                    <a:pt x="10" y="90"/>
                  </a:moveTo>
                  <a:lnTo>
                    <a:pt x="21" y="101"/>
                  </a:lnTo>
                  <a:lnTo>
                    <a:pt x="0" y="126"/>
                  </a:lnTo>
                  <a:lnTo>
                    <a:pt x="4" y="129"/>
                  </a:lnTo>
                  <a:lnTo>
                    <a:pt x="15" y="127"/>
                  </a:lnTo>
                  <a:lnTo>
                    <a:pt x="62" y="88"/>
                  </a:lnTo>
                  <a:lnTo>
                    <a:pt x="88" y="75"/>
                  </a:lnTo>
                  <a:lnTo>
                    <a:pt x="101" y="60"/>
                  </a:lnTo>
                  <a:lnTo>
                    <a:pt x="96" y="56"/>
                  </a:lnTo>
                  <a:lnTo>
                    <a:pt x="79" y="66"/>
                  </a:lnTo>
                  <a:lnTo>
                    <a:pt x="64" y="60"/>
                  </a:lnTo>
                  <a:lnTo>
                    <a:pt x="71" y="43"/>
                  </a:lnTo>
                  <a:lnTo>
                    <a:pt x="66" y="39"/>
                  </a:lnTo>
                  <a:lnTo>
                    <a:pt x="60" y="51"/>
                  </a:lnTo>
                  <a:lnTo>
                    <a:pt x="54" y="47"/>
                  </a:lnTo>
                  <a:lnTo>
                    <a:pt x="62" y="17"/>
                  </a:lnTo>
                  <a:lnTo>
                    <a:pt x="60" y="11"/>
                  </a:lnTo>
                  <a:lnTo>
                    <a:pt x="53" y="9"/>
                  </a:lnTo>
                  <a:lnTo>
                    <a:pt x="49" y="0"/>
                  </a:lnTo>
                  <a:lnTo>
                    <a:pt x="47" y="45"/>
                  </a:lnTo>
                  <a:lnTo>
                    <a:pt x="54" y="47"/>
                  </a:lnTo>
                  <a:lnTo>
                    <a:pt x="28" y="81"/>
                  </a:lnTo>
                  <a:lnTo>
                    <a:pt x="10" y="90"/>
                  </a:lnTo>
                  <a:lnTo>
                    <a:pt x="10" y="9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37" name="Freeform 6002"/>
            <p:cNvSpPr>
              <a:spLocks/>
            </p:cNvSpPr>
            <p:nvPr>
              <p:custDataLst>
                <p:tags r:id="rId317"/>
              </p:custDataLst>
            </p:nvPr>
          </p:nvSpPr>
          <p:spPr bwMode="gray">
            <a:xfrm>
              <a:off x="9723996" y="5322829"/>
              <a:ext cx="225824" cy="140017"/>
            </a:xfrm>
            <a:custGeom>
              <a:avLst/>
              <a:gdLst/>
              <a:ahLst/>
              <a:cxnLst>
                <a:cxn ang="0">
                  <a:pos x="0" y="96"/>
                </a:cxn>
                <a:cxn ang="0">
                  <a:pos x="0" y="100"/>
                </a:cxn>
                <a:cxn ang="0">
                  <a:pos x="11" y="100"/>
                </a:cxn>
                <a:cxn ang="0">
                  <a:pos x="11" y="105"/>
                </a:cxn>
                <a:cxn ang="0">
                  <a:pos x="24" y="109"/>
                </a:cxn>
                <a:cxn ang="0">
                  <a:pos x="48" y="101"/>
                </a:cxn>
                <a:cxn ang="0">
                  <a:pos x="93" y="68"/>
                </a:cxn>
                <a:cxn ang="0">
                  <a:pos x="125" y="57"/>
                </a:cxn>
                <a:cxn ang="0">
                  <a:pos x="129" y="45"/>
                </a:cxn>
                <a:cxn ang="0">
                  <a:pos x="170" y="21"/>
                </a:cxn>
                <a:cxn ang="0">
                  <a:pos x="176" y="12"/>
                </a:cxn>
                <a:cxn ang="0">
                  <a:pos x="172" y="10"/>
                </a:cxn>
                <a:cxn ang="0">
                  <a:pos x="174" y="4"/>
                </a:cxn>
                <a:cxn ang="0">
                  <a:pos x="159" y="12"/>
                </a:cxn>
                <a:cxn ang="0">
                  <a:pos x="164" y="4"/>
                </a:cxn>
                <a:cxn ang="0">
                  <a:pos x="159" y="0"/>
                </a:cxn>
                <a:cxn ang="0">
                  <a:pos x="149" y="4"/>
                </a:cxn>
                <a:cxn ang="0">
                  <a:pos x="110" y="36"/>
                </a:cxn>
                <a:cxn ang="0">
                  <a:pos x="52" y="62"/>
                </a:cxn>
                <a:cxn ang="0">
                  <a:pos x="0" y="96"/>
                </a:cxn>
                <a:cxn ang="0">
                  <a:pos x="0" y="96"/>
                </a:cxn>
              </a:cxnLst>
              <a:rect l="0" t="0" r="r" b="b"/>
              <a:pathLst>
                <a:path w="176" h="109">
                  <a:moveTo>
                    <a:pt x="0" y="96"/>
                  </a:moveTo>
                  <a:lnTo>
                    <a:pt x="0" y="100"/>
                  </a:lnTo>
                  <a:lnTo>
                    <a:pt x="11" y="100"/>
                  </a:lnTo>
                  <a:lnTo>
                    <a:pt x="11" y="105"/>
                  </a:lnTo>
                  <a:lnTo>
                    <a:pt x="24" y="109"/>
                  </a:lnTo>
                  <a:lnTo>
                    <a:pt x="48" y="101"/>
                  </a:lnTo>
                  <a:lnTo>
                    <a:pt x="93" y="68"/>
                  </a:lnTo>
                  <a:lnTo>
                    <a:pt x="125" y="57"/>
                  </a:lnTo>
                  <a:lnTo>
                    <a:pt x="129" y="45"/>
                  </a:lnTo>
                  <a:lnTo>
                    <a:pt x="170" y="21"/>
                  </a:lnTo>
                  <a:lnTo>
                    <a:pt x="176" y="12"/>
                  </a:lnTo>
                  <a:lnTo>
                    <a:pt x="172" y="10"/>
                  </a:lnTo>
                  <a:lnTo>
                    <a:pt x="174" y="4"/>
                  </a:lnTo>
                  <a:lnTo>
                    <a:pt x="159" y="12"/>
                  </a:lnTo>
                  <a:lnTo>
                    <a:pt x="164" y="4"/>
                  </a:lnTo>
                  <a:lnTo>
                    <a:pt x="159" y="0"/>
                  </a:lnTo>
                  <a:lnTo>
                    <a:pt x="149" y="4"/>
                  </a:lnTo>
                  <a:lnTo>
                    <a:pt x="110" y="36"/>
                  </a:lnTo>
                  <a:lnTo>
                    <a:pt x="52" y="62"/>
                  </a:lnTo>
                  <a:lnTo>
                    <a:pt x="0" y="96"/>
                  </a:lnTo>
                  <a:lnTo>
                    <a:pt x="0" y="96"/>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38" name="Freeform 6003"/>
            <p:cNvSpPr>
              <a:spLocks/>
            </p:cNvSpPr>
            <p:nvPr>
              <p:custDataLst>
                <p:tags r:id="rId318"/>
              </p:custDataLst>
            </p:nvPr>
          </p:nvSpPr>
          <p:spPr bwMode="gray">
            <a:xfrm>
              <a:off x="9718863" y="5462846"/>
              <a:ext cx="19246" cy="16699"/>
            </a:xfrm>
            <a:custGeom>
              <a:avLst/>
              <a:gdLst/>
              <a:ahLst/>
              <a:cxnLst>
                <a:cxn ang="0">
                  <a:pos x="0" y="13"/>
                </a:cxn>
                <a:cxn ang="0">
                  <a:pos x="13" y="7"/>
                </a:cxn>
                <a:cxn ang="0">
                  <a:pos x="15" y="0"/>
                </a:cxn>
                <a:cxn ang="0">
                  <a:pos x="0" y="13"/>
                </a:cxn>
                <a:cxn ang="0">
                  <a:pos x="0" y="13"/>
                </a:cxn>
              </a:cxnLst>
              <a:rect l="0" t="0" r="r" b="b"/>
              <a:pathLst>
                <a:path w="15" h="13">
                  <a:moveTo>
                    <a:pt x="0" y="13"/>
                  </a:moveTo>
                  <a:lnTo>
                    <a:pt x="13" y="7"/>
                  </a:lnTo>
                  <a:lnTo>
                    <a:pt x="15" y="0"/>
                  </a:lnTo>
                  <a:lnTo>
                    <a:pt x="0" y="13"/>
                  </a:lnTo>
                  <a:lnTo>
                    <a:pt x="0" y="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39" name="Freeform 6004"/>
            <p:cNvSpPr>
              <a:spLocks/>
            </p:cNvSpPr>
            <p:nvPr>
              <p:custDataLst>
                <p:tags r:id="rId319"/>
              </p:custDataLst>
            </p:nvPr>
          </p:nvSpPr>
          <p:spPr bwMode="gray">
            <a:xfrm>
              <a:off x="8587176" y="4225815"/>
              <a:ext cx="228390" cy="269757"/>
            </a:xfrm>
            <a:custGeom>
              <a:avLst/>
              <a:gdLst/>
              <a:ahLst/>
              <a:cxnLst>
                <a:cxn ang="0">
                  <a:pos x="0" y="0"/>
                </a:cxn>
                <a:cxn ang="0">
                  <a:pos x="5" y="17"/>
                </a:cxn>
                <a:cxn ang="0">
                  <a:pos x="26" y="36"/>
                </a:cxn>
                <a:cxn ang="0">
                  <a:pos x="41" y="60"/>
                </a:cxn>
                <a:cxn ang="0">
                  <a:pos x="58" y="71"/>
                </a:cxn>
                <a:cxn ang="0">
                  <a:pos x="65" y="99"/>
                </a:cxn>
                <a:cxn ang="0">
                  <a:pos x="84" y="118"/>
                </a:cxn>
                <a:cxn ang="0">
                  <a:pos x="91" y="142"/>
                </a:cxn>
                <a:cxn ang="0">
                  <a:pos x="105" y="163"/>
                </a:cxn>
                <a:cxn ang="0">
                  <a:pos x="148" y="208"/>
                </a:cxn>
                <a:cxn ang="0">
                  <a:pos x="153" y="210"/>
                </a:cxn>
                <a:cxn ang="0">
                  <a:pos x="163" y="206"/>
                </a:cxn>
                <a:cxn ang="0">
                  <a:pos x="168" y="210"/>
                </a:cxn>
                <a:cxn ang="0">
                  <a:pos x="178" y="159"/>
                </a:cxn>
                <a:cxn ang="0">
                  <a:pos x="168" y="148"/>
                </a:cxn>
                <a:cxn ang="0">
                  <a:pos x="159" y="148"/>
                </a:cxn>
                <a:cxn ang="0">
                  <a:pos x="149" y="124"/>
                </a:cxn>
                <a:cxn ang="0">
                  <a:pos x="140" y="124"/>
                </a:cxn>
                <a:cxn ang="0">
                  <a:pos x="134" y="118"/>
                </a:cxn>
                <a:cxn ang="0">
                  <a:pos x="140" y="101"/>
                </a:cxn>
                <a:cxn ang="0">
                  <a:pos x="127" y="94"/>
                </a:cxn>
                <a:cxn ang="0">
                  <a:pos x="127" y="84"/>
                </a:cxn>
                <a:cxn ang="0">
                  <a:pos x="97" y="62"/>
                </a:cxn>
                <a:cxn ang="0">
                  <a:pos x="90" y="64"/>
                </a:cxn>
                <a:cxn ang="0">
                  <a:pos x="35" y="8"/>
                </a:cxn>
                <a:cxn ang="0">
                  <a:pos x="0" y="0"/>
                </a:cxn>
                <a:cxn ang="0">
                  <a:pos x="0" y="0"/>
                </a:cxn>
              </a:cxnLst>
              <a:rect l="0" t="0" r="r" b="b"/>
              <a:pathLst>
                <a:path w="178" h="210">
                  <a:moveTo>
                    <a:pt x="0" y="0"/>
                  </a:moveTo>
                  <a:lnTo>
                    <a:pt x="5" y="17"/>
                  </a:lnTo>
                  <a:lnTo>
                    <a:pt x="26" y="36"/>
                  </a:lnTo>
                  <a:lnTo>
                    <a:pt x="41" y="60"/>
                  </a:lnTo>
                  <a:lnTo>
                    <a:pt x="58" y="71"/>
                  </a:lnTo>
                  <a:lnTo>
                    <a:pt x="65" y="99"/>
                  </a:lnTo>
                  <a:lnTo>
                    <a:pt x="84" y="118"/>
                  </a:lnTo>
                  <a:lnTo>
                    <a:pt x="91" y="142"/>
                  </a:lnTo>
                  <a:lnTo>
                    <a:pt x="105" y="163"/>
                  </a:lnTo>
                  <a:lnTo>
                    <a:pt x="148" y="208"/>
                  </a:lnTo>
                  <a:lnTo>
                    <a:pt x="153" y="210"/>
                  </a:lnTo>
                  <a:lnTo>
                    <a:pt x="163" y="206"/>
                  </a:lnTo>
                  <a:lnTo>
                    <a:pt x="168" y="210"/>
                  </a:lnTo>
                  <a:lnTo>
                    <a:pt x="178" y="159"/>
                  </a:lnTo>
                  <a:lnTo>
                    <a:pt x="168" y="148"/>
                  </a:lnTo>
                  <a:lnTo>
                    <a:pt x="159" y="148"/>
                  </a:lnTo>
                  <a:lnTo>
                    <a:pt x="149" y="124"/>
                  </a:lnTo>
                  <a:lnTo>
                    <a:pt x="140" y="124"/>
                  </a:lnTo>
                  <a:lnTo>
                    <a:pt x="134" y="118"/>
                  </a:lnTo>
                  <a:lnTo>
                    <a:pt x="140" y="101"/>
                  </a:lnTo>
                  <a:lnTo>
                    <a:pt x="127" y="94"/>
                  </a:lnTo>
                  <a:lnTo>
                    <a:pt x="127" y="84"/>
                  </a:lnTo>
                  <a:lnTo>
                    <a:pt x="97" y="62"/>
                  </a:lnTo>
                  <a:lnTo>
                    <a:pt x="90" y="64"/>
                  </a:lnTo>
                  <a:lnTo>
                    <a:pt x="35" y="8"/>
                  </a:lnTo>
                  <a:lnTo>
                    <a:pt x="0" y="0"/>
                  </a:lnTo>
                  <a:lnTo>
                    <a:pt x="0"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endParaRPr lang="en-GB" kern="0" dirty="0">
                <a:solidFill>
                  <a:sysClr val="windowText" lastClr="000000"/>
                </a:solidFill>
              </a:endParaRPr>
            </a:p>
          </p:txBody>
        </p:sp>
        <p:sp>
          <p:nvSpPr>
            <p:cNvPr id="840" name="Freeform 6005"/>
            <p:cNvSpPr>
              <a:spLocks/>
            </p:cNvSpPr>
            <p:nvPr>
              <p:custDataLst>
                <p:tags r:id="rId320"/>
              </p:custDataLst>
            </p:nvPr>
          </p:nvSpPr>
          <p:spPr bwMode="gray">
            <a:xfrm>
              <a:off x="8796320" y="4498142"/>
              <a:ext cx="184765" cy="64228"/>
            </a:xfrm>
            <a:custGeom>
              <a:avLst/>
              <a:gdLst/>
              <a:ahLst/>
              <a:cxnLst>
                <a:cxn ang="0">
                  <a:pos x="0" y="15"/>
                </a:cxn>
                <a:cxn ang="0">
                  <a:pos x="41" y="33"/>
                </a:cxn>
                <a:cxn ang="0">
                  <a:pos x="67" y="33"/>
                </a:cxn>
                <a:cxn ang="0">
                  <a:pos x="112" y="47"/>
                </a:cxn>
                <a:cxn ang="0">
                  <a:pos x="121" y="43"/>
                </a:cxn>
                <a:cxn ang="0">
                  <a:pos x="144" y="50"/>
                </a:cxn>
                <a:cxn ang="0">
                  <a:pos x="144" y="33"/>
                </a:cxn>
                <a:cxn ang="0">
                  <a:pos x="119" y="32"/>
                </a:cxn>
                <a:cxn ang="0">
                  <a:pos x="114" y="18"/>
                </a:cxn>
                <a:cxn ang="0">
                  <a:pos x="88" y="9"/>
                </a:cxn>
                <a:cxn ang="0">
                  <a:pos x="82" y="18"/>
                </a:cxn>
                <a:cxn ang="0">
                  <a:pos x="60" y="17"/>
                </a:cxn>
                <a:cxn ang="0">
                  <a:pos x="33" y="2"/>
                </a:cxn>
                <a:cxn ang="0">
                  <a:pos x="11" y="0"/>
                </a:cxn>
                <a:cxn ang="0">
                  <a:pos x="0" y="15"/>
                </a:cxn>
                <a:cxn ang="0">
                  <a:pos x="0" y="15"/>
                </a:cxn>
              </a:cxnLst>
              <a:rect l="0" t="0" r="r" b="b"/>
              <a:pathLst>
                <a:path w="144" h="50">
                  <a:moveTo>
                    <a:pt x="0" y="15"/>
                  </a:moveTo>
                  <a:lnTo>
                    <a:pt x="41" y="33"/>
                  </a:lnTo>
                  <a:lnTo>
                    <a:pt x="67" y="33"/>
                  </a:lnTo>
                  <a:lnTo>
                    <a:pt x="112" y="47"/>
                  </a:lnTo>
                  <a:lnTo>
                    <a:pt x="121" y="43"/>
                  </a:lnTo>
                  <a:lnTo>
                    <a:pt x="144" y="50"/>
                  </a:lnTo>
                  <a:lnTo>
                    <a:pt x="144" y="33"/>
                  </a:lnTo>
                  <a:lnTo>
                    <a:pt x="119" y="32"/>
                  </a:lnTo>
                  <a:lnTo>
                    <a:pt x="114" y="18"/>
                  </a:lnTo>
                  <a:lnTo>
                    <a:pt x="88" y="9"/>
                  </a:lnTo>
                  <a:lnTo>
                    <a:pt x="82" y="18"/>
                  </a:lnTo>
                  <a:lnTo>
                    <a:pt x="60" y="17"/>
                  </a:lnTo>
                  <a:lnTo>
                    <a:pt x="33" y="2"/>
                  </a:lnTo>
                  <a:lnTo>
                    <a:pt x="11" y="0"/>
                  </a:lnTo>
                  <a:lnTo>
                    <a:pt x="0" y="15"/>
                  </a:lnTo>
                  <a:lnTo>
                    <a:pt x="0" y="15"/>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41" name="Freeform 6006"/>
            <p:cNvSpPr>
              <a:spLocks/>
            </p:cNvSpPr>
            <p:nvPr>
              <p:custDataLst>
                <p:tags r:id="rId321"/>
              </p:custDataLst>
            </p:nvPr>
          </p:nvSpPr>
          <p:spPr bwMode="gray">
            <a:xfrm>
              <a:off x="8981085" y="4548240"/>
              <a:ext cx="25662" cy="16699"/>
            </a:xfrm>
            <a:custGeom>
              <a:avLst/>
              <a:gdLst/>
              <a:ahLst/>
              <a:cxnLst>
                <a:cxn ang="0">
                  <a:pos x="0" y="4"/>
                </a:cxn>
                <a:cxn ang="0">
                  <a:pos x="11" y="13"/>
                </a:cxn>
                <a:cxn ang="0">
                  <a:pos x="20" y="6"/>
                </a:cxn>
                <a:cxn ang="0">
                  <a:pos x="15" y="0"/>
                </a:cxn>
                <a:cxn ang="0">
                  <a:pos x="0" y="4"/>
                </a:cxn>
                <a:cxn ang="0">
                  <a:pos x="0" y="4"/>
                </a:cxn>
              </a:cxnLst>
              <a:rect l="0" t="0" r="r" b="b"/>
              <a:pathLst>
                <a:path w="20" h="13">
                  <a:moveTo>
                    <a:pt x="0" y="4"/>
                  </a:moveTo>
                  <a:lnTo>
                    <a:pt x="11" y="13"/>
                  </a:lnTo>
                  <a:lnTo>
                    <a:pt x="20" y="6"/>
                  </a:lnTo>
                  <a:lnTo>
                    <a:pt x="15" y="0"/>
                  </a:lnTo>
                  <a:lnTo>
                    <a:pt x="0" y="4"/>
                  </a:lnTo>
                  <a:lnTo>
                    <a:pt x="0" y="4"/>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42" name="Freeform 6007"/>
            <p:cNvSpPr>
              <a:spLocks/>
            </p:cNvSpPr>
            <p:nvPr>
              <p:custDataLst>
                <p:tags r:id="rId322"/>
              </p:custDataLst>
            </p:nvPr>
          </p:nvSpPr>
          <p:spPr bwMode="gray">
            <a:xfrm>
              <a:off x="9011879" y="4550809"/>
              <a:ext cx="161670" cy="24407"/>
            </a:xfrm>
            <a:custGeom>
              <a:avLst/>
              <a:gdLst/>
              <a:ahLst/>
              <a:cxnLst>
                <a:cxn ang="0">
                  <a:pos x="0" y="17"/>
                </a:cxn>
                <a:cxn ang="0">
                  <a:pos x="19" y="19"/>
                </a:cxn>
                <a:cxn ang="0">
                  <a:pos x="58" y="9"/>
                </a:cxn>
                <a:cxn ang="0">
                  <a:pos x="98" y="15"/>
                </a:cxn>
                <a:cxn ang="0">
                  <a:pos x="126" y="6"/>
                </a:cxn>
                <a:cxn ang="0">
                  <a:pos x="114" y="2"/>
                </a:cxn>
                <a:cxn ang="0">
                  <a:pos x="105" y="11"/>
                </a:cxn>
                <a:cxn ang="0">
                  <a:pos x="75" y="2"/>
                </a:cxn>
                <a:cxn ang="0">
                  <a:pos x="58" y="9"/>
                </a:cxn>
                <a:cxn ang="0">
                  <a:pos x="30" y="0"/>
                </a:cxn>
                <a:cxn ang="0">
                  <a:pos x="34" y="7"/>
                </a:cxn>
                <a:cxn ang="0">
                  <a:pos x="10" y="4"/>
                </a:cxn>
                <a:cxn ang="0">
                  <a:pos x="2" y="6"/>
                </a:cxn>
                <a:cxn ang="0">
                  <a:pos x="0" y="17"/>
                </a:cxn>
                <a:cxn ang="0">
                  <a:pos x="0" y="17"/>
                </a:cxn>
              </a:cxnLst>
              <a:rect l="0" t="0" r="r" b="b"/>
              <a:pathLst>
                <a:path w="126" h="19">
                  <a:moveTo>
                    <a:pt x="0" y="17"/>
                  </a:moveTo>
                  <a:lnTo>
                    <a:pt x="19" y="19"/>
                  </a:lnTo>
                  <a:lnTo>
                    <a:pt x="58" y="9"/>
                  </a:lnTo>
                  <a:lnTo>
                    <a:pt x="98" y="15"/>
                  </a:lnTo>
                  <a:lnTo>
                    <a:pt x="126" y="6"/>
                  </a:lnTo>
                  <a:lnTo>
                    <a:pt x="114" y="2"/>
                  </a:lnTo>
                  <a:lnTo>
                    <a:pt x="105" y="11"/>
                  </a:lnTo>
                  <a:lnTo>
                    <a:pt x="75" y="2"/>
                  </a:lnTo>
                  <a:lnTo>
                    <a:pt x="58" y="9"/>
                  </a:lnTo>
                  <a:lnTo>
                    <a:pt x="30" y="0"/>
                  </a:lnTo>
                  <a:lnTo>
                    <a:pt x="34" y="7"/>
                  </a:lnTo>
                  <a:lnTo>
                    <a:pt x="10" y="4"/>
                  </a:lnTo>
                  <a:lnTo>
                    <a:pt x="2" y="6"/>
                  </a:lnTo>
                  <a:lnTo>
                    <a:pt x="0" y="17"/>
                  </a:lnTo>
                  <a:lnTo>
                    <a:pt x="0" y="17"/>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43" name="Freeform 6008"/>
            <p:cNvSpPr>
              <a:spLocks/>
            </p:cNvSpPr>
            <p:nvPr>
              <p:custDataLst>
                <p:tags r:id="rId323"/>
              </p:custDataLst>
            </p:nvPr>
          </p:nvSpPr>
          <p:spPr bwMode="gray">
            <a:xfrm>
              <a:off x="9187663" y="4550809"/>
              <a:ext cx="16680" cy="7707"/>
            </a:xfrm>
            <a:custGeom>
              <a:avLst/>
              <a:gdLst/>
              <a:ahLst/>
              <a:cxnLst>
                <a:cxn ang="0">
                  <a:pos x="0" y="6"/>
                </a:cxn>
                <a:cxn ang="0">
                  <a:pos x="13" y="4"/>
                </a:cxn>
                <a:cxn ang="0">
                  <a:pos x="4" y="0"/>
                </a:cxn>
                <a:cxn ang="0">
                  <a:pos x="0" y="6"/>
                </a:cxn>
                <a:cxn ang="0">
                  <a:pos x="0" y="6"/>
                </a:cxn>
              </a:cxnLst>
              <a:rect l="0" t="0" r="r" b="b"/>
              <a:pathLst>
                <a:path w="13" h="6">
                  <a:moveTo>
                    <a:pt x="0" y="6"/>
                  </a:moveTo>
                  <a:lnTo>
                    <a:pt x="13" y="4"/>
                  </a:lnTo>
                  <a:lnTo>
                    <a:pt x="4"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44" name="Freeform 6009"/>
            <p:cNvSpPr>
              <a:spLocks/>
            </p:cNvSpPr>
            <p:nvPr>
              <p:custDataLst>
                <p:tags r:id="rId324"/>
              </p:custDataLst>
            </p:nvPr>
          </p:nvSpPr>
          <p:spPr bwMode="gray">
            <a:xfrm>
              <a:off x="9218457" y="4539248"/>
              <a:ext cx="16680" cy="8992"/>
            </a:xfrm>
            <a:custGeom>
              <a:avLst/>
              <a:gdLst/>
              <a:ahLst/>
              <a:cxnLst>
                <a:cxn ang="0">
                  <a:pos x="0" y="7"/>
                </a:cxn>
                <a:cxn ang="0">
                  <a:pos x="10" y="7"/>
                </a:cxn>
                <a:cxn ang="0">
                  <a:pos x="13" y="0"/>
                </a:cxn>
                <a:cxn ang="0">
                  <a:pos x="4" y="1"/>
                </a:cxn>
                <a:cxn ang="0">
                  <a:pos x="0" y="7"/>
                </a:cxn>
                <a:cxn ang="0">
                  <a:pos x="0" y="7"/>
                </a:cxn>
              </a:cxnLst>
              <a:rect l="0" t="0" r="r" b="b"/>
              <a:pathLst>
                <a:path w="13" h="7">
                  <a:moveTo>
                    <a:pt x="0" y="7"/>
                  </a:moveTo>
                  <a:lnTo>
                    <a:pt x="10" y="7"/>
                  </a:lnTo>
                  <a:lnTo>
                    <a:pt x="13" y="0"/>
                  </a:lnTo>
                  <a:lnTo>
                    <a:pt x="4" y="1"/>
                  </a:lnTo>
                  <a:lnTo>
                    <a:pt x="0" y="7"/>
                  </a:lnTo>
                  <a:lnTo>
                    <a:pt x="0" y="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45" name="Freeform 6010"/>
            <p:cNvSpPr>
              <a:spLocks/>
            </p:cNvSpPr>
            <p:nvPr>
              <p:custDataLst>
                <p:tags r:id="rId325"/>
              </p:custDataLst>
            </p:nvPr>
          </p:nvSpPr>
          <p:spPr bwMode="gray">
            <a:xfrm>
              <a:off x="9074751" y="4581638"/>
              <a:ext cx="38493" cy="21838"/>
            </a:xfrm>
            <a:custGeom>
              <a:avLst/>
              <a:gdLst/>
              <a:ahLst/>
              <a:cxnLst>
                <a:cxn ang="0">
                  <a:pos x="0" y="0"/>
                </a:cxn>
                <a:cxn ang="0">
                  <a:pos x="2" y="6"/>
                </a:cxn>
                <a:cxn ang="0">
                  <a:pos x="22" y="17"/>
                </a:cxn>
                <a:cxn ang="0">
                  <a:pos x="30" y="12"/>
                </a:cxn>
                <a:cxn ang="0">
                  <a:pos x="17" y="0"/>
                </a:cxn>
                <a:cxn ang="0">
                  <a:pos x="0" y="0"/>
                </a:cxn>
                <a:cxn ang="0">
                  <a:pos x="0" y="0"/>
                </a:cxn>
              </a:cxnLst>
              <a:rect l="0" t="0" r="r" b="b"/>
              <a:pathLst>
                <a:path w="30" h="17">
                  <a:moveTo>
                    <a:pt x="0" y="0"/>
                  </a:moveTo>
                  <a:lnTo>
                    <a:pt x="2" y="6"/>
                  </a:lnTo>
                  <a:lnTo>
                    <a:pt x="22" y="17"/>
                  </a:lnTo>
                  <a:lnTo>
                    <a:pt x="30" y="12"/>
                  </a:lnTo>
                  <a:lnTo>
                    <a:pt x="17" y="0"/>
                  </a:lnTo>
                  <a:lnTo>
                    <a:pt x="0" y="0"/>
                  </a:lnTo>
                  <a:lnTo>
                    <a:pt x="0"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46" name="Freeform 6011"/>
            <p:cNvSpPr>
              <a:spLocks/>
            </p:cNvSpPr>
            <p:nvPr>
              <p:custDataLst>
                <p:tags r:id="rId326"/>
              </p:custDataLst>
            </p:nvPr>
          </p:nvSpPr>
          <p:spPr bwMode="gray">
            <a:xfrm>
              <a:off x="9328803" y="4526402"/>
              <a:ext cx="12831" cy="21838"/>
            </a:xfrm>
            <a:custGeom>
              <a:avLst/>
              <a:gdLst/>
              <a:ahLst/>
              <a:cxnLst>
                <a:cxn ang="0">
                  <a:pos x="0" y="17"/>
                </a:cxn>
                <a:cxn ang="0">
                  <a:pos x="8" y="11"/>
                </a:cxn>
                <a:cxn ang="0">
                  <a:pos x="10" y="0"/>
                </a:cxn>
                <a:cxn ang="0">
                  <a:pos x="0" y="17"/>
                </a:cxn>
                <a:cxn ang="0">
                  <a:pos x="0" y="17"/>
                </a:cxn>
              </a:cxnLst>
              <a:rect l="0" t="0" r="r" b="b"/>
              <a:pathLst>
                <a:path w="10" h="17">
                  <a:moveTo>
                    <a:pt x="0" y="17"/>
                  </a:moveTo>
                  <a:lnTo>
                    <a:pt x="8" y="11"/>
                  </a:lnTo>
                  <a:lnTo>
                    <a:pt x="10" y="0"/>
                  </a:lnTo>
                  <a:lnTo>
                    <a:pt x="0" y="17"/>
                  </a:lnTo>
                  <a:lnTo>
                    <a:pt x="0"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47" name="Freeform 6012"/>
            <p:cNvSpPr>
              <a:spLocks/>
            </p:cNvSpPr>
            <p:nvPr>
              <p:custDataLst>
                <p:tags r:id="rId327"/>
              </p:custDataLst>
            </p:nvPr>
          </p:nvSpPr>
          <p:spPr bwMode="gray">
            <a:xfrm>
              <a:off x="9391675" y="4487866"/>
              <a:ext cx="14114" cy="35968"/>
            </a:xfrm>
            <a:custGeom>
              <a:avLst/>
              <a:gdLst/>
              <a:ahLst/>
              <a:cxnLst>
                <a:cxn ang="0">
                  <a:pos x="0" y="28"/>
                </a:cxn>
                <a:cxn ang="0">
                  <a:pos x="11" y="10"/>
                </a:cxn>
                <a:cxn ang="0">
                  <a:pos x="9" y="0"/>
                </a:cxn>
                <a:cxn ang="0">
                  <a:pos x="0" y="28"/>
                </a:cxn>
                <a:cxn ang="0">
                  <a:pos x="0" y="28"/>
                </a:cxn>
              </a:cxnLst>
              <a:rect l="0" t="0" r="r" b="b"/>
              <a:pathLst>
                <a:path w="11" h="28">
                  <a:moveTo>
                    <a:pt x="0" y="28"/>
                  </a:moveTo>
                  <a:lnTo>
                    <a:pt x="11" y="10"/>
                  </a:lnTo>
                  <a:lnTo>
                    <a:pt x="9" y="0"/>
                  </a:lnTo>
                  <a:lnTo>
                    <a:pt x="0" y="28"/>
                  </a:lnTo>
                  <a:lnTo>
                    <a:pt x="0" y="2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48" name="Freeform 6013"/>
            <p:cNvSpPr>
              <a:spLocks/>
            </p:cNvSpPr>
            <p:nvPr>
              <p:custDataLst>
                <p:tags r:id="rId328"/>
              </p:custDataLst>
            </p:nvPr>
          </p:nvSpPr>
          <p:spPr bwMode="gray">
            <a:xfrm>
              <a:off x="8855342" y="426435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49" name="Freeform 6014"/>
            <p:cNvSpPr>
              <a:spLocks/>
            </p:cNvSpPr>
            <p:nvPr>
              <p:custDataLst>
                <p:tags r:id="rId329"/>
              </p:custDataLst>
            </p:nvPr>
          </p:nvSpPr>
          <p:spPr bwMode="gray">
            <a:xfrm>
              <a:off x="8780923" y="433114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50" name="Freeform 6015"/>
            <p:cNvSpPr>
              <a:spLocks/>
            </p:cNvSpPr>
            <p:nvPr>
              <p:custDataLst>
                <p:tags r:id="rId330"/>
              </p:custDataLst>
            </p:nvPr>
          </p:nvSpPr>
          <p:spPr bwMode="gray">
            <a:xfrm>
              <a:off x="8796320" y="4394093"/>
              <a:ext cx="30794" cy="35968"/>
            </a:xfrm>
            <a:custGeom>
              <a:avLst/>
              <a:gdLst/>
              <a:ahLst/>
              <a:cxnLst>
                <a:cxn ang="0">
                  <a:pos x="0" y="8"/>
                </a:cxn>
                <a:cxn ang="0">
                  <a:pos x="9" y="11"/>
                </a:cxn>
                <a:cxn ang="0">
                  <a:pos x="11" y="23"/>
                </a:cxn>
                <a:cxn ang="0">
                  <a:pos x="22" y="28"/>
                </a:cxn>
                <a:cxn ang="0">
                  <a:pos x="24" y="19"/>
                </a:cxn>
                <a:cxn ang="0">
                  <a:pos x="18" y="19"/>
                </a:cxn>
                <a:cxn ang="0">
                  <a:pos x="13" y="0"/>
                </a:cxn>
                <a:cxn ang="0">
                  <a:pos x="0" y="8"/>
                </a:cxn>
                <a:cxn ang="0">
                  <a:pos x="0" y="8"/>
                </a:cxn>
              </a:cxnLst>
              <a:rect l="0" t="0" r="r" b="b"/>
              <a:pathLst>
                <a:path w="24" h="28">
                  <a:moveTo>
                    <a:pt x="0" y="8"/>
                  </a:moveTo>
                  <a:lnTo>
                    <a:pt x="9" y="11"/>
                  </a:lnTo>
                  <a:lnTo>
                    <a:pt x="11" y="23"/>
                  </a:lnTo>
                  <a:lnTo>
                    <a:pt x="22" y="28"/>
                  </a:lnTo>
                  <a:lnTo>
                    <a:pt x="24" y="19"/>
                  </a:lnTo>
                  <a:lnTo>
                    <a:pt x="18" y="19"/>
                  </a:lnTo>
                  <a:lnTo>
                    <a:pt x="13" y="0"/>
                  </a:lnTo>
                  <a:lnTo>
                    <a:pt x="0" y="8"/>
                  </a:lnTo>
                  <a:lnTo>
                    <a:pt x="0" y="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51" name="Freeform 6016"/>
            <p:cNvSpPr>
              <a:spLocks/>
            </p:cNvSpPr>
            <p:nvPr>
              <p:custDataLst>
                <p:tags r:id="rId331"/>
              </p:custDataLst>
            </p:nvPr>
          </p:nvSpPr>
          <p:spPr bwMode="gray">
            <a:xfrm>
              <a:off x="8846360" y="4418499"/>
              <a:ext cx="11548" cy="16699"/>
            </a:xfrm>
            <a:custGeom>
              <a:avLst/>
              <a:gdLst/>
              <a:ahLst/>
              <a:cxnLst>
                <a:cxn ang="0">
                  <a:pos x="0" y="11"/>
                </a:cxn>
                <a:cxn ang="0">
                  <a:pos x="6" y="13"/>
                </a:cxn>
                <a:cxn ang="0">
                  <a:pos x="9" y="4"/>
                </a:cxn>
                <a:cxn ang="0">
                  <a:pos x="2" y="0"/>
                </a:cxn>
                <a:cxn ang="0">
                  <a:pos x="0" y="11"/>
                </a:cxn>
                <a:cxn ang="0">
                  <a:pos x="0" y="11"/>
                </a:cxn>
              </a:cxnLst>
              <a:rect l="0" t="0" r="r" b="b"/>
              <a:pathLst>
                <a:path w="9" h="13">
                  <a:moveTo>
                    <a:pt x="0" y="11"/>
                  </a:moveTo>
                  <a:lnTo>
                    <a:pt x="6" y="13"/>
                  </a:lnTo>
                  <a:lnTo>
                    <a:pt x="9" y="4"/>
                  </a:lnTo>
                  <a:lnTo>
                    <a:pt x="2" y="0"/>
                  </a:lnTo>
                  <a:lnTo>
                    <a:pt x="0" y="11"/>
                  </a:lnTo>
                  <a:lnTo>
                    <a:pt x="0"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52" name="Freeform 6017"/>
            <p:cNvSpPr>
              <a:spLocks/>
            </p:cNvSpPr>
            <p:nvPr>
              <p:custDataLst>
                <p:tags r:id="rId332"/>
              </p:custDataLst>
            </p:nvPr>
          </p:nvSpPr>
          <p:spPr bwMode="gray">
            <a:xfrm>
              <a:off x="8951574" y="4523833"/>
              <a:ext cx="21813" cy="0"/>
            </a:xfrm>
            <a:custGeom>
              <a:avLst/>
              <a:gdLst/>
              <a:ahLst/>
              <a:cxnLst>
                <a:cxn ang="0">
                  <a:pos x="0" y="0"/>
                </a:cxn>
                <a:cxn ang="0">
                  <a:pos x="17" y="0"/>
                </a:cxn>
                <a:cxn ang="0">
                  <a:pos x="0" y="0"/>
                </a:cxn>
              </a:cxnLst>
              <a:rect l="0" t="0" r="r" b="b"/>
              <a:pathLst>
                <a:path w="17">
                  <a:moveTo>
                    <a:pt x="0" y="0"/>
                  </a:moveTo>
                  <a:lnTo>
                    <a:pt x="17"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53" name="Line 6018"/>
            <p:cNvSpPr>
              <a:spLocks noChangeShapeType="1"/>
            </p:cNvSpPr>
            <p:nvPr>
              <p:custDataLst>
                <p:tags r:id="rId333"/>
              </p:custDataLst>
            </p:nvPr>
          </p:nvSpPr>
          <p:spPr bwMode="gray">
            <a:xfrm>
              <a:off x="8951574" y="4523833"/>
              <a:ext cx="21813" cy="0"/>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54" name="Freeform 6019"/>
            <p:cNvSpPr>
              <a:spLocks/>
            </p:cNvSpPr>
            <p:nvPr>
              <p:custDataLst>
                <p:tags r:id="rId334"/>
              </p:custDataLst>
            </p:nvPr>
          </p:nvSpPr>
          <p:spPr bwMode="gray">
            <a:xfrm>
              <a:off x="9079883" y="4319588"/>
              <a:ext cx="134725" cy="173416"/>
            </a:xfrm>
            <a:custGeom>
              <a:avLst/>
              <a:gdLst/>
              <a:ahLst/>
              <a:cxnLst>
                <a:cxn ang="0">
                  <a:pos x="0" y="84"/>
                </a:cxn>
                <a:cxn ang="0">
                  <a:pos x="1" y="96"/>
                </a:cxn>
                <a:cxn ang="0">
                  <a:pos x="11" y="96"/>
                </a:cxn>
                <a:cxn ang="0">
                  <a:pos x="13" y="105"/>
                </a:cxn>
                <a:cxn ang="0">
                  <a:pos x="9" y="135"/>
                </a:cxn>
                <a:cxn ang="0">
                  <a:pos x="22" y="133"/>
                </a:cxn>
                <a:cxn ang="0">
                  <a:pos x="22" y="86"/>
                </a:cxn>
                <a:cxn ang="0">
                  <a:pos x="30" y="81"/>
                </a:cxn>
                <a:cxn ang="0">
                  <a:pos x="37" y="81"/>
                </a:cxn>
                <a:cxn ang="0">
                  <a:pos x="33" y="96"/>
                </a:cxn>
                <a:cxn ang="0">
                  <a:pos x="45" y="107"/>
                </a:cxn>
                <a:cxn ang="0">
                  <a:pos x="43" y="118"/>
                </a:cxn>
                <a:cxn ang="0">
                  <a:pos x="48" y="122"/>
                </a:cxn>
                <a:cxn ang="0">
                  <a:pos x="56" y="116"/>
                </a:cxn>
                <a:cxn ang="0">
                  <a:pos x="54" y="129"/>
                </a:cxn>
                <a:cxn ang="0">
                  <a:pos x="60" y="135"/>
                </a:cxn>
                <a:cxn ang="0">
                  <a:pos x="67" y="129"/>
                </a:cxn>
                <a:cxn ang="0">
                  <a:pos x="69" y="120"/>
                </a:cxn>
                <a:cxn ang="0">
                  <a:pos x="52" y="96"/>
                </a:cxn>
                <a:cxn ang="0">
                  <a:pos x="58" y="90"/>
                </a:cxn>
                <a:cxn ang="0">
                  <a:pos x="43" y="66"/>
                </a:cxn>
                <a:cxn ang="0">
                  <a:pos x="67" y="49"/>
                </a:cxn>
                <a:cxn ang="0">
                  <a:pos x="76" y="49"/>
                </a:cxn>
                <a:cxn ang="0">
                  <a:pos x="71" y="41"/>
                </a:cxn>
                <a:cxn ang="0">
                  <a:pos x="30" y="56"/>
                </a:cxn>
                <a:cxn ang="0">
                  <a:pos x="28" y="49"/>
                </a:cxn>
                <a:cxn ang="0">
                  <a:pos x="20" y="45"/>
                </a:cxn>
                <a:cxn ang="0">
                  <a:pos x="20" y="34"/>
                </a:cxn>
                <a:cxn ang="0">
                  <a:pos x="31" y="23"/>
                </a:cxn>
                <a:cxn ang="0">
                  <a:pos x="76" y="26"/>
                </a:cxn>
                <a:cxn ang="0">
                  <a:pos x="93" y="21"/>
                </a:cxn>
                <a:cxn ang="0">
                  <a:pos x="105" y="4"/>
                </a:cxn>
                <a:cxn ang="0">
                  <a:pos x="101" y="0"/>
                </a:cxn>
                <a:cxn ang="0">
                  <a:pos x="84" y="15"/>
                </a:cxn>
                <a:cxn ang="0">
                  <a:pos x="67" y="15"/>
                </a:cxn>
                <a:cxn ang="0">
                  <a:pos x="33" y="8"/>
                </a:cxn>
                <a:cxn ang="0">
                  <a:pos x="30" y="17"/>
                </a:cxn>
                <a:cxn ang="0">
                  <a:pos x="18" y="17"/>
                </a:cxn>
                <a:cxn ang="0">
                  <a:pos x="16" y="41"/>
                </a:cxn>
                <a:cxn ang="0">
                  <a:pos x="0" y="84"/>
                </a:cxn>
                <a:cxn ang="0">
                  <a:pos x="0" y="84"/>
                </a:cxn>
              </a:cxnLst>
              <a:rect l="0" t="0" r="r" b="b"/>
              <a:pathLst>
                <a:path w="105" h="135">
                  <a:moveTo>
                    <a:pt x="0" y="84"/>
                  </a:moveTo>
                  <a:lnTo>
                    <a:pt x="1" y="96"/>
                  </a:lnTo>
                  <a:lnTo>
                    <a:pt x="11" y="96"/>
                  </a:lnTo>
                  <a:lnTo>
                    <a:pt x="13" y="105"/>
                  </a:lnTo>
                  <a:lnTo>
                    <a:pt x="9" y="135"/>
                  </a:lnTo>
                  <a:lnTo>
                    <a:pt x="22" y="133"/>
                  </a:lnTo>
                  <a:lnTo>
                    <a:pt x="22" y="86"/>
                  </a:lnTo>
                  <a:lnTo>
                    <a:pt x="30" y="81"/>
                  </a:lnTo>
                  <a:lnTo>
                    <a:pt x="37" y="81"/>
                  </a:lnTo>
                  <a:lnTo>
                    <a:pt x="33" y="96"/>
                  </a:lnTo>
                  <a:lnTo>
                    <a:pt x="45" y="107"/>
                  </a:lnTo>
                  <a:lnTo>
                    <a:pt x="43" y="118"/>
                  </a:lnTo>
                  <a:lnTo>
                    <a:pt x="48" y="122"/>
                  </a:lnTo>
                  <a:lnTo>
                    <a:pt x="56" y="116"/>
                  </a:lnTo>
                  <a:lnTo>
                    <a:pt x="54" y="129"/>
                  </a:lnTo>
                  <a:lnTo>
                    <a:pt x="60" y="135"/>
                  </a:lnTo>
                  <a:lnTo>
                    <a:pt x="67" y="129"/>
                  </a:lnTo>
                  <a:lnTo>
                    <a:pt x="69" y="120"/>
                  </a:lnTo>
                  <a:lnTo>
                    <a:pt x="52" y="96"/>
                  </a:lnTo>
                  <a:lnTo>
                    <a:pt x="58" y="90"/>
                  </a:lnTo>
                  <a:lnTo>
                    <a:pt x="43" y="66"/>
                  </a:lnTo>
                  <a:lnTo>
                    <a:pt x="67" y="49"/>
                  </a:lnTo>
                  <a:lnTo>
                    <a:pt x="76" y="49"/>
                  </a:lnTo>
                  <a:lnTo>
                    <a:pt x="71" y="41"/>
                  </a:lnTo>
                  <a:lnTo>
                    <a:pt x="30" y="56"/>
                  </a:lnTo>
                  <a:lnTo>
                    <a:pt x="28" y="49"/>
                  </a:lnTo>
                  <a:lnTo>
                    <a:pt x="20" y="45"/>
                  </a:lnTo>
                  <a:lnTo>
                    <a:pt x="20" y="34"/>
                  </a:lnTo>
                  <a:lnTo>
                    <a:pt x="31" y="23"/>
                  </a:lnTo>
                  <a:lnTo>
                    <a:pt x="76" y="26"/>
                  </a:lnTo>
                  <a:lnTo>
                    <a:pt x="93" y="21"/>
                  </a:lnTo>
                  <a:lnTo>
                    <a:pt x="105" y="4"/>
                  </a:lnTo>
                  <a:lnTo>
                    <a:pt x="101" y="0"/>
                  </a:lnTo>
                  <a:lnTo>
                    <a:pt x="84" y="15"/>
                  </a:lnTo>
                  <a:lnTo>
                    <a:pt x="67" y="15"/>
                  </a:lnTo>
                  <a:lnTo>
                    <a:pt x="33" y="8"/>
                  </a:lnTo>
                  <a:lnTo>
                    <a:pt x="30" y="17"/>
                  </a:lnTo>
                  <a:lnTo>
                    <a:pt x="18" y="17"/>
                  </a:lnTo>
                  <a:lnTo>
                    <a:pt x="16" y="41"/>
                  </a:lnTo>
                  <a:lnTo>
                    <a:pt x="0" y="84"/>
                  </a:lnTo>
                  <a:lnTo>
                    <a:pt x="0" y="84"/>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55" name="Freeform 6020"/>
            <p:cNvSpPr>
              <a:spLocks/>
            </p:cNvSpPr>
            <p:nvPr>
              <p:custDataLst>
                <p:tags r:id="rId335"/>
              </p:custDataLst>
            </p:nvPr>
          </p:nvSpPr>
          <p:spPr bwMode="gray">
            <a:xfrm>
              <a:off x="9256950" y="4308027"/>
              <a:ext cx="29511" cy="74504"/>
            </a:xfrm>
            <a:custGeom>
              <a:avLst/>
              <a:gdLst/>
              <a:ahLst/>
              <a:cxnLst>
                <a:cxn ang="0">
                  <a:pos x="0" y="20"/>
                </a:cxn>
                <a:cxn ang="0">
                  <a:pos x="4" y="43"/>
                </a:cxn>
                <a:cxn ang="0">
                  <a:pos x="19" y="58"/>
                </a:cxn>
                <a:cxn ang="0">
                  <a:pos x="10" y="41"/>
                </a:cxn>
                <a:cxn ang="0">
                  <a:pos x="11" y="32"/>
                </a:cxn>
                <a:cxn ang="0">
                  <a:pos x="19" y="32"/>
                </a:cxn>
                <a:cxn ang="0">
                  <a:pos x="15" y="24"/>
                </a:cxn>
                <a:cxn ang="0">
                  <a:pos x="23" y="20"/>
                </a:cxn>
                <a:cxn ang="0">
                  <a:pos x="23" y="11"/>
                </a:cxn>
                <a:cxn ang="0">
                  <a:pos x="11" y="17"/>
                </a:cxn>
                <a:cxn ang="0">
                  <a:pos x="10" y="0"/>
                </a:cxn>
                <a:cxn ang="0">
                  <a:pos x="4" y="5"/>
                </a:cxn>
                <a:cxn ang="0">
                  <a:pos x="0" y="20"/>
                </a:cxn>
                <a:cxn ang="0">
                  <a:pos x="0" y="20"/>
                </a:cxn>
              </a:cxnLst>
              <a:rect l="0" t="0" r="r" b="b"/>
              <a:pathLst>
                <a:path w="23" h="58">
                  <a:moveTo>
                    <a:pt x="0" y="20"/>
                  </a:moveTo>
                  <a:lnTo>
                    <a:pt x="4" y="43"/>
                  </a:lnTo>
                  <a:lnTo>
                    <a:pt x="19" y="58"/>
                  </a:lnTo>
                  <a:lnTo>
                    <a:pt x="10" y="41"/>
                  </a:lnTo>
                  <a:lnTo>
                    <a:pt x="11" y="32"/>
                  </a:lnTo>
                  <a:lnTo>
                    <a:pt x="19" y="32"/>
                  </a:lnTo>
                  <a:lnTo>
                    <a:pt x="15" y="24"/>
                  </a:lnTo>
                  <a:lnTo>
                    <a:pt x="23" y="20"/>
                  </a:lnTo>
                  <a:lnTo>
                    <a:pt x="23" y="11"/>
                  </a:lnTo>
                  <a:lnTo>
                    <a:pt x="11" y="17"/>
                  </a:lnTo>
                  <a:lnTo>
                    <a:pt x="10" y="0"/>
                  </a:lnTo>
                  <a:lnTo>
                    <a:pt x="4" y="5"/>
                  </a:lnTo>
                  <a:lnTo>
                    <a:pt x="0" y="20"/>
                  </a:lnTo>
                  <a:lnTo>
                    <a:pt x="0" y="2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56" name="Freeform 6021"/>
            <p:cNvSpPr>
              <a:spLocks/>
            </p:cNvSpPr>
            <p:nvPr>
              <p:custDataLst>
                <p:tags r:id="rId336"/>
              </p:custDataLst>
            </p:nvPr>
          </p:nvSpPr>
          <p:spPr bwMode="gray">
            <a:xfrm>
              <a:off x="9228722" y="4435199"/>
              <a:ext cx="23096" cy="16699"/>
            </a:xfrm>
            <a:custGeom>
              <a:avLst/>
              <a:gdLst/>
              <a:ahLst/>
              <a:cxnLst>
                <a:cxn ang="0">
                  <a:pos x="0" y="2"/>
                </a:cxn>
                <a:cxn ang="0">
                  <a:pos x="13" y="13"/>
                </a:cxn>
                <a:cxn ang="0">
                  <a:pos x="18" y="8"/>
                </a:cxn>
                <a:cxn ang="0">
                  <a:pos x="17" y="0"/>
                </a:cxn>
                <a:cxn ang="0">
                  <a:pos x="0" y="2"/>
                </a:cxn>
                <a:cxn ang="0">
                  <a:pos x="0" y="2"/>
                </a:cxn>
              </a:cxnLst>
              <a:rect l="0" t="0" r="r" b="b"/>
              <a:pathLst>
                <a:path w="18" h="13">
                  <a:moveTo>
                    <a:pt x="0" y="2"/>
                  </a:moveTo>
                  <a:lnTo>
                    <a:pt x="13" y="13"/>
                  </a:lnTo>
                  <a:lnTo>
                    <a:pt x="18" y="8"/>
                  </a:lnTo>
                  <a:lnTo>
                    <a:pt x="17" y="0"/>
                  </a:lnTo>
                  <a:lnTo>
                    <a:pt x="0" y="2"/>
                  </a:lnTo>
                  <a:lnTo>
                    <a:pt x="0" y="2"/>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57" name="Freeform 6022"/>
            <p:cNvSpPr>
              <a:spLocks/>
            </p:cNvSpPr>
            <p:nvPr>
              <p:custDataLst>
                <p:tags r:id="rId337"/>
              </p:custDataLst>
            </p:nvPr>
          </p:nvSpPr>
          <p:spPr bwMode="gray">
            <a:xfrm>
              <a:off x="9269781" y="4426207"/>
              <a:ext cx="57739" cy="25691"/>
            </a:xfrm>
            <a:custGeom>
              <a:avLst/>
              <a:gdLst/>
              <a:ahLst/>
              <a:cxnLst>
                <a:cxn ang="0">
                  <a:pos x="0" y="7"/>
                </a:cxn>
                <a:cxn ang="0">
                  <a:pos x="45" y="20"/>
                </a:cxn>
                <a:cxn ang="0">
                  <a:pos x="39" y="3"/>
                </a:cxn>
                <a:cxn ang="0">
                  <a:pos x="24" y="0"/>
                </a:cxn>
                <a:cxn ang="0">
                  <a:pos x="5" y="1"/>
                </a:cxn>
                <a:cxn ang="0">
                  <a:pos x="0" y="7"/>
                </a:cxn>
                <a:cxn ang="0">
                  <a:pos x="0" y="7"/>
                </a:cxn>
              </a:cxnLst>
              <a:rect l="0" t="0" r="r" b="b"/>
              <a:pathLst>
                <a:path w="45" h="20">
                  <a:moveTo>
                    <a:pt x="0" y="7"/>
                  </a:moveTo>
                  <a:lnTo>
                    <a:pt x="45" y="20"/>
                  </a:lnTo>
                  <a:lnTo>
                    <a:pt x="39" y="3"/>
                  </a:lnTo>
                  <a:lnTo>
                    <a:pt x="24" y="0"/>
                  </a:lnTo>
                  <a:lnTo>
                    <a:pt x="5" y="1"/>
                  </a:lnTo>
                  <a:lnTo>
                    <a:pt x="0" y="7"/>
                  </a:lnTo>
                  <a:lnTo>
                    <a:pt x="0" y="7"/>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58" name="Freeform 6023"/>
            <p:cNvSpPr>
              <a:spLocks/>
            </p:cNvSpPr>
            <p:nvPr>
              <p:custDataLst>
                <p:tags r:id="rId338"/>
              </p:custDataLst>
            </p:nvPr>
          </p:nvSpPr>
          <p:spPr bwMode="gray">
            <a:xfrm>
              <a:off x="9196645" y="4401800"/>
              <a:ext cx="17963" cy="0"/>
            </a:xfrm>
            <a:custGeom>
              <a:avLst/>
              <a:gdLst/>
              <a:ahLst/>
              <a:cxnLst>
                <a:cxn ang="0">
                  <a:pos x="0" y="0"/>
                </a:cxn>
                <a:cxn ang="0">
                  <a:pos x="14" y="0"/>
                </a:cxn>
                <a:cxn ang="0">
                  <a:pos x="0" y="0"/>
                </a:cxn>
              </a:cxnLst>
              <a:rect l="0" t="0" r="r" b="b"/>
              <a:pathLst>
                <a:path w="14">
                  <a:moveTo>
                    <a:pt x="0" y="0"/>
                  </a:moveTo>
                  <a:lnTo>
                    <a:pt x="14"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59" name="Line 6024"/>
            <p:cNvSpPr>
              <a:spLocks noChangeShapeType="1"/>
            </p:cNvSpPr>
            <p:nvPr>
              <p:custDataLst>
                <p:tags r:id="rId339"/>
              </p:custDataLst>
            </p:nvPr>
          </p:nvSpPr>
          <p:spPr bwMode="gray">
            <a:xfrm>
              <a:off x="9196645" y="4401800"/>
              <a:ext cx="17963" cy="0"/>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60" name="Freeform 6025"/>
            <p:cNvSpPr>
              <a:spLocks/>
            </p:cNvSpPr>
            <p:nvPr>
              <p:custDataLst>
                <p:tags r:id="rId340"/>
              </p:custDataLst>
            </p:nvPr>
          </p:nvSpPr>
          <p:spPr bwMode="gray">
            <a:xfrm>
              <a:off x="9256950" y="4391524"/>
              <a:ext cx="16680" cy="7707"/>
            </a:xfrm>
            <a:custGeom>
              <a:avLst/>
              <a:gdLst/>
              <a:ahLst/>
              <a:cxnLst>
                <a:cxn ang="0">
                  <a:pos x="0" y="6"/>
                </a:cxn>
                <a:cxn ang="0">
                  <a:pos x="13" y="6"/>
                </a:cxn>
                <a:cxn ang="0">
                  <a:pos x="4" y="0"/>
                </a:cxn>
                <a:cxn ang="0">
                  <a:pos x="0" y="6"/>
                </a:cxn>
                <a:cxn ang="0">
                  <a:pos x="0" y="6"/>
                </a:cxn>
              </a:cxnLst>
              <a:rect l="0" t="0" r="r" b="b"/>
              <a:pathLst>
                <a:path w="13" h="6">
                  <a:moveTo>
                    <a:pt x="0" y="6"/>
                  </a:moveTo>
                  <a:lnTo>
                    <a:pt x="13" y="6"/>
                  </a:lnTo>
                  <a:lnTo>
                    <a:pt x="4"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61" name="Freeform 6026"/>
            <p:cNvSpPr>
              <a:spLocks/>
            </p:cNvSpPr>
            <p:nvPr>
              <p:custDataLst>
                <p:tags r:id="rId341"/>
              </p:custDataLst>
            </p:nvPr>
          </p:nvSpPr>
          <p:spPr bwMode="gray">
            <a:xfrm>
              <a:off x="9317255" y="440436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62" name="Freeform 6027"/>
            <p:cNvSpPr>
              <a:spLocks/>
            </p:cNvSpPr>
            <p:nvPr>
              <p:custDataLst>
                <p:tags r:id="rId342"/>
              </p:custDataLst>
            </p:nvPr>
          </p:nvSpPr>
          <p:spPr bwMode="gray">
            <a:xfrm>
              <a:off x="9319822" y="4360694"/>
              <a:ext cx="19246" cy="8992"/>
            </a:xfrm>
            <a:custGeom>
              <a:avLst/>
              <a:gdLst/>
              <a:ahLst/>
              <a:cxnLst>
                <a:cxn ang="0">
                  <a:pos x="0" y="2"/>
                </a:cxn>
                <a:cxn ang="0">
                  <a:pos x="7" y="7"/>
                </a:cxn>
                <a:cxn ang="0">
                  <a:pos x="15" y="4"/>
                </a:cxn>
                <a:cxn ang="0">
                  <a:pos x="7" y="0"/>
                </a:cxn>
                <a:cxn ang="0">
                  <a:pos x="0" y="2"/>
                </a:cxn>
                <a:cxn ang="0">
                  <a:pos x="0" y="2"/>
                </a:cxn>
              </a:cxnLst>
              <a:rect l="0" t="0" r="r" b="b"/>
              <a:pathLst>
                <a:path w="15" h="7">
                  <a:moveTo>
                    <a:pt x="0" y="2"/>
                  </a:moveTo>
                  <a:lnTo>
                    <a:pt x="7" y="7"/>
                  </a:lnTo>
                  <a:lnTo>
                    <a:pt x="15" y="4"/>
                  </a:lnTo>
                  <a:lnTo>
                    <a:pt x="7"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63" name="Freeform 6028"/>
            <p:cNvSpPr>
              <a:spLocks/>
            </p:cNvSpPr>
            <p:nvPr>
              <p:custDataLst>
                <p:tags r:id="rId343"/>
              </p:custDataLst>
            </p:nvPr>
          </p:nvSpPr>
          <p:spPr bwMode="gray">
            <a:xfrm>
              <a:off x="9425035" y="4377393"/>
              <a:ext cx="19246" cy="10276"/>
            </a:xfrm>
            <a:custGeom>
              <a:avLst/>
              <a:gdLst/>
              <a:ahLst/>
              <a:cxnLst>
                <a:cxn ang="0">
                  <a:pos x="0" y="0"/>
                </a:cxn>
                <a:cxn ang="0">
                  <a:pos x="8" y="8"/>
                </a:cxn>
                <a:cxn ang="0">
                  <a:pos x="15" y="8"/>
                </a:cxn>
                <a:cxn ang="0">
                  <a:pos x="10" y="0"/>
                </a:cxn>
                <a:cxn ang="0">
                  <a:pos x="0" y="0"/>
                </a:cxn>
                <a:cxn ang="0">
                  <a:pos x="0" y="0"/>
                </a:cxn>
              </a:cxnLst>
              <a:rect l="0" t="0" r="r" b="b"/>
              <a:pathLst>
                <a:path w="15" h="8">
                  <a:moveTo>
                    <a:pt x="0" y="0"/>
                  </a:moveTo>
                  <a:lnTo>
                    <a:pt x="8" y="8"/>
                  </a:lnTo>
                  <a:lnTo>
                    <a:pt x="15" y="8"/>
                  </a:lnTo>
                  <a:lnTo>
                    <a:pt x="10" y="0"/>
                  </a:lnTo>
                  <a:lnTo>
                    <a:pt x="0" y="0"/>
                  </a:lnTo>
                  <a:lnTo>
                    <a:pt x="0"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64" name="Freeform 6029"/>
            <p:cNvSpPr>
              <a:spLocks/>
            </p:cNvSpPr>
            <p:nvPr>
              <p:custDataLst>
                <p:tags r:id="rId344"/>
              </p:custDataLst>
            </p:nvPr>
          </p:nvSpPr>
          <p:spPr bwMode="gray">
            <a:xfrm>
              <a:off x="9074751" y="3922659"/>
              <a:ext cx="98798" cy="132310"/>
            </a:xfrm>
            <a:custGeom>
              <a:avLst/>
              <a:gdLst/>
              <a:ahLst/>
              <a:cxnLst>
                <a:cxn ang="0">
                  <a:pos x="0" y="41"/>
                </a:cxn>
                <a:cxn ang="0">
                  <a:pos x="7" y="69"/>
                </a:cxn>
                <a:cxn ang="0">
                  <a:pos x="22" y="73"/>
                </a:cxn>
                <a:cxn ang="0">
                  <a:pos x="19" y="88"/>
                </a:cxn>
                <a:cxn ang="0">
                  <a:pos x="28" y="90"/>
                </a:cxn>
                <a:cxn ang="0">
                  <a:pos x="37" y="84"/>
                </a:cxn>
                <a:cxn ang="0">
                  <a:pos x="52" y="99"/>
                </a:cxn>
                <a:cxn ang="0">
                  <a:pos x="50" y="84"/>
                </a:cxn>
                <a:cxn ang="0">
                  <a:pos x="65" y="101"/>
                </a:cxn>
                <a:cxn ang="0">
                  <a:pos x="77" y="103"/>
                </a:cxn>
                <a:cxn ang="0">
                  <a:pos x="67" y="88"/>
                </a:cxn>
                <a:cxn ang="0">
                  <a:pos x="71" y="88"/>
                </a:cxn>
                <a:cxn ang="0">
                  <a:pos x="54" y="79"/>
                </a:cxn>
                <a:cxn ang="0">
                  <a:pos x="45" y="84"/>
                </a:cxn>
                <a:cxn ang="0">
                  <a:pos x="37" y="81"/>
                </a:cxn>
                <a:cxn ang="0">
                  <a:pos x="28" y="58"/>
                </a:cxn>
                <a:cxn ang="0">
                  <a:pos x="41" y="26"/>
                </a:cxn>
                <a:cxn ang="0">
                  <a:pos x="35" y="19"/>
                </a:cxn>
                <a:cxn ang="0">
                  <a:pos x="34" y="0"/>
                </a:cxn>
                <a:cxn ang="0">
                  <a:pos x="28" y="4"/>
                </a:cxn>
                <a:cxn ang="0">
                  <a:pos x="7" y="0"/>
                </a:cxn>
                <a:cxn ang="0">
                  <a:pos x="7" y="45"/>
                </a:cxn>
                <a:cxn ang="0">
                  <a:pos x="0" y="41"/>
                </a:cxn>
                <a:cxn ang="0">
                  <a:pos x="0" y="41"/>
                </a:cxn>
              </a:cxnLst>
              <a:rect l="0" t="0" r="r" b="b"/>
              <a:pathLst>
                <a:path w="77" h="103">
                  <a:moveTo>
                    <a:pt x="0" y="41"/>
                  </a:moveTo>
                  <a:lnTo>
                    <a:pt x="7" y="69"/>
                  </a:lnTo>
                  <a:lnTo>
                    <a:pt x="22" y="73"/>
                  </a:lnTo>
                  <a:lnTo>
                    <a:pt x="19" y="88"/>
                  </a:lnTo>
                  <a:lnTo>
                    <a:pt x="28" y="90"/>
                  </a:lnTo>
                  <a:lnTo>
                    <a:pt x="37" y="84"/>
                  </a:lnTo>
                  <a:lnTo>
                    <a:pt x="52" y="99"/>
                  </a:lnTo>
                  <a:lnTo>
                    <a:pt x="50" y="84"/>
                  </a:lnTo>
                  <a:lnTo>
                    <a:pt x="65" y="101"/>
                  </a:lnTo>
                  <a:lnTo>
                    <a:pt x="77" y="103"/>
                  </a:lnTo>
                  <a:lnTo>
                    <a:pt x="67" y="88"/>
                  </a:lnTo>
                  <a:lnTo>
                    <a:pt x="71" y="88"/>
                  </a:lnTo>
                  <a:lnTo>
                    <a:pt x="54" y="79"/>
                  </a:lnTo>
                  <a:lnTo>
                    <a:pt x="45" y="84"/>
                  </a:lnTo>
                  <a:lnTo>
                    <a:pt x="37" y="81"/>
                  </a:lnTo>
                  <a:lnTo>
                    <a:pt x="28" y="58"/>
                  </a:lnTo>
                  <a:lnTo>
                    <a:pt x="41" y="26"/>
                  </a:lnTo>
                  <a:lnTo>
                    <a:pt x="35" y="19"/>
                  </a:lnTo>
                  <a:lnTo>
                    <a:pt x="34" y="0"/>
                  </a:lnTo>
                  <a:lnTo>
                    <a:pt x="28" y="4"/>
                  </a:lnTo>
                  <a:lnTo>
                    <a:pt x="7" y="0"/>
                  </a:lnTo>
                  <a:lnTo>
                    <a:pt x="7" y="45"/>
                  </a:lnTo>
                  <a:lnTo>
                    <a:pt x="0" y="41"/>
                  </a:lnTo>
                  <a:lnTo>
                    <a:pt x="0" y="41"/>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65" name="Freeform 6030"/>
            <p:cNvSpPr>
              <a:spLocks/>
            </p:cNvSpPr>
            <p:nvPr>
              <p:custDataLst>
                <p:tags r:id="rId345"/>
              </p:custDataLst>
            </p:nvPr>
          </p:nvSpPr>
          <p:spPr bwMode="gray">
            <a:xfrm>
              <a:off x="9038824" y="4093506"/>
              <a:ext cx="47474" cy="66797"/>
            </a:xfrm>
            <a:custGeom>
              <a:avLst/>
              <a:gdLst/>
              <a:ahLst/>
              <a:cxnLst>
                <a:cxn ang="0">
                  <a:pos x="0" y="52"/>
                </a:cxn>
                <a:cxn ang="0">
                  <a:pos x="37" y="13"/>
                </a:cxn>
                <a:cxn ang="0">
                  <a:pos x="33" y="0"/>
                </a:cxn>
                <a:cxn ang="0">
                  <a:pos x="28" y="13"/>
                </a:cxn>
                <a:cxn ang="0">
                  <a:pos x="0" y="52"/>
                </a:cxn>
                <a:cxn ang="0">
                  <a:pos x="0" y="52"/>
                </a:cxn>
              </a:cxnLst>
              <a:rect l="0" t="0" r="r" b="b"/>
              <a:pathLst>
                <a:path w="37" h="52">
                  <a:moveTo>
                    <a:pt x="0" y="52"/>
                  </a:moveTo>
                  <a:lnTo>
                    <a:pt x="37" y="13"/>
                  </a:lnTo>
                  <a:lnTo>
                    <a:pt x="33" y="0"/>
                  </a:lnTo>
                  <a:lnTo>
                    <a:pt x="28" y="13"/>
                  </a:lnTo>
                  <a:lnTo>
                    <a:pt x="0" y="52"/>
                  </a:lnTo>
                  <a:lnTo>
                    <a:pt x="0" y="5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66" name="Freeform 6031"/>
            <p:cNvSpPr>
              <a:spLocks/>
            </p:cNvSpPr>
            <p:nvPr>
              <p:custDataLst>
                <p:tags r:id="rId346"/>
              </p:custDataLst>
            </p:nvPr>
          </p:nvSpPr>
          <p:spPr bwMode="gray">
            <a:xfrm>
              <a:off x="9096564" y="4043408"/>
              <a:ext cx="25662" cy="28260"/>
            </a:xfrm>
            <a:custGeom>
              <a:avLst/>
              <a:gdLst/>
              <a:ahLst/>
              <a:cxnLst>
                <a:cxn ang="0">
                  <a:pos x="0" y="0"/>
                </a:cxn>
                <a:cxn ang="0">
                  <a:pos x="13" y="22"/>
                </a:cxn>
                <a:cxn ang="0">
                  <a:pos x="20" y="15"/>
                </a:cxn>
                <a:cxn ang="0">
                  <a:pos x="18" y="7"/>
                </a:cxn>
                <a:cxn ang="0">
                  <a:pos x="13" y="2"/>
                </a:cxn>
                <a:cxn ang="0">
                  <a:pos x="0" y="0"/>
                </a:cxn>
                <a:cxn ang="0">
                  <a:pos x="0" y="0"/>
                </a:cxn>
              </a:cxnLst>
              <a:rect l="0" t="0" r="r" b="b"/>
              <a:pathLst>
                <a:path w="20" h="22">
                  <a:moveTo>
                    <a:pt x="0" y="0"/>
                  </a:moveTo>
                  <a:lnTo>
                    <a:pt x="13" y="22"/>
                  </a:lnTo>
                  <a:lnTo>
                    <a:pt x="20" y="15"/>
                  </a:lnTo>
                  <a:lnTo>
                    <a:pt x="18" y="7"/>
                  </a:lnTo>
                  <a:lnTo>
                    <a:pt x="13" y="2"/>
                  </a:lnTo>
                  <a:lnTo>
                    <a:pt x="0" y="0"/>
                  </a:lnTo>
                  <a:lnTo>
                    <a:pt x="0"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67" name="Freeform 6032"/>
            <p:cNvSpPr>
              <a:spLocks/>
            </p:cNvSpPr>
            <p:nvPr>
              <p:custDataLst>
                <p:tags r:id="rId347"/>
              </p:custDataLst>
            </p:nvPr>
          </p:nvSpPr>
          <p:spPr bwMode="gray">
            <a:xfrm>
              <a:off x="9177398" y="4062676"/>
              <a:ext cx="32077" cy="57805"/>
            </a:xfrm>
            <a:custGeom>
              <a:avLst/>
              <a:gdLst/>
              <a:ahLst/>
              <a:cxnLst>
                <a:cxn ang="0">
                  <a:pos x="0" y="0"/>
                </a:cxn>
                <a:cxn ang="0">
                  <a:pos x="14" y="15"/>
                </a:cxn>
                <a:cxn ang="0">
                  <a:pos x="12" y="22"/>
                </a:cxn>
                <a:cxn ang="0">
                  <a:pos x="4" y="20"/>
                </a:cxn>
                <a:cxn ang="0">
                  <a:pos x="6" y="31"/>
                </a:cxn>
                <a:cxn ang="0">
                  <a:pos x="12" y="33"/>
                </a:cxn>
                <a:cxn ang="0">
                  <a:pos x="12" y="45"/>
                </a:cxn>
                <a:cxn ang="0">
                  <a:pos x="19" y="43"/>
                </a:cxn>
                <a:cxn ang="0">
                  <a:pos x="14" y="28"/>
                </a:cxn>
                <a:cxn ang="0">
                  <a:pos x="25" y="28"/>
                </a:cxn>
                <a:cxn ang="0">
                  <a:pos x="21" y="9"/>
                </a:cxn>
                <a:cxn ang="0">
                  <a:pos x="15" y="0"/>
                </a:cxn>
                <a:cxn ang="0">
                  <a:pos x="0" y="0"/>
                </a:cxn>
                <a:cxn ang="0">
                  <a:pos x="0" y="0"/>
                </a:cxn>
              </a:cxnLst>
              <a:rect l="0" t="0" r="r" b="b"/>
              <a:pathLst>
                <a:path w="25" h="45">
                  <a:moveTo>
                    <a:pt x="0" y="0"/>
                  </a:moveTo>
                  <a:lnTo>
                    <a:pt x="14" y="15"/>
                  </a:lnTo>
                  <a:lnTo>
                    <a:pt x="12" y="22"/>
                  </a:lnTo>
                  <a:lnTo>
                    <a:pt x="4" y="20"/>
                  </a:lnTo>
                  <a:lnTo>
                    <a:pt x="6" y="31"/>
                  </a:lnTo>
                  <a:lnTo>
                    <a:pt x="12" y="33"/>
                  </a:lnTo>
                  <a:lnTo>
                    <a:pt x="12" y="45"/>
                  </a:lnTo>
                  <a:lnTo>
                    <a:pt x="19" y="43"/>
                  </a:lnTo>
                  <a:lnTo>
                    <a:pt x="14" y="28"/>
                  </a:lnTo>
                  <a:lnTo>
                    <a:pt x="25" y="28"/>
                  </a:lnTo>
                  <a:lnTo>
                    <a:pt x="21" y="9"/>
                  </a:lnTo>
                  <a:lnTo>
                    <a:pt x="15" y="0"/>
                  </a:lnTo>
                  <a:lnTo>
                    <a:pt x="0" y="0"/>
                  </a:lnTo>
                  <a:lnTo>
                    <a:pt x="0"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68" name="Freeform 6033"/>
            <p:cNvSpPr>
              <a:spLocks/>
            </p:cNvSpPr>
            <p:nvPr>
              <p:custDataLst>
                <p:tags r:id="rId348"/>
              </p:custDataLst>
            </p:nvPr>
          </p:nvSpPr>
          <p:spPr bwMode="gray">
            <a:xfrm>
              <a:off x="9129924" y="4079376"/>
              <a:ext cx="60305" cy="66797"/>
            </a:xfrm>
            <a:custGeom>
              <a:avLst/>
              <a:gdLst/>
              <a:ahLst/>
              <a:cxnLst>
                <a:cxn ang="0">
                  <a:pos x="2" y="24"/>
                </a:cxn>
                <a:cxn ang="0">
                  <a:pos x="17" y="26"/>
                </a:cxn>
                <a:cxn ang="0">
                  <a:pos x="19" y="33"/>
                </a:cxn>
                <a:cxn ang="0">
                  <a:pos x="11" y="39"/>
                </a:cxn>
                <a:cxn ang="0">
                  <a:pos x="22" y="52"/>
                </a:cxn>
                <a:cxn ang="0">
                  <a:pos x="28" y="48"/>
                </a:cxn>
                <a:cxn ang="0">
                  <a:pos x="24" y="39"/>
                </a:cxn>
                <a:cxn ang="0">
                  <a:pos x="30" y="43"/>
                </a:cxn>
                <a:cxn ang="0">
                  <a:pos x="34" y="35"/>
                </a:cxn>
                <a:cxn ang="0">
                  <a:pos x="37" y="43"/>
                </a:cxn>
                <a:cxn ang="0">
                  <a:pos x="47" y="41"/>
                </a:cxn>
                <a:cxn ang="0">
                  <a:pos x="45" y="32"/>
                </a:cxn>
                <a:cxn ang="0">
                  <a:pos x="36" y="32"/>
                </a:cxn>
                <a:cxn ang="0">
                  <a:pos x="36" y="15"/>
                </a:cxn>
                <a:cxn ang="0">
                  <a:pos x="26" y="26"/>
                </a:cxn>
                <a:cxn ang="0">
                  <a:pos x="21" y="5"/>
                </a:cxn>
                <a:cxn ang="0">
                  <a:pos x="11" y="5"/>
                </a:cxn>
                <a:cxn ang="0">
                  <a:pos x="9" y="2"/>
                </a:cxn>
                <a:cxn ang="0">
                  <a:pos x="0" y="0"/>
                </a:cxn>
                <a:cxn ang="0">
                  <a:pos x="2" y="24"/>
                </a:cxn>
                <a:cxn ang="0">
                  <a:pos x="2" y="24"/>
                </a:cxn>
              </a:cxnLst>
              <a:rect l="0" t="0" r="r" b="b"/>
              <a:pathLst>
                <a:path w="47" h="52">
                  <a:moveTo>
                    <a:pt x="2" y="24"/>
                  </a:moveTo>
                  <a:lnTo>
                    <a:pt x="17" y="26"/>
                  </a:lnTo>
                  <a:lnTo>
                    <a:pt x="19" y="33"/>
                  </a:lnTo>
                  <a:lnTo>
                    <a:pt x="11" y="39"/>
                  </a:lnTo>
                  <a:lnTo>
                    <a:pt x="22" y="52"/>
                  </a:lnTo>
                  <a:lnTo>
                    <a:pt x="28" y="48"/>
                  </a:lnTo>
                  <a:lnTo>
                    <a:pt x="24" y="39"/>
                  </a:lnTo>
                  <a:lnTo>
                    <a:pt x="30" y="43"/>
                  </a:lnTo>
                  <a:lnTo>
                    <a:pt x="34" y="35"/>
                  </a:lnTo>
                  <a:lnTo>
                    <a:pt x="37" y="43"/>
                  </a:lnTo>
                  <a:lnTo>
                    <a:pt x="47" y="41"/>
                  </a:lnTo>
                  <a:lnTo>
                    <a:pt x="45" y="32"/>
                  </a:lnTo>
                  <a:lnTo>
                    <a:pt x="36" y="32"/>
                  </a:lnTo>
                  <a:lnTo>
                    <a:pt x="36" y="15"/>
                  </a:lnTo>
                  <a:lnTo>
                    <a:pt x="26" y="26"/>
                  </a:lnTo>
                  <a:lnTo>
                    <a:pt x="21" y="5"/>
                  </a:lnTo>
                  <a:lnTo>
                    <a:pt x="11" y="5"/>
                  </a:lnTo>
                  <a:lnTo>
                    <a:pt x="9" y="2"/>
                  </a:lnTo>
                  <a:lnTo>
                    <a:pt x="0" y="0"/>
                  </a:lnTo>
                  <a:lnTo>
                    <a:pt x="2" y="24"/>
                  </a:lnTo>
                  <a:lnTo>
                    <a:pt x="2" y="24"/>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69" name="Freeform 6034"/>
            <p:cNvSpPr>
              <a:spLocks/>
            </p:cNvSpPr>
            <p:nvPr>
              <p:custDataLst>
                <p:tags r:id="rId349"/>
              </p:custDataLst>
            </p:nvPr>
          </p:nvSpPr>
          <p:spPr bwMode="gray">
            <a:xfrm>
              <a:off x="9138906" y="4129473"/>
              <a:ext cx="96232" cy="98911"/>
            </a:xfrm>
            <a:custGeom>
              <a:avLst/>
              <a:gdLst/>
              <a:ahLst/>
              <a:cxnLst>
                <a:cxn ang="0">
                  <a:pos x="0" y="47"/>
                </a:cxn>
                <a:cxn ang="0">
                  <a:pos x="2" y="54"/>
                </a:cxn>
                <a:cxn ang="0">
                  <a:pos x="10" y="38"/>
                </a:cxn>
                <a:cxn ang="0">
                  <a:pos x="14" y="36"/>
                </a:cxn>
                <a:cxn ang="0">
                  <a:pos x="15" y="43"/>
                </a:cxn>
                <a:cxn ang="0">
                  <a:pos x="27" y="36"/>
                </a:cxn>
                <a:cxn ang="0">
                  <a:pos x="34" y="39"/>
                </a:cxn>
                <a:cxn ang="0">
                  <a:pos x="38" y="43"/>
                </a:cxn>
                <a:cxn ang="0">
                  <a:pos x="34" y="60"/>
                </a:cxn>
                <a:cxn ang="0">
                  <a:pos x="59" y="77"/>
                </a:cxn>
                <a:cxn ang="0">
                  <a:pos x="64" y="68"/>
                </a:cxn>
                <a:cxn ang="0">
                  <a:pos x="55" y="54"/>
                </a:cxn>
                <a:cxn ang="0">
                  <a:pos x="59" y="51"/>
                </a:cxn>
                <a:cxn ang="0">
                  <a:pos x="62" y="43"/>
                </a:cxn>
                <a:cxn ang="0">
                  <a:pos x="70" y="62"/>
                </a:cxn>
                <a:cxn ang="0">
                  <a:pos x="75" y="45"/>
                </a:cxn>
                <a:cxn ang="0">
                  <a:pos x="70" y="17"/>
                </a:cxn>
                <a:cxn ang="0">
                  <a:pos x="53" y="0"/>
                </a:cxn>
                <a:cxn ang="0">
                  <a:pos x="55" y="11"/>
                </a:cxn>
                <a:cxn ang="0">
                  <a:pos x="51" y="17"/>
                </a:cxn>
                <a:cxn ang="0">
                  <a:pos x="45" y="13"/>
                </a:cxn>
                <a:cxn ang="0">
                  <a:pos x="44" y="23"/>
                </a:cxn>
                <a:cxn ang="0">
                  <a:pos x="30" y="30"/>
                </a:cxn>
                <a:cxn ang="0">
                  <a:pos x="29" y="23"/>
                </a:cxn>
                <a:cxn ang="0">
                  <a:pos x="17" y="23"/>
                </a:cxn>
                <a:cxn ang="0">
                  <a:pos x="2" y="36"/>
                </a:cxn>
                <a:cxn ang="0">
                  <a:pos x="0" y="47"/>
                </a:cxn>
                <a:cxn ang="0">
                  <a:pos x="0" y="47"/>
                </a:cxn>
              </a:cxnLst>
              <a:rect l="0" t="0" r="r" b="b"/>
              <a:pathLst>
                <a:path w="75" h="77">
                  <a:moveTo>
                    <a:pt x="0" y="47"/>
                  </a:moveTo>
                  <a:lnTo>
                    <a:pt x="2" y="54"/>
                  </a:lnTo>
                  <a:lnTo>
                    <a:pt x="10" y="38"/>
                  </a:lnTo>
                  <a:lnTo>
                    <a:pt x="14" y="36"/>
                  </a:lnTo>
                  <a:lnTo>
                    <a:pt x="15" y="43"/>
                  </a:lnTo>
                  <a:lnTo>
                    <a:pt x="27" y="36"/>
                  </a:lnTo>
                  <a:lnTo>
                    <a:pt x="34" y="39"/>
                  </a:lnTo>
                  <a:lnTo>
                    <a:pt x="38" y="43"/>
                  </a:lnTo>
                  <a:lnTo>
                    <a:pt x="34" y="60"/>
                  </a:lnTo>
                  <a:lnTo>
                    <a:pt x="59" y="77"/>
                  </a:lnTo>
                  <a:lnTo>
                    <a:pt x="64" y="68"/>
                  </a:lnTo>
                  <a:lnTo>
                    <a:pt x="55" y="54"/>
                  </a:lnTo>
                  <a:lnTo>
                    <a:pt x="59" y="51"/>
                  </a:lnTo>
                  <a:lnTo>
                    <a:pt x="62" y="43"/>
                  </a:lnTo>
                  <a:lnTo>
                    <a:pt x="70" y="62"/>
                  </a:lnTo>
                  <a:lnTo>
                    <a:pt x="75" y="45"/>
                  </a:lnTo>
                  <a:lnTo>
                    <a:pt x="70" y="17"/>
                  </a:lnTo>
                  <a:lnTo>
                    <a:pt x="53" y="0"/>
                  </a:lnTo>
                  <a:lnTo>
                    <a:pt x="55" y="11"/>
                  </a:lnTo>
                  <a:lnTo>
                    <a:pt x="51" y="17"/>
                  </a:lnTo>
                  <a:lnTo>
                    <a:pt x="45" y="13"/>
                  </a:lnTo>
                  <a:lnTo>
                    <a:pt x="44" y="23"/>
                  </a:lnTo>
                  <a:lnTo>
                    <a:pt x="30" y="30"/>
                  </a:lnTo>
                  <a:lnTo>
                    <a:pt x="29" y="23"/>
                  </a:lnTo>
                  <a:lnTo>
                    <a:pt x="17" y="23"/>
                  </a:lnTo>
                  <a:lnTo>
                    <a:pt x="2" y="36"/>
                  </a:lnTo>
                  <a:lnTo>
                    <a:pt x="0" y="47"/>
                  </a:lnTo>
                  <a:lnTo>
                    <a:pt x="0" y="47"/>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70" name="Freeform 6035"/>
            <p:cNvSpPr>
              <a:spLocks/>
            </p:cNvSpPr>
            <p:nvPr>
              <p:custDataLst>
                <p:tags r:id="rId350"/>
              </p:custDataLst>
            </p:nvPr>
          </p:nvSpPr>
          <p:spPr bwMode="gray">
            <a:xfrm>
              <a:off x="9689352" y="4459605"/>
              <a:ext cx="89816" cy="47529"/>
            </a:xfrm>
            <a:custGeom>
              <a:avLst/>
              <a:gdLst/>
              <a:ahLst/>
              <a:cxnLst>
                <a:cxn ang="0">
                  <a:pos x="0" y="24"/>
                </a:cxn>
                <a:cxn ang="0">
                  <a:pos x="15" y="37"/>
                </a:cxn>
                <a:cxn ang="0">
                  <a:pos x="38" y="37"/>
                </a:cxn>
                <a:cxn ang="0">
                  <a:pos x="62" y="26"/>
                </a:cxn>
                <a:cxn ang="0">
                  <a:pos x="70" y="9"/>
                </a:cxn>
                <a:cxn ang="0">
                  <a:pos x="68" y="0"/>
                </a:cxn>
                <a:cxn ang="0">
                  <a:pos x="55" y="0"/>
                </a:cxn>
                <a:cxn ang="0">
                  <a:pos x="57" y="13"/>
                </a:cxn>
                <a:cxn ang="0">
                  <a:pos x="51" y="13"/>
                </a:cxn>
                <a:cxn ang="0">
                  <a:pos x="43" y="24"/>
                </a:cxn>
                <a:cxn ang="0">
                  <a:pos x="0" y="24"/>
                </a:cxn>
                <a:cxn ang="0">
                  <a:pos x="0" y="24"/>
                </a:cxn>
              </a:cxnLst>
              <a:rect l="0" t="0" r="r" b="b"/>
              <a:pathLst>
                <a:path w="70" h="37">
                  <a:moveTo>
                    <a:pt x="0" y="24"/>
                  </a:moveTo>
                  <a:lnTo>
                    <a:pt x="15" y="37"/>
                  </a:lnTo>
                  <a:lnTo>
                    <a:pt x="38" y="37"/>
                  </a:lnTo>
                  <a:lnTo>
                    <a:pt x="62" y="26"/>
                  </a:lnTo>
                  <a:lnTo>
                    <a:pt x="70" y="9"/>
                  </a:lnTo>
                  <a:lnTo>
                    <a:pt x="68" y="0"/>
                  </a:lnTo>
                  <a:lnTo>
                    <a:pt x="55" y="0"/>
                  </a:lnTo>
                  <a:lnTo>
                    <a:pt x="57" y="13"/>
                  </a:lnTo>
                  <a:lnTo>
                    <a:pt x="51" y="13"/>
                  </a:lnTo>
                  <a:lnTo>
                    <a:pt x="43" y="24"/>
                  </a:lnTo>
                  <a:lnTo>
                    <a:pt x="0" y="24"/>
                  </a:lnTo>
                  <a:lnTo>
                    <a:pt x="0" y="24"/>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71" name="Freeform 6036"/>
            <p:cNvSpPr>
              <a:spLocks/>
            </p:cNvSpPr>
            <p:nvPr>
              <p:custDataLst>
                <p:tags r:id="rId351"/>
              </p:custDataLst>
            </p:nvPr>
          </p:nvSpPr>
          <p:spPr bwMode="gray">
            <a:xfrm>
              <a:off x="9661124" y="4408223"/>
              <a:ext cx="8982" cy="0"/>
            </a:xfrm>
            <a:custGeom>
              <a:avLst/>
              <a:gdLst/>
              <a:ahLst/>
              <a:cxnLst>
                <a:cxn ang="0">
                  <a:pos x="0" y="0"/>
                </a:cxn>
                <a:cxn ang="0">
                  <a:pos x="7" y="0"/>
                </a:cxn>
                <a:cxn ang="0">
                  <a:pos x="0" y="0"/>
                </a:cxn>
              </a:cxnLst>
              <a:rect l="0" t="0" r="r" b="b"/>
              <a:pathLst>
                <a:path w="7">
                  <a:moveTo>
                    <a:pt x="0" y="0"/>
                  </a:moveTo>
                  <a:lnTo>
                    <a:pt x="7"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72" name="Line 6037"/>
            <p:cNvSpPr>
              <a:spLocks noChangeShapeType="1"/>
            </p:cNvSpPr>
            <p:nvPr>
              <p:custDataLst>
                <p:tags r:id="rId352"/>
              </p:custDataLst>
            </p:nvPr>
          </p:nvSpPr>
          <p:spPr bwMode="gray">
            <a:xfrm>
              <a:off x="9661124" y="4408223"/>
              <a:ext cx="8982" cy="0"/>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73" name="Freeform 6038"/>
            <p:cNvSpPr>
              <a:spLocks/>
            </p:cNvSpPr>
            <p:nvPr>
              <p:custDataLst>
                <p:tags r:id="rId353"/>
              </p:custDataLst>
            </p:nvPr>
          </p:nvSpPr>
          <p:spPr bwMode="gray">
            <a:xfrm>
              <a:off x="9747091" y="4421068"/>
              <a:ext cx="43625" cy="55236"/>
            </a:xfrm>
            <a:custGeom>
              <a:avLst/>
              <a:gdLst/>
              <a:ahLst/>
              <a:cxnLst>
                <a:cxn ang="0">
                  <a:pos x="0" y="0"/>
                </a:cxn>
                <a:cxn ang="0">
                  <a:pos x="23" y="20"/>
                </a:cxn>
                <a:cxn ang="0">
                  <a:pos x="32" y="43"/>
                </a:cxn>
                <a:cxn ang="0">
                  <a:pos x="34" y="24"/>
                </a:cxn>
                <a:cxn ang="0">
                  <a:pos x="12" y="5"/>
                </a:cxn>
                <a:cxn ang="0">
                  <a:pos x="0" y="0"/>
                </a:cxn>
                <a:cxn ang="0">
                  <a:pos x="0" y="0"/>
                </a:cxn>
              </a:cxnLst>
              <a:rect l="0" t="0" r="r" b="b"/>
              <a:pathLst>
                <a:path w="34" h="43">
                  <a:moveTo>
                    <a:pt x="0" y="0"/>
                  </a:moveTo>
                  <a:lnTo>
                    <a:pt x="23" y="20"/>
                  </a:lnTo>
                  <a:lnTo>
                    <a:pt x="32" y="43"/>
                  </a:lnTo>
                  <a:lnTo>
                    <a:pt x="34" y="24"/>
                  </a:lnTo>
                  <a:lnTo>
                    <a:pt x="12" y="5"/>
                  </a:lnTo>
                  <a:lnTo>
                    <a:pt x="0" y="0"/>
                  </a:lnTo>
                  <a:lnTo>
                    <a:pt x="0"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74" name="Freeform 6059"/>
            <p:cNvSpPr>
              <a:spLocks/>
            </p:cNvSpPr>
            <p:nvPr>
              <p:custDataLst>
                <p:tags r:id="rId354"/>
              </p:custDataLst>
            </p:nvPr>
          </p:nvSpPr>
          <p:spPr bwMode="gray">
            <a:xfrm>
              <a:off x="9783018" y="510702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75" name="Freeform 6060"/>
            <p:cNvSpPr>
              <a:spLocks/>
            </p:cNvSpPr>
            <p:nvPr>
              <p:custDataLst>
                <p:tags r:id="rId355"/>
              </p:custDataLst>
            </p:nvPr>
          </p:nvSpPr>
          <p:spPr bwMode="gray">
            <a:xfrm>
              <a:off x="10071714" y="5396049"/>
              <a:ext cx="16680" cy="8992"/>
            </a:xfrm>
            <a:custGeom>
              <a:avLst/>
              <a:gdLst/>
              <a:ahLst/>
              <a:cxnLst>
                <a:cxn ang="0">
                  <a:pos x="2" y="0"/>
                </a:cxn>
                <a:cxn ang="0">
                  <a:pos x="6" y="1"/>
                </a:cxn>
                <a:cxn ang="0">
                  <a:pos x="0" y="7"/>
                </a:cxn>
                <a:cxn ang="0">
                  <a:pos x="13" y="0"/>
                </a:cxn>
                <a:cxn ang="0">
                  <a:pos x="2" y="0"/>
                </a:cxn>
                <a:cxn ang="0">
                  <a:pos x="2" y="0"/>
                </a:cxn>
              </a:cxnLst>
              <a:rect l="0" t="0" r="r" b="b"/>
              <a:pathLst>
                <a:path w="13" h="7">
                  <a:moveTo>
                    <a:pt x="2" y="0"/>
                  </a:moveTo>
                  <a:lnTo>
                    <a:pt x="6" y="1"/>
                  </a:lnTo>
                  <a:lnTo>
                    <a:pt x="0" y="7"/>
                  </a:lnTo>
                  <a:lnTo>
                    <a:pt x="13" y="0"/>
                  </a:lnTo>
                  <a:lnTo>
                    <a:pt x="2" y="0"/>
                  </a:lnTo>
                  <a:lnTo>
                    <a:pt x="2"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76" name="Freeform 6062"/>
            <p:cNvSpPr>
              <a:spLocks/>
            </p:cNvSpPr>
            <p:nvPr>
              <p:custDataLst>
                <p:tags r:id="rId356"/>
              </p:custDataLst>
            </p:nvPr>
          </p:nvSpPr>
          <p:spPr bwMode="gray">
            <a:xfrm>
              <a:off x="9876684" y="55322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77" name="Freeform 6073"/>
            <p:cNvSpPr>
              <a:spLocks/>
            </p:cNvSpPr>
            <p:nvPr>
              <p:custDataLst>
                <p:tags r:id="rId357"/>
              </p:custDataLst>
            </p:nvPr>
          </p:nvSpPr>
          <p:spPr bwMode="gray">
            <a:xfrm>
              <a:off x="9336502" y="428875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78" name="Freeform 6074"/>
            <p:cNvSpPr>
              <a:spLocks/>
            </p:cNvSpPr>
            <p:nvPr>
              <p:custDataLst>
                <p:tags r:id="rId358"/>
              </p:custDataLst>
            </p:nvPr>
          </p:nvSpPr>
          <p:spPr bwMode="gray">
            <a:xfrm>
              <a:off x="9358314" y="425664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79" name="Freeform 6075"/>
            <p:cNvSpPr>
              <a:spLocks/>
            </p:cNvSpPr>
            <p:nvPr>
              <p:custDataLst>
                <p:tags r:id="rId359"/>
              </p:custDataLst>
            </p:nvPr>
          </p:nvSpPr>
          <p:spPr bwMode="gray">
            <a:xfrm>
              <a:off x="9355748" y="423352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80" name="Freeform 6076"/>
            <p:cNvSpPr>
              <a:spLocks/>
            </p:cNvSpPr>
            <p:nvPr>
              <p:custDataLst>
                <p:tags r:id="rId360"/>
              </p:custDataLst>
            </p:nvPr>
          </p:nvSpPr>
          <p:spPr bwMode="gray">
            <a:xfrm>
              <a:off x="9394241" y="419755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81" name="Freeform 6077"/>
            <p:cNvSpPr>
              <a:spLocks/>
            </p:cNvSpPr>
            <p:nvPr>
              <p:custDataLst>
                <p:tags r:id="rId361"/>
              </p:custDataLst>
            </p:nvPr>
          </p:nvSpPr>
          <p:spPr bwMode="gray">
            <a:xfrm>
              <a:off x="9396807" y="419498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82" name="Freeform 6078"/>
            <p:cNvSpPr>
              <a:spLocks/>
            </p:cNvSpPr>
            <p:nvPr>
              <p:custDataLst>
                <p:tags r:id="rId362"/>
              </p:custDataLst>
            </p:nvPr>
          </p:nvSpPr>
          <p:spPr bwMode="gray">
            <a:xfrm>
              <a:off x="9401940" y="418214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83" name="Freeform 6079"/>
            <p:cNvSpPr>
              <a:spLocks/>
            </p:cNvSpPr>
            <p:nvPr>
              <p:custDataLst>
                <p:tags r:id="rId363"/>
              </p:custDataLst>
            </p:nvPr>
          </p:nvSpPr>
          <p:spPr bwMode="gray">
            <a:xfrm>
              <a:off x="9473793" y="41346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84" name="Freeform 6080"/>
            <p:cNvSpPr>
              <a:spLocks/>
            </p:cNvSpPr>
            <p:nvPr>
              <p:custDataLst>
                <p:tags r:id="rId364"/>
              </p:custDataLst>
            </p:nvPr>
          </p:nvSpPr>
          <p:spPr bwMode="gray">
            <a:xfrm>
              <a:off x="9502021" y="412176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85" name="Freeform 6095"/>
            <p:cNvSpPr>
              <a:spLocks/>
            </p:cNvSpPr>
            <p:nvPr>
              <p:custDataLst>
                <p:tags r:id="rId365"/>
              </p:custDataLst>
            </p:nvPr>
          </p:nvSpPr>
          <p:spPr bwMode="gray">
            <a:xfrm>
              <a:off x="5251135" y="3032460"/>
              <a:ext cx="23096" cy="16699"/>
            </a:xfrm>
            <a:custGeom>
              <a:avLst/>
              <a:gdLst/>
              <a:ahLst/>
              <a:cxnLst>
                <a:cxn ang="0">
                  <a:pos x="3" y="5"/>
                </a:cxn>
                <a:cxn ang="0">
                  <a:pos x="13" y="4"/>
                </a:cxn>
                <a:cxn ang="0">
                  <a:pos x="0" y="11"/>
                </a:cxn>
                <a:cxn ang="0">
                  <a:pos x="13" y="7"/>
                </a:cxn>
                <a:cxn ang="0">
                  <a:pos x="9" y="13"/>
                </a:cxn>
                <a:cxn ang="0">
                  <a:pos x="18" y="0"/>
                </a:cxn>
                <a:cxn ang="0">
                  <a:pos x="3" y="5"/>
                </a:cxn>
                <a:cxn ang="0">
                  <a:pos x="3" y="5"/>
                </a:cxn>
              </a:cxnLst>
              <a:rect l="0" t="0" r="r" b="b"/>
              <a:pathLst>
                <a:path w="18" h="13">
                  <a:moveTo>
                    <a:pt x="3" y="5"/>
                  </a:moveTo>
                  <a:lnTo>
                    <a:pt x="13" y="4"/>
                  </a:lnTo>
                  <a:lnTo>
                    <a:pt x="0" y="11"/>
                  </a:lnTo>
                  <a:lnTo>
                    <a:pt x="13" y="7"/>
                  </a:lnTo>
                  <a:lnTo>
                    <a:pt x="9" y="13"/>
                  </a:lnTo>
                  <a:lnTo>
                    <a:pt x="18" y="0"/>
                  </a:lnTo>
                  <a:lnTo>
                    <a:pt x="3" y="5"/>
                  </a:lnTo>
                  <a:lnTo>
                    <a:pt x="3"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86" name="Freeform 6096"/>
            <p:cNvSpPr>
              <a:spLocks/>
            </p:cNvSpPr>
            <p:nvPr>
              <p:custDataLst>
                <p:tags r:id="rId366"/>
              </p:custDataLst>
            </p:nvPr>
          </p:nvSpPr>
          <p:spPr bwMode="gray">
            <a:xfrm>
              <a:off x="5176716" y="3109533"/>
              <a:ext cx="19246" cy="8992"/>
            </a:xfrm>
            <a:custGeom>
              <a:avLst/>
              <a:gdLst/>
              <a:ahLst/>
              <a:cxnLst>
                <a:cxn ang="0">
                  <a:pos x="0" y="2"/>
                </a:cxn>
                <a:cxn ang="0">
                  <a:pos x="15" y="7"/>
                </a:cxn>
                <a:cxn ang="0">
                  <a:pos x="15" y="0"/>
                </a:cxn>
                <a:cxn ang="0">
                  <a:pos x="0" y="2"/>
                </a:cxn>
                <a:cxn ang="0">
                  <a:pos x="0" y="2"/>
                </a:cxn>
              </a:cxnLst>
              <a:rect l="0" t="0" r="r" b="b"/>
              <a:pathLst>
                <a:path w="15" h="7">
                  <a:moveTo>
                    <a:pt x="0" y="2"/>
                  </a:moveTo>
                  <a:lnTo>
                    <a:pt x="15" y="7"/>
                  </a:lnTo>
                  <a:lnTo>
                    <a:pt x="15"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87" name="Freeform 6099"/>
            <p:cNvSpPr>
              <a:spLocks/>
            </p:cNvSpPr>
            <p:nvPr>
              <p:custDataLst>
                <p:tags r:id="rId367"/>
              </p:custDataLst>
            </p:nvPr>
          </p:nvSpPr>
          <p:spPr bwMode="gray">
            <a:xfrm>
              <a:off x="9441715" y="319046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88" name="Freeform 6100"/>
            <p:cNvSpPr>
              <a:spLocks/>
            </p:cNvSpPr>
            <p:nvPr>
              <p:custDataLst>
                <p:tags r:id="rId368"/>
              </p:custDataLst>
            </p:nvPr>
          </p:nvSpPr>
          <p:spPr bwMode="gray">
            <a:xfrm>
              <a:off x="9132490" y="3082558"/>
              <a:ext cx="156537" cy="192684"/>
            </a:xfrm>
            <a:custGeom>
              <a:avLst/>
              <a:gdLst/>
              <a:ahLst/>
              <a:cxnLst>
                <a:cxn ang="0">
                  <a:pos x="5" y="17"/>
                </a:cxn>
                <a:cxn ang="0">
                  <a:pos x="82" y="113"/>
                </a:cxn>
                <a:cxn ang="0">
                  <a:pos x="93" y="137"/>
                </a:cxn>
                <a:cxn ang="0">
                  <a:pos x="105" y="150"/>
                </a:cxn>
                <a:cxn ang="0">
                  <a:pos x="105" y="137"/>
                </a:cxn>
                <a:cxn ang="0">
                  <a:pos x="122" y="143"/>
                </a:cxn>
                <a:cxn ang="0">
                  <a:pos x="84" y="105"/>
                </a:cxn>
                <a:cxn ang="0">
                  <a:pos x="80" y="88"/>
                </a:cxn>
                <a:cxn ang="0">
                  <a:pos x="99" y="92"/>
                </a:cxn>
                <a:cxn ang="0">
                  <a:pos x="11" y="6"/>
                </a:cxn>
                <a:cxn ang="0">
                  <a:pos x="0" y="0"/>
                </a:cxn>
                <a:cxn ang="0">
                  <a:pos x="9" y="8"/>
                </a:cxn>
                <a:cxn ang="0">
                  <a:pos x="5" y="17"/>
                </a:cxn>
                <a:cxn ang="0">
                  <a:pos x="5" y="17"/>
                </a:cxn>
              </a:cxnLst>
              <a:rect l="0" t="0" r="r" b="b"/>
              <a:pathLst>
                <a:path w="122" h="150">
                  <a:moveTo>
                    <a:pt x="5" y="17"/>
                  </a:moveTo>
                  <a:lnTo>
                    <a:pt x="82" y="113"/>
                  </a:lnTo>
                  <a:lnTo>
                    <a:pt x="93" y="137"/>
                  </a:lnTo>
                  <a:lnTo>
                    <a:pt x="105" y="150"/>
                  </a:lnTo>
                  <a:lnTo>
                    <a:pt x="105" y="137"/>
                  </a:lnTo>
                  <a:lnTo>
                    <a:pt x="122" y="143"/>
                  </a:lnTo>
                  <a:lnTo>
                    <a:pt x="84" y="105"/>
                  </a:lnTo>
                  <a:lnTo>
                    <a:pt x="80" y="88"/>
                  </a:lnTo>
                  <a:lnTo>
                    <a:pt x="99" y="92"/>
                  </a:lnTo>
                  <a:lnTo>
                    <a:pt x="11" y="6"/>
                  </a:lnTo>
                  <a:lnTo>
                    <a:pt x="0" y="0"/>
                  </a:lnTo>
                  <a:lnTo>
                    <a:pt x="9" y="8"/>
                  </a:lnTo>
                  <a:lnTo>
                    <a:pt x="5" y="17"/>
                  </a:lnTo>
                  <a:lnTo>
                    <a:pt x="5" y="1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89" name="Freeform 6101"/>
            <p:cNvSpPr>
              <a:spLocks/>
            </p:cNvSpPr>
            <p:nvPr>
              <p:custDataLst>
                <p:tags r:id="rId369"/>
              </p:custDataLst>
            </p:nvPr>
          </p:nvSpPr>
          <p:spPr bwMode="gray">
            <a:xfrm>
              <a:off x="6815225" y="334974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90" name="Freeform 6102"/>
            <p:cNvSpPr>
              <a:spLocks/>
            </p:cNvSpPr>
            <p:nvPr>
              <p:custDataLst>
                <p:tags r:id="rId370"/>
              </p:custDataLst>
            </p:nvPr>
          </p:nvSpPr>
          <p:spPr bwMode="gray">
            <a:xfrm>
              <a:off x="7144980" y="351802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91" name="Freeform 6103"/>
            <p:cNvSpPr>
              <a:spLocks/>
            </p:cNvSpPr>
            <p:nvPr>
              <p:custDataLst>
                <p:tags r:id="rId371"/>
              </p:custDataLst>
            </p:nvPr>
          </p:nvSpPr>
          <p:spPr bwMode="gray">
            <a:xfrm>
              <a:off x="7153961" y="3496186"/>
              <a:ext cx="10265" cy="15415"/>
            </a:xfrm>
            <a:custGeom>
              <a:avLst/>
              <a:gdLst/>
              <a:ahLst/>
              <a:cxnLst>
                <a:cxn ang="0">
                  <a:pos x="0" y="6"/>
                </a:cxn>
                <a:cxn ang="0">
                  <a:pos x="2" y="12"/>
                </a:cxn>
                <a:cxn ang="0">
                  <a:pos x="8" y="0"/>
                </a:cxn>
                <a:cxn ang="0">
                  <a:pos x="0" y="6"/>
                </a:cxn>
                <a:cxn ang="0">
                  <a:pos x="0" y="6"/>
                </a:cxn>
              </a:cxnLst>
              <a:rect l="0" t="0" r="r" b="b"/>
              <a:pathLst>
                <a:path w="8" h="12">
                  <a:moveTo>
                    <a:pt x="0" y="6"/>
                  </a:moveTo>
                  <a:lnTo>
                    <a:pt x="2" y="12"/>
                  </a:lnTo>
                  <a:lnTo>
                    <a:pt x="8"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92" name="Freeform 6104"/>
            <p:cNvSpPr>
              <a:spLocks/>
            </p:cNvSpPr>
            <p:nvPr>
              <p:custDataLst>
                <p:tags r:id="rId372"/>
              </p:custDataLst>
            </p:nvPr>
          </p:nvSpPr>
          <p:spPr bwMode="gray">
            <a:xfrm>
              <a:off x="7092373" y="349233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93" name="Freeform 6105"/>
            <p:cNvSpPr>
              <a:spLocks/>
            </p:cNvSpPr>
            <p:nvPr>
              <p:custDataLst>
                <p:tags r:id="rId373"/>
              </p:custDataLst>
            </p:nvPr>
          </p:nvSpPr>
          <p:spPr bwMode="gray">
            <a:xfrm>
              <a:off x="7109053" y="348462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94" name="Freeform 6106"/>
            <p:cNvSpPr>
              <a:spLocks/>
            </p:cNvSpPr>
            <p:nvPr>
              <p:custDataLst>
                <p:tags r:id="rId374"/>
              </p:custDataLst>
            </p:nvPr>
          </p:nvSpPr>
          <p:spPr bwMode="gray">
            <a:xfrm>
              <a:off x="7101355" y="347049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95" name="Freeform 6107"/>
            <p:cNvSpPr>
              <a:spLocks/>
            </p:cNvSpPr>
            <p:nvPr>
              <p:custDataLst>
                <p:tags r:id="rId375"/>
              </p:custDataLst>
            </p:nvPr>
          </p:nvSpPr>
          <p:spPr bwMode="gray">
            <a:xfrm>
              <a:off x="7115469" y="3431958"/>
              <a:ext cx="7699" cy="2569"/>
            </a:xfrm>
            <a:custGeom>
              <a:avLst/>
              <a:gdLst/>
              <a:ahLst/>
              <a:cxnLst>
                <a:cxn ang="0">
                  <a:pos x="0" y="0"/>
                </a:cxn>
                <a:cxn ang="0">
                  <a:pos x="6" y="2"/>
                </a:cxn>
                <a:cxn ang="0">
                  <a:pos x="0" y="0"/>
                </a:cxn>
              </a:cxnLst>
              <a:rect l="0" t="0" r="r" b="b"/>
              <a:pathLst>
                <a:path w="6" h="2">
                  <a:moveTo>
                    <a:pt x="0" y="0"/>
                  </a:moveTo>
                  <a:lnTo>
                    <a:pt x="6" y="2"/>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96" name="Line 6108"/>
            <p:cNvSpPr>
              <a:spLocks noChangeShapeType="1"/>
            </p:cNvSpPr>
            <p:nvPr>
              <p:custDataLst>
                <p:tags r:id="rId376"/>
              </p:custDataLst>
            </p:nvPr>
          </p:nvSpPr>
          <p:spPr bwMode="gray">
            <a:xfrm>
              <a:off x="7115469" y="3431958"/>
              <a:ext cx="7699" cy="2569"/>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97" name="Freeform 6109"/>
            <p:cNvSpPr>
              <a:spLocks/>
            </p:cNvSpPr>
            <p:nvPr>
              <p:custDataLst>
                <p:tags r:id="rId377"/>
              </p:custDataLst>
            </p:nvPr>
          </p:nvSpPr>
          <p:spPr bwMode="gray">
            <a:xfrm>
              <a:off x="7118035" y="3448657"/>
              <a:ext cx="0" cy="5138"/>
            </a:xfrm>
            <a:custGeom>
              <a:avLst/>
              <a:gdLst/>
              <a:ahLst/>
              <a:cxnLst>
                <a:cxn ang="0">
                  <a:pos x="0" y="0"/>
                </a:cxn>
                <a:cxn ang="0">
                  <a:pos x="0" y="4"/>
                </a:cxn>
                <a:cxn ang="0">
                  <a:pos x="0" y="0"/>
                </a:cxn>
              </a:cxnLst>
              <a:rect l="0" t="0" r="r" b="b"/>
              <a:pathLst>
                <a:path h="4">
                  <a:moveTo>
                    <a:pt x="0" y="0"/>
                  </a:moveTo>
                  <a:lnTo>
                    <a:pt x="0" y="4"/>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98" name="Line 6110"/>
            <p:cNvSpPr>
              <a:spLocks noChangeShapeType="1"/>
            </p:cNvSpPr>
            <p:nvPr>
              <p:custDataLst>
                <p:tags r:id="rId378"/>
              </p:custDataLst>
            </p:nvPr>
          </p:nvSpPr>
          <p:spPr bwMode="gray">
            <a:xfrm>
              <a:off x="7118035" y="3448657"/>
              <a:ext cx="0" cy="5138"/>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99" name="Freeform 6111"/>
            <p:cNvSpPr>
              <a:spLocks/>
            </p:cNvSpPr>
            <p:nvPr>
              <p:custDataLst>
                <p:tags r:id="rId379"/>
              </p:custDataLst>
            </p:nvPr>
          </p:nvSpPr>
          <p:spPr bwMode="gray">
            <a:xfrm>
              <a:off x="7132149" y="346535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00" name="Freeform 6112"/>
            <p:cNvSpPr>
              <a:spLocks/>
            </p:cNvSpPr>
            <p:nvPr>
              <p:custDataLst>
                <p:tags r:id="rId380"/>
              </p:custDataLst>
            </p:nvPr>
          </p:nvSpPr>
          <p:spPr bwMode="gray">
            <a:xfrm>
              <a:off x="6717232" y="43351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01" name="Freeform 6113"/>
            <p:cNvSpPr>
              <a:spLocks/>
            </p:cNvSpPr>
            <p:nvPr>
              <p:custDataLst>
                <p:tags r:id="rId381"/>
              </p:custDataLst>
            </p:nvPr>
          </p:nvSpPr>
          <p:spPr bwMode="gray">
            <a:xfrm>
              <a:off x="6758291" y="4251605"/>
              <a:ext cx="10265" cy="8992"/>
            </a:xfrm>
            <a:custGeom>
              <a:avLst/>
              <a:gdLst/>
              <a:ahLst/>
              <a:cxnLst>
                <a:cxn ang="0">
                  <a:pos x="0" y="7"/>
                </a:cxn>
                <a:cxn ang="0">
                  <a:pos x="4" y="7"/>
                </a:cxn>
                <a:cxn ang="0">
                  <a:pos x="8" y="1"/>
                </a:cxn>
                <a:cxn ang="0">
                  <a:pos x="4" y="0"/>
                </a:cxn>
                <a:cxn ang="0">
                  <a:pos x="0" y="7"/>
                </a:cxn>
                <a:cxn ang="0">
                  <a:pos x="0" y="7"/>
                </a:cxn>
              </a:cxnLst>
              <a:rect l="0" t="0" r="r" b="b"/>
              <a:pathLst>
                <a:path w="8" h="7">
                  <a:moveTo>
                    <a:pt x="0" y="7"/>
                  </a:moveTo>
                  <a:lnTo>
                    <a:pt x="4" y="7"/>
                  </a:lnTo>
                  <a:lnTo>
                    <a:pt x="8" y="1"/>
                  </a:lnTo>
                  <a:lnTo>
                    <a:pt x="4" y="0"/>
                  </a:lnTo>
                  <a:lnTo>
                    <a:pt x="0" y="7"/>
                  </a:lnTo>
                  <a:lnTo>
                    <a:pt x="0" y="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02" name="Freeform 6114"/>
            <p:cNvSpPr>
              <a:spLocks/>
            </p:cNvSpPr>
            <p:nvPr>
              <p:custDataLst>
                <p:tags r:id="rId382"/>
              </p:custDataLst>
            </p:nvPr>
          </p:nvSpPr>
          <p:spPr bwMode="gray">
            <a:xfrm>
              <a:off x="9298009" y="4627882"/>
              <a:ext cx="30794" cy="16699"/>
            </a:xfrm>
            <a:custGeom>
              <a:avLst/>
              <a:gdLst/>
              <a:ahLst/>
              <a:cxnLst>
                <a:cxn ang="0">
                  <a:pos x="0" y="9"/>
                </a:cxn>
                <a:cxn ang="0">
                  <a:pos x="15" y="13"/>
                </a:cxn>
                <a:cxn ang="0">
                  <a:pos x="24" y="6"/>
                </a:cxn>
                <a:cxn ang="0">
                  <a:pos x="23" y="0"/>
                </a:cxn>
                <a:cxn ang="0">
                  <a:pos x="8" y="0"/>
                </a:cxn>
                <a:cxn ang="0">
                  <a:pos x="0" y="9"/>
                </a:cxn>
                <a:cxn ang="0">
                  <a:pos x="0" y="9"/>
                </a:cxn>
              </a:cxnLst>
              <a:rect l="0" t="0" r="r" b="b"/>
              <a:pathLst>
                <a:path w="24" h="13">
                  <a:moveTo>
                    <a:pt x="0" y="9"/>
                  </a:moveTo>
                  <a:lnTo>
                    <a:pt x="15" y="13"/>
                  </a:lnTo>
                  <a:lnTo>
                    <a:pt x="24" y="6"/>
                  </a:lnTo>
                  <a:lnTo>
                    <a:pt x="23" y="0"/>
                  </a:lnTo>
                  <a:lnTo>
                    <a:pt x="8" y="0"/>
                  </a:lnTo>
                  <a:lnTo>
                    <a:pt x="0" y="9"/>
                  </a:lnTo>
                  <a:lnTo>
                    <a:pt x="0" y="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03" name="Freeform 6115"/>
            <p:cNvSpPr>
              <a:spLocks/>
            </p:cNvSpPr>
            <p:nvPr>
              <p:custDataLst>
                <p:tags r:id="rId383"/>
              </p:custDataLst>
            </p:nvPr>
          </p:nvSpPr>
          <p:spPr bwMode="gray">
            <a:xfrm>
              <a:off x="9165851" y="4558516"/>
              <a:ext cx="82118" cy="47529"/>
            </a:xfrm>
            <a:custGeom>
              <a:avLst/>
              <a:gdLst/>
              <a:ahLst/>
              <a:cxnLst>
                <a:cxn ang="0">
                  <a:pos x="0" y="37"/>
                </a:cxn>
                <a:cxn ang="0">
                  <a:pos x="17" y="31"/>
                </a:cxn>
                <a:cxn ang="0">
                  <a:pos x="32" y="16"/>
                </a:cxn>
                <a:cxn ang="0">
                  <a:pos x="64" y="0"/>
                </a:cxn>
                <a:cxn ang="0">
                  <a:pos x="28" y="5"/>
                </a:cxn>
                <a:cxn ang="0">
                  <a:pos x="8" y="18"/>
                </a:cxn>
                <a:cxn ang="0">
                  <a:pos x="0" y="37"/>
                </a:cxn>
                <a:cxn ang="0">
                  <a:pos x="0" y="37"/>
                </a:cxn>
              </a:cxnLst>
              <a:rect l="0" t="0" r="r" b="b"/>
              <a:pathLst>
                <a:path w="64" h="37">
                  <a:moveTo>
                    <a:pt x="0" y="37"/>
                  </a:moveTo>
                  <a:lnTo>
                    <a:pt x="17" y="31"/>
                  </a:lnTo>
                  <a:lnTo>
                    <a:pt x="32" y="16"/>
                  </a:lnTo>
                  <a:lnTo>
                    <a:pt x="64" y="0"/>
                  </a:lnTo>
                  <a:lnTo>
                    <a:pt x="28" y="5"/>
                  </a:lnTo>
                  <a:lnTo>
                    <a:pt x="8" y="18"/>
                  </a:lnTo>
                  <a:lnTo>
                    <a:pt x="0" y="37"/>
                  </a:lnTo>
                  <a:lnTo>
                    <a:pt x="0" y="37"/>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04" name="Freeform 6116"/>
            <p:cNvSpPr>
              <a:spLocks/>
            </p:cNvSpPr>
            <p:nvPr>
              <p:custDataLst>
                <p:tags r:id="rId384"/>
              </p:custDataLst>
            </p:nvPr>
          </p:nvSpPr>
          <p:spPr bwMode="gray">
            <a:xfrm>
              <a:off x="9100413" y="42373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05" name="Freeform 6117"/>
            <p:cNvSpPr>
              <a:spLocks/>
            </p:cNvSpPr>
            <p:nvPr>
              <p:custDataLst>
                <p:tags r:id="rId385"/>
              </p:custDataLst>
            </p:nvPr>
          </p:nvSpPr>
          <p:spPr bwMode="gray">
            <a:xfrm>
              <a:off x="9122225" y="421810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06" name="Freeform 6118"/>
            <p:cNvSpPr>
              <a:spLocks/>
            </p:cNvSpPr>
            <p:nvPr>
              <p:custDataLst>
                <p:tags r:id="rId386"/>
              </p:custDataLst>
            </p:nvPr>
          </p:nvSpPr>
          <p:spPr bwMode="gray">
            <a:xfrm>
              <a:off x="5072785" y="3275242"/>
              <a:ext cx="26945" cy="10276"/>
            </a:xfrm>
            <a:custGeom>
              <a:avLst/>
              <a:gdLst/>
              <a:ahLst/>
              <a:cxnLst>
                <a:cxn ang="0">
                  <a:pos x="0" y="0"/>
                </a:cxn>
                <a:cxn ang="0">
                  <a:pos x="15" y="8"/>
                </a:cxn>
                <a:cxn ang="0">
                  <a:pos x="21" y="0"/>
                </a:cxn>
                <a:cxn ang="0">
                  <a:pos x="0" y="0"/>
                </a:cxn>
                <a:cxn ang="0">
                  <a:pos x="0" y="0"/>
                </a:cxn>
              </a:cxnLst>
              <a:rect l="0" t="0" r="r" b="b"/>
              <a:pathLst>
                <a:path w="21" h="8">
                  <a:moveTo>
                    <a:pt x="0" y="0"/>
                  </a:moveTo>
                  <a:lnTo>
                    <a:pt x="15" y="8"/>
                  </a:lnTo>
                  <a:lnTo>
                    <a:pt x="21" y="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07" name="Freeform 6119"/>
            <p:cNvSpPr>
              <a:spLocks/>
            </p:cNvSpPr>
            <p:nvPr>
              <p:custDataLst>
                <p:tags r:id="rId387"/>
              </p:custDataLst>
            </p:nvPr>
          </p:nvSpPr>
          <p:spPr bwMode="gray">
            <a:xfrm>
              <a:off x="7402403" y="448667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08" name="Freeform 6120"/>
            <p:cNvSpPr>
              <a:spLocks/>
            </p:cNvSpPr>
            <p:nvPr>
              <p:custDataLst>
                <p:tags r:id="rId388"/>
              </p:custDataLst>
            </p:nvPr>
          </p:nvSpPr>
          <p:spPr bwMode="gray">
            <a:xfrm>
              <a:off x="9031126" y="3063289"/>
              <a:ext cx="12831" cy="12846"/>
            </a:xfrm>
            <a:custGeom>
              <a:avLst/>
              <a:gdLst/>
              <a:ahLst/>
              <a:cxnLst>
                <a:cxn ang="0">
                  <a:pos x="2" y="6"/>
                </a:cxn>
                <a:cxn ang="0">
                  <a:pos x="10" y="10"/>
                </a:cxn>
                <a:cxn ang="0">
                  <a:pos x="10" y="4"/>
                </a:cxn>
                <a:cxn ang="0">
                  <a:pos x="0" y="0"/>
                </a:cxn>
                <a:cxn ang="0">
                  <a:pos x="2" y="6"/>
                </a:cxn>
                <a:cxn ang="0">
                  <a:pos x="2" y="6"/>
                </a:cxn>
              </a:cxnLst>
              <a:rect l="0" t="0" r="r" b="b"/>
              <a:pathLst>
                <a:path w="10" h="10">
                  <a:moveTo>
                    <a:pt x="2" y="6"/>
                  </a:moveTo>
                  <a:lnTo>
                    <a:pt x="10" y="10"/>
                  </a:lnTo>
                  <a:lnTo>
                    <a:pt x="10" y="4"/>
                  </a:lnTo>
                  <a:lnTo>
                    <a:pt x="0" y="0"/>
                  </a:lnTo>
                  <a:lnTo>
                    <a:pt x="2" y="6"/>
                  </a:lnTo>
                  <a:lnTo>
                    <a:pt x="2"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09" name="Freeform 6121"/>
            <p:cNvSpPr>
              <a:spLocks/>
            </p:cNvSpPr>
            <p:nvPr>
              <p:custDataLst>
                <p:tags r:id="rId389"/>
              </p:custDataLst>
            </p:nvPr>
          </p:nvSpPr>
          <p:spPr bwMode="gray">
            <a:xfrm>
              <a:off x="6584268" y="298107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10" name="Freeform 6122"/>
            <p:cNvSpPr>
              <a:spLocks/>
            </p:cNvSpPr>
            <p:nvPr>
              <p:custDataLst>
                <p:tags r:id="rId390"/>
              </p:custDataLst>
            </p:nvPr>
          </p:nvSpPr>
          <p:spPr bwMode="gray">
            <a:xfrm>
              <a:off x="6810092" y="3054297"/>
              <a:ext cx="12831" cy="11561"/>
            </a:xfrm>
            <a:custGeom>
              <a:avLst/>
              <a:gdLst/>
              <a:ahLst/>
              <a:cxnLst>
                <a:cxn ang="0">
                  <a:pos x="0" y="2"/>
                </a:cxn>
                <a:cxn ang="0">
                  <a:pos x="0" y="9"/>
                </a:cxn>
                <a:cxn ang="0">
                  <a:pos x="10" y="9"/>
                </a:cxn>
                <a:cxn ang="0">
                  <a:pos x="4" y="0"/>
                </a:cxn>
                <a:cxn ang="0">
                  <a:pos x="0" y="2"/>
                </a:cxn>
                <a:cxn ang="0">
                  <a:pos x="0" y="2"/>
                </a:cxn>
              </a:cxnLst>
              <a:rect l="0" t="0" r="r" b="b"/>
              <a:pathLst>
                <a:path w="10" h="9">
                  <a:moveTo>
                    <a:pt x="0" y="2"/>
                  </a:moveTo>
                  <a:lnTo>
                    <a:pt x="0" y="9"/>
                  </a:lnTo>
                  <a:lnTo>
                    <a:pt x="10" y="9"/>
                  </a:lnTo>
                  <a:lnTo>
                    <a:pt x="4" y="0"/>
                  </a:lnTo>
                  <a:lnTo>
                    <a:pt x="0" y="2"/>
                  </a:lnTo>
                  <a:lnTo>
                    <a:pt x="0" y="2"/>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11" name="Freeform 6123"/>
            <p:cNvSpPr>
              <a:spLocks/>
            </p:cNvSpPr>
            <p:nvPr>
              <p:custDataLst>
                <p:tags r:id="rId391"/>
              </p:custDataLst>
            </p:nvPr>
          </p:nvSpPr>
          <p:spPr bwMode="gray">
            <a:xfrm>
              <a:off x="6826773" y="3041452"/>
              <a:ext cx="26945" cy="21838"/>
            </a:xfrm>
            <a:custGeom>
              <a:avLst/>
              <a:gdLst/>
              <a:ahLst/>
              <a:cxnLst>
                <a:cxn ang="0">
                  <a:pos x="0" y="8"/>
                </a:cxn>
                <a:cxn ang="0">
                  <a:pos x="4" y="15"/>
                </a:cxn>
                <a:cxn ang="0">
                  <a:pos x="12" y="17"/>
                </a:cxn>
                <a:cxn ang="0">
                  <a:pos x="19" y="15"/>
                </a:cxn>
                <a:cxn ang="0">
                  <a:pos x="15" y="12"/>
                </a:cxn>
                <a:cxn ang="0">
                  <a:pos x="21" y="8"/>
                </a:cxn>
                <a:cxn ang="0">
                  <a:pos x="19" y="0"/>
                </a:cxn>
                <a:cxn ang="0">
                  <a:pos x="0" y="8"/>
                </a:cxn>
                <a:cxn ang="0">
                  <a:pos x="0" y="8"/>
                </a:cxn>
              </a:cxnLst>
              <a:rect l="0" t="0" r="r" b="b"/>
              <a:pathLst>
                <a:path w="21" h="17">
                  <a:moveTo>
                    <a:pt x="0" y="8"/>
                  </a:moveTo>
                  <a:lnTo>
                    <a:pt x="4" y="15"/>
                  </a:lnTo>
                  <a:lnTo>
                    <a:pt x="12" y="17"/>
                  </a:lnTo>
                  <a:lnTo>
                    <a:pt x="19" y="15"/>
                  </a:lnTo>
                  <a:lnTo>
                    <a:pt x="15" y="12"/>
                  </a:lnTo>
                  <a:lnTo>
                    <a:pt x="21" y="8"/>
                  </a:lnTo>
                  <a:lnTo>
                    <a:pt x="19" y="0"/>
                  </a:lnTo>
                  <a:lnTo>
                    <a:pt x="0" y="8"/>
                  </a:lnTo>
                  <a:lnTo>
                    <a:pt x="0" y="8"/>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12" name="Freeform 6124"/>
            <p:cNvSpPr>
              <a:spLocks/>
            </p:cNvSpPr>
            <p:nvPr>
              <p:custDataLst>
                <p:tags r:id="rId392"/>
              </p:custDataLst>
            </p:nvPr>
          </p:nvSpPr>
          <p:spPr bwMode="gray">
            <a:xfrm>
              <a:off x="6826773" y="3070997"/>
              <a:ext cx="19246" cy="5138"/>
            </a:xfrm>
            <a:custGeom>
              <a:avLst/>
              <a:gdLst/>
              <a:ahLst/>
              <a:cxnLst>
                <a:cxn ang="0">
                  <a:pos x="0" y="0"/>
                </a:cxn>
                <a:cxn ang="0">
                  <a:pos x="4" y="4"/>
                </a:cxn>
                <a:cxn ang="0">
                  <a:pos x="15" y="0"/>
                </a:cxn>
                <a:cxn ang="0">
                  <a:pos x="0" y="0"/>
                </a:cxn>
                <a:cxn ang="0">
                  <a:pos x="0" y="0"/>
                </a:cxn>
              </a:cxnLst>
              <a:rect l="0" t="0" r="r" b="b"/>
              <a:pathLst>
                <a:path w="15" h="4">
                  <a:moveTo>
                    <a:pt x="0" y="0"/>
                  </a:moveTo>
                  <a:lnTo>
                    <a:pt x="4" y="4"/>
                  </a:lnTo>
                  <a:lnTo>
                    <a:pt x="15" y="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13" name="Freeform 6125"/>
            <p:cNvSpPr>
              <a:spLocks/>
            </p:cNvSpPr>
            <p:nvPr>
              <p:custDataLst>
                <p:tags r:id="rId393"/>
              </p:custDataLst>
            </p:nvPr>
          </p:nvSpPr>
          <p:spPr bwMode="gray">
            <a:xfrm>
              <a:off x="6894777" y="306585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14" name="Freeform 6126"/>
            <p:cNvSpPr>
              <a:spLocks/>
            </p:cNvSpPr>
            <p:nvPr>
              <p:custDataLst>
                <p:tags r:id="rId394"/>
              </p:custDataLst>
            </p:nvPr>
          </p:nvSpPr>
          <p:spPr bwMode="gray">
            <a:xfrm>
              <a:off x="7132954" y="5013348"/>
              <a:ext cx="48758" cy="48813"/>
            </a:xfrm>
            <a:custGeom>
              <a:avLst/>
              <a:gdLst/>
              <a:ahLst/>
              <a:cxnLst>
                <a:cxn ang="0">
                  <a:pos x="38" y="15"/>
                </a:cxn>
                <a:cxn ang="0">
                  <a:pos x="32" y="27"/>
                </a:cxn>
                <a:cxn ang="0">
                  <a:pos x="12" y="38"/>
                </a:cxn>
                <a:cxn ang="0">
                  <a:pos x="0" y="21"/>
                </a:cxn>
                <a:cxn ang="0">
                  <a:pos x="21" y="0"/>
                </a:cxn>
                <a:cxn ang="0">
                  <a:pos x="30" y="2"/>
                </a:cxn>
                <a:cxn ang="0">
                  <a:pos x="38" y="15"/>
                </a:cxn>
                <a:cxn ang="0">
                  <a:pos x="38" y="15"/>
                </a:cxn>
              </a:cxnLst>
              <a:rect l="0" t="0" r="r" b="b"/>
              <a:pathLst>
                <a:path w="38" h="38">
                  <a:moveTo>
                    <a:pt x="38" y="15"/>
                  </a:moveTo>
                  <a:lnTo>
                    <a:pt x="32" y="27"/>
                  </a:lnTo>
                  <a:lnTo>
                    <a:pt x="12" y="38"/>
                  </a:lnTo>
                  <a:lnTo>
                    <a:pt x="0" y="21"/>
                  </a:lnTo>
                  <a:lnTo>
                    <a:pt x="21" y="0"/>
                  </a:lnTo>
                  <a:lnTo>
                    <a:pt x="30" y="2"/>
                  </a:lnTo>
                  <a:lnTo>
                    <a:pt x="38" y="15"/>
                  </a:lnTo>
                  <a:lnTo>
                    <a:pt x="38" y="1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15" name="Freeform 6127"/>
            <p:cNvSpPr>
              <a:spLocks/>
            </p:cNvSpPr>
            <p:nvPr>
              <p:custDataLst>
                <p:tags r:id="rId395"/>
              </p:custDataLst>
            </p:nvPr>
          </p:nvSpPr>
          <p:spPr bwMode="gray">
            <a:xfrm>
              <a:off x="5113844" y="3515454"/>
              <a:ext cx="14114" cy="12846"/>
            </a:xfrm>
            <a:custGeom>
              <a:avLst/>
              <a:gdLst/>
              <a:ahLst/>
              <a:cxnLst>
                <a:cxn ang="0">
                  <a:pos x="0" y="10"/>
                </a:cxn>
                <a:cxn ang="0">
                  <a:pos x="11" y="0"/>
                </a:cxn>
                <a:cxn ang="0">
                  <a:pos x="0" y="10"/>
                </a:cxn>
              </a:cxnLst>
              <a:rect l="0" t="0" r="r" b="b"/>
              <a:pathLst>
                <a:path w="11" h="10">
                  <a:moveTo>
                    <a:pt x="0" y="10"/>
                  </a:moveTo>
                  <a:lnTo>
                    <a:pt x="11" y="0"/>
                  </a:lnTo>
                  <a:lnTo>
                    <a:pt x="0" y="1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16" name="Line 6128"/>
            <p:cNvSpPr>
              <a:spLocks noChangeShapeType="1"/>
            </p:cNvSpPr>
            <p:nvPr>
              <p:custDataLst>
                <p:tags r:id="rId396"/>
              </p:custDataLst>
            </p:nvPr>
          </p:nvSpPr>
          <p:spPr bwMode="gray">
            <a:xfrm flipV="1">
              <a:off x="5113844" y="3515454"/>
              <a:ext cx="14114" cy="12846"/>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17" name="Freeform 6129"/>
            <p:cNvSpPr>
              <a:spLocks/>
            </p:cNvSpPr>
            <p:nvPr>
              <p:custDataLst>
                <p:tags r:id="rId397"/>
              </p:custDataLst>
            </p:nvPr>
          </p:nvSpPr>
          <p:spPr bwMode="gray">
            <a:xfrm>
              <a:off x="8928478" y="3828887"/>
              <a:ext cx="14114" cy="7707"/>
            </a:xfrm>
            <a:custGeom>
              <a:avLst/>
              <a:gdLst/>
              <a:ahLst/>
              <a:cxnLst>
                <a:cxn ang="0">
                  <a:pos x="0" y="0"/>
                </a:cxn>
                <a:cxn ang="0">
                  <a:pos x="1" y="6"/>
                </a:cxn>
                <a:cxn ang="0">
                  <a:pos x="11" y="6"/>
                </a:cxn>
                <a:cxn ang="0">
                  <a:pos x="11" y="0"/>
                </a:cxn>
                <a:cxn ang="0">
                  <a:pos x="0" y="0"/>
                </a:cxn>
              </a:cxnLst>
              <a:rect l="0" t="0" r="r" b="b"/>
              <a:pathLst>
                <a:path w="11" h="6">
                  <a:moveTo>
                    <a:pt x="0" y="0"/>
                  </a:moveTo>
                  <a:lnTo>
                    <a:pt x="1" y="6"/>
                  </a:lnTo>
                  <a:lnTo>
                    <a:pt x="11" y="6"/>
                  </a:lnTo>
                  <a:lnTo>
                    <a:pt x="11"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18" name="Freeform 6130"/>
            <p:cNvSpPr>
              <a:spLocks/>
            </p:cNvSpPr>
            <p:nvPr>
              <p:custDataLst>
                <p:tags r:id="rId398"/>
              </p:custDataLst>
            </p:nvPr>
          </p:nvSpPr>
          <p:spPr bwMode="gray">
            <a:xfrm>
              <a:off x="8928478" y="3828887"/>
              <a:ext cx="14114" cy="7707"/>
            </a:xfrm>
            <a:custGeom>
              <a:avLst/>
              <a:gdLst/>
              <a:ahLst/>
              <a:cxnLst>
                <a:cxn ang="0">
                  <a:pos x="0" y="0"/>
                </a:cxn>
                <a:cxn ang="0">
                  <a:pos x="1" y="6"/>
                </a:cxn>
                <a:cxn ang="0">
                  <a:pos x="11" y="6"/>
                </a:cxn>
                <a:cxn ang="0">
                  <a:pos x="11" y="0"/>
                </a:cxn>
              </a:cxnLst>
              <a:rect l="0" t="0" r="r" b="b"/>
              <a:pathLst>
                <a:path w="11" h="6">
                  <a:moveTo>
                    <a:pt x="0" y="0"/>
                  </a:moveTo>
                  <a:lnTo>
                    <a:pt x="1" y="6"/>
                  </a:lnTo>
                  <a:lnTo>
                    <a:pt x="11" y="6"/>
                  </a:lnTo>
                  <a:lnTo>
                    <a:pt x="11" y="0"/>
                  </a:lnTo>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19" name="Freeform 6131"/>
            <p:cNvSpPr>
              <a:spLocks/>
            </p:cNvSpPr>
            <p:nvPr>
              <p:custDataLst>
                <p:tags r:id="rId399"/>
              </p:custDataLst>
            </p:nvPr>
          </p:nvSpPr>
          <p:spPr bwMode="gray">
            <a:xfrm>
              <a:off x="8928478" y="3828887"/>
              <a:ext cx="14114" cy="0"/>
            </a:xfrm>
            <a:custGeom>
              <a:avLst/>
              <a:gdLst/>
              <a:ahLst/>
              <a:cxnLst>
                <a:cxn ang="0">
                  <a:pos x="11" y="0"/>
                </a:cxn>
                <a:cxn ang="0">
                  <a:pos x="0" y="0"/>
                </a:cxn>
                <a:cxn ang="0">
                  <a:pos x="11" y="0"/>
                </a:cxn>
              </a:cxnLst>
              <a:rect l="0" t="0" r="r" b="b"/>
              <a:pathLst>
                <a:path w="11">
                  <a:moveTo>
                    <a:pt x="11" y="0"/>
                  </a:moveTo>
                  <a:lnTo>
                    <a:pt x="0" y="0"/>
                  </a:lnTo>
                  <a:lnTo>
                    <a:pt x="11"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20" name="Line 6132"/>
            <p:cNvSpPr>
              <a:spLocks noChangeShapeType="1"/>
            </p:cNvSpPr>
            <p:nvPr>
              <p:custDataLst>
                <p:tags r:id="rId400"/>
              </p:custDataLst>
            </p:nvPr>
          </p:nvSpPr>
          <p:spPr bwMode="gray">
            <a:xfrm flipH="1">
              <a:off x="8928478" y="3828887"/>
              <a:ext cx="14114" cy="0"/>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21" name="Freeform 6133"/>
            <p:cNvSpPr>
              <a:spLocks/>
            </p:cNvSpPr>
            <p:nvPr>
              <p:custDataLst>
                <p:tags r:id="rId401"/>
              </p:custDataLst>
            </p:nvPr>
          </p:nvSpPr>
          <p:spPr bwMode="gray">
            <a:xfrm>
              <a:off x="6445694" y="3065858"/>
              <a:ext cx="80835" cy="79643"/>
            </a:xfrm>
            <a:custGeom>
              <a:avLst/>
              <a:gdLst/>
              <a:ahLst/>
              <a:cxnLst>
                <a:cxn ang="0">
                  <a:pos x="39" y="9"/>
                </a:cxn>
                <a:cxn ang="0">
                  <a:pos x="46" y="17"/>
                </a:cxn>
                <a:cxn ang="0">
                  <a:pos x="60" y="11"/>
                </a:cxn>
                <a:cxn ang="0">
                  <a:pos x="63" y="19"/>
                </a:cxn>
                <a:cxn ang="0">
                  <a:pos x="63" y="36"/>
                </a:cxn>
                <a:cxn ang="0">
                  <a:pos x="56" y="51"/>
                </a:cxn>
                <a:cxn ang="0">
                  <a:pos x="9" y="62"/>
                </a:cxn>
                <a:cxn ang="0">
                  <a:pos x="0" y="51"/>
                </a:cxn>
                <a:cxn ang="0">
                  <a:pos x="9" y="51"/>
                </a:cxn>
                <a:cxn ang="0">
                  <a:pos x="22" y="34"/>
                </a:cxn>
                <a:cxn ang="0">
                  <a:pos x="7" y="28"/>
                </a:cxn>
                <a:cxn ang="0">
                  <a:pos x="17" y="23"/>
                </a:cxn>
                <a:cxn ang="0">
                  <a:pos x="9" y="19"/>
                </a:cxn>
                <a:cxn ang="0">
                  <a:pos x="13" y="13"/>
                </a:cxn>
                <a:cxn ang="0">
                  <a:pos x="30" y="13"/>
                </a:cxn>
                <a:cxn ang="0">
                  <a:pos x="35" y="9"/>
                </a:cxn>
                <a:cxn ang="0">
                  <a:pos x="30" y="8"/>
                </a:cxn>
                <a:cxn ang="0">
                  <a:pos x="35" y="0"/>
                </a:cxn>
                <a:cxn ang="0">
                  <a:pos x="45" y="0"/>
                </a:cxn>
                <a:cxn ang="0">
                  <a:pos x="39" y="9"/>
                </a:cxn>
                <a:cxn ang="0">
                  <a:pos x="39" y="9"/>
                </a:cxn>
              </a:cxnLst>
              <a:rect l="0" t="0" r="r" b="b"/>
              <a:pathLst>
                <a:path w="63" h="62">
                  <a:moveTo>
                    <a:pt x="39" y="9"/>
                  </a:moveTo>
                  <a:lnTo>
                    <a:pt x="46" y="17"/>
                  </a:lnTo>
                  <a:lnTo>
                    <a:pt x="60" y="11"/>
                  </a:lnTo>
                  <a:lnTo>
                    <a:pt x="63" y="19"/>
                  </a:lnTo>
                  <a:lnTo>
                    <a:pt x="63" y="36"/>
                  </a:lnTo>
                  <a:lnTo>
                    <a:pt x="56" y="51"/>
                  </a:lnTo>
                  <a:lnTo>
                    <a:pt x="9" y="62"/>
                  </a:lnTo>
                  <a:lnTo>
                    <a:pt x="0" y="51"/>
                  </a:lnTo>
                  <a:lnTo>
                    <a:pt x="9" y="51"/>
                  </a:lnTo>
                  <a:lnTo>
                    <a:pt x="22" y="34"/>
                  </a:lnTo>
                  <a:lnTo>
                    <a:pt x="7" y="28"/>
                  </a:lnTo>
                  <a:lnTo>
                    <a:pt x="17" y="23"/>
                  </a:lnTo>
                  <a:lnTo>
                    <a:pt x="9" y="19"/>
                  </a:lnTo>
                  <a:lnTo>
                    <a:pt x="13" y="13"/>
                  </a:lnTo>
                  <a:lnTo>
                    <a:pt x="30" y="13"/>
                  </a:lnTo>
                  <a:lnTo>
                    <a:pt x="35" y="9"/>
                  </a:lnTo>
                  <a:lnTo>
                    <a:pt x="30" y="8"/>
                  </a:lnTo>
                  <a:lnTo>
                    <a:pt x="35" y="0"/>
                  </a:lnTo>
                  <a:lnTo>
                    <a:pt x="45" y="0"/>
                  </a:lnTo>
                  <a:lnTo>
                    <a:pt x="39" y="9"/>
                  </a:lnTo>
                  <a:lnTo>
                    <a:pt x="39" y="9"/>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22" name="Freeform 6134"/>
            <p:cNvSpPr>
              <a:spLocks/>
            </p:cNvSpPr>
            <p:nvPr>
              <p:custDataLst>
                <p:tags r:id="rId402"/>
              </p:custDataLst>
            </p:nvPr>
          </p:nvSpPr>
          <p:spPr bwMode="gray">
            <a:xfrm>
              <a:off x="6694614" y="3096688"/>
              <a:ext cx="68004" cy="65513"/>
            </a:xfrm>
            <a:custGeom>
              <a:avLst/>
              <a:gdLst/>
              <a:ahLst/>
              <a:cxnLst>
                <a:cxn ang="0">
                  <a:pos x="0" y="40"/>
                </a:cxn>
                <a:cxn ang="0">
                  <a:pos x="17" y="15"/>
                </a:cxn>
                <a:cxn ang="0">
                  <a:pos x="21" y="14"/>
                </a:cxn>
                <a:cxn ang="0">
                  <a:pos x="21" y="21"/>
                </a:cxn>
                <a:cxn ang="0">
                  <a:pos x="27" y="25"/>
                </a:cxn>
                <a:cxn ang="0">
                  <a:pos x="32" y="21"/>
                </a:cxn>
                <a:cxn ang="0">
                  <a:pos x="27" y="8"/>
                </a:cxn>
                <a:cxn ang="0">
                  <a:pos x="53" y="0"/>
                </a:cxn>
                <a:cxn ang="0">
                  <a:pos x="44" y="19"/>
                </a:cxn>
                <a:cxn ang="0">
                  <a:pos x="47" y="25"/>
                </a:cxn>
                <a:cxn ang="0">
                  <a:pos x="32" y="32"/>
                </a:cxn>
                <a:cxn ang="0">
                  <a:pos x="32" y="51"/>
                </a:cxn>
                <a:cxn ang="0">
                  <a:pos x="21" y="40"/>
                </a:cxn>
                <a:cxn ang="0">
                  <a:pos x="21" y="40"/>
                </a:cxn>
                <a:cxn ang="0">
                  <a:pos x="0" y="40"/>
                </a:cxn>
                <a:cxn ang="0">
                  <a:pos x="0" y="40"/>
                </a:cxn>
                <a:cxn ang="0">
                  <a:pos x="0" y="40"/>
                </a:cxn>
              </a:cxnLst>
              <a:rect l="0" t="0" r="r" b="b"/>
              <a:pathLst>
                <a:path w="53" h="51">
                  <a:moveTo>
                    <a:pt x="0" y="40"/>
                  </a:moveTo>
                  <a:lnTo>
                    <a:pt x="17" y="15"/>
                  </a:lnTo>
                  <a:lnTo>
                    <a:pt x="21" y="14"/>
                  </a:lnTo>
                  <a:lnTo>
                    <a:pt x="21" y="21"/>
                  </a:lnTo>
                  <a:lnTo>
                    <a:pt x="27" y="25"/>
                  </a:lnTo>
                  <a:lnTo>
                    <a:pt x="32" y="21"/>
                  </a:lnTo>
                  <a:lnTo>
                    <a:pt x="27" y="8"/>
                  </a:lnTo>
                  <a:lnTo>
                    <a:pt x="53" y="0"/>
                  </a:lnTo>
                  <a:lnTo>
                    <a:pt x="44" y="19"/>
                  </a:lnTo>
                  <a:lnTo>
                    <a:pt x="47" y="25"/>
                  </a:lnTo>
                  <a:lnTo>
                    <a:pt x="32" y="32"/>
                  </a:lnTo>
                  <a:lnTo>
                    <a:pt x="32" y="51"/>
                  </a:lnTo>
                  <a:lnTo>
                    <a:pt x="21" y="40"/>
                  </a:lnTo>
                  <a:lnTo>
                    <a:pt x="21" y="40"/>
                  </a:lnTo>
                  <a:lnTo>
                    <a:pt x="0" y="40"/>
                  </a:lnTo>
                  <a:lnTo>
                    <a:pt x="0" y="40"/>
                  </a:lnTo>
                  <a:lnTo>
                    <a:pt x="0" y="4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23" name="Freeform 6135"/>
            <p:cNvSpPr>
              <a:spLocks/>
            </p:cNvSpPr>
            <p:nvPr>
              <p:custDataLst>
                <p:tags r:id="rId403"/>
              </p:custDataLst>
            </p:nvPr>
          </p:nvSpPr>
          <p:spPr bwMode="gray">
            <a:xfrm>
              <a:off x="6933269" y="3178900"/>
              <a:ext cx="101364" cy="52667"/>
            </a:xfrm>
            <a:custGeom>
              <a:avLst/>
              <a:gdLst/>
              <a:ahLst/>
              <a:cxnLst>
                <a:cxn ang="0">
                  <a:pos x="0" y="23"/>
                </a:cxn>
                <a:cxn ang="0">
                  <a:pos x="6" y="36"/>
                </a:cxn>
                <a:cxn ang="0">
                  <a:pos x="21" y="41"/>
                </a:cxn>
                <a:cxn ang="0">
                  <a:pos x="56" y="26"/>
                </a:cxn>
                <a:cxn ang="0">
                  <a:pos x="75" y="28"/>
                </a:cxn>
                <a:cxn ang="0">
                  <a:pos x="79" y="17"/>
                </a:cxn>
                <a:cxn ang="0">
                  <a:pos x="65" y="11"/>
                </a:cxn>
                <a:cxn ang="0">
                  <a:pos x="45" y="15"/>
                </a:cxn>
                <a:cxn ang="0">
                  <a:pos x="17" y="0"/>
                </a:cxn>
                <a:cxn ang="0">
                  <a:pos x="0" y="23"/>
                </a:cxn>
                <a:cxn ang="0">
                  <a:pos x="0" y="23"/>
                </a:cxn>
              </a:cxnLst>
              <a:rect l="0" t="0" r="r" b="b"/>
              <a:pathLst>
                <a:path w="79" h="41">
                  <a:moveTo>
                    <a:pt x="0" y="23"/>
                  </a:moveTo>
                  <a:lnTo>
                    <a:pt x="6" y="36"/>
                  </a:lnTo>
                  <a:lnTo>
                    <a:pt x="21" y="41"/>
                  </a:lnTo>
                  <a:lnTo>
                    <a:pt x="56" y="26"/>
                  </a:lnTo>
                  <a:lnTo>
                    <a:pt x="75" y="28"/>
                  </a:lnTo>
                  <a:lnTo>
                    <a:pt x="79" y="17"/>
                  </a:lnTo>
                  <a:lnTo>
                    <a:pt x="65" y="11"/>
                  </a:lnTo>
                  <a:lnTo>
                    <a:pt x="45" y="15"/>
                  </a:lnTo>
                  <a:lnTo>
                    <a:pt x="17" y="0"/>
                  </a:lnTo>
                  <a:lnTo>
                    <a:pt x="0" y="23"/>
                  </a:lnTo>
                  <a:lnTo>
                    <a:pt x="0" y="2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24" name="Freeform 6136"/>
            <p:cNvSpPr>
              <a:spLocks/>
            </p:cNvSpPr>
            <p:nvPr>
              <p:custDataLst>
                <p:tags r:id="rId404"/>
              </p:custDataLst>
            </p:nvPr>
          </p:nvSpPr>
          <p:spPr bwMode="gray">
            <a:xfrm>
              <a:off x="6844736" y="3151924"/>
              <a:ext cx="110346" cy="57805"/>
            </a:xfrm>
            <a:custGeom>
              <a:avLst/>
              <a:gdLst/>
              <a:ahLst/>
              <a:cxnLst>
                <a:cxn ang="0">
                  <a:pos x="86" y="21"/>
                </a:cxn>
                <a:cxn ang="0">
                  <a:pos x="69" y="14"/>
                </a:cxn>
                <a:cxn ang="0">
                  <a:pos x="67" y="19"/>
                </a:cxn>
                <a:cxn ang="0">
                  <a:pos x="52" y="8"/>
                </a:cxn>
                <a:cxn ang="0">
                  <a:pos x="37" y="6"/>
                </a:cxn>
                <a:cxn ang="0">
                  <a:pos x="31" y="0"/>
                </a:cxn>
                <a:cxn ang="0">
                  <a:pos x="0" y="15"/>
                </a:cxn>
                <a:cxn ang="0">
                  <a:pos x="7" y="30"/>
                </a:cxn>
                <a:cxn ang="0">
                  <a:pos x="26" y="44"/>
                </a:cxn>
                <a:cxn ang="0">
                  <a:pos x="39" y="45"/>
                </a:cxn>
                <a:cxn ang="0">
                  <a:pos x="45" y="40"/>
                </a:cxn>
                <a:cxn ang="0">
                  <a:pos x="69" y="44"/>
                </a:cxn>
                <a:cxn ang="0">
                  <a:pos x="86" y="21"/>
                </a:cxn>
                <a:cxn ang="0">
                  <a:pos x="86" y="21"/>
                </a:cxn>
              </a:cxnLst>
              <a:rect l="0" t="0" r="r" b="b"/>
              <a:pathLst>
                <a:path w="86" h="45">
                  <a:moveTo>
                    <a:pt x="86" y="21"/>
                  </a:moveTo>
                  <a:lnTo>
                    <a:pt x="69" y="14"/>
                  </a:lnTo>
                  <a:lnTo>
                    <a:pt x="67" y="19"/>
                  </a:lnTo>
                  <a:lnTo>
                    <a:pt x="52" y="8"/>
                  </a:lnTo>
                  <a:lnTo>
                    <a:pt x="37" y="6"/>
                  </a:lnTo>
                  <a:lnTo>
                    <a:pt x="31" y="0"/>
                  </a:lnTo>
                  <a:lnTo>
                    <a:pt x="0" y="15"/>
                  </a:lnTo>
                  <a:lnTo>
                    <a:pt x="7" y="30"/>
                  </a:lnTo>
                  <a:lnTo>
                    <a:pt x="26" y="44"/>
                  </a:lnTo>
                  <a:lnTo>
                    <a:pt x="39" y="45"/>
                  </a:lnTo>
                  <a:lnTo>
                    <a:pt x="45" y="40"/>
                  </a:lnTo>
                  <a:lnTo>
                    <a:pt x="69" y="44"/>
                  </a:lnTo>
                  <a:lnTo>
                    <a:pt x="86" y="21"/>
                  </a:lnTo>
                  <a:lnTo>
                    <a:pt x="86" y="21"/>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25" name="Freeform 6137"/>
            <p:cNvSpPr>
              <a:spLocks noEditPoints="1"/>
            </p:cNvSpPr>
            <p:nvPr>
              <p:custDataLst>
                <p:tags r:id="rId405"/>
              </p:custDataLst>
            </p:nvPr>
          </p:nvSpPr>
          <p:spPr bwMode="gray">
            <a:xfrm>
              <a:off x="4299080" y="2668929"/>
              <a:ext cx="1343398" cy="700085"/>
            </a:xfrm>
            <a:custGeom>
              <a:avLst/>
              <a:gdLst/>
              <a:ahLst/>
              <a:cxnLst>
                <a:cxn ang="0">
                  <a:pos x="1041" y="333"/>
                </a:cxn>
                <a:cxn ang="0">
                  <a:pos x="1017" y="313"/>
                </a:cxn>
                <a:cxn ang="0">
                  <a:pos x="1004" y="273"/>
                </a:cxn>
                <a:cxn ang="0">
                  <a:pos x="927" y="255"/>
                </a:cxn>
                <a:cxn ang="0">
                  <a:pos x="895" y="184"/>
                </a:cxn>
                <a:cxn ang="0">
                  <a:pos x="820" y="212"/>
                </a:cxn>
                <a:cxn ang="0">
                  <a:pos x="787" y="292"/>
                </a:cxn>
                <a:cxn ang="0">
                  <a:pos x="680" y="347"/>
                </a:cxn>
                <a:cxn ang="0">
                  <a:pos x="599" y="247"/>
                </a:cxn>
                <a:cxn ang="0">
                  <a:pos x="657" y="180"/>
                </a:cxn>
                <a:cxn ang="0">
                  <a:pos x="785" y="122"/>
                </a:cxn>
                <a:cxn ang="0">
                  <a:pos x="862" y="99"/>
                </a:cxn>
                <a:cxn ang="0">
                  <a:pos x="839" y="65"/>
                </a:cxn>
                <a:cxn ang="0">
                  <a:pos x="790" y="73"/>
                </a:cxn>
                <a:cxn ang="0">
                  <a:pos x="768" y="34"/>
                </a:cxn>
                <a:cxn ang="0">
                  <a:pos x="815" y="0"/>
                </a:cxn>
                <a:cxn ang="0">
                  <a:pos x="732" y="71"/>
                </a:cxn>
                <a:cxn ang="0">
                  <a:pos x="684" y="86"/>
                </a:cxn>
                <a:cxn ang="0">
                  <a:pos x="674" y="84"/>
                </a:cxn>
                <a:cxn ang="0">
                  <a:pos x="538" y="90"/>
                </a:cxn>
                <a:cxn ang="0">
                  <a:pos x="455" y="95"/>
                </a:cxn>
                <a:cxn ang="0">
                  <a:pos x="399" y="65"/>
                </a:cxn>
                <a:cxn ang="0">
                  <a:pos x="358" y="69"/>
                </a:cxn>
                <a:cxn ang="0">
                  <a:pos x="268" y="71"/>
                </a:cxn>
                <a:cxn ang="0">
                  <a:pos x="0" y="221"/>
                </a:cxn>
                <a:cxn ang="0">
                  <a:pos x="58" y="243"/>
                </a:cxn>
                <a:cxn ang="0">
                  <a:pos x="24" y="328"/>
                </a:cxn>
                <a:cxn ang="0">
                  <a:pos x="67" y="416"/>
                </a:cxn>
                <a:cxn ang="0">
                  <a:pos x="524" y="435"/>
                </a:cxn>
                <a:cxn ang="0">
                  <a:pos x="588" y="461"/>
                </a:cxn>
                <a:cxn ang="0">
                  <a:pos x="637" y="496"/>
                </a:cxn>
                <a:cxn ang="0">
                  <a:pos x="569" y="545"/>
                </a:cxn>
                <a:cxn ang="0">
                  <a:pos x="641" y="511"/>
                </a:cxn>
                <a:cxn ang="0">
                  <a:pos x="781" y="483"/>
                </a:cxn>
                <a:cxn ang="0">
                  <a:pos x="867" y="476"/>
                </a:cxn>
                <a:cxn ang="0">
                  <a:pos x="869" y="496"/>
                </a:cxn>
                <a:cxn ang="0">
                  <a:pos x="918" y="474"/>
                </a:cxn>
                <a:cxn ang="0">
                  <a:pos x="869" y="442"/>
                </a:cxn>
                <a:cxn ang="0">
                  <a:pos x="832" y="425"/>
                </a:cxn>
                <a:cxn ang="0">
                  <a:pos x="871" y="397"/>
                </a:cxn>
                <a:cxn ang="0">
                  <a:pos x="1047" y="343"/>
                </a:cxn>
                <a:cxn ang="0">
                  <a:pos x="395" y="110"/>
                </a:cxn>
                <a:cxn ang="0">
                  <a:pos x="363" y="135"/>
                </a:cxn>
                <a:cxn ang="0">
                  <a:pos x="354" y="125"/>
                </a:cxn>
                <a:cxn ang="0">
                  <a:pos x="365" y="184"/>
                </a:cxn>
                <a:cxn ang="0">
                  <a:pos x="435" y="184"/>
                </a:cxn>
                <a:cxn ang="0">
                  <a:pos x="397" y="228"/>
                </a:cxn>
                <a:cxn ang="0">
                  <a:pos x="431" y="375"/>
                </a:cxn>
                <a:cxn ang="0">
                  <a:pos x="431" y="352"/>
                </a:cxn>
                <a:cxn ang="0">
                  <a:pos x="438" y="348"/>
                </a:cxn>
                <a:cxn ang="0">
                  <a:pos x="463" y="369"/>
                </a:cxn>
                <a:cxn ang="0">
                  <a:pos x="459" y="332"/>
                </a:cxn>
                <a:cxn ang="0">
                  <a:pos x="451" y="283"/>
                </a:cxn>
              </a:cxnLst>
              <a:rect l="0" t="0" r="r" b="b"/>
              <a:pathLst>
                <a:path w="1047" h="545">
                  <a:moveTo>
                    <a:pt x="834" y="485"/>
                  </a:moveTo>
                  <a:lnTo>
                    <a:pt x="834" y="485"/>
                  </a:lnTo>
                  <a:lnTo>
                    <a:pt x="832" y="485"/>
                  </a:lnTo>
                  <a:lnTo>
                    <a:pt x="834" y="485"/>
                  </a:lnTo>
                  <a:close/>
                  <a:moveTo>
                    <a:pt x="1041" y="333"/>
                  </a:moveTo>
                  <a:lnTo>
                    <a:pt x="1032" y="333"/>
                  </a:lnTo>
                  <a:lnTo>
                    <a:pt x="1034" y="326"/>
                  </a:lnTo>
                  <a:lnTo>
                    <a:pt x="1021" y="324"/>
                  </a:lnTo>
                  <a:lnTo>
                    <a:pt x="1036" y="318"/>
                  </a:lnTo>
                  <a:lnTo>
                    <a:pt x="1017" y="313"/>
                  </a:lnTo>
                  <a:lnTo>
                    <a:pt x="1017" y="307"/>
                  </a:lnTo>
                  <a:lnTo>
                    <a:pt x="1002" y="305"/>
                  </a:lnTo>
                  <a:lnTo>
                    <a:pt x="1002" y="298"/>
                  </a:lnTo>
                  <a:lnTo>
                    <a:pt x="991" y="288"/>
                  </a:lnTo>
                  <a:lnTo>
                    <a:pt x="1004" y="273"/>
                  </a:lnTo>
                  <a:lnTo>
                    <a:pt x="989" y="219"/>
                  </a:lnTo>
                  <a:lnTo>
                    <a:pt x="972" y="228"/>
                  </a:lnTo>
                  <a:lnTo>
                    <a:pt x="972" y="234"/>
                  </a:lnTo>
                  <a:lnTo>
                    <a:pt x="965" y="242"/>
                  </a:lnTo>
                  <a:lnTo>
                    <a:pt x="927" y="255"/>
                  </a:lnTo>
                  <a:lnTo>
                    <a:pt x="916" y="238"/>
                  </a:lnTo>
                  <a:lnTo>
                    <a:pt x="933" y="208"/>
                  </a:lnTo>
                  <a:lnTo>
                    <a:pt x="907" y="202"/>
                  </a:lnTo>
                  <a:lnTo>
                    <a:pt x="914" y="197"/>
                  </a:lnTo>
                  <a:lnTo>
                    <a:pt x="895" y="184"/>
                  </a:lnTo>
                  <a:lnTo>
                    <a:pt x="848" y="182"/>
                  </a:lnTo>
                  <a:lnTo>
                    <a:pt x="837" y="187"/>
                  </a:lnTo>
                  <a:lnTo>
                    <a:pt x="832" y="193"/>
                  </a:lnTo>
                  <a:lnTo>
                    <a:pt x="837" y="197"/>
                  </a:lnTo>
                  <a:lnTo>
                    <a:pt x="820" y="212"/>
                  </a:lnTo>
                  <a:lnTo>
                    <a:pt x="824" y="215"/>
                  </a:lnTo>
                  <a:lnTo>
                    <a:pt x="817" y="230"/>
                  </a:lnTo>
                  <a:lnTo>
                    <a:pt x="790" y="245"/>
                  </a:lnTo>
                  <a:lnTo>
                    <a:pt x="800" y="253"/>
                  </a:lnTo>
                  <a:lnTo>
                    <a:pt x="787" y="292"/>
                  </a:lnTo>
                  <a:lnTo>
                    <a:pt x="734" y="317"/>
                  </a:lnTo>
                  <a:lnTo>
                    <a:pt x="727" y="360"/>
                  </a:lnTo>
                  <a:lnTo>
                    <a:pt x="699" y="375"/>
                  </a:lnTo>
                  <a:lnTo>
                    <a:pt x="697" y="380"/>
                  </a:lnTo>
                  <a:lnTo>
                    <a:pt x="680" y="347"/>
                  </a:lnTo>
                  <a:lnTo>
                    <a:pt x="702" y="311"/>
                  </a:lnTo>
                  <a:lnTo>
                    <a:pt x="667" y="305"/>
                  </a:lnTo>
                  <a:lnTo>
                    <a:pt x="609" y="272"/>
                  </a:lnTo>
                  <a:lnTo>
                    <a:pt x="588" y="277"/>
                  </a:lnTo>
                  <a:lnTo>
                    <a:pt x="599" y="247"/>
                  </a:lnTo>
                  <a:lnTo>
                    <a:pt x="583" y="247"/>
                  </a:lnTo>
                  <a:lnTo>
                    <a:pt x="583" y="240"/>
                  </a:lnTo>
                  <a:lnTo>
                    <a:pt x="616" y="206"/>
                  </a:lnTo>
                  <a:lnTo>
                    <a:pt x="652" y="189"/>
                  </a:lnTo>
                  <a:lnTo>
                    <a:pt x="657" y="180"/>
                  </a:lnTo>
                  <a:lnTo>
                    <a:pt x="686" y="176"/>
                  </a:lnTo>
                  <a:lnTo>
                    <a:pt x="708" y="157"/>
                  </a:lnTo>
                  <a:lnTo>
                    <a:pt x="727" y="157"/>
                  </a:lnTo>
                  <a:lnTo>
                    <a:pt x="757" y="142"/>
                  </a:lnTo>
                  <a:lnTo>
                    <a:pt x="785" y="122"/>
                  </a:lnTo>
                  <a:lnTo>
                    <a:pt x="779" y="118"/>
                  </a:lnTo>
                  <a:lnTo>
                    <a:pt x="796" y="116"/>
                  </a:lnTo>
                  <a:lnTo>
                    <a:pt x="813" y="122"/>
                  </a:lnTo>
                  <a:lnTo>
                    <a:pt x="850" y="109"/>
                  </a:lnTo>
                  <a:lnTo>
                    <a:pt x="862" y="99"/>
                  </a:lnTo>
                  <a:lnTo>
                    <a:pt x="848" y="95"/>
                  </a:lnTo>
                  <a:lnTo>
                    <a:pt x="878" y="75"/>
                  </a:lnTo>
                  <a:lnTo>
                    <a:pt x="865" y="73"/>
                  </a:lnTo>
                  <a:lnTo>
                    <a:pt x="867" y="67"/>
                  </a:lnTo>
                  <a:lnTo>
                    <a:pt x="839" y="65"/>
                  </a:lnTo>
                  <a:lnTo>
                    <a:pt x="819" y="92"/>
                  </a:lnTo>
                  <a:lnTo>
                    <a:pt x="783" y="105"/>
                  </a:lnTo>
                  <a:lnTo>
                    <a:pt x="781" y="95"/>
                  </a:lnTo>
                  <a:lnTo>
                    <a:pt x="794" y="80"/>
                  </a:lnTo>
                  <a:lnTo>
                    <a:pt x="790" y="73"/>
                  </a:lnTo>
                  <a:lnTo>
                    <a:pt x="770" y="84"/>
                  </a:lnTo>
                  <a:lnTo>
                    <a:pt x="766" y="69"/>
                  </a:lnTo>
                  <a:lnTo>
                    <a:pt x="757" y="65"/>
                  </a:lnTo>
                  <a:lnTo>
                    <a:pt x="775" y="60"/>
                  </a:lnTo>
                  <a:lnTo>
                    <a:pt x="768" y="34"/>
                  </a:lnTo>
                  <a:lnTo>
                    <a:pt x="781" y="28"/>
                  </a:lnTo>
                  <a:lnTo>
                    <a:pt x="781" y="22"/>
                  </a:lnTo>
                  <a:lnTo>
                    <a:pt x="807" y="21"/>
                  </a:lnTo>
                  <a:lnTo>
                    <a:pt x="843" y="4"/>
                  </a:lnTo>
                  <a:lnTo>
                    <a:pt x="815" y="0"/>
                  </a:lnTo>
                  <a:lnTo>
                    <a:pt x="779" y="7"/>
                  </a:lnTo>
                  <a:lnTo>
                    <a:pt x="757" y="36"/>
                  </a:lnTo>
                  <a:lnTo>
                    <a:pt x="716" y="56"/>
                  </a:lnTo>
                  <a:lnTo>
                    <a:pt x="719" y="65"/>
                  </a:lnTo>
                  <a:lnTo>
                    <a:pt x="732" y="71"/>
                  </a:lnTo>
                  <a:lnTo>
                    <a:pt x="719" y="77"/>
                  </a:lnTo>
                  <a:lnTo>
                    <a:pt x="717" y="84"/>
                  </a:lnTo>
                  <a:lnTo>
                    <a:pt x="684" y="101"/>
                  </a:lnTo>
                  <a:lnTo>
                    <a:pt x="676" y="95"/>
                  </a:lnTo>
                  <a:lnTo>
                    <a:pt x="684" y="86"/>
                  </a:lnTo>
                  <a:lnTo>
                    <a:pt x="704" y="80"/>
                  </a:lnTo>
                  <a:lnTo>
                    <a:pt x="702" y="73"/>
                  </a:lnTo>
                  <a:lnTo>
                    <a:pt x="693" y="65"/>
                  </a:lnTo>
                  <a:lnTo>
                    <a:pt x="661" y="77"/>
                  </a:lnTo>
                  <a:lnTo>
                    <a:pt x="674" y="84"/>
                  </a:lnTo>
                  <a:lnTo>
                    <a:pt x="652" y="99"/>
                  </a:lnTo>
                  <a:lnTo>
                    <a:pt x="616" y="97"/>
                  </a:lnTo>
                  <a:lnTo>
                    <a:pt x="592" y="88"/>
                  </a:lnTo>
                  <a:lnTo>
                    <a:pt x="586" y="79"/>
                  </a:lnTo>
                  <a:lnTo>
                    <a:pt x="538" y="90"/>
                  </a:lnTo>
                  <a:lnTo>
                    <a:pt x="547" y="94"/>
                  </a:lnTo>
                  <a:lnTo>
                    <a:pt x="536" y="99"/>
                  </a:lnTo>
                  <a:lnTo>
                    <a:pt x="519" y="94"/>
                  </a:lnTo>
                  <a:lnTo>
                    <a:pt x="479" y="99"/>
                  </a:lnTo>
                  <a:lnTo>
                    <a:pt x="455" y="95"/>
                  </a:lnTo>
                  <a:lnTo>
                    <a:pt x="478" y="90"/>
                  </a:lnTo>
                  <a:lnTo>
                    <a:pt x="478" y="82"/>
                  </a:lnTo>
                  <a:lnTo>
                    <a:pt x="436" y="75"/>
                  </a:lnTo>
                  <a:lnTo>
                    <a:pt x="418" y="65"/>
                  </a:lnTo>
                  <a:lnTo>
                    <a:pt x="399" y="65"/>
                  </a:lnTo>
                  <a:lnTo>
                    <a:pt x="384" y="71"/>
                  </a:lnTo>
                  <a:lnTo>
                    <a:pt x="376" y="71"/>
                  </a:lnTo>
                  <a:lnTo>
                    <a:pt x="386" y="62"/>
                  </a:lnTo>
                  <a:lnTo>
                    <a:pt x="363" y="71"/>
                  </a:lnTo>
                  <a:lnTo>
                    <a:pt x="358" y="69"/>
                  </a:lnTo>
                  <a:lnTo>
                    <a:pt x="361" y="60"/>
                  </a:lnTo>
                  <a:lnTo>
                    <a:pt x="356" y="52"/>
                  </a:lnTo>
                  <a:lnTo>
                    <a:pt x="324" y="65"/>
                  </a:lnTo>
                  <a:lnTo>
                    <a:pt x="328" y="58"/>
                  </a:lnTo>
                  <a:lnTo>
                    <a:pt x="268" y="71"/>
                  </a:lnTo>
                  <a:lnTo>
                    <a:pt x="251" y="69"/>
                  </a:lnTo>
                  <a:lnTo>
                    <a:pt x="225" y="80"/>
                  </a:lnTo>
                  <a:lnTo>
                    <a:pt x="185" y="67"/>
                  </a:lnTo>
                  <a:lnTo>
                    <a:pt x="2" y="217"/>
                  </a:lnTo>
                  <a:lnTo>
                    <a:pt x="0" y="221"/>
                  </a:lnTo>
                  <a:lnTo>
                    <a:pt x="22" y="219"/>
                  </a:lnTo>
                  <a:lnTo>
                    <a:pt x="17" y="223"/>
                  </a:lnTo>
                  <a:lnTo>
                    <a:pt x="22" y="242"/>
                  </a:lnTo>
                  <a:lnTo>
                    <a:pt x="62" y="228"/>
                  </a:lnTo>
                  <a:lnTo>
                    <a:pt x="58" y="243"/>
                  </a:lnTo>
                  <a:lnTo>
                    <a:pt x="64" y="247"/>
                  </a:lnTo>
                  <a:lnTo>
                    <a:pt x="52" y="281"/>
                  </a:lnTo>
                  <a:lnTo>
                    <a:pt x="67" y="294"/>
                  </a:lnTo>
                  <a:lnTo>
                    <a:pt x="51" y="311"/>
                  </a:lnTo>
                  <a:lnTo>
                    <a:pt x="24" y="328"/>
                  </a:lnTo>
                  <a:lnTo>
                    <a:pt x="26" y="352"/>
                  </a:lnTo>
                  <a:lnTo>
                    <a:pt x="34" y="358"/>
                  </a:lnTo>
                  <a:lnTo>
                    <a:pt x="26" y="376"/>
                  </a:lnTo>
                  <a:lnTo>
                    <a:pt x="47" y="391"/>
                  </a:lnTo>
                  <a:lnTo>
                    <a:pt x="67" y="416"/>
                  </a:lnTo>
                  <a:lnTo>
                    <a:pt x="455" y="416"/>
                  </a:lnTo>
                  <a:lnTo>
                    <a:pt x="465" y="408"/>
                  </a:lnTo>
                  <a:lnTo>
                    <a:pt x="468" y="421"/>
                  </a:lnTo>
                  <a:lnTo>
                    <a:pt x="526" y="435"/>
                  </a:lnTo>
                  <a:lnTo>
                    <a:pt x="524" y="435"/>
                  </a:lnTo>
                  <a:lnTo>
                    <a:pt x="560" y="416"/>
                  </a:lnTo>
                  <a:lnTo>
                    <a:pt x="581" y="420"/>
                  </a:lnTo>
                  <a:lnTo>
                    <a:pt x="583" y="436"/>
                  </a:lnTo>
                  <a:lnTo>
                    <a:pt x="596" y="436"/>
                  </a:lnTo>
                  <a:lnTo>
                    <a:pt x="588" y="461"/>
                  </a:lnTo>
                  <a:lnTo>
                    <a:pt x="594" y="465"/>
                  </a:lnTo>
                  <a:lnTo>
                    <a:pt x="592" y="465"/>
                  </a:lnTo>
                  <a:lnTo>
                    <a:pt x="639" y="472"/>
                  </a:lnTo>
                  <a:lnTo>
                    <a:pt x="644" y="491"/>
                  </a:lnTo>
                  <a:lnTo>
                    <a:pt x="637" y="496"/>
                  </a:lnTo>
                  <a:lnTo>
                    <a:pt x="622" y="485"/>
                  </a:lnTo>
                  <a:lnTo>
                    <a:pt x="603" y="519"/>
                  </a:lnTo>
                  <a:lnTo>
                    <a:pt x="592" y="523"/>
                  </a:lnTo>
                  <a:lnTo>
                    <a:pt x="592" y="523"/>
                  </a:lnTo>
                  <a:lnTo>
                    <a:pt x="569" y="545"/>
                  </a:lnTo>
                  <a:lnTo>
                    <a:pt x="601" y="532"/>
                  </a:lnTo>
                  <a:lnTo>
                    <a:pt x="642" y="528"/>
                  </a:lnTo>
                  <a:lnTo>
                    <a:pt x="642" y="519"/>
                  </a:lnTo>
                  <a:lnTo>
                    <a:pt x="631" y="519"/>
                  </a:lnTo>
                  <a:lnTo>
                    <a:pt x="641" y="511"/>
                  </a:lnTo>
                  <a:lnTo>
                    <a:pt x="678" y="508"/>
                  </a:lnTo>
                  <a:lnTo>
                    <a:pt x="695" y="500"/>
                  </a:lnTo>
                  <a:lnTo>
                    <a:pt x="717" y="489"/>
                  </a:lnTo>
                  <a:lnTo>
                    <a:pt x="762" y="489"/>
                  </a:lnTo>
                  <a:lnTo>
                    <a:pt x="781" y="483"/>
                  </a:lnTo>
                  <a:lnTo>
                    <a:pt x="813" y="444"/>
                  </a:lnTo>
                  <a:lnTo>
                    <a:pt x="834" y="450"/>
                  </a:lnTo>
                  <a:lnTo>
                    <a:pt x="826" y="476"/>
                  </a:lnTo>
                  <a:lnTo>
                    <a:pt x="834" y="485"/>
                  </a:lnTo>
                  <a:lnTo>
                    <a:pt x="867" y="476"/>
                  </a:lnTo>
                  <a:lnTo>
                    <a:pt x="865" y="481"/>
                  </a:lnTo>
                  <a:lnTo>
                    <a:pt x="875" y="481"/>
                  </a:lnTo>
                  <a:lnTo>
                    <a:pt x="839" y="504"/>
                  </a:lnTo>
                  <a:lnTo>
                    <a:pt x="843" y="515"/>
                  </a:lnTo>
                  <a:lnTo>
                    <a:pt x="869" y="496"/>
                  </a:lnTo>
                  <a:lnTo>
                    <a:pt x="918" y="485"/>
                  </a:lnTo>
                  <a:lnTo>
                    <a:pt x="942" y="470"/>
                  </a:lnTo>
                  <a:lnTo>
                    <a:pt x="935" y="465"/>
                  </a:lnTo>
                  <a:lnTo>
                    <a:pt x="937" y="451"/>
                  </a:lnTo>
                  <a:lnTo>
                    <a:pt x="918" y="474"/>
                  </a:lnTo>
                  <a:lnTo>
                    <a:pt x="892" y="474"/>
                  </a:lnTo>
                  <a:lnTo>
                    <a:pt x="875" y="465"/>
                  </a:lnTo>
                  <a:lnTo>
                    <a:pt x="875" y="457"/>
                  </a:lnTo>
                  <a:lnTo>
                    <a:pt x="882" y="438"/>
                  </a:lnTo>
                  <a:lnTo>
                    <a:pt x="869" y="442"/>
                  </a:lnTo>
                  <a:lnTo>
                    <a:pt x="863" y="433"/>
                  </a:lnTo>
                  <a:lnTo>
                    <a:pt x="895" y="425"/>
                  </a:lnTo>
                  <a:lnTo>
                    <a:pt x="897" y="420"/>
                  </a:lnTo>
                  <a:lnTo>
                    <a:pt x="888" y="412"/>
                  </a:lnTo>
                  <a:lnTo>
                    <a:pt x="832" y="425"/>
                  </a:lnTo>
                  <a:lnTo>
                    <a:pt x="785" y="455"/>
                  </a:lnTo>
                  <a:lnTo>
                    <a:pt x="824" y="423"/>
                  </a:lnTo>
                  <a:lnTo>
                    <a:pt x="848" y="410"/>
                  </a:lnTo>
                  <a:lnTo>
                    <a:pt x="858" y="410"/>
                  </a:lnTo>
                  <a:lnTo>
                    <a:pt x="871" y="397"/>
                  </a:lnTo>
                  <a:lnTo>
                    <a:pt x="912" y="391"/>
                  </a:lnTo>
                  <a:lnTo>
                    <a:pt x="968" y="395"/>
                  </a:lnTo>
                  <a:lnTo>
                    <a:pt x="995" y="376"/>
                  </a:lnTo>
                  <a:lnTo>
                    <a:pt x="1041" y="361"/>
                  </a:lnTo>
                  <a:lnTo>
                    <a:pt x="1047" y="343"/>
                  </a:lnTo>
                  <a:lnTo>
                    <a:pt x="1041" y="333"/>
                  </a:lnTo>
                  <a:close/>
                  <a:moveTo>
                    <a:pt x="346" y="122"/>
                  </a:moveTo>
                  <a:lnTo>
                    <a:pt x="305" y="124"/>
                  </a:lnTo>
                  <a:lnTo>
                    <a:pt x="386" y="107"/>
                  </a:lnTo>
                  <a:lnTo>
                    <a:pt x="395" y="110"/>
                  </a:lnTo>
                  <a:lnTo>
                    <a:pt x="367" y="118"/>
                  </a:lnTo>
                  <a:lnTo>
                    <a:pt x="403" y="118"/>
                  </a:lnTo>
                  <a:lnTo>
                    <a:pt x="380" y="131"/>
                  </a:lnTo>
                  <a:lnTo>
                    <a:pt x="363" y="127"/>
                  </a:lnTo>
                  <a:lnTo>
                    <a:pt x="363" y="135"/>
                  </a:lnTo>
                  <a:lnTo>
                    <a:pt x="333" y="144"/>
                  </a:lnTo>
                  <a:lnTo>
                    <a:pt x="352" y="131"/>
                  </a:lnTo>
                  <a:lnTo>
                    <a:pt x="328" y="142"/>
                  </a:lnTo>
                  <a:lnTo>
                    <a:pt x="309" y="142"/>
                  </a:lnTo>
                  <a:lnTo>
                    <a:pt x="354" y="125"/>
                  </a:lnTo>
                  <a:lnTo>
                    <a:pt x="346" y="122"/>
                  </a:lnTo>
                  <a:close/>
                  <a:moveTo>
                    <a:pt x="324" y="204"/>
                  </a:moveTo>
                  <a:lnTo>
                    <a:pt x="339" y="204"/>
                  </a:lnTo>
                  <a:lnTo>
                    <a:pt x="367" y="193"/>
                  </a:lnTo>
                  <a:lnTo>
                    <a:pt x="365" y="184"/>
                  </a:lnTo>
                  <a:lnTo>
                    <a:pt x="380" y="184"/>
                  </a:lnTo>
                  <a:lnTo>
                    <a:pt x="388" y="191"/>
                  </a:lnTo>
                  <a:lnTo>
                    <a:pt x="431" y="176"/>
                  </a:lnTo>
                  <a:lnTo>
                    <a:pt x="435" y="180"/>
                  </a:lnTo>
                  <a:lnTo>
                    <a:pt x="435" y="184"/>
                  </a:lnTo>
                  <a:lnTo>
                    <a:pt x="406" y="189"/>
                  </a:lnTo>
                  <a:lnTo>
                    <a:pt x="360" y="208"/>
                  </a:lnTo>
                  <a:lnTo>
                    <a:pt x="332" y="210"/>
                  </a:lnTo>
                  <a:lnTo>
                    <a:pt x="324" y="204"/>
                  </a:lnTo>
                  <a:close/>
                  <a:moveTo>
                    <a:pt x="397" y="228"/>
                  </a:moveTo>
                  <a:lnTo>
                    <a:pt x="420" y="238"/>
                  </a:lnTo>
                  <a:lnTo>
                    <a:pt x="360" y="247"/>
                  </a:lnTo>
                  <a:lnTo>
                    <a:pt x="397" y="228"/>
                  </a:lnTo>
                  <a:close/>
                  <a:moveTo>
                    <a:pt x="438" y="369"/>
                  </a:moveTo>
                  <a:lnTo>
                    <a:pt x="431" y="375"/>
                  </a:lnTo>
                  <a:lnTo>
                    <a:pt x="433" y="393"/>
                  </a:lnTo>
                  <a:lnTo>
                    <a:pt x="421" y="395"/>
                  </a:lnTo>
                  <a:lnTo>
                    <a:pt x="429" y="376"/>
                  </a:lnTo>
                  <a:lnTo>
                    <a:pt x="418" y="365"/>
                  </a:lnTo>
                  <a:lnTo>
                    <a:pt x="431" y="352"/>
                  </a:lnTo>
                  <a:lnTo>
                    <a:pt x="429" y="348"/>
                  </a:lnTo>
                  <a:lnTo>
                    <a:pt x="420" y="352"/>
                  </a:lnTo>
                  <a:lnTo>
                    <a:pt x="421" y="343"/>
                  </a:lnTo>
                  <a:lnTo>
                    <a:pt x="433" y="343"/>
                  </a:lnTo>
                  <a:lnTo>
                    <a:pt x="438" y="348"/>
                  </a:lnTo>
                  <a:lnTo>
                    <a:pt x="423" y="369"/>
                  </a:lnTo>
                  <a:lnTo>
                    <a:pt x="438" y="369"/>
                  </a:lnTo>
                  <a:close/>
                  <a:moveTo>
                    <a:pt x="468" y="376"/>
                  </a:moveTo>
                  <a:lnTo>
                    <a:pt x="448" y="391"/>
                  </a:lnTo>
                  <a:lnTo>
                    <a:pt x="463" y="369"/>
                  </a:lnTo>
                  <a:lnTo>
                    <a:pt x="455" y="373"/>
                  </a:lnTo>
                  <a:lnTo>
                    <a:pt x="459" y="363"/>
                  </a:lnTo>
                  <a:lnTo>
                    <a:pt x="450" y="363"/>
                  </a:lnTo>
                  <a:lnTo>
                    <a:pt x="451" y="339"/>
                  </a:lnTo>
                  <a:lnTo>
                    <a:pt x="459" y="332"/>
                  </a:lnTo>
                  <a:lnTo>
                    <a:pt x="474" y="333"/>
                  </a:lnTo>
                  <a:lnTo>
                    <a:pt x="468" y="376"/>
                  </a:lnTo>
                  <a:close/>
                  <a:moveTo>
                    <a:pt x="474" y="264"/>
                  </a:moveTo>
                  <a:lnTo>
                    <a:pt x="463" y="268"/>
                  </a:lnTo>
                  <a:lnTo>
                    <a:pt x="451" y="283"/>
                  </a:lnTo>
                  <a:lnTo>
                    <a:pt x="436" y="287"/>
                  </a:lnTo>
                  <a:lnTo>
                    <a:pt x="474" y="255"/>
                  </a:lnTo>
                  <a:lnTo>
                    <a:pt x="474" y="264"/>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26" name="Freeform 6138"/>
            <p:cNvSpPr>
              <a:spLocks noEditPoints="1"/>
            </p:cNvSpPr>
            <p:nvPr>
              <p:custDataLst>
                <p:tags r:id="rId406"/>
              </p:custDataLst>
            </p:nvPr>
          </p:nvSpPr>
          <p:spPr bwMode="gray">
            <a:xfrm>
              <a:off x="7476018" y="3056866"/>
              <a:ext cx="740344" cy="331416"/>
            </a:xfrm>
            <a:custGeom>
              <a:avLst/>
              <a:gdLst/>
              <a:ahLst/>
              <a:cxnLst>
                <a:cxn ang="0">
                  <a:pos x="564" y="101"/>
                </a:cxn>
                <a:cxn ang="0">
                  <a:pos x="545" y="103"/>
                </a:cxn>
                <a:cxn ang="0">
                  <a:pos x="484" y="84"/>
                </a:cxn>
                <a:cxn ang="0">
                  <a:pos x="465" y="82"/>
                </a:cxn>
                <a:cxn ang="0">
                  <a:pos x="392" y="26"/>
                </a:cxn>
                <a:cxn ang="0">
                  <a:pos x="377" y="22"/>
                </a:cxn>
                <a:cxn ang="0">
                  <a:pos x="352" y="35"/>
                </a:cxn>
                <a:cxn ang="0">
                  <a:pos x="336" y="26"/>
                </a:cxn>
                <a:cxn ang="0">
                  <a:pos x="317" y="22"/>
                </a:cxn>
                <a:cxn ang="0">
                  <a:pos x="304" y="3"/>
                </a:cxn>
                <a:cxn ang="0">
                  <a:pos x="272" y="9"/>
                </a:cxn>
                <a:cxn ang="0">
                  <a:pos x="201" y="26"/>
                </a:cxn>
                <a:cxn ang="0">
                  <a:pos x="182" y="33"/>
                </a:cxn>
                <a:cxn ang="0">
                  <a:pos x="186" y="43"/>
                </a:cxn>
                <a:cxn ang="0">
                  <a:pos x="188" y="56"/>
                </a:cxn>
                <a:cxn ang="0">
                  <a:pos x="203" y="73"/>
                </a:cxn>
                <a:cxn ang="0">
                  <a:pos x="174" y="84"/>
                </a:cxn>
                <a:cxn ang="0">
                  <a:pos x="135" y="76"/>
                </a:cxn>
                <a:cxn ang="0">
                  <a:pos x="105" y="76"/>
                </a:cxn>
                <a:cxn ang="0">
                  <a:pos x="88" y="69"/>
                </a:cxn>
                <a:cxn ang="0">
                  <a:pos x="62" y="69"/>
                </a:cxn>
                <a:cxn ang="0">
                  <a:pos x="32" y="76"/>
                </a:cxn>
                <a:cxn ang="0">
                  <a:pos x="28" y="95"/>
                </a:cxn>
                <a:cxn ang="0">
                  <a:pos x="8" y="88"/>
                </a:cxn>
                <a:cxn ang="0">
                  <a:pos x="8" y="125"/>
                </a:cxn>
                <a:cxn ang="0">
                  <a:pos x="26" y="136"/>
                </a:cxn>
                <a:cxn ang="0">
                  <a:pos x="32" y="157"/>
                </a:cxn>
                <a:cxn ang="0">
                  <a:pos x="43" y="157"/>
                </a:cxn>
                <a:cxn ang="0">
                  <a:pos x="94" y="148"/>
                </a:cxn>
                <a:cxn ang="0">
                  <a:pos x="124" y="181"/>
                </a:cxn>
                <a:cxn ang="0">
                  <a:pos x="81" y="187"/>
                </a:cxn>
                <a:cxn ang="0">
                  <a:pos x="70" y="193"/>
                </a:cxn>
                <a:cxn ang="0">
                  <a:pos x="77" y="202"/>
                </a:cxn>
                <a:cxn ang="0">
                  <a:pos x="107" y="226"/>
                </a:cxn>
                <a:cxn ang="0">
                  <a:pos x="109" y="241"/>
                </a:cxn>
                <a:cxn ang="0">
                  <a:pos x="131" y="234"/>
                </a:cxn>
                <a:cxn ang="0">
                  <a:pos x="165" y="254"/>
                </a:cxn>
                <a:cxn ang="0">
                  <a:pos x="186" y="174"/>
                </a:cxn>
                <a:cxn ang="0">
                  <a:pos x="188" y="170"/>
                </a:cxn>
                <a:cxn ang="0">
                  <a:pos x="201" y="163"/>
                </a:cxn>
                <a:cxn ang="0">
                  <a:pos x="204" y="159"/>
                </a:cxn>
                <a:cxn ang="0">
                  <a:pos x="221" y="172"/>
                </a:cxn>
                <a:cxn ang="0">
                  <a:pos x="227" y="193"/>
                </a:cxn>
                <a:cxn ang="0">
                  <a:pos x="227" y="202"/>
                </a:cxn>
                <a:cxn ang="0">
                  <a:pos x="287" y="209"/>
                </a:cxn>
                <a:cxn ang="0">
                  <a:pos x="311" y="241"/>
                </a:cxn>
                <a:cxn ang="0">
                  <a:pos x="326" y="254"/>
                </a:cxn>
                <a:cxn ang="0">
                  <a:pos x="379" y="239"/>
                </a:cxn>
                <a:cxn ang="0">
                  <a:pos x="382" y="228"/>
                </a:cxn>
                <a:cxn ang="0">
                  <a:pos x="416" y="222"/>
                </a:cxn>
                <a:cxn ang="0">
                  <a:pos x="444" y="224"/>
                </a:cxn>
                <a:cxn ang="0">
                  <a:pos x="519" y="236"/>
                </a:cxn>
                <a:cxn ang="0">
                  <a:pos x="504" y="191"/>
                </a:cxn>
                <a:cxn ang="0">
                  <a:pos x="532" y="183"/>
                </a:cxn>
                <a:cxn ang="0">
                  <a:pos x="560" y="153"/>
                </a:cxn>
                <a:cxn ang="0">
                  <a:pos x="564" y="125"/>
                </a:cxn>
                <a:cxn ang="0">
                  <a:pos x="577" y="112"/>
                </a:cxn>
                <a:cxn ang="0">
                  <a:pos x="454" y="157"/>
                </a:cxn>
                <a:cxn ang="0">
                  <a:pos x="410" y="168"/>
                </a:cxn>
                <a:cxn ang="0">
                  <a:pos x="401" y="176"/>
                </a:cxn>
                <a:cxn ang="0">
                  <a:pos x="414" y="155"/>
                </a:cxn>
                <a:cxn ang="0">
                  <a:pos x="465" y="163"/>
                </a:cxn>
              </a:cxnLst>
              <a:rect l="0" t="0" r="r" b="b"/>
              <a:pathLst>
                <a:path w="577" h="258">
                  <a:moveTo>
                    <a:pt x="577" y="112"/>
                  </a:moveTo>
                  <a:lnTo>
                    <a:pt x="564" y="101"/>
                  </a:lnTo>
                  <a:lnTo>
                    <a:pt x="560" y="106"/>
                  </a:lnTo>
                  <a:lnTo>
                    <a:pt x="545" y="103"/>
                  </a:lnTo>
                  <a:lnTo>
                    <a:pt x="512" y="80"/>
                  </a:lnTo>
                  <a:lnTo>
                    <a:pt x="484" y="84"/>
                  </a:lnTo>
                  <a:lnTo>
                    <a:pt x="470" y="73"/>
                  </a:lnTo>
                  <a:lnTo>
                    <a:pt x="465" y="82"/>
                  </a:lnTo>
                  <a:lnTo>
                    <a:pt x="416" y="39"/>
                  </a:lnTo>
                  <a:lnTo>
                    <a:pt x="392" y="26"/>
                  </a:lnTo>
                  <a:lnTo>
                    <a:pt x="392" y="18"/>
                  </a:lnTo>
                  <a:lnTo>
                    <a:pt x="377" y="22"/>
                  </a:lnTo>
                  <a:lnTo>
                    <a:pt x="367" y="33"/>
                  </a:lnTo>
                  <a:lnTo>
                    <a:pt x="352" y="35"/>
                  </a:lnTo>
                  <a:lnTo>
                    <a:pt x="352" y="24"/>
                  </a:lnTo>
                  <a:lnTo>
                    <a:pt x="336" y="26"/>
                  </a:lnTo>
                  <a:lnTo>
                    <a:pt x="328" y="18"/>
                  </a:lnTo>
                  <a:lnTo>
                    <a:pt x="317" y="22"/>
                  </a:lnTo>
                  <a:lnTo>
                    <a:pt x="315" y="13"/>
                  </a:lnTo>
                  <a:lnTo>
                    <a:pt x="304" y="3"/>
                  </a:lnTo>
                  <a:lnTo>
                    <a:pt x="279" y="0"/>
                  </a:lnTo>
                  <a:lnTo>
                    <a:pt x="272" y="9"/>
                  </a:lnTo>
                  <a:lnTo>
                    <a:pt x="244" y="13"/>
                  </a:lnTo>
                  <a:lnTo>
                    <a:pt x="201" y="26"/>
                  </a:lnTo>
                  <a:lnTo>
                    <a:pt x="178" y="26"/>
                  </a:lnTo>
                  <a:lnTo>
                    <a:pt x="182" y="33"/>
                  </a:lnTo>
                  <a:lnTo>
                    <a:pt x="189" y="33"/>
                  </a:lnTo>
                  <a:lnTo>
                    <a:pt x="186" y="43"/>
                  </a:lnTo>
                  <a:lnTo>
                    <a:pt x="182" y="46"/>
                  </a:lnTo>
                  <a:lnTo>
                    <a:pt x="188" y="56"/>
                  </a:lnTo>
                  <a:lnTo>
                    <a:pt x="176" y="63"/>
                  </a:lnTo>
                  <a:lnTo>
                    <a:pt x="203" y="73"/>
                  </a:lnTo>
                  <a:lnTo>
                    <a:pt x="197" y="84"/>
                  </a:lnTo>
                  <a:lnTo>
                    <a:pt x="174" y="84"/>
                  </a:lnTo>
                  <a:lnTo>
                    <a:pt x="156" y="76"/>
                  </a:lnTo>
                  <a:lnTo>
                    <a:pt x="135" y="76"/>
                  </a:lnTo>
                  <a:lnTo>
                    <a:pt x="122" y="86"/>
                  </a:lnTo>
                  <a:lnTo>
                    <a:pt x="105" y="76"/>
                  </a:lnTo>
                  <a:lnTo>
                    <a:pt x="105" y="86"/>
                  </a:lnTo>
                  <a:lnTo>
                    <a:pt x="88" y="69"/>
                  </a:lnTo>
                  <a:lnTo>
                    <a:pt x="68" y="65"/>
                  </a:lnTo>
                  <a:lnTo>
                    <a:pt x="62" y="69"/>
                  </a:lnTo>
                  <a:lnTo>
                    <a:pt x="47" y="67"/>
                  </a:lnTo>
                  <a:lnTo>
                    <a:pt x="32" y="76"/>
                  </a:lnTo>
                  <a:lnTo>
                    <a:pt x="21" y="86"/>
                  </a:lnTo>
                  <a:lnTo>
                    <a:pt x="28" y="95"/>
                  </a:lnTo>
                  <a:lnTo>
                    <a:pt x="23" y="99"/>
                  </a:lnTo>
                  <a:lnTo>
                    <a:pt x="8" y="88"/>
                  </a:lnTo>
                  <a:lnTo>
                    <a:pt x="0" y="123"/>
                  </a:lnTo>
                  <a:lnTo>
                    <a:pt x="8" y="125"/>
                  </a:lnTo>
                  <a:lnTo>
                    <a:pt x="15" y="136"/>
                  </a:lnTo>
                  <a:lnTo>
                    <a:pt x="26" y="136"/>
                  </a:lnTo>
                  <a:lnTo>
                    <a:pt x="41" y="155"/>
                  </a:lnTo>
                  <a:lnTo>
                    <a:pt x="32" y="157"/>
                  </a:lnTo>
                  <a:lnTo>
                    <a:pt x="45" y="163"/>
                  </a:lnTo>
                  <a:lnTo>
                    <a:pt x="43" y="157"/>
                  </a:lnTo>
                  <a:lnTo>
                    <a:pt x="70" y="146"/>
                  </a:lnTo>
                  <a:lnTo>
                    <a:pt x="94" y="148"/>
                  </a:lnTo>
                  <a:lnTo>
                    <a:pt x="113" y="161"/>
                  </a:lnTo>
                  <a:lnTo>
                    <a:pt x="124" y="181"/>
                  </a:lnTo>
                  <a:lnTo>
                    <a:pt x="88" y="179"/>
                  </a:lnTo>
                  <a:lnTo>
                    <a:pt x="81" y="187"/>
                  </a:lnTo>
                  <a:lnTo>
                    <a:pt x="86" y="194"/>
                  </a:lnTo>
                  <a:lnTo>
                    <a:pt x="70" y="193"/>
                  </a:lnTo>
                  <a:lnTo>
                    <a:pt x="68" y="198"/>
                  </a:lnTo>
                  <a:lnTo>
                    <a:pt x="77" y="202"/>
                  </a:lnTo>
                  <a:lnTo>
                    <a:pt x="98" y="226"/>
                  </a:lnTo>
                  <a:lnTo>
                    <a:pt x="107" y="226"/>
                  </a:lnTo>
                  <a:lnTo>
                    <a:pt x="107" y="237"/>
                  </a:lnTo>
                  <a:lnTo>
                    <a:pt x="109" y="241"/>
                  </a:lnTo>
                  <a:lnTo>
                    <a:pt x="118" y="236"/>
                  </a:lnTo>
                  <a:lnTo>
                    <a:pt x="131" y="234"/>
                  </a:lnTo>
                  <a:lnTo>
                    <a:pt x="156" y="254"/>
                  </a:lnTo>
                  <a:lnTo>
                    <a:pt x="165" y="254"/>
                  </a:lnTo>
                  <a:lnTo>
                    <a:pt x="148" y="185"/>
                  </a:lnTo>
                  <a:lnTo>
                    <a:pt x="186" y="174"/>
                  </a:lnTo>
                  <a:lnTo>
                    <a:pt x="186" y="176"/>
                  </a:lnTo>
                  <a:lnTo>
                    <a:pt x="188" y="170"/>
                  </a:lnTo>
                  <a:lnTo>
                    <a:pt x="199" y="170"/>
                  </a:lnTo>
                  <a:lnTo>
                    <a:pt x="201" y="163"/>
                  </a:lnTo>
                  <a:lnTo>
                    <a:pt x="204" y="164"/>
                  </a:lnTo>
                  <a:lnTo>
                    <a:pt x="204" y="159"/>
                  </a:lnTo>
                  <a:lnTo>
                    <a:pt x="225" y="155"/>
                  </a:lnTo>
                  <a:lnTo>
                    <a:pt x="221" y="172"/>
                  </a:lnTo>
                  <a:lnTo>
                    <a:pt x="236" y="187"/>
                  </a:lnTo>
                  <a:lnTo>
                    <a:pt x="227" y="193"/>
                  </a:lnTo>
                  <a:lnTo>
                    <a:pt x="229" y="202"/>
                  </a:lnTo>
                  <a:lnTo>
                    <a:pt x="227" y="202"/>
                  </a:lnTo>
                  <a:lnTo>
                    <a:pt x="244" y="213"/>
                  </a:lnTo>
                  <a:lnTo>
                    <a:pt x="287" y="209"/>
                  </a:lnTo>
                  <a:lnTo>
                    <a:pt x="309" y="222"/>
                  </a:lnTo>
                  <a:lnTo>
                    <a:pt x="311" y="241"/>
                  </a:lnTo>
                  <a:lnTo>
                    <a:pt x="321" y="243"/>
                  </a:lnTo>
                  <a:lnTo>
                    <a:pt x="326" y="254"/>
                  </a:lnTo>
                  <a:lnTo>
                    <a:pt x="356" y="258"/>
                  </a:lnTo>
                  <a:lnTo>
                    <a:pt x="379" y="239"/>
                  </a:lnTo>
                  <a:lnTo>
                    <a:pt x="380" y="234"/>
                  </a:lnTo>
                  <a:lnTo>
                    <a:pt x="382" y="228"/>
                  </a:lnTo>
                  <a:lnTo>
                    <a:pt x="416" y="232"/>
                  </a:lnTo>
                  <a:lnTo>
                    <a:pt x="416" y="222"/>
                  </a:lnTo>
                  <a:lnTo>
                    <a:pt x="424" y="219"/>
                  </a:lnTo>
                  <a:lnTo>
                    <a:pt x="444" y="224"/>
                  </a:lnTo>
                  <a:lnTo>
                    <a:pt x="502" y="226"/>
                  </a:lnTo>
                  <a:lnTo>
                    <a:pt x="519" y="236"/>
                  </a:lnTo>
                  <a:lnTo>
                    <a:pt x="523" y="219"/>
                  </a:lnTo>
                  <a:lnTo>
                    <a:pt x="504" y="191"/>
                  </a:lnTo>
                  <a:lnTo>
                    <a:pt x="508" y="185"/>
                  </a:lnTo>
                  <a:lnTo>
                    <a:pt x="532" y="183"/>
                  </a:lnTo>
                  <a:lnTo>
                    <a:pt x="530" y="146"/>
                  </a:lnTo>
                  <a:lnTo>
                    <a:pt x="560" y="153"/>
                  </a:lnTo>
                  <a:lnTo>
                    <a:pt x="568" y="148"/>
                  </a:lnTo>
                  <a:lnTo>
                    <a:pt x="564" y="125"/>
                  </a:lnTo>
                  <a:lnTo>
                    <a:pt x="575" y="119"/>
                  </a:lnTo>
                  <a:lnTo>
                    <a:pt x="577" y="112"/>
                  </a:lnTo>
                  <a:close/>
                  <a:moveTo>
                    <a:pt x="465" y="163"/>
                  </a:moveTo>
                  <a:lnTo>
                    <a:pt x="454" y="157"/>
                  </a:lnTo>
                  <a:lnTo>
                    <a:pt x="422" y="161"/>
                  </a:lnTo>
                  <a:lnTo>
                    <a:pt x="410" y="168"/>
                  </a:lnTo>
                  <a:lnTo>
                    <a:pt x="416" y="187"/>
                  </a:lnTo>
                  <a:lnTo>
                    <a:pt x="401" y="176"/>
                  </a:lnTo>
                  <a:lnTo>
                    <a:pt x="401" y="164"/>
                  </a:lnTo>
                  <a:lnTo>
                    <a:pt x="414" y="155"/>
                  </a:lnTo>
                  <a:lnTo>
                    <a:pt x="480" y="155"/>
                  </a:lnTo>
                  <a:lnTo>
                    <a:pt x="465" y="163"/>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27" name="Freeform 6139"/>
            <p:cNvSpPr>
              <a:spLocks noEditPoints="1"/>
            </p:cNvSpPr>
            <p:nvPr>
              <p:custDataLst>
                <p:tags r:id="rId407"/>
              </p:custDataLst>
            </p:nvPr>
          </p:nvSpPr>
          <p:spPr bwMode="gray">
            <a:xfrm>
              <a:off x="7093656" y="2603417"/>
              <a:ext cx="2548222" cy="779728"/>
            </a:xfrm>
            <a:custGeom>
              <a:avLst/>
              <a:gdLst/>
              <a:ahLst/>
              <a:cxnLst>
                <a:cxn ang="0">
                  <a:pos x="1890" y="184"/>
                </a:cxn>
                <a:cxn ang="0">
                  <a:pos x="1904" y="158"/>
                </a:cxn>
                <a:cxn ang="0">
                  <a:pos x="1653" y="120"/>
                </a:cxn>
                <a:cxn ang="0">
                  <a:pos x="1430" y="100"/>
                </a:cxn>
                <a:cxn ang="0">
                  <a:pos x="1214" y="94"/>
                </a:cxn>
                <a:cxn ang="0">
                  <a:pos x="1044" y="58"/>
                </a:cxn>
                <a:cxn ang="0">
                  <a:pos x="909" y="45"/>
                </a:cxn>
                <a:cxn ang="0">
                  <a:pos x="868" y="58"/>
                </a:cxn>
                <a:cxn ang="0">
                  <a:pos x="770" y="0"/>
                </a:cxn>
                <a:cxn ang="0">
                  <a:pos x="568" y="60"/>
                </a:cxn>
                <a:cxn ang="0">
                  <a:pos x="532" y="94"/>
                </a:cxn>
                <a:cxn ang="0">
                  <a:pos x="560" y="150"/>
                </a:cxn>
                <a:cxn ang="0">
                  <a:pos x="504" y="98"/>
                </a:cxn>
                <a:cxn ang="0">
                  <a:pos x="448" y="107"/>
                </a:cxn>
                <a:cxn ang="0">
                  <a:pos x="373" y="133"/>
                </a:cxn>
                <a:cxn ang="0">
                  <a:pos x="240" y="150"/>
                </a:cxn>
                <a:cxn ang="0">
                  <a:pos x="188" y="141"/>
                </a:cxn>
                <a:cxn ang="0">
                  <a:pos x="160" y="199"/>
                </a:cxn>
                <a:cxn ang="0">
                  <a:pos x="81" y="176"/>
                </a:cxn>
                <a:cxn ang="0">
                  <a:pos x="27" y="118"/>
                </a:cxn>
                <a:cxn ang="0">
                  <a:pos x="25" y="193"/>
                </a:cxn>
                <a:cxn ang="0">
                  <a:pos x="14" y="285"/>
                </a:cxn>
                <a:cxn ang="0">
                  <a:pos x="62" y="364"/>
                </a:cxn>
                <a:cxn ang="0">
                  <a:pos x="118" y="416"/>
                </a:cxn>
                <a:cxn ang="0">
                  <a:pos x="199" y="467"/>
                </a:cxn>
                <a:cxn ang="0">
                  <a:pos x="201" y="501"/>
                </a:cxn>
                <a:cxn ang="0">
                  <a:pos x="220" y="566"/>
                </a:cxn>
                <a:cxn ang="0">
                  <a:pos x="349" y="596"/>
                </a:cxn>
                <a:cxn ang="0">
                  <a:pos x="330" y="510"/>
                </a:cxn>
                <a:cxn ang="0">
                  <a:pos x="321" y="452"/>
                </a:cxn>
                <a:cxn ang="0">
                  <a:pos x="386" y="422"/>
                </a:cxn>
                <a:cxn ang="0">
                  <a:pos x="495" y="437"/>
                </a:cxn>
                <a:cxn ang="0">
                  <a:pos x="480" y="386"/>
                </a:cxn>
                <a:cxn ang="0">
                  <a:pos x="613" y="366"/>
                </a:cxn>
                <a:cxn ang="0">
                  <a:pos x="675" y="375"/>
                </a:cxn>
                <a:cxn ang="0">
                  <a:pos x="810" y="433"/>
                </a:cxn>
                <a:cxn ang="0">
                  <a:pos x="888" y="459"/>
                </a:cxn>
                <a:cxn ang="0">
                  <a:pos x="1019" y="411"/>
                </a:cxn>
                <a:cxn ang="0">
                  <a:pos x="1282" y="450"/>
                </a:cxn>
                <a:cxn ang="0">
                  <a:pos x="1340" y="388"/>
                </a:cxn>
                <a:cxn ang="0">
                  <a:pos x="1531" y="491"/>
                </a:cxn>
                <a:cxn ang="0">
                  <a:pos x="1564" y="568"/>
                </a:cxn>
                <a:cxn ang="0">
                  <a:pos x="1632" y="527"/>
                </a:cxn>
                <a:cxn ang="0">
                  <a:pos x="1533" y="388"/>
                </a:cxn>
                <a:cxn ang="0">
                  <a:pos x="1512" y="293"/>
                </a:cxn>
                <a:cxn ang="0">
                  <a:pos x="1682" y="289"/>
                </a:cxn>
                <a:cxn ang="0">
                  <a:pos x="1729" y="248"/>
                </a:cxn>
                <a:cxn ang="0">
                  <a:pos x="1742" y="309"/>
                </a:cxn>
                <a:cxn ang="0">
                  <a:pos x="1834" y="399"/>
                </a:cxn>
                <a:cxn ang="0">
                  <a:pos x="1827" y="343"/>
                </a:cxn>
                <a:cxn ang="0">
                  <a:pos x="1776" y="278"/>
                </a:cxn>
                <a:cxn ang="0">
                  <a:pos x="1860" y="268"/>
                </a:cxn>
                <a:cxn ang="0">
                  <a:pos x="53" y="276"/>
                </a:cxn>
                <a:cxn ang="0">
                  <a:pos x="107" y="259"/>
                </a:cxn>
                <a:cxn ang="0">
                  <a:pos x="107" y="235"/>
                </a:cxn>
                <a:cxn ang="0">
                  <a:pos x="1085" y="420"/>
                </a:cxn>
              </a:cxnLst>
              <a:rect l="0" t="0" r="r" b="b"/>
              <a:pathLst>
                <a:path w="1986" h="607">
                  <a:moveTo>
                    <a:pt x="1857" y="197"/>
                  </a:moveTo>
                  <a:lnTo>
                    <a:pt x="1874" y="197"/>
                  </a:lnTo>
                  <a:lnTo>
                    <a:pt x="1883" y="191"/>
                  </a:lnTo>
                  <a:lnTo>
                    <a:pt x="1877" y="182"/>
                  </a:lnTo>
                  <a:lnTo>
                    <a:pt x="1862" y="176"/>
                  </a:lnTo>
                  <a:lnTo>
                    <a:pt x="1866" y="171"/>
                  </a:lnTo>
                  <a:lnTo>
                    <a:pt x="1890" y="184"/>
                  </a:lnTo>
                  <a:lnTo>
                    <a:pt x="1924" y="186"/>
                  </a:lnTo>
                  <a:lnTo>
                    <a:pt x="1986" y="205"/>
                  </a:lnTo>
                  <a:lnTo>
                    <a:pt x="1969" y="184"/>
                  </a:lnTo>
                  <a:lnTo>
                    <a:pt x="1982" y="184"/>
                  </a:lnTo>
                  <a:lnTo>
                    <a:pt x="1984" y="175"/>
                  </a:lnTo>
                  <a:lnTo>
                    <a:pt x="1941" y="161"/>
                  </a:lnTo>
                  <a:lnTo>
                    <a:pt x="1904" y="158"/>
                  </a:lnTo>
                  <a:lnTo>
                    <a:pt x="1791" y="128"/>
                  </a:lnTo>
                  <a:lnTo>
                    <a:pt x="1729" y="116"/>
                  </a:lnTo>
                  <a:lnTo>
                    <a:pt x="1658" y="111"/>
                  </a:lnTo>
                  <a:lnTo>
                    <a:pt x="1684" y="128"/>
                  </a:lnTo>
                  <a:lnTo>
                    <a:pt x="1675" y="131"/>
                  </a:lnTo>
                  <a:lnTo>
                    <a:pt x="1641" y="120"/>
                  </a:lnTo>
                  <a:lnTo>
                    <a:pt x="1653" y="120"/>
                  </a:lnTo>
                  <a:lnTo>
                    <a:pt x="1649" y="116"/>
                  </a:lnTo>
                  <a:lnTo>
                    <a:pt x="1632" y="113"/>
                  </a:lnTo>
                  <a:lnTo>
                    <a:pt x="1630" y="122"/>
                  </a:lnTo>
                  <a:lnTo>
                    <a:pt x="1551" y="120"/>
                  </a:lnTo>
                  <a:lnTo>
                    <a:pt x="1531" y="109"/>
                  </a:lnTo>
                  <a:lnTo>
                    <a:pt x="1503" y="100"/>
                  </a:lnTo>
                  <a:lnTo>
                    <a:pt x="1430" y="100"/>
                  </a:lnTo>
                  <a:lnTo>
                    <a:pt x="1373" y="81"/>
                  </a:lnTo>
                  <a:lnTo>
                    <a:pt x="1255" y="72"/>
                  </a:lnTo>
                  <a:lnTo>
                    <a:pt x="1252" y="75"/>
                  </a:lnTo>
                  <a:lnTo>
                    <a:pt x="1252" y="79"/>
                  </a:lnTo>
                  <a:lnTo>
                    <a:pt x="1276" y="90"/>
                  </a:lnTo>
                  <a:lnTo>
                    <a:pt x="1224" y="87"/>
                  </a:lnTo>
                  <a:lnTo>
                    <a:pt x="1214" y="94"/>
                  </a:lnTo>
                  <a:lnTo>
                    <a:pt x="1180" y="85"/>
                  </a:lnTo>
                  <a:lnTo>
                    <a:pt x="1190" y="98"/>
                  </a:lnTo>
                  <a:lnTo>
                    <a:pt x="1186" y="102"/>
                  </a:lnTo>
                  <a:lnTo>
                    <a:pt x="1139" y="85"/>
                  </a:lnTo>
                  <a:lnTo>
                    <a:pt x="1136" y="72"/>
                  </a:lnTo>
                  <a:lnTo>
                    <a:pt x="1113" y="64"/>
                  </a:lnTo>
                  <a:lnTo>
                    <a:pt x="1044" y="58"/>
                  </a:lnTo>
                  <a:lnTo>
                    <a:pt x="1059" y="68"/>
                  </a:lnTo>
                  <a:lnTo>
                    <a:pt x="1021" y="68"/>
                  </a:lnTo>
                  <a:lnTo>
                    <a:pt x="1001" y="66"/>
                  </a:lnTo>
                  <a:lnTo>
                    <a:pt x="997" y="58"/>
                  </a:lnTo>
                  <a:lnTo>
                    <a:pt x="941" y="60"/>
                  </a:lnTo>
                  <a:lnTo>
                    <a:pt x="924" y="47"/>
                  </a:lnTo>
                  <a:lnTo>
                    <a:pt x="909" y="45"/>
                  </a:lnTo>
                  <a:lnTo>
                    <a:pt x="905" y="49"/>
                  </a:lnTo>
                  <a:lnTo>
                    <a:pt x="931" y="58"/>
                  </a:lnTo>
                  <a:lnTo>
                    <a:pt x="894" y="53"/>
                  </a:lnTo>
                  <a:lnTo>
                    <a:pt x="890" y="57"/>
                  </a:lnTo>
                  <a:lnTo>
                    <a:pt x="903" y="60"/>
                  </a:lnTo>
                  <a:lnTo>
                    <a:pt x="866" y="66"/>
                  </a:lnTo>
                  <a:lnTo>
                    <a:pt x="868" y="58"/>
                  </a:lnTo>
                  <a:lnTo>
                    <a:pt x="913" y="34"/>
                  </a:lnTo>
                  <a:lnTo>
                    <a:pt x="907" y="28"/>
                  </a:lnTo>
                  <a:lnTo>
                    <a:pt x="864" y="15"/>
                  </a:lnTo>
                  <a:lnTo>
                    <a:pt x="815" y="17"/>
                  </a:lnTo>
                  <a:lnTo>
                    <a:pt x="819" y="10"/>
                  </a:lnTo>
                  <a:lnTo>
                    <a:pt x="796" y="4"/>
                  </a:lnTo>
                  <a:lnTo>
                    <a:pt x="770" y="0"/>
                  </a:lnTo>
                  <a:lnTo>
                    <a:pt x="750" y="10"/>
                  </a:lnTo>
                  <a:lnTo>
                    <a:pt x="744" y="23"/>
                  </a:lnTo>
                  <a:lnTo>
                    <a:pt x="680" y="23"/>
                  </a:lnTo>
                  <a:lnTo>
                    <a:pt x="639" y="34"/>
                  </a:lnTo>
                  <a:lnTo>
                    <a:pt x="624" y="43"/>
                  </a:lnTo>
                  <a:lnTo>
                    <a:pt x="637" y="55"/>
                  </a:lnTo>
                  <a:lnTo>
                    <a:pt x="568" y="60"/>
                  </a:lnTo>
                  <a:lnTo>
                    <a:pt x="585" y="77"/>
                  </a:lnTo>
                  <a:lnTo>
                    <a:pt x="615" y="85"/>
                  </a:lnTo>
                  <a:lnTo>
                    <a:pt x="602" y="87"/>
                  </a:lnTo>
                  <a:lnTo>
                    <a:pt x="547" y="73"/>
                  </a:lnTo>
                  <a:lnTo>
                    <a:pt x="536" y="85"/>
                  </a:lnTo>
                  <a:lnTo>
                    <a:pt x="572" y="98"/>
                  </a:lnTo>
                  <a:lnTo>
                    <a:pt x="532" y="94"/>
                  </a:lnTo>
                  <a:lnTo>
                    <a:pt x="521" y="77"/>
                  </a:lnTo>
                  <a:lnTo>
                    <a:pt x="508" y="94"/>
                  </a:lnTo>
                  <a:lnTo>
                    <a:pt x="529" y="103"/>
                  </a:lnTo>
                  <a:lnTo>
                    <a:pt x="529" y="118"/>
                  </a:lnTo>
                  <a:lnTo>
                    <a:pt x="536" y="128"/>
                  </a:lnTo>
                  <a:lnTo>
                    <a:pt x="547" y="131"/>
                  </a:lnTo>
                  <a:lnTo>
                    <a:pt x="560" y="150"/>
                  </a:lnTo>
                  <a:lnTo>
                    <a:pt x="549" y="161"/>
                  </a:lnTo>
                  <a:lnTo>
                    <a:pt x="532" y="173"/>
                  </a:lnTo>
                  <a:lnTo>
                    <a:pt x="516" y="165"/>
                  </a:lnTo>
                  <a:lnTo>
                    <a:pt x="534" y="154"/>
                  </a:lnTo>
                  <a:lnTo>
                    <a:pt x="536" y="135"/>
                  </a:lnTo>
                  <a:lnTo>
                    <a:pt x="521" y="128"/>
                  </a:lnTo>
                  <a:lnTo>
                    <a:pt x="504" y="98"/>
                  </a:lnTo>
                  <a:lnTo>
                    <a:pt x="491" y="90"/>
                  </a:lnTo>
                  <a:lnTo>
                    <a:pt x="491" y="73"/>
                  </a:lnTo>
                  <a:lnTo>
                    <a:pt x="474" y="66"/>
                  </a:lnTo>
                  <a:lnTo>
                    <a:pt x="465" y="60"/>
                  </a:lnTo>
                  <a:lnTo>
                    <a:pt x="454" y="62"/>
                  </a:lnTo>
                  <a:lnTo>
                    <a:pt x="439" y="94"/>
                  </a:lnTo>
                  <a:lnTo>
                    <a:pt x="448" y="107"/>
                  </a:lnTo>
                  <a:lnTo>
                    <a:pt x="448" y="118"/>
                  </a:lnTo>
                  <a:lnTo>
                    <a:pt x="482" y="131"/>
                  </a:lnTo>
                  <a:lnTo>
                    <a:pt x="480" y="141"/>
                  </a:lnTo>
                  <a:lnTo>
                    <a:pt x="351" y="105"/>
                  </a:lnTo>
                  <a:lnTo>
                    <a:pt x="349" y="111"/>
                  </a:lnTo>
                  <a:lnTo>
                    <a:pt x="386" y="128"/>
                  </a:lnTo>
                  <a:lnTo>
                    <a:pt x="373" y="133"/>
                  </a:lnTo>
                  <a:lnTo>
                    <a:pt x="375" y="139"/>
                  </a:lnTo>
                  <a:lnTo>
                    <a:pt x="366" y="137"/>
                  </a:lnTo>
                  <a:lnTo>
                    <a:pt x="362" y="128"/>
                  </a:lnTo>
                  <a:lnTo>
                    <a:pt x="319" y="135"/>
                  </a:lnTo>
                  <a:lnTo>
                    <a:pt x="317" y="143"/>
                  </a:lnTo>
                  <a:lnTo>
                    <a:pt x="300" y="128"/>
                  </a:lnTo>
                  <a:lnTo>
                    <a:pt x="240" y="150"/>
                  </a:lnTo>
                  <a:lnTo>
                    <a:pt x="242" y="158"/>
                  </a:lnTo>
                  <a:lnTo>
                    <a:pt x="233" y="161"/>
                  </a:lnTo>
                  <a:lnTo>
                    <a:pt x="201" y="154"/>
                  </a:lnTo>
                  <a:lnTo>
                    <a:pt x="220" y="146"/>
                  </a:lnTo>
                  <a:lnTo>
                    <a:pt x="212" y="141"/>
                  </a:lnTo>
                  <a:lnTo>
                    <a:pt x="176" y="133"/>
                  </a:lnTo>
                  <a:lnTo>
                    <a:pt x="188" y="141"/>
                  </a:lnTo>
                  <a:lnTo>
                    <a:pt x="188" y="158"/>
                  </a:lnTo>
                  <a:lnTo>
                    <a:pt x="197" y="160"/>
                  </a:lnTo>
                  <a:lnTo>
                    <a:pt x="201" y="169"/>
                  </a:lnTo>
                  <a:lnTo>
                    <a:pt x="195" y="173"/>
                  </a:lnTo>
                  <a:lnTo>
                    <a:pt x="173" y="169"/>
                  </a:lnTo>
                  <a:lnTo>
                    <a:pt x="145" y="184"/>
                  </a:lnTo>
                  <a:lnTo>
                    <a:pt x="160" y="199"/>
                  </a:lnTo>
                  <a:lnTo>
                    <a:pt x="113" y="190"/>
                  </a:lnTo>
                  <a:lnTo>
                    <a:pt x="107" y="195"/>
                  </a:lnTo>
                  <a:lnTo>
                    <a:pt x="128" y="201"/>
                  </a:lnTo>
                  <a:lnTo>
                    <a:pt x="130" y="210"/>
                  </a:lnTo>
                  <a:lnTo>
                    <a:pt x="115" y="210"/>
                  </a:lnTo>
                  <a:lnTo>
                    <a:pt x="87" y="199"/>
                  </a:lnTo>
                  <a:lnTo>
                    <a:pt x="81" y="176"/>
                  </a:lnTo>
                  <a:lnTo>
                    <a:pt x="49" y="158"/>
                  </a:lnTo>
                  <a:lnTo>
                    <a:pt x="126" y="175"/>
                  </a:lnTo>
                  <a:lnTo>
                    <a:pt x="160" y="165"/>
                  </a:lnTo>
                  <a:lnTo>
                    <a:pt x="152" y="150"/>
                  </a:lnTo>
                  <a:lnTo>
                    <a:pt x="100" y="130"/>
                  </a:lnTo>
                  <a:lnTo>
                    <a:pt x="51" y="116"/>
                  </a:lnTo>
                  <a:lnTo>
                    <a:pt x="27" y="118"/>
                  </a:lnTo>
                  <a:lnTo>
                    <a:pt x="6" y="128"/>
                  </a:lnTo>
                  <a:lnTo>
                    <a:pt x="2" y="130"/>
                  </a:lnTo>
                  <a:lnTo>
                    <a:pt x="2" y="141"/>
                  </a:lnTo>
                  <a:lnTo>
                    <a:pt x="21" y="148"/>
                  </a:lnTo>
                  <a:lnTo>
                    <a:pt x="14" y="160"/>
                  </a:lnTo>
                  <a:lnTo>
                    <a:pt x="27" y="176"/>
                  </a:lnTo>
                  <a:lnTo>
                    <a:pt x="25" y="193"/>
                  </a:lnTo>
                  <a:lnTo>
                    <a:pt x="36" y="205"/>
                  </a:lnTo>
                  <a:lnTo>
                    <a:pt x="34" y="214"/>
                  </a:lnTo>
                  <a:lnTo>
                    <a:pt x="51" y="229"/>
                  </a:lnTo>
                  <a:lnTo>
                    <a:pt x="8" y="266"/>
                  </a:lnTo>
                  <a:lnTo>
                    <a:pt x="15" y="266"/>
                  </a:lnTo>
                  <a:lnTo>
                    <a:pt x="29" y="276"/>
                  </a:lnTo>
                  <a:lnTo>
                    <a:pt x="14" y="285"/>
                  </a:lnTo>
                  <a:lnTo>
                    <a:pt x="12" y="291"/>
                  </a:lnTo>
                  <a:lnTo>
                    <a:pt x="0" y="294"/>
                  </a:lnTo>
                  <a:lnTo>
                    <a:pt x="12" y="308"/>
                  </a:lnTo>
                  <a:lnTo>
                    <a:pt x="10" y="315"/>
                  </a:lnTo>
                  <a:lnTo>
                    <a:pt x="23" y="339"/>
                  </a:lnTo>
                  <a:lnTo>
                    <a:pt x="60" y="351"/>
                  </a:lnTo>
                  <a:lnTo>
                    <a:pt x="62" y="364"/>
                  </a:lnTo>
                  <a:lnTo>
                    <a:pt x="77" y="381"/>
                  </a:lnTo>
                  <a:lnTo>
                    <a:pt x="90" y="386"/>
                  </a:lnTo>
                  <a:lnTo>
                    <a:pt x="85" y="394"/>
                  </a:lnTo>
                  <a:lnTo>
                    <a:pt x="72" y="394"/>
                  </a:lnTo>
                  <a:lnTo>
                    <a:pt x="81" y="411"/>
                  </a:lnTo>
                  <a:lnTo>
                    <a:pt x="107" y="407"/>
                  </a:lnTo>
                  <a:lnTo>
                    <a:pt x="118" y="416"/>
                  </a:lnTo>
                  <a:lnTo>
                    <a:pt x="117" y="424"/>
                  </a:lnTo>
                  <a:lnTo>
                    <a:pt x="128" y="426"/>
                  </a:lnTo>
                  <a:lnTo>
                    <a:pt x="137" y="441"/>
                  </a:lnTo>
                  <a:lnTo>
                    <a:pt x="163" y="441"/>
                  </a:lnTo>
                  <a:lnTo>
                    <a:pt x="173" y="448"/>
                  </a:lnTo>
                  <a:lnTo>
                    <a:pt x="205" y="457"/>
                  </a:lnTo>
                  <a:lnTo>
                    <a:pt x="199" y="467"/>
                  </a:lnTo>
                  <a:lnTo>
                    <a:pt x="205" y="469"/>
                  </a:lnTo>
                  <a:lnTo>
                    <a:pt x="201" y="471"/>
                  </a:lnTo>
                  <a:lnTo>
                    <a:pt x="203" y="487"/>
                  </a:lnTo>
                  <a:lnTo>
                    <a:pt x="191" y="486"/>
                  </a:lnTo>
                  <a:lnTo>
                    <a:pt x="184" y="491"/>
                  </a:lnTo>
                  <a:lnTo>
                    <a:pt x="184" y="501"/>
                  </a:lnTo>
                  <a:lnTo>
                    <a:pt x="201" y="501"/>
                  </a:lnTo>
                  <a:lnTo>
                    <a:pt x="178" y="510"/>
                  </a:lnTo>
                  <a:lnTo>
                    <a:pt x="186" y="516"/>
                  </a:lnTo>
                  <a:lnTo>
                    <a:pt x="176" y="532"/>
                  </a:lnTo>
                  <a:lnTo>
                    <a:pt x="169" y="534"/>
                  </a:lnTo>
                  <a:lnTo>
                    <a:pt x="169" y="538"/>
                  </a:lnTo>
                  <a:lnTo>
                    <a:pt x="171" y="538"/>
                  </a:lnTo>
                  <a:lnTo>
                    <a:pt x="220" y="566"/>
                  </a:lnTo>
                  <a:lnTo>
                    <a:pt x="261" y="572"/>
                  </a:lnTo>
                  <a:lnTo>
                    <a:pt x="278" y="583"/>
                  </a:lnTo>
                  <a:lnTo>
                    <a:pt x="296" y="581"/>
                  </a:lnTo>
                  <a:lnTo>
                    <a:pt x="317" y="594"/>
                  </a:lnTo>
                  <a:lnTo>
                    <a:pt x="332" y="607"/>
                  </a:lnTo>
                  <a:lnTo>
                    <a:pt x="341" y="607"/>
                  </a:lnTo>
                  <a:lnTo>
                    <a:pt x="349" y="596"/>
                  </a:lnTo>
                  <a:lnTo>
                    <a:pt x="330" y="575"/>
                  </a:lnTo>
                  <a:lnTo>
                    <a:pt x="328" y="562"/>
                  </a:lnTo>
                  <a:lnTo>
                    <a:pt x="313" y="544"/>
                  </a:lnTo>
                  <a:lnTo>
                    <a:pt x="323" y="519"/>
                  </a:lnTo>
                  <a:lnTo>
                    <a:pt x="332" y="523"/>
                  </a:lnTo>
                  <a:lnTo>
                    <a:pt x="343" y="516"/>
                  </a:lnTo>
                  <a:lnTo>
                    <a:pt x="330" y="510"/>
                  </a:lnTo>
                  <a:lnTo>
                    <a:pt x="339" y="508"/>
                  </a:lnTo>
                  <a:lnTo>
                    <a:pt x="324" y="489"/>
                  </a:lnTo>
                  <a:lnTo>
                    <a:pt x="313" y="489"/>
                  </a:lnTo>
                  <a:lnTo>
                    <a:pt x="306" y="478"/>
                  </a:lnTo>
                  <a:lnTo>
                    <a:pt x="298" y="476"/>
                  </a:lnTo>
                  <a:lnTo>
                    <a:pt x="306" y="441"/>
                  </a:lnTo>
                  <a:lnTo>
                    <a:pt x="321" y="452"/>
                  </a:lnTo>
                  <a:lnTo>
                    <a:pt x="326" y="448"/>
                  </a:lnTo>
                  <a:lnTo>
                    <a:pt x="319" y="439"/>
                  </a:lnTo>
                  <a:lnTo>
                    <a:pt x="330" y="429"/>
                  </a:lnTo>
                  <a:lnTo>
                    <a:pt x="345" y="420"/>
                  </a:lnTo>
                  <a:lnTo>
                    <a:pt x="360" y="422"/>
                  </a:lnTo>
                  <a:lnTo>
                    <a:pt x="366" y="418"/>
                  </a:lnTo>
                  <a:lnTo>
                    <a:pt x="386" y="422"/>
                  </a:lnTo>
                  <a:lnTo>
                    <a:pt x="403" y="439"/>
                  </a:lnTo>
                  <a:lnTo>
                    <a:pt x="403" y="429"/>
                  </a:lnTo>
                  <a:lnTo>
                    <a:pt x="420" y="439"/>
                  </a:lnTo>
                  <a:lnTo>
                    <a:pt x="433" y="429"/>
                  </a:lnTo>
                  <a:lnTo>
                    <a:pt x="454" y="429"/>
                  </a:lnTo>
                  <a:lnTo>
                    <a:pt x="472" y="437"/>
                  </a:lnTo>
                  <a:lnTo>
                    <a:pt x="495" y="437"/>
                  </a:lnTo>
                  <a:lnTo>
                    <a:pt x="501" y="426"/>
                  </a:lnTo>
                  <a:lnTo>
                    <a:pt x="474" y="416"/>
                  </a:lnTo>
                  <a:lnTo>
                    <a:pt x="486" y="409"/>
                  </a:lnTo>
                  <a:lnTo>
                    <a:pt x="480" y="399"/>
                  </a:lnTo>
                  <a:lnTo>
                    <a:pt x="484" y="396"/>
                  </a:lnTo>
                  <a:lnTo>
                    <a:pt x="487" y="386"/>
                  </a:lnTo>
                  <a:lnTo>
                    <a:pt x="480" y="386"/>
                  </a:lnTo>
                  <a:lnTo>
                    <a:pt x="476" y="379"/>
                  </a:lnTo>
                  <a:lnTo>
                    <a:pt x="499" y="379"/>
                  </a:lnTo>
                  <a:lnTo>
                    <a:pt x="542" y="366"/>
                  </a:lnTo>
                  <a:lnTo>
                    <a:pt x="570" y="362"/>
                  </a:lnTo>
                  <a:lnTo>
                    <a:pt x="577" y="353"/>
                  </a:lnTo>
                  <a:lnTo>
                    <a:pt x="602" y="356"/>
                  </a:lnTo>
                  <a:lnTo>
                    <a:pt x="613" y="366"/>
                  </a:lnTo>
                  <a:lnTo>
                    <a:pt x="615" y="375"/>
                  </a:lnTo>
                  <a:lnTo>
                    <a:pt x="626" y="371"/>
                  </a:lnTo>
                  <a:lnTo>
                    <a:pt x="634" y="379"/>
                  </a:lnTo>
                  <a:lnTo>
                    <a:pt x="650" y="377"/>
                  </a:lnTo>
                  <a:lnTo>
                    <a:pt x="650" y="388"/>
                  </a:lnTo>
                  <a:lnTo>
                    <a:pt x="665" y="386"/>
                  </a:lnTo>
                  <a:lnTo>
                    <a:pt x="675" y="375"/>
                  </a:lnTo>
                  <a:lnTo>
                    <a:pt x="690" y="371"/>
                  </a:lnTo>
                  <a:lnTo>
                    <a:pt x="690" y="379"/>
                  </a:lnTo>
                  <a:lnTo>
                    <a:pt x="714" y="392"/>
                  </a:lnTo>
                  <a:lnTo>
                    <a:pt x="763" y="435"/>
                  </a:lnTo>
                  <a:lnTo>
                    <a:pt x="768" y="426"/>
                  </a:lnTo>
                  <a:lnTo>
                    <a:pt x="782" y="437"/>
                  </a:lnTo>
                  <a:lnTo>
                    <a:pt x="810" y="433"/>
                  </a:lnTo>
                  <a:lnTo>
                    <a:pt x="843" y="456"/>
                  </a:lnTo>
                  <a:lnTo>
                    <a:pt x="858" y="459"/>
                  </a:lnTo>
                  <a:lnTo>
                    <a:pt x="862" y="454"/>
                  </a:lnTo>
                  <a:lnTo>
                    <a:pt x="875" y="465"/>
                  </a:lnTo>
                  <a:lnTo>
                    <a:pt x="873" y="472"/>
                  </a:lnTo>
                  <a:lnTo>
                    <a:pt x="885" y="467"/>
                  </a:lnTo>
                  <a:lnTo>
                    <a:pt x="888" y="459"/>
                  </a:lnTo>
                  <a:lnTo>
                    <a:pt x="929" y="439"/>
                  </a:lnTo>
                  <a:lnTo>
                    <a:pt x="965" y="441"/>
                  </a:lnTo>
                  <a:lnTo>
                    <a:pt x="982" y="450"/>
                  </a:lnTo>
                  <a:lnTo>
                    <a:pt x="1019" y="448"/>
                  </a:lnTo>
                  <a:lnTo>
                    <a:pt x="1018" y="437"/>
                  </a:lnTo>
                  <a:lnTo>
                    <a:pt x="1008" y="424"/>
                  </a:lnTo>
                  <a:lnTo>
                    <a:pt x="1019" y="411"/>
                  </a:lnTo>
                  <a:lnTo>
                    <a:pt x="1062" y="422"/>
                  </a:lnTo>
                  <a:lnTo>
                    <a:pt x="1089" y="442"/>
                  </a:lnTo>
                  <a:lnTo>
                    <a:pt x="1124" y="439"/>
                  </a:lnTo>
                  <a:lnTo>
                    <a:pt x="1199" y="463"/>
                  </a:lnTo>
                  <a:lnTo>
                    <a:pt x="1239" y="457"/>
                  </a:lnTo>
                  <a:lnTo>
                    <a:pt x="1255" y="444"/>
                  </a:lnTo>
                  <a:lnTo>
                    <a:pt x="1282" y="450"/>
                  </a:lnTo>
                  <a:lnTo>
                    <a:pt x="1306" y="457"/>
                  </a:lnTo>
                  <a:lnTo>
                    <a:pt x="1321" y="448"/>
                  </a:lnTo>
                  <a:lnTo>
                    <a:pt x="1315" y="422"/>
                  </a:lnTo>
                  <a:lnTo>
                    <a:pt x="1319" y="416"/>
                  </a:lnTo>
                  <a:lnTo>
                    <a:pt x="1304" y="399"/>
                  </a:lnTo>
                  <a:lnTo>
                    <a:pt x="1310" y="394"/>
                  </a:lnTo>
                  <a:lnTo>
                    <a:pt x="1340" y="388"/>
                  </a:lnTo>
                  <a:lnTo>
                    <a:pt x="1381" y="399"/>
                  </a:lnTo>
                  <a:lnTo>
                    <a:pt x="1424" y="433"/>
                  </a:lnTo>
                  <a:lnTo>
                    <a:pt x="1443" y="456"/>
                  </a:lnTo>
                  <a:lnTo>
                    <a:pt x="1469" y="459"/>
                  </a:lnTo>
                  <a:lnTo>
                    <a:pt x="1497" y="471"/>
                  </a:lnTo>
                  <a:lnTo>
                    <a:pt x="1516" y="489"/>
                  </a:lnTo>
                  <a:lnTo>
                    <a:pt x="1531" y="491"/>
                  </a:lnTo>
                  <a:lnTo>
                    <a:pt x="1561" y="476"/>
                  </a:lnTo>
                  <a:lnTo>
                    <a:pt x="1570" y="493"/>
                  </a:lnTo>
                  <a:lnTo>
                    <a:pt x="1566" y="497"/>
                  </a:lnTo>
                  <a:lnTo>
                    <a:pt x="1572" y="538"/>
                  </a:lnTo>
                  <a:lnTo>
                    <a:pt x="1555" y="536"/>
                  </a:lnTo>
                  <a:lnTo>
                    <a:pt x="1548" y="546"/>
                  </a:lnTo>
                  <a:lnTo>
                    <a:pt x="1564" y="568"/>
                  </a:lnTo>
                  <a:lnTo>
                    <a:pt x="1566" y="583"/>
                  </a:lnTo>
                  <a:lnTo>
                    <a:pt x="1570" y="583"/>
                  </a:lnTo>
                  <a:lnTo>
                    <a:pt x="1572" y="570"/>
                  </a:lnTo>
                  <a:lnTo>
                    <a:pt x="1598" y="581"/>
                  </a:lnTo>
                  <a:lnTo>
                    <a:pt x="1619" y="568"/>
                  </a:lnTo>
                  <a:lnTo>
                    <a:pt x="1619" y="551"/>
                  </a:lnTo>
                  <a:lnTo>
                    <a:pt x="1632" y="527"/>
                  </a:lnTo>
                  <a:lnTo>
                    <a:pt x="1636" y="476"/>
                  </a:lnTo>
                  <a:lnTo>
                    <a:pt x="1609" y="431"/>
                  </a:lnTo>
                  <a:lnTo>
                    <a:pt x="1591" y="392"/>
                  </a:lnTo>
                  <a:lnTo>
                    <a:pt x="1551" y="375"/>
                  </a:lnTo>
                  <a:lnTo>
                    <a:pt x="1542" y="375"/>
                  </a:lnTo>
                  <a:lnTo>
                    <a:pt x="1542" y="384"/>
                  </a:lnTo>
                  <a:lnTo>
                    <a:pt x="1533" y="388"/>
                  </a:lnTo>
                  <a:lnTo>
                    <a:pt x="1525" y="373"/>
                  </a:lnTo>
                  <a:lnTo>
                    <a:pt x="1518" y="375"/>
                  </a:lnTo>
                  <a:lnTo>
                    <a:pt x="1520" y="383"/>
                  </a:lnTo>
                  <a:lnTo>
                    <a:pt x="1506" y="368"/>
                  </a:lnTo>
                  <a:lnTo>
                    <a:pt x="1482" y="362"/>
                  </a:lnTo>
                  <a:lnTo>
                    <a:pt x="1495" y="345"/>
                  </a:lnTo>
                  <a:lnTo>
                    <a:pt x="1512" y="293"/>
                  </a:lnTo>
                  <a:lnTo>
                    <a:pt x="1529" y="287"/>
                  </a:lnTo>
                  <a:lnTo>
                    <a:pt x="1598" y="289"/>
                  </a:lnTo>
                  <a:lnTo>
                    <a:pt x="1593" y="279"/>
                  </a:lnTo>
                  <a:lnTo>
                    <a:pt x="1598" y="279"/>
                  </a:lnTo>
                  <a:lnTo>
                    <a:pt x="1624" y="281"/>
                  </a:lnTo>
                  <a:lnTo>
                    <a:pt x="1638" y="294"/>
                  </a:lnTo>
                  <a:lnTo>
                    <a:pt x="1682" y="289"/>
                  </a:lnTo>
                  <a:lnTo>
                    <a:pt x="1664" y="283"/>
                  </a:lnTo>
                  <a:lnTo>
                    <a:pt x="1658" y="276"/>
                  </a:lnTo>
                  <a:lnTo>
                    <a:pt x="1662" y="248"/>
                  </a:lnTo>
                  <a:lnTo>
                    <a:pt x="1701" y="244"/>
                  </a:lnTo>
                  <a:lnTo>
                    <a:pt x="1705" y="253"/>
                  </a:lnTo>
                  <a:lnTo>
                    <a:pt x="1722" y="266"/>
                  </a:lnTo>
                  <a:lnTo>
                    <a:pt x="1729" y="248"/>
                  </a:lnTo>
                  <a:lnTo>
                    <a:pt x="1737" y="248"/>
                  </a:lnTo>
                  <a:lnTo>
                    <a:pt x="1726" y="233"/>
                  </a:lnTo>
                  <a:lnTo>
                    <a:pt x="1744" y="233"/>
                  </a:lnTo>
                  <a:lnTo>
                    <a:pt x="1741" y="238"/>
                  </a:lnTo>
                  <a:lnTo>
                    <a:pt x="1759" y="261"/>
                  </a:lnTo>
                  <a:lnTo>
                    <a:pt x="1746" y="268"/>
                  </a:lnTo>
                  <a:lnTo>
                    <a:pt x="1742" y="309"/>
                  </a:lnTo>
                  <a:lnTo>
                    <a:pt x="1729" y="313"/>
                  </a:lnTo>
                  <a:lnTo>
                    <a:pt x="1739" y="326"/>
                  </a:lnTo>
                  <a:lnTo>
                    <a:pt x="1733" y="328"/>
                  </a:lnTo>
                  <a:lnTo>
                    <a:pt x="1752" y="356"/>
                  </a:lnTo>
                  <a:lnTo>
                    <a:pt x="1838" y="433"/>
                  </a:lnTo>
                  <a:lnTo>
                    <a:pt x="1844" y="420"/>
                  </a:lnTo>
                  <a:lnTo>
                    <a:pt x="1834" y="399"/>
                  </a:lnTo>
                  <a:lnTo>
                    <a:pt x="1838" y="394"/>
                  </a:lnTo>
                  <a:lnTo>
                    <a:pt x="1847" y="394"/>
                  </a:lnTo>
                  <a:lnTo>
                    <a:pt x="1832" y="377"/>
                  </a:lnTo>
                  <a:lnTo>
                    <a:pt x="1834" y="371"/>
                  </a:lnTo>
                  <a:lnTo>
                    <a:pt x="1849" y="369"/>
                  </a:lnTo>
                  <a:lnTo>
                    <a:pt x="1851" y="366"/>
                  </a:lnTo>
                  <a:lnTo>
                    <a:pt x="1827" y="343"/>
                  </a:lnTo>
                  <a:lnTo>
                    <a:pt x="1842" y="341"/>
                  </a:lnTo>
                  <a:lnTo>
                    <a:pt x="1823" y="328"/>
                  </a:lnTo>
                  <a:lnTo>
                    <a:pt x="1814" y="315"/>
                  </a:lnTo>
                  <a:lnTo>
                    <a:pt x="1799" y="313"/>
                  </a:lnTo>
                  <a:lnTo>
                    <a:pt x="1789" y="306"/>
                  </a:lnTo>
                  <a:lnTo>
                    <a:pt x="1787" y="293"/>
                  </a:lnTo>
                  <a:lnTo>
                    <a:pt x="1776" y="278"/>
                  </a:lnTo>
                  <a:lnTo>
                    <a:pt x="1795" y="278"/>
                  </a:lnTo>
                  <a:lnTo>
                    <a:pt x="1804" y="270"/>
                  </a:lnTo>
                  <a:lnTo>
                    <a:pt x="1815" y="279"/>
                  </a:lnTo>
                  <a:lnTo>
                    <a:pt x="1815" y="272"/>
                  </a:lnTo>
                  <a:lnTo>
                    <a:pt x="1827" y="266"/>
                  </a:lnTo>
                  <a:lnTo>
                    <a:pt x="1866" y="276"/>
                  </a:lnTo>
                  <a:lnTo>
                    <a:pt x="1860" y="268"/>
                  </a:lnTo>
                  <a:lnTo>
                    <a:pt x="1887" y="240"/>
                  </a:lnTo>
                  <a:lnTo>
                    <a:pt x="1900" y="233"/>
                  </a:lnTo>
                  <a:lnTo>
                    <a:pt x="1930" y="238"/>
                  </a:lnTo>
                  <a:lnTo>
                    <a:pt x="1930" y="231"/>
                  </a:lnTo>
                  <a:lnTo>
                    <a:pt x="1857" y="197"/>
                  </a:lnTo>
                  <a:close/>
                  <a:moveTo>
                    <a:pt x="72" y="272"/>
                  </a:moveTo>
                  <a:lnTo>
                    <a:pt x="53" y="276"/>
                  </a:lnTo>
                  <a:lnTo>
                    <a:pt x="36" y="257"/>
                  </a:lnTo>
                  <a:lnTo>
                    <a:pt x="45" y="248"/>
                  </a:lnTo>
                  <a:lnTo>
                    <a:pt x="53" y="248"/>
                  </a:lnTo>
                  <a:lnTo>
                    <a:pt x="70" y="255"/>
                  </a:lnTo>
                  <a:lnTo>
                    <a:pt x="75" y="266"/>
                  </a:lnTo>
                  <a:lnTo>
                    <a:pt x="72" y="272"/>
                  </a:lnTo>
                  <a:close/>
                  <a:moveTo>
                    <a:pt x="107" y="259"/>
                  </a:moveTo>
                  <a:lnTo>
                    <a:pt x="107" y="253"/>
                  </a:lnTo>
                  <a:lnTo>
                    <a:pt x="92" y="246"/>
                  </a:lnTo>
                  <a:lnTo>
                    <a:pt x="94" y="240"/>
                  </a:lnTo>
                  <a:lnTo>
                    <a:pt x="102" y="240"/>
                  </a:lnTo>
                  <a:lnTo>
                    <a:pt x="88" y="227"/>
                  </a:lnTo>
                  <a:lnTo>
                    <a:pt x="100" y="231"/>
                  </a:lnTo>
                  <a:lnTo>
                    <a:pt x="107" y="235"/>
                  </a:lnTo>
                  <a:lnTo>
                    <a:pt x="120" y="257"/>
                  </a:lnTo>
                  <a:lnTo>
                    <a:pt x="107" y="259"/>
                  </a:lnTo>
                  <a:close/>
                  <a:moveTo>
                    <a:pt x="1134" y="401"/>
                  </a:moveTo>
                  <a:lnTo>
                    <a:pt x="1117" y="411"/>
                  </a:lnTo>
                  <a:lnTo>
                    <a:pt x="1119" y="420"/>
                  </a:lnTo>
                  <a:lnTo>
                    <a:pt x="1102" y="426"/>
                  </a:lnTo>
                  <a:lnTo>
                    <a:pt x="1085" y="420"/>
                  </a:lnTo>
                  <a:lnTo>
                    <a:pt x="1107" y="416"/>
                  </a:lnTo>
                  <a:lnTo>
                    <a:pt x="1126" y="379"/>
                  </a:lnTo>
                  <a:lnTo>
                    <a:pt x="1122" y="347"/>
                  </a:lnTo>
                  <a:lnTo>
                    <a:pt x="1130" y="351"/>
                  </a:lnTo>
                  <a:lnTo>
                    <a:pt x="1141" y="379"/>
                  </a:lnTo>
                  <a:lnTo>
                    <a:pt x="1134" y="401"/>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28" name="Freeform 6140"/>
            <p:cNvSpPr>
              <a:spLocks noEditPoints="1"/>
            </p:cNvSpPr>
            <p:nvPr>
              <p:custDataLst>
                <p:tags r:id="rId408"/>
              </p:custDataLst>
            </p:nvPr>
          </p:nvSpPr>
          <p:spPr bwMode="gray">
            <a:xfrm>
              <a:off x="7203524" y="4243897"/>
              <a:ext cx="110346" cy="124602"/>
            </a:xfrm>
            <a:custGeom>
              <a:avLst/>
              <a:gdLst/>
              <a:ahLst/>
              <a:cxnLst>
                <a:cxn ang="0">
                  <a:pos x="75" y="2"/>
                </a:cxn>
                <a:cxn ang="0">
                  <a:pos x="69" y="0"/>
                </a:cxn>
                <a:cxn ang="0">
                  <a:pos x="35" y="7"/>
                </a:cxn>
                <a:cxn ang="0">
                  <a:pos x="19" y="7"/>
                </a:cxn>
                <a:cxn ang="0">
                  <a:pos x="17" y="24"/>
                </a:cxn>
                <a:cxn ang="0">
                  <a:pos x="26" y="34"/>
                </a:cxn>
                <a:cxn ang="0">
                  <a:pos x="13" y="51"/>
                </a:cxn>
                <a:cxn ang="0">
                  <a:pos x="4" y="66"/>
                </a:cxn>
                <a:cxn ang="0">
                  <a:pos x="0" y="97"/>
                </a:cxn>
                <a:cxn ang="0">
                  <a:pos x="11" y="94"/>
                </a:cxn>
                <a:cxn ang="0">
                  <a:pos x="32" y="92"/>
                </a:cxn>
                <a:cxn ang="0">
                  <a:pos x="34" y="77"/>
                </a:cxn>
                <a:cxn ang="0">
                  <a:pos x="52" y="69"/>
                </a:cxn>
                <a:cxn ang="0">
                  <a:pos x="69" y="73"/>
                </a:cxn>
                <a:cxn ang="0">
                  <a:pos x="69" y="71"/>
                </a:cxn>
                <a:cxn ang="0">
                  <a:pos x="86" y="36"/>
                </a:cxn>
                <a:cxn ang="0">
                  <a:pos x="75" y="2"/>
                </a:cxn>
                <a:cxn ang="0">
                  <a:pos x="69" y="92"/>
                </a:cxn>
                <a:cxn ang="0">
                  <a:pos x="69" y="92"/>
                </a:cxn>
                <a:cxn ang="0">
                  <a:pos x="67" y="92"/>
                </a:cxn>
                <a:cxn ang="0">
                  <a:pos x="69" y="92"/>
                </a:cxn>
              </a:cxnLst>
              <a:rect l="0" t="0" r="r" b="b"/>
              <a:pathLst>
                <a:path w="86" h="97">
                  <a:moveTo>
                    <a:pt x="75" y="2"/>
                  </a:moveTo>
                  <a:lnTo>
                    <a:pt x="69" y="0"/>
                  </a:lnTo>
                  <a:lnTo>
                    <a:pt x="35" y="7"/>
                  </a:lnTo>
                  <a:lnTo>
                    <a:pt x="19" y="7"/>
                  </a:lnTo>
                  <a:lnTo>
                    <a:pt x="17" y="24"/>
                  </a:lnTo>
                  <a:lnTo>
                    <a:pt x="26" y="34"/>
                  </a:lnTo>
                  <a:lnTo>
                    <a:pt x="13" y="51"/>
                  </a:lnTo>
                  <a:lnTo>
                    <a:pt x="4" y="66"/>
                  </a:lnTo>
                  <a:lnTo>
                    <a:pt x="0" y="97"/>
                  </a:lnTo>
                  <a:lnTo>
                    <a:pt x="11" y="94"/>
                  </a:lnTo>
                  <a:lnTo>
                    <a:pt x="32" y="92"/>
                  </a:lnTo>
                  <a:lnTo>
                    <a:pt x="34" y="77"/>
                  </a:lnTo>
                  <a:lnTo>
                    <a:pt x="52" y="69"/>
                  </a:lnTo>
                  <a:lnTo>
                    <a:pt x="69" y="73"/>
                  </a:lnTo>
                  <a:lnTo>
                    <a:pt x="69" y="71"/>
                  </a:lnTo>
                  <a:lnTo>
                    <a:pt x="86" y="36"/>
                  </a:lnTo>
                  <a:lnTo>
                    <a:pt x="75" y="2"/>
                  </a:lnTo>
                  <a:close/>
                  <a:moveTo>
                    <a:pt x="69" y="92"/>
                  </a:moveTo>
                  <a:lnTo>
                    <a:pt x="69" y="92"/>
                  </a:lnTo>
                  <a:lnTo>
                    <a:pt x="67" y="92"/>
                  </a:lnTo>
                  <a:lnTo>
                    <a:pt x="69" y="9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29" name="Freeform 6141"/>
            <p:cNvSpPr>
              <a:spLocks/>
            </p:cNvSpPr>
            <p:nvPr>
              <p:custDataLst>
                <p:tags r:id="rId409"/>
              </p:custDataLst>
            </p:nvPr>
          </p:nvSpPr>
          <p:spPr bwMode="gray">
            <a:xfrm>
              <a:off x="7208656" y="4588159"/>
              <a:ext cx="215560" cy="385368"/>
            </a:xfrm>
            <a:custGeom>
              <a:avLst/>
              <a:gdLst/>
              <a:ahLst/>
              <a:cxnLst>
                <a:cxn ang="0">
                  <a:pos x="146" y="15"/>
                </a:cxn>
                <a:cxn ang="0">
                  <a:pos x="103" y="22"/>
                </a:cxn>
                <a:cxn ang="0">
                  <a:pos x="78" y="21"/>
                </a:cxn>
                <a:cxn ang="0">
                  <a:pos x="76" y="43"/>
                </a:cxn>
                <a:cxn ang="0">
                  <a:pos x="80" y="62"/>
                </a:cxn>
                <a:cxn ang="0">
                  <a:pos x="93" y="80"/>
                </a:cxn>
                <a:cxn ang="0">
                  <a:pos x="91" y="97"/>
                </a:cxn>
                <a:cxn ang="0">
                  <a:pos x="78" y="118"/>
                </a:cxn>
                <a:cxn ang="0">
                  <a:pos x="67" y="99"/>
                </a:cxn>
                <a:cxn ang="0">
                  <a:pos x="69" y="75"/>
                </a:cxn>
                <a:cxn ang="0">
                  <a:pos x="56" y="75"/>
                </a:cxn>
                <a:cxn ang="0">
                  <a:pos x="48" y="65"/>
                </a:cxn>
                <a:cxn ang="0">
                  <a:pos x="0" y="84"/>
                </a:cxn>
                <a:cxn ang="0">
                  <a:pos x="1" y="94"/>
                </a:cxn>
                <a:cxn ang="0">
                  <a:pos x="1" y="101"/>
                </a:cxn>
                <a:cxn ang="0">
                  <a:pos x="18" y="101"/>
                </a:cxn>
                <a:cxn ang="0">
                  <a:pos x="41" y="114"/>
                </a:cxn>
                <a:cxn ang="0">
                  <a:pos x="43" y="127"/>
                </a:cxn>
                <a:cxn ang="0">
                  <a:pos x="41" y="174"/>
                </a:cxn>
                <a:cxn ang="0">
                  <a:pos x="18" y="223"/>
                </a:cxn>
                <a:cxn ang="0">
                  <a:pos x="22" y="283"/>
                </a:cxn>
                <a:cxn ang="0">
                  <a:pos x="22" y="300"/>
                </a:cxn>
                <a:cxn ang="0">
                  <a:pos x="35" y="300"/>
                </a:cxn>
                <a:cxn ang="0">
                  <a:pos x="37" y="290"/>
                </a:cxn>
                <a:cxn ang="0">
                  <a:pos x="31" y="288"/>
                </a:cxn>
                <a:cxn ang="0">
                  <a:pos x="37" y="277"/>
                </a:cxn>
                <a:cxn ang="0">
                  <a:pos x="74" y="258"/>
                </a:cxn>
                <a:cxn ang="0">
                  <a:pos x="80" y="221"/>
                </a:cxn>
                <a:cxn ang="0">
                  <a:pos x="69" y="185"/>
                </a:cxn>
                <a:cxn ang="0">
                  <a:pos x="71" y="176"/>
                </a:cxn>
                <a:cxn ang="0">
                  <a:pos x="114" y="129"/>
                </a:cxn>
                <a:cxn ang="0">
                  <a:pos x="140" y="122"/>
                </a:cxn>
                <a:cxn ang="0">
                  <a:pos x="168" y="86"/>
                </a:cxn>
                <a:cxn ang="0">
                  <a:pos x="168" y="0"/>
                </a:cxn>
                <a:cxn ang="0">
                  <a:pos x="146" y="15"/>
                </a:cxn>
              </a:cxnLst>
              <a:rect l="0" t="0" r="r" b="b"/>
              <a:pathLst>
                <a:path w="168" h="300">
                  <a:moveTo>
                    <a:pt x="146" y="15"/>
                  </a:moveTo>
                  <a:lnTo>
                    <a:pt x="103" y="22"/>
                  </a:lnTo>
                  <a:lnTo>
                    <a:pt x="78" y="21"/>
                  </a:lnTo>
                  <a:lnTo>
                    <a:pt x="76" y="43"/>
                  </a:lnTo>
                  <a:lnTo>
                    <a:pt x="80" y="62"/>
                  </a:lnTo>
                  <a:lnTo>
                    <a:pt x="93" y="80"/>
                  </a:lnTo>
                  <a:lnTo>
                    <a:pt x="91" y="97"/>
                  </a:lnTo>
                  <a:lnTo>
                    <a:pt x="78" y="118"/>
                  </a:lnTo>
                  <a:lnTo>
                    <a:pt x="67" y="99"/>
                  </a:lnTo>
                  <a:lnTo>
                    <a:pt x="69" y="75"/>
                  </a:lnTo>
                  <a:lnTo>
                    <a:pt x="56" y="75"/>
                  </a:lnTo>
                  <a:lnTo>
                    <a:pt x="48" y="65"/>
                  </a:lnTo>
                  <a:lnTo>
                    <a:pt x="0" y="84"/>
                  </a:lnTo>
                  <a:lnTo>
                    <a:pt x="1" y="94"/>
                  </a:lnTo>
                  <a:lnTo>
                    <a:pt x="1" y="101"/>
                  </a:lnTo>
                  <a:lnTo>
                    <a:pt x="18" y="101"/>
                  </a:lnTo>
                  <a:lnTo>
                    <a:pt x="41" y="114"/>
                  </a:lnTo>
                  <a:lnTo>
                    <a:pt x="43" y="127"/>
                  </a:lnTo>
                  <a:lnTo>
                    <a:pt x="41" y="174"/>
                  </a:lnTo>
                  <a:lnTo>
                    <a:pt x="18" y="223"/>
                  </a:lnTo>
                  <a:lnTo>
                    <a:pt x="22" y="283"/>
                  </a:lnTo>
                  <a:lnTo>
                    <a:pt x="22" y="300"/>
                  </a:lnTo>
                  <a:lnTo>
                    <a:pt x="35" y="300"/>
                  </a:lnTo>
                  <a:lnTo>
                    <a:pt x="37" y="290"/>
                  </a:lnTo>
                  <a:lnTo>
                    <a:pt x="31" y="288"/>
                  </a:lnTo>
                  <a:lnTo>
                    <a:pt x="37" y="277"/>
                  </a:lnTo>
                  <a:lnTo>
                    <a:pt x="74" y="258"/>
                  </a:lnTo>
                  <a:lnTo>
                    <a:pt x="80" y="221"/>
                  </a:lnTo>
                  <a:lnTo>
                    <a:pt x="69" y="185"/>
                  </a:lnTo>
                  <a:lnTo>
                    <a:pt x="71" y="176"/>
                  </a:lnTo>
                  <a:lnTo>
                    <a:pt x="114" y="129"/>
                  </a:lnTo>
                  <a:lnTo>
                    <a:pt x="140" y="122"/>
                  </a:lnTo>
                  <a:lnTo>
                    <a:pt x="168" y="86"/>
                  </a:lnTo>
                  <a:lnTo>
                    <a:pt x="168" y="0"/>
                  </a:lnTo>
                  <a:lnTo>
                    <a:pt x="146" y="1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30" name="Freeform 6142"/>
            <p:cNvSpPr>
              <a:spLocks/>
            </p:cNvSpPr>
            <p:nvPr>
              <p:custDataLst>
                <p:tags r:id="rId410"/>
              </p:custDataLst>
            </p:nvPr>
          </p:nvSpPr>
          <p:spPr bwMode="gray">
            <a:xfrm>
              <a:off x="7292057" y="4229767"/>
              <a:ext cx="162953" cy="220944"/>
            </a:xfrm>
            <a:custGeom>
              <a:avLst/>
              <a:gdLst/>
              <a:ahLst/>
              <a:cxnLst>
                <a:cxn ang="0">
                  <a:pos x="114" y="99"/>
                </a:cxn>
                <a:cxn ang="0">
                  <a:pos x="114" y="35"/>
                </a:cxn>
                <a:cxn ang="0">
                  <a:pos x="127" y="13"/>
                </a:cxn>
                <a:cxn ang="0">
                  <a:pos x="111" y="7"/>
                </a:cxn>
                <a:cxn ang="0">
                  <a:pos x="81" y="20"/>
                </a:cxn>
                <a:cxn ang="0">
                  <a:pos x="62" y="17"/>
                </a:cxn>
                <a:cxn ang="0">
                  <a:pos x="43" y="0"/>
                </a:cxn>
                <a:cxn ang="0">
                  <a:pos x="30" y="0"/>
                </a:cxn>
                <a:cxn ang="0">
                  <a:pos x="8" y="0"/>
                </a:cxn>
                <a:cxn ang="0">
                  <a:pos x="0" y="11"/>
                </a:cxn>
                <a:cxn ang="0">
                  <a:pos x="6" y="13"/>
                </a:cxn>
                <a:cxn ang="0">
                  <a:pos x="17" y="47"/>
                </a:cxn>
                <a:cxn ang="0">
                  <a:pos x="0" y="82"/>
                </a:cxn>
                <a:cxn ang="0">
                  <a:pos x="0" y="84"/>
                </a:cxn>
                <a:cxn ang="0">
                  <a:pos x="4" y="93"/>
                </a:cxn>
                <a:cxn ang="0">
                  <a:pos x="0" y="103"/>
                </a:cxn>
                <a:cxn ang="0">
                  <a:pos x="0" y="103"/>
                </a:cxn>
                <a:cxn ang="0">
                  <a:pos x="4" y="103"/>
                </a:cxn>
                <a:cxn ang="0">
                  <a:pos x="58" y="138"/>
                </a:cxn>
                <a:cxn ang="0">
                  <a:pos x="64" y="153"/>
                </a:cxn>
                <a:cxn ang="0">
                  <a:pos x="86" y="172"/>
                </a:cxn>
                <a:cxn ang="0">
                  <a:pos x="101" y="140"/>
                </a:cxn>
                <a:cxn ang="0">
                  <a:pos x="101" y="131"/>
                </a:cxn>
                <a:cxn ang="0">
                  <a:pos x="109" y="131"/>
                </a:cxn>
                <a:cxn ang="0">
                  <a:pos x="124" y="116"/>
                </a:cxn>
                <a:cxn ang="0">
                  <a:pos x="124" y="116"/>
                </a:cxn>
                <a:cxn ang="0">
                  <a:pos x="114" y="99"/>
                </a:cxn>
              </a:cxnLst>
              <a:rect l="0" t="0" r="r" b="b"/>
              <a:pathLst>
                <a:path w="127" h="172">
                  <a:moveTo>
                    <a:pt x="114" y="99"/>
                  </a:moveTo>
                  <a:lnTo>
                    <a:pt x="114" y="35"/>
                  </a:lnTo>
                  <a:lnTo>
                    <a:pt x="127" y="13"/>
                  </a:lnTo>
                  <a:lnTo>
                    <a:pt x="111" y="7"/>
                  </a:lnTo>
                  <a:lnTo>
                    <a:pt x="81" y="20"/>
                  </a:lnTo>
                  <a:lnTo>
                    <a:pt x="62" y="17"/>
                  </a:lnTo>
                  <a:lnTo>
                    <a:pt x="43" y="0"/>
                  </a:lnTo>
                  <a:lnTo>
                    <a:pt x="30" y="0"/>
                  </a:lnTo>
                  <a:lnTo>
                    <a:pt x="8" y="0"/>
                  </a:lnTo>
                  <a:lnTo>
                    <a:pt x="0" y="11"/>
                  </a:lnTo>
                  <a:lnTo>
                    <a:pt x="6" y="13"/>
                  </a:lnTo>
                  <a:lnTo>
                    <a:pt x="17" y="47"/>
                  </a:lnTo>
                  <a:lnTo>
                    <a:pt x="0" y="82"/>
                  </a:lnTo>
                  <a:lnTo>
                    <a:pt x="0" y="84"/>
                  </a:lnTo>
                  <a:lnTo>
                    <a:pt x="4" y="93"/>
                  </a:lnTo>
                  <a:lnTo>
                    <a:pt x="0" y="103"/>
                  </a:lnTo>
                  <a:lnTo>
                    <a:pt x="0" y="103"/>
                  </a:lnTo>
                  <a:lnTo>
                    <a:pt x="4" y="103"/>
                  </a:lnTo>
                  <a:lnTo>
                    <a:pt x="58" y="138"/>
                  </a:lnTo>
                  <a:lnTo>
                    <a:pt x="64" y="153"/>
                  </a:lnTo>
                  <a:lnTo>
                    <a:pt x="86" y="172"/>
                  </a:lnTo>
                  <a:lnTo>
                    <a:pt x="101" y="140"/>
                  </a:lnTo>
                  <a:lnTo>
                    <a:pt x="101" y="131"/>
                  </a:lnTo>
                  <a:lnTo>
                    <a:pt x="109" y="131"/>
                  </a:lnTo>
                  <a:lnTo>
                    <a:pt x="124" y="116"/>
                  </a:lnTo>
                  <a:lnTo>
                    <a:pt x="124" y="116"/>
                  </a:lnTo>
                  <a:lnTo>
                    <a:pt x="114" y="9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31" name="Freeform 6143"/>
            <p:cNvSpPr>
              <a:spLocks/>
            </p:cNvSpPr>
            <p:nvPr>
              <p:custDataLst>
                <p:tags r:id="rId411"/>
              </p:custDataLst>
            </p:nvPr>
          </p:nvSpPr>
          <p:spPr bwMode="gray">
            <a:xfrm>
              <a:off x="7198392" y="4362077"/>
              <a:ext cx="225824" cy="254343"/>
            </a:xfrm>
            <a:custGeom>
              <a:avLst/>
              <a:gdLst/>
              <a:ahLst/>
              <a:cxnLst>
                <a:cxn ang="0">
                  <a:pos x="165" y="167"/>
                </a:cxn>
                <a:cxn ang="0">
                  <a:pos x="159" y="146"/>
                </a:cxn>
                <a:cxn ang="0">
                  <a:pos x="163" y="112"/>
                </a:cxn>
                <a:cxn ang="0">
                  <a:pos x="150" y="95"/>
                </a:cxn>
                <a:cxn ang="0">
                  <a:pos x="159" y="69"/>
                </a:cxn>
                <a:cxn ang="0">
                  <a:pos x="137" y="50"/>
                </a:cxn>
                <a:cxn ang="0">
                  <a:pos x="131" y="35"/>
                </a:cxn>
                <a:cxn ang="0">
                  <a:pos x="77" y="0"/>
                </a:cxn>
                <a:cxn ang="0">
                  <a:pos x="71" y="0"/>
                </a:cxn>
                <a:cxn ang="0">
                  <a:pos x="60" y="20"/>
                </a:cxn>
                <a:cxn ang="0">
                  <a:pos x="69" y="22"/>
                </a:cxn>
                <a:cxn ang="0">
                  <a:pos x="64" y="28"/>
                </a:cxn>
                <a:cxn ang="0">
                  <a:pos x="43" y="26"/>
                </a:cxn>
                <a:cxn ang="0">
                  <a:pos x="38" y="34"/>
                </a:cxn>
                <a:cxn ang="0">
                  <a:pos x="34" y="20"/>
                </a:cxn>
                <a:cxn ang="0">
                  <a:pos x="36" y="0"/>
                </a:cxn>
                <a:cxn ang="0">
                  <a:pos x="15" y="2"/>
                </a:cxn>
                <a:cxn ang="0">
                  <a:pos x="23" y="15"/>
                </a:cxn>
                <a:cxn ang="0">
                  <a:pos x="19" y="26"/>
                </a:cxn>
                <a:cxn ang="0">
                  <a:pos x="19" y="45"/>
                </a:cxn>
                <a:cxn ang="0">
                  <a:pos x="4" y="63"/>
                </a:cxn>
                <a:cxn ang="0">
                  <a:pos x="0" y="63"/>
                </a:cxn>
                <a:cxn ang="0">
                  <a:pos x="8" y="88"/>
                </a:cxn>
                <a:cxn ang="0">
                  <a:pos x="4" y="97"/>
                </a:cxn>
                <a:cxn ang="0">
                  <a:pos x="17" y="108"/>
                </a:cxn>
                <a:cxn ang="0">
                  <a:pos x="23" y="137"/>
                </a:cxn>
                <a:cxn ang="0">
                  <a:pos x="26" y="140"/>
                </a:cxn>
                <a:cxn ang="0">
                  <a:pos x="26" y="140"/>
                </a:cxn>
                <a:cxn ang="0">
                  <a:pos x="56" y="155"/>
                </a:cxn>
                <a:cxn ang="0">
                  <a:pos x="71" y="159"/>
                </a:cxn>
                <a:cxn ang="0">
                  <a:pos x="73" y="159"/>
                </a:cxn>
                <a:cxn ang="0">
                  <a:pos x="73" y="159"/>
                </a:cxn>
                <a:cxn ang="0">
                  <a:pos x="79" y="165"/>
                </a:cxn>
                <a:cxn ang="0">
                  <a:pos x="86" y="197"/>
                </a:cxn>
                <a:cxn ang="0">
                  <a:pos x="111" y="198"/>
                </a:cxn>
                <a:cxn ang="0">
                  <a:pos x="154" y="191"/>
                </a:cxn>
                <a:cxn ang="0">
                  <a:pos x="176" y="176"/>
                </a:cxn>
                <a:cxn ang="0">
                  <a:pos x="165" y="167"/>
                </a:cxn>
              </a:cxnLst>
              <a:rect l="0" t="0" r="r" b="b"/>
              <a:pathLst>
                <a:path w="176" h="198">
                  <a:moveTo>
                    <a:pt x="165" y="167"/>
                  </a:moveTo>
                  <a:lnTo>
                    <a:pt x="159" y="146"/>
                  </a:lnTo>
                  <a:lnTo>
                    <a:pt x="163" y="112"/>
                  </a:lnTo>
                  <a:lnTo>
                    <a:pt x="150" y="95"/>
                  </a:lnTo>
                  <a:lnTo>
                    <a:pt x="159" y="69"/>
                  </a:lnTo>
                  <a:lnTo>
                    <a:pt x="137" y="50"/>
                  </a:lnTo>
                  <a:lnTo>
                    <a:pt x="131" y="35"/>
                  </a:lnTo>
                  <a:lnTo>
                    <a:pt x="77" y="0"/>
                  </a:lnTo>
                  <a:lnTo>
                    <a:pt x="71" y="0"/>
                  </a:lnTo>
                  <a:lnTo>
                    <a:pt x="60" y="20"/>
                  </a:lnTo>
                  <a:lnTo>
                    <a:pt x="69" y="22"/>
                  </a:lnTo>
                  <a:lnTo>
                    <a:pt x="64" y="28"/>
                  </a:lnTo>
                  <a:lnTo>
                    <a:pt x="43" y="26"/>
                  </a:lnTo>
                  <a:lnTo>
                    <a:pt x="38" y="34"/>
                  </a:lnTo>
                  <a:lnTo>
                    <a:pt x="34" y="20"/>
                  </a:lnTo>
                  <a:lnTo>
                    <a:pt x="36" y="0"/>
                  </a:lnTo>
                  <a:lnTo>
                    <a:pt x="15" y="2"/>
                  </a:lnTo>
                  <a:lnTo>
                    <a:pt x="23" y="15"/>
                  </a:lnTo>
                  <a:lnTo>
                    <a:pt x="19" y="26"/>
                  </a:lnTo>
                  <a:lnTo>
                    <a:pt x="19" y="45"/>
                  </a:lnTo>
                  <a:lnTo>
                    <a:pt x="4" y="63"/>
                  </a:lnTo>
                  <a:lnTo>
                    <a:pt x="0" y="63"/>
                  </a:lnTo>
                  <a:lnTo>
                    <a:pt x="8" y="88"/>
                  </a:lnTo>
                  <a:lnTo>
                    <a:pt x="4" y="97"/>
                  </a:lnTo>
                  <a:lnTo>
                    <a:pt x="17" y="108"/>
                  </a:lnTo>
                  <a:lnTo>
                    <a:pt x="23" y="137"/>
                  </a:lnTo>
                  <a:lnTo>
                    <a:pt x="26" y="140"/>
                  </a:lnTo>
                  <a:lnTo>
                    <a:pt x="26" y="140"/>
                  </a:lnTo>
                  <a:lnTo>
                    <a:pt x="56" y="155"/>
                  </a:lnTo>
                  <a:lnTo>
                    <a:pt x="71" y="159"/>
                  </a:lnTo>
                  <a:lnTo>
                    <a:pt x="73" y="159"/>
                  </a:lnTo>
                  <a:lnTo>
                    <a:pt x="73" y="159"/>
                  </a:lnTo>
                  <a:lnTo>
                    <a:pt x="79" y="165"/>
                  </a:lnTo>
                  <a:lnTo>
                    <a:pt x="86" y="197"/>
                  </a:lnTo>
                  <a:lnTo>
                    <a:pt x="111" y="198"/>
                  </a:lnTo>
                  <a:lnTo>
                    <a:pt x="154" y="191"/>
                  </a:lnTo>
                  <a:lnTo>
                    <a:pt x="176" y="176"/>
                  </a:lnTo>
                  <a:lnTo>
                    <a:pt x="165" y="16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32" name="Freeform 6144"/>
            <p:cNvSpPr>
              <a:spLocks/>
            </p:cNvSpPr>
            <p:nvPr>
              <p:custDataLst>
                <p:tags r:id="rId412"/>
              </p:custDataLst>
            </p:nvPr>
          </p:nvSpPr>
          <p:spPr bwMode="gray">
            <a:xfrm>
              <a:off x="7665915" y="3280380"/>
              <a:ext cx="351567" cy="201676"/>
            </a:xfrm>
            <a:custGeom>
              <a:avLst/>
              <a:gdLst/>
              <a:ahLst/>
              <a:cxnLst>
                <a:cxn ang="0">
                  <a:pos x="247" y="75"/>
                </a:cxn>
                <a:cxn ang="0">
                  <a:pos x="246" y="82"/>
                </a:cxn>
                <a:cxn ang="0">
                  <a:pos x="227" y="77"/>
                </a:cxn>
                <a:cxn ang="0">
                  <a:pos x="238" y="63"/>
                </a:cxn>
                <a:cxn ang="0">
                  <a:pos x="232" y="60"/>
                </a:cxn>
                <a:cxn ang="0">
                  <a:pos x="231" y="65"/>
                </a:cxn>
                <a:cxn ang="0">
                  <a:pos x="208" y="84"/>
                </a:cxn>
                <a:cxn ang="0">
                  <a:pos x="178" y="80"/>
                </a:cxn>
                <a:cxn ang="0">
                  <a:pos x="173" y="69"/>
                </a:cxn>
                <a:cxn ang="0">
                  <a:pos x="163" y="67"/>
                </a:cxn>
                <a:cxn ang="0">
                  <a:pos x="161" y="48"/>
                </a:cxn>
                <a:cxn ang="0">
                  <a:pos x="139" y="35"/>
                </a:cxn>
                <a:cxn ang="0">
                  <a:pos x="96" y="39"/>
                </a:cxn>
                <a:cxn ang="0">
                  <a:pos x="79" y="28"/>
                </a:cxn>
                <a:cxn ang="0">
                  <a:pos x="75" y="35"/>
                </a:cxn>
                <a:cxn ang="0">
                  <a:pos x="43" y="35"/>
                </a:cxn>
                <a:cxn ang="0">
                  <a:pos x="34" y="13"/>
                </a:cxn>
                <a:cxn ang="0">
                  <a:pos x="38" y="2"/>
                </a:cxn>
                <a:cxn ang="0">
                  <a:pos x="38" y="0"/>
                </a:cxn>
                <a:cxn ang="0">
                  <a:pos x="0" y="11"/>
                </a:cxn>
                <a:cxn ang="0">
                  <a:pos x="17" y="80"/>
                </a:cxn>
                <a:cxn ang="0">
                  <a:pos x="30" y="80"/>
                </a:cxn>
                <a:cxn ang="0">
                  <a:pos x="28" y="67"/>
                </a:cxn>
                <a:cxn ang="0">
                  <a:pos x="41" y="58"/>
                </a:cxn>
                <a:cxn ang="0">
                  <a:pos x="43" y="56"/>
                </a:cxn>
                <a:cxn ang="0">
                  <a:pos x="49" y="52"/>
                </a:cxn>
                <a:cxn ang="0">
                  <a:pos x="71" y="62"/>
                </a:cxn>
                <a:cxn ang="0">
                  <a:pos x="77" y="78"/>
                </a:cxn>
                <a:cxn ang="0">
                  <a:pos x="105" y="82"/>
                </a:cxn>
                <a:cxn ang="0">
                  <a:pos x="120" y="107"/>
                </a:cxn>
                <a:cxn ang="0">
                  <a:pos x="171" y="135"/>
                </a:cxn>
                <a:cxn ang="0">
                  <a:pos x="186" y="138"/>
                </a:cxn>
                <a:cxn ang="0">
                  <a:pos x="189" y="152"/>
                </a:cxn>
                <a:cxn ang="0">
                  <a:pos x="208" y="157"/>
                </a:cxn>
                <a:cxn ang="0">
                  <a:pos x="214" y="137"/>
                </a:cxn>
                <a:cxn ang="0">
                  <a:pos x="206" y="122"/>
                </a:cxn>
                <a:cxn ang="0">
                  <a:pos x="193" y="116"/>
                </a:cxn>
                <a:cxn ang="0">
                  <a:pos x="195" y="110"/>
                </a:cxn>
                <a:cxn ang="0">
                  <a:pos x="210" y="110"/>
                </a:cxn>
                <a:cxn ang="0">
                  <a:pos x="212" y="103"/>
                </a:cxn>
                <a:cxn ang="0">
                  <a:pos x="219" y="99"/>
                </a:cxn>
                <a:cxn ang="0">
                  <a:pos x="217" y="90"/>
                </a:cxn>
                <a:cxn ang="0">
                  <a:pos x="232" y="84"/>
                </a:cxn>
                <a:cxn ang="0">
                  <a:pos x="238" y="99"/>
                </a:cxn>
                <a:cxn ang="0">
                  <a:pos x="244" y="99"/>
                </a:cxn>
                <a:cxn ang="0">
                  <a:pos x="259" y="97"/>
                </a:cxn>
                <a:cxn ang="0">
                  <a:pos x="274" y="88"/>
                </a:cxn>
                <a:cxn ang="0">
                  <a:pos x="247" y="75"/>
                </a:cxn>
              </a:cxnLst>
              <a:rect l="0" t="0" r="r" b="b"/>
              <a:pathLst>
                <a:path w="274" h="157">
                  <a:moveTo>
                    <a:pt x="247" y="75"/>
                  </a:moveTo>
                  <a:lnTo>
                    <a:pt x="246" y="82"/>
                  </a:lnTo>
                  <a:lnTo>
                    <a:pt x="227" y="77"/>
                  </a:lnTo>
                  <a:lnTo>
                    <a:pt x="238" y="63"/>
                  </a:lnTo>
                  <a:lnTo>
                    <a:pt x="232" y="60"/>
                  </a:lnTo>
                  <a:lnTo>
                    <a:pt x="231" y="65"/>
                  </a:lnTo>
                  <a:lnTo>
                    <a:pt x="208" y="84"/>
                  </a:lnTo>
                  <a:lnTo>
                    <a:pt x="178" y="80"/>
                  </a:lnTo>
                  <a:lnTo>
                    <a:pt x="173" y="69"/>
                  </a:lnTo>
                  <a:lnTo>
                    <a:pt x="163" y="67"/>
                  </a:lnTo>
                  <a:lnTo>
                    <a:pt x="161" y="48"/>
                  </a:lnTo>
                  <a:lnTo>
                    <a:pt x="139" y="35"/>
                  </a:lnTo>
                  <a:lnTo>
                    <a:pt x="96" y="39"/>
                  </a:lnTo>
                  <a:lnTo>
                    <a:pt x="79" y="28"/>
                  </a:lnTo>
                  <a:lnTo>
                    <a:pt x="75" y="35"/>
                  </a:lnTo>
                  <a:lnTo>
                    <a:pt x="43" y="35"/>
                  </a:lnTo>
                  <a:lnTo>
                    <a:pt x="34" y="13"/>
                  </a:lnTo>
                  <a:lnTo>
                    <a:pt x="38" y="2"/>
                  </a:lnTo>
                  <a:lnTo>
                    <a:pt x="38" y="0"/>
                  </a:lnTo>
                  <a:lnTo>
                    <a:pt x="0" y="11"/>
                  </a:lnTo>
                  <a:lnTo>
                    <a:pt x="17" y="80"/>
                  </a:lnTo>
                  <a:lnTo>
                    <a:pt x="30" y="80"/>
                  </a:lnTo>
                  <a:lnTo>
                    <a:pt x="28" y="67"/>
                  </a:lnTo>
                  <a:lnTo>
                    <a:pt x="41" y="58"/>
                  </a:lnTo>
                  <a:lnTo>
                    <a:pt x="43" y="56"/>
                  </a:lnTo>
                  <a:lnTo>
                    <a:pt x="49" y="52"/>
                  </a:lnTo>
                  <a:lnTo>
                    <a:pt x="71" y="62"/>
                  </a:lnTo>
                  <a:lnTo>
                    <a:pt x="77" y="78"/>
                  </a:lnTo>
                  <a:lnTo>
                    <a:pt x="105" y="82"/>
                  </a:lnTo>
                  <a:lnTo>
                    <a:pt x="120" y="107"/>
                  </a:lnTo>
                  <a:lnTo>
                    <a:pt x="171" y="135"/>
                  </a:lnTo>
                  <a:lnTo>
                    <a:pt x="186" y="138"/>
                  </a:lnTo>
                  <a:lnTo>
                    <a:pt x="189" y="152"/>
                  </a:lnTo>
                  <a:lnTo>
                    <a:pt x="208" y="157"/>
                  </a:lnTo>
                  <a:lnTo>
                    <a:pt x="214" y="137"/>
                  </a:lnTo>
                  <a:lnTo>
                    <a:pt x="206" y="122"/>
                  </a:lnTo>
                  <a:lnTo>
                    <a:pt x="193" y="116"/>
                  </a:lnTo>
                  <a:lnTo>
                    <a:pt x="195" y="110"/>
                  </a:lnTo>
                  <a:lnTo>
                    <a:pt x="210" y="110"/>
                  </a:lnTo>
                  <a:lnTo>
                    <a:pt x="212" y="103"/>
                  </a:lnTo>
                  <a:lnTo>
                    <a:pt x="219" y="99"/>
                  </a:lnTo>
                  <a:lnTo>
                    <a:pt x="217" y="90"/>
                  </a:lnTo>
                  <a:lnTo>
                    <a:pt x="232" y="84"/>
                  </a:lnTo>
                  <a:lnTo>
                    <a:pt x="238" y="99"/>
                  </a:lnTo>
                  <a:lnTo>
                    <a:pt x="244" y="99"/>
                  </a:lnTo>
                  <a:lnTo>
                    <a:pt x="259" y="97"/>
                  </a:lnTo>
                  <a:lnTo>
                    <a:pt x="274" y="88"/>
                  </a:lnTo>
                  <a:lnTo>
                    <a:pt x="247" y="7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33" name="Freeform 6145"/>
            <p:cNvSpPr>
              <a:spLocks/>
            </p:cNvSpPr>
            <p:nvPr>
              <p:custDataLst>
                <p:tags r:id="rId413"/>
              </p:custDataLst>
            </p:nvPr>
          </p:nvSpPr>
          <p:spPr bwMode="gray">
            <a:xfrm>
              <a:off x="7955894" y="3475633"/>
              <a:ext cx="637697" cy="707792"/>
            </a:xfrm>
            <a:custGeom>
              <a:avLst/>
              <a:gdLst/>
              <a:ahLst/>
              <a:cxnLst>
                <a:cxn ang="0">
                  <a:pos x="428" y="154"/>
                </a:cxn>
                <a:cxn ang="0">
                  <a:pos x="412" y="177"/>
                </a:cxn>
                <a:cxn ang="0">
                  <a:pos x="374" y="191"/>
                </a:cxn>
                <a:cxn ang="0">
                  <a:pos x="356" y="173"/>
                </a:cxn>
                <a:cxn ang="0">
                  <a:pos x="345" y="193"/>
                </a:cxn>
                <a:cxn ang="0">
                  <a:pos x="308" y="198"/>
                </a:cxn>
                <a:cxn ang="0">
                  <a:pos x="285" y="185"/>
                </a:cxn>
                <a:cxn ang="0">
                  <a:pos x="239" y="175"/>
                </a:cxn>
                <a:cxn ang="0">
                  <a:pos x="212" y="164"/>
                </a:cxn>
                <a:cxn ang="0">
                  <a:pos x="218" y="135"/>
                </a:cxn>
                <a:cxn ang="0">
                  <a:pos x="191" y="110"/>
                </a:cxn>
                <a:cxn ang="0">
                  <a:pos x="185" y="92"/>
                </a:cxn>
                <a:cxn ang="0">
                  <a:pos x="187" y="67"/>
                </a:cxn>
                <a:cxn ang="0">
                  <a:pos x="206" y="31"/>
                </a:cxn>
                <a:cxn ang="0">
                  <a:pos x="164" y="33"/>
                </a:cxn>
                <a:cxn ang="0">
                  <a:pos x="123" y="4"/>
                </a:cxn>
                <a:cxn ang="0">
                  <a:pos x="94" y="23"/>
                </a:cxn>
                <a:cxn ang="0">
                  <a:pos x="108" y="40"/>
                </a:cxn>
                <a:cxn ang="0">
                  <a:pos x="102" y="79"/>
                </a:cxn>
                <a:cxn ang="0">
                  <a:pos x="127" y="94"/>
                </a:cxn>
                <a:cxn ang="0">
                  <a:pos x="110" y="119"/>
                </a:cxn>
                <a:cxn ang="0">
                  <a:pos x="75" y="158"/>
                </a:cxn>
                <a:cxn ang="0">
                  <a:pos x="46" y="171"/>
                </a:cxn>
                <a:cxn ang="0">
                  <a:pos x="31" y="198"/>
                </a:cxn>
                <a:cxn ang="0">
                  <a:pos x="46" y="223"/>
                </a:cxn>
                <a:cxn ang="0">
                  <a:pos x="35" y="239"/>
                </a:cxn>
                <a:cxn ang="0">
                  <a:pos x="8" y="243"/>
                </a:cxn>
                <a:cxn ang="0">
                  <a:pos x="15" y="262"/>
                </a:cxn>
                <a:cxn ang="0">
                  <a:pos x="46" y="260"/>
                </a:cxn>
                <a:cxn ang="0">
                  <a:pos x="21" y="279"/>
                </a:cxn>
                <a:cxn ang="0">
                  <a:pos x="54" y="304"/>
                </a:cxn>
                <a:cxn ang="0">
                  <a:pos x="69" y="279"/>
                </a:cxn>
                <a:cxn ang="0">
                  <a:pos x="81" y="302"/>
                </a:cxn>
                <a:cxn ang="0">
                  <a:pos x="85" y="370"/>
                </a:cxn>
                <a:cxn ang="0">
                  <a:pos x="102" y="424"/>
                </a:cxn>
                <a:cxn ang="0">
                  <a:pos x="110" y="451"/>
                </a:cxn>
                <a:cxn ang="0">
                  <a:pos x="135" y="503"/>
                </a:cxn>
                <a:cxn ang="0">
                  <a:pos x="164" y="551"/>
                </a:cxn>
                <a:cxn ang="0">
                  <a:pos x="193" y="530"/>
                </a:cxn>
                <a:cxn ang="0">
                  <a:pos x="198" y="514"/>
                </a:cxn>
                <a:cxn ang="0">
                  <a:pos x="210" y="493"/>
                </a:cxn>
                <a:cxn ang="0">
                  <a:pos x="218" y="453"/>
                </a:cxn>
                <a:cxn ang="0">
                  <a:pos x="214" y="426"/>
                </a:cxn>
                <a:cxn ang="0">
                  <a:pos x="237" y="393"/>
                </a:cxn>
                <a:cxn ang="0">
                  <a:pos x="268" y="368"/>
                </a:cxn>
                <a:cxn ang="0">
                  <a:pos x="299" y="333"/>
                </a:cxn>
                <a:cxn ang="0">
                  <a:pos x="331" y="308"/>
                </a:cxn>
                <a:cxn ang="0">
                  <a:pos x="351" y="285"/>
                </a:cxn>
                <a:cxn ang="0">
                  <a:pos x="358" y="250"/>
                </a:cxn>
                <a:cxn ang="0">
                  <a:pos x="351" y="220"/>
                </a:cxn>
                <a:cxn ang="0">
                  <a:pos x="345" y="210"/>
                </a:cxn>
                <a:cxn ang="0">
                  <a:pos x="368" y="206"/>
                </a:cxn>
                <a:cxn ang="0">
                  <a:pos x="376" y="216"/>
                </a:cxn>
                <a:cxn ang="0">
                  <a:pos x="422" y="220"/>
                </a:cxn>
                <a:cxn ang="0">
                  <a:pos x="401" y="245"/>
                </a:cxn>
                <a:cxn ang="0">
                  <a:pos x="418" y="245"/>
                </a:cxn>
                <a:cxn ang="0">
                  <a:pos x="437" y="275"/>
                </a:cxn>
                <a:cxn ang="0">
                  <a:pos x="441" y="241"/>
                </a:cxn>
                <a:cxn ang="0">
                  <a:pos x="460" y="214"/>
                </a:cxn>
                <a:cxn ang="0">
                  <a:pos x="472" y="179"/>
                </a:cxn>
                <a:cxn ang="0">
                  <a:pos x="491" y="160"/>
                </a:cxn>
                <a:cxn ang="0">
                  <a:pos x="480" y="135"/>
                </a:cxn>
              </a:cxnLst>
              <a:rect l="0" t="0" r="r" b="b"/>
              <a:pathLst>
                <a:path w="497" h="551">
                  <a:moveTo>
                    <a:pt x="476" y="131"/>
                  </a:moveTo>
                  <a:lnTo>
                    <a:pt x="472" y="131"/>
                  </a:lnTo>
                  <a:lnTo>
                    <a:pt x="466" y="133"/>
                  </a:lnTo>
                  <a:lnTo>
                    <a:pt x="464" y="135"/>
                  </a:lnTo>
                  <a:lnTo>
                    <a:pt x="462" y="139"/>
                  </a:lnTo>
                  <a:lnTo>
                    <a:pt x="458" y="137"/>
                  </a:lnTo>
                  <a:lnTo>
                    <a:pt x="453" y="137"/>
                  </a:lnTo>
                  <a:lnTo>
                    <a:pt x="451" y="135"/>
                  </a:lnTo>
                  <a:lnTo>
                    <a:pt x="447" y="135"/>
                  </a:lnTo>
                  <a:lnTo>
                    <a:pt x="443" y="139"/>
                  </a:lnTo>
                  <a:lnTo>
                    <a:pt x="430" y="152"/>
                  </a:lnTo>
                  <a:lnTo>
                    <a:pt x="428" y="154"/>
                  </a:lnTo>
                  <a:lnTo>
                    <a:pt x="422" y="160"/>
                  </a:lnTo>
                  <a:lnTo>
                    <a:pt x="418" y="166"/>
                  </a:lnTo>
                  <a:lnTo>
                    <a:pt x="416" y="168"/>
                  </a:lnTo>
                  <a:lnTo>
                    <a:pt x="403" y="168"/>
                  </a:lnTo>
                  <a:lnTo>
                    <a:pt x="403" y="166"/>
                  </a:lnTo>
                  <a:lnTo>
                    <a:pt x="399" y="166"/>
                  </a:lnTo>
                  <a:lnTo>
                    <a:pt x="399" y="168"/>
                  </a:lnTo>
                  <a:lnTo>
                    <a:pt x="399" y="173"/>
                  </a:lnTo>
                  <a:lnTo>
                    <a:pt x="403" y="175"/>
                  </a:lnTo>
                  <a:lnTo>
                    <a:pt x="406" y="173"/>
                  </a:lnTo>
                  <a:lnTo>
                    <a:pt x="410" y="175"/>
                  </a:lnTo>
                  <a:lnTo>
                    <a:pt x="412" y="177"/>
                  </a:lnTo>
                  <a:lnTo>
                    <a:pt x="410" y="179"/>
                  </a:lnTo>
                  <a:lnTo>
                    <a:pt x="412" y="183"/>
                  </a:lnTo>
                  <a:lnTo>
                    <a:pt x="410" y="185"/>
                  </a:lnTo>
                  <a:lnTo>
                    <a:pt x="406" y="187"/>
                  </a:lnTo>
                  <a:lnTo>
                    <a:pt x="403" y="187"/>
                  </a:lnTo>
                  <a:lnTo>
                    <a:pt x="393" y="187"/>
                  </a:lnTo>
                  <a:lnTo>
                    <a:pt x="389" y="189"/>
                  </a:lnTo>
                  <a:lnTo>
                    <a:pt x="385" y="189"/>
                  </a:lnTo>
                  <a:lnTo>
                    <a:pt x="383" y="187"/>
                  </a:lnTo>
                  <a:lnTo>
                    <a:pt x="378" y="189"/>
                  </a:lnTo>
                  <a:lnTo>
                    <a:pt x="376" y="191"/>
                  </a:lnTo>
                  <a:lnTo>
                    <a:pt x="374" y="191"/>
                  </a:lnTo>
                  <a:lnTo>
                    <a:pt x="370" y="191"/>
                  </a:lnTo>
                  <a:lnTo>
                    <a:pt x="366" y="189"/>
                  </a:lnTo>
                  <a:lnTo>
                    <a:pt x="364" y="191"/>
                  </a:lnTo>
                  <a:lnTo>
                    <a:pt x="360" y="189"/>
                  </a:lnTo>
                  <a:lnTo>
                    <a:pt x="358" y="187"/>
                  </a:lnTo>
                  <a:lnTo>
                    <a:pt x="354" y="185"/>
                  </a:lnTo>
                  <a:lnTo>
                    <a:pt x="354" y="183"/>
                  </a:lnTo>
                  <a:lnTo>
                    <a:pt x="356" y="181"/>
                  </a:lnTo>
                  <a:lnTo>
                    <a:pt x="356" y="181"/>
                  </a:lnTo>
                  <a:lnTo>
                    <a:pt x="354" y="179"/>
                  </a:lnTo>
                  <a:lnTo>
                    <a:pt x="354" y="175"/>
                  </a:lnTo>
                  <a:lnTo>
                    <a:pt x="356" y="173"/>
                  </a:lnTo>
                  <a:lnTo>
                    <a:pt x="356" y="171"/>
                  </a:lnTo>
                  <a:lnTo>
                    <a:pt x="354" y="168"/>
                  </a:lnTo>
                  <a:lnTo>
                    <a:pt x="354" y="166"/>
                  </a:lnTo>
                  <a:lnTo>
                    <a:pt x="349" y="166"/>
                  </a:lnTo>
                  <a:lnTo>
                    <a:pt x="345" y="168"/>
                  </a:lnTo>
                  <a:lnTo>
                    <a:pt x="345" y="171"/>
                  </a:lnTo>
                  <a:lnTo>
                    <a:pt x="341" y="171"/>
                  </a:lnTo>
                  <a:lnTo>
                    <a:pt x="341" y="183"/>
                  </a:lnTo>
                  <a:lnTo>
                    <a:pt x="343" y="185"/>
                  </a:lnTo>
                  <a:lnTo>
                    <a:pt x="341" y="189"/>
                  </a:lnTo>
                  <a:lnTo>
                    <a:pt x="343" y="189"/>
                  </a:lnTo>
                  <a:lnTo>
                    <a:pt x="345" y="193"/>
                  </a:lnTo>
                  <a:lnTo>
                    <a:pt x="343" y="193"/>
                  </a:lnTo>
                  <a:lnTo>
                    <a:pt x="345" y="198"/>
                  </a:lnTo>
                  <a:lnTo>
                    <a:pt x="343" y="200"/>
                  </a:lnTo>
                  <a:lnTo>
                    <a:pt x="329" y="200"/>
                  </a:lnTo>
                  <a:lnTo>
                    <a:pt x="326" y="198"/>
                  </a:lnTo>
                  <a:lnTo>
                    <a:pt x="324" y="200"/>
                  </a:lnTo>
                  <a:lnTo>
                    <a:pt x="322" y="202"/>
                  </a:lnTo>
                  <a:lnTo>
                    <a:pt x="320" y="200"/>
                  </a:lnTo>
                  <a:lnTo>
                    <a:pt x="318" y="200"/>
                  </a:lnTo>
                  <a:lnTo>
                    <a:pt x="314" y="198"/>
                  </a:lnTo>
                  <a:lnTo>
                    <a:pt x="312" y="198"/>
                  </a:lnTo>
                  <a:lnTo>
                    <a:pt x="308" y="198"/>
                  </a:lnTo>
                  <a:lnTo>
                    <a:pt x="306" y="198"/>
                  </a:lnTo>
                  <a:lnTo>
                    <a:pt x="306" y="196"/>
                  </a:lnTo>
                  <a:lnTo>
                    <a:pt x="302" y="193"/>
                  </a:lnTo>
                  <a:lnTo>
                    <a:pt x="299" y="193"/>
                  </a:lnTo>
                  <a:lnTo>
                    <a:pt x="297" y="193"/>
                  </a:lnTo>
                  <a:lnTo>
                    <a:pt x="295" y="196"/>
                  </a:lnTo>
                  <a:lnTo>
                    <a:pt x="293" y="193"/>
                  </a:lnTo>
                  <a:lnTo>
                    <a:pt x="291" y="193"/>
                  </a:lnTo>
                  <a:lnTo>
                    <a:pt x="289" y="191"/>
                  </a:lnTo>
                  <a:lnTo>
                    <a:pt x="285" y="189"/>
                  </a:lnTo>
                  <a:lnTo>
                    <a:pt x="285" y="187"/>
                  </a:lnTo>
                  <a:lnTo>
                    <a:pt x="285" y="185"/>
                  </a:lnTo>
                  <a:lnTo>
                    <a:pt x="279" y="185"/>
                  </a:lnTo>
                  <a:lnTo>
                    <a:pt x="277" y="183"/>
                  </a:lnTo>
                  <a:lnTo>
                    <a:pt x="275" y="183"/>
                  </a:lnTo>
                  <a:lnTo>
                    <a:pt x="272" y="185"/>
                  </a:lnTo>
                  <a:lnTo>
                    <a:pt x="266" y="183"/>
                  </a:lnTo>
                  <a:lnTo>
                    <a:pt x="264" y="183"/>
                  </a:lnTo>
                  <a:lnTo>
                    <a:pt x="262" y="185"/>
                  </a:lnTo>
                  <a:lnTo>
                    <a:pt x="252" y="183"/>
                  </a:lnTo>
                  <a:lnTo>
                    <a:pt x="252" y="179"/>
                  </a:lnTo>
                  <a:lnTo>
                    <a:pt x="245" y="179"/>
                  </a:lnTo>
                  <a:lnTo>
                    <a:pt x="243" y="177"/>
                  </a:lnTo>
                  <a:lnTo>
                    <a:pt x="239" y="175"/>
                  </a:lnTo>
                  <a:lnTo>
                    <a:pt x="237" y="175"/>
                  </a:lnTo>
                  <a:lnTo>
                    <a:pt x="233" y="175"/>
                  </a:lnTo>
                  <a:lnTo>
                    <a:pt x="233" y="173"/>
                  </a:lnTo>
                  <a:lnTo>
                    <a:pt x="231" y="171"/>
                  </a:lnTo>
                  <a:lnTo>
                    <a:pt x="227" y="171"/>
                  </a:lnTo>
                  <a:lnTo>
                    <a:pt x="227" y="168"/>
                  </a:lnTo>
                  <a:lnTo>
                    <a:pt x="225" y="166"/>
                  </a:lnTo>
                  <a:lnTo>
                    <a:pt x="223" y="166"/>
                  </a:lnTo>
                  <a:lnTo>
                    <a:pt x="218" y="164"/>
                  </a:lnTo>
                  <a:lnTo>
                    <a:pt x="216" y="162"/>
                  </a:lnTo>
                  <a:lnTo>
                    <a:pt x="214" y="162"/>
                  </a:lnTo>
                  <a:lnTo>
                    <a:pt x="212" y="164"/>
                  </a:lnTo>
                  <a:lnTo>
                    <a:pt x="208" y="160"/>
                  </a:lnTo>
                  <a:lnTo>
                    <a:pt x="206" y="158"/>
                  </a:lnTo>
                  <a:lnTo>
                    <a:pt x="206" y="154"/>
                  </a:lnTo>
                  <a:lnTo>
                    <a:pt x="210" y="152"/>
                  </a:lnTo>
                  <a:lnTo>
                    <a:pt x="210" y="150"/>
                  </a:lnTo>
                  <a:lnTo>
                    <a:pt x="206" y="148"/>
                  </a:lnTo>
                  <a:lnTo>
                    <a:pt x="210" y="146"/>
                  </a:lnTo>
                  <a:lnTo>
                    <a:pt x="212" y="144"/>
                  </a:lnTo>
                  <a:lnTo>
                    <a:pt x="210" y="141"/>
                  </a:lnTo>
                  <a:lnTo>
                    <a:pt x="210" y="139"/>
                  </a:lnTo>
                  <a:lnTo>
                    <a:pt x="212" y="139"/>
                  </a:lnTo>
                  <a:lnTo>
                    <a:pt x="218" y="135"/>
                  </a:lnTo>
                  <a:lnTo>
                    <a:pt x="216" y="131"/>
                  </a:lnTo>
                  <a:lnTo>
                    <a:pt x="214" y="129"/>
                  </a:lnTo>
                  <a:lnTo>
                    <a:pt x="208" y="127"/>
                  </a:lnTo>
                  <a:lnTo>
                    <a:pt x="208" y="123"/>
                  </a:lnTo>
                  <a:lnTo>
                    <a:pt x="204" y="121"/>
                  </a:lnTo>
                  <a:lnTo>
                    <a:pt x="202" y="119"/>
                  </a:lnTo>
                  <a:lnTo>
                    <a:pt x="200" y="119"/>
                  </a:lnTo>
                  <a:lnTo>
                    <a:pt x="195" y="119"/>
                  </a:lnTo>
                  <a:lnTo>
                    <a:pt x="195" y="117"/>
                  </a:lnTo>
                  <a:lnTo>
                    <a:pt x="193" y="114"/>
                  </a:lnTo>
                  <a:lnTo>
                    <a:pt x="191" y="112"/>
                  </a:lnTo>
                  <a:lnTo>
                    <a:pt x="191" y="110"/>
                  </a:lnTo>
                  <a:lnTo>
                    <a:pt x="187" y="108"/>
                  </a:lnTo>
                  <a:lnTo>
                    <a:pt x="185" y="110"/>
                  </a:lnTo>
                  <a:lnTo>
                    <a:pt x="185" y="108"/>
                  </a:lnTo>
                  <a:lnTo>
                    <a:pt x="183" y="104"/>
                  </a:lnTo>
                  <a:lnTo>
                    <a:pt x="183" y="102"/>
                  </a:lnTo>
                  <a:lnTo>
                    <a:pt x="181" y="96"/>
                  </a:lnTo>
                  <a:lnTo>
                    <a:pt x="179" y="94"/>
                  </a:lnTo>
                  <a:lnTo>
                    <a:pt x="177" y="92"/>
                  </a:lnTo>
                  <a:lnTo>
                    <a:pt x="179" y="87"/>
                  </a:lnTo>
                  <a:lnTo>
                    <a:pt x="179" y="87"/>
                  </a:lnTo>
                  <a:lnTo>
                    <a:pt x="183" y="87"/>
                  </a:lnTo>
                  <a:lnTo>
                    <a:pt x="185" y="92"/>
                  </a:lnTo>
                  <a:lnTo>
                    <a:pt x="189" y="92"/>
                  </a:lnTo>
                  <a:lnTo>
                    <a:pt x="189" y="87"/>
                  </a:lnTo>
                  <a:lnTo>
                    <a:pt x="193" y="87"/>
                  </a:lnTo>
                  <a:lnTo>
                    <a:pt x="198" y="85"/>
                  </a:lnTo>
                  <a:lnTo>
                    <a:pt x="195" y="83"/>
                  </a:lnTo>
                  <a:lnTo>
                    <a:pt x="193" y="79"/>
                  </a:lnTo>
                  <a:lnTo>
                    <a:pt x="193" y="75"/>
                  </a:lnTo>
                  <a:lnTo>
                    <a:pt x="191" y="75"/>
                  </a:lnTo>
                  <a:lnTo>
                    <a:pt x="185" y="73"/>
                  </a:lnTo>
                  <a:lnTo>
                    <a:pt x="185" y="69"/>
                  </a:lnTo>
                  <a:lnTo>
                    <a:pt x="187" y="69"/>
                  </a:lnTo>
                  <a:lnTo>
                    <a:pt x="187" y="67"/>
                  </a:lnTo>
                  <a:lnTo>
                    <a:pt x="185" y="62"/>
                  </a:lnTo>
                  <a:lnTo>
                    <a:pt x="185" y="60"/>
                  </a:lnTo>
                  <a:lnTo>
                    <a:pt x="193" y="58"/>
                  </a:lnTo>
                  <a:lnTo>
                    <a:pt x="193" y="56"/>
                  </a:lnTo>
                  <a:lnTo>
                    <a:pt x="193" y="50"/>
                  </a:lnTo>
                  <a:lnTo>
                    <a:pt x="198" y="50"/>
                  </a:lnTo>
                  <a:lnTo>
                    <a:pt x="198" y="48"/>
                  </a:lnTo>
                  <a:lnTo>
                    <a:pt x="202" y="46"/>
                  </a:lnTo>
                  <a:lnTo>
                    <a:pt x="204" y="42"/>
                  </a:lnTo>
                  <a:lnTo>
                    <a:pt x="204" y="38"/>
                  </a:lnTo>
                  <a:lnTo>
                    <a:pt x="206" y="35"/>
                  </a:lnTo>
                  <a:lnTo>
                    <a:pt x="206" y="31"/>
                  </a:lnTo>
                  <a:lnTo>
                    <a:pt x="204" y="27"/>
                  </a:lnTo>
                  <a:lnTo>
                    <a:pt x="202" y="27"/>
                  </a:lnTo>
                  <a:lnTo>
                    <a:pt x="198" y="27"/>
                  </a:lnTo>
                  <a:lnTo>
                    <a:pt x="191" y="21"/>
                  </a:lnTo>
                  <a:lnTo>
                    <a:pt x="187" y="23"/>
                  </a:lnTo>
                  <a:lnTo>
                    <a:pt x="187" y="25"/>
                  </a:lnTo>
                  <a:lnTo>
                    <a:pt x="185" y="25"/>
                  </a:lnTo>
                  <a:lnTo>
                    <a:pt x="179" y="25"/>
                  </a:lnTo>
                  <a:lnTo>
                    <a:pt x="177" y="27"/>
                  </a:lnTo>
                  <a:lnTo>
                    <a:pt x="173" y="29"/>
                  </a:lnTo>
                  <a:lnTo>
                    <a:pt x="168" y="33"/>
                  </a:lnTo>
                  <a:lnTo>
                    <a:pt x="164" y="33"/>
                  </a:lnTo>
                  <a:lnTo>
                    <a:pt x="160" y="31"/>
                  </a:lnTo>
                  <a:lnTo>
                    <a:pt x="160" y="27"/>
                  </a:lnTo>
                  <a:lnTo>
                    <a:pt x="156" y="27"/>
                  </a:lnTo>
                  <a:lnTo>
                    <a:pt x="152" y="27"/>
                  </a:lnTo>
                  <a:lnTo>
                    <a:pt x="150" y="25"/>
                  </a:lnTo>
                  <a:lnTo>
                    <a:pt x="150" y="21"/>
                  </a:lnTo>
                  <a:lnTo>
                    <a:pt x="141" y="15"/>
                  </a:lnTo>
                  <a:lnTo>
                    <a:pt x="137" y="13"/>
                  </a:lnTo>
                  <a:lnTo>
                    <a:pt x="131" y="6"/>
                  </a:lnTo>
                  <a:lnTo>
                    <a:pt x="129" y="0"/>
                  </a:lnTo>
                  <a:lnTo>
                    <a:pt x="127" y="2"/>
                  </a:lnTo>
                  <a:lnTo>
                    <a:pt x="123" y="4"/>
                  </a:lnTo>
                  <a:lnTo>
                    <a:pt x="119" y="2"/>
                  </a:lnTo>
                  <a:lnTo>
                    <a:pt x="114" y="0"/>
                  </a:lnTo>
                  <a:lnTo>
                    <a:pt x="108" y="4"/>
                  </a:lnTo>
                  <a:lnTo>
                    <a:pt x="102" y="2"/>
                  </a:lnTo>
                  <a:lnTo>
                    <a:pt x="100" y="6"/>
                  </a:lnTo>
                  <a:lnTo>
                    <a:pt x="94" y="6"/>
                  </a:lnTo>
                  <a:lnTo>
                    <a:pt x="94" y="10"/>
                  </a:lnTo>
                  <a:lnTo>
                    <a:pt x="85" y="17"/>
                  </a:lnTo>
                  <a:lnTo>
                    <a:pt x="85" y="21"/>
                  </a:lnTo>
                  <a:lnTo>
                    <a:pt x="85" y="23"/>
                  </a:lnTo>
                  <a:lnTo>
                    <a:pt x="89" y="23"/>
                  </a:lnTo>
                  <a:lnTo>
                    <a:pt x="94" y="23"/>
                  </a:lnTo>
                  <a:lnTo>
                    <a:pt x="94" y="25"/>
                  </a:lnTo>
                  <a:lnTo>
                    <a:pt x="96" y="29"/>
                  </a:lnTo>
                  <a:lnTo>
                    <a:pt x="98" y="29"/>
                  </a:lnTo>
                  <a:lnTo>
                    <a:pt x="100" y="29"/>
                  </a:lnTo>
                  <a:lnTo>
                    <a:pt x="102" y="29"/>
                  </a:lnTo>
                  <a:lnTo>
                    <a:pt x="102" y="31"/>
                  </a:lnTo>
                  <a:lnTo>
                    <a:pt x="102" y="33"/>
                  </a:lnTo>
                  <a:lnTo>
                    <a:pt x="102" y="35"/>
                  </a:lnTo>
                  <a:lnTo>
                    <a:pt x="104" y="35"/>
                  </a:lnTo>
                  <a:lnTo>
                    <a:pt x="106" y="38"/>
                  </a:lnTo>
                  <a:lnTo>
                    <a:pt x="106" y="38"/>
                  </a:lnTo>
                  <a:lnTo>
                    <a:pt x="108" y="40"/>
                  </a:lnTo>
                  <a:lnTo>
                    <a:pt x="108" y="42"/>
                  </a:lnTo>
                  <a:lnTo>
                    <a:pt x="108" y="42"/>
                  </a:lnTo>
                  <a:lnTo>
                    <a:pt x="102" y="44"/>
                  </a:lnTo>
                  <a:lnTo>
                    <a:pt x="102" y="48"/>
                  </a:lnTo>
                  <a:lnTo>
                    <a:pt x="98" y="50"/>
                  </a:lnTo>
                  <a:lnTo>
                    <a:pt x="96" y="52"/>
                  </a:lnTo>
                  <a:lnTo>
                    <a:pt x="98" y="52"/>
                  </a:lnTo>
                  <a:lnTo>
                    <a:pt x="98" y="58"/>
                  </a:lnTo>
                  <a:lnTo>
                    <a:pt x="100" y="62"/>
                  </a:lnTo>
                  <a:lnTo>
                    <a:pt x="98" y="69"/>
                  </a:lnTo>
                  <a:lnTo>
                    <a:pt x="100" y="77"/>
                  </a:lnTo>
                  <a:lnTo>
                    <a:pt x="102" y="79"/>
                  </a:lnTo>
                  <a:lnTo>
                    <a:pt x="106" y="79"/>
                  </a:lnTo>
                  <a:lnTo>
                    <a:pt x="108" y="81"/>
                  </a:lnTo>
                  <a:lnTo>
                    <a:pt x="110" y="81"/>
                  </a:lnTo>
                  <a:lnTo>
                    <a:pt x="112" y="83"/>
                  </a:lnTo>
                  <a:lnTo>
                    <a:pt x="114" y="83"/>
                  </a:lnTo>
                  <a:lnTo>
                    <a:pt x="116" y="85"/>
                  </a:lnTo>
                  <a:lnTo>
                    <a:pt x="116" y="87"/>
                  </a:lnTo>
                  <a:lnTo>
                    <a:pt x="116" y="89"/>
                  </a:lnTo>
                  <a:lnTo>
                    <a:pt x="119" y="89"/>
                  </a:lnTo>
                  <a:lnTo>
                    <a:pt x="123" y="89"/>
                  </a:lnTo>
                  <a:lnTo>
                    <a:pt x="125" y="89"/>
                  </a:lnTo>
                  <a:lnTo>
                    <a:pt x="127" y="94"/>
                  </a:lnTo>
                  <a:lnTo>
                    <a:pt x="127" y="98"/>
                  </a:lnTo>
                  <a:lnTo>
                    <a:pt x="121" y="98"/>
                  </a:lnTo>
                  <a:lnTo>
                    <a:pt x="116" y="100"/>
                  </a:lnTo>
                  <a:lnTo>
                    <a:pt x="114" y="102"/>
                  </a:lnTo>
                  <a:lnTo>
                    <a:pt x="114" y="102"/>
                  </a:lnTo>
                  <a:lnTo>
                    <a:pt x="114" y="104"/>
                  </a:lnTo>
                  <a:lnTo>
                    <a:pt x="116" y="106"/>
                  </a:lnTo>
                  <a:lnTo>
                    <a:pt x="116" y="108"/>
                  </a:lnTo>
                  <a:lnTo>
                    <a:pt x="112" y="110"/>
                  </a:lnTo>
                  <a:lnTo>
                    <a:pt x="112" y="112"/>
                  </a:lnTo>
                  <a:lnTo>
                    <a:pt x="116" y="114"/>
                  </a:lnTo>
                  <a:lnTo>
                    <a:pt x="110" y="119"/>
                  </a:lnTo>
                  <a:lnTo>
                    <a:pt x="110" y="121"/>
                  </a:lnTo>
                  <a:lnTo>
                    <a:pt x="106" y="125"/>
                  </a:lnTo>
                  <a:lnTo>
                    <a:pt x="104" y="127"/>
                  </a:lnTo>
                  <a:lnTo>
                    <a:pt x="104" y="131"/>
                  </a:lnTo>
                  <a:lnTo>
                    <a:pt x="102" y="133"/>
                  </a:lnTo>
                  <a:lnTo>
                    <a:pt x="96" y="135"/>
                  </a:lnTo>
                  <a:lnTo>
                    <a:pt x="94" y="141"/>
                  </a:lnTo>
                  <a:lnTo>
                    <a:pt x="87" y="152"/>
                  </a:lnTo>
                  <a:lnTo>
                    <a:pt x="85" y="154"/>
                  </a:lnTo>
                  <a:lnTo>
                    <a:pt x="83" y="156"/>
                  </a:lnTo>
                  <a:lnTo>
                    <a:pt x="77" y="158"/>
                  </a:lnTo>
                  <a:lnTo>
                    <a:pt x="75" y="158"/>
                  </a:lnTo>
                  <a:lnTo>
                    <a:pt x="75" y="164"/>
                  </a:lnTo>
                  <a:lnTo>
                    <a:pt x="73" y="166"/>
                  </a:lnTo>
                  <a:lnTo>
                    <a:pt x="71" y="166"/>
                  </a:lnTo>
                  <a:lnTo>
                    <a:pt x="69" y="168"/>
                  </a:lnTo>
                  <a:lnTo>
                    <a:pt x="69" y="171"/>
                  </a:lnTo>
                  <a:lnTo>
                    <a:pt x="67" y="173"/>
                  </a:lnTo>
                  <a:lnTo>
                    <a:pt x="56" y="175"/>
                  </a:lnTo>
                  <a:lnTo>
                    <a:pt x="54" y="175"/>
                  </a:lnTo>
                  <a:lnTo>
                    <a:pt x="52" y="177"/>
                  </a:lnTo>
                  <a:lnTo>
                    <a:pt x="48" y="175"/>
                  </a:lnTo>
                  <a:lnTo>
                    <a:pt x="48" y="173"/>
                  </a:lnTo>
                  <a:lnTo>
                    <a:pt x="46" y="171"/>
                  </a:lnTo>
                  <a:lnTo>
                    <a:pt x="46" y="171"/>
                  </a:lnTo>
                  <a:lnTo>
                    <a:pt x="40" y="173"/>
                  </a:lnTo>
                  <a:lnTo>
                    <a:pt x="37" y="175"/>
                  </a:lnTo>
                  <a:lnTo>
                    <a:pt x="35" y="181"/>
                  </a:lnTo>
                  <a:lnTo>
                    <a:pt x="31" y="183"/>
                  </a:lnTo>
                  <a:lnTo>
                    <a:pt x="29" y="185"/>
                  </a:lnTo>
                  <a:lnTo>
                    <a:pt x="27" y="187"/>
                  </a:lnTo>
                  <a:lnTo>
                    <a:pt x="27" y="189"/>
                  </a:lnTo>
                  <a:lnTo>
                    <a:pt x="27" y="193"/>
                  </a:lnTo>
                  <a:lnTo>
                    <a:pt x="27" y="193"/>
                  </a:lnTo>
                  <a:lnTo>
                    <a:pt x="29" y="196"/>
                  </a:lnTo>
                  <a:lnTo>
                    <a:pt x="31" y="198"/>
                  </a:lnTo>
                  <a:lnTo>
                    <a:pt x="35" y="196"/>
                  </a:lnTo>
                  <a:lnTo>
                    <a:pt x="37" y="198"/>
                  </a:lnTo>
                  <a:lnTo>
                    <a:pt x="37" y="200"/>
                  </a:lnTo>
                  <a:lnTo>
                    <a:pt x="37" y="206"/>
                  </a:lnTo>
                  <a:lnTo>
                    <a:pt x="35" y="206"/>
                  </a:lnTo>
                  <a:lnTo>
                    <a:pt x="35" y="210"/>
                  </a:lnTo>
                  <a:lnTo>
                    <a:pt x="37" y="212"/>
                  </a:lnTo>
                  <a:lnTo>
                    <a:pt x="40" y="214"/>
                  </a:lnTo>
                  <a:lnTo>
                    <a:pt x="40" y="214"/>
                  </a:lnTo>
                  <a:lnTo>
                    <a:pt x="42" y="214"/>
                  </a:lnTo>
                  <a:lnTo>
                    <a:pt x="46" y="214"/>
                  </a:lnTo>
                  <a:lnTo>
                    <a:pt x="46" y="223"/>
                  </a:lnTo>
                  <a:lnTo>
                    <a:pt x="48" y="225"/>
                  </a:lnTo>
                  <a:lnTo>
                    <a:pt x="48" y="225"/>
                  </a:lnTo>
                  <a:lnTo>
                    <a:pt x="48" y="229"/>
                  </a:lnTo>
                  <a:lnTo>
                    <a:pt x="50" y="231"/>
                  </a:lnTo>
                  <a:lnTo>
                    <a:pt x="52" y="233"/>
                  </a:lnTo>
                  <a:lnTo>
                    <a:pt x="50" y="237"/>
                  </a:lnTo>
                  <a:lnTo>
                    <a:pt x="50" y="237"/>
                  </a:lnTo>
                  <a:lnTo>
                    <a:pt x="48" y="239"/>
                  </a:lnTo>
                  <a:lnTo>
                    <a:pt x="44" y="241"/>
                  </a:lnTo>
                  <a:lnTo>
                    <a:pt x="42" y="237"/>
                  </a:lnTo>
                  <a:lnTo>
                    <a:pt x="37" y="239"/>
                  </a:lnTo>
                  <a:lnTo>
                    <a:pt x="35" y="239"/>
                  </a:lnTo>
                  <a:lnTo>
                    <a:pt x="35" y="241"/>
                  </a:lnTo>
                  <a:lnTo>
                    <a:pt x="31" y="241"/>
                  </a:lnTo>
                  <a:lnTo>
                    <a:pt x="27" y="241"/>
                  </a:lnTo>
                  <a:lnTo>
                    <a:pt x="27" y="239"/>
                  </a:lnTo>
                  <a:lnTo>
                    <a:pt x="25" y="239"/>
                  </a:lnTo>
                  <a:lnTo>
                    <a:pt x="21" y="237"/>
                  </a:lnTo>
                  <a:lnTo>
                    <a:pt x="17" y="237"/>
                  </a:lnTo>
                  <a:lnTo>
                    <a:pt x="15" y="239"/>
                  </a:lnTo>
                  <a:lnTo>
                    <a:pt x="15" y="237"/>
                  </a:lnTo>
                  <a:lnTo>
                    <a:pt x="12" y="237"/>
                  </a:lnTo>
                  <a:lnTo>
                    <a:pt x="10" y="243"/>
                  </a:lnTo>
                  <a:lnTo>
                    <a:pt x="8" y="243"/>
                  </a:lnTo>
                  <a:lnTo>
                    <a:pt x="6" y="243"/>
                  </a:lnTo>
                  <a:lnTo>
                    <a:pt x="2" y="243"/>
                  </a:lnTo>
                  <a:lnTo>
                    <a:pt x="0" y="245"/>
                  </a:lnTo>
                  <a:lnTo>
                    <a:pt x="0" y="247"/>
                  </a:lnTo>
                  <a:lnTo>
                    <a:pt x="0" y="250"/>
                  </a:lnTo>
                  <a:lnTo>
                    <a:pt x="4" y="252"/>
                  </a:lnTo>
                  <a:lnTo>
                    <a:pt x="4" y="252"/>
                  </a:lnTo>
                  <a:lnTo>
                    <a:pt x="6" y="254"/>
                  </a:lnTo>
                  <a:lnTo>
                    <a:pt x="8" y="256"/>
                  </a:lnTo>
                  <a:lnTo>
                    <a:pt x="10" y="260"/>
                  </a:lnTo>
                  <a:lnTo>
                    <a:pt x="10" y="262"/>
                  </a:lnTo>
                  <a:lnTo>
                    <a:pt x="15" y="262"/>
                  </a:lnTo>
                  <a:lnTo>
                    <a:pt x="19" y="264"/>
                  </a:lnTo>
                  <a:lnTo>
                    <a:pt x="23" y="266"/>
                  </a:lnTo>
                  <a:lnTo>
                    <a:pt x="25" y="266"/>
                  </a:lnTo>
                  <a:lnTo>
                    <a:pt x="27" y="266"/>
                  </a:lnTo>
                  <a:lnTo>
                    <a:pt x="33" y="262"/>
                  </a:lnTo>
                  <a:lnTo>
                    <a:pt x="33" y="262"/>
                  </a:lnTo>
                  <a:lnTo>
                    <a:pt x="35" y="260"/>
                  </a:lnTo>
                  <a:lnTo>
                    <a:pt x="37" y="258"/>
                  </a:lnTo>
                  <a:lnTo>
                    <a:pt x="37" y="258"/>
                  </a:lnTo>
                  <a:lnTo>
                    <a:pt x="40" y="260"/>
                  </a:lnTo>
                  <a:lnTo>
                    <a:pt x="44" y="260"/>
                  </a:lnTo>
                  <a:lnTo>
                    <a:pt x="46" y="260"/>
                  </a:lnTo>
                  <a:lnTo>
                    <a:pt x="46" y="262"/>
                  </a:lnTo>
                  <a:lnTo>
                    <a:pt x="46" y="262"/>
                  </a:lnTo>
                  <a:lnTo>
                    <a:pt x="44" y="264"/>
                  </a:lnTo>
                  <a:lnTo>
                    <a:pt x="42" y="266"/>
                  </a:lnTo>
                  <a:lnTo>
                    <a:pt x="42" y="268"/>
                  </a:lnTo>
                  <a:lnTo>
                    <a:pt x="37" y="270"/>
                  </a:lnTo>
                  <a:lnTo>
                    <a:pt x="35" y="272"/>
                  </a:lnTo>
                  <a:lnTo>
                    <a:pt x="35" y="275"/>
                  </a:lnTo>
                  <a:lnTo>
                    <a:pt x="29" y="275"/>
                  </a:lnTo>
                  <a:lnTo>
                    <a:pt x="29" y="277"/>
                  </a:lnTo>
                  <a:lnTo>
                    <a:pt x="23" y="279"/>
                  </a:lnTo>
                  <a:lnTo>
                    <a:pt x="21" y="279"/>
                  </a:lnTo>
                  <a:lnTo>
                    <a:pt x="17" y="279"/>
                  </a:lnTo>
                  <a:lnTo>
                    <a:pt x="17" y="279"/>
                  </a:lnTo>
                  <a:lnTo>
                    <a:pt x="19" y="283"/>
                  </a:lnTo>
                  <a:lnTo>
                    <a:pt x="21" y="283"/>
                  </a:lnTo>
                  <a:lnTo>
                    <a:pt x="21" y="285"/>
                  </a:lnTo>
                  <a:lnTo>
                    <a:pt x="23" y="289"/>
                  </a:lnTo>
                  <a:lnTo>
                    <a:pt x="37" y="304"/>
                  </a:lnTo>
                  <a:lnTo>
                    <a:pt x="42" y="306"/>
                  </a:lnTo>
                  <a:lnTo>
                    <a:pt x="46" y="308"/>
                  </a:lnTo>
                  <a:lnTo>
                    <a:pt x="48" y="306"/>
                  </a:lnTo>
                  <a:lnTo>
                    <a:pt x="50" y="306"/>
                  </a:lnTo>
                  <a:lnTo>
                    <a:pt x="54" y="304"/>
                  </a:lnTo>
                  <a:lnTo>
                    <a:pt x="56" y="302"/>
                  </a:lnTo>
                  <a:lnTo>
                    <a:pt x="62" y="299"/>
                  </a:lnTo>
                  <a:lnTo>
                    <a:pt x="67" y="297"/>
                  </a:lnTo>
                  <a:lnTo>
                    <a:pt x="69" y="295"/>
                  </a:lnTo>
                  <a:lnTo>
                    <a:pt x="69" y="291"/>
                  </a:lnTo>
                  <a:lnTo>
                    <a:pt x="67" y="291"/>
                  </a:lnTo>
                  <a:lnTo>
                    <a:pt x="67" y="289"/>
                  </a:lnTo>
                  <a:lnTo>
                    <a:pt x="64" y="287"/>
                  </a:lnTo>
                  <a:lnTo>
                    <a:pt x="64" y="285"/>
                  </a:lnTo>
                  <a:lnTo>
                    <a:pt x="67" y="283"/>
                  </a:lnTo>
                  <a:lnTo>
                    <a:pt x="69" y="283"/>
                  </a:lnTo>
                  <a:lnTo>
                    <a:pt x="69" y="279"/>
                  </a:lnTo>
                  <a:lnTo>
                    <a:pt x="71" y="277"/>
                  </a:lnTo>
                  <a:lnTo>
                    <a:pt x="75" y="277"/>
                  </a:lnTo>
                  <a:lnTo>
                    <a:pt x="77" y="279"/>
                  </a:lnTo>
                  <a:lnTo>
                    <a:pt x="81" y="279"/>
                  </a:lnTo>
                  <a:lnTo>
                    <a:pt x="83" y="281"/>
                  </a:lnTo>
                  <a:lnTo>
                    <a:pt x="81" y="285"/>
                  </a:lnTo>
                  <a:lnTo>
                    <a:pt x="79" y="287"/>
                  </a:lnTo>
                  <a:lnTo>
                    <a:pt x="79" y="289"/>
                  </a:lnTo>
                  <a:lnTo>
                    <a:pt x="83" y="291"/>
                  </a:lnTo>
                  <a:lnTo>
                    <a:pt x="83" y="293"/>
                  </a:lnTo>
                  <a:lnTo>
                    <a:pt x="79" y="295"/>
                  </a:lnTo>
                  <a:lnTo>
                    <a:pt x="81" y="302"/>
                  </a:lnTo>
                  <a:lnTo>
                    <a:pt x="83" y="304"/>
                  </a:lnTo>
                  <a:lnTo>
                    <a:pt x="83" y="308"/>
                  </a:lnTo>
                  <a:lnTo>
                    <a:pt x="83" y="308"/>
                  </a:lnTo>
                  <a:lnTo>
                    <a:pt x="81" y="316"/>
                  </a:lnTo>
                  <a:lnTo>
                    <a:pt x="81" y="318"/>
                  </a:lnTo>
                  <a:lnTo>
                    <a:pt x="81" y="320"/>
                  </a:lnTo>
                  <a:lnTo>
                    <a:pt x="77" y="326"/>
                  </a:lnTo>
                  <a:lnTo>
                    <a:pt x="79" y="335"/>
                  </a:lnTo>
                  <a:lnTo>
                    <a:pt x="79" y="354"/>
                  </a:lnTo>
                  <a:lnTo>
                    <a:pt x="81" y="356"/>
                  </a:lnTo>
                  <a:lnTo>
                    <a:pt x="83" y="366"/>
                  </a:lnTo>
                  <a:lnTo>
                    <a:pt x="85" y="370"/>
                  </a:lnTo>
                  <a:lnTo>
                    <a:pt x="85" y="374"/>
                  </a:lnTo>
                  <a:lnTo>
                    <a:pt x="85" y="376"/>
                  </a:lnTo>
                  <a:lnTo>
                    <a:pt x="87" y="387"/>
                  </a:lnTo>
                  <a:lnTo>
                    <a:pt x="89" y="389"/>
                  </a:lnTo>
                  <a:lnTo>
                    <a:pt x="87" y="391"/>
                  </a:lnTo>
                  <a:lnTo>
                    <a:pt x="89" y="399"/>
                  </a:lnTo>
                  <a:lnTo>
                    <a:pt x="89" y="399"/>
                  </a:lnTo>
                  <a:lnTo>
                    <a:pt x="94" y="405"/>
                  </a:lnTo>
                  <a:lnTo>
                    <a:pt x="94" y="410"/>
                  </a:lnTo>
                  <a:lnTo>
                    <a:pt x="94" y="412"/>
                  </a:lnTo>
                  <a:lnTo>
                    <a:pt x="96" y="416"/>
                  </a:lnTo>
                  <a:lnTo>
                    <a:pt x="102" y="424"/>
                  </a:lnTo>
                  <a:lnTo>
                    <a:pt x="102" y="426"/>
                  </a:lnTo>
                  <a:lnTo>
                    <a:pt x="104" y="426"/>
                  </a:lnTo>
                  <a:lnTo>
                    <a:pt x="104" y="430"/>
                  </a:lnTo>
                  <a:lnTo>
                    <a:pt x="106" y="430"/>
                  </a:lnTo>
                  <a:lnTo>
                    <a:pt x="108" y="432"/>
                  </a:lnTo>
                  <a:lnTo>
                    <a:pt x="106" y="435"/>
                  </a:lnTo>
                  <a:lnTo>
                    <a:pt x="104" y="437"/>
                  </a:lnTo>
                  <a:lnTo>
                    <a:pt x="108" y="439"/>
                  </a:lnTo>
                  <a:lnTo>
                    <a:pt x="110" y="443"/>
                  </a:lnTo>
                  <a:lnTo>
                    <a:pt x="112" y="445"/>
                  </a:lnTo>
                  <a:lnTo>
                    <a:pt x="112" y="449"/>
                  </a:lnTo>
                  <a:lnTo>
                    <a:pt x="110" y="451"/>
                  </a:lnTo>
                  <a:lnTo>
                    <a:pt x="112" y="453"/>
                  </a:lnTo>
                  <a:lnTo>
                    <a:pt x="114" y="462"/>
                  </a:lnTo>
                  <a:lnTo>
                    <a:pt x="116" y="470"/>
                  </a:lnTo>
                  <a:lnTo>
                    <a:pt x="119" y="470"/>
                  </a:lnTo>
                  <a:lnTo>
                    <a:pt x="119" y="474"/>
                  </a:lnTo>
                  <a:lnTo>
                    <a:pt x="121" y="476"/>
                  </a:lnTo>
                  <a:lnTo>
                    <a:pt x="127" y="482"/>
                  </a:lnTo>
                  <a:lnTo>
                    <a:pt x="127" y="487"/>
                  </a:lnTo>
                  <a:lnTo>
                    <a:pt x="129" y="487"/>
                  </a:lnTo>
                  <a:lnTo>
                    <a:pt x="133" y="493"/>
                  </a:lnTo>
                  <a:lnTo>
                    <a:pt x="133" y="497"/>
                  </a:lnTo>
                  <a:lnTo>
                    <a:pt x="135" y="503"/>
                  </a:lnTo>
                  <a:lnTo>
                    <a:pt x="135" y="503"/>
                  </a:lnTo>
                  <a:lnTo>
                    <a:pt x="137" y="509"/>
                  </a:lnTo>
                  <a:lnTo>
                    <a:pt x="139" y="511"/>
                  </a:lnTo>
                  <a:lnTo>
                    <a:pt x="141" y="518"/>
                  </a:lnTo>
                  <a:lnTo>
                    <a:pt x="141" y="520"/>
                  </a:lnTo>
                  <a:lnTo>
                    <a:pt x="141" y="524"/>
                  </a:lnTo>
                  <a:lnTo>
                    <a:pt x="143" y="528"/>
                  </a:lnTo>
                  <a:lnTo>
                    <a:pt x="143" y="530"/>
                  </a:lnTo>
                  <a:lnTo>
                    <a:pt x="146" y="534"/>
                  </a:lnTo>
                  <a:lnTo>
                    <a:pt x="156" y="547"/>
                  </a:lnTo>
                  <a:lnTo>
                    <a:pt x="158" y="549"/>
                  </a:lnTo>
                  <a:lnTo>
                    <a:pt x="164" y="551"/>
                  </a:lnTo>
                  <a:lnTo>
                    <a:pt x="166" y="551"/>
                  </a:lnTo>
                  <a:lnTo>
                    <a:pt x="171" y="549"/>
                  </a:lnTo>
                  <a:lnTo>
                    <a:pt x="173" y="547"/>
                  </a:lnTo>
                  <a:lnTo>
                    <a:pt x="175" y="547"/>
                  </a:lnTo>
                  <a:lnTo>
                    <a:pt x="177" y="545"/>
                  </a:lnTo>
                  <a:lnTo>
                    <a:pt x="177" y="543"/>
                  </a:lnTo>
                  <a:lnTo>
                    <a:pt x="177" y="539"/>
                  </a:lnTo>
                  <a:lnTo>
                    <a:pt x="179" y="536"/>
                  </a:lnTo>
                  <a:lnTo>
                    <a:pt x="179" y="534"/>
                  </a:lnTo>
                  <a:lnTo>
                    <a:pt x="181" y="532"/>
                  </a:lnTo>
                  <a:lnTo>
                    <a:pt x="191" y="530"/>
                  </a:lnTo>
                  <a:lnTo>
                    <a:pt x="193" y="530"/>
                  </a:lnTo>
                  <a:lnTo>
                    <a:pt x="198" y="530"/>
                  </a:lnTo>
                  <a:lnTo>
                    <a:pt x="200" y="530"/>
                  </a:lnTo>
                  <a:lnTo>
                    <a:pt x="204" y="530"/>
                  </a:lnTo>
                  <a:lnTo>
                    <a:pt x="202" y="528"/>
                  </a:lnTo>
                  <a:lnTo>
                    <a:pt x="200" y="528"/>
                  </a:lnTo>
                  <a:lnTo>
                    <a:pt x="195" y="528"/>
                  </a:lnTo>
                  <a:lnTo>
                    <a:pt x="193" y="526"/>
                  </a:lnTo>
                  <a:lnTo>
                    <a:pt x="193" y="522"/>
                  </a:lnTo>
                  <a:lnTo>
                    <a:pt x="193" y="520"/>
                  </a:lnTo>
                  <a:lnTo>
                    <a:pt x="195" y="518"/>
                  </a:lnTo>
                  <a:lnTo>
                    <a:pt x="198" y="516"/>
                  </a:lnTo>
                  <a:lnTo>
                    <a:pt x="198" y="514"/>
                  </a:lnTo>
                  <a:lnTo>
                    <a:pt x="200" y="509"/>
                  </a:lnTo>
                  <a:lnTo>
                    <a:pt x="200" y="509"/>
                  </a:lnTo>
                  <a:lnTo>
                    <a:pt x="204" y="507"/>
                  </a:lnTo>
                  <a:lnTo>
                    <a:pt x="208" y="509"/>
                  </a:lnTo>
                  <a:lnTo>
                    <a:pt x="210" y="509"/>
                  </a:lnTo>
                  <a:lnTo>
                    <a:pt x="210" y="505"/>
                  </a:lnTo>
                  <a:lnTo>
                    <a:pt x="210" y="503"/>
                  </a:lnTo>
                  <a:lnTo>
                    <a:pt x="210" y="499"/>
                  </a:lnTo>
                  <a:lnTo>
                    <a:pt x="206" y="497"/>
                  </a:lnTo>
                  <a:lnTo>
                    <a:pt x="206" y="495"/>
                  </a:lnTo>
                  <a:lnTo>
                    <a:pt x="210" y="495"/>
                  </a:lnTo>
                  <a:lnTo>
                    <a:pt x="210" y="493"/>
                  </a:lnTo>
                  <a:lnTo>
                    <a:pt x="210" y="491"/>
                  </a:lnTo>
                  <a:lnTo>
                    <a:pt x="208" y="487"/>
                  </a:lnTo>
                  <a:lnTo>
                    <a:pt x="208" y="484"/>
                  </a:lnTo>
                  <a:lnTo>
                    <a:pt x="208" y="482"/>
                  </a:lnTo>
                  <a:lnTo>
                    <a:pt x="206" y="480"/>
                  </a:lnTo>
                  <a:lnTo>
                    <a:pt x="208" y="476"/>
                  </a:lnTo>
                  <a:lnTo>
                    <a:pt x="212" y="472"/>
                  </a:lnTo>
                  <a:lnTo>
                    <a:pt x="214" y="470"/>
                  </a:lnTo>
                  <a:lnTo>
                    <a:pt x="214" y="468"/>
                  </a:lnTo>
                  <a:lnTo>
                    <a:pt x="216" y="462"/>
                  </a:lnTo>
                  <a:lnTo>
                    <a:pt x="216" y="457"/>
                  </a:lnTo>
                  <a:lnTo>
                    <a:pt x="218" y="453"/>
                  </a:lnTo>
                  <a:lnTo>
                    <a:pt x="216" y="451"/>
                  </a:lnTo>
                  <a:lnTo>
                    <a:pt x="216" y="447"/>
                  </a:lnTo>
                  <a:lnTo>
                    <a:pt x="216" y="445"/>
                  </a:lnTo>
                  <a:lnTo>
                    <a:pt x="214" y="441"/>
                  </a:lnTo>
                  <a:lnTo>
                    <a:pt x="214" y="439"/>
                  </a:lnTo>
                  <a:lnTo>
                    <a:pt x="212" y="435"/>
                  </a:lnTo>
                  <a:lnTo>
                    <a:pt x="212" y="432"/>
                  </a:lnTo>
                  <a:lnTo>
                    <a:pt x="214" y="432"/>
                  </a:lnTo>
                  <a:lnTo>
                    <a:pt x="214" y="430"/>
                  </a:lnTo>
                  <a:lnTo>
                    <a:pt x="214" y="428"/>
                  </a:lnTo>
                  <a:lnTo>
                    <a:pt x="212" y="428"/>
                  </a:lnTo>
                  <a:lnTo>
                    <a:pt x="214" y="426"/>
                  </a:lnTo>
                  <a:lnTo>
                    <a:pt x="212" y="424"/>
                  </a:lnTo>
                  <a:lnTo>
                    <a:pt x="212" y="420"/>
                  </a:lnTo>
                  <a:lnTo>
                    <a:pt x="212" y="414"/>
                  </a:lnTo>
                  <a:lnTo>
                    <a:pt x="216" y="405"/>
                  </a:lnTo>
                  <a:lnTo>
                    <a:pt x="220" y="401"/>
                  </a:lnTo>
                  <a:lnTo>
                    <a:pt x="225" y="403"/>
                  </a:lnTo>
                  <a:lnTo>
                    <a:pt x="227" y="405"/>
                  </a:lnTo>
                  <a:lnTo>
                    <a:pt x="229" y="405"/>
                  </a:lnTo>
                  <a:lnTo>
                    <a:pt x="229" y="403"/>
                  </a:lnTo>
                  <a:lnTo>
                    <a:pt x="233" y="397"/>
                  </a:lnTo>
                  <a:lnTo>
                    <a:pt x="233" y="393"/>
                  </a:lnTo>
                  <a:lnTo>
                    <a:pt x="237" y="393"/>
                  </a:lnTo>
                  <a:lnTo>
                    <a:pt x="239" y="393"/>
                  </a:lnTo>
                  <a:lnTo>
                    <a:pt x="243" y="393"/>
                  </a:lnTo>
                  <a:lnTo>
                    <a:pt x="245" y="391"/>
                  </a:lnTo>
                  <a:lnTo>
                    <a:pt x="252" y="389"/>
                  </a:lnTo>
                  <a:lnTo>
                    <a:pt x="254" y="387"/>
                  </a:lnTo>
                  <a:lnTo>
                    <a:pt x="254" y="385"/>
                  </a:lnTo>
                  <a:lnTo>
                    <a:pt x="252" y="383"/>
                  </a:lnTo>
                  <a:lnTo>
                    <a:pt x="252" y="381"/>
                  </a:lnTo>
                  <a:lnTo>
                    <a:pt x="258" y="372"/>
                  </a:lnTo>
                  <a:lnTo>
                    <a:pt x="262" y="372"/>
                  </a:lnTo>
                  <a:lnTo>
                    <a:pt x="262" y="370"/>
                  </a:lnTo>
                  <a:lnTo>
                    <a:pt x="268" y="368"/>
                  </a:lnTo>
                  <a:lnTo>
                    <a:pt x="270" y="366"/>
                  </a:lnTo>
                  <a:lnTo>
                    <a:pt x="272" y="364"/>
                  </a:lnTo>
                  <a:lnTo>
                    <a:pt x="275" y="358"/>
                  </a:lnTo>
                  <a:lnTo>
                    <a:pt x="277" y="358"/>
                  </a:lnTo>
                  <a:lnTo>
                    <a:pt x="281" y="356"/>
                  </a:lnTo>
                  <a:lnTo>
                    <a:pt x="283" y="354"/>
                  </a:lnTo>
                  <a:lnTo>
                    <a:pt x="285" y="351"/>
                  </a:lnTo>
                  <a:lnTo>
                    <a:pt x="289" y="347"/>
                  </a:lnTo>
                  <a:lnTo>
                    <a:pt x="289" y="345"/>
                  </a:lnTo>
                  <a:lnTo>
                    <a:pt x="289" y="343"/>
                  </a:lnTo>
                  <a:lnTo>
                    <a:pt x="297" y="337"/>
                  </a:lnTo>
                  <a:lnTo>
                    <a:pt x="299" y="333"/>
                  </a:lnTo>
                  <a:lnTo>
                    <a:pt x="302" y="329"/>
                  </a:lnTo>
                  <a:lnTo>
                    <a:pt x="304" y="326"/>
                  </a:lnTo>
                  <a:lnTo>
                    <a:pt x="306" y="324"/>
                  </a:lnTo>
                  <a:lnTo>
                    <a:pt x="308" y="324"/>
                  </a:lnTo>
                  <a:lnTo>
                    <a:pt x="310" y="326"/>
                  </a:lnTo>
                  <a:lnTo>
                    <a:pt x="316" y="324"/>
                  </a:lnTo>
                  <a:lnTo>
                    <a:pt x="318" y="322"/>
                  </a:lnTo>
                  <a:lnTo>
                    <a:pt x="320" y="322"/>
                  </a:lnTo>
                  <a:lnTo>
                    <a:pt x="329" y="314"/>
                  </a:lnTo>
                  <a:lnTo>
                    <a:pt x="331" y="310"/>
                  </a:lnTo>
                  <a:lnTo>
                    <a:pt x="333" y="308"/>
                  </a:lnTo>
                  <a:lnTo>
                    <a:pt x="331" y="308"/>
                  </a:lnTo>
                  <a:lnTo>
                    <a:pt x="333" y="306"/>
                  </a:lnTo>
                  <a:lnTo>
                    <a:pt x="331" y="304"/>
                  </a:lnTo>
                  <a:lnTo>
                    <a:pt x="329" y="299"/>
                  </a:lnTo>
                  <a:lnTo>
                    <a:pt x="331" y="297"/>
                  </a:lnTo>
                  <a:lnTo>
                    <a:pt x="331" y="295"/>
                  </a:lnTo>
                  <a:lnTo>
                    <a:pt x="333" y="293"/>
                  </a:lnTo>
                  <a:lnTo>
                    <a:pt x="335" y="289"/>
                  </a:lnTo>
                  <a:lnTo>
                    <a:pt x="337" y="289"/>
                  </a:lnTo>
                  <a:lnTo>
                    <a:pt x="345" y="287"/>
                  </a:lnTo>
                  <a:lnTo>
                    <a:pt x="347" y="285"/>
                  </a:lnTo>
                  <a:lnTo>
                    <a:pt x="347" y="283"/>
                  </a:lnTo>
                  <a:lnTo>
                    <a:pt x="351" y="285"/>
                  </a:lnTo>
                  <a:lnTo>
                    <a:pt x="356" y="285"/>
                  </a:lnTo>
                  <a:lnTo>
                    <a:pt x="360" y="287"/>
                  </a:lnTo>
                  <a:lnTo>
                    <a:pt x="364" y="287"/>
                  </a:lnTo>
                  <a:lnTo>
                    <a:pt x="366" y="283"/>
                  </a:lnTo>
                  <a:lnTo>
                    <a:pt x="366" y="281"/>
                  </a:lnTo>
                  <a:lnTo>
                    <a:pt x="366" y="277"/>
                  </a:lnTo>
                  <a:lnTo>
                    <a:pt x="366" y="275"/>
                  </a:lnTo>
                  <a:lnTo>
                    <a:pt x="366" y="272"/>
                  </a:lnTo>
                  <a:lnTo>
                    <a:pt x="362" y="262"/>
                  </a:lnTo>
                  <a:lnTo>
                    <a:pt x="362" y="256"/>
                  </a:lnTo>
                  <a:lnTo>
                    <a:pt x="360" y="252"/>
                  </a:lnTo>
                  <a:lnTo>
                    <a:pt x="358" y="250"/>
                  </a:lnTo>
                  <a:lnTo>
                    <a:pt x="356" y="247"/>
                  </a:lnTo>
                  <a:lnTo>
                    <a:pt x="360" y="243"/>
                  </a:lnTo>
                  <a:lnTo>
                    <a:pt x="360" y="237"/>
                  </a:lnTo>
                  <a:lnTo>
                    <a:pt x="356" y="237"/>
                  </a:lnTo>
                  <a:lnTo>
                    <a:pt x="351" y="237"/>
                  </a:lnTo>
                  <a:lnTo>
                    <a:pt x="347" y="235"/>
                  </a:lnTo>
                  <a:lnTo>
                    <a:pt x="345" y="233"/>
                  </a:lnTo>
                  <a:lnTo>
                    <a:pt x="347" y="229"/>
                  </a:lnTo>
                  <a:lnTo>
                    <a:pt x="349" y="229"/>
                  </a:lnTo>
                  <a:lnTo>
                    <a:pt x="351" y="227"/>
                  </a:lnTo>
                  <a:lnTo>
                    <a:pt x="351" y="225"/>
                  </a:lnTo>
                  <a:lnTo>
                    <a:pt x="351" y="220"/>
                  </a:lnTo>
                  <a:lnTo>
                    <a:pt x="356" y="223"/>
                  </a:lnTo>
                  <a:lnTo>
                    <a:pt x="360" y="220"/>
                  </a:lnTo>
                  <a:lnTo>
                    <a:pt x="362" y="218"/>
                  </a:lnTo>
                  <a:lnTo>
                    <a:pt x="360" y="218"/>
                  </a:lnTo>
                  <a:lnTo>
                    <a:pt x="358" y="216"/>
                  </a:lnTo>
                  <a:lnTo>
                    <a:pt x="356" y="216"/>
                  </a:lnTo>
                  <a:lnTo>
                    <a:pt x="354" y="216"/>
                  </a:lnTo>
                  <a:lnTo>
                    <a:pt x="351" y="216"/>
                  </a:lnTo>
                  <a:lnTo>
                    <a:pt x="351" y="214"/>
                  </a:lnTo>
                  <a:lnTo>
                    <a:pt x="351" y="212"/>
                  </a:lnTo>
                  <a:lnTo>
                    <a:pt x="347" y="210"/>
                  </a:lnTo>
                  <a:lnTo>
                    <a:pt x="345" y="210"/>
                  </a:lnTo>
                  <a:lnTo>
                    <a:pt x="345" y="204"/>
                  </a:lnTo>
                  <a:lnTo>
                    <a:pt x="347" y="202"/>
                  </a:lnTo>
                  <a:lnTo>
                    <a:pt x="347" y="200"/>
                  </a:lnTo>
                  <a:lnTo>
                    <a:pt x="349" y="198"/>
                  </a:lnTo>
                  <a:lnTo>
                    <a:pt x="356" y="200"/>
                  </a:lnTo>
                  <a:lnTo>
                    <a:pt x="358" y="200"/>
                  </a:lnTo>
                  <a:lnTo>
                    <a:pt x="358" y="200"/>
                  </a:lnTo>
                  <a:lnTo>
                    <a:pt x="358" y="198"/>
                  </a:lnTo>
                  <a:lnTo>
                    <a:pt x="360" y="200"/>
                  </a:lnTo>
                  <a:lnTo>
                    <a:pt x="364" y="204"/>
                  </a:lnTo>
                  <a:lnTo>
                    <a:pt x="364" y="204"/>
                  </a:lnTo>
                  <a:lnTo>
                    <a:pt x="368" y="206"/>
                  </a:lnTo>
                  <a:lnTo>
                    <a:pt x="370" y="206"/>
                  </a:lnTo>
                  <a:lnTo>
                    <a:pt x="370" y="204"/>
                  </a:lnTo>
                  <a:lnTo>
                    <a:pt x="372" y="204"/>
                  </a:lnTo>
                  <a:lnTo>
                    <a:pt x="374" y="204"/>
                  </a:lnTo>
                  <a:lnTo>
                    <a:pt x="376" y="206"/>
                  </a:lnTo>
                  <a:lnTo>
                    <a:pt x="376" y="208"/>
                  </a:lnTo>
                  <a:lnTo>
                    <a:pt x="374" y="210"/>
                  </a:lnTo>
                  <a:lnTo>
                    <a:pt x="374" y="212"/>
                  </a:lnTo>
                  <a:lnTo>
                    <a:pt x="376" y="212"/>
                  </a:lnTo>
                  <a:lnTo>
                    <a:pt x="378" y="214"/>
                  </a:lnTo>
                  <a:lnTo>
                    <a:pt x="376" y="214"/>
                  </a:lnTo>
                  <a:lnTo>
                    <a:pt x="376" y="216"/>
                  </a:lnTo>
                  <a:lnTo>
                    <a:pt x="376" y="218"/>
                  </a:lnTo>
                  <a:lnTo>
                    <a:pt x="383" y="220"/>
                  </a:lnTo>
                  <a:lnTo>
                    <a:pt x="385" y="220"/>
                  </a:lnTo>
                  <a:lnTo>
                    <a:pt x="389" y="220"/>
                  </a:lnTo>
                  <a:lnTo>
                    <a:pt x="395" y="218"/>
                  </a:lnTo>
                  <a:lnTo>
                    <a:pt x="399" y="218"/>
                  </a:lnTo>
                  <a:lnTo>
                    <a:pt x="406" y="218"/>
                  </a:lnTo>
                  <a:lnTo>
                    <a:pt x="408" y="216"/>
                  </a:lnTo>
                  <a:lnTo>
                    <a:pt x="414" y="216"/>
                  </a:lnTo>
                  <a:lnTo>
                    <a:pt x="416" y="218"/>
                  </a:lnTo>
                  <a:lnTo>
                    <a:pt x="418" y="218"/>
                  </a:lnTo>
                  <a:lnTo>
                    <a:pt x="422" y="220"/>
                  </a:lnTo>
                  <a:lnTo>
                    <a:pt x="420" y="223"/>
                  </a:lnTo>
                  <a:lnTo>
                    <a:pt x="418" y="223"/>
                  </a:lnTo>
                  <a:lnTo>
                    <a:pt x="418" y="225"/>
                  </a:lnTo>
                  <a:lnTo>
                    <a:pt x="418" y="229"/>
                  </a:lnTo>
                  <a:lnTo>
                    <a:pt x="418" y="231"/>
                  </a:lnTo>
                  <a:lnTo>
                    <a:pt x="416" y="233"/>
                  </a:lnTo>
                  <a:lnTo>
                    <a:pt x="414" y="235"/>
                  </a:lnTo>
                  <a:lnTo>
                    <a:pt x="410" y="237"/>
                  </a:lnTo>
                  <a:lnTo>
                    <a:pt x="410" y="237"/>
                  </a:lnTo>
                  <a:lnTo>
                    <a:pt x="408" y="239"/>
                  </a:lnTo>
                  <a:lnTo>
                    <a:pt x="406" y="239"/>
                  </a:lnTo>
                  <a:lnTo>
                    <a:pt x="401" y="245"/>
                  </a:lnTo>
                  <a:lnTo>
                    <a:pt x="401" y="247"/>
                  </a:lnTo>
                  <a:lnTo>
                    <a:pt x="403" y="247"/>
                  </a:lnTo>
                  <a:lnTo>
                    <a:pt x="410" y="258"/>
                  </a:lnTo>
                  <a:lnTo>
                    <a:pt x="412" y="260"/>
                  </a:lnTo>
                  <a:lnTo>
                    <a:pt x="414" y="258"/>
                  </a:lnTo>
                  <a:lnTo>
                    <a:pt x="414" y="256"/>
                  </a:lnTo>
                  <a:lnTo>
                    <a:pt x="414" y="252"/>
                  </a:lnTo>
                  <a:lnTo>
                    <a:pt x="414" y="250"/>
                  </a:lnTo>
                  <a:lnTo>
                    <a:pt x="416" y="250"/>
                  </a:lnTo>
                  <a:lnTo>
                    <a:pt x="416" y="247"/>
                  </a:lnTo>
                  <a:lnTo>
                    <a:pt x="416" y="247"/>
                  </a:lnTo>
                  <a:lnTo>
                    <a:pt x="418" y="245"/>
                  </a:lnTo>
                  <a:lnTo>
                    <a:pt x="420" y="245"/>
                  </a:lnTo>
                  <a:lnTo>
                    <a:pt x="422" y="250"/>
                  </a:lnTo>
                  <a:lnTo>
                    <a:pt x="422" y="250"/>
                  </a:lnTo>
                  <a:lnTo>
                    <a:pt x="424" y="258"/>
                  </a:lnTo>
                  <a:lnTo>
                    <a:pt x="426" y="262"/>
                  </a:lnTo>
                  <a:lnTo>
                    <a:pt x="428" y="268"/>
                  </a:lnTo>
                  <a:lnTo>
                    <a:pt x="428" y="270"/>
                  </a:lnTo>
                  <a:lnTo>
                    <a:pt x="430" y="275"/>
                  </a:lnTo>
                  <a:lnTo>
                    <a:pt x="433" y="272"/>
                  </a:lnTo>
                  <a:lnTo>
                    <a:pt x="435" y="275"/>
                  </a:lnTo>
                  <a:lnTo>
                    <a:pt x="437" y="277"/>
                  </a:lnTo>
                  <a:lnTo>
                    <a:pt x="437" y="275"/>
                  </a:lnTo>
                  <a:lnTo>
                    <a:pt x="437" y="272"/>
                  </a:lnTo>
                  <a:lnTo>
                    <a:pt x="439" y="270"/>
                  </a:lnTo>
                  <a:lnTo>
                    <a:pt x="441" y="268"/>
                  </a:lnTo>
                  <a:lnTo>
                    <a:pt x="439" y="266"/>
                  </a:lnTo>
                  <a:lnTo>
                    <a:pt x="437" y="264"/>
                  </a:lnTo>
                  <a:lnTo>
                    <a:pt x="437" y="262"/>
                  </a:lnTo>
                  <a:lnTo>
                    <a:pt x="437" y="258"/>
                  </a:lnTo>
                  <a:lnTo>
                    <a:pt x="437" y="254"/>
                  </a:lnTo>
                  <a:lnTo>
                    <a:pt x="441" y="254"/>
                  </a:lnTo>
                  <a:lnTo>
                    <a:pt x="441" y="252"/>
                  </a:lnTo>
                  <a:lnTo>
                    <a:pt x="443" y="247"/>
                  </a:lnTo>
                  <a:lnTo>
                    <a:pt x="441" y="241"/>
                  </a:lnTo>
                  <a:lnTo>
                    <a:pt x="441" y="239"/>
                  </a:lnTo>
                  <a:lnTo>
                    <a:pt x="441" y="237"/>
                  </a:lnTo>
                  <a:lnTo>
                    <a:pt x="451" y="239"/>
                  </a:lnTo>
                  <a:lnTo>
                    <a:pt x="453" y="235"/>
                  </a:lnTo>
                  <a:lnTo>
                    <a:pt x="455" y="233"/>
                  </a:lnTo>
                  <a:lnTo>
                    <a:pt x="453" y="231"/>
                  </a:lnTo>
                  <a:lnTo>
                    <a:pt x="458" y="225"/>
                  </a:lnTo>
                  <a:lnTo>
                    <a:pt x="458" y="223"/>
                  </a:lnTo>
                  <a:lnTo>
                    <a:pt x="458" y="220"/>
                  </a:lnTo>
                  <a:lnTo>
                    <a:pt x="460" y="218"/>
                  </a:lnTo>
                  <a:lnTo>
                    <a:pt x="460" y="216"/>
                  </a:lnTo>
                  <a:lnTo>
                    <a:pt x="460" y="214"/>
                  </a:lnTo>
                  <a:lnTo>
                    <a:pt x="458" y="212"/>
                  </a:lnTo>
                  <a:lnTo>
                    <a:pt x="458" y="208"/>
                  </a:lnTo>
                  <a:lnTo>
                    <a:pt x="460" y="208"/>
                  </a:lnTo>
                  <a:lnTo>
                    <a:pt x="464" y="206"/>
                  </a:lnTo>
                  <a:lnTo>
                    <a:pt x="464" y="198"/>
                  </a:lnTo>
                  <a:lnTo>
                    <a:pt x="464" y="193"/>
                  </a:lnTo>
                  <a:lnTo>
                    <a:pt x="462" y="187"/>
                  </a:lnTo>
                  <a:lnTo>
                    <a:pt x="464" y="187"/>
                  </a:lnTo>
                  <a:lnTo>
                    <a:pt x="464" y="183"/>
                  </a:lnTo>
                  <a:lnTo>
                    <a:pt x="468" y="183"/>
                  </a:lnTo>
                  <a:lnTo>
                    <a:pt x="470" y="179"/>
                  </a:lnTo>
                  <a:lnTo>
                    <a:pt x="472" y="179"/>
                  </a:lnTo>
                  <a:lnTo>
                    <a:pt x="476" y="175"/>
                  </a:lnTo>
                  <a:lnTo>
                    <a:pt x="476" y="173"/>
                  </a:lnTo>
                  <a:lnTo>
                    <a:pt x="480" y="171"/>
                  </a:lnTo>
                  <a:lnTo>
                    <a:pt x="482" y="168"/>
                  </a:lnTo>
                  <a:lnTo>
                    <a:pt x="485" y="168"/>
                  </a:lnTo>
                  <a:lnTo>
                    <a:pt x="489" y="168"/>
                  </a:lnTo>
                  <a:lnTo>
                    <a:pt x="493" y="171"/>
                  </a:lnTo>
                  <a:lnTo>
                    <a:pt x="495" y="171"/>
                  </a:lnTo>
                  <a:lnTo>
                    <a:pt x="495" y="168"/>
                  </a:lnTo>
                  <a:lnTo>
                    <a:pt x="491" y="166"/>
                  </a:lnTo>
                  <a:lnTo>
                    <a:pt x="491" y="164"/>
                  </a:lnTo>
                  <a:lnTo>
                    <a:pt x="491" y="160"/>
                  </a:lnTo>
                  <a:lnTo>
                    <a:pt x="497" y="156"/>
                  </a:lnTo>
                  <a:lnTo>
                    <a:pt x="497" y="150"/>
                  </a:lnTo>
                  <a:lnTo>
                    <a:pt x="491" y="148"/>
                  </a:lnTo>
                  <a:lnTo>
                    <a:pt x="487" y="148"/>
                  </a:lnTo>
                  <a:lnTo>
                    <a:pt x="485" y="146"/>
                  </a:lnTo>
                  <a:lnTo>
                    <a:pt x="480" y="150"/>
                  </a:lnTo>
                  <a:lnTo>
                    <a:pt x="478" y="150"/>
                  </a:lnTo>
                  <a:lnTo>
                    <a:pt x="478" y="148"/>
                  </a:lnTo>
                  <a:lnTo>
                    <a:pt x="478" y="144"/>
                  </a:lnTo>
                  <a:lnTo>
                    <a:pt x="482" y="144"/>
                  </a:lnTo>
                  <a:lnTo>
                    <a:pt x="482" y="139"/>
                  </a:lnTo>
                  <a:lnTo>
                    <a:pt x="480" y="135"/>
                  </a:lnTo>
                  <a:lnTo>
                    <a:pt x="474" y="135"/>
                  </a:lnTo>
                  <a:lnTo>
                    <a:pt x="476" y="133"/>
                  </a:lnTo>
                  <a:lnTo>
                    <a:pt x="476" y="131"/>
                  </a:lnTo>
                  <a:lnTo>
                    <a:pt x="476" y="131"/>
                  </a:lnTo>
                  <a:close/>
                </a:path>
              </a:pathLst>
            </a:custGeom>
            <a:solidFill>
              <a:schemeClr val="tx1">
                <a:lumMod val="50000"/>
                <a:lumOff val="50000"/>
              </a:schemeClr>
            </a:solidFill>
            <a:ln w="9525" cap="flat" cmpd="sng">
              <a:solidFill>
                <a:srgbClr val="FFFFFF"/>
              </a:solidFill>
              <a:prstDash val="solid"/>
              <a:miter lim="800000"/>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grpSp>
      <p:sp>
        <p:nvSpPr>
          <p:cNvPr id="408" name="Freeform 6016"/>
          <p:cNvSpPr>
            <a:spLocks/>
          </p:cNvSpPr>
          <p:nvPr>
            <p:custDataLst>
              <p:tags r:id="rId2"/>
            </p:custDataLst>
          </p:nvPr>
        </p:nvSpPr>
        <p:spPr bwMode="gray">
          <a:xfrm>
            <a:off x="9318435" y="4396887"/>
            <a:ext cx="20157" cy="29147"/>
          </a:xfrm>
          <a:custGeom>
            <a:avLst/>
            <a:gdLst/>
            <a:ahLst/>
            <a:cxnLst>
              <a:cxn ang="0">
                <a:pos x="0" y="11"/>
              </a:cxn>
              <a:cxn ang="0">
                <a:pos x="6" y="13"/>
              </a:cxn>
              <a:cxn ang="0">
                <a:pos x="9" y="4"/>
              </a:cxn>
              <a:cxn ang="0">
                <a:pos x="2" y="0"/>
              </a:cxn>
              <a:cxn ang="0">
                <a:pos x="0" y="11"/>
              </a:cxn>
              <a:cxn ang="0">
                <a:pos x="0" y="11"/>
              </a:cxn>
            </a:cxnLst>
            <a:rect l="0" t="0" r="r" b="b"/>
            <a:pathLst>
              <a:path w="9" h="13">
                <a:moveTo>
                  <a:pt x="0" y="11"/>
                </a:moveTo>
                <a:lnTo>
                  <a:pt x="6" y="13"/>
                </a:lnTo>
                <a:lnTo>
                  <a:pt x="9" y="4"/>
                </a:lnTo>
                <a:lnTo>
                  <a:pt x="2" y="0"/>
                </a:lnTo>
                <a:lnTo>
                  <a:pt x="0" y="11"/>
                </a:lnTo>
                <a:lnTo>
                  <a:pt x="0" y="11"/>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2" name="Title 1"/>
          <p:cNvSpPr>
            <a:spLocks noGrp="1"/>
          </p:cNvSpPr>
          <p:nvPr>
            <p:ph type="title"/>
          </p:nvPr>
        </p:nvSpPr>
        <p:spPr/>
        <p:txBody>
          <a:bodyPr/>
          <a:lstStyle/>
          <a:p>
            <a:r>
              <a:rPr lang="en-US" dirty="0" smtClean="0"/>
              <a:t>Voting with </a:t>
            </a:r>
            <a:r>
              <a:rPr lang="en-US" dirty="0"/>
              <a:t>companies domiciled in </a:t>
            </a:r>
            <a:r>
              <a:rPr lang="en-US" dirty="0" smtClean="0"/>
              <a:t>55 countries</a:t>
            </a:r>
            <a:endParaRPr lang="en-GB" dirty="0"/>
          </a:p>
        </p:txBody>
      </p:sp>
      <p:sp>
        <p:nvSpPr>
          <p:cNvPr id="423" name="Freeform 5969"/>
          <p:cNvSpPr>
            <a:spLocks/>
          </p:cNvSpPr>
          <p:nvPr>
            <p:custDataLst>
              <p:tags r:id="rId3"/>
            </p:custDataLst>
          </p:nvPr>
        </p:nvSpPr>
        <p:spPr bwMode="gray">
          <a:xfrm>
            <a:off x="5550829" y="2230643"/>
            <a:ext cx="38074" cy="38117"/>
          </a:xfrm>
          <a:custGeom>
            <a:avLst/>
            <a:gdLst/>
            <a:ahLst/>
            <a:cxnLst>
              <a:cxn ang="0">
                <a:pos x="0" y="17"/>
              </a:cxn>
              <a:cxn ang="0">
                <a:pos x="7" y="15"/>
              </a:cxn>
              <a:cxn ang="0">
                <a:pos x="17" y="0"/>
              </a:cxn>
              <a:cxn ang="0">
                <a:pos x="6" y="6"/>
              </a:cxn>
              <a:cxn ang="0">
                <a:pos x="0" y="17"/>
              </a:cxn>
              <a:cxn ang="0">
                <a:pos x="0" y="17"/>
              </a:cxn>
            </a:cxnLst>
            <a:rect l="0" t="0" r="r" b="b"/>
            <a:pathLst>
              <a:path w="17" h="17">
                <a:moveTo>
                  <a:pt x="0" y="17"/>
                </a:moveTo>
                <a:lnTo>
                  <a:pt x="7" y="15"/>
                </a:lnTo>
                <a:lnTo>
                  <a:pt x="17" y="0"/>
                </a:lnTo>
                <a:lnTo>
                  <a:pt x="6" y="6"/>
                </a:lnTo>
                <a:lnTo>
                  <a:pt x="0" y="17"/>
                </a:lnTo>
                <a:lnTo>
                  <a:pt x="0" y="17"/>
                </a:lnTo>
                <a:close/>
              </a:path>
            </a:pathLst>
          </a:custGeom>
          <a:solidFill>
            <a:srgbClr val="C3E0EB"/>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424" name="Freeform 5969"/>
          <p:cNvSpPr>
            <a:spLocks/>
          </p:cNvSpPr>
          <p:nvPr>
            <p:custDataLst>
              <p:tags r:id="rId4"/>
            </p:custDataLst>
          </p:nvPr>
        </p:nvSpPr>
        <p:spPr bwMode="gray">
          <a:xfrm>
            <a:off x="5369610" y="1952683"/>
            <a:ext cx="38074" cy="38117"/>
          </a:xfrm>
          <a:custGeom>
            <a:avLst/>
            <a:gdLst/>
            <a:ahLst/>
            <a:cxnLst>
              <a:cxn ang="0">
                <a:pos x="0" y="17"/>
              </a:cxn>
              <a:cxn ang="0">
                <a:pos x="7" y="15"/>
              </a:cxn>
              <a:cxn ang="0">
                <a:pos x="17" y="0"/>
              </a:cxn>
              <a:cxn ang="0">
                <a:pos x="6" y="6"/>
              </a:cxn>
              <a:cxn ang="0">
                <a:pos x="0" y="17"/>
              </a:cxn>
              <a:cxn ang="0">
                <a:pos x="0" y="17"/>
              </a:cxn>
            </a:cxnLst>
            <a:rect l="0" t="0" r="r" b="b"/>
            <a:pathLst>
              <a:path w="17" h="17">
                <a:moveTo>
                  <a:pt x="0" y="17"/>
                </a:moveTo>
                <a:lnTo>
                  <a:pt x="7" y="15"/>
                </a:lnTo>
                <a:lnTo>
                  <a:pt x="17" y="0"/>
                </a:lnTo>
                <a:lnTo>
                  <a:pt x="6" y="6"/>
                </a:lnTo>
                <a:lnTo>
                  <a:pt x="0" y="17"/>
                </a:lnTo>
                <a:lnTo>
                  <a:pt x="0" y="17"/>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425" name="Line 6132"/>
          <p:cNvSpPr>
            <a:spLocks noChangeShapeType="1"/>
          </p:cNvSpPr>
          <p:nvPr>
            <p:custDataLst>
              <p:tags r:id="rId5"/>
            </p:custDataLst>
          </p:nvPr>
        </p:nvSpPr>
        <p:spPr bwMode="gray">
          <a:xfrm flipH="1">
            <a:off x="9763489" y="3697006"/>
            <a:ext cx="24635" cy="0"/>
          </a:xfrm>
          <a:prstGeom prst="line">
            <a:avLst/>
          </a:prstGeom>
          <a:solidFill>
            <a:srgbClr val="C3E0EB"/>
          </a:solid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426" name="Freeform 6016"/>
          <p:cNvSpPr>
            <a:spLocks/>
          </p:cNvSpPr>
          <p:nvPr>
            <p:custDataLst>
              <p:tags r:id="rId6"/>
            </p:custDataLst>
          </p:nvPr>
        </p:nvSpPr>
        <p:spPr bwMode="gray">
          <a:xfrm>
            <a:off x="9616034" y="3521065"/>
            <a:ext cx="20157" cy="29147"/>
          </a:xfrm>
          <a:custGeom>
            <a:avLst/>
            <a:gdLst/>
            <a:ahLst/>
            <a:cxnLst>
              <a:cxn ang="0">
                <a:pos x="0" y="11"/>
              </a:cxn>
              <a:cxn ang="0">
                <a:pos x="6" y="13"/>
              </a:cxn>
              <a:cxn ang="0">
                <a:pos x="9" y="4"/>
              </a:cxn>
              <a:cxn ang="0">
                <a:pos x="2" y="0"/>
              </a:cxn>
              <a:cxn ang="0">
                <a:pos x="0" y="11"/>
              </a:cxn>
              <a:cxn ang="0">
                <a:pos x="0" y="11"/>
              </a:cxn>
            </a:cxnLst>
            <a:rect l="0" t="0" r="r" b="b"/>
            <a:pathLst>
              <a:path w="9" h="13">
                <a:moveTo>
                  <a:pt x="0" y="11"/>
                </a:moveTo>
                <a:lnTo>
                  <a:pt x="6" y="13"/>
                </a:lnTo>
                <a:lnTo>
                  <a:pt x="9" y="4"/>
                </a:lnTo>
                <a:lnTo>
                  <a:pt x="2" y="0"/>
                </a:lnTo>
                <a:lnTo>
                  <a:pt x="0" y="11"/>
                </a:lnTo>
                <a:lnTo>
                  <a:pt x="0" y="11"/>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427" name="Freeform 5826"/>
          <p:cNvSpPr>
            <a:spLocks/>
          </p:cNvSpPr>
          <p:nvPr>
            <p:custDataLst>
              <p:tags r:id="rId7"/>
            </p:custDataLst>
          </p:nvPr>
        </p:nvSpPr>
        <p:spPr bwMode="gray">
          <a:xfrm>
            <a:off x="2886727" y="3306150"/>
            <a:ext cx="20157" cy="62781"/>
          </a:xfrm>
          <a:custGeom>
            <a:avLst/>
            <a:gdLst/>
            <a:ahLst/>
            <a:cxnLst>
              <a:cxn ang="0">
                <a:pos x="3" y="0"/>
              </a:cxn>
              <a:cxn ang="0">
                <a:pos x="0" y="12"/>
              </a:cxn>
              <a:cxn ang="0">
                <a:pos x="9" y="28"/>
              </a:cxn>
              <a:cxn ang="0">
                <a:pos x="9" y="10"/>
              </a:cxn>
              <a:cxn ang="0">
                <a:pos x="3" y="0"/>
              </a:cxn>
              <a:cxn ang="0">
                <a:pos x="3" y="0"/>
              </a:cxn>
            </a:cxnLst>
            <a:rect l="0" t="0" r="r" b="b"/>
            <a:pathLst>
              <a:path w="9" h="28">
                <a:moveTo>
                  <a:pt x="3" y="0"/>
                </a:moveTo>
                <a:lnTo>
                  <a:pt x="0" y="12"/>
                </a:lnTo>
                <a:lnTo>
                  <a:pt x="9" y="28"/>
                </a:lnTo>
                <a:lnTo>
                  <a:pt x="9" y="10"/>
                </a:lnTo>
                <a:lnTo>
                  <a:pt x="3" y="0"/>
                </a:lnTo>
                <a:lnTo>
                  <a:pt x="3"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grpSp>
        <p:nvGrpSpPr>
          <p:cNvPr id="428" name="Group 427"/>
          <p:cNvGrpSpPr/>
          <p:nvPr/>
        </p:nvGrpSpPr>
        <p:grpSpPr>
          <a:xfrm>
            <a:off x="427121" y="192024"/>
            <a:ext cx="3052705" cy="440036"/>
            <a:chOff x="572876" y="2895810"/>
            <a:chExt cx="3052705" cy="440036"/>
          </a:xfrm>
        </p:grpSpPr>
        <p:grpSp>
          <p:nvGrpSpPr>
            <p:cNvPr id="429" name="Group 428"/>
            <p:cNvGrpSpPr>
              <a:grpSpLocks noChangeAspect="1"/>
            </p:cNvGrpSpPr>
            <p:nvPr/>
          </p:nvGrpSpPr>
          <p:grpSpPr>
            <a:xfrm flipV="1">
              <a:off x="572876" y="2895810"/>
              <a:ext cx="3052705" cy="440036"/>
              <a:chOff x="497820" y="3600005"/>
              <a:chExt cx="7560000" cy="1089745"/>
            </a:xfrm>
          </p:grpSpPr>
          <p:sp>
            <p:nvSpPr>
              <p:cNvPr id="431" name="Rectangle 430"/>
              <p:cNvSpPr/>
              <p:nvPr/>
            </p:nvSpPr>
            <p:spPr>
              <a:xfrm>
                <a:off x="497820" y="3600005"/>
                <a:ext cx="7560000" cy="1089745"/>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432" name="Oval 431"/>
              <p:cNvSpPr/>
              <p:nvPr/>
            </p:nvSpPr>
            <p:spPr>
              <a:xfrm>
                <a:off x="534444" y="3811660"/>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chemeClr val="tx1"/>
                  </a:solidFill>
                </a:endParaRPr>
              </a:p>
            </p:txBody>
          </p:sp>
          <p:sp>
            <p:nvSpPr>
              <p:cNvPr id="433" name="Rectangle 432"/>
              <p:cNvSpPr/>
              <p:nvPr/>
            </p:nvSpPr>
            <p:spPr>
              <a:xfrm>
                <a:off x="977532" y="3604877"/>
                <a:ext cx="6373676" cy="1080000"/>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600" dirty="0">
                  <a:solidFill>
                    <a:srgbClr val="000000"/>
                  </a:solidFill>
                </a:endParaRPr>
              </a:p>
            </p:txBody>
          </p:sp>
          <p:sp>
            <p:nvSpPr>
              <p:cNvPr id="434" name="TextBox 433"/>
              <p:cNvSpPr txBox="1"/>
              <p:nvPr/>
            </p:nvSpPr>
            <p:spPr>
              <a:xfrm rot="10800000">
                <a:off x="1560218" y="3954326"/>
                <a:ext cx="2885809" cy="381102"/>
              </a:xfrm>
              <a:prstGeom prst="rect">
                <a:avLst/>
              </a:prstGeom>
              <a:noFill/>
            </p:spPr>
            <p:txBody>
              <a:bodyPr wrap="square" lIns="0" tIns="0" rIns="0" bIns="0" rtlCol="0">
                <a:spAutoFit/>
              </a:bodyPr>
              <a:lstStyle/>
              <a:p>
                <a:r>
                  <a:rPr lang="en-US" sz="1000" b="1" dirty="0">
                    <a:solidFill>
                      <a:srgbClr val="003755"/>
                    </a:solidFill>
                  </a:rPr>
                  <a:t>Country domiciles</a:t>
                </a:r>
              </a:p>
            </p:txBody>
          </p:sp>
          <p:sp>
            <p:nvSpPr>
              <p:cNvPr id="436" name="Rectangle 435"/>
              <p:cNvSpPr/>
              <p:nvPr/>
            </p:nvSpPr>
            <p:spPr>
              <a:xfrm>
                <a:off x="1397889" y="3905337"/>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rgbClr val="000000"/>
                  </a:solidFill>
                </a:endParaRPr>
              </a:p>
            </p:txBody>
          </p:sp>
        </p:grpSp>
        <p:sp>
          <p:nvSpPr>
            <p:cNvPr id="430" name="TextBox 429"/>
            <p:cNvSpPr txBox="1"/>
            <p:nvPr/>
          </p:nvSpPr>
          <p:spPr>
            <a:xfrm>
              <a:off x="2679129" y="3001181"/>
              <a:ext cx="809519" cy="229294"/>
            </a:xfrm>
            <a:prstGeom prst="rect">
              <a:avLst/>
            </a:prstGeom>
            <a:noFill/>
          </p:spPr>
          <p:txBody>
            <a:bodyPr wrap="square" rtlCol="0" anchor="ctr" anchorCtr="0">
              <a:spAutoFit/>
            </a:bodyPr>
            <a:lstStyle/>
            <a:p>
              <a:pPr algn="ctr">
                <a:lnSpc>
                  <a:spcPct val="89000"/>
                </a:lnSpc>
              </a:pPr>
              <a:r>
                <a:rPr lang="en-US" sz="1000" b="1" dirty="0" smtClean="0">
                  <a:solidFill>
                    <a:srgbClr val="00304A"/>
                  </a:solidFill>
                  <a:ea typeface="Open Sans" panose="020B0606030504020204" pitchFamily="34" charset="0"/>
                  <a:cs typeface="Open Sans" panose="020B0606030504020204" pitchFamily="34" charset="0"/>
                </a:rPr>
                <a:t>55</a:t>
              </a:r>
              <a:endParaRPr lang="en-US" sz="1000" b="1" dirty="0">
                <a:solidFill>
                  <a:srgbClr val="00304A"/>
                </a:solidFill>
                <a:ea typeface="Open Sans" panose="020B0606030504020204" pitchFamily="34" charset="0"/>
                <a:cs typeface="Open Sans" panose="020B0606030504020204" pitchFamily="34" charset="0"/>
              </a:endParaRPr>
            </a:p>
          </p:txBody>
        </p:sp>
      </p:grpSp>
      <p:sp>
        <p:nvSpPr>
          <p:cNvPr id="437" name="Freeform 5809"/>
          <p:cNvSpPr>
            <a:spLocks/>
          </p:cNvSpPr>
          <p:nvPr>
            <p:custDataLst>
              <p:tags r:id="rId8"/>
            </p:custDataLst>
          </p:nvPr>
        </p:nvSpPr>
        <p:spPr bwMode="gray">
          <a:xfrm>
            <a:off x="2603428" y="3551957"/>
            <a:ext cx="20157" cy="26906"/>
          </a:xfrm>
          <a:custGeom>
            <a:avLst/>
            <a:gdLst/>
            <a:ahLst/>
            <a:cxnLst>
              <a:cxn ang="0">
                <a:pos x="0" y="4"/>
              </a:cxn>
              <a:cxn ang="0">
                <a:pos x="0" y="12"/>
              </a:cxn>
              <a:cxn ang="0">
                <a:pos x="9" y="10"/>
              </a:cxn>
              <a:cxn ang="0">
                <a:pos x="4" y="0"/>
              </a:cxn>
              <a:cxn ang="0">
                <a:pos x="0" y="4"/>
              </a:cxn>
              <a:cxn ang="0">
                <a:pos x="0" y="4"/>
              </a:cxn>
            </a:cxnLst>
            <a:rect l="0" t="0" r="r" b="b"/>
            <a:pathLst>
              <a:path w="9" h="12">
                <a:moveTo>
                  <a:pt x="0" y="4"/>
                </a:moveTo>
                <a:lnTo>
                  <a:pt x="0" y="12"/>
                </a:lnTo>
                <a:lnTo>
                  <a:pt x="9" y="10"/>
                </a:lnTo>
                <a:lnTo>
                  <a:pt x="4" y="0"/>
                </a:lnTo>
                <a:lnTo>
                  <a:pt x="0" y="4"/>
                </a:lnTo>
                <a:lnTo>
                  <a:pt x="0" y="4"/>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438" name="Freeform 5826"/>
          <p:cNvSpPr>
            <a:spLocks/>
          </p:cNvSpPr>
          <p:nvPr>
            <p:custDataLst>
              <p:tags r:id="rId9"/>
            </p:custDataLst>
          </p:nvPr>
        </p:nvSpPr>
        <p:spPr bwMode="gray">
          <a:xfrm>
            <a:off x="3079994" y="3678012"/>
            <a:ext cx="45719" cy="62781"/>
          </a:xfrm>
          <a:custGeom>
            <a:avLst/>
            <a:gdLst/>
            <a:ahLst/>
            <a:cxnLst>
              <a:cxn ang="0">
                <a:pos x="3" y="0"/>
              </a:cxn>
              <a:cxn ang="0">
                <a:pos x="0" y="12"/>
              </a:cxn>
              <a:cxn ang="0">
                <a:pos x="9" y="28"/>
              </a:cxn>
              <a:cxn ang="0">
                <a:pos x="9" y="10"/>
              </a:cxn>
              <a:cxn ang="0">
                <a:pos x="3" y="0"/>
              </a:cxn>
              <a:cxn ang="0">
                <a:pos x="3" y="0"/>
              </a:cxn>
            </a:cxnLst>
            <a:rect l="0" t="0" r="r" b="b"/>
            <a:pathLst>
              <a:path w="9" h="28">
                <a:moveTo>
                  <a:pt x="3" y="0"/>
                </a:moveTo>
                <a:lnTo>
                  <a:pt x="0" y="12"/>
                </a:lnTo>
                <a:lnTo>
                  <a:pt x="9" y="28"/>
                </a:lnTo>
                <a:lnTo>
                  <a:pt x="9" y="10"/>
                </a:lnTo>
                <a:lnTo>
                  <a:pt x="3" y="0"/>
                </a:lnTo>
                <a:lnTo>
                  <a:pt x="3"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439" name="International"/>
          <p:cNvSpPr>
            <a:spLocks noChangeAspect="1"/>
          </p:cNvSpPr>
          <p:nvPr>
            <p:custDataLst>
              <p:tags r:id="rId10"/>
            </p:custDataLst>
          </p:nvPr>
        </p:nvSpPr>
        <p:spPr bwMode="auto">
          <a:xfrm>
            <a:off x="506508" y="329927"/>
            <a:ext cx="142021" cy="153961"/>
          </a:xfrm>
          <a:custGeom>
            <a:avLst/>
            <a:gdLst>
              <a:gd name="connsiteX0" fmla="*/ 844615 w 1184276"/>
              <a:gd name="connsiteY0" fmla="*/ 915988 h 1181100"/>
              <a:gd name="connsiteX1" fmla="*/ 715963 w 1184276"/>
              <a:gd name="connsiteY1" fmla="*/ 1127126 h 1181100"/>
              <a:gd name="connsiteX2" fmla="*/ 992188 w 1184276"/>
              <a:gd name="connsiteY2" fmla="*/ 968773 h 1181100"/>
              <a:gd name="connsiteX3" fmla="*/ 844615 w 1184276"/>
              <a:gd name="connsiteY3" fmla="*/ 915988 h 1181100"/>
              <a:gd name="connsiteX4" fmla="*/ 340508 w 1184276"/>
              <a:gd name="connsiteY4" fmla="*/ 915988 h 1181100"/>
              <a:gd name="connsiteX5" fmla="*/ 192088 w 1184276"/>
              <a:gd name="connsiteY5" fmla="*/ 968773 h 1181100"/>
              <a:gd name="connsiteX6" fmla="*/ 469901 w 1184276"/>
              <a:gd name="connsiteY6" fmla="*/ 1127126 h 1181100"/>
              <a:gd name="connsiteX7" fmla="*/ 340508 w 1184276"/>
              <a:gd name="connsiteY7" fmla="*/ 915988 h 1181100"/>
              <a:gd name="connsiteX8" fmla="*/ 612775 w 1184276"/>
              <a:gd name="connsiteY8" fmla="*/ 885825 h 1181100"/>
              <a:gd name="connsiteX9" fmla="*/ 612775 w 1184276"/>
              <a:gd name="connsiteY9" fmla="*/ 1138238 h 1181100"/>
              <a:gd name="connsiteX10" fmla="*/ 806450 w 1184276"/>
              <a:gd name="connsiteY10" fmla="*/ 904662 h 1181100"/>
              <a:gd name="connsiteX11" fmla="*/ 612775 w 1184276"/>
              <a:gd name="connsiteY11" fmla="*/ 885825 h 1181100"/>
              <a:gd name="connsiteX12" fmla="*/ 571500 w 1184276"/>
              <a:gd name="connsiteY12" fmla="*/ 885825 h 1181100"/>
              <a:gd name="connsiteX13" fmla="*/ 377825 w 1184276"/>
              <a:gd name="connsiteY13" fmla="*/ 904662 h 1181100"/>
              <a:gd name="connsiteX14" fmla="*/ 571500 w 1184276"/>
              <a:gd name="connsiteY14" fmla="*/ 1138238 h 1181100"/>
              <a:gd name="connsiteX15" fmla="*/ 893471 w 1184276"/>
              <a:gd name="connsiteY15" fmla="*/ 609600 h 1181100"/>
              <a:gd name="connsiteX16" fmla="*/ 855663 w 1184276"/>
              <a:gd name="connsiteY16" fmla="*/ 877779 h 1181100"/>
              <a:gd name="connsiteX17" fmla="*/ 1018236 w 1184276"/>
              <a:gd name="connsiteY17" fmla="*/ 938213 h 1181100"/>
              <a:gd name="connsiteX18" fmla="*/ 1143001 w 1184276"/>
              <a:gd name="connsiteY18" fmla="*/ 609600 h 1181100"/>
              <a:gd name="connsiteX19" fmla="*/ 893471 w 1184276"/>
              <a:gd name="connsiteY19" fmla="*/ 609600 h 1181100"/>
              <a:gd name="connsiteX20" fmla="*/ 612775 w 1184276"/>
              <a:gd name="connsiteY20" fmla="*/ 609600 h 1181100"/>
              <a:gd name="connsiteX21" fmla="*/ 612775 w 1184276"/>
              <a:gd name="connsiteY21" fmla="*/ 844083 h 1181100"/>
              <a:gd name="connsiteX22" fmla="*/ 817712 w 1184276"/>
              <a:gd name="connsiteY22" fmla="*/ 866775 h 1181100"/>
              <a:gd name="connsiteX23" fmla="*/ 855663 w 1184276"/>
              <a:gd name="connsiteY23" fmla="*/ 609600 h 1181100"/>
              <a:gd name="connsiteX24" fmla="*/ 612775 w 1184276"/>
              <a:gd name="connsiteY24" fmla="*/ 609600 h 1181100"/>
              <a:gd name="connsiteX25" fmla="*/ 328613 w 1184276"/>
              <a:gd name="connsiteY25" fmla="*/ 609600 h 1181100"/>
              <a:gd name="connsiteX26" fmla="*/ 366564 w 1184276"/>
              <a:gd name="connsiteY26" fmla="*/ 866775 h 1181100"/>
              <a:gd name="connsiteX27" fmla="*/ 571501 w 1184276"/>
              <a:gd name="connsiteY27" fmla="*/ 844083 h 1181100"/>
              <a:gd name="connsiteX28" fmla="*/ 571501 w 1184276"/>
              <a:gd name="connsiteY28" fmla="*/ 609600 h 1181100"/>
              <a:gd name="connsiteX29" fmla="*/ 328613 w 1184276"/>
              <a:gd name="connsiteY29" fmla="*/ 609600 h 1181100"/>
              <a:gd name="connsiteX30" fmla="*/ 41275 w 1184276"/>
              <a:gd name="connsiteY30" fmla="*/ 609600 h 1181100"/>
              <a:gd name="connsiteX31" fmla="*/ 166040 w 1184276"/>
              <a:gd name="connsiteY31" fmla="*/ 938213 h 1181100"/>
              <a:gd name="connsiteX32" fmla="*/ 328613 w 1184276"/>
              <a:gd name="connsiteY32" fmla="*/ 874001 h 1181100"/>
              <a:gd name="connsiteX33" fmla="*/ 290805 w 1184276"/>
              <a:gd name="connsiteY33" fmla="*/ 609600 h 1181100"/>
              <a:gd name="connsiteX34" fmla="*/ 41275 w 1184276"/>
              <a:gd name="connsiteY34" fmla="*/ 609600 h 1181100"/>
              <a:gd name="connsiteX35" fmla="*/ 817712 w 1184276"/>
              <a:gd name="connsiteY35" fmla="*/ 314325 h 1181100"/>
              <a:gd name="connsiteX36" fmla="*/ 612775 w 1184276"/>
              <a:gd name="connsiteY36" fmla="*/ 337017 h 1181100"/>
              <a:gd name="connsiteX37" fmla="*/ 612775 w 1184276"/>
              <a:gd name="connsiteY37" fmla="*/ 571500 h 1181100"/>
              <a:gd name="connsiteX38" fmla="*/ 855663 w 1184276"/>
              <a:gd name="connsiteY38" fmla="*/ 571500 h 1181100"/>
              <a:gd name="connsiteX39" fmla="*/ 817712 w 1184276"/>
              <a:gd name="connsiteY39" fmla="*/ 314325 h 1181100"/>
              <a:gd name="connsiteX40" fmla="*/ 366564 w 1184276"/>
              <a:gd name="connsiteY40" fmla="*/ 314325 h 1181100"/>
              <a:gd name="connsiteX41" fmla="*/ 328613 w 1184276"/>
              <a:gd name="connsiteY41" fmla="*/ 571500 h 1181100"/>
              <a:gd name="connsiteX42" fmla="*/ 571501 w 1184276"/>
              <a:gd name="connsiteY42" fmla="*/ 571500 h 1181100"/>
              <a:gd name="connsiteX43" fmla="*/ 571501 w 1184276"/>
              <a:gd name="connsiteY43" fmla="*/ 337017 h 1181100"/>
              <a:gd name="connsiteX44" fmla="*/ 366564 w 1184276"/>
              <a:gd name="connsiteY44" fmla="*/ 314325 h 1181100"/>
              <a:gd name="connsiteX45" fmla="*/ 1018236 w 1184276"/>
              <a:gd name="connsiteY45" fmla="*/ 241300 h 1181100"/>
              <a:gd name="connsiteX46" fmla="*/ 855663 w 1184276"/>
              <a:gd name="connsiteY46" fmla="*/ 302026 h 1181100"/>
              <a:gd name="connsiteX47" fmla="*/ 893471 w 1184276"/>
              <a:gd name="connsiteY47" fmla="*/ 571500 h 1181100"/>
              <a:gd name="connsiteX48" fmla="*/ 1143001 w 1184276"/>
              <a:gd name="connsiteY48" fmla="*/ 571500 h 1181100"/>
              <a:gd name="connsiteX49" fmla="*/ 1018236 w 1184276"/>
              <a:gd name="connsiteY49" fmla="*/ 241300 h 1181100"/>
              <a:gd name="connsiteX50" fmla="*/ 166040 w 1184276"/>
              <a:gd name="connsiteY50" fmla="*/ 241300 h 1181100"/>
              <a:gd name="connsiteX51" fmla="*/ 41275 w 1184276"/>
              <a:gd name="connsiteY51" fmla="*/ 571500 h 1181100"/>
              <a:gd name="connsiteX52" fmla="*/ 290805 w 1184276"/>
              <a:gd name="connsiteY52" fmla="*/ 571500 h 1181100"/>
              <a:gd name="connsiteX53" fmla="*/ 328613 w 1184276"/>
              <a:gd name="connsiteY53" fmla="*/ 305822 h 1181100"/>
              <a:gd name="connsiteX54" fmla="*/ 166040 w 1184276"/>
              <a:gd name="connsiteY54" fmla="*/ 241300 h 1181100"/>
              <a:gd name="connsiteX55" fmla="*/ 715963 w 1184276"/>
              <a:gd name="connsiteY55" fmla="*/ 52388 h 1181100"/>
              <a:gd name="connsiteX56" fmla="*/ 844615 w 1184276"/>
              <a:gd name="connsiteY56" fmla="*/ 268288 h 1181100"/>
              <a:gd name="connsiteX57" fmla="*/ 992188 w 1184276"/>
              <a:gd name="connsiteY57" fmla="*/ 211472 h 1181100"/>
              <a:gd name="connsiteX58" fmla="*/ 715963 w 1184276"/>
              <a:gd name="connsiteY58" fmla="*/ 52388 h 1181100"/>
              <a:gd name="connsiteX59" fmla="*/ 469901 w 1184276"/>
              <a:gd name="connsiteY59" fmla="*/ 52388 h 1181100"/>
              <a:gd name="connsiteX60" fmla="*/ 192088 w 1184276"/>
              <a:gd name="connsiteY60" fmla="*/ 211932 h 1181100"/>
              <a:gd name="connsiteX61" fmla="*/ 340508 w 1184276"/>
              <a:gd name="connsiteY61" fmla="*/ 265113 h 1181100"/>
              <a:gd name="connsiteX62" fmla="*/ 469901 w 1184276"/>
              <a:gd name="connsiteY62" fmla="*/ 52388 h 1181100"/>
              <a:gd name="connsiteX63" fmla="*/ 612775 w 1184276"/>
              <a:gd name="connsiteY63" fmla="*/ 44450 h 1181100"/>
              <a:gd name="connsiteX64" fmla="*/ 612775 w 1184276"/>
              <a:gd name="connsiteY64" fmla="*/ 298450 h 1181100"/>
              <a:gd name="connsiteX65" fmla="*/ 806450 w 1184276"/>
              <a:gd name="connsiteY65" fmla="*/ 275704 h 1181100"/>
              <a:gd name="connsiteX66" fmla="*/ 612775 w 1184276"/>
              <a:gd name="connsiteY66" fmla="*/ 44450 h 1181100"/>
              <a:gd name="connsiteX67" fmla="*/ 571500 w 1184276"/>
              <a:gd name="connsiteY67" fmla="*/ 44450 h 1181100"/>
              <a:gd name="connsiteX68" fmla="*/ 377825 w 1184276"/>
              <a:gd name="connsiteY68" fmla="*/ 275704 h 1181100"/>
              <a:gd name="connsiteX69" fmla="*/ 571500 w 1184276"/>
              <a:gd name="connsiteY69" fmla="*/ 298450 h 1181100"/>
              <a:gd name="connsiteX70" fmla="*/ 592138 w 1184276"/>
              <a:gd name="connsiteY70" fmla="*/ 0 h 1181100"/>
              <a:gd name="connsiteX71" fmla="*/ 1184276 w 1184276"/>
              <a:gd name="connsiteY71" fmla="*/ 590550 h 1181100"/>
              <a:gd name="connsiteX72" fmla="*/ 592138 w 1184276"/>
              <a:gd name="connsiteY72" fmla="*/ 1181100 h 1181100"/>
              <a:gd name="connsiteX73" fmla="*/ 0 w 1184276"/>
              <a:gd name="connsiteY73" fmla="*/ 590550 h 1181100"/>
              <a:gd name="connsiteX74" fmla="*/ 592138 w 1184276"/>
              <a:gd name="connsiteY74" fmla="*/ 0 h 118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184276" h="1181100">
                <a:moveTo>
                  <a:pt x="844615" y="915988"/>
                </a:moveTo>
                <a:cubicBezTo>
                  <a:pt x="814344" y="1006476"/>
                  <a:pt x="768937" y="1081882"/>
                  <a:pt x="715963" y="1127126"/>
                </a:cubicBezTo>
                <a:cubicBezTo>
                  <a:pt x="825696" y="1100734"/>
                  <a:pt x="920294" y="1047949"/>
                  <a:pt x="992188" y="968773"/>
                </a:cubicBezTo>
                <a:cubicBezTo>
                  <a:pt x="950565" y="946151"/>
                  <a:pt x="901375" y="927299"/>
                  <a:pt x="844615" y="915988"/>
                </a:cubicBezTo>
                <a:close/>
                <a:moveTo>
                  <a:pt x="340508" y="915988"/>
                </a:moveTo>
                <a:cubicBezTo>
                  <a:pt x="283424" y="927299"/>
                  <a:pt x="233950" y="946151"/>
                  <a:pt x="192088" y="968773"/>
                </a:cubicBezTo>
                <a:cubicBezTo>
                  <a:pt x="264395" y="1047949"/>
                  <a:pt x="359537" y="1100734"/>
                  <a:pt x="469901" y="1127126"/>
                </a:cubicBezTo>
                <a:cubicBezTo>
                  <a:pt x="416622" y="1081882"/>
                  <a:pt x="370954" y="1006476"/>
                  <a:pt x="340508" y="915988"/>
                </a:cubicBezTo>
                <a:close/>
                <a:moveTo>
                  <a:pt x="612775" y="885825"/>
                </a:moveTo>
                <a:cubicBezTo>
                  <a:pt x="612775" y="885825"/>
                  <a:pt x="612775" y="885825"/>
                  <a:pt x="612775" y="1138238"/>
                </a:cubicBezTo>
                <a:cubicBezTo>
                  <a:pt x="692523" y="1123169"/>
                  <a:pt x="760879" y="1032752"/>
                  <a:pt x="806450" y="904662"/>
                </a:cubicBezTo>
                <a:cubicBezTo>
                  <a:pt x="745689" y="893360"/>
                  <a:pt x="681131" y="885825"/>
                  <a:pt x="612775" y="885825"/>
                </a:cubicBezTo>
                <a:close/>
                <a:moveTo>
                  <a:pt x="571500" y="885825"/>
                </a:moveTo>
                <a:cubicBezTo>
                  <a:pt x="503144" y="885825"/>
                  <a:pt x="438586" y="893360"/>
                  <a:pt x="377825" y="904662"/>
                </a:cubicBezTo>
                <a:cubicBezTo>
                  <a:pt x="423395" y="1032752"/>
                  <a:pt x="495549" y="1123169"/>
                  <a:pt x="571500" y="1138238"/>
                </a:cubicBezTo>
                <a:close/>
                <a:moveTo>
                  <a:pt x="893471" y="609600"/>
                </a:moveTo>
                <a:cubicBezTo>
                  <a:pt x="893471" y="707806"/>
                  <a:pt x="878348" y="798458"/>
                  <a:pt x="855663" y="877779"/>
                </a:cubicBezTo>
                <a:cubicBezTo>
                  <a:pt x="916155" y="892887"/>
                  <a:pt x="972867" y="911773"/>
                  <a:pt x="1018236" y="938213"/>
                </a:cubicBezTo>
                <a:cubicBezTo>
                  <a:pt x="1093851" y="847561"/>
                  <a:pt x="1139220" y="734246"/>
                  <a:pt x="1143001" y="609600"/>
                </a:cubicBezTo>
                <a:cubicBezTo>
                  <a:pt x="1143001" y="609600"/>
                  <a:pt x="1143001" y="609600"/>
                  <a:pt x="893471" y="609600"/>
                </a:cubicBezTo>
                <a:close/>
                <a:moveTo>
                  <a:pt x="612775" y="609600"/>
                </a:moveTo>
                <a:lnTo>
                  <a:pt x="612775" y="844083"/>
                </a:lnTo>
                <a:cubicBezTo>
                  <a:pt x="684882" y="847865"/>
                  <a:pt x="753194" y="855429"/>
                  <a:pt x="817712" y="866775"/>
                </a:cubicBezTo>
                <a:cubicBezTo>
                  <a:pt x="840482" y="791135"/>
                  <a:pt x="851868" y="704150"/>
                  <a:pt x="855663" y="609600"/>
                </a:cubicBezTo>
                <a:cubicBezTo>
                  <a:pt x="855663" y="609600"/>
                  <a:pt x="855663" y="609600"/>
                  <a:pt x="612775" y="609600"/>
                </a:cubicBezTo>
                <a:close/>
                <a:moveTo>
                  <a:pt x="328613" y="609600"/>
                </a:moveTo>
                <a:cubicBezTo>
                  <a:pt x="332408" y="704150"/>
                  <a:pt x="343793" y="791135"/>
                  <a:pt x="366564" y="866775"/>
                </a:cubicBezTo>
                <a:cubicBezTo>
                  <a:pt x="431081" y="855429"/>
                  <a:pt x="499393" y="847865"/>
                  <a:pt x="571501" y="844083"/>
                </a:cubicBezTo>
                <a:lnTo>
                  <a:pt x="571501" y="609600"/>
                </a:lnTo>
                <a:cubicBezTo>
                  <a:pt x="571501" y="609600"/>
                  <a:pt x="571501" y="609600"/>
                  <a:pt x="328613" y="609600"/>
                </a:cubicBezTo>
                <a:close/>
                <a:moveTo>
                  <a:pt x="41275" y="609600"/>
                </a:moveTo>
                <a:cubicBezTo>
                  <a:pt x="45056" y="734246"/>
                  <a:pt x="90425" y="847561"/>
                  <a:pt x="166040" y="938213"/>
                </a:cubicBezTo>
                <a:cubicBezTo>
                  <a:pt x="211409" y="911773"/>
                  <a:pt x="268121" y="892887"/>
                  <a:pt x="328613" y="874001"/>
                </a:cubicBezTo>
                <a:cubicBezTo>
                  <a:pt x="305928" y="798458"/>
                  <a:pt x="294586" y="707806"/>
                  <a:pt x="290805" y="609600"/>
                </a:cubicBezTo>
                <a:cubicBezTo>
                  <a:pt x="290805" y="609600"/>
                  <a:pt x="290805" y="609600"/>
                  <a:pt x="41275" y="609600"/>
                </a:cubicBezTo>
                <a:close/>
                <a:moveTo>
                  <a:pt x="817712" y="314325"/>
                </a:moveTo>
                <a:cubicBezTo>
                  <a:pt x="753194" y="325671"/>
                  <a:pt x="684882" y="337017"/>
                  <a:pt x="612775" y="337017"/>
                </a:cubicBezTo>
                <a:lnTo>
                  <a:pt x="612775" y="571500"/>
                </a:lnTo>
                <a:cubicBezTo>
                  <a:pt x="612775" y="571500"/>
                  <a:pt x="612775" y="571500"/>
                  <a:pt x="855663" y="571500"/>
                </a:cubicBezTo>
                <a:cubicBezTo>
                  <a:pt x="851868" y="476950"/>
                  <a:pt x="840482" y="389965"/>
                  <a:pt x="817712" y="314325"/>
                </a:cubicBezTo>
                <a:close/>
                <a:moveTo>
                  <a:pt x="366564" y="314325"/>
                </a:moveTo>
                <a:cubicBezTo>
                  <a:pt x="343793" y="389965"/>
                  <a:pt x="332408" y="476950"/>
                  <a:pt x="328613" y="571500"/>
                </a:cubicBezTo>
                <a:cubicBezTo>
                  <a:pt x="328613" y="571500"/>
                  <a:pt x="328613" y="571500"/>
                  <a:pt x="571501" y="571500"/>
                </a:cubicBezTo>
                <a:lnTo>
                  <a:pt x="571501" y="337017"/>
                </a:lnTo>
                <a:cubicBezTo>
                  <a:pt x="499393" y="337017"/>
                  <a:pt x="431081" y="329453"/>
                  <a:pt x="366564" y="314325"/>
                </a:cubicBezTo>
                <a:close/>
                <a:moveTo>
                  <a:pt x="1018236" y="241300"/>
                </a:moveTo>
                <a:cubicBezTo>
                  <a:pt x="972867" y="267868"/>
                  <a:pt x="916155" y="286845"/>
                  <a:pt x="855663" y="302026"/>
                </a:cubicBezTo>
                <a:cubicBezTo>
                  <a:pt x="878348" y="381730"/>
                  <a:pt x="893471" y="472819"/>
                  <a:pt x="893471" y="571500"/>
                </a:cubicBezTo>
                <a:cubicBezTo>
                  <a:pt x="893471" y="571500"/>
                  <a:pt x="893471" y="571500"/>
                  <a:pt x="1143001" y="571500"/>
                </a:cubicBezTo>
                <a:cubicBezTo>
                  <a:pt x="1139220" y="446252"/>
                  <a:pt x="1093851" y="332390"/>
                  <a:pt x="1018236" y="241300"/>
                </a:cubicBezTo>
                <a:close/>
                <a:moveTo>
                  <a:pt x="166040" y="241300"/>
                </a:moveTo>
                <a:cubicBezTo>
                  <a:pt x="90425" y="332390"/>
                  <a:pt x="45056" y="446252"/>
                  <a:pt x="41275" y="571500"/>
                </a:cubicBezTo>
                <a:cubicBezTo>
                  <a:pt x="41275" y="571500"/>
                  <a:pt x="41275" y="571500"/>
                  <a:pt x="290805" y="571500"/>
                </a:cubicBezTo>
                <a:cubicBezTo>
                  <a:pt x="294586" y="472819"/>
                  <a:pt x="305928" y="381730"/>
                  <a:pt x="328613" y="305822"/>
                </a:cubicBezTo>
                <a:cubicBezTo>
                  <a:pt x="268121" y="286845"/>
                  <a:pt x="211409" y="267868"/>
                  <a:pt x="166040" y="241300"/>
                </a:cubicBezTo>
                <a:close/>
                <a:moveTo>
                  <a:pt x="715963" y="52388"/>
                </a:moveTo>
                <a:cubicBezTo>
                  <a:pt x="768937" y="97841"/>
                  <a:pt x="814344" y="173595"/>
                  <a:pt x="844615" y="268288"/>
                </a:cubicBezTo>
                <a:cubicBezTo>
                  <a:pt x="901375" y="253137"/>
                  <a:pt x="950565" y="234198"/>
                  <a:pt x="992188" y="211472"/>
                </a:cubicBezTo>
                <a:cubicBezTo>
                  <a:pt x="920294" y="135718"/>
                  <a:pt x="825696" y="78902"/>
                  <a:pt x="715963" y="52388"/>
                </a:cubicBezTo>
                <a:close/>
                <a:moveTo>
                  <a:pt x="469901" y="52388"/>
                </a:moveTo>
                <a:cubicBezTo>
                  <a:pt x="359537" y="78978"/>
                  <a:pt x="264395" y="132160"/>
                  <a:pt x="192088" y="211932"/>
                </a:cubicBezTo>
                <a:cubicBezTo>
                  <a:pt x="233950" y="234724"/>
                  <a:pt x="283424" y="253717"/>
                  <a:pt x="340508" y="265113"/>
                </a:cubicBezTo>
                <a:cubicBezTo>
                  <a:pt x="370954" y="173945"/>
                  <a:pt x="416622" y="97972"/>
                  <a:pt x="469901" y="52388"/>
                </a:cubicBezTo>
                <a:close/>
                <a:moveTo>
                  <a:pt x="612775" y="44450"/>
                </a:moveTo>
                <a:lnTo>
                  <a:pt x="612775" y="298450"/>
                </a:lnTo>
                <a:cubicBezTo>
                  <a:pt x="681131" y="294659"/>
                  <a:pt x="745689" y="287077"/>
                  <a:pt x="806450" y="275704"/>
                </a:cubicBezTo>
                <a:cubicBezTo>
                  <a:pt x="760879" y="146808"/>
                  <a:pt x="692523" y="55823"/>
                  <a:pt x="612775" y="44450"/>
                </a:cubicBezTo>
                <a:close/>
                <a:moveTo>
                  <a:pt x="571500" y="44450"/>
                </a:moveTo>
                <a:cubicBezTo>
                  <a:pt x="495549" y="55823"/>
                  <a:pt x="423395" y="146808"/>
                  <a:pt x="377825" y="275704"/>
                </a:cubicBezTo>
                <a:cubicBezTo>
                  <a:pt x="438586" y="287077"/>
                  <a:pt x="503144" y="294659"/>
                  <a:pt x="571500" y="298450"/>
                </a:cubicBezTo>
                <a:close/>
                <a:moveTo>
                  <a:pt x="592138" y="0"/>
                </a:moveTo>
                <a:cubicBezTo>
                  <a:pt x="919167" y="0"/>
                  <a:pt x="1184276" y="264398"/>
                  <a:pt x="1184276" y="590550"/>
                </a:cubicBezTo>
                <a:cubicBezTo>
                  <a:pt x="1184276" y="916702"/>
                  <a:pt x="919167" y="1181100"/>
                  <a:pt x="592138" y="1181100"/>
                </a:cubicBezTo>
                <a:cubicBezTo>
                  <a:pt x="265109" y="1181100"/>
                  <a:pt x="0" y="916702"/>
                  <a:pt x="0" y="590550"/>
                </a:cubicBezTo>
                <a:cubicBezTo>
                  <a:pt x="0" y="264398"/>
                  <a:pt x="265109" y="0"/>
                  <a:pt x="592138" y="0"/>
                </a:cubicBezTo>
                <a:close/>
              </a:path>
            </a:pathLst>
          </a:custGeom>
          <a:solidFill>
            <a:schemeClr val="bg1"/>
          </a:solidFill>
          <a:ln>
            <a:noFill/>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t" anchorCtr="0" compatLnSpc="1">
            <a:prstTxWarp prst="textNoShape">
              <a:avLst/>
            </a:prstTxWarp>
            <a:noAutofit/>
          </a:bodyPr>
          <a:lstStyle/>
          <a:p>
            <a:endParaRPr lang="en-GB" sz="1600" dirty="0">
              <a:solidFill>
                <a:srgbClr val="000000"/>
              </a:solidFill>
            </a:endParaRPr>
          </a:p>
        </p:txBody>
      </p:sp>
    </p:spTree>
    <p:extLst>
      <p:ext uri="{BB962C8B-B14F-4D97-AF65-F5344CB8AC3E}">
        <p14:creationId xmlns:p14="http://schemas.microsoft.com/office/powerpoint/2010/main" val="209766632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809"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431900" y="728663"/>
            <a:ext cx="10931044" cy="332399"/>
          </a:xfrm>
        </p:spPr>
        <p:txBody>
          <a:bodyPr/>
          <a:lstStyle/>
          <a:p>
            <a:r>
              <a:rPr lang="en-US" dirty="0"/>
              <a:t>We </a:t>
            </a:r>
            <a:r>
              <a:rPr lang="en-US" dirty="0" smtClean="0"/>
              <a:t>voted primarily at Annual General Meetings (AGM)</a:t>
            </a:r>
            <a:endParaRPr lang="en-GB" dirty="0">
              <a:solidFill>
                <a:srgbClr val="003755"/>
              </a:solidFill>
            </a:endParaRPr>
          </a:p>
        </p:txBody>
      </p:sp>
      <p:graphicFrame>
        <p:nvGraphicFramePr>
          <p:cNvPr id="8" name="Chart 7"/>
          <p:cNvGraphicFramePr/>
          <p:nvPr>
            <p:extLst>
              <p:ext uri="{D42A27DB-BD31-4B8C-83A1-F6EECF244321}">
                <p14:modId xmlns:p14="http://schemas.microsoft.com/office/powerpoint/2010/main" val="320190028"/>
              </p:ext>
            </p:extLst>
          </p:nvPr>
        </p:nvGraphicFramePr>
        <p:xfrm>
          <a:off x="1568345" y="1808562"/>
          <a:ext cx="8658153" cy="4103412"/>
        </p:xfrm>
        <a:graphic>
          <a:graphicData uri="http://schemas.openxmlformats.org/drawingml/2006/chart">
            <c:chart xmlns:c="http://schemas.openxmlformats.org/drawingml/2006/chart" xmlns:r="http://schemas.openxmlformats.org/officeDocument/2006/relationships" r:id="rId7"/>
          </a:graphicData>
        </a:graphic>
      </p:graphicFrame>
      <p:cxnSp>
        <p:nvCxnSpPr>
          <p:cNvPr id="9" name="Straight Connector 8"/>
          <p:cNvCxnSpPr/>
          <p:nvPr/>
        </p:nvCxnSpPr>
        <p:spPr>
          <a:xfrm>
            <a:off x="7348008" y="3045508"/>
            <a:ext cx="683472" cy="269192"/>
          </a:xfrm>
          <a:prstGeom prst="line">
            <a:avLst/>
          </a:prstGeom>
          <a:ln w="9525" cap="rnd">
            <a:solidFill>
              <a:srgbClr val="FBB273"/>
            </a:solidFill>
            <a:round/>
          </a:ln>
        </p:spPr>
        <p:style>
          <a:lnRef idx="1">
            <a:schemeClr val="accent1"/>
          </a:lnRef>
          <a:fillRef idx="0">
            <a:schemeClr val="accent1"/>
          </a:fillRef>
          <a:effectRef idx="0">
            <a:schemeClr val="accent1"/>
          </a:effectRef>
          <a:fontRef idx="minor">
            <a:schemeClr val="tx1"/>
          </a:fontRef>
        </p:style>
      </p:cxnSp>
      <p:grpSp>
        <p:nvGrpSpPr>
          <p:cNvPr id="7" name="Group 6"/>
          <p:cNvGrpSpPr>
            <a:grpSpLocks noChangeAspect="1"/>
          </p:cNvGrpSpPr>
          <p:nvPr/>
        </p:nvGrpSpPr>
        <p:grpSpPr>
          <a:xfrm>
            <a:off x="431900" y="192024"/>
            <a:ext cx="3049382" cy="468077"/>
            <a:chOff x="497821" y="2419091"/>
            <a:chExt cx="7559999" cy="1160451"/>
          </a:xfrm>
        </p:grpSpPr>
        <p:sp>
          <p:nvSpPr>
            <p:cNvPr id="11" name="Rectangle 10"/>
            <p:cNvSpPr/>
            <p:nvPr/>
          </p:nvSpPr>
          <p:spPr>
            <a:xfrm>
              <a:off x="497821" y="2419091"/>
              <a:ext cx="7559999" cy="1160451"/>
            </a:xfrm>
            <a:prstGeom prst="rect">
              <a:avLst/>
            </a:prstGeom>
            <a:solidFill>
              <a:srgbClr val="F0F7FA">
                <a:alpha val="6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600" dirty="0">
                <a:solidFill>
                  <a:srgbClr val="000000"/>
                </a:solidFill>
              </a:endParaRPr>
            </a:p>
          </p:txBody>
        </p:sp>
        <p:sp>
          <p:nvSpPr>
            <p:cNvPr id="12" name="TextBox 11"/>
            <p:cNvSpPr txBox="1"/>
            <p:nvPr/>
          </p:nvSpPr>
          <p:spPr>
            <a:xfrm>
              <a:off x="1556279" y="2922371"/>
              <a:ext cx="2885810" cy="153888"/>
            </a:xfrm>
            <a:prstGeom prst="rect">
              <a:avLst/>
            </a:prstGeom>
            <a:noFill/>
          </p:spPr>
          <p:txBody>
            <a:bodyPr wrap="square" lIns="0" tIns="0" rIns="0" bIns="0" rtlCol="0" anchor="ctr" anchorCtr="0">
              <a:spAutoFit/>
            </a:bodyPr>
            <a:lstStyle/>
            <a:p>
              <a:r>
                <a:rPr lang="en-US" sz="1000" b="1" dirty="0" smtClean="0">
                  <a:solidFill>
                    <a:srgbClr val="003755"/>
                  </a:solidFill>
                </a:rPr>
                <a:t>Meetings</a:t>
              </a:r>
              <a:endParaRPr lang="en-US" sz="1000" b="1" dirty="0">
                <a:solidFill>
                  <a:srgbClr val="003755"/>
                </a:solidFill>
              </a:endParaRPr>
            </a:p>
          </p:txBody>
        </p:sp>
        <p:sp>
          <p:nvSpPr>
            <p:cNvPr id="13" name="Oval 12"/>
            <p:cNvSpPr/>
            <p:nvPr/>
          </p:nvSpPr>
          <p:spPr>
            <a:xfrm>
              <a:off x="539533" y="2666099"/>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chemeClr val="tx1"/>
                </a:solidFill>
              </a:endParaRPr>
            </a:p>
          </p:txBody>
        </p:sp>
        <p:sp>
          <p:nvSpPr>
            <p:cNvPr id="15" name="Rectangle 14"/>
            <p:cNvSpPr/>
            <p:nvPr/>
          </p:nvSpPr>
          <p:spPr>
            <a:xfrm>
              <a:off x="1402978" y="2759776"/>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rgbClr val="000000"/>
                </a:solidFill>
              </a:endParaRPr>
            </a:p>
          </p:txBody>
        </p:sp>
        <p:sp>
          <p:nvSpPr>
            <p:cNvPr id="16" name="Overview meeting"/>
            <p:cNvSpPr>
              <a:spLocks noChangeAspect="1"/>
            </p:cNvSpPr>
            <p:nvPr>
              <p:custDataLst>
                <p:tags r:id="rId3"/>
              </p:custDataLst>
            </p:nvPr>
          </p:nvSpPr>
          <p:spPr bwMode="auto">
            <a:xfrm>
              <a:off x="656398" y="2798237"/>
              <a:ext cx="402645" cy="402159"/>
            </a:xfrm>
            <a:custGeom>
              <a:avLst/>
              <a:gdLst>
                <a:gd name="connsiteX0" fmla="*/ 336246 w 1317625"/>
                <a:gd name="connsiteY0" fmla="*/ 301625 h 1316038"/>
                <a:gd name="connsiteX1" fmla="*/ 222796 w 1317625"/>
                <a:gd name="connsiteY1" fmla="*/ 415221 h 1316038"/>
                <a:gd name="connsiteX2" fmla="*/ 294648 w 1317625"/>
                <a:gd name="connsiteY2" fmla="*/ 525030 h 1316038"/>
                <a:gd name="connsiteX3" fmla="*/ 309775 w 1317625"/>
                <a:gd name="connsiteY3" fmla="*/ 543963 h 1316038"/>
                <a:gd name="connsiteX4" fmla="*/ 309775 w 1317625"/>
                <a:gd name="connsiteY4" fmla="*/ 657559 h 1316038"/>
                <a:gd name="connsiteX5" fmla="*/ 287084 w 1317625"/>
                <a:gd name="connsiteY5" fmla="*/ 680278 h 1316038"/>
                <a:gd name="connsiteX6" fmla="*/ 41275 w 1317625"/>
                <a:gd name="connsiteY6" fmla="*/ 680278 h 1316038"/>
                <a:gd name="connsiteX7" fmla="*/ 41275 w 1317625"/>
                <a:gd name="connsiteY7" fmla="*/ 1274763 h 1316038"/>
                <a:gd name="connsiteX8" fmla="*/ 635000 w 1317625"/>
                <a:gd name="connsiteY8" fmla="*/ 1274763 h 1316038"/>
                <a:gd name="connsiteX9" fmla="*/ 635000 w 1317625"/>
                <a:gd name="connsiteY9" fmla="*/ 1051358 h 1316038"/>
                <a:gd name="connsiteX10" fmla="*/ 555584 w 1317625"/>
                <a:gd name="connsiteY10" fmla="*/ 1051358 h 1316038"/>
                <a:gd name="connsiteX11" fmla="*/ 415662 w 1317625"/>
                <a:gd name="connsiteY11" fmla="*/ 1138448 h 1316038"/>
                <a:gd name="connsiteX12" fmla="*/ 256831 w 1317625"/>
                <a:gd name="connsiteY12" fmla="*/ 979414 h 1316038"/>
                <a:gd name="connsiteX13" fmla="*/ 415662 w 1317625"/>
                <a:gd name="connsiteY13" fmla="*/ 820380 h 1316038"/>
                <a:gd name="connsiteX14" fmla="*/ 555584 w 1317625"/>
                <a:gd name="connsiteY14" fmla="*/ 907470 h 1316038"/>
                <a:gd name="connsiteX15" fmla="*/ 635000 w 1317625"/>
                <a:gd name="connsiteY15" fmla="*/ 907470 h 1316038"/>
                <a:gd name="connsiteX16" fmla="*/ 635000 w 1317625"/>
                <a:gd name="connsiteY16" fmla="*/ 680278 h 1316038"/>
                <a:gd name="connsiteX17" fmla="*/ 389190 w 1317625"/>
                <a:gd name="connsiteY17" fmla="*/ 680278 h 1316038"/>
                <a:gd name="connsiteX18" fmla="*/ 366500 w 1317625"/>
                <a:gd name="connsiteY18" fmla="*/ 657559 h 1316038"/>
                <a:gd name="connsiteX19" fmla="*/ 366500 w 1317625"/>
                <a:gd name="connsiteY19" fmla="*/ 543963 h 1316038"/>
                <a:gd name="connsiteX20" fmla="*/ 377845 w 1317625"/>
                <a:gd name="connsiteY20" fmla="*/ 525030 h 1316038"/>
                <a:gd name="connsiteX21" fmla="*/ 453479 w 1317625"/>
                <a:gd name="connsiteY21" fmla="*/ 415221 h 1316038"/>
                <a:gd name="connsiteX22" fmla="*/ 336246 w 1317625"/>
                <a:gd name="connsiteY22" fmla="*/ 301625 h 1316038"/>
                <a:gd name="connsiteX23" fmla="*/ 681038 w 1317625"/>
                <a:gd name="connsiteY23" fmla="*/ 44450 h 1316038"/>
                <a:gd name="connsiteX24" fmla="*/ 681038 w 1317625"/>
                <a:gd name="connsiteY24" fmla="*/ 267855 h 1316038"/>
                <a:gd name="connsiteX25" fmla="*/ 760535 w 1317625"/>
                <a:gd name="connsiteY25" fmla="*/ 267855 h 1316038"/>
                <a:gd name="connsiteX26" fmla="*/ 900602 w 1317625"/>
                <a:gd name="connsiteY26" fmla="*/ 180765 h 1316038"/>
                <a:gd name="connsiteX27" fmla="*/ 1059596 w 1317625"/>
                <a:gd name="connsiteY27" fmla="*/ 339799 h 1316038"/>
                <a:gd name="connsiteX28" fmla="*/ 900602 w 1317625"/>
                <a:gd name="connsiteY28" fmla="*/ 498834 h 1316038"/>
                <a:gd name="connsiteX29" fmla="*/ 760535 w 1317625"/>
                <a:gd name="connsiteY29" fmla="*/ 411743 h 1316038"/>
                <a:gd name="connsiteX30" fmla="*/ 681038 w 1317625"/>
                <a:gd name="connsiteY30" fmla="*/ 411743 h 1316038"/>
                <a:gd name="connsiteX31" fmla="*/ 681038 w 1317625"/>
                <a:gd name="connsiteY31" fmla="*/ 638935 h 1316038"/>
                <a:gd name="connsiteX32" fmla="*/ 927101 w 1317625"/>
                <a:gd name="connsiteY32" fmla="*/ 638935 h 1316038"/>
                <a:gd name="connsiteX33" fmla="*/ 949814 w 1317625"/>
                <a:gd name="connsiteY33" fmla="*/ 657868 h 1316038"/>
                <a:gd name="connsiteX34" fmla="*/ 949814 w 1317625"/>
                <a:gd name="connsiteY34" fmla="*/ 775250 h 1316038"/>
                <a:gd name="connsiteX35" fmla="*/ 934672 w 1317625"/>
                <a:gd name="connsiteY35" fmla="*/ 794183 h 1316038"/>
                <a:gd name="connsiteX36" fmla="*/ 862746 w 1317625"/>
                <a:gd name="connsiteY36" fmla="*/ 900206 h 1316038"/>
                <a:gd name="connsiteX37" fmla="*/ 976313 w 1317625"/>
                <a:gd name="connsiteY37" fmla="*/ 1017588 h 1316038"/>
                <a:gd name="connsiteX38" fmla="*/ 1093666 w 1317625"/>
                <a:gd name="connsiteY38" fmla="*/ 900206 h 1316038"/>
                <a:gd name="connsiteX39" fmla="*/ 1017955 w 1317625"/>
                <a:gd name="connsiteY39" fmla="*/ 794183 h 1316038"/>
                <a:gd name="connsiteX40" fmla="*/ 1006598 w 1317625"/>
                <a:gd name="connsiteY40" fmla="*/ 775250 h 1316038"/>
                <a:gd name="connsiteX41" fmla="*/ 1006598 w 1317625"/>
                <a:gd name="connsiteY41" fmla="*/ 657868 h 1316038"/>
                <a:gd name="connsiteX42" fmla="*/ 1029311 w 1317625"/>
                <a:gd name="connsiteY42" fmla="*/ 638935 h 1316038"/>
                <a:gd name="connsiteX43" fmla="*/ 1271588 w 1317625"/>
                <a:gd name="connsiteY43" fmla="*/ 638935 h 1316038"/>
                <a:gd name="connsiteX44" fmla="*/ 1271588 w 1317625"/>
                <a:gd name="connsiteY44" fmla="*/ 44450 h 1316038"/>
                <a:gd name="connsiteX45" fmla="*/ 681038 w 1317625"/>
                <a:gd name="connsiteY45" fmla="*/ 44450 h 1316038"/>
                <a:gd name="connsiteX46" fmla="*/ 41275 w 1317625"/>
                <a:gd name="connsiteY46" fmla="*/ 44450 h 1316038"/>
                <a:gd name="connsiteX47" fmla="*/ 41275 w 1317625"/>
                <a:gd name="connsiteY47" fmla="*/ 639763 h 1316038"/>
                <a:gd name="connsiteX48" fmla="*/ 268467 w 1317625"/>
                <a:gd name="connsiteY48" fmla="*/ 639763 h 1316038"/>
                <a:gd name="connsiteX49" fmla="*/ 268467 w 1317625"/>
                <a:gd name="connsiteY49" fmla="*/ 560135 h 1316038"/>
                <a:gd name="connsiteX50" fmla="*/ 181376 w 1317625"/>
                <a:gd name="connsiteY50" fmla="*/ 416047 h 1316038"/>
                <a:gd name="connsiteX51" fmla="*/ 336624 w 1317625"/>
                <a:gd name="connsiteY51" fmla="*/ 260583 h 1316038"/>
                <a:gd name="connsiteX52" fmla="*/ 495658 w 1317625"/>
                <a:gd name="connsiteY52" fmla="*/ 416047 h 1316038"/>
                <a:gd name="connsiteX53" fmla="*/ 408568 w 1317625"/>
                <a:gd name="connsiteY53" fmla="*/ 560135 h 1316038"/>
                <a:gd name="connsiteX54" fmla="*/ 408568 w 1317625"/>
                <a:gd name="connsiteY54" fmla="*/ 639763 h 1316038"/>
                <a:gd name="connsiteX55" fmla="*/ 635760 w 1317625"/>
                <a:gd name="connsiteY55" fmla="*/ 639763 h 1316038"/>
                <a:gd name="connsiteX56" fmla="*/ 635760 w 1317625"/>
                <a:gd name="connsiteY56" fmla="*/ 389504 h 1316038"/>
                <a:gd name="connsiteX57" fmla="*/ 658479 w 1317625"/>
                <a:gd name="connsiteY57" fmla="*/ 366753 h 1316038"/>
                <a:gd name="connsiteX58" fmla="*/ 772075 w 1317625"/>
                <a:gd name="connsiteY58" fmla="*/ 366753 h 1316038"/>
                <a:gd name="connsiteX59" fmla="*/ 794795 w 1317625"/>
                <a:gd name="connsiteY59" fmla="*/ 381921 h 1316038"/>
                <a:gd name="connsiteX60" fmla="*/ 900817 w 1317625"/>
                <a:gd name="connsiteY60" fmla="*/ 453965 h 1316038"/>
                <a:gd name="connsiteX61" fmla="*/ 1014413 w 1317625"/>
                <a:gd name="connsiteY61" fmla="*/ 340211 h 1316038"/>
                <a:gd name="connsiteX62" fmla="*/ 900817 w 1317625"/>
                <a:gd name="connsiteY62" fmla="*/ 226457 h 1316038"/>
                <a:gd name="connsiteX63" fmla="*/ 794795 w 1317625"/>
                <a:gd name="connsiteY63" fmla="*/ 298501 h 1316038"/>
                <a:gd name="connsiteX64" fmla="*/ 772075 w 1317625"/>
                <a:gd name="connsiteY64" fmla="*/ 309876 h 1316038"/>
                <a:gd name="connsiteX65" fmla="*/ 658479 w 1317625"/>
                <a:gd name="connsiteY65" fmla="*/ 309876 h 1316038"/>
                <a:gd name="connsiteX66" fmla="*/ 635760 w 1317625"/>
                <a:gd name="connsiteY66" fmla="*/ 290917 h 1316038"/>
                <a:gd name="connsiteX67" fmla="*/ 635760 w 1317625"/>
                <a:gd name="connsiteY67" fmla="*/ 44450 h 1316038"/>
                <a:gd name="connsiteX68" fmla="*/ 41275 w 1317625"/>
                <a:gd name="connsiteY68" fmla="*/ 44450 h 1316038"/>
                <a:gd name="connsiteX69" fmla="*/ 22717 w 1317625"/>
                <a:gd name="connsiteY69" fmla="*/ 0 h 1316038"/>
                <a:gd name="connsiteX70" fmla="*/ 1294908 w 1317625"/>
                <a:gd name="connsiteY70" fmla="*/ 0 h 1316038"/>
                <a:gd name="connsiteX71" fmla="*/ 1317625 w 1317625"/>
                <a:gd name="connsiteY71" fmla="*/ 22690 h 1316038"/>
                <a:gd name="connsiteX72" fmla="*/ 1317625 w 1317625"/>
                <a:gd name="connsiteY72" fmla="*/ 1297130 h 1316038"/>
                <a:gd name="connsiteX73" fmla="*/ 1294908 w 1317625"/>
                <a:gd name="connsiteY73" fmla="*/ 1316038 h 1316038"/>
                <a:gd name="connsiteX74" fmla="*/ 22717 w 1317625"/>
                <a:gd name="connsiteY74" fmla="*/ 1316038 h 1316038"/>
                <a:gd name="connsiteX75" fmla="*/ 0 w 1317625"/>
                <a:gd name="connsiteY75" fmla="*/ 1297130 h 1316038"/>
                <a:gd name="connsiteX76" fmla="*/ 0 w 1317625"/>
                <a:gd name="connsiteY76" fmla="*/ 22690 h 1316038"/>
                <a:gd name="connsiteX77" fmla="*/ 22717 w 1317625"/>
                <a:gd name="connsiteY77" fmla="*/ 0 h 1316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317625" h="1316038">
                  <a:moveTo>
                    <a:pt x="336246" y="301625"/>
                  </a:moveTo>
                  <a:cubicBezTo>
                    <a:pt x="275739" y="301625"/>
                    <a:pt x="222796" y="354637"/>
                    <a:pt x="222796" y="415221"/>
                  </a:cubicBezTo>
                  <a:cubicBezTo>
                    <a:pt x="222796" y="464446"/>
                    <a:pt x="253049" y="506098"/>
                    <a:pt x="294648" y="525030"/>
                  </a:cubicBezTo>
                  <a:cubicBezTo>
                    <a:pt x="305993" y="525030"/>
                    <a:pt x="309775" y="536390"/>
                    <a:pt x="309775" y="543963"/>
                  </a:cubicBezTo>
                  <a:cubicBezTo>
                    <a:pt x="309775" y="543963"/>
                    <a:pt x="309775" y="543963"/>
                    <a:pt x="309775" y="657559"/>
                  </a:cubicBezTo>
                  <a:cubicBezTo>
                    <a:pt x="309775" y="672705"/>
                    <a:pt x="298430" y="680278"/>
                    <a:pt x="287084" y="680278"/>
                  </a:cubicBezTo>
                  <a:cubicBezTo>
                    <a:pt x="287084" y="680278"/>
                    <a:pt x="287084" y="680278"/>
                    <a:pt x="41275" y="680278"/>
                  </a:cubicBezTo>
                  <a:lnTo>
                    <a:pt x="41275" y="1274763"/>
                  </a:lnTo>
                  <a:cubicBezTo>
                    <a:pt x="41275" y="1274763"/>
                    <a:pt x="41275" y="1274763"/>
                    <a:pt x="635000" y="1274763"/>
                  </a:cubicBezTo>
                  <a:cubicBezTo>
                    <a:pt x="635000" y="1274763"/>
                    <a:pt x="635000" y="1274763"/>
                    <a:pt x="635000" y="1051358"/>
                  </a:cubicBezTo>
                  <a:cubicBezTo>
                    <a:pt x="635000" y="1051358"/>
                    <a:pt x="635000" y="1051358"/>
                    <a:pt x="555584" y="1051358"/>
                  </a:cubicBezTo>
                  <a:cubicBezTo>
                    <a:pt x="529113" y="1104369"/>
                    <a:pt x="476169" y="1138448"/>
                    <a:pt x="415662" y="1138448"/>
                  </a:cubicBezTo>
                  <a:cubicBezTo>
                    <a:pt x="328683" y="1138448"/>
                    <a:pt x="256831" y="1066504"/>
                    <a:pt x="256831" y="979414"/>
                  </a:cubicBezTo>
                  <a:cubicBezTo>
                    <a:pt x="256831" y="892324"/>
                    <a:pt x="328683" y="820380"/>
                    <a:pt x="415662" y="820380"/>
                  </a:cubicBezTo>
                  <a:cubicBezTo>
                    <a:pt x="476169" y="820380"/>
                    <a:pt x="529113" y="854458"/>
                    <a:pt x="555584" y="907470"/>
                  </a:cubicBezTo>
                  <a:cubicBezTo>
                    <a:pt x="555584" y="907470"/>
                    <a:pt x="555584" y="907470"/>
                    <a:pt x="635000" y="907470"/>
                  </a:cubicBezTo>
                  <a:cubicBezTo>
                    <a:pt x="635000" y="907470"/>
                    <a:pt x="635000" y="907470"/>
                    <a:pt x="635000" y="680278"/>
                  </a:cubicBezTo>
                  <a:cubicBezTo>
                    <a:pt x="635000" y="680278"/>
                    <a:pt x="635000" y="680278"/>
                    <a:pt x="389190" y="680278"/>
                  </a:cubicBezTo>
                  <a:cubicBezTo>
                    <a:pt x="374063" y="680278"/>
                    <a:pt x="366500" y="672705"/>
                    <a:pt x="366500" y="657559"/>
                  </a:cubicBezTo>
                  <a:cubicBezTo>
                    <a:pt x="366500" y="657559"/>
                    <a:pt x="366500" y="657559"/>
                    <a:pt x="366500" y="543963"/>
                  </a:cubicBezTo>
                  <a:cubicBezTo>
                    <a:pt x="366500" y="536390"/>
                    <a:pt x="370282" y="525030"/>
                    <a:pt x="377845" y="525030"/>
                  </a:cubicBezTo>
                  <a:cubicBezTo>
                    <a:pt x="423225" y="506098"/>
                    <a:pt x="453479" y="464446"/>
                    <a:pt x="453479" y="415221"/>
                  </a:cubicBezTo>
                  <a:cubicBezTo>
                    <a:pt x="453479" y="354637"/>
                    <a:pt x="400535" y="301625"/>
                    <a:pt x="336246" y="301625"/>
                  </a:cubicBezTo>
                  <a:close/>
                  <a:moveTo>
                    <a:pt x="681038" y="44450"/>
                  </a:moveTo>
                  <a:cubicBezTo>
                    <a:pt x="681038" y="44450"/>
                    <a:pt x="681038" y="44450"/>
                    <a:pt x="681038" y="267855"/>
                  </a:cubicBezTo>
                  <a:cubicBezTo>
                    <a:pt x="681038" y="267855"/>
                    <a:pt x="681038" y="267855"/>
                    <a:pt x="760535" y="267855"/>
                  </a:cubicBezTo>
                  <a:cubicBezTo>
                    <a:pt x="787034" y="214844"/>
                    <a:pt x="840032" y="180765"/>
                    <a:pt x="900602" y="180765"/>
                  </a:cubicBezTo>
                  <a:cubicBezTo>
                    <a:pt x="987670" y="180765"/>
                    <a:pt x="1059596" y="252709"/>
                    <a:pt x="1059596" y="339799"/>
                  </a:cubicBezTo>
                  <a:cubicBezTo>
                    <a:pt x="1059596" y="426890"/>
                    <a:pt x="987670" y="498834"/>
                    <a:pt x="900602" y="498834"/>
                  </a:cubicBezTo>
                  <a:cubicBezTo>
                    <a:pt x="840032" y="498834"/>
                    <a:pt x="787034" y="464755"/>
                    <a:pt x="760535" y="411743"/>
                  </a:cubicBezTo>
                  <a:cubicBezTo>
                    <a:pt x="760535" y="411743"/>
                    <a:pt x="760535" y="411743"/>
                    <a:pt x="681038" y="411743"/>
                  </a:cubicBezTo>
                  <a:cubicBezTo>
                    <a:pt x="681038" y="411743"/>
                    <a:pt x="681038" y="411743"/>
                    <a:pt x="681038" y="638935"/>
                  </a:cubicBezTo>
                  <a:cubicBezTo>
                    <a:pt x="681038" y="638935"/>
                    <a:pt x="681038" y="638935"/>
                    <a:pt x="927101" y="638935"/>
                  </a:cubicBezTo>
                  <a:cubicBezTo>
                    <a:pt x="938457" y="638935"/>
                    <a:pt x="949814" y="646508"/>
                    <a:pt x="949814" y="657868"/>
                  </a:cubicBezTo>
                  <a:cubicBezTo>
                    <a:pt x="949814" y="657868"/>
                    <a:pt x="949814" y="657868"/>
                    <a:pt x="949814" y="775250"/>
                  </a:cubicBezTo>
                  <a:cubicBezTo>
                    <a:pt x="949814" y="782823"/>
                    <a:pt x="946029" y="790396"/>
                    <a:pt x="934672" y="794183"/>
                  </a:cubicBezTo>
                  <a:cubicBezTo>
                    <a:pt x="893031" y="813116"/>
                    <a:pt x="862746" y="854767"/>
                    <a:pt x="862746" y="900206"/>
                  </a:cubicBezTo>
                  <a:cubicBezTo>
                    <a:pt x="862746" y="964577"/>
                    <a:pt x="915744" y="1017588"/>
                    <a:pt x="976313" y="1017588"/>
                  </a:cubicBezTo>
                  <a:cubicBezTo>
                    <a:pt x="1040668" y="1017588"/>
                    <a:pt x="1093666" y="964577"/>
                    <a:pt x="1093666" y="900206"/>
                  </a:cubicBezTo>
                  <a:cubicBezTo>
                    <a:pt x="1093666" y="854767"/>
                    <a:pt x="1063382" y="813116"/>
                    <a:pt x="1017955" y="794183"/>
                  </a:cubicBezTo>
                  <a:cubicBezTo>
                    <a:pt x="1010383" y="790396"/>
                    <a:pt x="1006598" y="782823"/>
                    <a:pt x="1006598" y="775250"/>
                  </a:cubicBezTo>
                  <a:cubicBezTo>
                    <a:pt x="1006598" y="775250"/>
                    <a:pt x="1006598" y="775250"/>
                    <a:pt x="1006598" y="657868"/>
                  </a:cubicBezTo>
                  <a:cubicBezTo>
                    <a:pt x="1006598" y="646508"/>
                    <a:pt x="1014169" y="638935"/>
                    <a:pt x="1029311" y="638935"/>
                  </a:cubicBezTo>
                  <a:cubicBezTo>
                    <a:pt x="1029311" y="638935"/>
                    <a:pt x="1029311" y="638935"/>
                    <a:pt x="1271588" y="638935"/>
                  </a:cubicBezTo>
                  <a:lnTo>
                    <a:pt x="1271588" y="44450"/>
                  </a:lnTo>
                  <a:cubicBezTo>
                    <a:pt x="1271588" y="44450"/>
                    <a:pt x="1271588" y="44450"/>
                    <a:pt x="681038" y="44450"/>
                  </a:cubicBezTo>
                  <a:close/>
                  <a:moveTo>
                    <a:pt x="41275" y="44450"/>
                  </a:moveTo>
                  <a:lnTo>
                    <a:pt x="41275" y="639763"/>
                  </a:lnTo>
                  <a:cubicBezTo>
                    <a:pt x="41275" y="639763"/>
                    <a:pt x="41275" y="639763"/>
                    <a:pt x="268467" y="639763"/>
                  </a:cubicBezTo>
                  <a:cubicBezTo>
                    <a:pt x="268467" y="639763"/>
                    <a:pt x="268467" y="639763"/>
                    <a:pt x="268467" y="560135"/>
                  </a:cubicBezTo>
                  <a:cubicBezTo>
                    <a:pt x="211669" y="533593"/>
                    <a:pt x="181376" y="476716"/>
                    <a:pt x="181376" y="416047"/>
                  </a:cubicBezTo>
                  <a:cubicBezTo>
                    <a:pt x="181376" y="328835"/>
                    <a:pt x="249534" y="260583"/>
                    <a:pt x="336624" y="260583"/>
                  </a:cubicBezTo>
                  <a:cubicBezTo>
                    <a:pt x="427501" y="260583"/>
                    <a:pt x="495658" y="328835"/>
                    <a:pt x="495658" y="416047"/>
                  </a:cubicBezTo>
                  <a:cubicBezTo>
                    <a:pt x="495658" y="476716"/>
                    <a:pt x="461580" y="533593"/>
                    <a:pt x="408568" y="560135"/>
                  </a:cubicBezTo>
                  <a:cubicBezTo>
                    <a:pt x="408568" y="560135"/>
                    <a:pt x="408568" y="560135"/>
                    <a:pt x="408568" y="639763"/>
                  </a:cubicBezTo>
                  <a:cubicBezTo>
                    <a:pt x="408568" y="639763"/>
                    <a:pt x="408568" y="639763"/>
                    <a:pt x="635760" y="639763"/>
                  </a:cubicBezTo>
                  <a:cubicBezTo>
                    <a:pt x="635760" y="639763"/>
                    <a:pt x="635760" y="639763"/>
                    <a:pt x="635760" y="389504"/>
                  </a:cubicBezTo>
                  <a:cubicBezTo>
                    <a:pt x="635760" y="378129"/>
                    <a:pt x="647119" y="366753"/>
                    <a:pt x="658479" y="366753"/>
                  </a:cubicBezTo>
                  <a:cubicBezTo>
                    <a:pt x="658479" y="366753"/>
                    <a:pt x="658479" y="366753"/>
                    <a:pt x="772075" y="366753"/>
                  </a:cubicBezTo>
                  <a:cubicBezTo>
                    <a:pt x="783435" y="366753"/>
                    <a:pt x="791008" y="374337"/>
                    <a:pt x="794795" y="381921"/>
                  </a:cubicBezTo>
                  <a:cubicBezTo>
                    <a:pt x="809941" y="423630"/>
                    <a:pt x="855379" y="453965"/>
                    <a:pt x="900817" y="453965"/>
                  </a:cubicBezTo>
                  <a:cubicBezTo>
                    <a:pt x="965188" y="453965"/>
                    <a:pt x="1014413" y="404671"/>
                    <a:pt x="1014413" y="340211"/>
                  </a:cubicBezTo>
                  <a:cubicBezTo>
                    <a:pt x="1014413" y="275750"/>
                    <a:pt x="965188" y="226457"/>
                    <a:pt x="900817" y="226457"/>
                  </a:cubicBezTo>
                  <a:cubicBezTo>
                    <a:pt x="851592" y="226457"/>
                    <a:pt x="809941" y="252999"/>
                    <a:pt x="794795" y="298501"/>
                  </a:cubicBezTo>
                  <a:cubicBezTo>
                    <a:pt x="791008" y="306085"/>
                    <a:pt x="783435" y="309876"/>
                    <a:pt x="772075" y="309876"/>
                  </a:cubicBezTo>
                  <a:cubicBezTo>
                    <a:pt x="772075" y="309876"/>
                    <a:pt x="772075" y="309876"/>
                    <a:pt x="658479" y="309876"/>
                  </a:cubicBezTo>
                  <a:cubicBezTo>
                    <a:pt x="647119" y="309876"/>
                    <a:pt x="635760" y="302293"/>
                    <a:pt x="635760" y="290917"/>
                  </a:cubicBezTo>
                  <a:cubicBezTo>
                    <a:pt x="635760" y="290917"/>
                    <a:pt x="635760" y="290917"/>
                    <a:pt x="635760" y="44450"/>
                  </a:cubicBezTo>
                  <a:cubicBezTo>
                    <a:pt x="635760" y="44450"/>
                    <a:pt x="635760" y="44450"/>
                    <a:pt x="41275" y="44450"/>
                  </a:cubicBezTo>
                  <a:close/>
                  <a:moveTo>
                    <a:pt x="22717" y="0"/>
                  </a:moveTo>
                  <a:lnTo>
                    <a:pt x="1294908" y="0"/>
                  </a:lnTo>
                  <a:cubicBezTo>
                    <a:pt x="1306266" y="0"/>
                    <a:pt x="1317625" y="11345"/>
                    <a:pt x="1317625" y="22690"/>
                  </a:cubicBezTo>
                  <a:cubicBezTo>
                    <a:pt x="1317625" y="22690"/>
                    <a:pt x="1317625" y="22690"/>
                    <a:pt x="1317625" y="1297130"/>
                  </a:cubicBezTo>
                  <a:cubicBezTo>
                    <a:pt x="1317625" y="1308475"/>
                    <a:pt x="1306266" y="1316038"/>
                    <a:pt x="1294908" y="1316038"/>
                  </a:cubicBezTo>
                  <a:cubicBezTo>
                    <a:pt x="1294908" y="1316038"/>
                    <a:pt x="1294908" y="1316038"/>
                    <a:pt x="22717" y="1316038"/>
                  </a:cubicBezTo>
                  <a:cubicBezTo>
                    <a:pt x="11359" y="1316038"/>
                    <a:pt x="0" y="1308475"/>
                    <a:pt x="0" y="1297130"/>
                  </a:cubicBezTo>
                  <a:cubicBezTo>
                    <a:pt x="0" y="1297130"/>
                    <a:pt x="0" y="1297130"/>
                    <a:pt x="0" y="22690"/>
                  </a:cubicBezTo>
                  <a:cubicBezTo>
                    <a:pt x="0" y="11345"/>
                    <a:pt x="11359" y="0"/>
                    <a:pt x="22717" y="0"/>
                  </a:cubicBezTo>
                  <a:close/>
                </a:path>
              </a:pathLst>
            </a:custGeom>
            <a:solidFill>
              <a:schemeClr val="lt1"/>
            </a:solidFill>
            <a:ln>
              <a:noFill/>
            </a:ln>
          </p:spPr>
          <p:txBody>
            <a:bodyPr vert="horz" wrap="square" lIns="91440" tIns="45720" rIns="91440" bIns="45720" numCol="1" anchor="t" anchorCtr="0" compatLnSpc="1">
              <a:prstTxWarp prst="textNoShape">
                <a:avLst/>
              </a:prstTxWarp>
              <a:noAutofit/>
            </a:bodyPr>
            <a:lstStyle/>
            <a:p>
              <a:endParaRPr lang="en-GB" dirty="0">
                <a:solidFill>
                  <a:srgbClr val="000000"/>
                </a:solidFill>
              </a:endParaRPr>
            </a:p>
          </p:txBody>
        </p:sp>
        <p:sp>
          <p:nvSpPr>
            <p:cNvPr id="17" name="TextBox 16"/>
            <p:cNvSpPr txBox="1"/>
            <p:nvPr/>
          </p:nvSpPr>
          <p:spPr>
            <a:xfrm>
              <a:off x="5711383" y="2715086"/>
              <a:ext cx="2006952" cy="568463"/>
            </a:xfrm>
            <a:prstGeom prst="rect">
              <a:avLst/>
            </a:prstGeom>
            <a:noFill/>
          </p:spPr>
          <p:txBody>
            <a:bodyPr wrap="square" rtlCol="0" anchor="ctr" anchorCtr="0">
              <a:spAutoFit/>
            </a:bodyPr>
            <a:lstStyle/>
            <a:p>
              <a:pPr algn="ctr">
                <a:lnSpc>
                  <a:spcPct val="89000"/>
                </a:lnSpc>
              </a:pPr>
              <a:r>
                <a:rPr lang="en-GB" sz="1000" b="1" dirty="0" smtClean="0">
                  <a:solidFill>
                    <a:srgbClr val="00304A"/>
                  </a:solidFill>
                  <a:ea typeface="Open Sans" panose="020B0606030504020204" pitchFamily="34" charset="0"/>
                  <a:cs typeface="Open Sans" panose="020B0606030504020204" pitchFamily="34" charset="0"/>
                </a:rPr>
                <a:t>3 301</a:t>
              </a:r>
              <a:endParaRPr lang="en-US" sz="1000" b="1" dirty="0">
                <a:solidFill>
                  <a:srgbClr val="00304A"/>
                </a:solidFill>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67265849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88" name="think-cell Slide" r:id="rId14" imgW="216" imgH="216" progId="TCLayout.ActiveDocument.1">
                  <p:embed/>
                </p:oleObj>
              </mc:Choice>
              <mc:Fallback>
                <p:oleObj name="think-cell Slide" r:id="rId14" imgW="216" imgH="216"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grpSp>
        <p:nvGrpSpPr>
          <p:cNvPr id="4" name="Group 3"/>
          <p:cNvGrpSpPr/>
          <p:nvPr/>
        </p:nvGrpSpPr>
        <p:grpSpPr>
          <a:xfrm>
            <a:off x="4897702" y="1160500"/>
            <a:ext cx="4578097" cy="5379184"/>
            <a:chOff x="427121" y="1061261"/>
            <a:chExt cx="4578097" cy="5379184"/>
          </a:xfrm>
        </p:grpSpPr>
        <p:grpSp>
          <p:nvGrpSpPr>
            <p:cNvPr id="5" name="Nordic Region"/>
            <p:cNvGrpSpPr>
              <a:grpSpLocks noChangeAspect="1"/>
            </p:cNvGrpSpPr>
            <p:nvPr>
              <p:custDataLst>
                <p:tags r:id="rId4"/>
              </p:custDataLst>
            </p:nvPr>
          </p:nvGrpSpPr>
          <p:grpSpPr>
            <a:xfrm>
              <a:off x="427121" y="1061261"/>
              <a:ext cx="4578097" cy="5379184"/>
              <a:chOff x="460130" y="1173042"/>
              <a:chExt cx="3270070" cy="3988481"/>
            </a:xfrm>
            <a:solidFill>
              <a:srgbClr val="A8D2E0"/>
            </a:solidFill>
          </p:grpSpPr>
          <p:sp>
            <p:nvSpPr>
              <p:cNvPr id="268" name="Norway"/>
              <p:cNvSpPr>
                <a:spLocks noEditPoints="1"/>
              </p:cNvSpPr>
              <p:nvPr>
                <p:custDataLst>
                  <p:tags r:id="rId9"/>
                </p:custDataLst>
              </p:nvPr>
            </p:nvSpPr>
            <p:spPr bwMode="gray">
              <a:xfrm>
                <a:off x="460130" y="1173042"/>
                <a:ext cx="2758272" cy="3047505"/>
              </a:xfrm>
              <a:custGeom>
                <a:avLst/>
                <a:gdLst/>
                <a:ahLst/>
                <a:cxnLst>
                  <a:cxn ang="0">
                    <a:pos x="6014" y="2826"/>
                  </a:cxn>
                  <a:cxn ang="0">
                    <a:pos x="5207" y="3081"/>
                  </a:cxn>
                  <a:cxn ang="0">
                    <a:pos x="11117" y="1179"/>
                  </a:cxn>
                  <a:cxn ang="0">
                    <a:pos x="10461" y="841"/>
                  </a:cxn>
                  <a:cxn ang="0">
                    <a:pos x="10548" y="299"/>
                  </a:cxn>
                  <a:cxn ang="0">
                    <a:pos x="10084" y="444"/>
                  </a:cxn>
                  <a:cxn ang="0">
                    <a:pos x="9794" y="497"/>
                  </a:cxn>
                  <a:cxn ang="0">
                    <a:pos x="9129" y="1154"/>
                  </a:cxn>
                  <a:cxn ang="0">
                    <a:pos x="8852" y="303"/>
                  </a:cxn>
                  <a:cxn ang="0">
                    <a:pos x="8444" y="1192"/>
                  </a:cxn>
                  <a:cxn ang="0">
                    <a:pos x="7993" y="1241"/>
                  </a:cxn>
                  <a:cxn ang="0">
                    <a:pos x="7585" y="1585"/>
                  </a:cxn>
                  <a:cxn ang="0">
                    <a:pos x="6970" y="1765"/>
                  </a:cxn>
                  <a:cxn ang="0">
                    <a:pos x="6715" y="1944"/>
                  </a:cxn>
                  <a:cxn ang="0">
                    <a:pos x="6329" y="2688"/>
                  </a:cxn>
                  <a:cxn ang="0">
                    <a:pos x="6077" y="2971"/>
                  </a:cxn>
                  <a:cxn ang="0">
                    <a:pos x="5638" y="3505"/>
                  </a:cxn>
                  <a:cxn ang="0">
                    <a:pos x="5189" y="4081"/>
                  </a:cxn>
                  <a:cxn ang="0">
                    <a:pos x="4774" y="4887"/>
                  </a:cxn>
                  <a:cxn ang="0">
                    <a:pos x="4471" y="5462"/>
                  </a:cxn>
                  <a:cxn ang="0">
                    <a:pos x="4215" y="6096"/>
                  </a:cxn>
                  <a:cxn ang="0">
                    <a:pos x="3799" y="6730"/>
                  </a:cxn>
                  <a:cxn ang="0">
                    <a:pos x="2958" y="7623"/>
                  </a:cxn>
                  <a:cxn ang="0">
                    <a:pos x="3076" y="8006"/>
                  </a:cxn>
                  <a:cxn ang="0">
                    <a:pos x="2220" y="8099"/>
                  </a:cxn>
                  <a:cxn ang="0">
                    <a:pos x="1687" y="8561"/>
                  </a:cxn>
                  <a:cxn ang="0">
                    <a:pos x="1191" y="9109"/>
                  </a:cxn>
                  <a:cxn ang="0">
                    <a:pos x="735" y="9336"/>
                  </a:cxn>
                  <a:cxn ang="0">
                    <a:pos x="376" y="9773"/>
                  </a:cxn>
                  <a:cxn ang="0">
                    <a:pos x="1460" y="9877"/>
                  </a:cxn>
                  <a:cxn ang="0">
                    <a:pos x="669" y="10221"/>
                  </a:cxn>
                  <a:cxn ang="0">
                    <a:pos x="355" y="10832"/>
                  </a:cxn>
                  <a:cxn ang="0">
                    <a:pos x="939" y="10729"/>
                  </a:cxn>
                  <a:cxn ang="0">
                    <a:pos x="531" y="11603"/>
                  </a:cxn>
                  <a:cxn ang="0">
                    <a:pos x="683" y="11872"/>
                  </a:cxn>
                  <a:cxn ang="0">
                    <a:pos x="669" y="13385"/>
                  </a:cxn>
                  <a:cxn ang="0">
                    <a:pos x="2665" y="12559"/>
                  </a:cxn>
                  <a:cxn ang="0">
                    <a:pos x="3037" y="11659"/>
                  </a:cxn>
                  <a:cxn ang="0">
                    <a:pos x="3677" y="11817"/>
                  </a:cxn>
                  <a:cxn ang="0">
                    <a:pos x="3949" y="8877"/>
                  </a:cxn>
                  <a:cxn ang="0">
                    <a:pos x="4871" y="6844"/>
                  </a:cxn>
                  <a:cxn ang="0">
                    <a:pos x="5582" y="5115"/>
                  </a:cxn>
                  <a:cxn ang="0">
                    <a:pos x="6619" y="3423"/>
                  </a:cxn>
                  <a:cxn ang="0">
                    <a:pos x="7420" y="2291"/>
                  </a:cxn>
                  <a:cxn ang="0">
                    <a:pos x="9049" y="2367"/>
                  </a:cxn>
                  <a:cxn ang="0">
                    <a:pos x="10475" y="1141"/>
                  </a:cxn>
                  <a:cxn ang="0">
                    <a:pos x="11404" y="1157"/>
                  </a:cxn>
                  <a:cxn ang="0">
                    <a:pos x="335" y="9457"/>
                  </a:cxn>
                  <a:cxn ang="0">
                    <a:pos x="2427" y="7727"/>
                  </a:cxn>
                  <a:cxn ang="0">
                    <a:pos x="9173" y="169"/>
                  </a:cxn>
                  <a:cxn ang="0">
                    <a:pos x="8493" y="920"/>
                  </a:cxn>
                  <a:cxn ang="0">
                    <a:pos x="8145" y="624"/>
                  </a:cxn>
                  <a:cxn ang="0">
                    <a:pos x="8089" y="847"/>
                  </a:cxn>
                  <a:cxn ang="0">
                    <a:pos x="7543" y="1299"/>
                  </a:cxn>
                  <a:cxn ang="0">
                    <a:pos x="6891" y="1355"/>
                  </a:cxn>
                  <a:cxn ang="0">
                    <a:pos x="6891" y="1355"/>
                  </a:cxn>
                  <a:cxn ang="0">
                    <a:pos x="6159" y="2168"/>
                  </a:cxn>
                  <a:cxn ang="0">
                    <a:pos x="6594" y="2019"/>
                  </a:cxn>
                  <a:cxn ang="0">
                    <a:pos x="5575" y="3591"/>
                  </a:cxn>
                  <a:cxn ang="0">
                    <a:pos x="5658" y="2374"/>
                  </a:cxn>
                  <a:cxn ang="0">
                    <a:pos x="5479" y="2808"/>
                  </a:cxn>
                </a:cxnLst>
                <a:rect l="0" t="0" r="r" b="b"/>
                <a:pathLst>
                  <a:path w="11404" h="13502">
                    <a:moveTo>
                      <a:pt x="5703" y="2471"/>
                    </a:moveTo>
                    <a:lnTo>
                      <a:pt x="5758" y="2454"/>
                    </a:lnTo>
                    <a:lnTo>
                      <a:pt x="5783" y="2505"/>
                    </a:lnTo>
                    <a:lnTo>
                      <a:pt x="5790" y="2565"/>
                    </a:lnTo>
                    <a:lnTo>
                      <a:pt x="5776" y="2623"/>
                    </a:lnTo>
                    <a:lnTo>
                      <a:pt x="5793" y="2605"/>
                    </a:lnTo>
                    <a:lnTo>
                      <a:pt x="5814" y="2661"/>
                    </a:lnTo>
                    <a:lnTo>
                      <a:pt x="5793" y="2737"/>
                    </a:lnTo>
                    <a:lnTo>
                      <a:pt x="5754" y="2815"/>
                    </a:lnTo>
                    <a:lnTo>
                      <a:pt x="5772" y="2788"/>
                    </a:lnTo>
                    <a:lnTo>
                      <a:pt x="5825" y="2757"/>
                    </a:lnTo>
                    <a:lnTo>
                      <a:pt x="5852" y="2661"/>
                    </a:lnTo>
                    <a:lnTo>
                      <a:pt x="5917" y="2643"/>
                    </a:lnTo>
                    <a:lnTo>
                      <a:pt x="5903" y="2599"/>
                    </a:lnTo>
                    <a:lnTo>
                      <a:pt x="5928" y="2530"/>
                    </a:lnTo>
                    <a:lnTo>
                      <a:pt x="5997" y="2561"/>
                    </a:lnTo>
                    <a:lnTo>
                      <a:pt x="6059" y="2623"/>
                    </a:lnTo>
                    <a:lnTo>
                      <a:pt x="6069" y="2708"/>
                    </a:lnTo>
                    <a:lnTo>
                      <a:pt x="6052" y="2774"/>
                    </a:lnTo>
                    <a:lnTo>
                      <a:pt x="6014" y="2826"/>
                    </a:lnTo>
                    <a:lnTo>
                      <a:pt x="5938" y="2846"/>
                    </a:lnTo>
                    <a:lnTo>
                      <a:pt x="5883" y="2898"/>
                    </a:lnTo>
                    <a:lnTo>
                      <a:pt x="5856" y="2971"/>
                    </a:lnTo>
                    <a:lnTo>
                      <a:pt x="5817" y="2909"/>
                    </a:lnTo>
                    <a:lnTo>
                      <a:pt x="5731" y="3005"/>
                    </a:lnTo>
                    <a:lnTo>
                      <a:pt x="5731" y="3049"/>
                    </a:lnTo>
                    <a:lnTo>
                      <a:pt x="5696" y="3091"/>
                    </a:lnTo>
                    <a:lnTo>
                      <a:pt x="5665" y="3036"/>
                    </a:lnTo>
                    <a:lnTo>
                      <a:pt x="5651" y="2971"/>
                    </a:lnTo>
                    <a:lnTo>
                      <a:pt x="5665" y="2933"/>
                    </a:lnTo>
                    <a:lnTo>
                      <a:pt x="5600" y="3029"/>
                    </a:lnTo>
                    <a:lnTo>
                      <a:pt x="5527" y="3095"/>
                    </a:lnTo>
                    <a:lnTo>
                      <a:pt x="5386" y="3191"/>
                    </a:lnTo>
                    <a:lnTo>
                      <a:pt x="5396" y="3122"/>
                    </a:lnTo>
                    <a:lnTo>
                      <a:pt x="5341" y="3118"/>
                    </a:lnTo>
                    <a:lnTo>
                      <a:pt x="5296" y="3181"/>
                    </a:lnTo>
                    <a:lnTo>
                      <a:pt x="5172" y="3222"/>
                    </a:lnTo>
                    <a:lnTo>
                      <a:pt x="5158" y="3191"/>
                    </a:lnTo>
                    <a:lnTo>
                      <a:pt x="5165" y="3102"/>
                    </a:lnTo>
                    <a:lnTo>
                      <a:pt x="5207" y="3081"/>
                    </a:lnTo>
                    <a:lnTo>
                      <a:pt x="5234" y="3033"/>
                    </a:lnTo>
                    <a:lnTo>
                      <a:pt x="5283" y="3036"/>
                    </a:lnTo>
                    <a:lnTo>
                      <a:pt x="5344" y="2998"/>
                    </a:lnTo>
                    <a:lnTo>
                      <a:pt x="5379" y="3005"/>
                    </a:lnTo>
                    <a:lnTo>
                      <a:pt x="5413" y="2960"/>
                    </a:lnTo>
                    <a:lnTo>
                      <a:pt x="5555" y="2912"/>
                    </a:lnTo>
                    <a:lnTo>
                      <a:pt x="5541" y="2864"/>
                    </a:lnTo>
                    <a:lnTo>
                      <a:pt x="5631" y="2771"/>
                    </a:lnTo>
                    <a:lnTo>
                      <a:pt x="5631" y="2699"/>
                    </a:lnTo>
                    <a:lnTo>
                      <a:pt x="5662" y="2681"/>
                    </a:lnTo>
                    <a:lnTo>
                      <a:pt x="5662" y="2623"/>
                    </a:lnTo>
                    <a:lnTo>
                      <a:pt x="5672" y="2540"/>
                    </a:lnTo>
                    <a:lnTo>
                      <a:pt x="5703" y="2471"/>
                    </a:lnTo>
                    <a:close/>
                    <a:moveTo>
                      <a:pt x="11386" y="1092"/>
                    </a:moveTo>
                    <a:lnTo>
                      <a:pt x="11362" y="1068"/>
                    </a:lnTo>
                    <a:lnTo>
                      <a:pt x="11204" y="1068"/>
                    </a:lnTo>
                    <a:lnTo>
                      <a:pt x="11224" y="1199"/>
                    </a:lnTo>
                    <a:lnTo>
                      <a:pt x="11186" y="1206"/>
                    </a:lnTo>
                    <a:lnTo>
                      <a:pt x="11186" y="1186"/>
                    </a:lnTo>
                    <a:lnTo>
                      <a:pt x="11117" y="1179"/>
                    </a:lnTo>
                    <a:lnTo>
                      <a:pt x="11079" y="1144"/>
                    </a:lnTo>
                    <a:lnTo>
                      <a:pt x="11103" y="1220"/>
                    </a:lnTo>
                    <a:lnTo>
                      <a:pt x="11093" y="1237"/>
                    </a:lnTo>
                    <a:lnTo>
                      <a:pt x="11048" y="1182"/>
                    </a:lnTo>
                    <a:lnTo>
                      <a:pt x="10965" y="1210"/>
                    </a:lnTo>
                    <a:lnTo>
                      <a:pt x="10903" y="1264"/>
                    </a:lnTo>
                    <a:lnTo>
                      <a:pt x="10910" y="1182"/>
                    </a:lnTo>
                    <a:lnTo>
                      <a:pt x="10948" y="1137"/>
                    </a:lnTo>
                    <a:lnTo>
                      <a:pt x="10992" y="1117"/>
                    </a:lnTo>
                    <a:lnTo>
                      <a:pt x="11003" y="1075"/>
                    </a:lnTo>
                    <a:lnTo>
                      <a:pt x="10983" y="1045"/>
                    </a:lnTo>
                    <a:lnTo>
                      <a:pt x="10938" y="1007"/>
                    </a:lnTo>
                    <a:lnTo>
                      <a:pt x="10806" y="1045"/>
                    </a:lnTo>
                    <a:lnTo>
                      <a:pt x="10824" y="1007"/>
                    </a:lnTo>
                    <a:lnTo>
                      <a:pt x="10771" y="979"/>
                    </a:lnTo>
                    <a:lnTo>
                      <a:pt x="10679" y="951"/>
                    </a:lnTo>
                    <a:lnTo>
                      <a:pt x="10588" y="900"/>
                    </a:lnTo>
                    <a:lnTo>
                      <a:pt x="10492" y="892"/>
                    </a:lnTo>
                    <a:lnTo>
                      <a:pt x="10458" y="865"/>
                    </a:lnTo>
                    <a:lnTo>
                      <a:pt x="10461" y="841"/>
                    </a:lnTo>
                    <a:lnTo>
                      <a:pt x="10458" y="816"/>
                    </a:lnTo>
                    <a:lnTo>
                      <a:pt x="10620" y="838"/>
                    </a:lnTo>
                    <a:lnTo>
                      <a:pt x="10958" y="831"/>
                    </a:lnTo>
                    <a:lnTo>
                      <a:pt x="11141" y="613"/>
                    </a:lnTo>
                    <a:lnTo>
                      <a:pt x="11213" y="568"/>
                    </a:lnTo>
                    <a:lnTo>
                      <a:pt x="11248" y="517"/>
                    </a:lnTo>
                    <a:lnTo>
                      <a:pt x="11206" y="441"/>
                    </a:lnTo>
                    <a:lnTo>
                      <a:pt x="11124" y="424"/>
                    </a:lnTo>
                    <a:lnTo>
                      <a:pt x="11048" y="352"/>
                    </a:lnTo>
                    <a:lnTo>
                      <a:pt x="10945" y="368"/>
                    </a:lnTo>
                    <a:lnTo>
                      <a:pt x="10885" y="355"/>
                    </a:lnTo>
                    <a:lnTo>
                      <a:pt x="10934" y="307"/>
                    </a:lnTo>
                    <a:lnTo>
                      <a:pt x="10824" y="279"/>
                    </a:lnTo>
                    <a:lnTo>
                      <a:pt x="10771" y="227"/>
                    </a:lnTo>
                    <a:lnTo>
                      <a:pt x="10744" y="290"/>
                    </a:lnTo>
                    <a:lnTo>
                      <a:pt x="10709" y="317"/>
                    </a:lnTo>
                    <a:lnTo>
                      <a:pt x="10695" y="272"/>
                    </a:lnTo>
                    <a:lnTo>
                      <a:pt x="10675" y="245"/>
                    </a:lnTo>
                    <a:lnTo>
                      <a:pt x="10564" y="314"/>
                    </a:lnTo>
                    <a:lnTo>
                      <a:pt x="10548" y="299"/>
                    </a:lnTo>
                    <a:lnTo>
                      <a:pt x="10537" y="276"/>
                    </a:lnTo>
                    <a:lnTo>
                      <a:pt x="10537" y="248"/>
                    </a:lnTo>
                    <a:lnTo>
                      <a:pt x="10519" y="193"/>
                    </a:lnTo>
                    <a:lnTo>
                      <a:pt x="10485" y="179"/>
                    </a:lnTo>
                    <a:lnTo>
                      <a:pt x="10461" y="141"/>
                    </a:lnTo>
                    <a:lnTo>
                      <a:pt x="10409" y="172"/>
                    </a:lnTo>
                    <a:lnTo>
                      <a:pt x="10361" y="154"/>
                    </a:lnTo>
                    <a:lnTo>
                      <a:pt x="10316" y="179"/>
                    </a:lnTo>
                    <a:lnTo>
                      <a:pt x="10282" y="276"/>
                    </a:lnTo>
                    <a:lnTo>
                      <a:pt x="10289" y="359"/>
                    </a:lnTo>
                    <a:lnTo>
                      <a:pt x="10313" y="468"/>
                    </a:lnTo>
                    <a:lnTo>
                      <a:pt x="10351" y="551"/>
                    </a:lnTo>
                    <a:lnTo>
                      <a:pt x="10278" y="600"/>
                    </a:lnTo>
                    <a:lnTo>
                      <a:pt x="10209" y="572"/>
                    </a:lnTo>
                    <a:lnTo>
                      <a:pt x="10140" y="600"/>
                    </a:lnTo>
                    <a:lnTo>
                      <a:pt x="10115" y="575"/>
                    </a:lnTo>
                    <a:lnTo>
                      <a:pt x="10171" y="506"/>
                    </a:lnTo>
                    <a:lnTo>
                      <a:pt x="10209" y="414"/>
                    </a:lnTo>
                    <a:lnTo>
                      <a:pt x="10168" y="361"/>
                    </a:lnTo>
                    <a:lnTo>
                      <a:pt x="10084" y="444"/>
                    </a:lnTo>
                    <a:lnTo>
                      <a:pt x="10026" y="452"/>
                    </a:lnTo>
                    <a:lnTo>
                      <a:pt x="10102" y="368"/>
                    </a:lnTo>
                    <a:lnTo>
                      <a:pt x="10033" y="314"/>
                    </a:lnTo>
                    <a:lnTo>
                      <a:pt x="10057" y="259"/>
                    </a:lnTo>
                    <a:lnTo>
                      <a:pt x="10175" y="256"/>
                    </a:lnTo>
                    <a:lnTo>
                      <a:pt x="10198" y="165"/>
                    </a:lnTo>
                    <a:lnTo>
                      <a:pt x="10185" y="72"/>
                    </a:lnTo>
                    <a:lnTo>
                      <a:pt x="10109" y="86"/>
                    </a:lnTo>
                    <a:lnTo>
                      <a:pt x="10106" y="27"/>
                    </a:lnTo>
                    <a:lnTo>
                      <a:pt x="10053" y="0"/>
                    </a:lnTo>
                    <a:lnTo>
                      <a:pt x="10012" y="7"/>
                    </a:lnTo>
                    <a:lnTo>
                      <a:pt x="9946" y="76"/>
                    </a:lnTo>
                    <a:lnTo>
                      <a:pt x="9860" y="14"/>
                    </a:lnTo>
                    <a:lnTo>
                      <a:pt x="9874" y="118"/>
                    </a:lnTo>
                    <a:lnTo>
                      <a:pt x="9863" y="227"/>
                    </a:lnTo>
                    <a:lnTo>
                      <a:pt x="9850" y="310"/>
                    </a:lnTo>
                    <a:lnTo>
                      <a:pt x="9823" y="368"/>
                    </a:lnTo>
                    <a:lnTo>
                      <a:pt x="9816" y="421"/>
                    </a:lnTo>
                    <a:lnTo>
                      <a:pt x="9839" y="482"/>
                    </a:lnTo>
                    <a:lnTo>
                      <a:pt x="9794" y="497"/>
                    </a:lnTo>
                    <a:lnTo>
                      <a:pt x="9781" y="555"/>
                    </a:lnTo>
                    <a:lnTo>
                      <a:pt x="9805" y="641"/>
                    </a:lnTo>
                    <a:lnTo>
                      <a:pt x="9729" y="655"/>
                    </a:lnTo>
                    <a:lnTo>
                      <a:pt x="9656" y="755"/>
                    </a:lnTo>
                    <a:lnTo>
                      <a:pt x="9642" y="658"/>
                    </a:lnTo>
                    <a:lnTo>
                      <a:pt x="9653" y="551"/>
                    </a:lnTo>
                    <a:lnTo>
                      <a:pt x="9570" y="479"/>
                    </a:lnTo>
                    <a:lnTo>
                      <a:pt x="9618" y="417"/>
                    </a:lnTo>
                    <a:lnTo>
                      <a:pt x="9598" y="292"/>
                    </a:lnTo>
                    <a:lnTo>
                      <a:pt x="9570" y="223"/>
                    </a:lnTo>
                    <a:lnTo>
                      <a:pt x="9539" y="221"/>
                    </a:lnTo>
                    <a:lnTo>
                      <a:pt x="9504" y="248"/>
                    </a:lnTo>
                    <a:lnTo>
                      <a:pt x="9352" y="624"/>
                    </a:lnTo>
                    <a:lnTo>
                      <a:pt x="9325" y="665"/>
                    </a:lnTo>
                    <a:lnTo>
                      <a:pt x="9301" y="755"/>
                    </a:lnTo>
                    <a:lnTo>
                      <a:pt x="9256" y="831"/>
                    </a:lnTo>
                    <a:lnTo>
                      <a:pt x="9236" y="945"/>
                    </a:lnTo>
                    <a:lnTo>
                      <a:pt x="9280" y="885"/>
                    </a:lnTo>
                    <a:lnTo>
                      <a:pt x="9176" y="1119"/>
                    </a:lnTo>
                    <a:lnTo>
                      <a:pt x="9129" y="1154"/>
                    </a:lnTo>
                    <a:lnTo>
                      <a:pt x="9104" y="1079"/>
                    </a:lnTo>
                    <a:lnTo>
                      <a:pt x="9100" y="1007"/>
                    </a:lnTo>
                    <a:lnTo>
                      <a:pt x="9129" y="954"/>
                    </a:lnTo>
                    <a:lnTo>
                      <a:pt x="9160" y="930"/>
                    </a:lnTo>
                    <a:lnTo>
                      <a:pt x="9149" y="889"/>
                    </a:lnTo>
                    <a:lnTo>
                      <a:pt x="9149" y="778"/>
                    </a:lnTo>
                    <a:lnTo>
                      <a:pt x="9132" y="738"/>
                    </a:lnTo>
                    <a:lnTo>
                      <a:pt x="9156" y="631"/>
                    </a:lnTo>
                    <a:lnTo>
                      <a:pt x="9263" y="441"/>
                    </a:lnTo>
                    <a:lnTo>
                      <a:pt x="9294" y="345"/>
                    </a:lnTo>
                    <a:lnTo>
                      <a:pt x="9225" y="321"/>
                    </a:lnTo>
                    <a:lnTo>
                      <a:pt x="9145" y="399"/>
                    </a:lnTo>
                    <a:lnTo>
                      <a:pt x="9087" y="421"/>
                    </a:lnTo>
                    <a:lnTo>
                      <a:pt x="9066" y="348"/>
                    </a:lnTo>
                    <a:lnTo>
                      <a:pt x="9022" y="327"/>
                    </a:lnTo>
                    <a:lnTo>
                      <a:pt x="8990" y="292"/>
                    </a:lnTo>
                    <a:lnTo>
                      <a:pt x="8973" y="252"/>
                    </a:lnTo>
                    <a:lnTo>
                      <a:pt x="8924" y="334"/>
                    </a:lnTo>
                    <a:lnTo>
                      <a:pt x="8901" y="299"/>
                    </a:lnTo>
                    <a:lnTo>
                      <a:pt x="8852" y="303"/>
                    </a:lnTo>
                    <a:lnTo>
                      <a:pt x="8866" y="452"/>
                    </a:lnTo>
                    <a:lnTo>
                      <a:pt x="8772" y="430"/>
                    </a:lnTo>
                    <a:lnTo>
                      <a:pt x="8824" y="506"/>
                    </a:lnTo>
                    <a:lnTo>
                      <a:pt x="8883" y="544"/>
                    </a:lnTo>
                    <a:lnTo>
                      <a:pt x="8901" y="572"/>
                    </a:lnTo>
                    <a:lnTo>
                      <a:pt x="8817" y="627"/>
                    </a:lnTo>
                    <a:lnTo>
                      <a:pt x="8783" y="704"/>
                    </a:lnTo>
                    <a:lnTo>
                      <a:pt x="8817" y="775"/>
                    </a:lnTo>
                    <a:lnTo>
                      <a:pt x="8656" y="796"/>
                    </a:lnTo>
                    <a:lnTo>
                      <a:pt x="8587" y="885"/>
                    </a:lnTo>
                    <a:lnTo>
                      <a:pt x="8565" y="954"/>
                    </a:lnTo>
                    <a:lnTo>
                      <a:pt x="8493" y="1054"/>
                    </a:lnTo>
                    <a:lnTo>
                      <a:pt x="8493" y="1092"/>
                    </a:lnTo>
                    <a:lnTo>
                      <a:pt x="8517" y="1141"/>
                    </a:lnTo>
                    <a:lnTo>
                      <a:pt x="8511" y="1206"/>
                    </a:lnTo>
                    <a:lnTo>
                      <a:pt x="8514" y="1295"/>
                    </a:lnTo>
                    <a:lnTo>
                      <a:pt x="8462" y="1310"/>
                    </a:lnTo>
                    <a:lnTo>
                      <a:pt x="8420" y="1275"/>
                    </a:lnTo>
                    <a:lnTo>
                      <a:pt x="8413" y="1220"/>
                    </a:lnTo>
                    <a:lnTo>
                      <a:pt x="8444" y="1192"/>
                    </a:lnTo>
                    <a:lnTo>
                      <a:pt x="8355" y="1179"/>
                    </a:lnTo>
                    <a:lnTo>
                      <a:pt x="8389" y="1114"/>
                    </a:lnTo>
                    <a:lnTo>
                      <a:pt x="8379" y="1099"/>
                    </a:lnTo>
                    <a:lnTo>
                      <a:pt x="8172" y="1096"/>
                    </a:lnTo>
                    <a:lnTo>
                      <a:pt x="8203" y="1172"/>
                    </a:lnTo>
                    <a:lnTo>
                      <a:pt x="8172" y="1182"/>
                    </a:lnTo>
                    <a:lnTo>
                      <a:pt x="8116" y="1168"/>
                    </a:lnTo>
                    <a:lnTo>
                      <a:pt x="8114" y="1123"/>
                    </a:lnTo>
                    <a:lnTo>
                      <a:pt x="8085" y="1068"/>
                    </a:lnTo>
                    <a:lnTo>
                      <a:pt x="8061" y="1089"/>
                    </a:lnTo>
                    <a:lnTo>
                      <a:pt x="8044" y="1027"/>
                    </a:lnTo>
                    <a:lnTo>
                      <a:pt x="8003" y="1061"/>
                    </a:lnTo>
                    <a:lnTo>
                      <a:pt x="7982" y="1034"/>
                    </a:lnTo>
                    <a:lnTo>
                      <a:pt x="7954" y="1068"/>
                    </a:lnTo>
                    <a:lnTo>
                      <a:pt x="7962" y="1172"/>
                    </a:lnTo>
                    <a:lnTo>
                      <a:pt x="7916" y="1119"/>
                    </a:lnTo>
                    <a:lnTo>
                      <a:pt x="7878" y="1058"/>
                    </a:lnTo>
                    <a:lnTo>
                      <a:pt x="7851" y="1037"/>
                    </a:lnTo>
                    <a:lnTo>
                      <a:pt x="7871" y="1192"/>
                    </a:lnTo>
                    <a:lnTo>
                      <a:pt x="7993" y="1241"/>
                    </a:lnTo>
                    <a:lnTo>
                      <a:pt x="8038" y="1237"/>
                    </a:lnTo>
                    <a:lnTo>
                      <a:pt x="8047" y="1310"/>
                    </a:lnTo>
                    <a:lnTo>
                      <a:pt x="8038" y="1371"/>
                    </a:lnTo>
                    <a:lnTo>
                      <a:pt x="8044" y="1437"/>
                    </a:lnTo>
                    <a:lnTo>
                      <a:pt x="8082" y="1506"/>
                    </a:lnTo>
                    <a:lnTo>
                      <a:pt x="8092" y="1596"/>
                    </a:lnTo>
                    <a:lnTo>
                      <a:pt x="8044" y="1562"/>
                    </a:lnTo>
                    <a:lnTo>
                      <a:pt x="7896" y="1395"/>
                    </a:lnTo>
                    <a:lnTo>
                      <a:pt x="7779" y="1310"/>
                    </a:lnTo>
                    <a:lnTo>
                      <a:pt x="7817" y="1430"/>
                    </a:lnTo>
                    <a:lnTo>
                      <a:pt x="7779" y="1430"/>
                    </a:lnTo>
                    <a:lnTo>
                      <a:pt x="7764" y="1496"/>
                    </a:lnTo>
                    <a:lnTo>
                      <a:pt x="7733" y="1496"/>
                    </a:lnTo>
                    <a:lnTo>
                      <a:pt x="7713" y="1540"/>
                    </a:lnTo>
                    <a:lnTo>
                      <a:pt x="7681" y="1520"/>
                    </a:lnTo>
                    <a:lnTo>
                      <a:pt x="7675" y="1482"/>
                    </a:lnTo>
                    <a:lnTo>
                      <a:pt x="7695" y="1409"/>
                    </a:lnTo>
                    <a:lnTo>
                      <a:pt x="7644" y="1444"/>
                    </a:lnTo>
                    <a:lnTo>
                      <a:pt x="7603" y="1506"/>
                    </a:lnTo>
                    <a:lnTo>
                      <a:pt x="7585" y="1585"/>
                    </a:lnTo>
                    <a:lnTo>
                      <a:pt x="7550" y="1602"/>
                    </a:lnTo>
                    <a:lnTo>
                      <a:pt x="7571" y="1699"/>
                    </a:lnTo>
                    <a:lnTo>
                      <a:pt x="7588" y="1737"/>
                    </a:lnTo>
                    <a:lnTo>
                      <a:pt x="7489" y="1834"/>
                    </a:lnTo>
                    <a:lnTo>
                      <a:pt x="7454" y="1961"/>
                    </a:lnTo>
                    <a:lnTo>
                      <a:pt x="7405" y="2023"/>
                    </a:lnTo>
                    <a:lnTo>
                      <a:pt x="7464" y="1888"/>
                    </a:lnTo>
                    <a:lnTo>
                      <a:pt x="7467" y="1816"/>
                    </a:lnTo>
                    <a:lnTo>
                      <a:pt x="7461" y="1668"/>
                    </a:lnTo>
                    <a:lnTo>
                      <a:pt x="7461" y="1554"/>
                    </a:lnTo>
                    <a:lnTo>
                      <a:pt x="7433" y="1430"/>
                    </a:lnTo>
                    <a:lnTo>
                      <a:pt x="7360" y="1462"/>
                    </a:lnTo>
                    <a:lnTo>
                      <a:pt x="7326" y="1544"/>
                    </a:lnTo>
                    <a:lnTo>
                      <a:pt x="7271" y="1640"/>
                    </a:lnTo>
                    <a:lnTo>
                      <a:pt x="7257" y="1789"/>
                    </a:lnTo>
                    <a:lnTo>
                      <a:pt x="7233" y="1916"/>
                    </a:lnTo>
                    <a:lnTo>
                      <a:pt x="7199" y="1589"/>
                    </a:lnTo>
                    <a:lnTo>
                      <a:pt x="7026" y="1620"/>
                    </a:lnTo>
                    <a:lnTo>
                      <a:pt x="6970" y="1734"/>
                    </a:lnTo>
                    <a:lnTo>
                      <a:pt x="6970" y="1765"/>
                    </a:lnTo>
                    <a:lnTo>
                      <a:pt x="6991" y="1892"/>
                    </a:lnTo>
                    <a:lnTo>
                      <a:pt x="7063" y="1979"/>
                    </a:lnTo>
                    <a:lnTo>
                      <a:pt x="7126" y="1995"/>
                    </a:lnTo>
                    <a:lnTo>
                      <a:pt x="7184" y="2078"/>
                    </a:lnTo>
                    <a:lnTo>
                      <a:pt x="7181" y="2144"/>
                    </a:lnTo>
                    <a:lnTo>
                      <a:pt x="7126" y="2140"/>
                    </a:lnTo>
                    <a:lnTo>
                      <a:pt x="7070" y="2040"/>
                    </a:lnTo>
                    <a:lnTo>
                      <a:pt x="6991" y="1999"/>
                    </a:lnTo>
                    <a:lnTo>
                      <a:pt x="6922" y="1899"/>
                    </a:lnTo>
                    <a:lnTo>
                      <a:pt x="6863" y="1847"/>
                    </a:lnTo>
                    <a:lnTo>
                      <a:pt x="6780" y="1865"/>
                    </a:lnTo>
                    <a:lnTo>
                      <a:pt x="6832" y="1972"/>
                    </a:lnTo>
                    <a:lnTo>
                      <a:pt x="6932" y="2048"/>
                    </a:lnTo>
                    <a:lnTo>
                      <a:pt x="6867" y="2109"/>
                    </a:lnTo>
                    <a:lnTo>
                      <a:pt x="6809" y="2068"/>
                    </a:lnTo>
                    <a:lnTo>
                      <a:pt x="6780" y="2109"/>
                    </a:lnTo>
                    <a:lnTo>
                      <a:pt x="6760" y="2026"/>
                    </a:lnTo>
                    <a:lnTo>
                      <a:pt x="6708" y="2064"/>
                    </a:lnTo>
                    <a:lnTo>
                      <a:pt x="6701" y="2033"/>
                    </a:lnTo>
                    <a:lnTo>
                      <a:pt x="6715" y="1944"/>
                    </a:lnTo>
                    <a:lnTo>
                      <a:pt x="6677" y="1910"/>
                    </a:lnTo>
                    <a:lnTo>
                      <a:pt x="6660" y="1944"/>
                    </a:lnTo>
                    <a:lnTo>
                      <a:pt x="6619" y="2099"/>
                    </a:lnTo>
                    <a:lnTo>
                      <a:pt x="6632" y="2153"/>
                    </a:lnTo>
                    <a:lnTo>
                      <a:pt x="6666" y="2202"/>
                    </a:lnTo>
                    <a:lnTo>
                      <a:pt x="6508" y="2289"/>
                    </a:lnTo>
                    <a:lnTo>
                      <a:pt x="6466" y="2323"/>
                    </a:lnTo>
                    <a:lnTo>
                      <a:pt x="6449" y="2378"/>
                    </a:lnTo>
                    <a:lnTo>
                      <a:pt x="6443" y="2447"/>
                    </a:lnTo>
                    <a:lnTo>
                      <a:pt x="6463" y="2496"/>
                    </a:lnTo>
                    <a:lnTo>
                      <a:pt x="6525" y="2471"/>
                    </a:lnTo>
                    <a:lnTo>
                      <a:pt x="6570" y="2526"/>
                    </a:lnTo>
                    <a:lnTo>
                      <a:pt x="6487" y="2526"/>
                    </a:lnTo>
                    <a:lnTo>
                      <a:pt x="6512" y="2592"/>
                    </a:lnTo>
                    <a:lnTo>
                      <a:pt x="6518" y="2636"/>
                    </a:lnTo>
                    <a:lnTo>
                      <a:pt x="6425" y="2608"/>
                    </a:lnTo>
                    <a:lnTo>
                      <a:pt x="6390" y="2623"/>
                    </a:lnTo>
                    <a:lnTo>
                      <a:pt x="6445" y="2674"/>
                    </a:lnTo>
                    <a:lnTo>
                      <a:pt x="6408" y="2712"/>
                    </a:lnTo>
                    <a:lnTo>
                      <a:pt x="6329" y="2688"/>
                    </a:lnTo>
                    <a:lnTo>
                      <a:pt x="6314" y="2733"/>
                    </a:lnTo>
                    <a:lnTo>
                      <a:pt x="6256" y="2719"/>
                    </a:lnTo>
                    <a:lnTo>
                      <a:pt x="6146" y="2761"/>
                    </a:lnTo>
                    <a:lnTo>
                      <a:pt x="6111" y="2822"/>
                    </a:lnTo>
                    <a:lnTo>
                      <a:pt x="6066" y="2850"/>
                    </a:lnTo>
                    <a:lnTo>
                      <a:pt x="6059" y="2875"/>
                    </a:lnTo>
                    <a:lnTo>
                      <a:pt x="6135" y="2922"/>
                    </a:lnTo>
                    <a:lnTo>
                      <a:pt x="6204" y="2895"/>
                    </a:lnTo>
                    <a:lnTo>
                      <a:pt x="6242" y="2853"/>
                    </a:lnTo>
                    <a:lnTo>
                      <a:pt x="6359" y="2919"/>
                    </a:lnTo>
                    <a:lnTo>
                      <a:pt x="6443" y="2860"/>
                    </a:lnTo>
                    <a:lnTo>
                      <a:pt x="6470" y="2881"/>
                    </a:lnTo>
                    <a:lnTo>
                      <a:pt x="6494" y="2940"/>
                    </a:lnTo>
                    <a:lnTo>
                      <a:pt x="6418" y="2940"/>
                    </a:lnTo>
                    <a:lnTo>
                      <a:pt x="6387" y="2988"/>
                    </a:lnTo>
                    <a:lnTo>
                      <a:pt x="6376" y="3081"/>
                    </a:lnTo>
                    <a:lnTo>
                      <a:pt x="6263" y="3029"/>
                    </a:lnTo>
                    <a:lnTo>
                      <a:pt x="6184" y="3026"/>
                    </a:lnTo>
                    <a:lnTo>
                      <a:pt x="6162" y="2991"/>
                    </a:lnTo>
                    <a:lnTo>
                      <a:pt x="6077" y="2971"/>
                    </a:lnTo>
                    <a:lnTo>
                      <a:pt x="5979" y="3029"/>
                    </a:lnTo>
                    <a:lnTo>
                      <a:pt x="5948" y="3084"/>
                    </a:lnTo>
                    <a:lnTo>
                      <a:pt x="6024" y="3191"/>
                    </a:lnTo>
                    <a:lnTo>
                      <a:pt x="6028" y="3247"/>
                    </a:lnTo>
                    <a:lnTo>
                      <a:pt x="5979" y="3243"/>
                    </a:lnTo>
                    <a:lnTo>
                      <a:pt x="6024" y="3339"/>
                    </a:lnTo>
                    <a:lnTo>
                      <a:pt x="6028" y="3412"/>
                    </a:lnTo>
                    <a:lnTo>
                      <a:pt x="5970" y="3394"/>
                    </a:lnTo>
                    <a:lnTo>
                      <a:pt x="5972" y="3466"/>
                    </a:lnTo>
                    <a:lnTo>
                      <a:pt x="5917" y="3481"/>
                    </a:lnTo>
                    <a:lnTo>
                      <a:pt x="5869" y="3222"/>
                    </a:lnTo>
                    <a:lnTo>
                      <a:pt x="5814" y="3236"/>
                    </a:lnTo>
                    <a:lnTo>
                      <a:pt x="5790" y="3329"/>
                    </a:lnTo>
                    <a:lnTo>
                      <a:pt x="5734" y="3312"/>
                    </a:lnTo>
                    <a:lnTo>
                      <a:pt x="5714" y="3339"/>
                    </a:lnTo>
                    <a:lnTo>
                      <a:pt x="5790" y="3370"/>
                    </a:lnTo>
                    <a:lnTo>
                      <a:pt x="5772" y="3398"/>
                    </a:lnTo>
                    <a:lnTo>
                      <a:pt x="5711" y="3412"/>
                    </a:lnTo>
                    <a:lnTo>
                      <a:pt x="5658" y="3446"/>
                    </a:lnTo>
                    <a:lnTo>
                      <a:pt x="5638" y="3505"/>
                    </a:lnTo>
                    <a:lnTo>
                      <a:pt x="5648" y="3577"/>
                    </a:lnTo>
                    <a:lnTo>
                      <a:pt x="5714" y="3619"/>
                    </a:lnTo>
                    <a:lnTo>
                      <a:pt x="5658" y="3646"/>
                    </a:lnTo>
                    <a:lnTo>
                      <a:pt x="5696" y="3684"/>
                    </a:lnTo>
                    <a:lnTo>
                      <a:pt x="5651" y="3704"/>
                    </a:lnTo>
                    <a:lnTo>
                      <a:pt x="5617" y="3787"/>
                    </a:lnTo>
                    <a:lnTo>
                      <a:pt x="5589" y="3805"/>
                    </a:lnTo>
                    <a:lnTo>
                      <a:pt x="5548" y="3802"/>
                    </a:lnTo>
                    <a:lnTo>
                      <a:pt x="5558" y="3829"/>
                    </a:lnTo>
                    <a:lnTo>
                      <a:pt x="5631" y="3853"/>
                    </a:lnTo>
                    <a:lnTo>
                      <a:pt x="5779" y="3805"/>
                    </a:lnTo>
                    <a:lnTo>
                      <a:pt x="5680" y="3911"/>
                    </a:lnTo>
                    <a:lnTo>
                      <a:pt x="5627" y="3943"/>
                    </a:lnTo>
                    <a:lnTo>
                      <a:pt x="5489" y="3911"/>
                    </a:lnTo>
                    <a:lnTo>
                      <a:pt x="5459" y="3880"/>
                    </a:lnTo>
                    <a:lnTo>
                      <a:pt x="5448" y="3833"/>
                    </a:lnTo>
                    <a:lnTo>
                      <a:pt x="5390" y="3840"/>
                    </a:lnTo>
                    <a:lnTo>
                      <a:pt x="5306" y="3909"/>
                    </a:lnTo>
                    <a:lnTo>
                      <a:pt x="5265" y="4025"/>
                    </a:lnTo>
                    <a:lnTo>
                      <a:pt x="5189" y="4081"/>
                    </a:lnTo>
                    <a:lnTo>
                      <a:pt x="5185" y="4146"/>
                    </a:lnTo>
                    <a:lnTo>
                      <a:pt x="5234" y="4146"/>
                    </a:lnTo>
                    <a:lnTo>
                      <a:pt x="5223" y="4204"/>
                    </a:lnTo>
                    <a:lnTo>
                      <a:pt x="5216" y="4239"/>
                    </a:lnTo>
                    <a:lnTo>
                      <a:pt x="5151" y="4259"/>
                    </a:lnTo>
                    <a:lnTo>
                      <a:pt x="5116" y="4397"/>
                    </a:lnTo>
                    <a:lnTo>
                      <a:pt x="5058" y="4384"/>
                    </a:lnTo>
                    <a:lnTo>
                      <a:pt x="5013" y="4408"/>
                    </a:lnTo>
                    <a:lnTo>
                      <a:pt x="4961" y="4415"/>
                    </a:lnTo>
                    <a:lnTo>
                      <a:pt x="4892" y="4494"/>
                    </a:lnTo>
                    <a:lnTo>
                      <a:pt x="4940" y="4563"/>
                    </a:lnTo>
                    <a:lnTo>
                      <a:pt x="4909" y="4600"/>
                    </a:lnTo>
                    <a:lnTo>
                      <a:pt x="4823" y="4611"/>
                    </a:lnTo>
                    <a:lnTo>
                      <a:pt x="4823" y="4680"/>
                    </a:lnTo>
                    <a:lnTo>
                      <a:pt x="4734" y="4694"/>
                    </a:lnTo>
                    <a:lnTo>
                      <a:pt x="4750" y="4736"/>
                    </a:lnTo>
                    <a:lnTo>
                      <a:pt x="4709" y="4759"/>
                    </a:lnTo>
                    <a:lnTo>
                      <a:pt x="4699" y="4821"/>
                    </a:lnTo>
                    <a:lnTo>
                      <a:pt x="4799" y="4845"/>
                    </a:lnTo>
                    <a:lnTo>
                      <a:pt x="4774" y="4887"/>
                    </a:lnTo>
                    <a:lnTo>
                      <a:pt x="4705" y="4921"/>
                    </a:lnTo>
                    <a:lnTo>
                      <a:pt x="4657" y="4890"/>
                    </a:lnTo>
                    <a:lnTo>
                      <a:pt x="4654" y="4901"/>
                    </a:lnTo>
                    <a:lnTo>
                      <a:pt x="4661" y="5011"/>
                    </a:lnTo>
                    <a:lnTo>
                      <a:pt x="4705" y="5073"/>
                    </a:lnTo>
                    <a:lnTo>
                      <a:pt x="4747" y="5021"/>
                    </a:lnTo>
                    <a:lnTo>
                      <a:pt x="4778" y="5055"/>
                    </a:lnTo>
                    <a:lnTo>
                      <a:pt x="4757" y="5121"/>
                    </a:lnTo>
                    <a:lnTo>
                      <a:pt x="4594" y="5142"/>
                    </a:lnTo>
                    <a:lnTo>
                      <a:pt x="4556" y="5173"/>
                    </a:lnTo>
                    <a:lnTo>
                      <a:pt x="4543" y="5284"/>
                    </a:lnTo>
                    <a:lnTo>
                      <a:pt x="4474" y="5327"/>
                    </a:lnTo>
                    <a:lnTo>
                      <a:pt x="4406" y="5349"/>
                    </a:lnTo>
                    <a:lnTo>
                      <a:pt x="4357" y="5452"/>
                    </a:lnTo>
                    <a:lnTo>
                      <a:pt x="4426" y="5445"/>
                    </a:lnTo>
                    <a:lnTo>
                      <a:pt x="4491" y="5383"/>
                    </a:lnTo>
                    <a:lnTo>
                      <a:pt x="4581" y="5349"/>
                    </a:lnTo>
                    <a:lnTo>
                      <a:pt x="4578" y="5421"/>
                    </a:lnTo>
                    <a:lnTo>
                      <a:pt x="4629" y="5521"/>
                    </a:lnTo>
                    <a:lnTo>
                      <a:pt x="4471" y="5462"/>
                    </a:lnTo>
                    <a:lnTo>
                      <a:pt x="4457" y="5534"/>
                    </a:lnTo>
                    <a:lnTo>
                      <a:pt x="4488" y="5559"/>
                    </a:lnTo>
                    <a:lnTo>
                      <a:pt x="4436" y="5600"/>
                    </a:lnTo>
                    <a:lnTo>
                      <a:pt x="4415" y="5645"/>
                    </a:lnTo>
                    <a:lnTo>
                      <a:pt x="4429" y="5717"/>
                    </a:lnTo>
                    <a:lnTo>
                      <a:pt x="4402" y="5732"/>
                    </a:lnTo>
                    <a:lnTo>
                      <a:pt x="4353" y="5703"/>
                    </a:lnTo>
                    <a:lnTo>
                      <a:pt x="4315" y="5748"/>
                    </a:lnTo>
                    <a:lnTo>
                      <a:pt x="4337" y="5828"/>
                    </a:lnTo>
                    <a:lnTo>
                      <a:pt x="4384" y="5866"/>
                    </a:lnTo>
                    <a:lnTo>
                      <a:pt x="4398" y="6017"/>
                    </a:lnTo>
                    <a:lnTo>
                      <a:pt x="4343" y="5948"/>
                    </a:lnTo>
                    <a:lnTo>
                      <a:pt x="4284" y="5928"/>
                    </a:lnTo>
                    <a:lnTo>
                      <a:pt x="4239" y="5831"/>
                    </a:lnTo>
                    <a:lnTo>
                      <a:pt x="4243" y="5959"/>
                    </a:lnTo>
                    <a:lnTo>
                      <a:pt x="4212" y="6000"/>
                    </a:lnTo>
                    <a:lnTo>
                      <a:pt x="4154" y="6020"/>
                    </a:lnTo>
                    <a:lnTo>
                      <a:pt x="4125" y="6093"/>
                    </a:lnTo>
                    <a:lnTo>
                      <a:pt x="4163" y="6120"/>
                    </a:lnTo>
                    <a:lnTo>
                      <a:pt x="4215" y="6096"/>
                    </a:lnTo>
                    <a:lnTo>
                      <a:pt x="4253" y="6035"/>
                    </a:lnTo>
                    <a:lnTo>
                      <a:pt x="4266" y="6065"/>
                    </a:lnTo>
                    <a:lnTo>
                      <a:pt x="4257" y="6100"/>
                    </a:lnTo>
                    <a:lnTo>
                      <a:pt x="4253" y="6158"/>
                    </a:lnTo>
                    <a:lnTo>
                      <a:pt x="4266" y="6214"/>
                    </a:lnTo>
                    <a:lnTo>
                      <a:pt x="4208" y="6262"/>
                    </a:lnTo>
                    <a:lnTo>
                      <a:pt x="4119" y="6218"/>
                    </a:lnTo>
                    <a:lnTo>
                      <a:pt x="4070" y="6276"/>
                    </a:lnTo>
                    <a:lnTo>
                      <a:pt x="4018" y="6245"/>
                    </a:lnTo>
                    <a:lnTo>
                      <a:pt x="3953" y="6323"/>
                    </a:lnTo>
                    <a:lnTo>
                      <a:pt x="3938" y="6396"/>
                    </a:lnTo>
                    <a:lnTo>
                      <a:pt x="3873" y="6441"/>
                    </a:lnTo>
                    <a:lnTo>
                      <a:pt x="3801" y="6461"/>
                    </a:lnTo>
                    <a:lnTo>
                      <a:pt x="3757" y="6620"/>
                    </a:lnTo>
                    <a:lnTo>
                      <a:pt x="3839" y="6603"/>
                    </a:lnTo>
                    <a:lnTo>
                      <a:pt x="3918" y="6559"/>
                    </a:lnTo>
                    <a:lnTo>
                      <a:pt x="3949" y="6586"/>
                    </a:lnTo>
                    <a:lnTo>
                      <a:pt x="3808" y="6641"/>
                    </a:lnTo>
                    <a:lnTo>
                      <a:pt x="3797" y="6720"/>
                    </a:lnTo>
                    <a:lnTo>
                      <a:pt x="3799" y="6730"/>
                    </a:lnTo>
                    <a:lnTo>
                      <a:pt x="3804" y="6751"/>
                    </a:lnTo>
                    <a:lnTo>
                      <a:pt x="3809" y="6771"/>
                    </a:lnTo>
                    <a:lnTo>
                      <a:pt x="3814" y="6790"/>
                    </a:lnTo>
                    <a:lnTo>
                      <a:pt x="3817" y="6805"/>
                    </a:lnTo>
                    <a:lnTo>
                      <a:pt x="3818" y="6809"/>
                    </a:lnTo>
                    <a:lnTo>
                      <a:pt x="3777" y="6862"/>
                    </a:lnTo>
                    <a:lnTo>
                      <a:pt x="3684" y="6889"/>
                    </a:lnTo>
                    <a:lnTo>
                      <a:pt x="3576" y="6789"/>
                    </a:lnTo>
                    <a:lnTo>
                      <a:pt x="3549" y="6786"/>
                    </a:lnTo>
                    <a:lnTo>
                      <a:pt x="3465" y="6903"/>
                    </a:lnTo>
                    <a:lnTo>
                      <a:pt x="3376" y="6958"/>
                    </a:lnTo>
                    <a:lnTo>
                      <a:pt x="3358" y="7003"/>
                    </a:lnTo>
                    <a:lnTo>
                      <a:pt x="3300" y="7051"/>
                    </a:lnTo>
                    <a:lnTo>
                      <a:pt x="3135" y="7248"/>
                    </a:lnTo>
                    <a:lnTo>
                      <a:pt x="3106" y="7292"/>
                    </a:lnTo>
                    <a:lnTo>
                      <a:pt x="3135" y="7379"/>
                    </a:lnTo>
                    <a:lnTo>
                      <a:pt x="3131" y="7410"/>
                    </a:lnTo>
                    <a:lnTo>
                      <a:pt x="2927" y="7499"/>
                    </a:lnTo>
                    <a:lnTo>
                      <a:pt x="2914" y="7582"/>
                    </a:lnTo>
                    <a:lnTo>
                      <a:pt x="2958" y="7623"/>
                    </a:lnTo>
                    <a:lnTo>
                      <a:pt x="3062" y="7593"/>
                    </a:lnTo>
                    <a:lnTo>
                      <a:pt x="3010" y="7713"/>
                    </a:lnTo>
                    <a:lnTo>
                      <a:pt x="3062" y="7816"/>
                    </a:lnTo>
                    <a:lnTo>
                      <a:pt x="3114" y="7847"/>
                    </a:lnTo>
                    <a:lnTo>
                      <a:pt x="3456" y="7644"/>
                    </a:lnTo>
                    <a:lnTo>
                      <a:pt x="3652" y="7571"/>
                    </a:lnTo>
                    <a:lnTo>
                      <a:pt x="3701" y="7513"/>
                    </a:lnTo>
                    <a:lnTo>
                      <a:pt x="3739" y="7540"/>
                    </a:lnTo>
                    <a:lnTo>
                      <a:pt x="3704" y="7589"/>
                    </a:lnTo>
                    <a:lnTo>
                      <a:pt x="3583" y="7647"/>
                    </a:lnTo>
                    <a:lnTo>
                      <a:pt x="3518" y="7651"/>
                    </a:lnTo>
                    <a:lnTo>
                      <a:pt x="3418" y="7705"/>
                    </a:lnTo>
                    <a:lnTo>
                      <a:pt x="3338" y="7771"/>
                    </a:lnTo>
                    <a:lnTo>
                      <a:pt x="3383" y="7837"/>
                    </a:lnTo>
                    <a:lnTo>
                      <a:pt x="3376" y="7865"/>
                    </a:lnTo>
                    <a:lnTo>
                      <a:pt x="3217" y="7912"/>
                    </a:lnTo>
                    <a:lnTo>
                      <a:pt x="3128" y="7906"/>
                    </a:lnTo>
                    <a:lnTo>
                      <a:pt x="3097" y="7934"/>
                    </a:lnTo>
                    <a:lnTo>
                      <a:pt x="3114" y="7992"/>
                    </a:lnTo>
                    <a:lnTo>
                      <a:pt x="3076" y="8006"/>
                    </a:lnTo>
                    <a:lnTo>
                      <a:pt x="2996" y="7985"/>
                    </a:lnTo>
                    <a:lnTo>
                      <a:pt x="3003" y="7906"/>
                    </a:lnTo>
                    <a:lnTo>
                      <a:pt x="2941" y="7774"/>
                    </a:lnTo>
                    <a:lnTo>
                      <a:pt x="2907" y="7734"/>
                    </a:lnTo>
                    <a:lnTo>
                      <a:pt x="2858" y="7734"/>
                    </a:lnTo>
                    <a:lnTo>
                      <a:pt x="2831" y="7771"/>
                    </a:lnTo>
                    <a:lnTo>
                      <a:pt x="2765" y="7778"/>
                    </a:lnTo>
                    <a:lnTo>
                      <a:pt x="2700" y="7830"/>
                    </a:lnTo>
                    <a:lnTo>
                      <a:pt x="2689" y="7888"/>
                    </a:lnTo>
                    <a:lnTo>
                      <a:pt x="2734" y="7934"/>
                    </a:lnTo>
                    <a:lnTo>
                      <a:pt x="2747" y="7975"/>
                    </a:lnTo>
                    <a:lnTo>
                      <a:pt x="2641" y="8023"/>
                    </a:lnTo>
                    <a:lnTo>
                      <a:pt x="2606" y="7964"/>
                    </a:lnTo>
                    <a:lnTo>
                      <a:pt x="2613" y="7892"/>
                    </a:lnTo>
                    <a:lnTo>
                      <a:pt x="2602" y="7840"/>
                    </a:lnTo>
                    <a:lnTo>
                      <a:pt x="2354" y="7919"/>
                    </a:lnTo>
                    <a:lnTo>
                      <a:pt x="2316" y="7957"/>
                    </a:lnTo>
                    <a:lnTo>
                      <a:pt x="2271" y="8046"/>
                    </a:lnTo>
                    <a:lnTo>
                      <a:pt x="2213" y="8033"/>
                    </a:lnTo>
                    <a:lnTo>
                      <a:pt x="2220" y="8099"/>
                    </a:lnTo>
                    <a:lnTo>
                      <a:pt x="2202" y="8126"/>
                    </a:lnTo>
                    <a:lnTo>
                      <a:pt x="2120" y="8126"/>
                    </a:lnTo>
                    <a:lnTo>
                      <a:pt x="2129" y="8095"/>
                    </a:lnTo>
                    <a:lnTo>
                      <a:pt x="2116" y="8054"/>
                    </a:lnTo>
                    <a:lnTo>
                      <a:pt x="2078" y="8061"/>
                    </a:lnTo>
                    <a:lnTo>
                      <a:pt x="2053" y="8095"/>
                    </a:lnTo>
                    <a:lnTo>
                      <a:pt x="2053" y="8133"/>
                    </a:lnTo>
                    <a:lnTo>
                      <a:pt x="2040" y="8153"/>
                    </a:lnTo>
                    <a:lnTo>
                      <a:pt x="1961" y="8147"/>
                    </a:lnTo>
                    <a:lnTo>
                      <a:pt x="1826" y="8191"/>
                    </a:lnTo>
                    <a:lnTo>
                      <a:pt x="1788" y="8309"/>
                    </a:lnTo>
                    <a:lnTo>
                      <a:pt x="1740" y="8398"/>
                    </a:lnTo>
                    <a:lnTo>
                      <a:pt x="1674" y="8351"/>
                    </a:lnTo>
                    <a:lnTo>
                      <a:pt x="1587" y="8333"/>
                    </a:lnTo>
                    <a:lnTo>
                      <a:pt x="1502" y="8385"/>
                    </a:lnTo>
                    <a:lnTo>
                      <a:pt x="1473" y="8443"/>
                    </a:lnTo>
                    <a:lnTo>
                      <a:pt x="1557" y="8505"/>
                    </a:lnTo>
                    <a:lnTo>
                      <a:pt x="1498" y="8554"/>
                    </a:lnTo>
                    <a:lnTo>
                      <a:pt x="1584" y="8581"/>
                    </a:lnTo>
                    <a:lnTo>
                      <a:pt x="1687" y="8561"/>
                    </a:lnTo>
                    <a:lnTo>
                      <a:pt x="1716" y="8623"/>
                    </a:lnTo>
                    <a:lnTo>
                      <a:pt x="1763" y="8650"/>
                    </a:lnTo>
                    <a:lnTo>
                      <a:pt x="1694" y="8716"/>
                    </a:lnTo>
                    <a:lnTo>
                      <a:pt x="1716" y="8774"/>
                    </a:lnTo>
                    <a:lnTo>
                      <a:pt x="1647" y="8733"/>
                    </a:lnTo>
                    <a:lnTo>
                      <a:pt x="1571" y="8730"/>
                    </a:lnTo>
                    <a:lnTo>
                      <a:pt x="1359" y="8678"/>
                    </a:lnTo>
                    <a:lnTo>
                      <a:pt x="1301" y="8678"/>
                    </a:lnTo>
                    <a:lnTo>
                      <a:pt x="1252" y="8708"/>
                    </a:lnTo>
                    <a:lnTo>
                      <a:pt x="1194" y="8692"/>
                    </a:lnTo>
                    <a:lnTo>
                      <a:pt x="1132" y="8730"/>
                    </a:lnTo>
                    <a:lnTo>
                      <a:pt x="1142" y="8750"/>
                    </a:lnTo>
                    <a:lnTo>
                      <a:pt x="1194" y="8777"/>
                    </a:lnTo>
                    <a:lnTo>
                      <a:pt x="1136" y="8792"/>
                    </a:lnTo>
                    <a:lnTo>
                      <a:pt x="1132" y="8839"/>
                    </a:lnTo>
                    <a:lnTo>
                      <a:pt x="1201" y="8839"/>
                    </a:lnTo>
                    <a:lnTo>
                      <a:pt x="1252" y="8819"/>
                    </a:lnTo>
                    <a:lnTo>
                      <a:pt x="1177" y="8902"/>
                    </a:lnTo>
                    <a:lnTo>
                      <a:pt x="1170" y="8967"/>
                    </a:lnTo>
                    <a:lnTo>
                      <a:pt x="1191" y="9109"/>
                    </a:lnTo>
                    <a:lnTo>
                      <a:pt x="1156" y="9115"/>
                    </a:lnTo>
                    <a:lnTo>
                      <a:pt x="1136" y="8991"/>
                    </a:lnTo>
                    <a:lnTo>
                      <a:pt x="1098" y="8933"/>
                    </a:lnTo>
                    <a:lnTo>
                      <a:pt x="1007" y="8977"/>
                    </a:lnTo>
                    <a:lnTo>
                      <a:pt x="949" y="9040"/>
                    </a:lnTo>
                    <a:lnTo>
                      <a:pt x="904" y="9118"/>
                    </a:lnTo>
                    <a:lnTo>
                      <a:pt x="946" y="9171"/>
                    </a:lnTo>
                    <a:lnTo>
                      <a:pt x="949" y="9232"/>
                    </a:lnTo>
                    <a:lnTo>
                      <a:pt x="873" y="9171"/>
                    </a:lnTo>
                    <a:lnTo>
                      <a:pt x="852" y="9098"/>
                    </a:lnTo>
                    <a:lnTo>
                      <a:pt x="773" y="9115"/>
                    </a:lnTo>
                    <a:lnTo>
                      <a:pt x="656" y="9095"/>
                    </a:lnTo>
                    <a:lnTo>
                      <a:pt x="638" y="9149"/>
                    </a:lnTo>
                    <a:lnTo>
                      <a:pt x="641" y="9198"/>
                    </a:lnTo>
                    <a:lnTo>
                      <a:pt x="518" y="9071"/>
                    </a:lnTo>
                    <a:lnTo>
                      <a:pt x="473" y="9098"/>
                    </a:lnTo>
                    <a:lnTo>
                      <a:pt x="514" y="9240"/>
                    </a:lnTo>
                    <a:lnTo>
                      <a:pt x="469" y="9281"/>
                    </a:lnTo>
                    <a:lnTo>
                      <a:pt x="480" y="9309"/>
                    </a:lnTo>
                    <a:lnTo>
                      <a:pt x="735" y="9336"/>
                    </a:lnTo>
                    <a:lnTo>
                      <a:pt x="980" y="9305"/>
                    </a:lnTo>
                    <a:lnTo>
                      <a:pt x="821" y="9363"/>
                    </a:lnTo>
                    <a:lnTo>
                      <a:pt x="846" y="9398"/>
                    </a:lnTo>
                    <a:lnTo>
                      <a:pt x="953" y="9401"/>
                    </a:lnTo>
                    <a:lnTo>
                      <a:pt x="1042" y="9385"/>
                    </a:lnTo>
                    <a:lnTo>
                      <a:pt x="1060" y="9408"/>
                    </a:lnTo>
                    <a:lnTo>
                      <a:pt x="962" y="9454"/>
                    </a:lnTo>
                    <a:lnTo>
                      <a:pt x="821" y="9454"/>
                    </a:lnTo>
                    <a:lnTo>
                      <a:pt x="676" y="9436"/>
                    </a:lnTo>
                    <a:lnTo>
                      <a:pt x="625" y="9391"/>
                    </a:lnTo>
                    <a:lnTo>
                      <a:pt x="569" y="9385"/>
                    </a:lnTo>
                    <a:lnTo>
                      <a:pt x="451" y="9454"/>
                    </a:lnTo>
                    <a:lnTo>
                      <a:pt x="438" y="9501"/>
                    </a:lnTo>
                    <a:lnTo>
                      <a:pt x="369" y="9488"/>
                    </a:lnTo>
                    <a:lnTo>
                      <a:pt x="344" y="9501"/>
                    </a:lnTo>
                    <a:lnTo>
                      <a:pt x="324" y="9563"/>
                    </a:lnTo>
                    <a:lnTo>
                      <a:pt x="458" y="9626"/>
                    </a:lnTo>
                    <a:lnTo>
                      <a:pt x="438" y="9681"/>
                    </a:lnTo>
                    <a:lnTo>
                      <a:pt x="435" y="9742"/>
                    </a:lnTo>
                    <a:lnTo>
                      <a:pt x="376" y="9773"/>
                    </a:lnTo>
                    <a:lnTo>
                      <a:pt x="300" y="9849"/>
                    </a:lnTo>
                    <a:lnTo>
                      <a:pt x="313" y="9911"/>
                    </a:lnTo>
                    <a:lnTo>
                      <a:pt x="286" y="9946"/>
                    </a:lnTo>
                    <a:lnTo>
                      <a:pt x="269" y="10011"/>
                    </a:lnTo>
                    <a:lnTo>
                      <a:pt x="304" y="10049"/>
                    </a:lnTo>
                    <a:lnTo>
                      <a:pt x="293" y="10114"/>
                    </a:lnTo>
                    <a:lnTo>
                      <a:pt x="438" y="10159"/>
                    </a:lnTo>
                    <a:lnTo>
                      <a:pt x="739" y="10083"/>
                    </a:lnTo>
                    <a:lnTo>
                      <a:pt x="797" y="10136"/>
                    </a:lnTo>
                    <a:lnTo>
                      <a:pt x="908" y="10146"/>
                    </a:lnTo>
                    <a:lnTo>
                      <a:pt x="956" y="10043"/>
                    </a:lnTo>
                    <a:lnTo>
                      <a:pt x="1053" y="9911"/>
                    </a:lnTo>
                    <a:lnTo>
                      <a:pt x="1060" y="10001"/>
                    </a:lnTo>
                    <a:lnTo>
                      <a:pt x="1015" y="10121"/>
                    </a:lnTo>
                    <a:lnTo>
                      <a:pt x="1060" y="10152"/>
                    </a:lnTo>
                    <a:lnTo>
                      <a:pt x="1170" y="10163"/>
                    </a:lnTo>
                    <a:lnTo>
                      <a:pt x="1239" y="10143"/>
                    </a:lnTo>
                    <a:lnTo>
                      <a:pt x="1284" y="10181"/>
                    </a:lnTo>
                    <a:lnTo>
                      <a:pt x="1401" y="10080"/>
                    </a:lnTo>
                    <a:lnTo>
                      <a:pt x="1460" y="9877"/>
                    </a:lnTo>
                    <a:lnTo>
                      <a:pt x="1587" y="9822"/>
                    </a:lnTo>
                    <a:lnTo>
                      <a:pt x="1595" y="9864"/>
                    </a:lnTo>
                    <a:lnTo>
                      <a:pt x="1498" y="9994"/>
                    </a:lnTo>
                    <a:lnTo>
                      <a:pt x="1467" y="10098"/>
                    </a:lnTo>
                    <a:lnTo>
                      <a:pt x="1446" y="10139"/>
                    </a:lnTo>
                    <a:lnTo>
                      <a:pt x="1504" y="10136"/>
                    </a:lnTo>
                    <a:lnTo>
                      <a:pt x="1574" y="10101"/>
                    </a:lnTo>
                    <a:lnTo>
                      <a:pt x="1618" y="10132"/>
                    </a:lnTo>
                    <a:lnTo>
                      <a:pt x="1470" y="10225"/>
                    </a:lnTo>
                    <a:lnTo>
                      <a:pt x="1297" y="10259"/>
                    </a:lnTo>
                    <a:lnTo>
                      <a:pt x="1267" y="10346"/>
                    </a:lnTo>
                    <a:lnTo>
                      <a:pt x="1325" y="10418"/>
                    </a:lnTo>
                    <a:lnTo>
                      <a:pt x="1180" y="10484"/>
                    </a:lnTo>
                    <a:lnTo>
                      <a:pt x="1194" y="10388"/>
                    </a:lnTo>
                    <a:lnTo>
                      <a:pt x="1174" y="10315"/>
                    </a:lnTo>
                    <a:lnTo>
                      <a:pt x="1091" y="10239"/>
                    </a:lnTo>
                    <a:lnTo>
                      <a:pt x="994" y="10228"/>
                    </a:lnTo>
                    <a:lnTo>
                      <a:pt x="862" y="10250"/>
                    </a:lnTo>
                    <a:lnTo>
                      <a:pt x="763" y="10215"/>
                    </a:lnTo>
                    <a:lnTo>
                      <a:pt x="669" y="10221"/>
                    </a:lnTo>
                    <a:lnTo>
                      <a:pt x="576" y="10197"/>
                    </a:lnTo>
                    <a:lnTo>
                      <a:pt x="487" y="10263"/>
                    </a:lnTo>
                    <a:lnTo>
                      <a:pt x="317" y="10201"/>
                    </a:lnTo>
                    <a:lnTo>
                      <a:pt x="248" y="10308"/>
                    </a:lnTo>
                    <a:lnTo>
                      <a:pt x="221" y="10401"/>
                    </a:lnTo>
                    <a:lnTo>
                      <a:pt x="310" y="10422"/>
                    </a:lnTo>
                    <a:lnTo>
                      <a:pt x="348" y="10408"/>
                    </a:lnTo>
                    <a:lnTo>
                      <a:pt x="335" y="10546"/>
                    </a:lnTo>
                    <a:lnTo>
                      <a:pt x="255" y="10500"/>
                    </a:lnTo>
                    <a:lnTo>
                      <a:pt x="206" y="10442"/>
                    </a:lnTo>
                    <a:lnTo>
                      <a:pt x="193" y="10462"/>
                    </a:lnTo>
                    <a:lnTo>
                      <a:pt x="176" y="10462"/>
                    </a:lnTo>
                    <a:lnTo>
                      <a:pt x="168" y="10491"/>
                    </a:lnTo>
                    <a:lnTo>
                      <a:pt x="237" y="10673"/>
                    </a:lnTo>
                    <a:lnTo>
                      <a:pt x="300" y="10694"/>
                    </a:lnTo>
                    <a:lnTo>
                      <a:pt x="438" y="10625"/>
                    </a:lnTo>
                    <a:lnTo>
                      <a:pt x="521" y="10618"/>
                    </a:lnTo>
                    <a:lnTo>
                      <a:pt x="376" y="10729"/>
                    </a:lnTo>
                    <a:lnTo>
                      <a:pt x="324" y="10787"/>
                    </a:lnTo>
                    <a:lnTo>
                      <a:pt x="355" y="10832"/>
                    </a:lnTo>
                    <a:lnTo>
                      <a:pt x="241" y="10876"/>
                    </a:lnTo>
                    <a:lnTo>
                      <a:pt x="186" y="10925"/>
                    </a:lnTo>
                    <a:lnTo>
                      <a:pt x="190" y="11004"/>
                    </a:lnTo>
                    <a:lnTo>
                      <a:pt x="231" y="11059"/>
                    </a:lnTo>
                    <a:lnTo>
                      <a:pt x="244" y="11124"/>
                    </a:lnTo>
                    <a:lnTo>
                      <a:pt x="317" y="11086"/>
                    </a:lnTo>
                    <a:lnTo>
                      <a:pt x="386" y="11028"/>
                    </a:lnTo>
                    <a:lnTo>
                      <a:pt x="373" y="11111"/>
                    </a:lnTo>
                    <a:lnTo>
                      <a:pt x="435" y="11249"/>
                    </a:lnTo>
                    <a:lnTo>
                      <a:pt x="359" y="11249"/>
                    </a:lnTo>
                    <a:lnTo>
                      <a:pt x="266" y="11300"/>
                    </a:lnTo>
                    <a:lnTo>
                      <a:pt x="259" y="11349"/>
                    </a:lnTo>
                    <a:lnTo>
                      <a:pt x="300" y="11393"/>
                    </a:lnTo>
                    <a:lnTo>
                      <a:pt x="411" y="11342"/>
                    </a:lnTo>
                    <a:lnTo>
                      <a:pt x="483" y="11238"/>
                    </a:lnTo>
                    <a:lnTo>
                      <a:pt x="507" y="11128"/>
                    </a:lnTo>
                    <a:lnTo>
                      <a:pt x="596" y="11077"/>
                    </a:lnTo>
                    <a:lnTo>
                      <a:pt x="707" y="10970"/>
                    </a:lnTo>
                    <a:lnTo>
                      <a:pt x="835" y="10798"/>
                    </a:lnTo>
                    <a:lnTo>
                      <a:pt x="939" y="10729"/>
                    </a:lnTo>
                    <a:lnTo>
                      <a:pt x="977" y="10780"/>
                    </a:lnTo>
                    <a:lnTo>
                      <a:pt x="980" y="10821"/>
                    </a:lnTo>
                    <a:lnTo>
                      <a:pt x="1098" y="10801"/>
                    </a:lnTo>
                    <a:lnTo>
                      <a:pt x="1187" y="10825"/>
                    </a:lnTo>
                    <a:lnTo>
                      <a:pt x="1022" y="10883"/>
                    </a:lnTo>
                    <a:lnTo>
                      <a:pt x="994" y="10976"/>
                    </a:lnTo>
                    <a:lnTo>
                      <a:pt x="962" y="11039"/>
                    </a:lnTo>
                    <a:lnTo>
                      <a:pt x="956" y="10928"/>
                    </a:lnTo>
                    <a:lnTo>
                      <a:pt x="915" y="10910"/>
                    </a:lnTo>
                    <a:lnTo>
                      <a:pt x="808" y="11039"/>
                    </a:lnTo>
                    <a:lnTo>
                      <a:pt x="697" y="11128"/>
                    </a:lnTo>
                    <a:lnTo>
                      <a:pt x="752" y="11183"/>
                    </a:lnTo>
                    <a:lnTo>
                      <a:pt x="752" y="11211"/>
                    </a:lnTo>
                    <a:lnTo>
                      <a:pt x="638" y="11255"/>
                    </a:lnTo>
                    <a:lnTo>
                      <a:pt x="407" y="11476"/>
                    </a:lnTo>
                    <a:lnTo>
                      <a:pt x="473" y="11531"/>
                    </a:lnTo>
                    <a:lnTo>
                      <a:pt x="666" y="11549"/>
                    </a:lnTo>
                    <a:lnTo>
                      <a:pt x="725" y="11507"/>
                    </a:lnTo>
                    <a:lnTo>
                      <a:pt x="739" y="11541"/>
                    </a:lnTo>
                    <a:lnTo>
                      <a:pt x="531" y="11603"/>
                    </a:lnTo>
                    <a:lnTo>
                      <a:pt x="469" y="11656"/>
                    </a:lnTo>
                    <a:lnTo>
                      <a:pt x="451" y="11694"/>
                    </a:lnTo>
                    <a:lnTo>
                      <a:pt x="355" y="11679"/>
                    </a:lnTo>
                    <a:lnTo>
                      <a:pt x="304" y="11700"/>
                    </a:lnTo>
                    <a:lnTo>
                      <a:pt x="252" y="11665"/>
                    </a:lnTo>
                    <a:lnTo>
                      <a:pt x="141" y="11768"/>
                    </a:lnTo>
                    <a:lnTo>
                      <a:pt x="86" y="11852"/>
                    </a:lnTo>
                    <a:lnTo>
                      <a:pt x="72" y="11935"/>
                    </a:lnTo>
                    <a:lnTo>
                      <a:pt x="103" y="11969"/>
                    </a:lnTo>
                    <a:lnTo>
                      <a:pt x="110" y="12010"/>
                    </a:lnTo>
                    <a:lnTo>
                      <a:pt x="203" y="12004"/>
                    </a:lnTo>
                    <a:lnTo>
                      <a:pt x="252" y="11917"/>
                    </a:lnTo>
                    <a:lnTo>
                      <a:pt x="266" y="12010"/>
                    </a:lnTo>
                    <a:lnTo>
                      <a:pt x="338" y="12013"/>
                    </a:lnTo>
                    <a:lnTo>
                      <a:pt x="362" y="11962"/>
                    </a:lnTo>
                    <a:lnTo>
                      <a:pt x="359" y="11904"/>
                    </a:lnTo>
                    <a:lnTo>
                      <a:pt x="427" y="11951"/>
                    </a:lnTo>
                    <a:lnTo>
                      <a:pt x="580" y="11893"/>
                    </a:lnTo>
                    <a:lnTo>
                      <a:pt x="641" y="11835"/>
                    </a:lnTo>
                    <a:lnTo>
                      <a:pt x="683" y="11872"/>
                    </a:lnTo>
                    <a:lnTo>
                      <a:pt x="521" y="12028"/>
                    </a:lnTo>
                    <a:lnTo>
                      <a:pt x="580" y="12031"/>
                    </a:lnTo>
                    <a:lnTo>
                      <a:pt x="565" y="12127"/>
                    </a:lnTo>
                    <a:lnTo>
                      <a:pt x="493" y="12211"/>
                    </a:lnTo>
                    <a:lnTo>
                      <a:pt x="462" y="12272"/>
                    </a:lnTo>
                    <a:lnTo>
                      <a:pt x="389" y="12323"/>
                    </a:lnTo>
                    <a:lnTo>
                      <a:pt x="393" y="12396"/>
                    </a:lnTo>
                    <a:lnTo>
                      <a:pt x="379" y="12438"/>
                    </a:lnTo>
                    <a:lnTo>
                      <a:pt x="328" y="12427"/>
                    </a:lnTo>
                    <a:lnTo>
                      <a:pt x="275" y="12441"/>
                    </a:lnTo>
                    <a:lnTo>
                      <a:pt x="252" y="12361"/>
                    </a:lnTo>
                    <a:lnTo>
                      <a:pt x="214" y="12358"/>
                    </a:lnTo>
                    <a:lnTo>
                      <a:pt x="92" y="12665"/>
                    </a:lnTo>
                    <a:lnTo>
                      <a:pt x="199" y="12851"/>
                    </a:lnTo>
                    <a:lnTo>
                      <a:pt x="389" y="13061"/>
                    </a:lnTo>
                    <a:lnTo>
                      <a:pt x="521" y="13168"/>
                    </a:lnTo>
                    <a:lnTo>
                      <a:pt x="641" y="13199"/>
                    </a:lnTo>
                    <a:lnTo>
                      <a:pt x="735" y="13078"/>
                    </a:lnTo>
                    <a:lnTo>
                      <a:pt x="710" y="13258"/>
                    </a:lnTo>
                    <a:lnTo>
                      <a:pt x="669" y="13385"/>
                    </a:lnTo>
                    <a:lnTo>
                      <a:pt x="739" y="13341"/>
                    </a:lnTo>
                    <a:lnTo>
                      <a:pt x="832" y="13402"/>
                    </a:lnTo>
                    <a:lnTo>
                      <a:pt x="880" y="13316"/>
                    </a:lnTo>
                    <a:lnTo>
                      <a:pt x="1035" y="13344"/>
                    </a:lnTo>
                    <a:lnTo>
                      <a:pt x="949" y="13423"/>
                    </a:lnTo>
                    <a:lnTo>
                      <a:pt x="1114" y="13502"/>
                    </a:lnTo>
                    <a:lnTo>
                      <a:pt x="1246" y="13464"/>
                    </a:lnTo>
                    <a:lnTo>
                      <a:pt x="1381" y="13372"/>
                    </a:lnTo>
                    <a:lnTo>
                      <a:pt x="1446" y="13241"/>
                    </a:lnTo>
                    <a:lnTo>
                      <a:pt x="1511" y="13354"/>
                    </a:lnTo>
                    <a:lnTo>
                      <a:pt x="1732" y="13241"/>
                    </a:lnTo>
                    <a:lnTo>
                      <a:pt x="1964" y="12982"/>
                    </a:lnTo>
                    <a:lnTo>
                      <a:pt x="2091" y="12931"/>
                    </a:lnTo>
                    <a:lnTo>
                      <a:pt x="2137" y="12827"/>
                    </a:lnTo>
                    <a:lnTo>
                      <a:pt x="2209" y="12775"/>
                    </a:lnTo>
                    <a:lnTo>
                      <a:pt x="2236" y="12717"/>
                    </a:lnTo>
                    <a:lnTo>
                      <a:pt x="2419" y="12555"/>
                    </a:lnTo>
                    <a:lnTo>
                      <a:pt x="2403" y="12468"/>
                    </a:lnTo>
                    <a:lnTo>
                      <a:pt x="2523" y="12552"/>
                    </a:lnTo>
                    <a:lnTo>
                      <a:pt x="2665" y="12559"/>
                    </a:lnTo>
                    <a:lnTo>
                      <a:pt x="2740" y="12527"/>
                    </a:lnTo>
                    <a:lnTo>
                      <a:pt x="2789" y="12417"/>
                    </a:lnTo>
                    <a:lnTo>
                      <a:pt x="2800" y="12341"/>
                    </a:lnTo>
                    <a:lnTo>
                      <a:pt x="2883" y="12279"/>
                    </a:lnTo>
                    <a:lnTo>
                      <a:pt x="2885" y="12173"/>
                    </a:lnTo>
                    <a:lnTo>
                      <a:pt x="2824" y="12096"/>
                    </a:lnTo>
                    <a:lnTo>
                      <a:pt x="2789" y="12013"/>
                    </a:lnTo>
                    <a:lnTo>
                      <a:pt x="2820" y="11997"/>
                    </a:lnTo>
                    <a:lnTo>
                      <a:pt x="2834" y="11951"/>
                    </a:lnTo>
                    <a:lnTo>
                      <a:pt x="2820" y="11835"/>
                    </a:lnTo>
                    <a:lnTo>
                      <a:pt x="2858" y="11872"/>
                    </a:lnTo>
                    <a:lnTo>
                      <a:pt x="2892" y="11948"/>
                    </a:lnTo>
                    <a:lnTo>
                      <a:pt x="2889" y="12024"/>
                    </a:lnTo>
                    <a:lnTo>
                      <a:pt x="2952" y="12010"/>
                    </a:lnTo>
                    <a:lnTo>
                      <a:pt x="2972" y="11948"/>
                    </a:lnTo>
                    <a:lnTo>
                      <a:pt x="2931" y="11862"/>
                    </a:lnTo>
                    <a:lnTo>
                      <a:pt x="2931" y="11714"/>
                    </a:lnTo>
                    <a:lnTo>
                      <a:pt x="2952" y="11683"/>
                    </a:lnTo>
                    <a:lnTo>
                      <a:pt x="2976" y="11694"/>
                    </a:lnTo>
                    <a:lnTo>
                      <a:pt x="3037" y="11659"/>
                    </a:lnTo>
                    <a:lnTo>
                      <a:pt x="3090" y="11690"/>
                    </a:lnTo>
                    <a:lnTo>
                      <a:pt x="3083" y="11763"/>
                    </a:lnTo>
                    <a:lnTo>
                      <a:pt x="3007" y="11790"/>
                    </a:lnTo>
                    <a:lnTo>
                      <a:pt x="2999" y="11848"/>
                    </a:lnTo>
                    <a:lnTo>
                      <a:pt x="3017" y="11962"/>
                    </a:lnTo>
                    <a:lnTo>
                      <a:pt x="3017" y="12245"/>
                    </a:lnTo>
                    <a:lnTo>
                      <a:pt x="3041" y="12361"/>
                    </a:lnTo>
                    <a:lnTo>
                      <a:pt x="3121" y="12345"/>
                    </a:lnTo>
                    <a:lnTo>
                      <a:pt x="3211" y="12434"/>
                    </a:lnTo>
                    <a:lnTo>
                      <a:pt x="3276" y="12430"/>
                    </a:lnTo>
                    <a:lnTo>
                      <a:pt x="3311" y="12503"/>
                    </a:lnTo>
                    <a:lnTo>
                      <a:pt x="3331" y="12544"/>
                    </a:lnTo>
                    <a:lnTo>
                      <a:pt x="3320" y="12768"/>
                    </a:lnTo>
                    <a:lnTo>
                      <a:pt x="3358" y="12637"/>
                    </a:lnTo>
                    <a:lnTo>
                      <a:pt x="3396" y="12724"/>
                    </a:lnTo>
                    <a:lnTo>
                      <a:pt x="3480" y="12672"/>
                    </a:lnTo>
                    <a:lnTo>
                      <a:pt x="3579" y="12303"/>
                    </a:lnTo>
                    <a:lnTo>
                      <a:pt x="3545" y="12180"/>
                    </a:lnTo>
                    <a:lnTo>
                      <a:pt x="3539" y="12024"/>
                    </a:lnTo>
                    <a:lnTo>
                      <a:pt x="3677" y="11817"/>
                    </a:lnTo>
                    <a:lnTo>
                      <a:pt x="3684" y="11690"/>
                    </a:lnTo>
                    <a:lnTo>
                      <a:pt x="3960" y="11596"/>
                    </a:lnTo>
                    <a:lnTo>
                      <a:pt x="4022" y="11493"/>
                    </a:lnTo>
                    <a:lnTo>
                      <a:pt x="4047" y="11349"/>
                    </a:lnTo>
                    <a:lnTo>
                      <a:pt x="4005" y="11266"/>
                    </a:lnTo>
                    <a:lnTo>
                      <a:pt x="4091" y="10990"/>
                    </a:lnTo>
                    <a:lnTo>
                      <a:pt x="4022" y="10680"/>
                    </a:lnTo>
                    <a:lnTo>
                      <a:pt x="3929" y="10556"/>
                    </a:lnTo>
                    <a:lnTo>
                      <a:pt x="3960" y="10497"/>
                    </a:lnTo>
                    <a:lnTo>
                      <a:pt x="4101" y="10446"/>
                    </a:lnTo>
                    <a:lnTo>
                      <a:pt x="4205" y="10346"/>
                    </a:lnTo>
                    <a:lnTo>
                      <a:pt x="4266" y="10181"/>
                    </a:lnTo>
                    <a:lnTo>
                      <a:pt x="4246" y="9987"/>
                    </a:lnTo>
                    <a:lnTo>
                      <a:pt x="4056" y="9842"/>
                    </a:lnTo>
                    <a:lnTo>
                      <a:pt x="3980" y="9704"/>
                    </a:lnTo>
                    <a:lnTo>
                      <a:pt x="3976" y="9519"/>
                    </a:lnTo>
                    <a:lnTo>
                      <a:pt x="4005" y="9143"/>
                    </a:lnTo>
                    <a:lnTo>
                      <a:pt x="3974" y="9009"/>
                    </a:lnTo>
                    <a:lnTo>
                      <a:pt x="3946" y="8981"/>
                    </a:lnTo>
                    <a:lnTo>
                      <a:pt x="3949" y="8877"/>
                    </a:lnTo>
                    <a:lnTo>
                      <a:pt x="3984" y="8799"/>
                    </a:lnTo>
                    <a:lnTo>
                      <a:pt x="3991" y="8632"/>
                    </a:lnTo>
                    <a:lnTo>
                      <a:pt x="4022" y="8550"/>
                    </a:lnTo>
                    <a:lnTo>
                      <a:pt x="4043" y="8443"/>
                    </a:lnTo>
                    <a:lnTo>
                      <a:pt x="4101" y="8364"/>
                    </a:lnTo>
                    <a:lnTo>
                      <a:pt x="4060" y="8316"/>
                    </a:lnTo>
                    <a:lnTo>
                      <a:pt x="4009" y="8195"/>
                    </a:lnTo>
                    <a:lnTo>
                      <a:pt x="3987" y="8046"/>
                    </a:lnTo>
                    <a:lnTo>
                      <a:pt x="4032" y="7885"/>
                    </a:lnTo>
                    <a:lnTo>
                      <a:pt x="4094" y="7754"/>
                    </a:lnTo>
                    <a:lnTo>
                      <a:pt x="4319" y="7506"/>
                    </a:lnTo>
                    <a:lnTo>
                      <a:pt x="4471" y="7420"/>
                    </a:lnTo>
                    <a:lnTo>
                      <a:pt x="4657" y="7375"/>
                    </a:lnTo>
                    <a:lnTo>
                      <a:pt x="4810" y="7413"/>
                    </a:lnTo>
                    <a:lnTo>
                      <a:pt x="4933" y="7420"/>
                    </a:lnTo>
                    <a:lnTo>
                      <a:pt x="5020" y="7320"/>
                    </a:lnTo>
                    <a:lnTo>
                      <a:pt x="5040" y="7227"/>
                    </a:lnTo>
                    <a:lnTo>
                      <a:pt x="5047" y="7061"/>
                    </a:lnTo>
                    <a:lnTo>
                      <a:pt x="4991" y="6972"/>
                    </a:lnTo>
                    <a:lnTo>
                      <a:pt x="4871" y="6844"/>
                    </a:lnTo>
                    <a:lnTo>
                      <a:pt x="4864" y="6765"/>
                    </a:lnTo>
                    <a:lnTo>
                      <a:pt x="4867" y="6762"/>
                    </a:lnTo>
                    <a:lnTo>
                      <a:pt x="4874" y="6751"/>
                    </a:lnTo>
                    <a:lnTo>
                      <a:pt x="4892" y="6726"/>
                    </a:lnTo>
                    <a:lnTo>
                      <a:pt x="4914" y="6692"/>
                    </a:lnTo>
                    <a:lnTo>
                      <a:pt x="4942" y="6653"/>
                    </a:lnTo>
                    <a:lnTo>
                      <a:pt x="4969" y="6612"/>
                    </a:lnTo>
                    <a:lnTo>
                      <a:pt x="4995" y="6575"/>
                    </a:lnTo>
                    <a:lnTo>
                      <a:pt x="5016" y="6543"/>
                    </a:lnTo>
                    <a:lnTo>
                      <a:pt x="5032" y="6522"/>
                    </a:lnTo>
                    <a:lnTo>
                      <a:pt x="5037" y="6513"/>
                    </a:lnTo>
                    <a:lnTo>
                      <a:pt x="5174" y="6227"/>
                    </a:lnTo>
                    <a:lnTo>
                      <a:pt x="5254" y="5835"/>
                    </a:lnTo>
                    <a:lnTo>
                      <a:pt x="5265" y="5614"/>
                    </a:lnTo>
                    <a:lnTo>
                      <a:pt x="5268" y="5449"/>
                    </a:lnTo>
                    <a:lnTo>
                      <a:pt x="5258" y="5342"/>
                    </a:lnTo>
                    <a:lnTo>
                      <a:pt x="5314" y="5307"/>
                    </a:lnTo>
                    <a:lnTo>
                      <a:pt x="5406" y="5307"/>
                    </a:lnTo>
                    <a:lnTo>
                      <a:pt x="5544" y="5207"/>
                    </a:lnTo>
                    <a:lnTo>
                      <a:pt x="5582" y="5115"/>
                    </a:lnTo>
                    <a:lnTo>
                      <a:pt x="5604" y="4966"/>
                    </a:lnTo>
                    <a:lnTo>
                      <a:pt x="5648" y="4845"/>
                    </a:lnTo>
                    <a:lnTo>
                      <a:pt x="5831" y="4625"/>
                    </a:lnTo>
                    <a:lnTo>
                      <a:pt x="5883" y="4522"/>
                    </a:lnTo>
                    <a:lnTo>
                      <a:pt x="5983" y="4422"/>
                    </a:lnTo>
                    <a:lnTo>
                      <a:pt x="6028" y="4332"/>
                    </a:lnTo>
                    <a:lnTo>
                      <a:pt x="6046" y="4273"/>
                    </a:lnTo>
                    <a:lnTo>
                      <a:pt x="6031" y="4181"/>
                    </a:lnTo>
                    <a:lnTo>
                      <a:pt x="5928" y="4021"/>
                    </a:lnTo>
                    <a:lnTo>
                      <a:pt x="5948" y="3925"/>
                    </a:lnTo>
                    <a:lnTo>
                      <a:pt x="6052" y="3805"/>
                    </a:lnTo>
                    <a:lnTo>
                      <a:pt x="6097" y="3729"/>
                    </a:lnTo>
                    <a:lnTo>
                      <a:pt x="6107" y="3639"/>
                    </a:lnTo>
                    <a:lnTo>
                      <a:pt x="6135" y="3522"/>
                    </a:lnTo>
                    <a:lnTo>
                      <a:pt x="6197" y="3446"/>
                    </a:lnTo>
                    <a:lnTo>
                      <a:pt x="6332" y="3308"/>
                    </a:lnTo>
                    <a:lnTo>
                      <a:pt x="6418" y="3288"/>
                    </a:lnTo>
                    <a:lnTo>
                      <a:pt x="6512" y="3329"/>
                    </a:lnTo>
                    <a:lnTo>
                      <a:pt x="6588" y="3412"/>
                    </a:lnTo>
                    <a:lnTo>
                      <a:pt x="6619" y="3423"/>
                    </a:lnTo>
                    <a:lnTo>
                      <a:pt x="6680" y="3308"/>
                    </a:lnTo>
                    <a:lnTo>
                      <a:pt x="6711" y="3163"/>
                    </a:lnTo>
                    <a:lnTo>
                      <a:pt x="6722" y="3098"/>
                    </a:lnTo>
                    <a:lnTo>
                      <a:pt x="6701" y="2940"/>
                    </a:lnTo>
                    <a:lnTo>
                      <a:pt x="6733" y="2875"/>
                    </a:lnTo>
                    <a:lnTo>
                      <a:pt x="6771" y="2843"/>
                    </a:lnTo>
                    <a:lnTo>
                      <a:pt x="6836" y="2830"/>
                    </a:lnTo>
                    <a:lnTo>
                      <a:pt x="7061" y="2846"/>
                    </a:lnTo>
                    <a:lnTo>
                      <a:pt x="7385" y="2929"/>
                    </a:lnTo>
                    <a:lnTo>
                      <a:pt x="7447" y="2909"/>
                    </a:lnTo>
                    <a:lnTo>
                      <a:pt x="7489" y="2853"/>
                    </a:lnTo>
                    <a:lnTo>
                      <a:pt x="7412" y="2795"/>
                    </a:lnTo>
                    <a:lnTo>
                      <a:pt x="7398" y="2726"/>
                    </a:lnTo>
                    <a:lnTo>
                      <a:pt x="7436" y="2654"/>
                    </a:lnTo>
                    <a:lnTo>
                      <a:pt x="7454" y="2550"/>
                    </a:lnTo>
                    <a:lnTo>
                      <a:pt x="7478" y="2516"/>
                    </a:lnTo>
                    <a:lnTo>
                      <a:pt x="7489" y="2454"/>
                    </a:lnTo>
                    <a:lnTo>
                      <a:pt x="7471" y="2385"/>
                    </a:lnTo>
                    <a:lnTo>
                      <a:pt x="7433" y="2354"/>
                    </a:lnTo>
                    <a:lnTo>
                      <a:pt x="7420" y="2291"/>
                    </a:lnTo>
                    <a:lnTo>
                      <a:pt x="7458" y="2271"/>
                    </a:lnTo>
                    <a:lnTo>
                      <a:pt x="7619" y="2264"/>
                    </a:lnTo>
                    <a:lnTo>
                      <a:pt x="7637" y="2213"/>
                    </a:lnTo>
                    <a:lnTo>
                      <a:pt x="7692" y="2188"/>
                    </a:lnTo>
                    <a:lnTo>
                      <a:pt x="7751" y="2209"/>
                    </a:lnTo>
                    <a:lnTo>
                      <a:pt x="7817" y="2182"/>
                    </a:lnTo>
                    <a:lnTo>
                      <a:pt x="7789" y="2109"/>
                    </a:lnTo>
                    <a:lnTo>
                      <a:pt x="7771" y="2030"/>
                    </a:lnTo>
                    <a:lnTo>
                      <a:pt x="7855" y="1981"/>
                    </a:lnTo>
                    <a:lnTo>
                      <a:pt x="7954" y="2010"/>
                    </a:lnTo>
                    <a:lnTo>
                      <a:pt x="8047" y="2078"/>
                    </a:lnTo>
                    <a:lnTo>
                      <a:pt x="8293" y="2340"/>
                    </a:lnTo>
                    <a:lnTo>
                      <a:pt x="8344" y="2461"/>
                    </a:lnTo>
                    <a:lnTo>
                      <a:pt x="8389" y="2509"/>
                    </a:lnTo>
                    <a:lnTo>
                      <a:pt x="8573" y="2519"/>
                    </a:lnTo>
                    <a:lnTo>
                      <a:pt x="8690" y="2561"/>
                    </a:lnTo>
                    <a:lnTo>
                      <a:pt x="8772" y="2543"/>
                    </a:lnTo>
                    <a:lnTo>
                      <a:pt x="8870" y="2474"/>
                    </a:lnTo>
                    <a:lnTo>
                      <a:pt x="8977" y="2333"/>
                    </a:lnTo>
                    <a:lnTo>
                      <a:pt x="9049" y="2367"/>
                    </a:lnTo>
                    <a:lnTo>
                      <a:pt x="9129" y="2447"/>
                    </a:lnTo>
                    <a:lnTo>
                      <a:pt x="9160" y="2498"/>
                    </a:lnTo>
                    <a:lnTo>
                      <a:pt x="9239" y="2509"/>
                    </a:lnTo>
                    <a:lnTo>
                      <a:pt x="9339" y="2454"/>
                    </a:lnTo>
                    <a:lnTo>
                      <a:pt x="9415" y="2374"/>
                    </a:lnTo>
                    <a:lnTo>
                      <a:pt x="9459" y="2278"/>
                    </a:lnTo>
                    <a:lnTo>
                      <a:pt x="9615" y="2133"/>
                    </a:lnTo>
                    <a:lnTo>
                      <a:pt x="9615" y="2050"/>
                    </a:lnTo>
                    <a:lnTo>
                      <a:pt x="9570" y="1903"/>
                    </a:lnTo>
                    <a:lnTo>
                      <a:pt x="9553" y="1819"/>
                    </a:lnTo>
                    <a:lnTo>
                      <a:pt x="9533" y="1554"/>
                    </a:lnTo>
                    <a:lnTo>
                      <a:pt x="9580" y="1348"/>
                    </a:lnTo>
                    <a:lnTo>
                      <a:pt x="9636" y="1257"/>
                    </a:lnTo>
                    <a:lnTo>
                      <a:pt x="9712" y="1199"/>
                    </a:lnTo>
                    <a:lnTo>
                      <a:pt x="9874" y="1165"/>
                    </a:lnTo>
                    <a:lnTo>
                      <a:pt x="10102" y="1016"/>
                    </a:lnTo>
                    <a:lnTo>
                      <a:pt x="10254" y="965"/>
                    </a:lnTo>
                    <a:lnTo>
                      <a:pt x="10296" y="985"/>
                    </a:lnTo>
                    <a:lnTo>
                      <a:pt x="10392" y="1103"/>
                    </a:lnTo>
                    <a:lnTo>
                      <a:pt x="10475" y="1141"/>
                    </a:lnTo>
                    <a:lnTo>
                      <a:pt x="10603" y="1161"/>
                    </a:lnTo>
                    <a:lnTo>
                      <a:pt x="10751" y="1248"/>
                    </a:lnTo>
                    <a:lnTo>
                      <a:pt x="10844" y="1406"/>
                    </a:lnTo>
                    <a:lnTo>
                      <a:pt x="10878" y="1506"/>
                    </a:lnTo>
                    <a:lnTo>
                      <a:pt x="10778" y="1682"/>
                    </a:lnTo>
                    <a:lnTo>
                      <a:pt x="10775" y="1761"/>
                    </a:lnTo>
                    <a:lnTo>
                      <a:pt x="10796" y="1834"/>
                    </a:lnTo>
                    <a:lnTo>
                      <a:pt x="10876" y="1868"/>
                    </a:lnTo>
                    <a:lnTo>
                      <a:pt x="10896" y="1857"/>
                    </a:lnTo>
                    <a:lnTo>
                      <a:pt x="10938" y="1792"/>
                    </a:lnTo>
                    <a:lnTo>
                      <a:pt x="10945" y="1768"/>
                    </a:lnTo>
                    <a:lnTo>
                      <a:pt x="10931" y="1696"/>
                    </a:lnTo>
                    <a:lnTo>
                      <a:pt x="10938" y="1661"/>
                    </a:lnTo>
                    <a:lnTo>
                      <a:pt x="11124" y="1502"/>
                    </a:lnTo>
                    <a:lnTo>
                      <a:pt x="11155" y="1451"/>
                    </a:lnTo>
                    <a:lnTo>
                      <a:pt x="11148" y="1255"/>
                    </a:lnTo>
                    <a:lnTo>
                      <a:pt x="11317" y="1313"/>
                    </a:lnTo>
                    <a:lnTo>
                      <a:pt x="11389" y="1279"/>
                    </a:lnTo>
                    <a:lnTo>
                      <a:pt x="11400" y="1244"/>
                    </a:lnTo>
                    <a:lnTo>
                      <a:pt x="11404" y="1157"/>
                    </a:lnTo>
                    <a:lnTo>
                      <a:pt x="11386" y="1092"/>
                    </a:lnTo>
                    <a:close/>
                    <a:moveTo>
                      <a:pt x="54" y="12173"/>
                    </a:moveTo>
                    <a:lnTo>
                      <a:pt x="76" y="11997"/>
                    </a:lnTo>
                    <a:lnTo>
                      <a:pt x="61" y="11962"/>
                    </a:lnTo>
                    <a:lnTo>
                      <a:pt x="34" y="11990"/>
                    </a:lnTo>
                    <a:lnTo>
                      <a:pt x="0" y="12158"/>
                    </a:lnTo>
                    <a:lnTo>
                      <a:pt x="54" y="12173"/>
                    </a:lnTo>
                    <a:close/>
                    <a:moveTo>
                      <a:pt x="241" y="11572"/>
                    </a:moveTo>
                    <a:lnTo>
                      <a:pt x="272" y="11421"/>
                    </a:lnTo>
                    <a:lnTo>
                      <a:pt x="234" y="11353"/>
                    </a:lnTo>
                    <a:lnTo>
                      <a:pt x="197" y="11353"/>
                    </a:lnTo>
                    <a:lnTo>
                      <a:pt x="168" y="11469"/>
                    </a:lnTo>
                    <a:lnTo>
                      <a:pt x="165" y="11507"/>
                    </a:lnTo>
                    <a:lnTo>
                      <a:pt x="241" y="11572"/>
                    </a:lnTo>
                    <a:close/>
                    <a:moveTo>
                      <a:pt x="335" y="9457"/>
                    </a:moveTo>
                    <a:lnTo>
                      <a:pt x="359" y="9419"/>
                    </a:lnTo>
                    <a:lnTo>
                      <a:pt x="414" y="9398"/>
                    </a:lnTo>
                    <a:lnTo>
                      <a:pt x="424" y="9374"/>
                    </a:lnTo>
                    <a:lnTo>
                      <a:pt x="355" y="9332"/>
                    </a:lnTo>
                    <a:lnTo>
                      <a:pt x="335" y="9457"/>
                    </a:lnTo>
                    <a:close/>
                    <a:moveTo>
                      <a:pt x="862" y="9019"/>
                    </a:moveTo>
                    <a:lnTo>
                      <a:pt x="939" y="8908"/>
                    </a:lnTo>
                    <a:lnTo>
                      <a:pt x="928" y="8874"/>
                    </a:lnTo>
                    <a:lnTo>
                      <a:pt x="870" y="8853"/>
                    </a:lnTo>
                    <a:lnTo>
                      <a:pt x="842" y="8881"/>
                    </a:lnTo>
                    <a:lnTo>
                      <a:pt x="828" y="9015"/>
                    </a:lnTo>
                    <a:lnTo>
                      <a:pt x="862" y="9019"/>
                    </a:lnTo>
                    <a:close/>
                    <a:moveTo>
                      <a:pt x="197" y="10101"/>
                    </a:moveTo>
                    <a:lnTo>
                      <a:pt x="206" y="10080"/>
                    </a:lnTo>
                    <a:lnTo>
                      <a:pt x="107" y="10163"/>
                    </a:lnTo>
                    <a:lnTo>
                      <a:pt x="86" y="10221"/>
                    </a:lnTo>
                    <a:lnTo>
                      <a:pt x="86" y="10239"/>
                    </a:lnTo>
                    <a:lnTo>
                      <a:pt x="155" y="10225"/>
                    </a:lnTo>
                    <a:lnTo>
                      <a:pt x="193" y="10139"/>
                    </a:lnTo>
                    <a:lnTo>
                      <a:pt x="197" y="10101"/>
                    </a:lnTo>
                    <a:close/>
                    <a:moveTo>
                      <a:pt x="2292" y="7771"/>
                    </a:moveTo>
                    <a:lnTo>
                      <a:pt x="2330" y="7768"/>
                    </a:lnTo>
                    <a:lnTo>
                      <a:pt x="2340" y="7747"/>
                    </a:lnTo>
                    <a:lnTo>
                      <a:pt x="2392" y="7754"/>
                    </a:lnTo>
                    <a:lnTo>
                      <a:pt x="2427" y="7727"/>
                    </a:lnTo>
                    <a:lnTo>
                      <a:pt x="2441" y="7692"/>
                    </a:lnTo>
                    <a:lnTo>
                      <a:pt x="2551" y="7654"/>
                    </a:lnTo>
                    <a:lnTo>
                      <a:pt x="2631" y="7661"/>
                    </a:lnTo>
                    <a:lnTo>
                      <a:pt x="2613" y="7696"/>
                    </a:lnTo>
                    <a:lnTo>
                      <a:pt x="2644" y="7727"/>
                    </a:lnTo>
                    <a:lnTo>
                      <a:pt x="2655" y="7785"/>
                    </a:lnTo>
                    <a:lnTo>
                      <a:pt x="2461" y="7823"/>
                    </a:lnTo>
                    <a:lnTo>
                      <a:pt x="2351" y="7872"/>
                    </a:lnTo>
                    <a:lnTo>
                      <a:pt x="2309" y="7820"/>
                    </a:lnTo>
                    <a:lnTo>
                      <a:pt x="2292" y="7771"/>
                    </a:lnTo>
                    <a:close/>
                    <a:moveTo>
                      <a:pt x="9259" y="114"/>
                    </a:moveTo>
                    <a:lnTo>
                      <a:pt x="9321" y="179"/>
                    </a:lnTo>
                    <a:lnTo>
                      <a:pt x="9339" y="223"/>
                    </a:lnTo>
                    <a:lnTo>
                      <a:pt x="9280" y="214"/>
                    </a:lnTo>
                    <a:lnTo>
                      <a:pt x="9249" y="261"/>
                    </a:lnTo>
                    <a:lnTo>
                      <a:pt x="9214" y="248"/>
                    </a:lnTo>
                    <a:lnTo>
                      <a:pt x="9142" y="261"/>
                    </a:lnTo>
                    <a:lnTo>
                      <a:pt x="9125" y="238"/>
                    </a:lnTo>
                    <a:lnTo>
                      <a:pt x="9167" y="207"/>
                    </a:lnTo>
                    <a:lnTo>
                      <a:pt x="9173" y="169"/>
                    </a:lnTo>
                    <a:lnTo>
                      <a:pt x="9076" y="193"/>
                    </a:lnTo>
                    <a:lnTo>
                      <a:pt x="9080" y="158"/>
                    </a:lnTo>
                    <a:lnTo>
                      <a:pt x="9129" y="141"/>
                    </a:lnTo>
                    <a:lnTo>
                      <a:pt x="9187" y="149"/>
                    </a:lnTo>
                    <a:lnTo>
                      <a:pt x="9194" y="107"/>
                    </a:lnTo>
                    <a:lnTo>
                      <a:pt x="9180" y="80"/>
                    </a:lnTo>
                    <a:lnTo>
                      <a:pt x="9259" y="114"/>
                    </a:lnTo>
                    <a:close/>
                    <a:moveTo>
                      <a:pt x="8687" y="724"/>
                    </a:moveTo>
                    <a:lnTo>
                      <a:pt x="8659" y="755"/>
                    </a:lnTo>
                    <a:lnTo>
                      <a:pt x="8607" y="648"/>
                    </a:lnTo>
                    <a:lnTo>
                      <a:pt x="8569" y="559"/>
                    </a:lnTo>
                    <a:lnTo>
                      <a:pt x="8583" y="528"/>
                    </a:lnTo>
                    <a:lnTo>
                      <a:pt x="8607" y="572"/>
                    </a:lnTo>
                    <a:lnTo>
                      <a:pt x="8638" y="559"/>
                    </a:lnTo>
                    <a:lnTo>
                      <a:pt x="8687" y="589"/>
                    </a:lnTo>
                    <a:lnTo>
                      <a:pt x="8721" y="665"/>
                    </a:lnTo>
                    <a:lnTo>
                      <a:pt x="8725" y="713"/>
                    </a:lnTo>
                    <a:lnTo>
                      <a:pt x="8687" y="724"/>
                    </a:lnTo>
                    <a:close/>
                    <a:moveTo>
                      <a:pt x="8517" y="930"/>
                    </a:moveTo>
                    <a:lnTo>
                      <a:pt x="8493" y="920"/>
                    </a:lnTo>
                    <a:lnTo>
                      <a:pt x="8500" y="951"/>
                    </a:lnTo>
                    <a:lnTo>
                      <a:pt x="8473" y="982"/>
                    </a:lnTo>
                    <a:lnTo>
                      <a:pt x="8406" y="976"/>
                    </a:lnTo>
                    <a:lnTo>
                      <a:pt x="8372" y="941"/>
                    </a:lnTo>
                    <a:lnTo>
                      <a:pt x="8359" y="907"/>
                    </a:lnTo>
                    <a:lnTo>
                      <a:pt x="8362" y="876"/>
                    </a:lnTo>
                    <a:lnTo>
                      <a:pt x="8334" y="827"/>
                    </a:lnTo>
                    <a:lnTo>
                      <a:pt x="8359" y="789"/>
                    </a:lnTo>
                    <a:lnTo>
                      <a:pt x="8397" y="807"/>
                    </a:lnTo>
                    <a:lnTo>
                      <a:pt x="8406" y="740"/>
                    </a:lnTo>
                    <a:lnTo>
                      <a:pt x="8469" y="755"/>
                    </a:lnTo>
                    <a:lnTo>
                      <a:pt x="8493" y="706"/>
                    </a:lnTo>
                    <a:lnTo>
                      <a:pt x="8555" y="758"/>
                    </a:lnTo>
                    <a:lnTo>
                      <a:pt x="8569" y="803"/>
                    </a:lnTo>
                    <a:lnTo>
                      <a:pt x="8552" y="869"/>
                    </a:lnTo>
                    <a:lnTo>
                      <a:pt x="8517" y="930"/>
                    </a:lnTo>
                    <a:close/>
                    <a:moveTo>
                      <a:pt x="8103" y="655"/>
                    </a:moveTo>
                    <a:lnTo>
                      <a:pt x="8120" y="644"/>
                    </a:lnTo>
                    <a:lnTo>
                      <a:pt x="8116" y="620"/>
                    </a:lnTo>
                    <a:lnTo>
                      <a:pt x="8145" y="624"/>
                    </a:lnTo>
                    <a:lnTo>
                      <a:pt x="8154" y="600"/>
                    </a:lnTo>
                    <a:lnTo>
                      <a:pt x="8168" y="606"/>
                    </a:lnTo>
                    <a:lnTo>
                      <a:pt x="8179" y="671"/>
                    </a:lnTo>
                    <a:lnTo>
                      <a:pt x="8248" y="641"/>
                    </a:lnTo>
                    <a:lnTo>
                      <a:pt x="8237" y="579"/>
                    </a:lnTo>
                    <a:lnTo>
                      <a:pt x="8279" y="575"/>
                    </a:lnTo>
                    <a:lnTo>
                      <a:pt x="8299" y="613"/>
                    </a:lnTo>
                    <a:lnTo>
                      <a:pt x="8344" y="624"/>
                    </a:lnTo>
                    <a:lnTo>
                      <a:pt x="8369" y="651"/>
                    </a:lnTo>
                    <a:lnTo>
                      <a:pt x="8372" y="693"/>
                    </a:lnTo>
                    <a:lnTo>
                      <a:pt x="8337" y="696"/>
                    </a:lnTo>
                    <a:lnTo>
                      <a:pt x="8334" y="744"/>
                    </a:lnTo>
                    <a:lnTo>
                      <a:pt x="8310" y="775"/>
                    </a:lnTo>
                    <a:lnTo>
                      <a:pt x="8259" y="751"/>
                    </a:lnTo>
                    <a:lnTo>
                      <a:pt x="8234" y="796"/>
                    </a:lnTo>
                    <a:lnTo>
                      <a:pt x="8199" y="807"/>
                    </a:lnTo>
                    <a:lnTo>
                      <a:pt x="8172" y="782"/>
                    </a:lnTo>
                    <a:lnTo>
                      <a:pt x="8123" y="816"/>
                    </a:lnTo>
                    <a:lnTo>
                      <a:pt x="8099" y="778"/>
                    </a:lnTo>
                    <a:lnTo>
                      <a:pt x="8089" y="847"/>
                    </a:lnTo>
                    <a:lnTo>
                      <a:pt x="8047" y="734"/>
                    </a:lnTo>
                    <a:lnTo>
                      <a:pt x="8000" y="720"/>
                    </a:lnTo>
                    <a:lnTo>
                      <a:pt x="8038" y="679"/>
                    </a:lnTo>
                    <a:lnTo>
                      <a:pt x="8085" y="682"/>
                    </a:lnTo>
                    <a:lnTo>
                      <a:pt x="8103" y="655"/>
                    </a:lnTo>
                    <a:close/>
                    <a:moveTo>
                      <a:pt x="8293" y="1051"/>
                    </a:moveTo>
                    <a:lnTo>
                      <a:pt x="8189" y="1007"/>
                    </a:lnTo>
                    <a:lnTo>
                      <a:pt x="8176" y="969"/>
                    </a:lnTo>
                    <a:lnTo>
                      <a:pt x="8192" y="934"/>
                    </a:lnTo>
                    <a:lnTo>
                      <a:pt x="8313" y="951"/>
                    </a:lnTo>
                    <a:lnTo>
                      <a:pt x="8355" y="985"/>
                    </a:lnTo>
                    <a:lnTo>
                      <a:pt x="8366" y="1034"/>
                    </a:lnTo>
                    <a:lnTo>
                      <a:pt x="8293" y="1051"/>
                    </a:lnTo>
                    <a:close/>
                    <a:moveTo>
                      <a:pt x="7543" y="1127"/>
                    </a:moveTo>
                    <a:lnTo>
                      <a:pt x="7565" y="1123"/>
                    </a:lnTo>
                    <a:lnTo>
                      <a:pt x="7588" y="1165"/>
                    </a:lnTo>
                    <a:lnTo>
                      <a:pt x="7581" y="1206"/>
                    </a:lnTo>
                    <a:lnTo>
                      <a:pt x="7588" y="1292"/>
                    </a:lnTo>
                    <a:lnTo>
                      <a:pt x="7571" y="1310"/>
                    </a:lnTo>
                    <a:lnTo>
                      <a:pt x="7543" y="1299"/>
                    </a:lnTo>
                    <a:lnTo>
                      <a:pt x="7536" y="1241"/>
                    </a:lnTo>
                    <a:lnTo>
                      <a:pt x="7516" y="1279"/>
                    </a:lnTo>
                    <a:lnTo>
                      <a:pt x="7481" y="1257"/>
                    </a:lnTo>
                    <a:lnTo>
                      <a:pt x="7474" y="1196"/>
                    </a:lnTo>
                    <a:lnTo>
                      <a:pt x="7492" y="1148"/>
                    </a:lnTo>
                    <a:lnTo>
                      <a:pt x="7543" y="1127"/>
                    </a:lnTo>
                    <a:close/>
                    <a:moveTo>
                      <a:pt x="7237" y="1203"/>
                    </a:moveTo>
                    <a:lnTo>
                      <a:pt x="7246" y="1192"/>
                    </a:lnTo>
                    <a:lnTo>
                      <a:pt x="7257" y="1217"/>
                    </a:lnTo>
                    <a:lnTo>
                      <a:pt x="7281" y="1223"/>
                    </a:lnTo>
                    <a:lnTo>
                      <a:pt x="7329" y="1282"/>
                    </a:lnTo>
                    <a:lnTo>
                      <a:pt x="7309" y="1333"/>
                    </a:lnTo>
                    <a:lnTo>
                      <a:pt x="7206" y="1299"/>
                    </a:lnTo>
                    <a:lnTo>
                      <a:pt x="7161" y="1192"/>
                    </a:lnTo>
                    <a:lnTo>
                      <a:pt x="7126" y="1137"/>
                    </a:lnTo>
                    <a:lnTo>
                      <a:pt x="7146" y="1130"/>
                    </a:lnTo>
                    <a:lnTo>
                      <a:pt x="7181" y="1148"/>
                    </a:lnTo>
                    <a:lnTo>
                      <a:pt x="7208" y="1220"/>
                    </a:lnTo>
                    <a:lnTo>
                      <a:pt x="7237" y="1203"/>
                    </a:lnTo>
                    <a:close/>
                    <a:moveTo>
                      <a:pt x="6891" y="1355"/>
                    </a:moveTo>
                    <a:lnTo>
                      <a:pt x="6863" y="1389"/>
                    </a:lnTo>
                    <a:lnTo>
                      <a:pt x="6843" y="1375"/>
                    </a:lnTo>
                    <a:lnTo>
                      <a:pt x="6822" y="1326"/>
                    </a:lnTo>
                    <a:lnTo>
                      <a:pt x="6843" y="1299"/>
                    </a:lnTo>
                    <a:lnTo>
                      <a:pt x="6884" y="1317"/>
                    </a:lnTo>
                    <a:lnTo>
                      <a:pt x="6954" y="1313"/>
                    </a:lnTo>
                    <a:lnTo>
                      <a:pt x="6985" y="1320"/>
                    </a:lnTo>
                    <a:lnTo>
                      <a:pt x="6998" y="1340"/>
                    </a:lnTo>
                    <a:lnTo>
                      <a:pt x="6994" y="1420"/>
                    </a:lnTo>
                    <a:lnTo>
                      <a:pt x="7019" y="1420"/>
                    </a:lnTo>
                    <a:lnTo>
                      <a:pt x="7026" y="1386"/>
                    </a:lnTo>
                    <a:lnTo>
                      <a:pt x="7074" y="1361"/>
                    </a:lnTo>
                    <a:lnTo>
                      <a:pt x="7157" y="1386"/>
                    </a:lnTo>
                    <a:lnTo>
                      <a:pt x="7088" y="1537"/>
                    </a:lnTo>
                    <a:lnTo>
                      <a:pt x="7039" y="1567"/>
                    </a:lnTo>
                    <a:lnTo>
                      <a:pt x="6891" y="1475"/>
                    </a:lnTo>
                    <a:lnTo>
                      <a:pt x="6871" y="1427"/>
                    </a:lnTo>
                    <a:lnTo>
                      <a:pt x="6901" y="1447"/>
                    </a:lnTo>
                    <a:lnTo>
                      <a:pt x="6912" y="1358"/>
                    </a:lnTo>
                    <a:lnTo>
                      <a:pt x="6891" y="1355"/>
                    </a:lnTo>
                    <a:close/>
                    <a:moveTo>
                      <a:pt x="6680" y="1689"/>
                    </a:moveTo>
                    <a:lnTo>
                      <a:pt x="6764" y="1689"/>
                    </a:lnTo>
                    <a:lnTo>
                      <a:pt x="6780" y="1668"/>
                    </a:lnTo>
                    <a:lnTo>
                      <a:pt x="6787" y="1596"/>
                    </a:lnTo>
                    <a:lnTo>
                      <a:pt x="6825" y="1647"/>
                    </a:lnTo>
                    <a:lnTo>
                      <a:pt x="6846" y="1647"/>
                    </a:lnTo>
                    <a:lnTo>
                      <a:pt x="6860" y="1578"/>
                    </a:lnTo>
                    <a:lnTo>
                      <a:pt x="6856" y="1523"/>
                    </a:lnTo>
                    <a:lnTo>
                      <a:pt x="6925" y="1554"/>
                    </a:lnTo>
                    <a:lnTo>
                      <a:pt x="6954" y="1602"/>
                    </a:lnTo>
                    <a:lnTo>
                      <a:pt x="6905" y="1716"/>
                    </a:lnTo>
                    <a:lnTo>
                      <a:pt x="6905" y="1768"/>
                    </a:lnTo>
                    <a:lnTo>
                      <a:pt x="6735" y="1837"/>
                    </a:lnTo>
                    <a:lnTo>
                      <a:pt x="6626" y="1816"/>
                    </a:lnTo>
                    <a:lnTo>
                      <a:pt x="6628" y="1785"/>
                    </a:lnTo>
                    <a:lnTo>
                      <a:pt x="6677" y="1785"/>
                    </a:lnTo>
                    <a:lnTo>
                      <a:pt x="6695" y="1758"/>
                    </a:lnTo>
                    <a:lnTo>
                      <a:pt x="6680" y="1689"/>
                    </a:lnTo>
                    <a:close/>
                    <a:moveTo>
                      <a:pt x="6207" y="2198"/>
                    </a:moveTo>
                    <a:lnTo>
                      <a:pt x="6159" y="2168"/>
                    </a:lnTo>
                    <a:lnTo>
                      <a:pt x="6207" y="2171"/>
                    </a:lnTo>
                    <a:lnTo>
                      <a:pt x="6222" y="2147"/>
                    </a:lnTo>
                    <a:lnTo>
                      <a:pt x="6231" y="2109"/>
                    </a:lnTo>
                    <a:lnTo>
                      <a:pt x="6184" y="2092"/>
                    </a:lnTo>
                    <a:lnTo>
                      <a:pt x="6225" y="2075"/>
                    </a:lnTo>
                    <a:lnTo>
                      <a:pt x="6197" y="2048"/>
                    </a:lnTo>
                    <a:lnTo>
                      <a:pt x="6249" y="1995"/>
                    </a:lnTo>
                    <a:lnTo>
                      <a:pt x="6304" y="2026"/>
                    </a:lnTo>
                    <a:lnTo>
                      <a:pt x="6342" y="1975"/>
                    </a:lnTo>
                    <a:lnTo>
                      <a:pt x="6304" y="1933"/>
                    </a:lnTo>
                    <a:lnTo>
                      <a:pt x="6338" y="1912"/>
                    </a:lnTo>
                    <a:lnTo>
                      <a:pt x="6397" y="1937"/>
                    </a:lnTo>
                    <a:lnTo>
                      <a:pt x="6421" y="1906"/>
                    </a:lnTo>
                    <a:lnTo>
                      <a:pt x="6387" y="1823"/>
                    </a:lnTo>
                    <a:lnTo>
                      <a:pt x="6436" y="1885"/>
                    </a:lnTo>
                    <a:lnTo>
                      <a:pt x="6443" y="1830"/>
                    </a:lnTo>
                    <a:lnTo>
                      <a:pt x="6490" y="1823"/>
                    </a:lnTo>
                    <a:lnTo>
                      <a:pt x="6539" y="1906"/>
                    </a:lnTo>
                    <a:lnTo>
                      <a:pt x="6570" y="1941"/>
                    </a:lnTo>
                    <a:lnTo>
                      <a:pt x="6594" y="2019"/>
                    </a:lnTo>
                    <a:lnTo>
                      <a:pt x="6559" y="2092"/>
                    </a:lnTo>
                    <a:lnTo>
                      <a:pt x="6566" y="2220"/>
                    </a:lnTo>
                    <a:lnTo>
                      <a:pt x="6449" y="2240"/>
                    </a:lnTo>
                    <a:lnTo>
                      <a:pt x="6443" y="2195"/>
                    </a:lnTo>
                    <a:lnTo>
                      <a:pt x="6390" y="2213"/>
                    </a:lnTo>
                    <a:lnTo>
                      <a:pt x="6352" y="2305"/>
                    </a:lnTo>
                    <a:lnTo>
                      <a:pt x="6231" y="2323"/>
                    </a:lnTo>
                    <a:lnTo>
                      <a:pt x="6184" y="2358"/>
                    </a:lnTo>
                    <a:lnTo>
                      <a:pt x="6153" y="2309"/>
                    </a:lnTo>
                    <a:lnTo>
                      <a:pt x="6222" y="2257"/>
                    </a:lnTo>
                    <a:lnTo>
                      <a:pt x="6242" y="2220"/>
                    </a:lnTo>
                    <a:lnTo>
                      <a:pt x="6207" y="2198"/>
                    </a:lnTo>
                    <a:close/>
                    <a:moveTo>
                      <a:pt x="5428" y="3604"/>
                    </a:moveTo>
                    <a:lnTo>
                      <a:pt x="5413" y="3601"/>
                    </a:lnTo>
                    <a:lnTo>
                      <a:pt x="5386" y="3529"/>
                    </a:lnTo>
                    <a:lnTo>
                      <a:pt x="5448" y="3553"/>
                    </a:lnTo>
                    <a:lnTo>
                      <a:pt x="5500" y="3553"/>
                    </a:lnTo>
                    <a:lnTo>
                      <a:pt x="5573" y="3488"/>
                    </a:lnTo>
                    <a:lnTo>
                      <a:pt x="5589" y="3539"/>
                    </a:lnTo>
                    <a:lnTo>
                      <a:pt x="5575" y="3591"/>
                    </a:lnTo>
                    <a:lnTo>
                      <a:pt x="5520" y="3615"/>
                    </a:lnTo>
                    <a:lnTo>
                      <a:pt x="5486" y="3673"/>
                    </a:lnTo>
                    <a:lnTo>
                      <a:pt x="5417" y="3715"/>
                    </a:lnTo>
                    <a:lnTo>
                      <a:pt x="5375" y="3726"/>
                    </a:lnTo>
                    <a:lnTo>
                      <a:pt x="5341" y="3702"/>
                    </a:lnTo>
                    <a:lnTo>
                      <a:pt x="5386" y="3633"/>
                    </a:lnTo>
                    <a:lnTo>
                      <a:pt x="5430" y="3629"/>
                    </a:lnTo>
                    <a:lnTo>
                      <a:pt x="5428" y="3604"/>
                    </a:lnTo>
                    <a:close/>
                    <a:moveTo>
                      <a:pt x="5754" y="2206"/>
                    </a:moveTo>
                    <a:lnTo>
                      <a:pt x="5787" y="2202"/>
                    </a:lnTo>
                    <a:lnTo>
                      <a:pt x="5807" y="2099"/>
                    </a:lnTo>
                    <a:lnTo>
                      <a:pt x="5848" y="2095"/>
                    </a:lnTo>
                    <a:lnTo>
                      <a:pt x="5910" y="2130"/>
                    </a:lnTo>
                    <a:lnTo>
                      <a:pt x="5894" y="2175"/>
                    </a:lnTo>
                    <a:lnTo>
                      <a:pt x="5879" y="2254"/>
                    </a:lnTo>
                    <a:lnTo>
                      <a:pt x="5838" y="2347"/>
                    </a:lnTo>
                    <a:lnTo>
                      <a:pt x="5765" y="2398"/>
                    </a:lnTo>
                    <a:lnTo>
                      <a:pt x="5720" y="2420"/>
                    </a:lnTo>
                    <a:lnTo>
                      <a:pt x="5676" y="2416"/>
                    </a:lnTo>
                    <a:lnTo>
                      <a:pt x="5658" y="2374"/>
                    </a:lnTo>
                    <a:lnTo>
                      <a:pt x="5672" y="2291"/>
                    </a:lnTo>
                    <a:lnTo>
                      <a:pt x="5752" y="2244"/>
                    </a:lnTo>
                    <a:lnTo>
                      <a:pt x="5754" y="2206"/>
                    </a:lnTo>
                    <a:close/>
                    <a:moveTo>
                      <a:pt x="5237" y="2719"/>
                    </a:moveTo>
                    <a:lnTo>
                      <a:pt x="5261" y="2702"/>
                    </a:lnTo>
                    <a:lnTo>
                      <a:pt x="5254" y="2670"/>
                    </a:lnTo>
                    <a:lnTo>
                      <a:pt x="5258" y="2636"/>
                    </a:lnTo>
                    <a:lnTo>
                      <a:pt x="5285" y="2661"/>
                    </a:lnTo>
                    <a:lnTo>
                      <a:pt x="5306" y="2623"/>
                    </a:lnTo>
                    <a:lnTo>
                      <a:pt x="5348" y="2639"/>
                    </a:lnTo>
                    <a:lnTo>
                      <a:pt x="5368" y="2601"/>
                    </a:lnTo>
                    <a:lnTo>
                      <a:pt x="5390" y="2519"/>
                    </a:lnTo>
                    <a:lnTo>
                      <a:pt x="5424" y="2585"/>
                    </a:lnTo>
                    <a:lnTo>
                      <a:pt x="5479" y="2581"/>
                    </a:lnTo>
                    <a:lnTo>
                      <a:pt x="5479" y="2440"/>
                    </a:lnTo>
                    <a:lnTo>
                      <a:pt x="5566" y="2581"/>
                    </a:lnTo>
                    <a:lnTo>
                      <a:pt x="5566" y="2647"/>
                    </a:lnTo>
                    <a:lnTo>
                      <a:pt x="5579" y="2761"/>
                    </a:lnTo>
                    <a:lnTo>
                      <a:pt x="5524" y="2771"/>
                    </a:lnTo>
                    <a:lnTo>
                      <a:pt x="5479" y="2808"/>
                    </a:lnTo>
                    <a:lnTo>
                      <a:pt x="5424" y="2826"/>
                    </a:lnTo>
                    <a:lnTo>
                      <a:pt x="5399" y="2771"/>
                    </a:lnTo>
                    <a:lnTo>
                      <a:pt x="5448" y="2726"/>
                    </a:lnTo>
                    <a:lnTo>
                      <a:pt x="5475" y="2670"/>
                    </a:lnTo>
                    <a:lnTo>
                      <a:pt x="5428" y="2730"/>
                    </a:lnTo>
                    <a:lnTo>
                      <a:pt x="5386" y="2726"/>
                    </a:lnTo>
                    <a:lnTo>
                      <a:pt x="5251" y="2808"/>
                    </a:lnTo>
                    <a:lnTo>
                      <a:pt x="5227" y="2771"/>
                    </a:lnTo>
                    <a:lnTo>
                      <a:pt x="5237" y="2719"/>
                    </a:lnTo>
                    <a:close/>
                  </a:path>
                </a:pathLst>
              </a:custGeom>
              <a:grpFill/>
              <a:ln w="6350">
                <a:solidFill>
                  <a:srgbClr val="FFFFFF"/>
                </a:solidFill>
              </a:ln>
            </p:spPr>
            <p:txBody>
              <a:bodyPr vert="eaVert" wrap="none" anchor="ctr"/>
              <a:lstStyle/>
              <a:p>
                <a:pPr defTabSz="858500" eaLnBrk="1" fontAlgn="auto" hangingPunct="1">
                  <a:lnSpc>
                    <a:spcPct val="100000"/>
                  </a:lnSpc>
                  <a:spcBef>
                    <a:spcPts val="0"/>
                  </a:spcBef>
                  <a:spcAft>
                    <a:spcPts val="0"/>
                  </a:spcAft>
                  <a:buClrTx/>
                  <a:buSzTx/>
                  <a:defRPr/>
                </a:pPr>
                <a:endParaRPr lang="en-GB" sz="600" b="1" dirty="0">
                  <a:latin typeface="+mn-lt"/>
                </a:endParaRPr>
              </a:p>
            </p:txBody>
          </p:sp>
          <p:sp>
            <p:nvSpPr>
              <p:cNvPr id="269" name="Finland"/>
              <p:cNvSpPr>
                <a:spLocks noEditPoints="1"/>
              </p:cNvSpPr>
              <p:nvPr>
                <p:custDataLst>
                  <p:tags r:id="rId10"/>
                </p:custDataLst>
              </p:nvPr>
            </p:nvSpPr>
            <p:spPr bwMode="gray">
              <a:xfrm>
                <a:off x="2303507" y="1390191"/>
                <a:ext cx="1426693" cy="2390491"/>
              </a:xfrm>
              <a:custGeom>
                <a:avLst/>
                <a:gdLst/>
                <a:ahLst/>
                <a:cxnLst>
                  <a:cxn ang="0">
                    <a:pos x="608" y="1785"/>
                  </a:cxn>
                  <a:cxn ang="0">
                    <a:pos x="1316" y="2429"/>
                  </a:cxn>
                  <a:cxn ang="0">
                    <a:pos x="1441" y="2929"/>
                  </a:cxn>
                  <a:cxn ang="0">
                    <a:pos x="1682" y="3664"/>
                  </a:cxn>
                  <a:cxn ang="0">
                    <a:pos x="1900" y="4342"/>
                  </a:cxn>
                  <a:cxn ang="0">
                    <a:pos x="2099" y="4391"/>
                  </a:cxn>
                  <a:cxn ang="0">
                    <a:pos x="2531" y="5052"/>
                  </a:cxn>
                  <a:cxn ang="0">
                    <a:pos x="2503" y="5289"/>
                  </a:cxn>
                  <a:cxn ang="0">
                    <a:pos x="2021" y="6031"/>
                  </a:cxn>
                  <a:cxn ang="0">
                    <a:pos x="1450" y="6985"/>
                  </a:cxn>
                  <a:cxn ang="0">
                    <a:pos x="1068" y="7251"/>
                  </a:cxn>
                  <a:cxn ang="0">
                    <a:pos x="954" y="7493"/>
                  </a:cxn>
                  <a:cxn ang="0">
                    <a:pos x="850" y="7934"/>
                  </a:cxn>
                  <a:cxn ang="0">
                    <a:pos x="1002" y="8467"/>
                  </a:cxn>
                  <a:cxn ang="0">
                    <a:pos x="1251" y="8888"/>
                  </a:cxn>
                  <a:cxn ang="0">
                    <a:pos x="1147" y="8975"/>
                  </a:cxn>
                  <a:cxn ang="0">
                    <a:pos x="1113" y="9377"/>
                  </a:cxn>
                  <a:cxn ang="0">
                    <a:pos x="1151" y="9670"/>
                  </a:cxn>
                  <a:cxn ang="0">
                    <a:pos x="1320" y="9811"/>
                  </a:cxn>
                  <a:cxn ang="0">
                    <a:pos x="1806" y="10036"/>
                  </a:cxn>
                  <a:cxn ang="0">
                    <a:pos x="2037" y="10218"/>
                  </a:cxn>
                  <a:cxn ang="0">
                    <a:pos x="2110" y="10573"/>
                  </a:cxn>
                  <a:cxn ang="0">
                    <a:pos x="2369" y="10432"/>
                  </a:cxn>
                  <a:cxn ang="0">
                    <a:pos x="2831" y="10287"/>
                  </a:cxn>
                  <a:cxn ang="0">
                    <a:pos x="3149" y="10112"/>
                  </a:cxn>
                  <a:cxn ang="0">
                    <a:pos x="3654" y="9833"/>
                  </a:cxn>
                  <a:cxn ang="0">
                    <a:pos x="3830" y="9715"/>
                  </a:cxn>
                  <a:cxn ang="0">
                    <a:pos x="4461" y="9584"/>
                  </a:cxn>
                  <a:cxn ang="0">
                    <a:pos x="5189" y="8670"/>
                  </a:cxn>
                  <a:cxn ang="0">
                    <a:pos x="5818" y="6666"/>
                  </a:cxn>
                  <a:cxn ang="0">
                    <a:pos x="5186" y="6234"/>
                  </a:cxn>
                  <a:cxn ang="0">
                    <a:pos x="5117" y="5510"/>
                  </a:cxn>
                  <a:cxn ang="0">
                    <a:pos x="4593" y="5011"/>
                  </a:cxn>
                  <a:cxn ang="0">
                    <a:pos x="4489" y="4425"/>
                  </a:cxn>
                  <a:cxn ang="0">
                    <a:pos x="4299" y="3667"/>
                  </a:cxn>
                  <a:cxn ang="0">
                    <a:pos x="3839" y="2978"/>
                  </a:cxn>
                  <a:cxn ang="0">
                    <a:pos x="3830" y="2048"/>
                  </a:cxn>
                  <a:cxn ang="0">
                    <a:pos x="3274" y="1712"/>
                  </a:cxn>
                  <a:cxn ang="0">
                    <a:pos x="3167" y="1137"/>
                  </a:cxn>
                  <a:cxn ang="0">
                    <a:pos x="3159" y="717"/>
                  </a:cxn>
                  <a:cxn ang="0">
                    <a:pos x="2856" y="176"/>
                  </a:cxn>
                  <a:cxn ang="0">
                    <a:pos x="2255" y="200"/>
                  </a:cxn>
                  <a:cxn ang="0">
                    <a:pos x="1934" y="854"/>
                  </a:cxn>
                  <a:cxn ang="0">
                    <a:pos x="1796" y="1409"/>
                  </a:cxn>
                  <a:cxn ang="0">
                    <a:pos x="1430" y="1402"/>
                  </a:cxn>
                  <a:cxn ang="0">
                    <a:pos x="954" y="1554"/>
                  </a:cxn>
                  <a:cxn ang="0">
                    <a:pos x="335" y="1045"/>
                  </a:cxn>
                  <a:cxn ang="0">
                    <a:pos x="132" y="1244"/>
                  </a:cxn>
                  <a:cxn ang="0">
                    <a:pos x="432" y="10139"/>
                  </a:cxn>
                  <a:cxn ang="0">
                    <a:pos x="321" y="10256"/>
                  </a:cxn>
                  <a:cxn ang="0">
                    <a:pos x="577" y="10466"/>
                  </a:cxn>
                  <a:cxn ang="0">
                    <a:pos x="557" y="10218"/>
                  </a:cxn>
                  <a:cxn ang="0">
                    <a:pos x="1396" y="10308"/>
                  </a:cxn>
                  <a:cxn ang="0">
                    <a:pos x="1961" y="10359"/>
                  </a:cxn>
                  <a:cxn ang="0">
                    <a:pos x="1827" y="10311"/>
                  </a:cxn>
                </a:cxnLst>
                <a:rect l="0" t="0" r="r" b="b"/>
                <a:pathLst>
                  <a:path w="5898" h="10584">
                    <a:moveTo>
                      <a:pt x="0" y="1299"/>
                    </a:moveTo>
                    <a:lnTo>
                      <a:pt x="18" y="1295"/>
                    </a:lnTo>
                    <a:lnTo>
                      <a:pt x="38" y="1326"/>
                    </a:lnTo>
                    <a:lnTo>
                      <a:pt x="363" y="1602"/>
                    </a:lnTo>
                    <a:lnTo>
                      <a:pt x="608" y="1785"/>
                    </a:lnTo>
                    <a:lnTo>
                      <a:pt x="870" y="1834"/>
                    </a:lnTo>
                    <a:lnTo>
                      <a:pt x="1019" y="1933"/>
                    </a:lnTo>
                    <a:lnTo>
                      <a:pt x="1312" y="2291"/>
                    </a:lnTo>
                    <a:lnTo>
                      <a:pt x="1336" y="2336"/>
                    </a:lnTo>
                    <a:lnTo>
                      <a:pt x="1316" y="2429"/>
                    </a:lnTo>
                    <a:lnTo>
                      <a:pt x="1316" y="2536"/>
                    </a:lnTo>
                    <a:lnTo>
                      <a:pt x="1340" y="2681"/>
                    </a:lnTo>
                    <a:lnTo>
                      <a:pt x="1368" y="2781"/>
                    </a:lnTo>
                    <a:lnTo>
                      <a:pt x="1409" y="2826"/>
                    </a:lnTo>
                    <a:lnTo>
                      <a:pt x="1441" y="2929"/>
                    </a:lnTo>
                    <a:lnTo>
                      <a:pt x="1416" y="3078"/>
                    </a:lnTo>
                    <a:lnTo>
                      <a:pt x="1454" y="3194"/>
                    </a:lnTo>
                    <a:lnTo>
                      <a:pt x="1664" y="3501"/>
                    </a:lnTo>
                    <a:lnTo>
                      <a:pt x="1679" y="3595"/>
                    </a:lnTo>
                    <a:lnTo>
                      <a:pt x="1682" y="3664"/>
                    </a:lnTo>
                    <a:lnTo>
                      <a:pt x="1630" y="3773"/>
                    </a:lnTo>
                    <a:lnTo>
                      <a:pt x="1617" y="3905"/>
                    </a:lnTo>
                    <a:lnTo>
                      <a:pt x="1668" y="4052"/>
                    </a:lnTo>
                    <a:lnTo>
                      <a:pt x="1827" y="4288"/>
                    </a:lnTo>
                    <a:lnTo>
                      <a:pt x="1900" y="4342"/>
                    </a:lnTo>
                    <a:lnTo>
                      <a:pt x="1938" y="4349"/>
                    </a:lnTo>
                    <a:lnTo>
                      <a:pt x="1972" y="4397"/>
                    </a:lnTo>
                    <a:lnTo>
                      <a:pt x="2030" y="4418"/>
                    </a:lnTo>
                    <a:lnTo>
                      <a:pt x="2065" y="4370"/>
                    </a:lnTo>
                    <a:lnTo>
                      <a:pt x="2099" y="4391"/>
                    </a:lnTo>
                    <a:lnTo>
                      <a:pt x="2141" y="4494"/>
                    </a:lnTo>
                    <a:lnTo>
                      <a:pt x="2282" y="4560"/>
                    </a:lnTo>
                    <a:lnTo>
                      <a:pt x="2456" y="4721"/>
                    </a:lnTo>
                    <a:lnTo>
                      <a:pt x="2514" y="4821"/>
                    </a:lnTo>
                    <a:lnTo>
                      <a:pt x="2531" y="5052"/>
                    </a:lnTo>
                    <a:lnTo>
                      <a:pt x="2645" y="5190"/>
                    </a:lnTo>
                    <a:lnTo>
                      <a:pt x="2576" y="5190"/>
                    </a:lnTo>
                    <a:lnTo>
                      <a:pt x="2559" y="5253"/>
                    </a:lnTo>
                    <a:lnTo>
                      <a:pt x="2597" y="5327"/>
                    </a:lnTo>
                    <a:lnTo>
                      <a:pt x="2503" y="5289"/>
                    </a:lnTo>
                    <a:lnTo>
                      <a:pt x="2418" y="5311"/>
                    </a:lnTo>
                    <a:lnTo>
                      <a:pt x="2282" y="5390"/>
                    </a:lnTo>
                    <a:lnTo>
                      <a:pt x="2248" y="5676"/>
                    </a:lnTo>
                    <a:lnTo>
                      <a:pt x="2155" y="5793"/>
                    </a:lnTo>
                    <a:lnTo>
                      <a:pt x="2021" y="6031"/>
                    </a:lnTo>
                    <a:lnTo>
                      <a:pt x="1844" y="6276"/>
                    </a:lnTo>
                    <a:lnTo>
                      <a:pt x="1731" y="6483"/>
                    </a:lnTo>
                    <a:lnTo>
                      <a:pt x="1579" y="6827"/>
                    </a:lnTo>
                    <a:lnTo>
                      <a:pt x="1503" y="6889"/>
                    </a:lnTo>
                    <a:lnTo>
                      <a:pt x="1450" y="6985"/>
                    </a:lnTo>
                    <a:lnTo>
                      <a:pt x="1416" y="7023"/>
                    </a:lnTo>
                    <a:lnTo>
                      <a:pt x="1365" y="7110"/>
                    </a:lnTo>
                    <a:lnTo>
                      <a:pt x="1191" y="7148"/>
                    </a:lnTo>
                    <a:lnTo>
                      <a:pt x="1113" y="7123"/>
                    </a:lnTo>
                    <a:lnTo>
                      <a:pt x="1068" y="7251"/>
                    </a:lnTo>
                    <a:lnTo>
                      <a:pt x="1151" y="7320"/>
                    </a:lnTo>
                    <a:lnTo>
                      <a:pt x="1115" y="7344"/>
                    </a:lnTo>
                    <a:lnTo>
                      <a:pt x="964" y="7375"/>
                    </a:lnTo>
                    <a:lnTo>
                      <a:pt x="974" y="7420"/>
                    </a:lnTo>
                    <a:lnTo>
                      <a:pt x="954" y="7493"/>
                    </a:lnTo>
                    <a:lnTo>
                      <a:pt x="895" y="7506"/>
                    </a:lnTo>
                    <a:lnTo>
                      <a:pt x="870" y="7527"/>
                    </a:lnTo>
                    <a:lnTo>
                      <a:pt x="843" y="7592"/>
                    </a:lnTo>
                    <a:lnTo>
                      <a:pt x="809" y="7758"/>
                    </a:lnTo>
                    <a:lnTo>
                      <a:pt x="850" y="7934"/>
                    </a:lnTo>
                    <a:lnTo>
                      <a:pt x="877" y="7995"/>
                    </a:lnTo>
                    <a:lnTo>
                      <a:pt x="923" y="8044"/>
                    </a:lnTo>
                    <a:lnTo>
                      <a:pt x="968" y="8150"/>
                    </a:lnTo>
                    <a:lnTo>
                      <a:pt x="954" y="8378"/>
                    </a:lnTo>
                    <a:lnTo>
                      <a:pt x="1002" y="8467"/>
                    </a:lnTo>
                    <a:lnTo>
                      <a:pt x="1084" y="8543"/>
                    </a:lnTo>
                    <a:lnTo>
                      <a:pt x="1099" y="8636"/>
                    </a:lnTo>
                    <a:lnTo>
                      <a:pt x="1147" y="8770"/>
                    </a:lnTo>
                    <a:lnTo>
                      <a:pt x="1195" y="8843"/>
                    </a:lnTo>
                    <a:lnTo>
                      <a:pt x="1251" y="8888"/>
                    </a:lnTo>
                    <a:lnTo>
                      <a:pt x="1260" y="8915"/>
                    </a:lnTo>
                    <a:lnTo>
                      <a:pt x="1209" y="8871"/>
                    </a:lnTo>
                    <a:lnTo>
                      <a:pt x="1160" y="8877"/>
                    </a:lnTo>
                    <a:lnTo>
                      <a:pt x="1133" y="8919"/>
                    </a:lnTo>
                    <a:lnTo>
                      <a:pt x="1147" y="8975"/>
                    </a:lnTo>
                    <a:lnTo>
                      <a:pt x="1140" y="9036"/>
                    </a:lnTo>
                    <a:lnTo>
                      <a:pt x="1164" y="9112"/>
                    </a:lnTo>
                    <a:lnTo>
                      <a:pt x="1175" y="9243"/>
                    </a:lnTo>
                    <a:lnTo>
                      <a:pt x="1140" y="9374"/>
                    </a:lnTo>
                    <a:lnTo>
                      <a:pt x="1113" y="9377"/>
                    </a:lnTo>
                    <a:lnTo>
                      <a:pt x="1091" y="9470"/>
                    </a:lnTo>
                    <a:lnTo>
                      <a:pt x="1129" y="9522"/>
                    </a:lnTo>
                    <a:lnTo>
                      <a:pt x="1140" y="9574"/>
                    </a:lnTo>
                    <a:lnTo>
                      <a:pt x="1129" y="9622"/>
                    </a:lnTo>
                    <a:lnTo>
                      <a:pt x="1151" y="9670"/>
                    </a:lnTo>
                    <a:lnTo>
                      <a:pt x="1223" y="9695"/>
                    </a:lnTo>
                    <a:lnTo>
                      <a:pt x="1216" y="9739"/>
                    </a:lnTo>
                    <a:lnTo>
                      <a:pt x="1164" y="9749"/>
                    </a:lnTo>
                    <a:lnTo>
                      <a:pt x="1185" y="9815"/>
                    </a:lnTo>
                    <a:lnTo>
                      <a:pt x="1320" y="9811"/>
                    </a:lnTo>
                    <a:lnTo>
                      <a:pt x="1430" y="9871"/>
                    </a:lnTo>
                    <a:lnTo>
                      <a:pt x="1492" y="9925"/>
                    </a:lnTo>
                    <a:lnTo>
                      <a:pt x="1602" y="9970"/>
                    </a:lnTo>
                    <a:lnTo>
                      <a:pt x="1775" y="9994"/>
                    </a:lnTo>
                    <a:lnTo>
                      <a:pt x="1806" y="10036"/>
                    </a:lnTo>
                    <a:lnTo>
                      <a:pt x="1789" y="10108"/>
                    </a:lnTo>
                    <a:lnTo>
                      <a:pt x="1872" y="10152"/>
                    </a:lnTo>
                    <a:lnTo>
                      <a:pt x="2010" y="10052"/>
                    </a:lnTo>
                    <a:lnTo>
                      <a:pt x="2027" y="10101"/>
                    </a:lnTo>
                    <a:lnTo>
                      <a:pt x="2037" y="10218"/>
                    </a:lnTo>
                    <a:lnTo>
                      <a:pt x="2141" y="10342"/>
                    </a:lnTo>
                    <a:lnTo>
                      <a:pt x="2141" y="10408"/>
                    </a:lnTo>
                    <a:lnTo>
                      <a:pt x="2220" y="10435"/>
                    </a:lnTo>
                    <a:lnTo>
                      <a:pt x="2197" y="10497"/>
                    </a:lnTo>
                    <a:lnTo>
                      <a:pt x="2110" y="10573"/>
                    </a:lnTo>
                    <a:lnTo>
                      <a:pt x="2159" y="10584"/>
                    </a:lnTo>
                    <a:lnTo>
                      <a:pt x="2255" y="10522"/>
                    </a:lnTo>
                    <a:lnTo>
                      <a:pt x="2335" y="10321"/>
                    </a:lnTo>
                    <a:lnTo>
                      <a:pt x="2362" y="10339"/>
                    </a:lnTo>
                    <a:lnTo>
                      <a:pt x="2369" y="10432"/>
                    </a:lnTo>
                    <a:lnTo>
                      <a:pt x="2424" y="10442"/>
                    </a:lnTo>
                    <a:lnTo>
                      <a:pt x="2639" y="10297"/>
                    </a:lnTo>
                    <a:lnTo>
                      <a:pt x="2717" y="10290"/>
                    </a:lnTo>
                    <a:lnTo>
                      <a:pt x="2784" y="10252"/>
                    </a:lnTo>
                    <a:lnTo>
                      <a:pt x="2831" y="10287"/>
                    </a:lnTo>
                    <a:lnTo>
                      <a:pt x="2859" y="10290"/>
                    </a:lnTo>
                    <a:lnTo>
                      <a:pt x="2938" y="10177"/>
                    </a:lnTo>
                    <a:lnTo>
                      <a:pt x="3007" y="10114"/>
                    </a:lnTo>
                    <a:lnTo>
                      <a:pt x="3080" y="10090"/>
                    </a:lnTo>
                    <a:lnTo>
                      <a:pt x="3149" y="10112"/>
                    </a:lnTo>
                    <a:lnTo>
                      <a:pt x="3291" y="10001"/>
                    </a:lnTo>
                    <a:lnTo>
                      <a:pt x="3377" y="9980"/>
                    </a:lnTo>
                    <a:lnTo>
                      <a:pt x="3429" y="9839"/>
                    </a:lnTo>
                    <a:lnTo>
                      <a:pt x="3484" y="9925"/>
                    </a:lnTo>
                    <a:lnTo>
                      <a:pt x="3654" y="9833"/>
                    </a:lnTo>
                    <a:lnTo>
                      <a:pt x="3612" y="9746"/>
                    </a:lnTo>
                    <a:lnTo>
                      <a:pt x="3640" y="9770"/>
                    </a:lnTo>
                    <a:lnTo>
                      <a:pt x="3723" y="9787"/>
                    </a:lnTo>
                    <a:lnTo>
                      <a:pt x="3777" y="9773"/>
                    </a:lnTo>
                    <a:lnTo>
                      <a:pt x="3830" y="9715"/>
                    </a:lnTo>
                    <a:lnTo>
                      <a:pt x="4002" y="9677"/>
                    </a:lnTo>
                    <a:lnTo>
                      <a:pt x="4109" y="9608"/>
                    </a:lnTo>
                    <a:lnTo>
                      <a:pt x="4192" y="9553"/>
                    </a:lnTo>
                    <a:lnTo>
                      <a:pt x="4281" y="9591"/>
                    </a:lnTo>
                    <a:lnTo>
                      <a:pt x="4461" y="9584"/>
                    </a:lnTo>
                    <a:lnTo>
                      <a:pt x="4499" y="9546"/>
                    </a:lnTo>
                    <a:lnTo>
                      <a:pt x="4524" y="9492"/>
                    </a:lnTo>
                    <a:lnTo>
                      <a:pt x="4533" y="9505"/>
                    </a:lnTo>
                    <a:lnTo>
                      <a:pt x="4823" y="9194"/>
                    </a:lnTo>
                    <a:lnTo>
                      <a:pt x="5189" y="8670"/>
                    </a:lnTo>
                    <a:lnTo>
                      <a:pt x="5452" y="8222"/>
                    </a:lnTo>
                    <a:lnTo>
                      <a:pt x="5769" y="7530"/>
                    </a:lnTo>
                    <a:lnTo>
                      <a:pt x="5838" y="7341"/>
                    </a:lnTo>
                    <a:lnTo>
                      <a:pt x="5898" y="6989"/>
                    </a:lnTo>
                    <a:lnTo>
                      <a:pt x="5818" y="6666"/>
                    </a:lnTo>
                    <a:lnTo>
                      <a:pt x="5791" y="6713"/>
                    </a:lnTo>
                    <a:lnTo>
                      <a:pt x="5662" y="6589"/>
                    </a:lnTo>
                    <a:lnTo>
                      <a:pt x="5590" y="6455"/>
                    </a:lnTo>
                    <a:lnTo>
                      <a:pt x="5283" y="6317"/>
                    </a:lnTo>
                    <a:lnTo>
                      <a:pt x="5186" y="6234"/>
                    </a:lnTo>
                    <a:lnTo>
                      <a:pt x="5093" y="6089"/>
                    </a:lnTo>
                    <a:lnTo>
                      <a:pt x="5100" y="5955"/>
                    </a:lnTo>
                    <a:lnTo>
                      <a:pt x="5155" y="5813"/>
                    </a:lnTo>
                    <a:lnTo>
                      <a:pt x="5166" y="5659"/>
                    </a:lnTo>
                    <a:lnTo>
                      <a:pt x="5117" y="5510"/>
                    </a:lnTo>
                    <a:lnTo>
                      <a:pt x="4952" y="5421"/>
                    </a:lnTo>
                    <a:lnTo>
                      <a:pt x="4858" y="5300"/>
                    </a:lnTo>
                    <a:lnTo>
                      <a:pt x="4834" y="5142"/>
                    </a:lnTo>
                    <a:lnTo>
                      <a:pt x="4731" y="5017"/>
                    </a:lnTo>
                    <a:lnTo>
                      <a:pt x="4593" y="5011"/>
                    </a:lnTo>
                    <a:lnTo>
                      <a:pt x="4548" y="4852"/>
                    </a:lnTo>
                    <a:lnTo>
                      <a:pt x="4571" y="4756"/>
                    </a:lnTo>
                    <a:lnTo>
                      <a:pt x="4527" y="4618"/>
                    </a:lnTo>
                    <a:lnTo>
                      <a:pt x="4482" y="4549"/>
                    </a:lnTo>
                    <a:lnTo>
                      <a:pt x="4489" y="4425"/>
                    </a:lnTo>
                    <a:lnTo>
                      <a:pt x="4457" y="4250"/>
                    </a:lnTo>
                    <a:lnTo>
                      <a:pt x="4548" y="4136"/>
                    </a:lnTo>
                    <a:lnTo>
                      <a:pt x="4510" y="4025"/>
                    </a:lnTo>
                    <a:lnTo>
                      <a:pt x="4455" y="3909"/>
                    </a:lnTo>
                    <a:lnTo>
                      <a:pt x="4299" y="3667"/>
                    </a:lnTo>
                    <a:lnTo>
                      <a:pt x="4140" y="3497"/>
                    </a:lnTo>
                    <a:lnTo>
                      <a:pt x="4082" y="3370"/>
                    </a:lnTo>
                    <a:lnTo>
                      <a:pt x="3999" y="3254"/>
                    </a:lnTo>
                    <a:lnTo>
                      <a:pt x="3888" y="3125"/>
                    </a:lnTo>
                    <a:lnTo>
                      <a:pt x="3839" y="2978"/>
                    </a:lnTo>
                    <a:lnTo>
                      <a:pt x="3868" y="2881"/>
                    </a:lnTo>
                    <a:lnTo>
                      <a:pt x="3922" y="2550"/>
                    </a:lnTo>
                    <a:lnTo>
                      <a:pt x="3991" y="2278"/>
                    </a:lnTo>
                    <a:lnTo>
                      <a:pt x="3930" y="2130"/>
                    </a:lnTo>
                    <a:lnTo>
                      <a:pt x="3830" y="2048"/>
                    </a:lnTo>
                    <a:lnTo>
                      <a:pt x="3625" y="1819"/>
                    </a:lnTo>
                    <a:lnTo>
                      <a:pt x="3505" y="1785"/>
                    </a:lnTo>
                    <a:lnTo>
                      <a:pt x="3402" y="1788"/>
                    </a:lnTo>
                    <a:lnTo>
                      <a:pt x="3322" y="1754"/>
                    </a:lnTo>
                    <a:lnTo>
                      <a:pt x="3274" y="1712"/>
                    </a:lnTo>
                    <a:lnTo>
                      <a:pt x="3208" y="1589"/>
                    </a:lnTo>
                    <a:lnTo>
                      <a:pt x="3149" y="1427"/>
                    </a:lnTo>
                    <a:lnTo>
                      <a:pt x="3143" y="1361"/>
                    </a:lnTo>
                    <a:lnTo>
                      <a:pt x="3177" y="1161"/>
                    </a:lnTo>
                    <a:lnTo>
                      <a:pt x="3167" y="1137"/>
                    </a:lnTo>
                    <a:lnTo>
                      <a:pt x="3094" y="1113"/>
                    </a:lnTo>
                    <a:lnTo>
                      <a:pt x="3257" y="903"/>
                    </a:lnTo>
                    <a:lnTo>
                      <a:pt x="3177" y="869"/>
                    </a:lnTo>
                    <a:lnTo>
                      <a:pt x="3156" y="796"/>
                    </a:lnTo>
                    <a:lnTo>
                      <a:pt x="3159" y="717"/>
                    </a:lnTo>
                    <a:lnTo>
                      <a:pt x="3259" y="541"/>
                    </a:lnTo>
                    <a:lnTo>
                      <a:pt x="3225" y="441"/>
                    </a:lnTo>
                    <a:lnTo>
                      <a:pt x="3132" y="283"/>
                    </a:lnTo>
                    <a:lnTo>
                      <a:pt x="2984" y="196"/>
                    </a:lnTo>
                    <a:lnTo>
                      <a:pt x="2856" y="176"/>
                    </a:lnTo>
                    <a:lnTo>
                      <a:pt x="2773" y="138"/>
                    </a:lnTo>
                    <a:lnTo>
                      <a:pt x="2677" y="20"/>
                    </a:lnTo>
                    <a:lnTo>
                      <a:pt x="2635" y="0"/>
                    </a:lnTo>
                    <a:lnTo>
                      <a:pt x="2483" y="51"/>
                    </a:lnTo>
                    <a:lnTo>
                      <a:pt x="2255" y="200"/>
                    </a:lnTo>
                    <a:lnTo>
                      <a:pt x="2093" y="234"/>
                    </a:lnTo>
                    <a:lnTo>
                      <a:pt x="2017" y="292"/>
                    </a:lnTo>
                    <a:lnTo>
                      <a:pt x="1961" y="383"/>
                    </a:lnTo>
                    <a:lnTo>
                      <a:pt x="1914" y="589"/>
                    </a:lnTo>
                    <a:lnTo>
                      <a:pt x="1934" y="854"/>
                    </a:lnTo>
                    <a:lnTo>
                      <a:pt x="1951" y="938"/>
                    </a:lnTo>
                    <a:lnTo>
                      <a:pt x="1996" y="1085"/>
                    </a:lnTo>
                    <a:lnTo>
                      <a:pt x="1996" y="1168"/>
                    </a:lnTo>
                    <a:lnTo>
                      <a:pt x="1840" y="1313"/>
                    </a:lnTo>
                    <a:lnTo>
                      <a:pt x="1796" y="1409"/>
                    </a:lnTo>
                    <a:lnTo>
                      <a:pt x="1720" y="1489"/>
                    </a:lnTo>
                    <a:lnTo>
                      <a:pt x="1620" y="1544"/>
                    </a:lnTo>
                    <a:lnTo>
                      <a:pt x="1541" y="1533"/>
                    </a:lnTo>
                    <a:lnTo>
                      <a:pt x="1510" y="1482"/>
                    </a:lnTo>
                    <a:lnTo>
                      <a:pt x="1430" y="1402"/>
                    </a:lnTo>
                    <a:lnTo>
                      <a:pt x="1358" y="1368"/>
                    </a:lnTo>
                    <a:lnTo>
                      <a:pt x="1251" y="1509"/>
                    </a:lnTo>
                    <a:lnTo>
                      <a:pt x="1153" y="1578"/>
                    </a:lnTo>
                    <a:lnTo>
                      <a:pt x="1071" y="1596"/>
                    </a:lnTo>
                    <a:lnTo>
                      <a:pt x="954" y="1554"/>
                    </a:lnTo>
                    <a:lnTo>
                      <a:pt x="770" y="1544"/>
                    </a:lnTo>
                    <a:lnTo>
                      <a:pt x="725" y="1496"/>
                    </a:lnTo>
                    <a:lnTo>
                      <a:pt x="674" y="1375"/>
                    </a:lnTo>
                    <a:lnTo>
                      <a:pt x="428" y="1113"/>
                    </a:lnTo>
                    <a:lnTo>
                      <a:pt x="335" y="1045"/>
                    </a:lnTo>
                    <a:lnTo>
                      <a:pt x="236" y="1016"/>
                    </a:lnTo>
                    <a:lnTo>
                      <a:pt x="152" y="1065"/>
                    </a:lnTo>
                    <a:lnTo>
                      <a:pt x="170" y="1144"/>
                    </a:lnTo>
                    <a:lnTo>
                      <a:pt x="198" y="1217"/>
                    </a:lnTo>
                    <a:lnTo>
                      <a:pt x="132" y="1244"/>
                    </a:lnTo>
                    <a:lnTo>
                      <a:pt x="73" y="1223"/>
                    </a:lnTo>
                    <a:lnTo>
                      <a:pt x="18" y="1248"/>
                    </a:lnTo>
                    <a:lnTo>
                      <a:pt x="0" y="1299"/>
                    </a:lnTo>
                    <a:close/>
                    <a:moveTo>
                      <a:pt x="504" y="10156"/>
                    </a:moveTo>
                    <a:lnTo>
                      <a:pt x="432" y="10139"/>
                    </a:lnTo>
                    <a:lnTo>
                      <a:pt x="401" y="10114"/>
                    </a:lnTo>
                    <a:lnTo>
                      <a:pt x="346" y="10163"/>
                    </a:lnTo>
                    <a:lnTo>
                      <a:pt x="384" y="10205"/>
                    </a:lnTo>
                    <a:lnTo>
                      <a:pt x="384" y="10270"/>
                    </a:lnTo>
                    <a:lnTo>
                      <a:pt x="321" y="10256"/>
                    </a:lnTo>
                    <a:lnTo>
                      <a:pt x="318" y="10342"/>
                    </a:lnTo>
                    <a:lnTo>
                      <a:pt x="335" y="10428"/>
                    </a:lnTo>
                    <a:lnTo>
                      <a:pt x="470" y="10459"/>
                    </a:lnTo>
                    <a:lnTo>
                      <a:pt x="546" y="10535"/>
                    </a:lnTo>
                    <a:lnTo>
                      <a:pt x="577" y="10466"/>
                    </a:lnTo>
                    <a:lnTo>
                      <a:pt x="508" y="10435"/>
                    </a:lnTo>
                    <a:lnTo>
                      <a:pt x="480" y="10355"/>
                    </a:lnTo>
                    <a:lnTo>
                      <a:pt x="533" y="10328"/>
                    </a:lnTo>
                    <a:lnTo>
                      <a:pt x="557" y="10263"/>
                    </a:lnTo>
                    <a:lnTo>
                      <a:pt x="557" y="10218"/>
                    </a:lnTo>
                    <a:lnTo>
                      <a:pt x="504" y="10156"/>
                    </a:lnTo>
                    <a:close/>
                    <a:moveTo>
                      <a:pt x="1492" y="10270"/>
                    </a:moveTo>
                    <a:lnTo>
                      <a:pt x="1465" y="10228"/>
                    </a:lnTo>
                    <a:lnTo>
                      <a:pt x="1405" y="10243"/>
                    </a:lnTo>
                    <a:lnTo>
                      <a:pt x="1396" y="10308"/>
                    </a:lnTo>
                    <a:lnTo>
                      <a:pt x="1441" y="10350"/>
                    </a:lnTo>
                    <a:lnTo>
                      <a:pt x="1492" y="10346"/>
                    </a:lnTo>
                    <a:lnTo>
                      <a:pt x="1492" y="10270"/>
                    </a:lnTo>
                    <a:close/>
                    <a:moveTo>
                      <a:pt x="1934" y="10401"/>
                    </a:moveTo>
                    <a:lnTo>
                      <a:pt x="1961" y="10359"/>
                    </a:lnTo>
                    <a:lnTo>
                      <a:pt x="1983" y="10270"/>
                    </a:lnTo>
                    <a:lnTo>
                      <a:pt x="1983" y="10128"/>
                    </a:lnTo>
                    <a:lnTo>
                      <a:pt x="1951" y="10167"/>
                    </a:lnTo>
                    <a:lnTo>
                      <a:pt x="1824" y="10235"/>
                    </a:lnTo>
                    <a:lnTo>
                      <a:pt x="1827" y="10311"/>
                    </a:lnTo>
                    <a:lnTo>
                      <a:pt x="1789" y="10342"/>
                    </a:lnTo>
                    <a:lnTo>
                      <a:pt x="1768" y="10393"/>
                    </a:lnTo>
                    <a:lnTo>
                      <a:pt x="1858" y="10370"/>
                    </a:lnTo>
                    <a:lnTo>
                      <a:pt x="1934" y="10401"/>
                    </a:lnTo>
                    <a:close/>
                  </a:path>
                </a:pathLst>
              </a:custGeom>
              <a:grpFill/>
              <a:ln w="6350">
                <a:solidFill>
                  <a:srgbClr val="FFFFFF"/>
                </a:solidFill>
              </a:ln>
            </p:spPr>
            <p:txBody>
              <a:bodyPr vert="eaVert" wrap="none" anchor="ctr"/>
              <a:lstStyle/>
              <a:p>
                <a:pPr defTabSz="858500" eaLnBrk="1" fontAlgn="auto" hangingPunct="1">
                  <a:lnSpc>
                    <a:spcPct val="100000"/>
                  </a:lnSpc>
                  <a:spcBef>
                    <a:spcPts val="0"/>
                  </a:spcBef>
                  <a:spcAft>
                    <a:spcPts val="0"/>
                  </a:spcAft>
                  <a:buClrTx/>
                  <a:buSzTx/>
                  <a:defRPr/>
                </a:pPr>
                <a:endParaRPr lang="en-GB" sz="600" b="1" dirty="0">
                  <a:latin typeface="+mn-lt"/>
                </a:endParaRPr>
              </a:p>
            </p:txBody>
          </p:sp>
          <p:sp>
            <p:nvSpPr>
              <p:cNvPr id="270" name="Denmark"/>
              <p:cNvSpPr>
                <a:spLocks noEditPoints="1"/>
              </p:cNvSpPr>
              <p:nvPr>
                <p:custDataLst>
                  <p:tags r:id="rId11"/>
                </p:custDataLst>
              </p:nvPr>
            </p:nvSpPr>
            <p:spPr bwMode="gray">
              <a:xfrm>
                <a:off x="754527" y="4320769"/>
                <a:ext cx="1023595" cy="840754"/>
              </a:xfrm>
              <a:custGeom>
                <a:avLst/>
                <a:gdLst/>
                <a:ahLst/>
                <a:cxnLst>
                  <a:cxn ang="0">
                    <a:pos x="3981" y="2858"/>
                  </a:cxn>
                  <a:cxn ang="0">
                    <a:pos x="3308" y="3606"/>
                  </a:cxn>
                  <a:cxn ang="0">
                    <a:pos x="3170" y="3726"/>
                  </a:cxn>
                  <a:cxn ang="0">
                    <a:pos x="3018" y="3446"/>
                  </a:cxn>
                  <a:cxn ang="0">
                    <a:pos x="3084" y="3347"/>
                  </a:cxn>
                  <a:cxn ang="0">
                    <a:pos x="3333" y="3412"/>
                  </a:cxn>
                  <a:cxn ang="0">
                    <a:pos x="739" y="2967"/>
                  </a:cxn>
                  <a:cxn ang="0">
                    <a:pos x="895" y="2971"/>
                  </a:cxn>
                  <a:cxn ang="0">
                    <a:pos x="753" y="2764"/>
                  </a:cxn>
                  <a:cxn ang="0">
                    <a:pos x="853" y="2475"/>
                  </a:cxn>
                  <a:cxn ang="0">
                    <a:pos x="904" y="2089"/>
                  </a:cxn>
                  <a:cxn ang="0">
                    <a:pos x="1136" y="1899"/>
                  </a:cxn>
                  <a:cxn ang="0">
                    <a:pos x="1433" y="1569"/>
                  </a:cxn>
                  <a:cxn ang="0">
                    <a:pos x="1713" y="1520"/>
                  </a:cxn>
                  <a:cxn ang="0">
                    <a:pos x="1475" y="1331"/>
                  </a:cxn>
                  <a:cxn ang="0">
                    <a:pos x="1299" y="1206"/>
                  </a:cxn>
                  <a:cxn ang="0">
                    <a:pos x="1350" y="1055"/>
                  </a:cxn>
                  <a:cxn ang="0">
                    <a:pos x="1554" y="493"/>
                  </a:cxn>
                  <a:cxn ang="0">
                    <a:pos x="1560" y="0"/>
                  </a:cxn>
                  <a:cxn ang="0">
                    <a:pos x="902" y="517"/>
                  </a:cxn>
                  <a:cxn ang="0">
                    <a:pos x="132" y="1159"/>
                  </a:cxn>
                  <a:cxn ang="0">
                    <a:pos x="45" y="2013"/>
                  </a:cxn>
                  <a:cxn ang="0">
                    <a:pos x="266" y="2338"/>
                  </a:cxn>
                  <a:cxn ang="0">
                    <a:pos x="2158" y="1886"/>
                  </a:cxn>
                  <a:cxn ang="0">
                    <a:pos x="2238" y="2062"/>
                  </a:cxn>
                  <a:cxn ang="0">
                    <a:pos x="2331" y="2155"/>
                  </a:cxn>
                  <a:cxn ang="0">
                    <a:pos x="2379" y="1955"/>
                  </a:cxn>
                  <a:cxn ang="0">
                    <a:pos x="2400" y="2175"/>
                  </a:cxn>
                  <a:cxn ang="0">
                    <a:pos x="2448" y="1913"/>
                  </a:cxn>
                  <a:cxn ang="0">
                    <a:pos x="2586" y="1723"/>
                  </a:cxn>
                  <a:cxn ang="0">
                    <a:pos x="2776" y="1997"/>
                  </a:cxn>
                  <a:cxn ang="0">
                    <a:pos x="2758" y="2227"/>
                  </a:cxn>
                  <a:cxn ang="0">
                    <a:pos x="2562" y="2472"/>
                  </a:cxn>
                  <a:cxn ang="0">
                    <a:pos x="2486" y="2733"/>
                  </a:cxn>
                  <a:cxn ang="0">
                    <a:pos x="2490" y="2860"/>
                  </a:cxn>
                  <a:cxn ang="0">
                    <a:pos x="2178" y="2844"/>
                  </a:cxn>
                  <a:cxn ang="0">
                    <a:pos x="2251" y="2737"/>
                  </a:cxn>
                  <a:cxn ang="0">
                    <a:pos x="1868" y="2537"/>
                  </a:cxn>
                  <a:cxn ang="0">
                    <a:pos x="1888" y="2234"/>
                  </a:cxn>
                  <a:cxn ang="0">
                    <a:pos x="1768" y="2127"/>
                  </a:cxn>
                  <a:cxn ang="0">
                    <a:pos x="2113" y="2017"/>
                  </a:cxn>
                  <a:cxn ang="0">
                    <a:pos x="1689" y="2755"/>
                  </a:cxn>
                  <a:cxn ang="0">
                    <a:pos x="1665" y="3058"/>
                  </a:cxn>
                  <a:cxn ang="0">
                    <a:pos x="1540" y="3033"/>
                  </a:cxn>
                  <a:cxn ang="0">
                    <a:pos x="1198" y="2296"/>
                  </a:cxn>
                  <a:cxn ang="0">
                    <a:pos x="1516" y="2247"/>
                  </a:cxn>
                  <a:cxn ang="0">
                    <a:pos x="1647" y="2568"/>
                  </a:cxn>
                  <a:cxn ang="0">
                    <a:pos x="1631" y="2806"/>
                  </a:cxn>
                  <a:cxn ang="0">
                    <a:pos x="1212" y="2799"/>
                  </a:cxn>
                  <a:cxn ang="0">
                    <a:pos x="1087" y="2557"/>
                  </a:cxn>
                  <a:cxn ang="0">
                    <a:pos x="1036" y="2378"/>
                  </a:cxn>
                  <a:cxn ang="0">
                    <a:pos x="1198" y="2296"/>
                  </a:cxn>
                  <a:cxn ang="0">
                    <a:pos x="2048" y="3074"/>
                  </a:cxn>
                  <a:cxn ang="0">
                    <a:pos x="2169" y="3036"/>
                  </a:cxn>
                  <a:cxn ang="0">
                    <a:pos x="2096" y="3265"/>
                  </a:cxn>
                  <a:cxn ang="0">
                    <a:pos x="1761" y="3099"/>
                  </a:cxn>
                  <a:cxn ang="0">
                    <a:pos x="1827" y="2964"/>
                  </a:cxn>
                  <a:cxn ang="0">
                    <a:pos x="2341" y="2985"/>
                  </a:cxn>
                  <a:cxn ang="0">
                    <a:pos x="2379" y="3227"/>
                  </a:cxn>
                  <a:cxn ang="0">
                    <a:pos x="2279" y="3089"/>
                  </a:cxn>
                </a:cxnLst>
                <a:rect l="0" t="0" r="r" b="b"/>
                <a:pathLst>
                  <a:path w="4230" h="3726">
                    <a:moveTo>
                      <a:pt x="4230" y="2951"/>
                    </a:moveTo>
                    <a:lnTo>
                      <a:pt x="4195" y="2782"/>
                    </a:lnTo>
                    <a:lnTo>
                      <a:pt x="4099" y="2699"/>
                    </a:lnTo>
                    <a:lnTo>
                      <a:pt x="4016" y="2668"/>
                    </a:lnTo>
                    <a:lnTo>
                      <a:pt x="3981" y="2858"/>
                    </a:lnTo>
                    <a:lnTo>
                      <a:pt x="4036" y="2916"/>
                    </a:lnTo>
                    <a:lnTo>
                      <a:pt x="4112" y="2944"/>
                    </a:lnTo>
                    <a:lnTo>
                      <a:pt x="4230" y="2951"/>
                    </a:lnTo>
                    <a:close/>
                    <a:moveTo>
                      <a:pt x="3302" y="3533"/>
                    </a:moveTo>
                    <a:lnTo>
                      <a:pt x="3308" y="3606"/>
                    </a:lnTo>
                    <a:lnTo>
                      <a:pt x="3342" y="3667"/>
                    </a:lnTo>
                    <a:lnTo>
                      <a:pt x="3333" y="3716"/>
                    </a:lnTo>
                    <a:lnTo>
                      <a:pt x="3277" y="3675"/>
                    </a:lnTo>
                    <a:lnTo>
                      <a:pt x="3208" y="3691"/>
                    </a:lnTo>
                    <a:lnTo>
                      <a:pt x="3170" y="3726"/>
                    </a:lnTo>
                    <a:lnTo>
                      <a:pt x="3073" y="3702"/>
                    </a:lnTo>
                    <a:lnTo>
                      <a:pt x="3008" y="3640"/>
                    </a:lnTo>
                    <a:lnTo>
                      <a:pt x="3035" y="3595"/>
                    </a:lnTo>
                    <a:lnTo>
                      <a:pt x="3043" y="3537"/>
                    </a:lnTo>
                    <a:lnTo>
                      <a:pt x="3018" y="3446"/>
                    </a:lnTo>
                    <a:lnTo>
                      <a:pt x="3066" y="3433"/>
                    </a:lnTo>
                    <a:lnTo>
                      <a:pt x="3211" y="3506"/>
                    </a:lnTo>
                    <a:lnTo>
                      <a:pt x="3191" y="3450"/>
                    </a:lnTo>
                    <a:lnTo>
                      <a:pt x="3125" y="3402"/>
                    </a:lnTo>
                    <a:lnTo>
                      <a:pt x="3084" y="3347"/>
                    </a:lnTo>
                    <a:lnTo>
                      <a:pt x="3115" y="3306"/>
                    </a:lnTo>
                    <a:lnTo>
                      <a:pt x="3173" y="3323"/>
                    </a:lnTo>
                    <a:lnTo>
                      <a:pt x="3188" y="3375"/>
                    </a:lnTo>
                    <a:lnTo>
                      <a:pt x="3277" y="3385"/>
                    </a:lnTo>
                    <a:lnTo>
                      <a:pt x="3333" y="3412"/>
                    </a:lnTo>
                    <a:lnTo>
                      <a:pt x="3302" y="3533"/>
                    </a:lnTo>
                    <a:close/>
                    <a:moveTo>
                      <a:pt x="286" y="2920"/>
                    </a:moveTo>
                    <a:lnTo>
                      <a:pt x="380" y="2920"/>
                    </a:lnTo>
                    <a:lnTo>
                      <a:pt x="639" y="3009"/>
                    </a:lnTo>
                    <a:lnTo>
                      <a:pt x="739" y="2967"/>
                    </a:lnTo>
                    <a:lnTo>
                      <a:pt x="781" y="2958"/>
                    </a:lnTo>
                    <a:lnTo>
                      <a:pt x="795" y="2937"/>
                    </a:lnTo>
                    <a:lnTo>
                      <a:pt x="822" y="2933"/>
                    </a:lnTo>
                    <a:lnTo>
                      <a:pt x="843" y="2962"/>
                    </a:lnTo>
                    <a:lnTo>
                      <a:pt x="895" y="2971"/>
                    </a:lnTo>
                    <a:lnTo>
                      <a:pt x="902" y="2923"/>
                    </a:lnTo>
                    <a:lnTo>
                      <a:pt x="877" y="2875"/>
                    </a:lnTo>
                    <a:lnTo>
                      <a:pt x="832" y="2830"/>
                    </a:lnTo>
                    <a:lnTo>
                      <a:pt x="757" y="2826"/>
                    </a:lnTo>
                    <a:lnTo>
                      <a:pt x="753" y="2764"/>
                    </a:lnTo>
                    <a:lnTo>
                      <a:pt x="759" y="2675"/>
                    </a:lnTo>
                    <a:lnTo>
                      <a:pt x="877" y="2610"/>
                    </a:lnTo>
                    <a:lnTo>
                      <a:pt x="881" y="2568"/>
                    </a:lnTo>
                    <a:lnTo>
                      <a:pt x="853" y="2568"/>
                    </a:lnTo>
                    <a:lnTo>
                      <a:pt x="853" y="2475"/>
                    </a:lnTo>
                    <a:lnTo>
                      <a:pt x="888" y="2354"/>
                    </a:lnTo>
                    <a:lnTo>
                      <a:pt x="867" y="2313"/>
                    </a:lnTo>
                    <a:lnTo>
                      <a:pt x="977" y="2209"/>
                    </a:lnTo>
                    <a:lnTo>
                      <a:pt x="974" y="2169"/>
                    </a:lnTo>
                    <a:lnTo>
                      <a:pt x="904" y="2089"/>
                    </a:lnTo>
                    <a:lnTo>
                      <a:pt x="974" y="2068"/>
                    </a:lnTo>
                    <a:lnTo>
                      <a:pt x="1116" y="2100"/>
                    </a:lnTo>
                    <a:lnTo>
                      <a:pt x="1133" y="2024"/>
                    </a:lnTo>
                    <a:lnTo>
                      <a:pt x="1085" y="1937"/>
                    </a:lnTo>
                    <a:lnTo>
                      <a:pt x="1136" y="1899"/>
                    </a:lnTo>
                    <a:lnTo>
                      <a:pt x="1274" y="1920"/>
                    </a:lnTo>
                    <a:lnTo>
                      <a:pt x="1333" y="1852"/>
                    </a:lnTo>
                    <a:lnTo>
                      <a:pt x="1316" y="1714"/>
                    </a:lnTo>
                    <a:lnTo>
                      <a:pt x="1371" y="1585"/>
                    </a:lnTo>
                    <a:lnTo>
                      <a:pt x="1433" y="1569"/>
                    </a:lnTo>
                    <a:lnTo>
                      <a:pt x="1430" y="1620"/>
                    </a:lnTo>
                    <a:lnTo>
                      <a:pt x="1464" y="1696"/>
                    </a:lnTo>
                    <a:lnTo>
                      <a:pt x="1537" y="1614"/>
                    </a:lnTo>
                    <a:lnTo>
                      <a:pt x="1547" y="1652"/>
                    </a:lnTo>
                    <a:lnTo>
                      <a:pt x="1713" y="1520"/>
                    </a:lnTo>
                    <a:lnTo>
                      <a:pt x="1730" y="1400"/>
                    </a:lnTo>
                    <a:lnTo>
                      <a:pt x="1716" y="1324"/>
                    </a:lnTo>
                    <a:lnTo>
                      <a:pt x="1665" y="1293"/>
                    </a:lnTo>
                    <a:lnTo>
                      <a:pt x="1558" y="1300"/>
                    </a:lnTo>
                    <a:lnTo>
                      <a:pt x="1475" y="1331"/>
                    </a:lnTo>
                    <a:lnTo>
                      <a:pt x="1433" y="1262"/>
                    </a:lnTo>
                    <a:lnTo>
                      <a:pt x="1361" y="1259"/>
                    </a:lnTo>
                    <a:lnTo>
                      <a:pt x="1312" y="1327"/>
                    </a:lnTo>
                    <a:lnTo>
                      <a:pt x="1288" y="1273"/>
                    </a:lnTo>
                    <a:lnTo>
                      <a:pt x="1299" y="1206"/>
                    </a:lnTo>
                    <a:lnTo>
                      <a:pt x="1377" y="1135"/>
                    </a:lnTo>
                    <a:lnTo>
                      <a:pt x="1361" y="1110"/>
                    </a:lnTo>
                    <a:lnTo>
                      <a:pt x="1261" y="1135"/>
                    </a:lnTo>
                    <a:lnTo>
                      <a:pt x="1264" y="1083"/>
                    </a:lnTo>
                    <a:lnTo>
                      <a:pt x="1350" y="1055"/>
                    </a:lnTo>
                    <a:lnTo>
                      <a:pt x="1361" y="969"/>
                    </a:lnTo>
                    <a:lnTo>
                      <a:pt x="1377" y="956"/>
                    </a:lnTo>
                    <a:lnTo>
                      <a:pt x="1381" y="827"/>
                    </a:lnTo>
                    <a:lnTo>
                      <a:pt x="1430" y="683"/>
                    </a:lnTo>
                    <a:lnTo>
                      <a:pt x="1554" y="493"/>
                    </a:lnTo>
                    <a:lnTo>
                      <a:pt x="1560" y="408"/>
                    </a:lnTo>
                    <a:lnTo>
                      <a:pt x="1516" y="194"/>
                    </a:lnTo>
                    <a:lnTo>
                      <a:pt x="1540" y="94"/>
                    </a:lnTo>
                    <a:lnTo>
                      <a:pt x="1578" y="25"/>
                    </a:lnTo>
                    <a:lnTo>
                      <a:pt x="1560" y="0"/>
                    </a:lnTo>
                    <a:lnTo>
                      <a:pt x="1488" y="56"/>
                    </a:lnTo>
                    <a:lnTo>
                      <a:pt x="1250" y="152"/>
                    </a:lnTo>
                    <a:lnTo>
                      <a:pt x="1067" y="328"/>
                    </a:lnTo>
                    <a:lnTo>
                      <a:pt x="1026" y="435"/>
                    </a:lnTo>
                    <a:lnTo>
                      <a:pt x="902" y="517"/>
                    </a:lnTo>
                    <a:lnTo>
                      <a:pt x="438" y="569"/>
                    </a:lnTo>
                    <a:lnTo>
                      <a:pt x="335" y="662"/>
                    </a:lnTo>
                    <a:lnTo>
                      <a:pt x="270" y="765"/>
                    </a:lnTo>
                    <a:lnTo>
                      <a:pt x="159" y="1028"/>
                    </a:lnTo>
                    <a:lnTo>
                      <a:pt x="132" y="1159"/>
                    </a:lnTo>
                    <a:lnTo>
                      <a:pt x="59" y="1307"/>
                    </a:lnTo>
                    <a:lnTo>
                      <a:pt x="34" y="1442"/>
                    </a:lnTo>
                    <a:lnTo>
                      <a:pt x="32" y="1748"/>
                    </a:lnTo>
                    <a:lnTo>
                      <a:pt x="59" y="1861"/>
                    </a:lnTo>
                    <a:lnTo>
                      <a:pt x="45" y="2013"/>
                    </a:lnTo>
                    <a:lnTo>
                      <a:pt x="0" y="2196"/>
                    </a:lnTo>
                    <a:lnTo>
                      <a:pt x="56" y="2200"/>
                    </a:lnTo>
                    <a:lnTo>
                      <a:pt x="97" y="2175"/>
                    </a:lnTo>
                    <a:lnTo>
                      <a:pt x="197" y="2251"/>
                    </a:lnTo>
                    <a:lnTo>
                      <a:pt x="266" y="2338"/>
                    </a:lnTo>
                    <a:lnTo>
                      <a:pt x="308" y="2447"/>
                    </a:lnTo>
                    <a:lnTo>
                      <a:pt x="273" y="2809"/>
                    </a:lnTo>
                    <a:lnTo>
                      <a:pt x="286" y="2920"/>
                    </a:lnTo>
                    <a:close/>
                    <a:moveTo>
                      <a:pt x="2062" y="1861"/>
                    </a:moveTo>
                    <a:lnTo>
                      <a:pt x="2158" y="1886"/>
                    </a:lnTo>
                    <a:lnTo>
                      <a:pt x="2314" y="1890"/>
                    </a:lnTo>
                    <a:lnTo>
                      <a:pt x="2310" y="1937"/>
                    </a:lnTo>
                    <a:lnTo>
                      <a:pt x="2272" y="1955"/>
                    </a:lnTo>
                    <a:lnTo>
                      <a:pt x="2265" y="2044"/>
                    </a:lnTo>
                    <a:lnTo>
                      <a:pt x="2238" y="2062"/>
                    </a:lnTo>
                    <a:lnTo>
                      <a:pt x="2245" y="2079"/>
                    </a:lnTo>
                    <a:lnTo>
                      <a:pt x="2272" y="2062"/>
                    </a:lnTo>
                    <a:lnTo>
                      <a:pt x="2276" y="2151"/>
                    </a:lnTo>
                    <a:lnTo>
                      <a:pt x="2283" y="2206"/>
                    </a:lnTo>
                    <a:lnTo>
                      <a:pt x="2331" y="2155"/>
                    </a:lnTo>
                    <a:lnTo>
                      <a:pt x="2356" y="2058"/>
                    </a:lnTo>
                    <a:lnTo>
                      <a:pt x="2372" y="2051"/>
                    </a:lnTo>
                    <a:lnTo>
                      <a:pt x="2379" y="1979"/>
                    </a:lnTo>
                    <a:lnTo>
                      <a:pt x="2369" y="1979"/>
                    </a:lnTo>
                    <a:lnTo>
                      <a:pt x="2379" y="1955"/>
                    </a:lnTo>
                    <a:lnTo>
                      <a:pt x="2400" y="1955"/>
                    </a:lnTo>
                    <a:lnTo>
                      <a:pt x="2445" y="2082"/>
                    </a:lnTo>
                    <a:lnTo>
                      <a:pt x="2441" y="2144"/>
                    </a:lnTo>
                    <a:lnTo>
                      <a:pt x="2421" y="2144"/>
                    </a:lnTo>
                    <a:lnTo>
                      <a:pt x="2400" y="2175"/>
                    </a:lnTo>
                    <a:lnTo>
                      <a:pt x="2417" y="2178"/>
                    </a:lnTo>
                    <a:lnTo>
                      <a:pt x="2417" y="2203"/>
                    </a:lnTo>
                    <a:lnTo>
                      <a:pt x="2452" y="2209"/>
                    </a:lnTo>
                    <a:lnTo>
                      <a:pt x="2472" y="1951"/>
                    </a:lnTo>
                    <a:lnTo>
                      <a:pt x="2448" y="1913"/>
                    </a:lnTo>
                    <a:lnTo>
                      <a:pt x="2394" y="1899"/>
                    </a:lnTo>
                    <a:lnTo>
                      <a:pt x="2390" y="1859"/>
                    </a:lnTo>
                    <a:lnTo>
                      <a:pt x="2466" y="1772"/>
                    </a:lnTo>
                    <a:lnTo>
                      <a:pt x="2575" y="1745"/>
                    </a:lnTo>
                    <a:lnTo>
                      <a:pt x="2586" y="1723"/>
                    </a:lnTo>
                    <a:lnTo>
                      <a:pt x="2659" y="1721"/>
                    </a:lnTo>
                    <a:lnTo>
                      <a:pt x="2714" y="1792"/>
                    </a:lnTo>
                    <a:lnTo>
                      <a:pt x="2762" y="1937"/>
                    </a:lnTo>
                    <a:lnTo>
                      <a:pt x="2791" y="1944"/>
                    </a:lnTo>
                    <a:lnTo>
                      <a:pt x="2776" y="1997"/>
                    </a:lnTo>
                    <a:lnTo>
                      <a:pt x="2791" y="2051"/>
                    </a:lnTo>
                    <a:lnTo>
                      <a:pt x="2807" y="2062"/>
                    </a:lnTo>
                    <a:lnTo>
                      <a:pt x="2804" y="2120"/>
                    </a:lnTo>
                    <a:lnTo>
                      <a:pt x="2842" y="2231"/>
                    </a:lnTo>
                    <a:lnTo>
                      <a:pt x="2758" y="2227"/>
                    </a:lnTo>
                    <a:lnTo>
                      <a:pt x="2720" y="2269"/>
                    </a:lnTo>
                    <a:lnTo>
                      <a:pt x="2666" y="2265"/>
                    </a:lnTo>
                    <a:lnTo>
                      <a:pt x="2607" y="2334"/>
                    </a:lnTo>
                    <a:lnTo>
                      <a:pt x="2575" y="2392"/>
                    </a:lnTo>
                    <a:lnTo>
                      <a:pt x="2562" y="2472"/>
                    </a:lnTo>
                    <a:lnTo>
                      <a:pt x="2635" y="2479"/>
                    </a:lnTo>
                    <a:lnTo>
                      <a:pt x="2680" y="2561"/>
                    </a:lnTo>
                    <a:lnTo>
                      <a:pt x="2676" y="2668"/>
                    </a:lnTo>
                    <a:lnTo>
                      <a:pt x="2506" y="2702"/>
                    </a:lnTo>
                    <a:lnTo>
                      <a:pt x="2486" y="2733"/>
                    </a:lnTo>
                    <a:lnTo>
                      <a:pt x="2486" y="2778"/>
                    </a:lnTo>
                    <a:lnTo>
                      <a:pt x="2503" y="2778"/>
                    </a:lnTo>
                    <a:lnTo>
                      <a:pt x="2517" y="2833"/>
                    </a:lnTo>
                    <a:lnTo>
                      <a:pt x="2501" y="2833"/>
                    </a:lnTo>
                    <a:lnTo>
                      <a:pt x="2490" y="2860"/>
                    </a:lnTo>
                    <a:lnTo>
                      <a:pt x="2483" y="2933"/>
                    </a:lnTo>
                    <a:lnTo>
                      <a:pt x="2421" y="2947"/>
                    </a:lnTo>
                    <a:lnTo>
                      <a:pt x="2386" y="2909"/>
                    </a:lnTo>
                    <a:lnTo>
                      <a:pt x="2224" y="2871"/>
                    </a:lnTo>
                    <a:lnTo>
                      <a:pt x="2178" y="2844"/>
                    </a:lnTo>
                    <a:lnTo>
                      <a:pt x="2182" y="2824"/>
                    </a:lnTo>
                    <a:lnTo>
                      <a:pt x="2234" y="2844"/>
                    </a:lnTo>
                    <a:lnTo>
                      <a:pt x="2231" y="2775"/>
                    </a:lnTo>
                    <a:lnTo>
                      <a:pt x="2247" y="2775"/>
                    </a:lnTo>
                    <a:lnTo>
                      <a:pt x="2251" y="2737"/>
                    </a:lnTo>
                    <a:lnTo>
                      <a:pt x="2100" y="2692"/>
                    </a:lnTo>
                    <a:lnTo>
                      <a:pt x="1955" y="2692"/>
                    </a:lnTo>
                    <a:lnTo>
                      <a:pt x="1951" y="2603"/>
                    </a:lnTo>
                    <a:lnTo>
                      <a:pt x="1882" y="2572"/>
                    </a:lnTo>
                    <a:lnTo>
                      <a:pt x="1868" y="2537"/>
                    </a:lnTo>
                    <a:lnTo>
                      <a:pt x="1868" y="2516"/>
                    </a:lnTo>
                    <a:lnTo>
                      <a:pt x="1885" y="2510"/>
                    </a:lnTo>
                    <a:lnTo>
                      <a:pt x="1899" y="2458"/>
                    </a:lnTo>
                    <a:lnTo>
                      <a:pt x="1913" y="2272"/>
                    </a:lnTo>
                    <a:lnTo>
                      <a:pt x="1888" y="2234"/>
                    </a:lnTo>
                    <a:lnTo>
                      <a:pt x="1806" y="2220"/>
                    </a:lnTo>
                    <a:lnTo>
                      <a:pt x="1792" y="2193"/>
                    </a:lnTo>
                    <a:lnTo>
                      <a:pt x="1830" y="2169"/>
                    </a:lnTo>
                    <a:lnTo>
                      <a:pt x="1768" y="2144"/>
                    </a:lnTo>
                    <a:lnTo>
                      <a:pt x="1768" y="2127"/>
                    </a:lnTo>
                    <a:lnTo>
                      <a:pt x="1810" y="2102"/>
                    </a:lnTo>
                    <a:lnTo>
                      <a:pt x="1961" y="2113"/>
                    </a:lnTo>
                    <a:lnTo>
                      <a:pt x="2027" y="2100"/>
                    </a:lnTo>
                    <a:lnTo>
                      <a:pt x="2051" y="2013"/>
                    </a:lnTo>
                    <a:lnTo>
                      <a:pt x="2113" y="2017"/>
                    </a:lnTo>
                    <a:lnTo>
                      <a:pt x="2140" y="1993"/>
                    </a:lnTo>
                    <a:lnTo>
                      <a:pt x="2155" y="1937"/>
                    </a:lnTo>
                    <a:lnTo>
                      <a:pt x="2062" y="1861"/>
                    </a:lnTo>
                    <a:close/>
                    <a:moveTo>
                      <a:pt x="1682" y="2837"/>
                    </a:moveTo>
                    <a:lnTo>
                      <a:pt x="1689" y="2755"/>
                    </a:lnTo>
                    <a:lnTo>
                      <a:pt x="1705" y="2723"/>
                    </a:lnTo>
                    <a:lnTo>
                      <a:pt x="1743" y="2723"/>
                    </a:lnTo>
                    <a:lnTo>
                      <a:pt x="1740" y="2885"/>
                    </a:lnTo>
                    <a:lnTo>
                      <a:pt x="1674" y="2985"/>
                    </a:lnTo>
                    <a:lnTo>
                      <a:pt x="1665" y="3058"/>
                    </a:lnTo>
                    <a:lnTo>
                      <a:pt x="1636" y="3092"/>
                    </a:lnTo>
                    <a:lnTo>
                      <a:pt x="1606" y="3178"/>
                    </a:lnTo>
                    <a:lnTo>
                      <a:pt x="1575" y="3196"/>
                    </a:lnTo>
                    <a:lnTo>
                      <a:pt x="1571" y="3105"/>
                    </a:lnTo>
                    <a:lnTo>
                      <a:pt x="1540" y="3033"/>
                    </a:lnTo>
                    <a:lnTo>
                      <a:pt x="1560" y="3023"/>
                    </a:lnTo>
                    <a:lnTo>
                      <a:pt x="1595" y="2920"/>
                    </a:lnTo>
                    <a:lnTo>
                      <a:pt x="1636" y="2851"/>
                    </a:lnTo>
                    <a:lnTo>
                      <a:pt x="1682" y="2837"/>
                    </a:lnTo>
                    <a:close/>
                    <a:moveTo>
                      <a:pt x="1198" y="2296"/>
                    </a:moveTo>
                    <a:lnTo>
                      <a:pt x="1254" y="2265"/>
                    </a:lnTo>
                    <a:lnTo>
                      <a:pt x="1399" y="2258"/>
                    </a:lnTo>
                    <a:lnTo>
                      <a:pt x="1482" y="2323"/>
                    </a:lnTo>
                    <a:lnTo>
                      <a:pt x="1513" y="2320"/>
                    </a:lnTo>
                    <a:lnTo>
                      <a:pt x="1516" y="2247"/>
                    </a:lnTo>
                    <a:lnTo>
                      <a:pt x="1544" y="2224"/>
                    </a:lnTo>
                    <a:lnTo>
                      <a:pt x="1623" y="2378"/>
                    </a:lnTo>
                    <a:lnTo>
                      <a:pt x="1609" y="2465"/>
                    </a:lnTo>
                    <a:lnTo>
                      <a:pt x="1631" y="2537"/>
                    </a:lnTo>
                    <a:lnTo>
                      <a:pt x="1647" y="2568"/>
                    </a:lnTo>
                    <a:lnTo>
                      <a:pt x="1699" y="2585"/>
                    </a:lnTo>
                    <a:lnTo>
                      <a:pt x="1699" y="2606"/>
                    </a:lnTo>
                    <a:lnTo>
                      <a:pt x="1665" y="2603"/>
                    </a:lnTo>
                    <a:lnTo>
                      <a:pt x="1654" y="2692"/>
                    </a:lnTo>
                    <a:lnTo>
                      <a:pt x="1631" y="2806"/>
                    </a:lnTo>
                    <a:lnTo>
                      <a:pt x="1540" y="2820"/>
                    </a:lnTo>
                    <a:lnTo>
                      <a:pt x="1471" y="2851"/>
                    </a:lnTo>
                    <a:lnTo>
                      <a:pt x="1409" y="2837"/>
                    </a:lnTo>
                    <a:lnTo>
                      <a:pt x="1323" y="2775"/>
                    </a:lnTo>
                    <a:lnTo>
                      <a:pt x="1212" y="2799"/>
                    </a:lnTo>
                    <a:lnTo>
                      <a:pt x="1216" y="2755"/>
                    </a:lnTo>
                    <a:lnTo>
                      <a:pt x="1257" y="2702"/>
                    </a:lnTo>
                    <a:lnTo>
                      <a:pt x="1212" y="2699"/>
                    </a:lnTo>
                    <a:lnTo>
                      <a:pt x="1087" y="2641"/>
                    </a:lnTo>
                    <a:lnTo>
                      <a:pt x="1087" y="2557"/>
                    </a:lnTo>
                    <a:lnTo>
                      <a:pt x="1036" y="2503"/>
                    </a:lnTo>
                    <a:lnTo>
                      <a:pt x="1056" y="2451"/>
                    </a:lnTo>
                    <a:lnTo>
                      <a:pt x="1015" y="2403"/>
                    </a:lnTo>
                    <a:lnTo>
                      <a:pt x="1036" y="2403"/>
                    </a:lnTo>
                    <a:lnTo>
                      <a:pt x="1036" y="2378"/>
                    </a:lnTo>
                    <a:lnTo>
                      <a:pt x="1012" y="2341"/>
                    </a:lnTo>
                    <a:lnTo>
                      <a:pt x="1015" y="2307"/>
                    </a:lnTo>
                    <a:lnTo>
                      <a:pt x="1071" y="2309"/>
                    </a:lnTo>
                    <a:lnTo>
                      <a:pt x="1129" y="2338"/>
                    </a:lnTo>
                    <a:lnTo>
                      <a:pt x="1198" y="2296"/>
                    </a:lnTo>
                    <a:close/>
                    <a:moveTo>
                      <a:pt x="1926" y="2951"/>
                    </a:moveTo>
                    <a:lnTo>
                      <a:pt x="1944" y="2962"/>
                    </a:lnTo>
                    <a:lnTo>
                      <a:pt x="1961" y="3013"/>
                    </a:lnTo>
                    <a:lnTo>
                      <a:pt x="2003" y="3027"/>
                    </a:lnTo>
                    <a:lnTo>
                      <a:pt x="2048" y="3074"/>
                    </a:lnTo>
                    <a:lnTo>
                      <a:pt x="2082" y="3085"/>
                    </a:lnTo>
                    <a:lnTo>
                      <a:pt x="2082" y="3061"/>
                    </a:lnTo>
                    <a:lnTo>
                      <a:pt x="2120" y="3061"/>
                    </a:lnTo>
                    <a:lnTo>
                      <a:pt x="2120" y="3033"/>
                    </a:lnTo>
                    <a:lnTo>
                      <a:pt x="2169" y="3036"/>
                    </a:lnTo>
                    <a:lnTo>
                      <a:pt x="2172" y="3074"/>
                    </a:lnTo>
                    <a:lnTo>
                      <a:pt x="2213" y="3130"/>
                    </a:lnTo>
                    <a:lnTo>
                      <a:pt x="2251" y="3274"/>
                    </a:lnTo>
                    <a:lnTo>
                      <a:pt x="2203" y="3288"/>
                    </a:lnTo>
                    <a:lnTo>
                      <a:pt x="2096" y="3265"/>
                    </a:lnTo>
                    <a:lnTo>
                      <a:pt x="2066" y="3299"/>
                    </a:lnTo>
                    <a:lnTo>
                      <a:pt x="2010" y="3312"/>
                    </a:lnTo>
                    <a:lnTo>
                      <a:pt x="1899" y="3209"/>
                    </a:lnTo>
                    <a:lnTo>
                      <a:pt x="1785" y="3154"/>
                    </a:lnTo>
                    <a:lnTo>
                      <a:pt x="1761" y="3099"/>
                    </a:lnTo>
                    <a:lnTo>
                      <a:pt x="1799" y="3105"/>
                    </a:lnTo>
                    <a:lnTo>
                      <a:pt x="1837" y="3051"/>
                    </a:lnTo>
                    <a:lnTo>
                      <a:pt x="1803" y="3051"/>
                    </a:lnTo>
                    <a:lnTo>
                      <a:pt x="1778" y="2996"/>
                    </a:lnTo>
                    <a:lnTo>
                      <a:pt x="1827" y="2964"/>
                    </a:lnTo>
                    <a:lnTo>
                      <a:pt x="1910" y="2967"/>
                    </a:lnTo>
                    <a:lnTo>
                      <a:pt x="1926" y="2951"/>
                    </a:lnTo>
                    <a:close/>
                    <a:moveTo>
                      <a:pt x="2272" y="2971"/>
                    </a:moveTo>
                    <a:lnTo>
                      <a:pt x="2300" y="2964"/>
                    </a:lnTo>
                    <a:lnTo>
                      <a:pt x="2341" y="2985"/>
                    </a:lnTo>
                    <a:lnTo>
                      <a:pt x="2358" y="3030"/>
                    </a:lnTo>
                    <a:lnTo>
                      <a:pt x="2452" y="3082"/>
                    </a:lnTo>
                    <a:lnTo>
                      <a:pt x="2459" y="3143"/>
                    </a:lnTo>
                    <a:lnTo>
                      <a:pt x="2390" y="3196"/>
                    </a:lnTo>
                    <a:lnTo>
                      <a:pt x="2379" y="3227"/>
                    </a:lnTo>
                    <a:lnTo>
                      <a:pt x="2361" y="3377"/>
                    </a:lnTo>
                    <a:lnTo>
                      <a:pt x="2317" y="3341"/>
                    </a:lnTo>
                    <a:lnTo>
                      <a:pt x="2327" y="3192"/>
                    </a:lnTo>
                    <a:lnTo>
                      <a:pt x="2296" y="3161"/>
                    </a:lnTo>
                    <a:lnTo>
                      <a:pt x="2279" y="3089"/>
                    </a:lnTo>
                    <a:lnTo>
                      <a:pt x="2255" y="3071"/>
                    </a:lnTo>
                    <a:lnTo>
                      <a:pt x="2224" y="2989"/>
                    </a:lnTo>
                    <a:lnTo>
                      <a:pt x="2227" y="2971"/>
                    </a:lnTo>
                    <a:lnTo>
                      <a:pt x="2272" y="2971"/>
                    </a:lnTo>
                    <a:close/>
                  </a:path>
                </a:pathLst>
              </a:custGeom>
              <a:grpFill/>
              <a:ln w="6350">
                <a:solidFill>
                  <a:srgbClr val="FFFFFF"/>
                </a:solidFill>
              </a:ln>
            </p:spPr>
            <p:txBody>
              <a:bodyPr vert="eaVert" wrap="none" anchor="ctr"/>
              <a:lstStyle/>
              <a:p>
                <a:pPr defTabSz="858500" eaLnBrk="1" fontAlgn="auto" hangingPunct="1">
                  <a:lnSpc>
                    <a:spcPct val="100000"/>
                  </a:lnSpc>
                  <a:spcBef>
                    <a:spcPts val="0"/>
                  </a:spcBef>
                  <a:spcAft>
                    <a:spcPts val="0"/>
                  </a:spcAft>
                  <a:buClrTx/>
                  <a:buSzTx/>
                  <a:defRPr/>
                </a:pPr>
                <a:endParaRPr lang="en-GB" sz="600" b="1" dirty="0">
                  <a:latin typeface="+mn-lt"/>
                </a:endParaRPr>
              </a:p>
            </p:txBody>
          </p:sp>
          <p:sp>
            <p:nvSpPr>
              <p:cNvPr id="271" name="Sweden"/>
              <p:cNvSpPr>
                <a:spLocks noEditPoints="1"/>
              </p:cNvSpPr>
              <p:nvPr>
                <p:custDataLst>
                  <p:tags r:id="rId12"/>
                </p:custDataLst>
              </p:nvPr>
            </p:nvSpPr>
            <p:spPr bwMode="gray">
              <a:xfrm>
                <a:off x="1241415" y="1685290"/>
                <a:ext cx="1510482" cy="3208973"/>
              </a:xfrm>
              <a:custGeom>
                <a:avLst/>
                <a:gdLst/>
                <a:ahLst/>
                <a:cxnLst>
                  <a:cxn ang="0">
                    <a:pos x="114" y="11074"/>
                  </a:cxn>
                  <a:cxn ang="0">
                    <a:pos x="210" y="11166"/>
                  </a:cxn>
                  <a:cxn ang="0">
                    <a:pos x="362" y="11949"/>
                  </a:cxn>
                  <a:cxn ang="0">
                    <a:pos x="846" y="12862"/>
                  </a:cxn>
                  <a:cxn ang="0">
                    <a:pos x="666" y="13248"/>
                  </a:cxn>
                  <a:cxn ang="0">
                    <a:pos x="839" y="14186"/>
                  </a:cxn>
                  <a:cxn ang="0">
                    <a:pos x="1691" y="13776"/>
                  </a:cxn>
                  <a:cxn ang="0">
                    <a:pos x="2468" y="13365"/>
                  </a:cxn>
                  <a:cxn ang="0">
                    <a:pos x="3007" y="12256"/>
                  </a:cxn>
                  <a:cxn ang="0">
                    <a:pos x="3021" y="11518"/>
                  </a:cxn>
                  <a:cxn ang="0">
                    <a:pos x="3162" y="11101"/>
                  </a:cxn>
                  <a:cxn ang="0">
                    <a:pos x="3108" y="10809"/>
                  </a:cxn>
                  <a:cxn ang="0">
                    <a:pos x="3539" y="10495"/>
                  </a:cxn>
                  <a:cxn ang="0">
                    <a:pos x="3971" y="10054"/>
                  </a:cxn>
                  <a:cxn ang="0">
                    <a:pos x="3432" y="10088"/>
                  </a:cxn>
                  <a:cxn ang="0">
                    <a:pos x="3063" y="9788"/>
                  </a:cxn>
                  <a:cxn ang="0">
                    <a:pos x="3597" y="9864"/>
                  </a:cxn>
                  <a:cxn ang="0">
                    <a:pos x="4268" y="9385"/>
                  </a:cxn>
                  <a:cxn ang="0">
                    <a:pos x="3763" y="8719"/>
                  </a:cxn>
                  <a:cxn ang="0">
                    <a:pos x="3190" y="9106"/>
                  </a:cxn>
                  <a:cxn ang="0">
                    <a:pos x="3228" y="8957"/>
                  </a:cxn>
                  <a:cxn ang="0">
                    <a:pos x="3287" y="8072"/>
                  </a:cxn>
                  <a:cxn ang="0">
                    <a:pos x="3376" y="7317"/>
                  </a:cxn>
                  <a:cxn ang="0">
                    <a:pos x="3549" y="6711"/>
                  </a:cxn>
                  <a:cxn ang="0">
                    <a:pos x="3681" y="6414"/>
                  </a:cxn>
                  <a:cxn ang="0">
                    <a:pos x="3902" y="6138"/>
                  </a:cxn>
                  <a:cxn ang="0">
                    <a:pos x="4264" y="5773"/>
                  </a:cxn>
                  <a:cxn ang="0">
                    <a:pos x="4741" y="5401"/>
                  </a:cxn>
                  <a:cxn ang="0">
                    <a:pos x="5182" y="4687"/>
                  </a:cxn>
                  <a:cxn ang="0">
                    <a:pos x="5109" y="4419"/>
                  </a:cxn>
                  <a:cxn ang="0">
                    <a:pos x="5158" y="4098"/>
                  </a:cxn>
                  <a:cxn ang="0">
                    <a:pos x="5317" y="3588"/>
                  </a:cxn>
                  <a:cxn ang="0">
                    <a:pos x="5393" y="3347"/>
                  </a:cxn>
                  <a:cxn ang="0">
                    <a:pos x="5538" y="3102"/>
                  </a:cxn>
                  <a:cxn ang="0">
                    <a:pos x="5828" y="3216"/>
                  </a:cxn>
                  <a:cxn ang="0">
                    <a:pos x="6059" y="2757"/>
                  </a:cxn>
                  <a:cxn ang="0">
                    <a:pos x="5832" y="1634"/>
                  </a:cxn>
                  <a:cxn ang="0">
                    <a:pos x="5410" y="638"/>
                  </a:cxn>
                  <a:cxn ang="0">
                    <a:pos x="4192" y="31"/>
                  </a:cxn>
                  <a:cxn ang="0">
                    <a:pos x="4184" y="535"/>
                  </a:cxn>
                  <a:cxn ang="0">
                    <a:pos x="3473" y="680"/>
                  </a:cxn>
                  <a:cxn ang="0">
                    <a:pos x="3104" y="1048"/>
                  </a:cxn>
                  <a:cxn ang="0">
                    <a:pos x="2803" y="1921"/>
                  </a:cxn>
                  <a:cxn ang="0">
                    <a:pos x="2354" y="2855"/>
                  </a:cxn>
                  <a:cxn ang="0">
                    <a:pos x="1946" y="3967"/>
                  </a:cxn>
                  <a:cxn ang="0">
                    <a:pos x="1705" y="5160"/>
                  </a:cxn>
                  <a:cxn ang="0">
                    <a:pos x="781" y="5935"/>
                  </a:cxn>
                  <a:cxn ang="0">
                    <a:pos x="718" y="6721"/>
                  </a:cxn>
                  <a:cxn ang="0">
                    <a:pos x="977" y="8086"/>
                  </a:cxn>
                  <a:cxn ang="0">
                    <a:pos x="794" y="9233"/>
                  </a:cxn>
                  <a:cxn ang="0">
                    <a:pos x="168" y="10464"/>
                  </a:cxn>
                  <a:cxn ang="0">
                    <a:pos x="3148" y="12862"/>
                  </a:cxn>
                  <a:cxn ang="0">
                    <a:pos x="3124" y="12666"/>
                  </a:cxn>
                  <a:cxn ang="0">
                    <a:pos x="4329" y="12104"/>
                  </a:cxn>
                  <a:cxn ang="0">
                    <a:pos x="4353" y="11529"/>
                  </a:cxn>
                  <a:cxn ang="0">
                    <a:pos x="4032" y="12283"/>
                  </a:cxn>
                </a:cxnLst>
                <a:rect l="0" t="0" r="r" b="b"/>
                <a:pathLst>
                  <a:path w="6249" h="14226">
                    <a:moveTo>
                      <a:pt x="83" y="10243"/>
                    </a:moveTo>
                    <a:lnTo>
                      <a:pt x="7" y="10364"/>
                    </a:lnTo>
                    <a:lnTo>
                      <a:pt x="0" y="10467"/>
                    </a:lnTo>
                    <a:lnTo>
                      <a:pt x="31" y="10881"/>
                    </a:lnTo>
                    <a:lnTo>
                      <a:pt x="48" y="10936"/>
                    </a:lnTo>
                    <a:lnTo>
                      <a:pt x="96" y="10954"/>
                    </a:lnTo>
                    <a:lnTo>
                      <a:pt x="114" y="10998"/>
                    </a:lnTo>
                    <a:lnTo>
                      <a:pt x="114" y="11074"/>
                    </a:lnTo>
                    <a:lnTo>
                      <a:pt x="100" y="11112"/>
                    </a:lnTo>
                    <a:lnTo>
                      <a:pt x="168" y="11039"/>
                    </a:lnTo>
                    <a:lnTo>
                      <a:pt x="193" y="10967"/>
                    </a:lnTo>
                    <a:lnTo>
                      <a:pt x="231" y="11012"/>
                    </a:lnTo>
                    <a:lnTo>
                      <a:pt x="197" y="11108"/>
                    </a:lnTo>
                    <a:lnTo>
                      <a:pt x="241" y="11104"/>
                    </a:lnTo>
                    <a:lnTo>
                      <a:pt x="266" y="11132"/>
                    </a:lnTo>
                    <a:lnTo>
                      <a:pt x="210" y="11166"/>
                    </a:lnTo>
                    <a:lnTo>
                      <a:pt x="130" y="11266"/>
                    </a:lnTo>
                    <a:lnTo>
                      <a:pt x="293" y="11331"/>
                    </a:lnTo>
                    <a:lnTo>
                      <a:pt x="317" y="11435"/>
                    </a:lnTo>
                    <a:lnTo>
                      <a:pt x="279" y="11601"/>
                    </a:lnTo>
                    <a:lnTo>
                      <a:pt x="393" y="11580"/>
                    </a:lnTo>
                    <a:lnTo>
                      <a:pt x="414" y="11705"/>
                    </a:lnTo>
                    <a:lnTo>
                      <a:pt x="338" y="11790"/>
                    </a:lnTo>
                    <a:lnTo>
                      <a:pt x="362" y="11949"/>
                    </a:lnTo>
                    <a:lnTo>
                      <a:pt x="346" y="12069"/>
                    </a:lnTo>
                    <a:lnTo>
                      <a:pt x="435" y="12077"/>
                    </a:lnTo>
                    <a:lnTo>
                      <a:pt x="480" y="12218"/>
                    </a:lnTo>
                    <a:lnTo>
                      <a:pt x="500" y="12345"/>
                    </a:lnTo>
                    <a:lnTo>
                      <a:pt x="556" y="12538"/>
                    </a:lnTo>
                    <a:lnTo>
                      <a:pt x="670" y="12652"/>
                    </a:lnTo>
                    <a:lnTo>
                      <a:pt x="725" y="12777"/>
                    </a:lnTo>
                    <a:lnTo>
                      <a:pt x="846" y="12862"/>
                    </a:lnTo>
                    <a:lnTo>
                      <a:pt x="922" y="12976"/>
                    </a:lnTo>
                    <a:lnTo>
                      <a:pt x="922" y="13058"/>
                    </a:lnTo>
                    <a:lnTo>
                      <a:pt x="853" y="13096"/>
                    </a:lnTo>
                    <a:lnTo>
                      <a:pt x="773" y="13083"/>
                    </a:lnTo>
                    <a:lnTo>
                      <a:pt x="752" y="13121"/>
                    </a:lnTo>
                    <a:lnTo>
                      <a:pt x="825" y="13296"/>
                    </a:lnTo>
                    <a:lnTo>
                      <a:pt x="742" y="13290"/>
                    </a:lnTo>
                    <a:lnTo>
                      <a:pt x="666" y="13248"/>
                    </a:lnTo>
                    <a:lnTo>
                      <a:pt x="659" y="13321"/>
                    </a:lnTo>
                    <a:lnTo>
                      <a:pt x="819" y="13700"/>
                    </a:lnTo>
                    <a:lnTo>
                      <a:pt x="901" y="13827"/>
                    </a:lnTo>
                    <a:lnTo>
                      <a:pt x="939" y="13934"/>
                    </a:lnTo>
                    <a:lnTo>
                      <a:pt x="904" y="13992"/>
                    </a:lnTo>
                    <a:lnTo>
                      <a:pt x="888" y="14121"/>
                    </a:lnTo>
                    <a:lnTo>
                      <a:pt x="853" y="14130"/>
                    </a:lnTo>
                    <a:lnTo>
                      <a:pt x="839" y="14186"/>
                    </a:lnTo>
                    <a:lnTo>
                      <a:pt x="980" y="14182"/>
                    </a:lnTo>
                    <a:lnTo>
                      <a:pt x="1109" y="14226"/>
                    </a:lnTo>
                    <a:lnTo>
                      <a:pt x="1315" y="14155"/>
                    </a:lnTo>
                    <a:lnTo>
                      <a:pt x="1506" y="14151"/>
                    </a:lnTo>
                    <a:lnTo>
                      <a:pt x="1618" y="14206"/>
                    </a:lnTo>
                    <a:lnTo>
                      <a:pt x="1674" y="14161"/>
                    </a:lnTo>
                    <a:lnTo>
                      <a:pt x="1723" y="14010"/>
                    </a:lnTo>
                    <a:lnTo>
                      <a:pt x="1691" y="13776"/>
                    </a:lnTo>
                    <a:lnTo>
                      <a:pt x="1750" y="13624"/>
                    </a:lnTo>
                    <a:lnTo>
                      <a:pt x="1819" y="13500"/>
                    </a:lnTo>
                    <a:lnTo>
                      <a:pt x="1923" y="13535"/>
                    </a:lnTo>
                    <a:lnTo>
                      <a:pt x="1971" y="13421"/>
                    </a:lnTo>
                    <a:lnTo>
                      <a:pt x="2086" y="13352"/>
                    </a:lnTo>
                    <a:lnTo>
                      <a:pt x="2247" y="13359"/>
                    </a:lnTo>
                    <a:lnTo>
                      <a:pt x="2345" y="13397"/>
                    </a:lnTo>
                    <a:lnTo>
                      <a:pt x="2468" y="13365"/>
                    </a:lnTo>
                    <a:lnTo>
                      <a:pt x="2599" y="13399"/>
                    </a:lnTo>
                    <a:lnTo>
                      <a:pt x="2727" y="13399"/>
                    </a:lnTo>
                    <a:lnTo>
                      <a:pt x="2776" y="13190"/>
                    </a:lnTo>
                    <a:lnTo>
                      <a:pt x="2872" y="12945"/>
                    </a:lnTo>
                    <a:lnTo>
                      <a:pt x="2969" y="12762"/>
                    </a:lnTo>
                    <a:lnTo>
                      <a:pt x="2976" y="12541"/>
                    </a:lnTo>
                    <a:lnTo>
                      <a:pt x="3021" y="12403"/>
                    </a:lnTo>
                    <a:lnTo>
                      <a:pt x="3007" y="12256"/>
                    </a:lnTo>
                    <a:lnTo>
                      <a:pt x="3048" y="12128"/>
                    </a:lnTo>
                    <a:lnTo>
                      <a:pt x="3104" y="12021"/>
                    </a:lnTo>
                    <a:lnTo>
                      <a:pt x="3093" y="11908"/>
                    </a:lnTo>
                    <a:lnTo>
                      <a:pt x="3048" y="11839"/>
                    </a:lnTo>
                    <a:lnTo>
                      <a:pt x="3110" y="11732"/>
                    </a:lnTo>
                    <a:lnTo>
                      <a:pt x="3090" y="11642"/>
                    </a:lnTo>
                    <a:lnTo>
                      <a:pt x="3035" y="11570"/>
                    </a:lnTo>
                    <a:lnTo>
                      <a:pt x="3021" y="11518"/>
                    </a:lnTo>
                    <a:lnTo>
                      <a:pt x="3035" y="11473"/>
                    </a:lnTo>
                    <a:lnTo>
                      <a:pt x="3097" y="11504"/>
                    </a:lnTo>
                    <a:lnTo>
                      <a:pt x="3148" y="11494"/>
                    </a:lnTo>
                    <a:lnTo>
                      <a:pt x="3114" y="11429"/>
                    </a:lnTo>
                    <a:lnTo>
                      <a:pt x="3121" y="11384"/>
                    </a:lnTo>
                    <a:lnTo>
                      <a:pt x="3152" y="11326"/>
                    </a:lnTo>
                    <a:lnTo>
                      <a:pt x="3142" y="11273"/>
                    </a:lnTo>
                    <a:lnTo>
                      <a:pt x="3162" y="11101"/>
                    </a:lnTo>
                    <a:lnTo>
                      <a:pt x="3148" y="11053"/>
                    </a:lnTo>
                    <a:lnTo>
                      <a:pt x="3066" y="10987"/>
                    </a:lnTo>
                    <a:lnTo>
                      <a:pt x="2965" y="10939"/>
                    </a:lnTo>
                    <a:lnTo>
                      <a:pt x="2990" y="10929"/>
                    </a:lnTo>
                    <a:lnTo>
                      <a:pt x="3086" y="10956"/>
                    </a:lnTo>
                    <a:lnTo>
                      <a:pt x="3183" y="10939"/>
                    </a:lnTo>
                    <a:lnTo>
                      <a:pt x="3208" y="10894"/>
                    </a:lnTo>
                    <a:lnTo>
                      <a:pt x="3108" y="10809"/>
                    </a:lnTo>
                    <a:lnTo>
                      <a:pt x="2820" y="10774"/>
                    </a:lnTo>
                    <a:lnTo>
                      <a:pt x="2838" y="10743"/>
                    </a:lnTo>
                    <a:lnTo>
                      <a:pt x="3070" y="10712"/>
                    </a:lnTo>
                    <a:lnTo>
                      <a:pt x="3200" y="10753"/>
                    </a:lnTo>
                    <a:lnTo>
                      <a:pt x="3273" y="10715"/>
                    </a:lnTo>
                    <a:lnTo>
                      <a:pt x="3290" y="10622"/>
                    </a:lnTo>
                    <a:lnTo>
                      <a:pt x="3425" y="10611"/>
                    </a:lnTo>
                    <a:lnTo>
                      <a:pt x="3539" y="10495"/>
                    </a:lnTo>
                    <a:lnTo>
                      <a:pt x="3594" y="10426"/>
                    </a:lnTo>
                    <a:lnTo>
                      <a:pt x="3587" y="10305"/>
                    </a:lnTo>
                    <a:lnTo>
                      <a:pt x="3670" y="10326"/>
                    </a:lnTo>
                    <a:lnTo>
                      <a:pt x="3673" y="10446"/>
                    </a:lnTo>
                    <a:lnTo>
                      <a:pt x="3798" y="10429"/>
                    </a:lnTo>
                    <a:lnTo>
                      <a:pt x="3867" y="10301"/>
                    </a:lnTo>
                    <a:lnTo>
                      <a:pt x="4009" y="10174"/>
                    </a:lnTo>
                    <a:lnTo>
                      <a:pt x="3971" y="10054"/>
                    </a:lnTo>
                    <a:lnTo>
                      <a:pt x="4022" y="10098"/>
                    </a:lnTo>
                    <a:lnTo>
                      <a:pt x="4088" y="10094"/>
                    </a:lnTo>
                    <a:lnTo>
                      <a:pt x="4088" y="10036"/>
                    </a:lnTo>
                    <a:lnTo>
                      <a:pt x="4146" y="9985"/>
                    </a:lnTo>
                    <a:lnTo>
                      <a:pt x="4129" y="9940"/>
                    </a:lnTo>
                    <a:lnTo>
                      <a:pt x="3604" y="10071"/>
                    </a:lnTo>
                    <a:lnTo>
                      <a:pt x="3480" y="10050"/>
                    </a:lnTo>
                    <a:lnTo>
                      <a:pt x="3432" y="10088"/>
                    </a:lnTo>
                    <a:lnTo>
                      <a:pt x="3404" y="10022"/>
                    </a:lnTo>
                    <a:lnTo>
                      <a:pt x="3345" y="9971"/>
                    </a:lnTo>
                    <a:lnTo>
                      <a:pt x="3097" y="9871"/>
                    </a:lnTo>
                    <a:lnTo>
                      <a:pt x="2959" y="9898"/>
                    </a:lnTo>
                    <a:lnTo>
                      <a:pt x="2900" y="9867"/>
                    </a:lnTo>
                    <a:lnTo>
                      <a:pt x="2956" y="9836"/>
                    </a:lnTo>
                    <a:lnTo>
                      <a:pt x="2997" y="9775"/>
                    </a:lnTo>
                    <a:lnTo>
                      <a:pt x="3063" y="9788"/>
                    </a:lnTo>
                    <a:lnTo>
                      <a:pt x="3142" y="9764"/>
                    </a:lnTo>
                    <a:lnTo>
                      <a:pt x="3266" y="9778"/>
                    </a:lnTo>
                    <a:lnTo>
                      <a:pt x="3276" y="9768"/>
                    </a:lnTo>
                    <a:lnTo>
                      <a:pt x="3376" y="9860"/>
                    </a:lnTo>
                    <a:lnTo>
                      <a:pt x="3442" y="9819"/>
                    </a:lnTo>
                    <a:lnTo>
                      <a:pt x="3445" y="9788"/>
                    </a:lnTo>
                    <a:lnTo>
                      <a:pt x="3514" y="9840"/>
                    </a:lnTo>
                    <a:lnTo>
                      <a:pt x="3597" y="9864"/>
                    </a:lnTo>
                    <a:lnTo>
                      <a:pt x="3625" y="9806"/>
                    </a:lnTo>
                    <a:lnTo>
                      <a:pt x="3656" y="9833"/>
                    </a:lnTo>
                    <a:lnTo>
                      <a:pt x="3704" y="9936"/>
                    </a:lnTo>
                    <a:lnTo>
                      <a:pt x="3784" y="9956"/>
                    </a:lnTo>
                    <a:lnTo>
                      <a:pt x="4098" y="9782"/>
                    </a:lnTo>
                    <a:lnTo>
                      <a:pt x="4195" y="9599"/>
                    </a:lnTo>
                    <a:lnTo>
                      <a:pt x="4243" y="9550"/>
                    </a:lnTo>
                    <a:lnTo>
                      <a:pt x="4268" y="9385"/>
                    </a:lnTo>
                    <a:lnTo>
                      <a:pt x="4198" y="9247"/>
                    </a:lnTo>
                    <a:lnTo>
                      <a:pt x="4070" y="9164"/>
                    </a:lnTo>
                    <a:lnTo>
                      <a:pt x="3974" y="9030"/>
                    </a:lnTo>
                    <a:lnTo>
                      <a:pt x="4050" y="9024"/>
                    </a:lnTo>
                    <a:lnTo>
                      <a:pt x="4043" y="8986"/>
                    </a:lnTo>
                    <a:lnTo>
                      <a:pt x="3826" y="8899"/>
                    </a:lnTo>
                    <a:lnTo>
                      <a:pt x="3808" y="8810"/>
                    </a:lnTo>
                    <a:lnTo>
                      <a:pt x="3763" y="8719"/>
                    </a:lnTo>
                    <a:lnTo>
                      <a:pt x="3597" y="8748"/>
                    </a:lnTo>
                    <a:lnTo>
                      <a:pt x="3549" y="8692"/>
                    </a:lnTo>
                    <a:lnTo>
                      <a:pt x="3532" y="8650"/>
                    </a:lnTo>
                    <a:lnTo>
                      <a:pt x="3494" y="8645"/>
                    </a:lnTo>
                    <a:lnTo>
                      <a:pt x="3498" y="8685"/>
                    </a:lnTo>
                    <a:lnTo>
                      <a:pt x="3438" y="8861"/>
                    </a:lnTo>
                    <a:lnTo>
                      <a:pt x="3366" y="8968"/>
                    </a:lnTo>
                    <a:lnTo>
                      <a:pt x="3190" y="9106"/>
                    </a:lnTo>
                    <a:lnTo>
                      <a:pt x="3124" y="9154"/>
                    </a:lnTo>
                    <a:lnTo>
                      <a:pt x="3035" y="9158"/>
                    </a:lnTo>
                    <a:lnTo>
                      <a:pt x="2918" y="9192"/>
                    </a:lnTo>
                    <a:lnTo>
                      <a:pt x="2845" y="9171"/>
                    </a:lnTo>
                    <a:lnTo>
                      <a:pt x="2927" y="9113"/>
                    </a:lnTo>
                    <a:lnTo>
                      <a:pt x="3045" y="9085"/>
                    </a:lnTo>
                    <a:lnTo>
                      <a:pt x="3135" y="8999"/>
                    </a:lnTo>
                    <a:lnTo>
                      <a:pt x="3228" y="8957"/>
                    </a:lnTo>
                    <a:lnTo>
                      <a:pt x="3387" y="8806"/>
                    </a:lnTo>
                    <a:lnTo>
                      <a:pt x="3414" y="8713"/>
                    </a:lnTo>
                    <a:lnTo>
                      <a:pt x="3411" y="8592"/>
                    </a:lnTo>
                    <a:lnTo>
                      <a:pt x="3328" y="8578"/>
                    </a:lnTo>
                    <a:lnTo>
                      <a:pt x="3362" y="8507"/>
                    </a:lnTo>
                    <a:lnTo>
                      <a:pt x="3362" y="8413"/>
                    </a:lnTo>
                    <a:lnTo>
                      <a:pt x="3325" y="8327"/>
                    </a:lnTo>
                    <a:lnTo>
                      <a:pt x="3287" y="8072"/>
                    </a:lnTo>
                    <a:lnTo>
                      <a:pt x="3293" y="7907"/>
                    </a:lnTo>
                    <a:lnTo>
                      <a:pt x="3253" y="7703"/>
                    </a:lnTo>
                    <a:lnTo>
                      <a:pt x="3262" y="7642"/>
                    </a:lnTo>
                    <a:lnTo>
                      <a:pt x="3287" y="7565"/>
                    </a:lnTo>
                    <a:lnTo>
                      <a:pt x="3276" y="7513"/>
                    </a:lnTo>
                    <a:lnTo>
                      <a:pt x="3421" y="7586"/>
                    </a:lnTo>
                    <a:lnTo>
                      <a:pt x="3425" y="7510"/>
                    </a:lnTo>
                    <a:lnTo>
                      <a:pt x="3376" y="7317"/>
                    </a:lnTo>
                    <a:lnTo>
                      <a:pt x="3407" y="7128"/>
                    </a:lnTo>
                    <a:lnTo>
                      <a:pt x="3452" y="6969"/>
                    </a:lnTo>
                    <a:lnTo>
                      <a:pt x="3383" y="6889"/>
                    </a:lnTo>
                    <a:lnTo>
                      <a:pt x="3353" y="6814"/>
                    </a:lnTo>
                    <a:lnTo>
                      <a:pt x="3356" y="6690"/>
                    </a:lnTo>
                    <a:lnTo>
                      <a:pt x="3505" y="6762"/>
                    </a:lnTo>
                    <a:lnTo>
                      <a:pt x="3511" y="6735"/>
                    </a:lnTo>
                    <a:lnTo>
                      <a:pt x="3549" y="6711"/>
                    </a:lnTo>
                    <a:lnTo>
                      <a:pt x="3601" y="6631"/>
                    </a:lnTo>
                    <a:lnTo>
                      <a:pt x="3604" y="6604"/>
                    </a:lnTo>
                    <a:lnTo>
                      <a:pt x="3590" y="6579"/>
                    </a:lnTo>
                    <a:lnTo>
                      <a:pt x="3608" y="6439"/>
                    </a:lnTo>
                    <a:lnTo>
                      <a:pt x="3566" y="6345"/>
                    </a:lnTo>
                    <a:lnTo>
                      <a:pt x="3566" y="6273"/>
                    </a:lnTo>
                    <a:lnTo>
                      <a:pt x="3594" y="6356"/>
                    </a:lnTo>
                    <a:lnTo>
                      <a:pt x="3681" y="6414"/>
                    </a:lnTo>
                    <a:lnTo>
                      <a:pt x="3711" y="6404"/>
                    </a:lnTo>
                    <a:lnTo>
                      <a:pt x="3757" y="6318"/>
                    </a:lnTo>
                    <a:lnTo>
                      <a:pt x="3818" y="6349"/>
                    </a:lnTo>
                    <a:lnTo>
                      <a:pt x="3826" y="6280"/>
                    </a:lnTo>
                    <a:lnTo>
                      <a:pt x="3860" y="6232"/>
                    </a:lnTo>
                    <a:lnTo>
                      <a:pt x="3753" y="6191"/>
                    </a:lnTo>
                    <a:lnTo>
                      <a:pt x="3826" y="6194"/>
                    </a:lnTo>
                    <a:lnTo>
                      <a:pt x="3902" y="6138"/>
                    </a:lnTo>
                    <a:lnTo>
                      <a:pt x="3894" y="6100"/>
                    </a:lnTo>
                    <a:lnTo>
                      <a:pt x="3963" y="6062"/>
                    </a:lnTo>
                    <a:lnTo>
                      <a:pt x="3963" y="5980"/>
                    </a:lnTo>
                    <a:lnTo>
                      <a:pt x="4016" y="5959"/>
                    </a:lnTo>
                    <a:lnTo>
                      <a:pt x="4016" y="5855"/>
                    </a:lnTo>
                    <a:lnTo>
                      <a:pt x="4074" y="5846"/>
                    </a:lnTo>
                    <a:lnTo>
                      <a:pt x="4167" y="5855"/>
                    </a:lnTo>
                    <a:lnTo>
                      <a:pt x="4264" y="5773"/>
                    </a:lnTo>
                    <a:lnTo>
                      <a:pt x="4288" y="5681"/>
                    </a:lnTo>
                    <a:lnTo>
                      <a:pt x="4406" y="5577"/>
                    </a:lnTo>
                    <a:lnTo>
                      <a:pt x="4471" y="5632"/>
                    </a:lnTo>
                    <a:lnTo>
                      <a:pt x="4558" y="5563"/>
                    </a:lnTo>
                    <a:lnTo>
                      <a:pt x="4578" y="5483"/>
                    </a:lnTo>
                    <a:lnTo>
                      <a:pt x="4643" y="5425"/>
                    </a:lnTo>
                    <a:lnTo>
                      <a:pt x="4709" y="5442"/>
                    </a:lnTo>
                    <a:lnTo>
                      <a:pt x="4741" y="5401"/>
                    </a:lnTo>
                    <a:lnTo>
                      <a:pt x="4844" y="5336"/>
                    </a:lnTo>
                    <a:lnTo>
                      <a:pt x="4882" y="5260"/>
                    </a:lnTo>
                    <a:lnTo>
                      <a:pt x="4937" y="5229"/>
                    </a:lnTo>
                    <a:lnTo>
                      <a:pt x="4993" y="5091"/>
                    </a:lnTo>
                    <a:lnTo>
                      <a:pt x="5006" y="5012"/>
                    </a:lnTo>
                    <a:lnTo>
                      <a:pt x="5096" y="4898"/>
                    </a:lnTo>
                    <a:lnTo>
                      <a:pt x="5131" y="4787"/>
                    </a:lnTo>
                    <a:lnTo>
                      <a:pt x="5182" y="4687"/>
                    </a:lnTo>
                    <a:lnTo>
                      <a:pt x="5214" y="4640"/>
                    </a:lnTo>
                    <a:lnTo>
                      <a:pt x="5230" y="4684"/>
                    </a:lnTo>
                    <a:lnTo>
                      <a:pt x="5227" y="4763"/>
                    </a:lnTo>
                    <a:lnTo>
                      <a:pt x="5292" y="4649"/>
                    </a:lnTo>
                    <a:lnTo>
                      <a:pt x="5303" y="4612"/>
                    </a:lnTo>
                    <a:lnTo>
                      <a:pt x="5254" y="4574"/>
                    </a:lnTo>
                    <a:lnTo>
                      <a:pt x="5245" y="4529"/>
                    </a:lnTo>
                    <a:lnTo>
                      <a:pt x="5109" y="4419"/>
                    </a:lnTo>
                    <a:lnTo>
                      <a:pt x="5089" y="4368"/>
                    </a:lnTo>
                    <a:lnTo>
                      <a:pt x="5106" y="4350"/>
                    </a:lnTo>
                    <a:lnTo>
                      <a:pt x="5093" y="4295"/>
                    </a:lnTo>
                    <a:lnTo>
                      <a:pt x="5044" y="4253"/>
                    </a:lnTo>
                    <a:lnTo>
                      <a:pt x="5047" y="4226"/>
                    </a:lnTo>
                    <a:lnTo>
                      <a:pt x="5078" y="4188"/>
                    </a:lnTo>
                    <a:lnTo>
                      <a:pt x="5085" y="4136"/>
                    </a:lnTo>
                    <a:lnTo>
                      <a:pt x="5158" y="4098"/>
                    </a:lnTo>
                    <a:lnTo>
                      <a:pt x="5216" y="3902"/>
                    </a:lnTo>
                    <a:lnTo>
                      <a:pt x="5220" y="3851"/>
                    </a:lnTo>
                    <a:lnTo>
                      <a:pt x="5120" y="3719"/>
                    </a:lnTo>
                    <a:lnTo>
                      <a:pt x="5127" y="3699"/>
                    </a:lnTo>
                    <a:lnTo>
                      <a:pt x="5214" y="3637"/>
                    </a:lnTo>
                    <a:lnTo>
                      <a:pt x="5210" y="3578"/>
                    </a:lnTo>
                    <a:lnTo>
                      <a:pt x="5245" y="3564"/>
                    </a:lnTo>
                    <a:lnTo>
                      <a:pt x="5317" y="3588"/>
                    </a:lnTo>
                    <a:lnTo>
                      <a:pt x="5341" y="3578"/>
                    </a:lnTo>
                    <a:lnTo>
                      <a:pt x="5345" y="3523"/>
                    </a:lnTo>
                    <a:lnTo>
                      <a:pt x="5314" y="3492"/>
                    </a:lnTo>
                    <a:lnTo>
                      <a:pt x="5393" y="3475"/>
                    </a:lnTo>
                    <a:lnTo>
                      <a:pt x="5396" y="3434"/>
                    </a:lnTo>
                    <a:lnTo>
                      <a:pt x="5296" y="3319"/>
                    </a:lnTo>
                    <a:lnTo>
                      <a:pt x="5292" y="3292"/>
                    </a:lnTo>
                    <a:lnTo>
                      <a:pt x="5393" y="3347"/>
                    </a:lnTo>
                    <a:lnTo>
                      <a:pt x="5437" y="3406"/>
                    </a:lnTo>
                    <a:lnTo>
                      <a:pt x="5472" y="3403"/>
                    </a:lnTo>
                    <a:lnTo>
                      <a:pt x="5448" y="3278"/>
                    </a:lnTo>
                    <a:lnTo>
                      <a:pt x="5455" y="3296"/>
                    </a:lnTo>
                    <a:lnTo>
                      <a:pt x="5482" y="3274"/>
                    </a:lnTo>
                    <a:lnTo>
                      <a:pt x="5475" y="3116"/>
                    </a:lnTo>
                    <a:lnTo>
                      <a:pt x="5506" y="3106"/>
                    </a:lnTo>
                    <a:lnTo>
                      <a:pt x="5538" y="3102"/>
                    </a:lnTo>
                    <a:lnTo>
                      <a:pt x="5544" y="3144"/>
                    </a:lnTo>
                    <a:lnTo>
                      <a:pt x="5579" y="3178"/>
                    </a:lnTo>
                    <a:lnTo>
                      <a:pt x="5617" y="3192"/>
                    </a:lnTo>
                    <a:lnTo>
                      <a:pt x="5642" y="3085"/>
                    </a:lnTo>
                    <a:lnTo>
                      <a:pt x="5689" y="3113"/>
                    </a:lnTo>
                    <a:lnTo>
                      <a:pt x="5749" y="3185"/>
                    </a:lnTo>
                    <a:lnTo>
                      <a:pt x="5776" y="3182"/>
                    </a:lnTo>
                    <a:lnTo>
                      <a:pt x="5828" y="3216"/>
                    </a:lnTo>
                    <a:lnTo>
                      <a:pt x="5852" y="3120"/>
                    </a:lnTo>
                    <a:lnTo>
                      <a:pt x="6059" y="3085"/>
                    </a:lnTo>
                    <a:lnTo>
                      <a:pt x="6138" y="3120"/>
                    </a:lnTo>
                    <a:lnTo>
                      <a:pt x="6197" y="3171"/>
                    </a:lnTo>
                    <a:lnTo>
                      <a:pt x="6222" y="3109"/>
                    </a:lnTo>
                    <a:lnTo>
                      <a:pt x="6249" y="3085"/>
                    </a:lnTo>
                    <a:lnTo>
                      <a:pt x="6218" y="2993"/>
                    </a:lnTo>
                    <a:lnTo>
                      <a:pt x="6059" y="2757"/>
                    </a:lnTo>
                    <a:lnTo>
                      <a:pt x="6008" y="2610"/>
                    </a:lnTo>
                    <a:lnTo>
                      <a:pt x="6021" y="2478"/>
                    </a:lnTo>
                    <a:lnTo>
                      <a:pt x="6073" y="2369"/>
                    </a:lnTo>
                    <a:lnTo>
                      <a:pt x="6070" y="2300"/>
                    </a:lnTo>
                    <a:lnTo>
                      <a:pt x="6055" y="2206"/>
                    </a:lnTo>
                    <a:lnTo>
                      <a:pt x="5845" y="1899"/>
                    </a:lnTo>
                    <a:lnTo>
                      <a:pt x="5807" y="1783"/>
                    </a:lnTo>
                    <a:lnTo>
                      <a:pt x="5832" y="1634"/>
                    </a:lnTo>
                    <a:lnTo>
                      <a:pt x="5800" y="1531"/>
                    </a:lnTo>
                    <a:lnTo>
                      <a:pt x="5759" y="1486"/>
                    </a:lnTo>
                    <a:lnTo>
                      <a:pt x="5731" y="1386"/>
                    </a:lnTo>
                    <a:lnTo>
                      <a:pt x="5707" y="1241"/>
                    </a:lnTo>
                    <a:lnTo>
                      <a:pt x="5707" y="1134"/>
                    </a:lnTo>
                    <a:lnTo>
                      <a:pt x="5727" y="1041"/>
                    </a:lnTo>
                    <a:lnTo>
                      <a:pt x="5703" y="996"/>
                    </a:lnTo>
                    <a:lnTo>
                      <a:pt x="5410" y="638"/>
                    </a:lnTo>
                    <a:lnTo>
                      <a:pt x="5261" y="539"/>
                    </a:lnTo>
                    <a:lnTo>
                      <a:pt x="4999" y="490"/>
                    </a:lnTo>
                    <a:lnTo>
                      <a:pt x="4754" y="307"/>
                    </a:lnTo>
                    <a:lnTo>
                      <a:pt x="4429" y="31"/>
                    </a:lnTo>
                    <a:lnTo>
                      <a:pt x="4409" y="0"/>
                    </a:lnTo>
                    <a:lnTo>
                      <a:pt x="4391" y="4"/>
                    </a:lnTo>
                    <a:lnTo>
                      <a:pt x="4230" y="11"/>
                    </a:lnTo>
                    <a:lnTo>
                      <a:pt x="4192" y="31"/>
                    </a:lnTo>
                    <a:lnTo>
                      <a:pt x="4205" y="94"/>
                    </a:lnTo>
                    <a:lnTo>
                      <a:pt x="4243" y="125"/>
                    </a:lnTo>
                    <a:lnTo>
                      <a:pt x="4261" y="194"/>
                    </a:lnTo>
                    <a:lnTo>
                      <a:pt x="4250" y="256"/>
                    </a:lnTo>
                    <a:lnTo>
                      <a:pt x="4226" y="290"/>
                    </a:lnTo>
                    <a:lnTo>
                      <a:pt x="4208" y="394"/>
                    </a:lnTo>
                    <a:lnTo>
                      <a:pt x="4170" y="466"/>
                    </a:lnTo>
                    <a:lnTo>
                      <a:pt x="4184" y="535"/>
                    </a:lnTo>
                    <a:lnTo>
                      <a:pt x="4261" y="593"/>
                    </a:lnTo>
                    <a:lnTo>
                      <a:pt x="4219" y="649"/>
                    </a:lnTo>
                    <a:lnTo>
                      <a:pt x="4157" y="669"/>
                    </a:lnTo>
                    <a:lnTo>
                      <a:pt x="3833" y="586"/>
                    </a:lnTo>
                    <a:lnTo>
                      <a:pt x="3608" y="570"/>
                    </a:lnTo>
                    <a:lnTo>
                      <a:pt x="3543" y="583"/>
                    </a:lnTo>
                    <a:lnTo>
                      <a:pt x="3505" y="615"/>
                    </a:lnTo>
                    <a:lnTo>
                      <a:pt x="3473" y="680"/>
                    </a:lnTo>
                    <a:lnTo>
                      <a:pt x="3494" y="838"/>
                    </a:lnTo>
                    <a:lnTo>
                      <a:pt x="3483" y="903"/>
                    </a:lnTo>
                    <a:lnTo>
                      <a:pt x="3452" y="1048"/>
                    </a:lnTo>
                    <a:lnTo>
                      <a:pt x="3391" y="1163"/>
                    </a:lnTo>
                    <a:lnTo>
                      <a:pt x="3360" y="1152"/>
                    </a:lnTo>
                    <a:lnTo>
                      <a:pt x="3284" y="1069"/>
                    </a:lnTo>
                    <a:lnTo>
                      <a:pt x="3190" y="1028"/>
                    </a:lnTo>
                    <a:lnTo>
                      <a:pt x="3104" y="1048"/>
                    </a:lnTo>
                    <a:lnTo>
                      <a:pt x="2969" y="1186"/>
                    </a:lnTo>
                    <a:lnTo>
                      <a:pt x="2907" y="1262"/>
                    </a:lnTo>
                    <a:lnTo>
                      <a:pt x="2879" y="1379"/>
                    </a:lnTo>
                    <a:lnTo>
                      <a:pt x="2869" y="1469"/>
                    </a:lnTo>
                    <a:lnTo>
                      <a:pt x="2824" y="1545"/>
                    </a:lnTo>
                    <a:lnTo>
                      <a:pt x="2720" y="1665"/>
                    </a:lnTo>
                    <a:lnTo>
                      <a:pt x="2700" y="1761"/>
                    </a:lnTo>
                    <a:lnTo>
                      <a:pt x="2803" y="1921"/>
                    </a:lnTo>
                    <a:lnTo>
                      <a:pt x="2818" y="2013"/>
                    </a:lnTo>
                    <a:lnTo>
                      <a:pt x="2800" y="2072"/>
                    </a:lnTo>
                    <a:lnTo>
                      <a:pt x="2755" y="2162"/>
                    </a:lnTo>
                    <a:lnTo>
                      <a:pt x="2655" y="2262"/>
                    </a:lnTo>
                    <a:lnTo>
                      <a:pt x="2603" y="2365"/>
                    </a:lnTo>
                    <a:lnTo>
                      <a:pt x="2420" y="2585"/>
                    </a:lnTo>
                    <a:lnTo>
                      <a:pt x="2376" y="2706"/>
                    </a:lnTo>
                    <a:lnTo>
                      <a:pt x="2354" y="2855"/>
                    </a:lnTo>
                    <a:lnTo>
                      <a:pt x="2316" y="2947"/>
                    </a:lnTo>
                    <a:lnTo>
                      <a:pt x="2178" y="3047"/>
                    </a:lnTo>
                    <a:lnTo>
                      <a:pt x="2086" y="3047"/>
                    </a:lnTo>
                    <a:lnTo>
                      <a:pt x="2030" y="3082"/>
                    </a:lnTo>
                    <a:lnTo>
                      <a:pt x="2040" y="3189"/>
                    </a:lnTo>
                    <a:lnTo>
                      <a:pt x="2037" y="3354"/>
                    </a:lnTo>
                    <a:lnTo>
                      <a:pt x="2026" y="3575"/>
                    </a:lnTo>
                    <a:lnTo>
                      <a:pt x="1946" y="3967"/>
                    </a:lnTo>
                    <a:lnTo>
                      <a:pt x="1809" y="4253"/>
                    </a:lnTo>
                    <a:lnTo>
                      <a:pt x="1636" y="4505"/>
                    </a:lnTo>
                    <a:lnTo>
                      <a:pt x="1643" y="4584"/>
                    </a:lnTo>
                    <a:lnTo>
                      <a:pt x="1763" y="4712"/>
                    </a:lnTo>
                    <a:lnTo>
                      <a:pt x="1819" y="4801"/>
                    </a:lnTo>
                    <a:lnTo>
                      <a:pt x="1812" y="4967"/>
                    </a:lnTo>
                    <a:lnTo>
                      <a:pt x="1792" y="5060"/>
                    </a:lnTo>
                    <a:lnTo>
                      <a:pt x="1705" y="5160"/>
                    </a:lnTo>
                    <a:lnTo>
                      <a:pt x="1582" y="5153"/>
                    </a:lnTo>
                    <a:lnTo>
                      <a:pt x="1429" y="5115"/>
                    </a:lnTo>
                    <a:lnTo>
                      <a:pt x="1243" y="5160"/>
                    </a:lnTo>
                    <a:lnTo>
                      <a:pt x="1091" y="5246"/>
                    </a:lnTo>
                    <a:lnTo>
                      <a:pt x="866" y="5494"/>
                    </a:lnTo>
                    <a:lnTo>
                      <a:pt x="804" y="5625"/>
                    </a:lnTo>
                    <a:lnTo>
                      <a:pt x="759" y="5786"/>
                    </a:lnTo>
                    <a:lnTo>
                      <a:pt x="781" y="5935"/>
                    </a:lnTo>
                    <a:lnTo>
                      <a:pt x="832" y="6056"/>
                    </a:lnTo>
                    <a:lnTo>
                      <a:pt x="873" y="6104"/>
                    </a:lnTo>
                    <a:lnTo>
                      <a:pt x="815" y="6183"/>
                    </a:lnTo>
                    <a:lnTo>
                      <a:pt x="794" y="6290"/>
                    </a:lnTo>
                    <a:lnTo>
                      <a:pt x="763" y="6372"/>
                    </a:lnTo>
                    <a:lnTo>
                      <a:pt x="756" y="6539"/>
                    </a:lnTo>
                    <a:lnTo>
                      <a:pt x="721" y="6617"/>
                    </a:lnTo>
                    <a:lnTo>
                      <a:pt x="718" y="6721"/>
                    </a:lnTo>
                    <a:lnTo>
                      <a:pt x="746" y="6749"/>
                    </a:lnTo>
                    <a:lnTo>
                      <a:pt x="777" y="6883"/>
                    </a:lnTo>
                    <a:lnTo>
                      <a:pt x="748" y="7259"/>
                    </a:lnTo>
                    <a:lnTo>
                      <a:pt x="752" y="7444"/>
                    </a:lnTo>
                    <a:lnTo>
                      <a:pt x="828" y="7582"/>
                    </a:lnTo>
                    <a:lnTo>
                      <a:pt x="1018" y="7727"/>
                    </a:lnTo>
                    <a:lnTo>
                      <a:pt x="1038" y="7921"/>
                    </a:lnTo>
                    <a:lnTo>
                      <a:pt x="977" y="8086"/>
                    </a:lnTo>
                    <a:lnTo>
                      <a:pt x="873" y="8186"/>
                    </a:lnTo>
                    <a:lnTo>
                      <a:pt x="732" y="8237"/>
                    </a:lnTo>
                    <a:lnTo>
                      <a:pt x="701" y="8296"/>
                    </a:lnTo>
                    <a:lnTo>
                      <a:pt x="794" y="8420"/>
                    </a:lnTo>
                    <a:lnTo>
                      <a:pt x="863" y="8730"/>
                    </a:lnTo>
                    <a:lnTo>
                      <a:pt x="777" y="9006"/>
                    </a:lnTo>
                    <a:lnTo>
                      <a:pt x="819" y="9089"/>
                    </a:lnTo>
                    <a:lnTo>
                      <a:pt x="794" y="9233"/>
                    </a:lnTo>
                    <a:lnTo>
                      <a:pt x="732" y="9336"/>
                    </a:lnTo>
                    <a:lnTo>
                      <a:pt x="456" y="9430"/>
                    </a:lnTo>
                    <a:lnTo>
                      <a:pt x="449" y="9557"/>
                    </a:lnTo>
                    <a:lnTo>
                      <a:pt x="311" y="9764"/>
                    </a:lnTo>
                    <a:lnTo>
                      <a:pt x="317" y="9920"/>
                    </a:lnTo>
                    <a:lnTo>
                      <a:pt x="351" y="10043"/>
                    </a:lnTo>
                    <a:lnTo>
                      <a:pt x="252" y="10412"/>
                    </a:lnTo>
                    <a:lnTo>
                      <a:pt x="168" y="10464"/>
                    </a:lnTo>
                    <a:lnTo>
                      <a:pt x="130" y="10377"/>
                    </a:lnTo>
                    <a:lnTo>
                      <a:pt x="92" y="10508"/>
                    </a:lnTo>
                    <a:lnTo>
                      <a:pt x="103" y="10284"/>
                    </a:lnTo>
                    <a:lnTo>
                      <a:pt x="83" y="10243"/>
                    </a:lnTo>
                    <a:close/>
                    <a:moveTo>
                      <a:pt x="2986" y="13276"/>
                    </a:moveTo>
                    <a:lnTo>
                      <a:pt x="3070" y="13176"/>
                    </a:lnTo>
                    <a:lnTo>
                      <a:pt x="3114" y="13049"/>
                    </a:lnTo>
                    <a:lnTo>
                      <a:pt x="3148" y="12862"/>
                    </a:lnTo>
                    <a:lnTo>
                      <a:pt x="3259" y="12525"/>
                    </a:lnTo>
                    <a:lnTo>
                      <a:pt x="3328" y="12197"/>
                    </a:lnTo>
                    <a:lnTo>
                      <a:pt x="3360" y="12145"/>
                    </a:lnTo>
                    <a:lnTo>
                      <a:pt x="3362" y="12104"/>
                    </a:lnTo>
                    <a:lnTo>
                      <a:pt x="3314" y="12156"/>
                    </a:lnTo>
                    <a:lnTo>
                      <a:pt x="3276" y="12231"/>
                    </a:lnTo>
                    <a:lnTo>
                      <a:pt x="3183" y="12579"/>
                    </a:lnTo>
                    <a:lnTo>
                      <a:pt x="3124" y="12666"/>
                    </a:lnTo>
                    <a:lnTo>
                      <a:pt x="3038" y="12866"/>
                    </a:lnTo>
                    <a:lnTo>
                      <a:pt x="3007" y="13020"/>
                    </a:lnTo>
                    <a:lnTo>
                      <a:pt x="2986" y="13276"/>
                    </a:lnTo>
                    <a:close/>
                    <a:moveTo>
                      <a:pt x="4022" y="12521"/>
                    </a:moveTo>
                    <a:lnTo>
                      <a:pt x="4091" y="12472"/>
                    </a:lnTo>
                    <a:lnTo>
                      <a:pt x="4177" y="12304"/>
                    </a:lnTo>
                    <a:lnTo>
                      <a:pt x="4329" y="12145"/>
                    </a:lnTo>
                    <a:lnTo>
                      <a:pt x="4329" y="12104"/>
                    </a:lnTo>
                    <a:lnTo>
                      <a:pt x="4440" y="12008"/>
                    </a:lnTo>
                    <a:lnTo>
                      <a:pt x="4409" y="11915"/>
                    </a:lnTo>
                    <a:lnTo>
                      <a:pt x="4388" y="11697"/>
                    </a:lnTo>
                    <a:lnTo>
                      <a:pt x="4413" y="11652"/>
                    </a:lnTo>
                    <a:lnTo>
                      <a:pt x="4475" y="11611"/>
                    </a:lnTo>
                    <a:lnTo>
                      <a:pt x="4475" y="11487"/>
                    </a:lnTo>
                    <a:lnTo>
                      <a:pt x="4416" y="11467"/>
                    </a:lnTo>
                    <a:lnTo>
                      <a:pt x="4353" y="11529"/>
                    </a:lnTo>
                    <a:lnTo>
                      <a:pt x="4270" y="11498"/>
                    </a:lnTo>
                    <a:lnTo>
                      <a:pt x="4070" y="11752"/>
                    </a:lnTo>
                    <a:lnTo>
                      <a:pt x="4018" y="11870"/>
                    </a:lnTo>
                    <a:lnTo>
                      <a:pt x="4005" y="11977"/>
                    </a:lnTo>
                    <a:lnTo>
                      <a:pt x="4016" y="12066"/>
                    </a:lnTo>
                    <a:lnTo>
                      <a:pt x="3994" y="12166"/>
                    </a:lnTo>
                    <a:lnTo>
                      <a:pt x="3998" y="12235"/>
                    </a:lnTo>
                    <a:lnTo>
                      <a:pt x="4032" y="12283"/>
                    </a:lnTo>
                    <a:lnTo>
                      <a:pt x="4029" y="12369"/>
                    </a:lnTo>
                    <a:lnTo>
                      <a:pt x="4088" y="12359"/>
                    </a:lnTo>
                    <a:lnTo>
                      <a:pt x="4078" y="12425"/>
                    </a:lnTo>
                    <a:lnTo>
                      <a:pt x="4022" y="12521"/>
                    </a:lnTo>
                    <a:close/>
                  </a:path>
                </a:pathLst>
              </a:custGeom>
              <a:solidFill>
                <a:srgbClr val="A8D2E0"/>
              </a:solidFill>
              <a:ln w="6350">
                <a:solidFill>
                  <a:srgbClr val="FFFFFF"/>
                </a:solidFill>
              </a:ln>
            </p:spPr>
            <p:txBody>
              <a:bodyPr vert="eaVert" wrap="none" anchor="ctr"/>
              <a:lstStyle/>
              <a:p>
                <a:pPr defTabSz="858500" eaLnBrk="1" fontAlgn="auto" hangingPunct="1">
                  <a:lnSpc>
                    <a:spcPct val="100000"/>
                  </a:lnSpc>
                  <a:spcBef>
                    <a:spcPts val="0"/>
                  </a:spcBef>
                  <a:spcAft>
                    <a:spcPts val="0"/>
                  </a:spcAft>
                  <a:buClrTx/>
                  <a:buSzTx/>
                  <a:defRPr/>
                </a:pPr>
                <a:endParaRPr lang="en-GB" sz="600" b="1" dirty="0">
                  <a:latin typeface="+mn-lt"/>
                </a:endParaRPr>
              </a:p>
            </p:txBody>
          </p:sp>
        </p:grpSp>
        <p:grpSp>
          <p:nvGrpSpPr>
            <p:cNvPr id="94" name="Group 93"/>
            <p:cNvGrpSpPr/>
            <p:nvPr/>
          </p:nvGrpSpPr>
          <p:grpSpPr>
            <a:xfrm>
              <a:off x="924267" y="3680520"/>
              <a:ext cx="719759" cy="646760"/>
              <a:chOff x="6823521" y="2555937"/>
              <a:chExt cx="719759" cy="646760"/>
            </a:xfrm>
            <a:solidFill>
              <a:srgbClr val="A8D2E0"/>
            </a:solidFill>
          </p:grpSpPr>
          <p:pic>
            <p:nvPicPr>
              <p:cNvPr id="95" name="Norway_NO"/>
              <p:cNvPicPr>
                <a:picLocks noChangeAspect="1"/>
              </p:cNvPicPr>
              <p:nvPr>
                <p:custDataLst>
                  <p:tags r:id="rId8"/>
                </p:custDataLst>
              </p:nvPr>
            </p:nvPicPr>
            <p:blipFill>
              <a:blip r:embed="rId16" cstate="print">
                <a:extLst>
                  <a:ext uri="{28A0092B-C50C-407E-A947-70E740481C1C}">
                    <a14:useLocalDpi xmlns:a14="http://schemas.microsoft.com/office/drawing/2010/main" val="0"/>
                  </a:ext>
                </a:extLst>
              </a:blip>
              <a:stretch>
                <a:fillRect/>
              </a:stretch>
            </p:blipFill>
            <p:spPr>
              <a:xfrm>
                <a:off x="7000720" y="2555937"/>
                <a:ext cx="457200" cy="457200"/>
              </a:xfrm>
              <a:prstGeom prst="rect">
                <a:avLst/>
              </a:prstGeom>
              <a:noFill/>
            </p:spPr>
          </p:pic>
          <p:sp>
            <p:nvSpPr>
              <p:cNvPr id="96" name="TextBox 95"/>
              <p:cNvSpPr txBox="1"/>
              <p:nvPr/>
            </p:nvSpPr>
            <p:spPr>
              <a:xfrm>
                <a:off x="6823521" y="2987253"/>
                <a:ext cx="719759" cy="215444"/>
              </a:xfrm>
              <a:prstGeom prst="rect">
                <a:avLst/>
              </a:prstGeom>
              <a:noFill/>
            </p:spPr>
            <p:txBody>
              <a:bodyPr wrap="square" lIns="0" tIns="0" rIns="0" bIns="0" rtlCol="0">
                <a:spAutoFit/>
              </a:bodyPr>
              <a:lstStyle/>
              <a:p>
                <a:pPr algn="ctr"/>
                <a:r>
                  <a:rPr lang="nb-NO" sz="1400" b="1" dirty="0" smtClean="0">
                    <a:solidFill>
                      <a:srgbClr val="003755"/>
                    </a:solidFill>
                  </a:rPr>
                  <a:t>30</a:t>
                </a:r>
                <a:endParaRPr lang="en-GB" sz="1400" b="1" dirty="0" smtClean="0">
                  <a:solidFill>
                    <a:srgbClr val="003755"/>
                  </a:solidFill>
                </a:endParaRPr>
              </a:p>
            </p:txBody>
          </p:sp>
        </p:grpSp>
        <p:grpSp>
          <p:nvGrpSpPr>
            <p:cNvPr id="97" name="Group 96"/>
            <p:cNvGrpSpPr/>
            <p:nvPr/>
          </p:nvGrpSpPr>
          <p:grpSpPr>
            <a:xfrm>
              <a:off x="1874313" y="4744709"/>
              <a:ext cx="719759" cy="651400"/>
              <a:chOff x="7685088" y="2896906"/>
              <a:chExt cx="719759" cy="651400"/>
            </a:xfrm>
            <a:solidFill>
              <a:srgbClr val="A8D2E0"/>
            </a:solidFill>
          </p:grpSpPr>
          <p:pic>
            <p:nvPicPr>
              <p:cNvPr id="98" name="Sweden_SE"/>
              <p:cNvPicPr>
                <a:picLocks noChangeAspect="1"/>
              </p:cNvPicPr>
              <p:nvPr>
                <p:custDataLst>
                  <p:tags r:id="rId7"/>
                </p:custDataLst>
              </p:nvPr>
            </p:nvPicPr>
            <p:blipFill>
              <a:blip r:embed="rId17" cstate="print">
                <a:extLst>
                  <a:ext uri="{28A0092B-C50C-407E-A947-70E740481C1C}">
                    <a14:useLocalDpi xmlns:a14="http://schemas.microsoft.com/office/drawing/2010/main" val="0"/>
                  </a:ext>
                </a:extLst>
              </a:blip>
              <a:stretch>
                <a:fillRect/>
              </a:stretch>
            </p:blipFill>
            <p:spPr>
              <a:xfrm>
                <a:off x="7861827" y="2896906"/>
                <a:ext cx="457200" cy="457200"/>
              </a:xfrm>
              <a:prstGeom prst="rect">
                <a:avLst/>
              </a:prstGeom>
              <a:noFill/>
            </p:spPr>
          </p:pic>
          <p:sp>
            <p:nvSpPr>
              <p:cNvPr id="99" name="TextBox 98"/>
              <p:cNvSpPr txBox="1"/>
              <p:nvPr/>
            </p:nvSpPr>
            <p:spPr>
              <a:xfrm>
                <a:off x="7685088" y="3332862"/>
                <a:ext cx="719759" cy="215444"/>
              </a:xfrm>
              <a:prstGeom prst="rect">
                <a:avLst/>
              </a:prstGeom>
              <a:noFill/>
            </p:spPr>
            <p:txBody>
              <a:bodyPr wrap="square" lIns="0" tIns="0" rIns="0" bIns="0" rtlCol="0">
                <a:spAutoFit/>
              </a:bodyPr>
              <a:lstStyle/>
              <a:p>
                <a:pPr algn="ctr"/>
                <a:r>
                  <a:rPr lang="nb-NO" sz="1400" b="1" dirty="0" smtClean="0">
                    <a:solidFill>
                      <a:srgbClr val="003755"/>
                    </a:solidFill>
                  </a:rPr>
                  <a:t>44</a:t>
                </a:r>
                <a:endParaRPr lang="en-GB" sz="1400" b="1" dirty="0" smtClean="0">
                  <a:solidFill>
                    <a:srgbClr val="003755"/>
                  </a:solidFill>
                </a:endParaRPr>
              </a:p>
            </p:txBody>
          </p:sp>
        </p:grpSp>
        <p:grpSp>
          <p:nvGrpSpPr>
            <p:cNvPr id="100" name="Group 99"/>
            <p:cNvGrpSpPr/>
            <p:nvPr/>
          </p:nvGrpSpPr>
          <p:grpSpPr>
            <a:xfrm>
              <a:off x="3769974" y="3338714"/>
              <a:ext cx="764576" cy="664202"/>
              <a:chOff x="7968243" y="2650171"/>
              <a:chExt cx="719759" cy="601622"/>
            </a:xfrm>
            <a:solidFill>
              <a:srgbClr val="A8D2E0"/>
            </a:solidFill>
          </p:grpSpPr>
          <p:pic>
            <p:nvPicPr>
              <p:cNvPr id="101" name="Finland_FI"/>
              <p:cNvPicPr>
                <a:picLocks noChangeAspect="1"/>
              </p:cNvPicPr>
              <p:nvPr>
                <p:custDataLst>
                  <p:tags r:id="rId6"/>
                </p:custDataLst>
              </p:nvPr>
            </p:nvPicPr>
            <p:blipFill>
              <a:blip r:embed="rId18" cstate="print">
                <a:extLst>
                  <a:ext uri="{28A0092B-C50C-407E-A947-70E740481C1C}">
                    <a14:useLocalDpi xmlns:a14="http://schemas.microsoft.com/office/drawing/2010/main" val="0"/>
                  </a:ext>
                </a:extLst>
              </a:blip>
              <a:stretch>
                <a:fillRect/>
              </a:stretch>
            </p:blipFill>
            <p:spPr>
              <a:xfrm>
                <a:off x="8159986" y="2650171"/>
                <a:ext cx="414124" cy="414123"/>
              </a:xfrm>
              <a:prstGeom prst="rect">
                <a:avLst/>
              </a:prstGeom>
              <a:noFill/>
            </p:spPr>
          </p:pic>
          <p:sp>
            <p:nvSpPr>
              <p:cNvPr id="102" name="TextBox 101"/>
              <p:cNvSpPr txBox="1"/>
              <p:nvPr/>
            </p:nvSpPr>
            <p:spPr>
              <a:xfrm>
                <a:off x="7968243" y="3056648"/>
                <a:ext cx="719759" cy="195145"/>
              </a:xfrm>
              <a:prstGeom prst="rect">
                <a:avLst/>
              </a:prstGeom>
              <a:noFill/>
            </p:spPr>
            <p:txBody>
              <a:bodyPr wrap="square" lIns="0" tIns="0" rIns="0" bIns="0" rtlCol="0">
                <a:spAutoFit/>
              </a:bodyPr>
              <a:lstStyle/>
              <a:p>
                <a:pPr algn="ctr"/>
                <a:r>
                  <a:rPr lang="nb-NO" sz="1400" b="1" dirty="0" smtClean="0">
                    <a:solidFill>
                      <a:srgbClr val="003755"/>
                    </a:solidFill>
                  </a:rPr>
                  <a:t>21</a:t>
                </a:r>
                <a:endParaRPr lang="en-GB" sz="1400" b="1" dirty="0" smtClean="0">
                  <a:solidFill>
                    <a:srgbClr val="003755"/>
                  </a:solidFill>
                </a:endParaRPr>
              </a:p>
            </p:txBody>
          </p:sp>
        </p:grpSp>
        <p:grpSp>
          <p:nvGrpSpPr>
            <p:cNvPr id="115" name="Group 114"/>
            <p:cNvGrpSpPr/>
            <p:nvPr/>
          </p:nvGrpSpPr>
          <p:grpSpPr>
            <a:xfrm>
              <a:off x="751019" y="5505127"/>
              <a:ext cx="719759" cy="664909"/>
              <a:chOff x="6874035" y="3555766"/>
              <a:chExt cx="719759" cy="664909"/>
            </a:xfrm>
            <a:solidFill>
              <a:srgbClr val="A8D2E0"/>
            </a:solidFill>
          </p:grpSpPr>
          <p:sp>
            <p:nvSpPr>
              <p:cNvPr id="117" name="TextBox 116"/>
              <p:cNvSpPr txBox="1"/>
              <p:nvPr/>
            </p:nvSpPr>
            <p:spPr>
              <a:xfrm>
                <a:off x="6874035" y="4005231"/>
                <a:ext cx="719759" cy="215444"/>
              </a:xfrm>
              <a:prstGeom prst="rect">
                <a:avLst/>
              </a:prstGeom>
              <a:noFill/>
            </p:spPr>
            <p:txBody>
              <a:bodyPr wrap="square" lIns="0" tIns="0" rIns="0" bIns="0" rtlCol="0">
                <a:spAutoFit/>
              </a:bodyPr>
              <a:lstStyle/>
              <a:p>
                <a:pPr algn="ctr"/>
                <a:r>
                  <a:rPr lang="nb-NO" sz="1400" b="1" dirty="0" smtClean="0">
                    <a:solidFill>
                      <a:srgbClr val="003755"/>
                    </a:solidFill>
                  </a:rPr>
                  <a:t>78</a:t>
                </a:r>
                <a:endParaRPr lang="en-GB" sz="1400" b="1" dirty="0" smtClean="0">
                  <a:solidFill>
                    <a:srgbClr val="003755"/>
                  </a:solidFill>
                </a:endParaRPr>
              </a:p>
            </p:txBody>
          </p:sp>
          <p:pic>
            <p:nvPicPr>
              <p:cNvPr id="116" name="Denmark_DK"/>
              <p:cNvPicPr>
                <a:picLocks noChangeAspect="1"/>
              </p:cNvPicPr>
              <p:nvPr>
                <p:custDataLst>
                  <p:tags r:id="rId5"/>
                </p:custDataLst>
              </p:nvPr>
            </p:nvPicPr>
            <p:blipFill>
              <a:blip r:embed="rId19" cstate="print">
                <a:extLst>
                  <a:ext uri="{28A0092B-C50C-407E-A947-70E740481C1C}">
                    <a14:useLocalDpi xmlns:a14="http://schemas.microsoft.com/office/drawing/2010/main" val="0"/>
                  </a:ext>
                </a:extLst>
              </a:blip>
              <a:stretch>
                <a:fillRect/>
              </a:stretch>
            </p:blipFill>
            <p:spPr>
              <a:xfrm>
                <a:off x="7052356" y="3555766"/>
                <a:ext cx="457200" cy="457200"/>
              </a:xfrm>
              <a:prstGeom prst="rect">
                <a:avLst/>
              </a:prstGeom>
              <a:noFill/>
            </p:spPr>
          </p:pic>
        </p:grpSp>
      </p:grpSp>
      <p:sp>
        <p:nvSpPr>
          <p:cNvPr id="20" name="Title 19"/>
          <p:cNvSpPr>
            <a:spLocks noGrp="1"/>
          </p:cNvSpPr>
          <p:nvPr>
            <p:ph type="title"/>
          </p:nvPr>
        </p:nvSpPr>
        <p:spPr/>
        <p:txBody>
          <a:bodyPr/>
          <a:lstStyle/>
          <a:p>
            <a:r>
              <a:rPr lang="en-US" dirty="0" smtClean="0"/>
              <a:t>Top </a:t>
            </a:r>
            <a:r>
              <a:rPr lang="en-US" dirty="0"/>
              <a:t>10 and </a:t>
            </a:r>
            <a:r>
              <a:rPr lang="en-US" dirty="0" smtClean="0"/>
              <a:t>voting </a:t>
            </a:r>
            <a:r>
              <a:rPr lang="en-US" dirty="0"/>
              <a:t>distribution </a:t>
            </a:r>
            <a:r>
              <a:rPr lang="en-US" dirty="0" smtClean="0"/>
              <a:t>across </a:t>
            </a:r>
            <a:r>
              <a:rPr lang="en-US" dirty="0"/>
              <a:t>Nordic </a:t>
            </a:r>
            <a:r>
              <a:rPr lang="en-US" dirty="0" smtClean="0"/>
              <a:t>countries</a:t>
            </a:r>
            <a:br>
              <a:rPr lang="en-US" dirty="0" smtClean="0"/>
            </a:br>
            <a:endParaRPr lang="en-GB" dirty="0"/>
          </a:p>
        </p:txBody>
      </p:sp>
      <p:graphicFrame>
        <p:nvGraphicFramePr>
          <p:cNvPr id="66" name="Table 65"/>
          <p:cNvGraphicFramePr>
            <a:graphicFrameLocks noGrp="1"/>
          </p:cNvGraphicFramePr>
          <p:nvPr>
            <p:extLst>
              <p:ext uri="{D42A27DB-BD31-4B8C-83A1-F6EECF244321}">
                <p14:modId xmlns:p14="http://schemas.microsoft.com/office/powerpoint/2010/main" val="656191038"/>
              </p:ext>
            </p:extLst>
          </p:nvPr>
        </p:nvGraphicFramePr>
        <p:xfrm>
          <a:off x="444584" y="1411199"/>
          <a:ext cx="3089191" cy="4974130"/>
        </p:xfrm>
        <a:graphic>
          <a:graphicData uri="http://schemas.openxmlformats.org/drawingml/2006/table">
            <a:tbl>
              <a:tblPr firstRow="1" bandRow="1">
                <a:tableStyleId>{5C22544A-7EE6-4342-B048-85BDC9FD1C3A}</a:tableStyleId>
              </a:tblPr>
              <a:tblGrid>
                <a:gridCol w="789856"/>
                <a:gridCol w="1594485"/>
                <a:gridCol w="704850"/>
              </a:tblGrid>
              <a:tr h="402130">
                <a:tc>
                  <a:txBody>
                    <a:bodyPr/>
                    <a:lstStyle/>
                    <a:p>
                      <a:pPr algn="ctr"/>
                      <a:r>
                        <a:rPr lang="en-US" sz="1400" dirty="0" smtClean="0">
                          <a:solidFill>
                            <a:schemeClr val="dk2"/>
                          </a:solidFill>
                        </a:rPr>
                        <a:t>Rank</a:t>
                      </a:r>
                      <a:endParaRPr lang="en-US" sz="1400" dirty="0">
                        <a:solidFill>
                          <a:schemeClr val="dk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indent="0" algn="l"/>
                      <a:r>
                        <a:rPr lang="en-US" sz="1400" dirty="0" smtClean="0">
                          <a:solidFill>
                            <a:schemeClr val="dk2"/>
                          </a:solidFill>
                        </a:rPr>
                        <a:t>Country Domicile</a:t>
                      </a:r>
                      <a:endParaRPr lang="en-US" sz="1400" dirty="0">
                        <a:solidFill>
                          <a:schemeClr val="dk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algn="ctr"/>
                      <a:r>
                        <a:rPr lang="en-US" sz="1400" dirty="0" smtClean="0">
                          <a:solidFill>
                            <a:schemeClr val="dk2"/>
                          </a:solidFill>
                        </a:rPr>
                        <a:t>Count</a:t>
                      </a:r>
                      <a:endParaRPr lang="en-US" sz="1400" dirty="0">
                        <a:solidFill>
                          <a:schemeClr val="dk2"/>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457200">
                <a:tc>
                  <a:txBody>
                    <a:bodyPr/>
                    <a:lstStyle/>
                    <a:p>
                      <a:pPr marL="0" indent="0" algn="ct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algn="l" defTabSz="914400" rtl="0" eaLnBrk="1" fontAlgn="b" latinLnBrk="0" hangingPunct="1"/>
                      <a:r>
                        <a:rPr lang="en-GB" sz="1400" b="0" kern="1200" dirty="0">
                          <a:solidFill>
                            <a:schemeClr val="dk2"/>
                          </a:solidFill>
                          <a:latin typeface="+mn-lt"/>
                          <a:ea typeface="+mn-ea"/>
                          <a:cs typeface="+mn-cs"/>
                        </a:rPr>
                        <a:t>USA</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algn="ctr" defTabSz="914400" rtl="0" eaLnBrk="1" fontAlgn="b" latinLnBrk="0" hangingPunct="1"/>
                      <a:r>
                        <a:rPr lang="en-GB" sz="1400" b="0" kern="1200" dirty="0">
                          <a:solidFill>
                            <a:schemeClr val="dk2"/>
                          </a:solidFill>
                          <a:latin typeface="+mn-lt"/>
                          <a:ea typeface="+mn-ea"/>
                          <a:cs typeface="+mn-cs"/>
                        </a:rPr>
                        <a:t>125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457200">
                <a:tc>
                  <a:txBody>
                    <a:bodyPr/>
                    <a:lstStyle/>
                    <a:p>
                      <a:pPr marL="0" indent="0" algn="ctr"/>
                      <a:endParaRPr lang="en-US" sz="1200" b="1" dirty="0" smtClean="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algn="l" defTabSz="914400" rtl="0" eaLnBrk="1" fontAlgn="b" latinLnBrk="0" hangingPunct="1"/>
                      <a:r>
                        <a:rPr lang="en-GB" sz="1400" b="0" kern="1200" dirty="0">
                          <a:solidFill>
                            <a:schemeClr val="dk2"/>
                          </a:solidFill>
                          <a:latin typeface="+mn-lt"/>
                          <a:ea typeface="+mn-ea"/>
                          <a:cs typeface="+mn-cs"/>
                        </a:rPr>
                        <a:t>China</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algn="ctr" defTabSz="914400" rtl="0" eaLnBrk="1" fontAlgn="b" latinLnBrk="0" hangingPunct="1"/>
                      <a:r>
                        <a:rPr lang="en-GB" sz="1400" b="0" kern="1200" dirty="0">
                          <a:solidFill>
                            <a:schemeClr val="dk2"/>
                          </a:solidFill>
                          <a:latin typeface="+mn-lt"/>
                          <a:ea typeface="+mn-ea"/>
                          <a:cs typeface="+mn-cs"/>
                        </a:rPr>
                        <a:t>533</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457200">
                <a:tc>
                  <a:txBody>
                    <a:bodyPr/>
                    <a:lstStyle/>
                    <a:p>
                      <a:pPr marL="0" indent="0" algn="ct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algn="l" defTabSz="914400" rtl="0" eaLnBrk="1" fontAlgn="b" latinLnBrk="0" hangingPunct="1"/>
                      <a:r>
                        <a:rPr lang="en-GB" sz="1400" b="0" kern="1200" dirty="0">
                          <a:solidFill>
                            <a:schemeClr val="dk2"/>
                          </a:solidFill>
                          <a:latin typeface="+mn-lt"/>
                          <a:ea typeface="+mn-ea"/>
                          <a:cs typeface="+mn-cs"/>
                        </a:rPr>
                        <a:t>Japan</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algn="ctr" defTabSz="914400" rtl="0" eaLnBrk="1" fontAlgn="b" latinLnBrk="0" hangingPunct="1"/>
                      <a:r>
                        <a:rPr lang="en-GB" sz="1400" b="0" kern="1200" dirty="0">
                          <a:solidFill>
                            <a:schemeClr val="dk2"/>
                          </a:solidFill>
                          <a:latin typeface="+mn-lt"/>
                          <a:ea typeface="+mn-ea"/>
                          <a:cs typeface="+mn-cs"/>
                        </a:rPr>
                        <a:t>28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457200">
                <a:tc>
                  <a:txBody>
                    <a:bodyPr/>
                    <a:lstStyle/>
                    <a:p>
                      <a:pPr marL="0" indent="0" algn="ct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algn="l" defTabSz="914400" rtl="0" eaLnBrk="1" fontAlgn="b" latinLnBrk="0" hangingPunct="1"/>
                      <a:r>
                        <a:rPr lang="en-GB" sz="1400" b="0" kern="1200" dirty="0">
                          <a:solidFill>
                            <a:schemeClr val="dk2"/>
                          </a:solidFill>
                          <a:latin typeface="+mn-lt"/>
                          <a:ea typeface="+mn-ea"/>
                          <a:cs typeface="+mn-cs"/>
                        </a:rPr>
                        <a:t>Cayman Islands</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algn="ctr" defTabSz="914400" rtl="0" eaLnBrk="1" fontAlgn="b" latinLnBrk="0" hangingPunct="1"/>
                      <a:r>
                        <a:rPr lang="en-GB" sz="1400" b="0" kern="1200" dirty="0">
                          <a:solidFill>
                            <a:schemeClr val="dk2"/>
                          </a:solidFill>
                          <a:latin typeface="+mn-lt"/>
                          <a:ea typeface="+mn-ea"/>
                          <a:cs typeface="+mn-cs"/>
                        </a:rPr>
                        <a:t>104</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457200">
                <a:tc>
                  <a:txBody>
                    <a:bodyPr/>
                    <a:lstStyle/>
                    <a:p>
                      <a:pPr marL="0" indent="0" algn="ct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algn="l" defTabSz="914400" rtl="0" eaLnBrk="1" fontAlgn="b" latinLnBrk="0" hangingPunct="1"/>
                      <a:r>
                        <a:rPr lang="en-GB" sz="1400" b="0" kern="1200" dirty="0">
                          <a:solidFill>
                            <a:schemeClr val="dk2"/>
                          </a:solidFill>
                          <a:latin typeface="+mn-lt"/>
                          <a:ea typeface="+mn-ea"/>
                          <a:cs typeface="+mn-cs"/>
                        </a:rPr>
                        <a:t>France</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algn="ctr" defTabSz="914400" rtl="0" eaLnBrk="1" fontAlgn="b" latinLnBrk="0" hangingPunct="1"/>
                      <a:r>
                        <a:rPr lang="en-GB" sz="1400" b="0" kern="1200" dirty="0">
                          <a:solidFill>
                            <a:schemeClr val="dk2"/>
                          </a:solidFill>
                          <a:latin typeface="+mn-lt"/>
                          <a:ea typeface="+mn-ea"/>
                          <a:cs typeface="+mn-cs"/>
                        </a:rPr>
                        <a:t>8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457200">
                <a:tc>
                  <a:txBody>
                    <a:bodyPr/>
                    <a:lstStyle/>
                    <a:p>
                      <a:pPr marL="0" indent="0" algn="ct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algn="l" defTabSz="914400" rtl="0" eaLnBrk="1" fontAlgn="b" latinLnBrk="0" hangingPunct="1"/>
                      <a:r>
                        <a:rPr lang="en-GB" sz="1400" b="0" kern="1200">
                          <a:solidFill>
                            <a:schemeClr val="dk2"/>
                          </a:solidFill>
                          <a:latin typeface="+mn-lt"/>
                          <a:ea typeface="+mn-ea"/>
                          <a:cs typeface="+mn-cs"/>
                        </a:rPr>
                        <a:t>Taiwan</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algn="ctr" defTabSz="914400" rtl="0" eaLnBrk="1" fontAlgn="b" latinLnBrk="0" hangingPunct="1"/>
                      <a:r>
                        <a:rPr lang="en-GB" sz="1400" b="0" kern="1200" dirty="0">
                          <a:solidFill>
                            <a:schemeClr val="dk2"/>
                          </a:solidFill>
                          <a:latin typeface="+mn-lt"/>
                          <a:ea typeface="+mn-ea"/>
                          <a:cs typeface="+mn-cs"/>
                        </a:rPr>
                        <a:t>80</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457200">
                <a:tc>
                  <a:txBody>
                    <a:bodyPr/>
                    <a:lstStyle/>
                    <a:p>
                      <a:pPr marL="0" indent="0" algn="ct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algn="l" defTabSz="914400" rtl="0" eaLnBrk="1" fontAlgn="b" latinLnBrk="0" hangingPunct="1"/>
                      <a:r>
                        <a:rPr lang="en-GB" sz="1400" b="0" kern="1200">
                          <a:solidFill>
                            <a:schemeClr val="dk2"/>
                          </a:solidFill>
                          <a:latin typeface="+mn-lt"/>
                          <a:ea typeface="+mn-ea"/>
                          <a:cs typeface="+mn-cs"/>
                        </a:rPr>
                        <a:t>Denmark</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algn="ctr" defTabSz="914400" rtl="0" eaLnBrk="1" fontAlgn="b" latinLnBrk="0" hangingPunct="1"/>
                      <a:r>
                        <a:rPr lang="en-GB" sz="1400" b="0" kern="1200" dirty="0">
                          <a:solidFill>
                            <a:schemeClr val="dk2"/>
                          </a:solidFill>
                          <a:latin typeface="+mn-lt"/>
                          <a:ea typeface="+mn-ea"/>
                          <a:cs typeface="+mn-cs"/>
                        </a:rPr>
                        <a:t>78</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457200">
                <a:tc>
                  <a:txBody>
                    <a:bodyPr/>
                    <a:lstStyle/>
                    <a:p>
                      <a:pPr marL="0" indent="0" algn="ct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algn="l" defTabSz="914400" rtl="0" eaLnBrk="1" fontAlgn="b" latinLnBrk="0" hangingPunct="1"/>
                      <a:r>
                        <a:rPr lang="en-GB" sz="1400" b="0" kern="1200">
                          <a:solidFill>
                            <a:schemeClr val="dk2"/>
                          </a:solidFill>
                          <a:latin typeface="+mn-lt"/>
                          <a:ea typeface="+mn-ea"/>
                          <a:cs typeface="+mn-cs"/>
                        </a:rPr>
                        <a:t>United Kingdom</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algn="ctr" defTabSz="914400" rtl="0" eaLnBrk="1" fontAlgn="b" latinLnBrk="0" hangingPunct="1"/>
                      <a:r>
                        <a:rPr lang="en-GB" sz="1400" b="0" kern="1200" dirty="0">
                          <a:solidFill>
                            <a:schemeClr val="dk2"/>
                          </a:solidFill>
                          <a:latin typeface="+mn-lt"/>
                          <a:ea typeface="+mn-ea"/>
                          <a:cs typeface="+mn-cs"/>
                        </a:rPr>
                        <a:t>77</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457200">
                <a:tc>
                  <a:txBody>
                    <a:bodyPr/>
                    <a:lstStyle/>
                    <a:p>
                      <a:pPr marL="0" indent="0" algn="ct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algn="l" defTabSz="914400" rtl="0" eaLnBrk="1" fontAlgn="b" latinLnBrk="0" hangingPunct="1"/>
                      <a:r>
                        <a:rPr lang="en-GB" sz="1400" b="0" kern="1200" dirty="0">
                          <a:solidFill>
                            <a:schemeClr val="dk2"/>
                          </a:solidFill>
                          <a:latin typeface="+mn-lt"/>
                          <a:ea typeface="+mn-ea"/>
                          <a:cs typeface="+mn-cs"/>
                        </a:rPr>
                        <a:t>Germany</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marL="0" algn="ctr" defTabSz="914400" rtl="0" eaLnBrk="1" fontAlgn="b" latinLnBrk="0" hangingPunct="1"/>
                      <a:r>
                        <a:rPr lang="en-GB" sz="1400" b="0" kern="1200" dirty="0">
                          <a:solidFill>
                            <a:schemeClr val="dk2"/>
                          </a:solidFill>
                          <a:latin typeface="+mn-lt"/>
                          <a:ea typeface="+mn-ea"/>
                          <a:cs typeface="+mn-cs"/>
                        </a:rPr>
                        <a:t>71</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r h="457200">
                <a:tc>
                  <a:txBody>
                    <a:bodyPr/>
                    <a:lstStyle/>
                    <a:p>
                      <a:pPr marL="0" indent="0" algn="ctr"/>
                      <a:endParaRPr lang="en-US" sz="1200" b="1" dirty="0">
                        <a:solidFill>
                          <a:schemeClr val="dk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algn="l" fontAlgn="t"/>
                      <a:r>
                        <a:rPr lang="en-GB" sz="1400" b="0" kern="1200" dirty="0">
                          <a:solidFill>
                            <a:schemeClr val="dk2"/>
                          </a:solidFill>
                          <a:latin typeface="+mn-lt"/>
                          <a:ea typeface="+mn-ea"/>
                          <a:cs typeface="+mn-cs"/>
                        </a:rPr>
                        <a:t>Canada</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c>
                  <a:txBody>
                    <a:bodyPr/>
                    <a:lstStyle/>
                    <a:p>
                      <a:pPr algn="ctr" fontAlgn="b"/>
                      <a:r>
                        <a:rPr lang="en-GB" sz="1400" b="0" kern="1200" dirty="0" smtClean="0">
                          <a:solidFill>
                            <a:schemeClr val="dk2"/>
                          </a:solidFill>
                          <a:latin typeface="+mn-lt"/>
                          <a:ea typeface="+mn-ea"/>
                          <a:cs typeface="+mn-cs"/>
                        </a:rPr>
                        <a:t>69</a:t>
                      </a:r>
                      <a:endParaRPr lang="en-GB" sz="1400" b="0" kern="1200" dirty="0">
                        <a:solidFill>
                          <a:schemeClr val="dk2"/>
                        </a:solidFill>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40000"/>
                      </a:schemeClr>
                    </a:solidFill>
                  </a:tcPr>
                </a:tc>
              </a:tr>
            </a:tbl>
          </a:graphicData>
        </a:graphic>
      </p:graphicFrame>
      <p:cxnSp>
        <p:nvCxnSpPr>
          <p:cNvPr id="67" name="Straight Connector 66"/>
          <p:cNvCxnSpPr/>
          <p:nvPr/>
        </p:nvCxnSpPr>
        <p:spPr>
          <a:xfrm flipV="1">
            <a:off x="413664" y="1775839"/>
            <a:ext cx="3125191" cy="5294"/>
          </a:xfrm>
          <a:prstGeom prst="line">
            <a:avLst/>
          </a:prstGeom>
          <a:ln w="12700"/>
        </p:spPr>
        <p:style>
          <a:lnRef idx="1">
            <a:schemeClr val="accent3"/>
          </a:lnRef>
          <a:fillRef idx="0">
            <a:schemeClr val="accent3"/>
          </a:fillRef>
          <a:effectRef idx="0">
            <a:schemeClr val="accent3"/>
          </a:effectRef>
          <a:fontRef idx="minor">
            <a:schemeClr val="tx1"/>
          </a:fontRef>
        </p:style>
      </p:cxnSp>
      <p:grpSp>
        <p:nvGrpSpPr>
          <p:cNvPr id="12" name="Group 11"/>
          <p:cNvGrpSpPr/>
          <p:nvPr/>
        </p:nvGrpSpPr>
        <p:grpSpPr>
          <a:xfrm>
            <a:off x="668710" y="1884584"/>
            <a:ext cx="310896" cy="4396762"/>
            <a:chOff x="668710" y="1884584"/>
            <a:chExt cx="310896" cy="4396762"/>
          </a:xfrm>
        </p:grpSpPr>
        <p:grpSp>
          <p:nvGrpSpPr>
            <p:cNvPr id="11" name="Group 10"/>
            <p:cNvGrpSpPr/>
            <p:nvPr/>
          </p:nvGrpSpPr>
          <p:grpSpPr>
            <a:xfrm>
              <a:off x="668710" y="1884584"/>
              <a:ext cx="310896" cy="341806"/>
              <a:chOff x="4751990" y="3133870"/>
              <a:chExt cx="350393" cy="396000"/>
            </a:xfrm>
          </p:grpSpPr>
          <p:sp>
            <p:nvSpPr>
              <p:cNvPr id="9" name="Parallelogram 8"/>
              <p:cNvSpPr/>
              <p:nvPr/>
            </p:nvSpPr>
            <p:spPr>
              <a:xfrm>
                <a:off x="4751990" y="3133870"/>
                <a:ext cx="350393" cy="396000"/>
              </a:xfrm>
              <a:prstGeom prst="parallelogram">
                <a:avLst/>
              </a:prstGeom>
              <a:solidFill>
                <a:srgbClr val="A8D2E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10" name="TextBox 9"/>
              <p:cNvSpPr txBox="1"/>
              <p:nvPr/>
            </p:nvSpPr>
            <p:spPr>
              <a:xfrm>
                <a:off x="4868288" y="3239537"/>
                <a:ext cx="117795" cy="213945"/>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US" sz="1200" dirty="0">
                    <a:solidFill>
                      <a:schemeClr val="dk2"/>
                    </a:solidFill>
                  </a:rPr>
                  <a:t>1</a:t>
                </a:r>
                <a:endParaRPr lang="en-GB" sz="1200" dirty="0" err="1">
                  <a:solidFill>
                    <a:schemeClr val="dk2"/>
                  </a:solidFill>
                </a:endParaRPr>
              </a:p>
            </p:txBody>
          </p:sp>
        </p:grpSp>
        <p:grpSp>
          <p:nvGrpSpPr>
            <p:cNvPr id="69" name="Group 68"/>
            <p:cNvGrpSpPr/>
            <p:nvPr/>
          </p:nvGrpSpPr>
          <p:grpSpPr>
            <a:xfrm>
              <a:off x="668710" y="2335135"/>
              <a:ext cx="310896" cy="341806"/>
              <a:chOff x="4751990" y="3133870"/>
              <a:chExt cx="350393" cy="396000"/>
            </a:xfrm>
          </p:grpSpPr>
          <p:sp>
            <p:nvSpPr>
              <p:cNvPr id="70" name="Parallelogram 69"/>
              <p:cNvSpPr/>
              <p:nvPr/>
            </p:nvSpPr>
            <p:spPr>
              <a:xfrm>
                <a:off x="4751990" y="3133870"/>
                <a:ext cx="350393" cy="396000"/>
              </a:xfrm>
              <a:prstGeom prst="parallelogram">
                <a:avLst/>
              </a:prstGeom>
              <a:solidFill>
                <a:srgbClr val="A8D2E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71" name="TextBox 70"/>
              <p:cNvSpPr txBox="1"/>
              <p:nvPr/>
            </p:nvSpPr>
            <p:spPr>
              <a:xfrm>
                <a:off x="4868288" y="3239537"/>
                <a:ext cx="117795" cy="213945"/>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US" sz="1200" dirty="0" smtClean="0">
                    <a:solidFill>
                      <a:schemeClr val="dk2"/>
                    </a:solidFill>
                  </a:rPr>
                  <a:t>2</a:t>
                </a:r>
                <a:endParaRPr lang="en-GB" sz="1200" dirty="0" err="1">
                  <a:solidFill>
                    <a:schemeClr val="dk2"/>
                  </a:solidFill>
                </a:endParaRPr>
              </a:p>
            </p:txBody>
          </p:sp>
        </p:grpSp>
        <p:grpSp>
          <p:nvGrpSpPr>
            <p:cNvPr id="72" name="Group 71"/>
            <p:cNvGrpSpPr/>
            <p:nvPr/>
          </p:nvGrpSpPr>
          <p:grpSpPr>
            <a:xfrm>
              <a:off x="669604" y="2785686"/>
              <a:ext cx="309108" cy="341806"/>
              <a:chOff x="4751990" y="3133870"/>
              <a:chExt cx="350393" cy="396000"/>
            </a:xfrm>
          </p:grpSpPr>
          <p:sp>
            <p:nvSpPr>
              <p:cNvPr id="73" name="Parallelogram 72"/>
              <p:cNvSpPr/>
              <p:nvPr/>
            </p:nvSpPr>
            <p:spPr>
              <a:xfrm>
                <a:off x="4751990" y="3133870"/>
                <a:ext cx="350393" cy="396000"/>
              </a:xfrm>
              <a:prstGeom prst="parallelogram">
                <a:avLst/>
              </a:prstGeom>
              <a:solidFill>
                <a:srgbClr val="A8D2E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74" name="TextBox 73"/>
              <p:cNvSpPr txBox="1"/>
              <p:nvPr/>
            </p:nvSpPr>
            <p:spPr>
              <a:xfrm>
                <a:off x="4868288" y="3239537"/>
                <a:ext cx="117795" cy="213945"/>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US" sz="1200" dirty="0" smtClean="0">
                    <a:solidFill>
                      <a:schemeClr val="dk2"/>
                    </a:solidFill>
                  </a:rPr>
                  <a:t>3</a:t>
                </a:r>
                <a:endParaRPr lang="en-GB" sz="1200" dirty="0" err="1">
                  <a:solidFill>
                    <a:schemeClr val="dk2"/>
                  </a:solidFill>
                </a:endParaRPr>
              </a:p>
            </p:txBody>
          </p:sp>
        </p:grpSp>
        <p:grpSp>
          <p:nvGrpSpPr>
            <p:cNvPr id="75" name="Group 74"/>
            <p:cNvGrpSpPr/>
            <p:nvPr/>
          </p:nvGrpSpPr>
          <p:grpSpPr>
            <a:xfrm>
              <a:off x="669604" y="3236237"/>
              <a:ext cx="309108" cy="341806"/>
              <a:chOff x="4751990" y="3133870"/>
              <a:chExt cx="350393" cy="396000"/>
            </a:xfrm>
          </p:grpSpPr>
          <p:sp>
            <p:nvSpPr>
              <p:cNvPr id="76" name="Parallelogram 75"/>
              <p:cNvSpPr/>
              <p:nvPr/>
            </p:nvSpPr>
            <p:spPr>
              <a:xfrm>
                <a:off x="4751990" y="3133870"/>
                <a:ext cx="350393" cy="396000"/>
              </a:xfrm>
              <a:prstGeom prst="parallelogram">
                <a:avLst/>
              </a:prstGeom>
              <a:solidFill>
                <a:srgbClr val="A8D2E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77" name="TextBox 76"/>
              <p:cNvSpPr txBox="1"/>
              <p:nvPr/>
            </p:nvSpPr>
            <p:spPr>
              <a:xfrm>
                <a:off x="4868288" y="3239537"/>
                <a:ext cx="117795" cy="213945"/>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US" sz="1200" dirty="0" smtClean="0">
                    <a:solidFill>
                      <a:schemeClr val="dk2"/>
                    </a:solidFill>
                  </a:rPr>
                  <a:t>4</a:t>
                </a:r>
                <a:endParaRPr lang="en-GB" sz="1200" dirty="0" err="1">
                  <a:solidFill>
                    <a:schemeClr val="dk2"/>
                  </a:solidFill>
                </a:endParaRPr>
              </a:p>
            </p:txBody>
          </p:sp>
        </p:grpSp>
        <p:grpSp>
          <p:nvGrpSpPr>
            <p:cNvPr id="78" name="Group 77"/>
            <p:cNvGrpSpPr/>
            <p:nvPr/>
          </p:nvGrpSpPr>
          <p:grpSpPr>
            <a:xfrm>
              <a:off x="669604" y="3686788"/>
              <a:ext cx="309108" cy="341806"/>
              <a:chOff x="4751990" y="3133870"/>
              <a:chExt cx="350393" cy="396000"/>
            </a:xfrm>
          </p:grpSpPr>
          <p:sp>
            <p:nvSpPr>
              <p:cNvPr id="79" name="Parallelogram 78"/>
              <p:cNvSpPr/>
              <p:nvPr/>
            </p:nvSpPr>
            <p:spPr>
              <a:xfrm>
                <a:off x="4751990" y="3133870"/>
                <a:ext cx="350393" cy="396000"/>
              </a:xfrm>
              <a:prstGeom prst="parallelogram">
                <a:avLst/>
              </a:prstGeom>
              <a:solidFill>
                <a:srgbClr val="A8D2E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80" name="TextBox 79"/>
              <p:cNvSpPr txBox="1"/>
              <p:nvPr/>
            </p:nvSpPr>
            <p:spPr>
              <a:xfrm>
                <a:off x="4868288" y="3239537"/>
                <a:ext cx="117795" cy="213945"/>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US" sz="1200" dirty="0" smtClean="0">
                    <a:solidFill>
                      <a:schemeClr val="dk2"/>
                    </a:solidFill>
                  </a:rPr>
                  <a:t>5</a:t>
                </a:r>
                <a:endParaRPr lang="en-GB" sz="1200" dirty="0" err="1">
                  <a:solidFill>
                    <a:schemeClr val="dk2"/>
                  </a:solidFill>
                </a:endParaRPr>
              </a:p>
            </p:txBody>
          </p:sp>
        </p:grpSp>
        <p:grpSp>
          <p:nvGrpSpPr>
            <p:cNvPr id="81" name="Group 80"/>
            <p:cNvGrpSpPr/>
            <p:nvPr/>
          </p:nvGrpSpPr>
          <p:grpSpPr>
            <a:xfrm>
              <a:off x="669604" y="4137339"/>
              <a:ext cx="309108" cy="341806"/>
              <a:chOff x="4751990" y="3133870"/>
              <a:chExt cx="350393" cy="396000"/>
            </a:xfrm>
          </p:grpSpPr>
          <p:sp>
            <p:nvSpPr>
              <p:cNvPr id="82" name="Parallelogram 81"/>
              <p:cNvSpPr/>
              <p:nvPr/>
            </p:nvSpPr>
            <p:spPr>
              <a:xfrm>
                <a:off x="4751990" y="3133870"/>
                <a:ext cx="350393" cy="396000"/>
              </a:xfrm>
              <a:prstGeom prst="parallelogram">
                <a:avLst/>
              </a:prstGeom>
              <a:solidFill>
                <a:srgbClr val="A8D2E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83" name="TextBox 82"/>
              <p:cNvSpPr txBox="1"/>
              <p:nvPr/>
            </p:nvSpPr>
            <p:spPr>
              <a:xfrm>
                <a:off x="4868288" y="3239537"/>
                <a:ext cx="117795" cy="213945"/>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US" sz="1200" dirty="0" smtClean="0">
                    <a:solidFill>
                      <a:schemeClr val="dk2"/>
                    </a:solidFill>
                  </a:rPr>
                  <a:t>6</a:t>
                </a:r>
                <a:endParaRPr lang="en-GB" sz="1200" dirty="0" err="1">
                  <a:solidFill>
                    <a:schemeClr val="dk2"/>
                  </a:solidFill>
                </a:endParaRPr>
              </a:p>
            </p:txBody>
          </p:sp>
        </p:grpSp>
        <p:grpSp>
          <p:nvGrpSpPr>
            <p:cNvPr id="84" name="Group 83"/>
            <p:cNvGrpSpPr/>
            <p:nvPr/>
          </p:nvGrpSpPr>
          <p:grpSpPr>
            <a:xfrm>
              <a:off x="669604" y="4587890"/>
              <a:ext cx="309108" cy="341806"/>
              <a:chOff x="4751990" y="3133870"/>
              <a:chExt cx="350393" cy="396000"/>
            </a:xfrm>
          </p:grpSpPr>
          <p:sp>
            <p:nvSpPr>
              <p:cNvPr id="85" name="Parallelogram 84"/>
              <p:cNvSpPr/>
              <p:nvPr/>
            </p:nvSpPr>
            <p:spPr>
              <a:xfrm>
                <a:off x="4751990" y="3133870"/>
                <a:ext cx="350393" cy="396000"/>
              </a:xfrm>
              <a:prstGeom prst="parallelogram">
                <a:avLst/>
              </a:prstGeom>
              <a:solidFill>
                <a:srgbClr val="A8D2E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86" name="TextBox 85"/>
              <p:cNvSpPr txBox="1"/>
              <p:nvPr/>
            </p:nvSpPr>
            <p:spPr>
              <a:xfrm>
                <a:off x="4868288" y="3239537"/>
                <a:ext cx="117795" cy="213945"/>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US" sz="1200" dirty="0" smtClean="0">
                    <a:solidFill>
                      <a:schemeClr val="dk2"/>
                    </a:solidFill>
                  </a:rPr>
                  <a:t>7</a:t>
                </a:r>
                <a:endParaRPr lang="en-GB" sz="1200" dirty="0" err="1">
                  <a:solidFill>
                    <a:schemeClr val="dk2"/>
                  </a:solidFill>
                </a:endParaRPr>
              </a:p>
            </p:txBody>
          </p:sp>
        </p:grpSp>
        <p:grpSp>
          <p:nvGrpSpPr>
            <p:cNvPr id="87" name="Group 86"/>
            <p:cNvGrpSpPr/>
            <p:nvPr/>
          </p:nvGrpSpPr>
          <p:grpSpPr>
            <a:xfrm>
              <a:off x="669604" y="5038441"/>
              <a:ext cx="309108" cy="341806"/>
              <a:chOff x="4751990" y="3133870"/>
              <a:chExt cx="350393" cy="396000"/>
            </a:xfrm>
          </p:grpSpPr>
          <p:sp>
            <p:nvSpPr>
              <p:cNvPr id="88" name="Parallelogram 87"/>
              <p:cNvSpPr/>
              <p:nvPr/>
            </p:nvSpPr>
            <p:spPr>
              <a:xfrm>
                <a:off x="4751990" y="3133870"/>
                <a:ext cx="350393" cy="396000"/>
              </a:xfrm>
              <a:prstGeom prst="parallelogram">
                <a:avLst/>
              </a:prstGeom>
              <a:solidFill>
                <a:srgbClr val="A8D2E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89" name="TextBox 88"/>
              <p:cNvSpPr txBox="1"/>
              <p:nvPr/>
            </p:nvSpPr>
            <p:spPr>
              <a:xfrm>
                <a:off x="4868288" y="3239537"/>
                <a:ext cx="117795" cy="213945"/>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US" sz="1200" dirty="0" smtClean="0">
                    <a:solidFill>
                      <a:schemeClr val="dk2"/>
                    </a:solidFill>
                  </a:rPr>
                  <a:t>8</a:t>
                </a:r>
                <a:endParaRPr lang="en-GB" sz="1200" dirty="0" err="1">
                  <a:solidFill>
                    <a:schemeClr val="dk2"/>
                  </a:solidFill>
                </a:endParaRPr>
              </a:p>
            </p:txBody>
          </p:sp>
        </p:grpSp>
        <p:grpSp>
          <p:nvGrpSpPr>
            <p:cNvPr id="90" name="Group 89"/>
            <p:cNvGrpSpPr/>
            <p:nvPr/>
          </p:nvGrpSpPr>
          <p:grpSpPr>
            <a:xfrm>
              <a:off x="669604" y="5488992"/>
              <a:ext cx="309108" cy="341806"/>
              <a:chOff x="4751990" y="3133870"/>
              <a:chExt cx="350393" cy="396000"/>
            </a:xfrm>
          </p:grpSpPr>
          <p:sp>
            <p:nvSpPr>
              <p:cNvPr id="91" name="Parallelogram 90"/>
              <p:cNvSpPr/>
              <p:nvPr/>
            </p:nvSpPr>
            <p:spPr>
              <a:xfrm>
                <a:off x="4751990" y="3133870"/>
                <a:ext cx="350393" cy="396000"/>
              </a:xfrm>
              <a:prstGeom prst="parallelogram">
                <a:avLst/>
              </a:prstGeom>
              <a:solidFill>
                <a:srgbClr val="A8D2E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92" name="TextBox 91"/>
              <p:cNvSpPr txBox="1"/>
              <p:nvPr/>
            </p:nvSpPr>
            <p:spPr>
              <a:xfrm>
                <a:off x="4868288" y="3239537"/>
                <a:ext cx="117795" cy="213945"/>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US" sz="1200" dirty="0" smtClean="0">
                    <a:solidFill>
                      <a:schemeClr val="dk2"/>
                    </a:solidFill>
                  </a:rPr>
                  <a:t>9</a:t>
                </a:r>
                <a:endParaRPr lang="en-GB" sz="1200" dirty="0" err="1">
                  <a:solidFill>
                    <a:schemeClr val="dk2"/>
                  </a:solidFill>
                </a:endParaRPr>
              </a:p>
            </p:txBody>
          </p:sp>
        </p:grpSp>
        <p:grpSp>
          <p:nvGrpSpPr>
            <p:cNvPr id="93" name="Group 92"/>
            <p:cNvGrpSpPr/>
            <p:nvPr/>
          </p:nvGrpSpPr>
          <p:grpSpPr>
            <a:xfrm>
              <a:off x="669604" y="5939540"/>
              <a:ext cx="309108" cy="341806"/>
              <a:chOff x="4751990" y="3133870"/>
              <a:chExt cx="350393" cy="396000"/>
            </a:xfrm>
          </p:grpSpPr>
          <p:sp>
            <p:nvSpPr>
              <p:cNvPr id="103" name="Parallelogram 102"/>
              <p:cNvSpPr/>
              <p:nvPr/>
            </p:nvSpPr>
            <p:spPr>
              <a:xfrm>
                <a:off x="4751990" y="3133870"/>
                <a:ext cx="350393" cy="396000"/>
              </a:xfrm>
              <a:prstGeom prst="parallelogram">
                <a:avLst/>
              </a:prstGeom>
              <a:solidFill>
                <a:srgbClr val="A8D2E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smtClean="0">
                  <a:solidFill>
                    <a:schemeClr val="tx1"/>
                  </a:solidFill>
                </a:endParaRPr>
              </a:p>
            </p:txBody>
          </p:sp>
          <p:sp>
            <p:nvSpPr>
              <p:cNvPr id="104" name="TextBox 103"/>
              <p:cNvSpPr txBox="1"/>
              <p:nvPr/>
            </p:nvSpPr>
            <p:spPr>
              <a:xfrm>
                <a:off x="4810872" y="3230964"/>
                <a:ext cx="234095" cy="213945"/>
              </a:xfrm>
              <a:prstGeom prst="rect">
                <a:avLst/>
              </a:prstGeom>
              <a:noFill/>
              <a:ln w="6350" cap="rnd">
                <a:noFill/>
              </a:ln>
            </p:spPr>
            <p:txBody>
              <a:bodyPr wrap="square" lIns="0" tIns="0" rIns="0" bIns="0" rtlCol="0">
                <a:spAutoFit/>
              </a:bodyPr>
              <a:lstStyle/>
              <a:p>
                <a:pPr marL="0" indent="0" algn="l" defTabSz="914400" rtl="0" eaLnBrk="1" latinLnBrk="0" hangingPunct="1">
                  <a:lnSpc>
                    <a:spcPct val="100000"/>
                  </a:lnSpc>
                  <a:spcBef>
                    <a:spcPts val="0"/>
                  </a:spcBef>
                  <a:buClr>
                    <a:schemeClr val="accent1"/>
                  </a:buClr>
                  <a:buFont typeface="Danske Text" panose="00000400000000000000" pitchFamily="2" charset="0"/>
                  <a:buNone/>
                </a:pPr>
                <a:r>
                  <a:rPr lang="en-GB" sz="1200" dirty="0" smtClean="0">
                    <a:solidFill>
                      <a:schemeClr val="dk2"/>
                    </a:solidFill>
                  </a:rPr>
                  <a:t>10</a:t>
                </a:r>
                <a:endParaRPr lang="en-GB" sz="1200" dirty="0">
                  <a:solidFill>
                    <a:schemeClr val="dk2"/>
                  </a:solidFill>
                </a:endParaRPr>
              </a:p>
            </p:txBody>
          </p:sp>
        </p:grpSp>
      </p:grpSp>
      <p:grpSp>
        <p:nvGrpSpPr>
          <p:cNvPr id="68" name="Group 67"/>
          <p:cNvGrpSpPr>
            <a:grpSpLocks noChangeAspect="1"/>
          </p:cNvGrpSpPr>
          <p:nvPr/>
        </p:nvGrpSpPr>
        <p:grpSpPr>
          <a:xfrm>
            <a:off x="431900" y="192024"/>
            <a:ext cx="3049382" cy="468077"/>
            <a:chOff x="497821" y="2419091"/>
            <a:chExt cx="7559999" cy="1160451"/>
          </a:xfrm>
        </p:grpSpPr>
        <p:sp>
          <p:nvSpPr>
            <p:cNvPr id="108" name="Rectangle 107"/>
            <p:cNvSpPr/>
            <p:nvPr/>
          </p:nvSpPr>
          <p:spPr>
            <a:xfrm>
              <a:off x="497821" y="2419091"/>
              <a:ext cx="7559999" cy="1160451"/>
            </a:xfrm>
            <a:prstGeom prst="rect">
              <a:avLst/>
            </a:prstGeom>
            <a:solidFill>
              <a:srgbClr val="F0F7FA">
                <a:alpha val="6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600" dirty="0">
                <a:solidFill>
                  <a:srgbClr val="000000"/>
                </a:solidFill>
              </a:endParaRPr>
            </a:p>
          </p:txBody>
        </p:sp>
        <p:sp>
          <p:nvSpPr>
            <p:cNvPr id="109" name="TextBox 108"/>
            <p:cNvSpPr txBox="1"/>
            <p:nvPr/>
          </p:nvSpPr>
          <p:spPr>
            <a:xfrm>
              <a:off x="1556279" y="2922371"/>
              <a:ext cx="2885810" cy="153888"/>
            </a:xfrm>
            <a:prstGeom prst="rect">
              <a:avLst/>
            </a:prstGeom>
            <a:noFill/>
          </p:spPr>
          <p:txBody>
            <a:bodyPr wrap="square" lIns="0" tIns="0" rIns="0" bIns="0" rtlCol="0" anchor="ctr" anchorCtr="0">
              <a:spAutoFit/>
            </a:bodyPr>
            <a:lstStyle/>
            <a:p>
              <a:r>
                <a:rPr lang="en-US" sz="1000" b="1" dirty="0" smtClean="0">
                  <a:solidFill>
                    <a:srgbClr val="003755"/>
                  </a:solidFill>
                </a:rPr>
                <a:t>Meetings</a:t>
              </a:r>
              <a:endParaRPr lang="en-US" sz="1000" b="1" dirty="0">
                <a:solidFill>
                  <a:srgbClr val="003755"/>
                </a:solidFill>
              </a:endParaRPr>
            </a:p>
          </p:txBody>
        </p:sp>
        <p:sp>
          <p:nvSpPr>
            <p:cNvPr id="110" name="Oval 109"/>
            <p:cNvSpPr/>
            <p:nvPr/>
          </p:nvSpPr>
          <p:spPr>
            <a:xfrm>
              <a:off x="539533" y="2666099"/>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chemeClr val="tx1"/>
                </a:solidFill>
              </a:endParaRPr>
            </a:p>
          </p:txBody>
        </p:sp>
        <p:sp>
          <p:nvSpPr>
            <p:cNvPr id="111" name="Rectangle 110"/>
            <p:cNvSpPr/>
            <p:nvPr/>
          </p:nvSpPr>
          <p:spPr>
            <a:xfrm>
              <a:off x="1402978" y="2759776"/>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rgbClr val="000000"/>
                </a:solidFill>
              </a:endParaRPr>
            </a:p>
          </p:txBody>
        </p:sp>
        <p:sp>
          <p:nvSpPr>
            <p:cNvPr id="112" name="Overview meeting"/>
            <p:cNvSpPr>
              <a:spLocks noChangeAspect="1"/>
            </p:cNvSpPr>
            <p:nvPr>
              <p:custDataLst>
                <p:tags r:id="rId3"/>
              </p:custDataLst>
            </p:nvPr>
          </p:nvSpPr>
          <p:spPr bwMode="auto">
            <a:xfrm>
              <a:off x="656398" y="2798237"/>
              <a:ext cx="402645" cy="402159"/>
            </a:xfrm>
            <a:custGeom>
              <a:avLst/>
              <a:gdLst>
                <a:gd name="connsiteX0" fmla="*/ 336246 w 1317625"/>
                <a:gd name="connsiteY0" fmla="*/ 301625 h 1316038"/>
                <a:gd name="connsiteX1" fmla="*/ 222796 w 1317625"/>
                <a:gd name="connsiteY1" fmla="*/ 415221 h 1316038"/>
                <a:gd name="connsiteX2" fmla="*/ 294648 w 1317625"/>
                <a:gd name="connsiteY2" fmla="*/ 525030 h 1316038"/>
                <a:gd name="connsiteX3" fmla="*/ 309775 w 1317625"/>
                <a:gd name="connsiteY3" fmla="*/ 543963 h 1316038"/>
                <a:gd name="connsiteX4" fmla="*/ 309775 w 1317625"/>
                <a:gd name="connsiteY4" fmla="*/ 657559 h 1316038"/>
                <a:gd name="connsiteX5" fmla="*/ 287084 w 1317625"/>
                <a:gd name="connsiteY5" fmla="*/ 680278 h 1316038"/>
                <a:gd name="connsiteX6" fmla="*/ 41275 w 1317625"/>
                <a:gd name="connsiteY6" fmla="*/ 680278 h 1316038"/>
                <a:gd name="connsiteX7" fmla="*/ 41275 w 1317625"/>
                <a:gd name="connsiteY7" fmla="*/ 1274763 h 1316038"/>
                <a:gd name="connsiteX8" fmla="*/ 635000 w 1317625"/>
                <a:gd name="connsiteY8" fmla="*/ 1274763 h 1316038"/>
                <a:gd name="connsiteX9" fmla="*/ 635000 w 1317625"/>
                <a:gd name="connsiteY9" fmla="*/ 1051358 h 1316038"/>
                <a:gd name="connsiteX10" fmla="*/ 555584 w 1317625"/>
                <a:gd name="connsiteY10" fmla="*/ 1051358 h 1316038"/>
                <a:gd name="connsiteX11" fmla="*/ 415662 w 1317625"/>
                <a:gd name="connsiteY11" fmla="*/ 1138448 h 1316038"/>
                <a:gd name="connsiteX12" fmla="*/ 256831 w 1317625"/>
                <a:gd name="connsiteY12" fmla="*/ 979414 h 1316038"/>
                <a:gd name="connsiteX13" fmla="*/ 415662 w 1317625"/>
                <a:gd name="connsiteY13" fmla="*/ 820380 h 1316038"/>
                <a:gd name="connsiteX14" fmla="*/ 555584 w 1317625"/>
                <a:gd name="connsiteY14" fmla="*/ 907470 h 1316038"/>
                <a:gd name="connsiteX15" fmla="*/ 635000 w 1317625"/>
                <a:gd name="connsiteY15" fmla="*/ 907470 h 1316038"/>
                <a:gd name="connsiteX16" fmla="*/ 635000 w 1317625"/>
                <a:gd name="connsiteY16" fmla="*/ 680278 h 1316038"/>
                <a:gd name="connsiteX17" fmla="*/ 389190 w 1317625"/>
                <a:gd name="connsiteY17" fmla="*/ 680278 h 1316038"/>
                <a:gd name="connsiteX18" fmla="*/ 366500 w 1317625"/>
                <a:gd name="connsiteY18" fmla="*/ 657559 h 1316038"/>
                <a:gd name="connsiteX19" fmla="*/ 366500 w 1317625"/>
                <a:gd name="connsiteY19" fmla="*/ 543963 h 1316038"/>
                <a:gd name="connsiteX20" fmla="*/ 377845 w 1317625"/>
                <a:gd name="connsiteY20" fmla="*/ 525030 h 1316038"/>
                <a:gd name="connsiteX21" fmla="*/ 453479 w 1317625"/>
                <a:gd name="connsiteY21" fmla="*/ 415221 h 1316038"/>
                <a:gd name="connsiteX22" fmla="*/ 336246 w 1317625"/>
                <a:gd name="connsiteY22" fmla="*/ 301625 h 1316038"/>
                <a:gd name="connsiteX23" fmla="*/ 681038 w 1317625"/>
                <a:gd name="connsiteY23" fmla="*/ 44450 h 1316038"/>
                <a:gd name="connsiteX24" fmla="*/ 681038 w 1317625"/>
                <a:gd name="connsiteY24" fmla="*/ 267855 h 1316038"/>
                <a:gd name="connsiteX25" fmla="*/ 760535 w 1317625"/>
                <a:gd name="connsiteY25" fmla="*/ 267855 h 1316038"/>
                <a:gd name="connsiteX26" fmla="*/ 900602 w 1317625"/>
                <a:gd name="connsiteY26" fmla="*/ 180765 h 1316038"/>
                <a:gd name="connsiteX27" fmla="*/ 1059596 w 1317625"/>
                <a:gd name="connsiteY27" fmla="*/ 339799 h 1316038"/>
                <a:gd name="connsiteX28" fmla="*/ 900602 w 1317625"/>
                <a:gd name="connsiteY28" fmla="*/ 498834 h 1316038"/>
                <a:gd name="connsiteX29" fmla="*/ 760535 w 1317625"/>
                <a:gd name="connsiteY29" fmla="*/ 411743 h 1316038"/>
                <a:gd name="connsiteX30" fmla="*/ 681038 w 1317625"/>
                <a:gd name="connsiteY30" fmla="*/ 411743 h 1316038"/>
                <a:gd name="connsiteX31" fmla="*/ 681038 w 1317625"/>
                <a:gd name="connsiteY31" fmla="*/ 638935 h 1316038"/>
                <a:gd name="connsiteX32" fmla="*/ 927101 w 1317625"/>
                <a:gd name="connsiteY32" fmla="*/ 638935 h 1316038"/>
                <a:gd name="connsiteX33" fmla="*/ 949814 w 1317625"/>
                <a:gd name="connsiteY33" fmla="*/ 657868 h 1316038"/>
                <a:gd name="connsiteX34" fmla="*/ 949814 w 1317625"/>
                <a:gd name="connsiteY34" fmla="*/ 775250 h 1316038"/>
                <a:gd name="connsiteX35" fmla="*/ 934672 w 1317625"/>
                <a:gd name="connsiteY35" fmla="*/ 794183 h 1316038"/>
                <a:gd name="connsiteX36" fmla="*/ 862746 w 1317625"/>
                <a:gd name="connsiteY36" fmla="*/ 900206 h 1316038"/>
                <a:gd name="connsiteX37" fmla="*/ 976313 w 1317625"/>
                <a:gd name="connsiteY37" fmla="*/ 1017588 h 1316038"/>
                <a:gd name="connsiteX38" fmla="*/ 1093666 w 1317625"/>
                <a:gd name="connsiteY38" fmla="*/ 900206 h 1316038"/>
                <a:gd name="connsiteX39" fmla="*/ 1017955 w 1317625"/>
                <a:gd name="connsiteY39" fmla="*/ 794183 h 1316038"/>
                <a:gd name="connsiteX40" fmla="*/ 1006598 w 1317625"/>
                <a:gd name="connsiteY40" fmla="*/ 775250 h 1316038"/>
                <a:gd name="connsiteX41" fmla="*/ 1006598 w 1317625"/>
                <a:gd name="connsiteY41" fmla="*/ 657868 h 1316038"/>
                <a:gd name="connsiteX42" fmla="*/ 1029311 w 1317625"/>
                <a:gd name="connsiteY42" fmla="*/ 638935 h 1316038"/>
                <a:gd name="connsiteX43" fmla="*/ 1271588 w 1317625"/>
                <a:gd name="connsiteY43" fmla="*/ 638935 h 1316038"/>
                <a:gd name="connsiteX44" fmla="*/ 1271588 w 1317625"/>
                <a:gd name="connsiteY44" fmla="*/ 44450 h 1316038"/>
                <a:gd name="connsiteX45" fmla="*/ 681038 w 1317625"/>
                <a:gd name="connsiteY45" fmla="*/ 44450 h 1316038"/>
                <a:gd name="connsiteX46" fmla="*/ 41275 w 1317625"/>
                <a:gd name="connsiteY46" fmla="*/ 44450 h 1316038"/>
                <a:gd name="connsiteX47" fmla="*/ 41275 w 1317625"/>
                <a:gd name="connsiteY47" fmla="*/ 639763 h 1316038"/>
                <a:gd name="connsiteX48" fmla="*/ 268467 w 1317625"/>
                <a:gd name="connsiteY48" fmla="*/ 639763 h 1316038"/>
                <a:gd name="connsiteX49" fmla="*/ 268467 w 1317625"/>
                <a:gd name="connsiteY49" fmla="*/ 560135 h 1316038"/>
                <a:gd name="connsiteX50" fmla="*/ 181376 w 1317625"/>
                <a:gd name="connsiteY50" fmla="*/ 416047 h 1316038"/>
                <a:gd name="connsiteX51" fmla="*/ 336624 w 1317625"/>
                <a:gd name="connsiteY51" fmla="*/ 260583 h 1316038"/>
                <a:gd name="connsiteX52" fmla="*/ 495658 w 1317625"/>
                <a:gd name="connsiteY52" fmla="*/ 416047 h 1316038"/>
                <a:gd name="connsiteX53" fmla="*/ 408568 w 1317625"/>
                <a:gd name="connsiteY53" fmla="*/ 560135 h 1316038"/>
                <a:gd name="connsiteX54" fmla="*/ 408568 w 1317625"/>
                <a:gd name="connsiteY54" fmla="*/ 639763 h 1316038"/>
                <a:gd name="connsiteX55" fmla="*/ 635760 w 1317625"/>
                <a:gd name="connsiteY55" fmla="*/ 639763 h 1316038"/>
                <a:gd name="connsiteX56" fmla="*/ 635760 w 1317625"/>
                <a:gd name="connsiteY56" fmla="*/ 389504 h 1316038"/>
                <a:gd name="connsiteX57" fmla="*/ 658479 w 1317625"/>
                <a:gd name="connsiteY57" fmla="*/ 366753 h 1316038"/>
                <a:gd name="connsiteX58" fmla="*/ 772075 w 1317625"/>
                <a:gd name="connsiteY58" fmla="*/ 366753 h 1316038"/>
                <a:gd name="connsiteX59" fmla="*/ 794795 w 1317625"/>
                <a:gd name="connsiteY59" fmla="*/ 381921 h 1316038"/>
                <a:gd name="connsiteX60" fmla="*/ 900817 w 1317625"/>
                <a:gd name="connsiteY60" fmla="*/ 453965 h 1316038"/>
                <a:gd name="connsiteX61" fmla="*/ 1014413 w 1317625"/>
                <a:gd name="connsiteY61" fmla="*/ 340211 h 1316038"/>
                <a:gd name="connsiteX62" fmla="*/ 900817 w 1317625"/>
                <a:gd name="connsiteY62" fmla="*/ 226457 h 1316038"/>
                <a:gd name="connsiteX63" fmla="*/ 794795 w 1317625"/>
                <a:gd name="connsiteY63" fmla="*/ 298501 h 1316038"/>
                <a:gd name="connsiteX64" fmla="*/ 772075 w 1317625"/>
                <a:gd name="connsiteY64" fmla="*/ 309876 h 1316038"/>
                <a:gd name="connsiteX65" fmla="*/ 658479 w 1317625"/>
                <a:gd name="connsiteY65" fmla="*/ 309876 h 1316038"/>
                <a:gd name="connsiteX66" fmla="*/ 635760 w 1317625"/>
                <a:gd name="connsiteY66" fmla="*/ 290917 h 1316038"/>
                <a:gd name="connsiteX67" fmla="*/ 635760 w 1317625"/>
                <a:gd name="connsiteY67" fmla="*/ 44450 h 1316038"/>
                <a:gd name="connsiteX68" fmla="*/ 41275 w 1317625"/>
                <a:gd name="connsiteY68" fmla="*/ 44450 h 1316038"/>
                <a:gd name="connsiteX69" fmla="*/ 22717 w 1317625"/>
                <a:gd name="connsiteY69" fmla="*/ 0 h 1316038"/>
                <a:gd name="connsiteX70" fmla="*/ 1294908 w 1317625"/>
                <a:gd name="connsiteY70" fmla="*/ 0 h 1316038"/>
                <a:gd name="connsiteX71" fmla="*/ 1317625 w 1317625"/>
                <a:gd name="connsiteY71" fmla="*/ 22690 h 1316038"/>
                <a:gd name="connsiteX72" fmla="*/ 1317625 w 1317625"/>
                <a:gd name="connsiteY72" fmla="*/ 1297130 h 1316038"/>
                <a:gd name="connsiteX73" fmla="*/ 1294908 w 1317625"/>
                <a:gd name="connsiteY73" fmla="*/ 1316038 h 1316038"/>
                <a:gd name="connsiteX74" fmla="*/ 22717 w 1317625"/>
                <a:gd name="connsiteY74" fmla="*/ 1316038 h 1316038"/>
                <a:gd name="connsiteX75" fmla="*/ 0 w 1317625"/>
                <a:gd name="connsiteY75" fmla="*/ 1297130 h 1316038"/>
                <a:gd name="connsiteX76" fmla="*/ 0 w 1317625"/>
                <a:gd name="connsiteY76" fmla="*/ 22690 h 1316038"/>
                <a:gd name="connsiteX77" fmla="*/ 22717 w 1317625"/>
                <a:gd name="connsiteY77" fmla="*/ 0 h 1316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317625" h="1316038">
                  <a:moveTo>
                    <a:pt x="336246" y="301625"/>
                  </a:moveTo>
                  <a:cubicBezTo>
                    <a:pt x="275739" y="301625"/>
                    <a:pt x="222796" y="354637"/>
                    <a:pt x="222796" y="415221"/>
                  </a:cubicBezTo>
                  <a:cubicBezTo>
                    <a:pt x="222796" y="464446"/>
                    <a:pt x="253049" y="506098"/>
                    <a:pt x="294648" y="525030"/>
                  </a:cubicBezTo>
                  <a:cubicBezTo>
                    <a:pt x="305993" y="525030"/>
                    <a:pt x="309775" y="536390"/>
                    <a:pt x="309775" y="543963"/>
                  </a:cubicBezTo>
                  <a:cubicBezTo>
                    <a:pt x="309775" y="543963"/>
                    <a:pt x="309775" y="543963"/>
                    <a:pt x="309775" y="657559"/>
                  </a:cubicBezTo>
                  <a:cubicBezTo>
                    <a:pt x="309775" y="672705"/>
                    <a:pt x="298430" y="680278"/>
                    <a:pt x="287084" y="680278"/>
                  </a:cubicBezTo>
                  <a:cubicBezTo>
                    <a:pt x="287084" y="680278"/>
                    <a:pt x="287084" y="680278"/>
                    <a:pt x="41275" y="680278"/>
                  </a:cubicBezTo>
                  <a:lnTo>
                    <a:pt x="41275" y="1274763"/>
                  </a:lnTo>
                  <a:cubicBezTo>
                    <a:pt x="41275" y="1274763"/>
                    <a:pt x="41275" y="1274763"/>
                    <a:pt x="635000" y="1274763"/>
                  </a:cubicBezTo>
                  <a:cubicBezTo>
                    <a:pt x="635000" y="1274763"/>
                    <a:pt x="635000" y="1274763"/>
                    <a:pt x="635000" y="1051358"/>
                  </a:cubicBezTo>
                  <a:cubicBezTo>
                    <a:pt x="635000" y="1051358"/>
                    <a:pt x="635000" y="1051358"/>
                    <a:pt x="555584" y="1051358"/>
                  </a:cubicBezTo>
                  <a:cubicBezTo>
                    <a:pt x="529113" y="1104369"/>
                    <a:pt x="476169" y="1138448"/>
                    <a:pt x="415662" y="1138448"/>
                  </a:cubicBezTo>
                  <a:cubicBezTo>
                    <a:pt x="328683" y="1138448"/>
                    <a:pt x="256831" y="1066504"/>
                    <a:pt x="256831" y="979414"/>
                  </a:cubicBezTo>
                  <a:cubicBezTo>
                    <a:pt x="256831" y="892324"/>
                    <a:pt x="328683" y="820380"/>
                    <a:pt x="415662" y="820380"/>
                  </a:cubicBezTo>
                  <a:cubicBezTo>
                    <a:pt x="476169" y="820380"/>
                    <a:pt x="529113" y="854458"/>
                    <a:pt x="555584" y="907470"/>
                  </a:cubicBezTo>
                  <a:cubicBezTo>
                    <a:pt x="555584" y="907470"/>
                    <a:pt x="555584" y="907470"/>
                    <a:pt x="635000" y="907470"/>
                  </a:cubicBezTo>
                  <a:cubicBezTo>
                    <a:pt x="635000" y="907470"/>
                    <a:pt x="635000" y="907470"/>
                    <a:pt x="635000" y="680278"/>
                  </a:cubicBezTo>
                  <a:cubicBezTo>
                    <a:pt x="635000" y="680278"/>
                    <a:pt x="635000" y="680278"/>
                    <a:pt x="389190" y="680278"/>
                  </a:cubicBezTo>
                  <a:cubicBezTo>
                    <a:pt x="374063" y="680278"/>
                    <a:pt x="366500" y="672705"/>
                    <a:pt x="366500" y="657559"/>
                  </a:cubicBezTo>
                  <a:cubicBezTo>
                    <a:pt x="366500" y="657559"/>
                    <a:pt x="366500" y="657559"/>
                    <a:pt x="366500" y="543963"/>
                  </a:cubicBezTo>
                  <a:cubicBezTo>
                    <a:pt x="366500" y="536390"/>
                    <a:pt x="370282" y="525030"/>
                    <a:pt x="377845" y="525030"/>
                  </a:cubicBezTo>
                  <a:cubicBezTo>
                    <a:pt x="423225" y="506098"/>
                    <a:pt x="453479" y="464446"/>
                    <a:pt x="453479" y="415221"/>
                  </a:cubicBezTo>
                  <a:cubicBezTo>
                    <a:pt x="453479" y="354637"/>
                    <a:pt x="400535" y="301625"/>
                    <a:pt x="336246" y="301625"/>
                  </a:cubicBezTo>
                  <a:close/>
                  <a:moveTo>
                    <a:pt x="681038" y="44450"/>
                  </a:moveTo>
                  <a:cubicBezTo>
                    <a:pt x="681038" y="44450"/>
                    <a:pt x="681038" y="44450"/>
                    <a:pt x="681038" y="267855"/>
                  </a:cubicBezTo>
                  <a:cubicBezTo>
                    <a:pt x="681038" y="267855"/>
                    <a:pt x="681038" y="267855"/>
                    <a:pt x="760535" y="267855"/>
                  </a:cubicBezTo>
                  <a:cubicBezTo>
                    <a:pt x="787034" y="214844"/>
                    <a:pt x="840032" y="180765"/>
                    <a:pt x="900602" y="180765"/>
                  </a:cubicBezTo>
                  <a:cubicBezTo>
                    <a:pt x="987670" y="180765"/>
                    <a:pt x="1059596" y="252709"/>
                    <a:pt x="1059596" y="339799"/>
                  </a:cubicBezTo>
                  <a:cubicBezTo>
                    <a:pt x="1059596" y="426890"/>
                    <a:pt x="987670" y="498834"/>
                    <a:pt x="900602" y="498834"/>
                  </a:cubicBezTo>
                  <a:cubicBezTo>
                    <a:pt x="840032" y="498834"/>
                    <a:pt x="787034" y="464755"/>
                    <a:pt x="760535" y="411743"/>
                  </a:cubicBezTo>
                  <a:cubicBezTo>
                    <a:pt x="760535" y="411743"/>
                    <a:pt x="760535" y="411743"/>
                    <a:pt x="681038" y="411743"/>
                  </a:cubicBezTo>
                  <a:cubicBezTo>
                    <a:pt x="681038" y="411743"/>
                    <a:pt x="681038" y="411743"/>
                    <a:pt x="681038" y="638935"/>
                  </a:cubicBezTo>
                  <a:cubicBezTo>
                    <a:pt x="681038" y="638935"/>
                    <a:pt x="681038" y="638935"/>
                    <a:pt x="927101" y="638935"/>
                  </a:cubicBezTo>
                  <a:cubicBezTo>
                    <a:pt x="938457" y="638935"/>
                    <a:pt x="949814" y="646508"/>
                    <a:pt x="949814" y="657868"/>
                  </a:cubicBezTo>
                  <a:cubicBezTo>
                    <a:pt x="949814" y="657868"/>
                    <a:pt x="949814" y="657868"/>
                    <a:pt x="949814" y="775250"/>
                  </a:cubicBezTo>
                  <a:cubicBezTo>
                    <a:pt x="949814" y="782823"/>
                    <a:pt x="946029" y="790396"/>
                    <a:pt x="934672" y="794183"/>
                  </a:cubicBezTo>
                  <a:cubicBezTo>
                    <a:pt x="893031" y="813116"/>
                    <a:pt x="862746" y="854767"/>
                    <a:pt x="862746" y="900206"/>
                  </a:cubicBezTo>
                  <a:cubicBezTo>
                    <a:pt x="862746" y="964577"/>
                    <a:pt x="915744" y="1017588"/>
                    <a:pt x="976313" y="1017588"/>
                  </a:cubicBezTo>
                  <a:cubicBezTo>
                    <a:pt x="1040668" y="1017588"/>
                    <a:pt x="1093666" y="964577"/>
                    <a:pt x="1093666" y="900206"/>
                  </a:cubicBezTo>
                  <a:cubicBezTo>
                    <a:pt x="1093666" y="854767"/>
                    <a:pt x="1063382" y="813116"/>
                    <a:pt x="1017955" y="794183"/>
                  </a:cubicBezTo>
                  <a:cubicBezTo>
                    <a:pt x="1010383" y="790396"/>
                    <a:pt x="1006598" y="782823"/>
                    <a:pt x="1006598" y="775250"/>
                  </a:cubicBezTo>
                  <a:cubicBezTo>
                    <a:pt x="1006598" y="775250"/>
                    <a:pt x="1006598" y="775250"/>
                    <a:pt x="1006598" y="657868"/>
                  </a:cubicBezTo>
                  <a:cubicBezTo>
                    <a:pt x="1006598" y="646508"/>
                    <a:pt x="1014169" y="638935"/>
                    <a:pt x="1029311" y="638935"/>
                  </a:cubicBezTo>
                  <a:cubicBezTo>
                    <a:pt x="1029311" y="638935"/>
                    <a:pt x="1029311" y="638935"/>
                    <a:pt x="1271588" y="638935"/>
                  </a:cubicBezTo>
                  <a:lnTo>
                    <a:pt x="1271588" y="44450"/>
                  </a:lnTo>
                  <a:cubicBezTo>
                    <a:pt x="1271588" y="44450"/>
                    <a:pt x="1271588" y="44450"/>
                    <a:pt x="681038" y="44450"/>
                  </a:cubicBezTo>
                  <a:close/>
                  <a:moveTo>
                    <a:pt x="41275" y="44450"/>
                  </a:moveTo>
                  <a:lnTo>
                    <a:pt x="41275" y="639763"/>
                  </a:lnTo>
                  <a:cubicBezTo>
                    <a:pt x="41275" y="639763"/>
                    <a:pt x="41275" y="639763"/>
                    <a:pt x="268467" y="639763"/>
                  </a:cubicBezTo>
                  <a:cubicBezTo>
                    <a:pt x="268467" y="639763"/>
                    <a:pt x="268467" y="639763"/>
                    <a:pt x="268467" y="560135"/>
                  </a:cubicBezTo>
                  <a:cubicBezTo>
                    <a:pt x="211669" y="533593"/>
                    <a:pt x="181376" y="476716"/>
                    <a:pt x="181376" y="416047"/>
                  </a:cubicBezTo>
                  <a:cubicBezTo>
                    <a:pt x="181376" y="328835"/>
                    <a:pt x="249534" y="260583"/>
                    <a:pt x="336624" y="260583"/>
                  </a:cubicBezTo>
                  <a:cubicBezTo>
                    <a:pt x="427501" y="260583"/>
                    <a:pt x="495658" y="328835"/>
                    <a:pt x="495658" y="416047"/>
                  </a:cubicBezTo>
                  <a:cubicBezTo>
                    <a:pt x="495658" y="476716"/>
                    <a:pt x="461580" y="533593"/>
                    <a:pt x="408568" y="560135"/>
                  </a:cubicBezTo>
                  <a:cubicBezTo>
                    <a:pt x="408568" y="560135"/>
                    <a:pt x="408568" y="560135"/>
                    <a:pt x="408568" y="639763"/>
                  </a:cubicBezTo>
                  <a:cubicBezTo>
                    <a:pt x="408568" y="639763"/>
                    <a:pt x="408568" y="639763"/>
                    <a:pt x="635760" y="639763"/>
                  </a:cubicBezTo>
                  <a:cubicBezTo>
                    <a:pt x="635760" y="639763"/>
                    <a:pt x="635760" y="639763"/>
                    <a:pt x="635760" y="389504"/>
                  </a:cubicBezTo>
                  <a:cubicBezTo>
                    <a:pt x="635760" y="378129"/>
                    <a:pt x="647119" y="366753"/>
                    <a:pt x="658479" y="366753"/>
                  </a:cubicBezTo>
                  <a:cubicBezTo>
                    <a:pt x="658479" y="366753"/>
                    <a:pt x="658479" y="366753"/>
                    <a:pt x="772075" y="366753"/>
                  </a:cubicBezTo>
                  <a:cubicBezTo>
                    <a:pt x="783435" y="366753"/>
                    <a:pt x="791008" y="374337"/>
                    <a:pt x="794795" y="381921"/>
                  </a:cubicBezTo>
                  <a:cubicBezTo>
                    <a:pt x="809941" y="423630"/>
                    <a:pt x="855379" y="453965"/>
                    <a:pt x="900817" y="453965"/>
                  </a:cubicBezTo>
                  <a:cubicBezTo>
                    <a:pt x="965188" y="453965"/>
                    <a:pt x="1014413" y="404671"/>
                    <a:pt x="1014413" y="340211"/>
                  </a:cubicBezTo>
                  <a:cubicBezTo>
                    <a:pt x="1014413" y="275750"/>
                    <a:pt x="965188" y="226457"/>
                    <a:pt x="900817" y="226457"/>
                  </a:cubicBezTo>
                  <a:cubicBezTo>
                    <a:pt x="851592" y="226457"/>
                    <a:pt x="809941" y="252999"/>
                    <a:pt x="794795" y="298501"/>
                  </a:cubicBezTo>
                  <a:cubicBezTo>
                    <a:pt x="791008" y="306085"/>
                    <a:pt x="783435" y="309876"/>
                    <a:pt x="772075" y="309876"/>
                  </a:cubicBezTo>
                  <a:cubicBezTo>
                    <a:pt x="772075" y="309876"/>
                    <a:pt x="772075" y="309876"/>
                    <a:pt x="658479" y="309876"/>
                  </a:cubicBezTo>
                  <a:cubicBezTo>
                    <a:pt x="647119" y="309876"/>
                    <a:pt x="635760" y="302293"/>
                    <a:pt x="635760" y="290917"/>
                  </a:cubicBezTo>
                  <a:cubicBezTo>
                    <a:pt x="635760" y="290917"/>
                    <a:pt x="635760" y="290917"/>
                    <a:pt x="635760" y="44450"/>
                  </a:cubicBezTo>
                  <a:cubicBezTo>
                    <a:pt x="635760" y="44450"/>
                    <a:pt x="635760" y="44450"/>
                    <a:pt x="41275" y="44450"/>
                  </a:cubicBezTo>
                  <a:close/>
                  <a:moveTo>
                    <a:pt x="22717" y="0"/>
                  </a:moveTo>
                  <a:lnTo>
                    <a:pt x="1294908" y="0"/>
                  </a:lnTo>
                  <a:cubicBezTo>
                    <a:pt x="1306266" y="0"/>
                    <a:pt x="1317625" y="11345"/>
                    <a:pt x="1317625" y="22690"/>
                  </a:cubicBezTo>
                  <a:cubicBezTo>
                    <a:pt x="1317625" y="22690"/>
                    <a:pt x="1317625" y="22690"/>
                    <a:pt x="1317625" y="1297130"/>
                  </a:cubicBezTo>
                  <a:cubicBezTo>
                    <a:pt x="1317625" y="1308475"/>
                    <a:pt x="1306266" y="1316038"/>
                    <a:pt x="1294908" y="1316038"/>
                  </a:cubicBezTo>
                  <a:cubicBezTo>
                    <a:pt x="1294908" y="1316038"/>
                    <a:pt x="1294908" y="1316038"/>
                    <a:pt x="22717" y="1316038"/>
                  </a:cubicBezTo>
                  <a:cubicBezTo>
                    <a:pt x="11359" y="1316038"/>
                    <a:pt x="0" y="1308475"/>
                    <a:pt x="0" y="1297130"/>
                  </a:cubicBezTo>
                  <a:cubicBezTo>
                    <a:pt x="0" y="1297130"/>
                    <a:pt x="0" y="1297130"/>
                    <a:pt x="0" y="22690"/>
                  </a:cubicBezTo>
                  <a:cubicBezTo>
                    <a:pt x="0" y="11345"/>
                    <a:pt x="11359" y="0"/>
                    <a:pt x="22717" y="0"/>
                  </a:cubicBezTo>
                  <a:close/>
                </a:path>
              </a:pathLst>
            </a:custGeom>
            <a:solidFill>
              <a:schemeClr val="lt1"/>
            </a:solidFill>
            <a:ln>
              <a:noFill/>
            </a:ln>
          </p:spPr>
          <p:txBody>
            <a:bodyPr vert="horz" wrap="square" lIns="91440" tIns="45720" rIns="91440" bIns="45720" numCol="1" anchor="t" anchorCtr="0" compatLnSpc="1">
              <a:prstTxWarp prst="textNoShape">
                <a:avLst/>
              </a:prstTxWarp>
              <a:noAutofit/>
            </a:bodyPr>
            <a:lstStyle/>
            <a:p>
              <a:endParaRPr lang="en-GB" dirty="0">
                <a:solidFill>
                  <a:srgbClr val="000000"/>
                </a:solidFill>
              </a:endParaRPr>
            </a:p>
          </p:txBody>
        </p:sp>
        <p:sp>
          <p:nvSpPr>
            <p:cNvPr id="113" name="TextBox 112"/>
            <p:cNvSpPr txBox="1"/>
            <p:nvPr/>
          </p:nvSpPr>
          <p:spPr>
            <a:xfrm>
              <a:off x="5711383" y="2715086"/>
              <a:ext cx="2006952" cy="568463"/>
            </a:xfrm>
            <a:prstGeom prst="rect">
              <a:avLst/>
            </a:prstGeom>
            <a:noFill/>
          </p:spPr>
          <p:txBody>
            <a:bodyPr wrap="square" rtlCol="0" anchor="ctr" anchorCtr="0">
              <a:spAutoFit/>
            </a:bodyPr>
            <a:lstStyle/>
            <a:p>
              <a:pPr algn="ctr">
                <a:lnSpc>
                  <a:spcPct val="89000"/>
                </a:lnSpc>
              </a:pPr>
              <a:r>
                <a:rPr lang="en-GB" sz="1000" b="1" dirty="0" smtClean="0">
                  <a:solidFill>
                    <a:srgbClr val="00304A"/>
                  </a:solidFill>
                  <a:ea typeface="Open Sans" panose="020B0606030504020204" pitchFamily="34" charset="0"/>
                  <a:cs typeface="Open Sans" panose="020B0606030504020204" pitchFamily="34" charset="0"/>
                </a:rPr>
                <a:t>3 301</a:t>
              </a:r>
              <a:endParaRPr lang="en-US" sz="1000" b="1" dirty="0">
                <a:solidFill>
                  <a:srgbClr val="00304A"/>
                </a:solidFill>
                <a:ea typeface="Open Sans" panose="020B0606030504020204" pitchFamily="34" charset="0"/>
                <a:cs typeface="Open Sans" panose="020B0606030504020204" pitchFamily="34" charset="0"/>
              </a:endParaRPr>
            </a:p>
          </p:txBody>
        </p:sp>
      </p:grpSp>
      <p:graphicFrame>
        <p:nvGraphicFramePr>
          <p:cNvPr id="65" name="Table 64"/>
          <p:cNvGraphicFramePr>
            <a:graphicFrameLocks noGrp="1"/>
          </p:cNvGraphicFramePr>
          <p:nvPr>
            <p:extLst>
              <p:ext uri="{D42A27DB-BD31-4B8C-83A1-F6EECF244321}">
                <p14:modId xmlns:p14="http://schemas.microsoft.com/office/powerpoint/2010/main" val="2299526255"/>
              </p:ext>
            </p:extLst>
          </p:nvPr>
        </p:nvGraphicFramePr>
        <p:xfrm>
          <a:off x="9496119" y="5356739"/>
          <a:ext cx="2203348" cy="919441"/>
        </p:xfrm>
        <a:graphic>
          <a:graphicData uri="http://schemas.openxmlformats.org/drawingml/2006/table">
            <a:tbl>
              <a:tblPr firstRow="1" bandRow="1">
                <a:tableStyleId>{5C22544A-7EE6-4342-B048-85BDC9FD1C3A}</a:tableStyleId>
              </a:tblPr>
              <a:tblGrid>
                <a:gridCol w="1698318"/>
                <a:gridCol w="505030"/>
              </a:tblGrid>
              <a:tr h="265089">
                <a:tc>
                  <a:txBody>
                    <a:bodyPr/>
                    <a:lstStyle/>
                    <a:p>
                      <a:pPr algn="l" fontAlgn="b"/>
                      <a:r>
                        <a:rPr lang="en-GB" sz="1200" b="1" kern="1200" dirty="0" smtClean="0">
                          <a:solidFill>
                            <a:schemeClr val="dk2"/>
                          </a:solidFill>
                          <a:latin typeface="+mn-lt"/>
                          <a:ea typeface="+mn-ea"/>
                          <a:cs typeface="+mn-cs"/>
                        </a:rPr>
                        <a:t>Region</a:t>
                      </a:r>
                      <a:endParaRPr lang="en-GB" sz="1200" b="1" kern="1200" dirty="0">
                        <a:solidFill>
                          <a:schemeClr val="dk2"/>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200" b="1" kern="1200" dirty="0" smtClean="0">
                          <a:solidFill>
                            <a:schemeClr val="dk2"/>
                          </a:solidFill>
                          <a:latin typeface="+mn-lt"/>
                          <a:ea typeface="+mn-ea"/>
                          <a:cs typeface="+mn-cs"/>
                        </a:rPr>
                        <a:t>Count</a:t>
                      </a:r>
                      <a:endParaRPr lang="en-GB" sz="1200" b="1" kern="1200" dirty="0">
                        <a:solidFill>
                          <a:schemeClr val="dk2"/>
                        </a:solidFill>
                        <a:latin typeface="+mn-lt"/>
                        <a:ea typeface="+mn-ea"/>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63588">
                <a:tc>
                  <a:txBody>
                    <a:bodyPr/>
                    <a:lstStyle/>
                    <a:p>
                      <a:pPr algn="l" fontAlgn="b"/>
                      <a:r>
                        <a:rPr lang="en-GB" sz="1000" b="0" kern="1200" dirty="0">
                          <a:solidFill>
                            <a:schemeClr val="dk2"/>
                          </a:solidFill>
                          <a:latin typeface="+mn-lt"/>
                          <a:ea typeface="+mn-ea"/>
                          <a:cs typeface="+mn-cs"/>
                        </a:rPr>
                        <a:t>Rest of the world</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0" kern="1200" dirty="0" smtClean="0">
                          <a:solidFill>
                            <a:schemeClr val="dk2"/>
                          </a:solidFill>
                          <a:latin typeface="+mn-lt"/>
                          <a:ea typeface="+mn-ea"/>
                          <a:cs typeface="+mn-cs"/>
                        </a:rPr>
                        <a:t>2 493</a:t>
                      </a:r>
                      <a:endParaRPr lang="en-GB" sz="1000" b="0" kern="1200" dirty="0">
                        <a:solidFill>
                          <a:schemeClr val="dk2"/>
                        </a:solidFill>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63588">
                <a:tc>
                  <a:txBody>
                    <a:bodyPr/>
                    <a:lstStyle/>
                    <a:p>
                      <a:pPr algn="l" fontAlgn="b"/>
                      <a:r>
                        <a:rPr lang="en-GB" sz="1000" b="0" kern="1200" dirty="0">
                          <a:solidFill>
                            <a:schemeClr val="dk2"/>
                          </a:solidFill>
                          <a:latin typeface="+mn-lt"/>
                          <a:ea typeface="+mn-ea"/>
                          <a:cs typeface="+mn-cs"/>
                        </a:rPr>
                        <a:t>Western &amp; Southern Europ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0" kern="1200" dirty="0" smtClean="0">
                          <a:solidFill>
                            <a:schemeClr val="dk2"/>
                          </a:solidFill>
                          <a:latin typeface="+mn-lt"/>
                          <a:ea typeface="+mn-ea"/>
                          <a:cs typeface="+mn-cs"/>
                        </a:rPr>
                        <a:t>608</a:t>
                      </a:r>
                      <a:endParaRPr lang="en-GB" sz="1000" b="0" kern="1200" dirty="0">
                        <a:solidFill>
                          <a:schemeClr val="dk2"/>
                        </a:solidFill>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63588">
                <a:tc>
                  <a:txBody>
                    <a:bodyPr/>
                    <a:lstStyle/>
                    <a:p>
                      <a:pPr algn="l" fontAlgn="b"/>
                      <a:r>
                        <a:rPr lang="en-GB" sz="1000" b="0" kern="1200" dirty="0">
                          <a:solidFill>
                            <a:schemeClr val="dk2"/>
                          </a:solidFill>
                          <a:latin typeface="+mn-lt"/>
                          <a:ea typeface="+mn-ea"/>
                          <a:cs typeface="+mn-cs"/>
                        </a:rPr>
                        <a:t>Nordics</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0" kern="1200" dirty="0" smtClean="0">
                          <a:solidFill>
                            <a:schemeClr val="dk2"/>
                          </a:solidFill>
                          <a:latin typeface="+mn-lt"/>
                          <a:ea typeface="+mn-ea"/>
                          <a:cs typeface="+mn-cs"/>
                        </a:rPr>
                        <a:t>174</a:t>
                      </a:r>
                      <a:endParaRPr lang="en-GB" sz="1000" b="0" kern="1200" dirty="0">
                        <a:solidFill>
                          <a:schemeClr val="dk2"/>
                        </a:solidFill>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63588">
                <a:tc>
                  <a:txBody>
                    <a:bodyPr/>
                    <a:lstStyle/>
                    <a:p>
                      <a:pPr algn="l" fontAlgn="b"/>
                      <a:r>
                        <a:rPr lang="en-GB" sz="1000" b="0" kern="1200" dirty="0">
                          <a:solidFill>
                            <a:schemeClr val="dk2"/>
                          </a:solidFill>
                          <a:latin typeface="+mn-lt"/>
                          <a:ea typeface="+mn-ea"/>
                          <a:cs typeface="+mn-cs"/>
                        </a:rPr>
                        <a:t>Eastern Europ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1000" b="0" kern="1200" dirty="0" smtClean="0">
                          <a:solidFill>
                            <a:schemeClr val="dk2"/>
                          </a:solidFill>
                          <a:latin typeface="+mn-lt"/>
                          <a:ea typeface="+mn-ea"/>
                          <a:cs typeface="+mn-cs"/>
                        </a:rPr>
                        <a:t>26</a:t>
                      </a:r>
                      <a:endParaRPr lang="en-GB" sz="1000" b="0" kern="1200" dirty="0">
                        <a:solidFill>
                          <a:schemeClr val="dk2"/>
                        </a:solidFill>
                        <a:latin typeface="+mn-lt"/>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105" name="Straight Connector 104"/>
          <p:cNvCxnSpPr/>
          <p:nvPr/>
        </p:nvCxnSpPr>
        <p:spPr>
          <a:xfrm>
            <a:off x="9475799" y="5610678"/>
            <a:ext cx="2194560" cy="0"/>
          </a:xfrm>
          <a:prstGeom prst="line">
            <a:avLst/>
          </a:prstGeom>
          <a:ln w="12700"/>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96293149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142826" y="2012730"/>
            <a:ext cx="9628963" cy="1211179"/>
          </a:xfrm>
          <a:prstGeom prst="rect">
            <a:avLst/>
          </a:prstGeom>
          <a:solidFill>
            <a:srgbClr val="B2DFD3">
              <a:alpha val="6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687638">
              <a:tabLst>
                <a:tab pos="9153525" algn="r"/>
              </a:tabLst>
            </a:pPr>
            <a:r>
              <a:rPr lang="lt-LT" sz="2800" dirty="0" smtClean="0">
                <a:solidFill>
                  <a:srgbClr val="003755"/>
                </a:solidFill>
              </a:rPr>
              <a:t>    	</a:t>
            </a:r>
            <a:r>
              <a:rPr lang="en-US" sz="2000" dirty="0" smtClean="0">
                <a:solidFill>
                  <a:srgbClr val="003755"/>
                </a:solidFill>
              </a:rPr>
              <a:t>90,4</a:t>
            </a:r>
            <a:r>
              <a:rPr lang="sv-SE" sz="2000" dirty="0" smtClean="0">
                <a:solidFill>
                  <a:srgbClr val="003755"/>
                </a:solidFill>
              </a:rPr>
              <a:t>% (</a:t>
            </a:r>
            <a:r>
              <a:rPr lang="en-US" sz="2000" dirty="0" smtClean="0">
                <a:solidFill>
                  <a:srgbClr val="003755"/>
                </a:solidFill>
              </a:rPr>
              <a:t>35 913 proposals)</a:t>
            </a:r>
            <a:endParaRPr lang="en-US" sz="2000" b="1" dirty="0" smtClean="0">
              <a:solidFill>
                <a:srgbClr val="003755"/>
              </a:solidFill>
            </a:endParaRPr>
          </a:p>
        </p:txBody>
      </p:sp>
      <p:sp>
        <p:nvSpPr>
          <p:cNvPr id="7" name="Rectangle 6"/>
          <p:cNvSpPr/>
          <p:nvPr/>
        </p:nvSpPr>
        <p:spPr>
          <a:xfrm>
            <a:off x="2142826" y="3333007"/>
            <a:ext cx="9628964" cy="1211312"/>
          </a:xfrm>
          <a:prstGeom prst="rect">
            <a:avLst/>
          </a:prstGeom>
          <a:solidFill>
            <a:srgbClr val="F4BAB8">
              <a:alpha val="6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687638">
              <a:tabLst>
                <a:tab pos="9153525" algn="r"/>
              </a:tabLst>
            </a:pPr>
            <a:r>
              <a:rPr lang="lt-LT" sz="2800" dirty="0" smtClean="0">
                <a:solidFill>
                  <a:srgbClr val="003755"/>
                </a:solidFill>
              </a:rPr>
              <a:t>       	  </a:t>
            </a:r>
            <a:r>
              <a:rPr lang="sv-SE" sz="2800" dirty="0" smtClean="0">
                <a:solidFill>
                  <a:srgbClr val="003755"/>
                </a:solidFill>
              </a:rPr>
              <a:t>  </a:t>
            </a:r>
            <a:r>
              <a:rPr lang="en-US" sz="2000" dirty="0" smtClean="0">
                <a:solidFill>
                  <a:srgbClr val="003755"/>
                </a:solidFill>
              </a:rPr>
              <a:t>8,6</a:t>
            </a:r>
            <a:r>
              <a:rPr lang="sv-SE" sz="2000" dirty="0" smtClean="0">
                <a:solidFill>
                  <a:srgbClr val="003755"/>
                </a:solidFill>
              </a:rPr>
              <a:t>% (</a:t>
            </a:r>
            <a:r>
              <a:rPr lang="en-US" sz="2000" dirty="0" smtClean="0">
                <a:solidFill>
                  <a:srgbClr val="003755"/>
                </a:solidFill>
              </a:rPr>
              <a:t>3 425 proposals)</a:t>
            </a:r>
            <a:endParaRPr lang="en-US" sz="2000" dirty="0">
              <a:solidFill>
                <a:srgbClr val="003755"/>
              </a:solidFill>
            </a:endParaRPr>
          </a:p>
        </p:txBody>
      </p:sp>
      <p:sp>
        <p:nvSpPr>
          <p:cNvPr id="8" name="Rectangle 7"/>
          <p:cNvSpPr/>
          <p:nvPr/>
        </p:nvSpPr>
        <p:spPr>
          <a:xfrm>
            <a:off x="2142826" y="4653417"/>
            <a:ext cx="9628964" cy="1211312"/>
          </a:xfrm>
          <a:prstGeom prst="rect">
            <a:avLst/>
          </a:prstGeom>
          <a:solidFill>
            <a:schemeClr val="bg1">
              <a:lumMod val="95000"/>
              <a:alpha val="6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687638">
              <a:tabLst>
                <a:tab pos="9153525" algn="r"/>
              </a:tabLst>
            </a:pPr>
            <a:r>
              <a:rPr lang="lt-LT" sz="2800" dirty="0" smtClean="0">
                <a:solidFill>
                  <a:srgbClr val="003755"/>
                </a:solidFill>
              </a:rPr>
              <a:t>      	</a:t>
            </a:r>
            <a:r>
              <a:rPr lang="sv-SE" sz="2800" dirty="0" smtClean="0">
                <a:solidFill>
                  <a:srgbClr val="003755"/>
                </a:solidFill>
              </a:rPr>
              <a:t>  </a:t>
            </a:r>
            <a:r>
              <a:rPr lang="en-US" sz="2000" dirty="0" smtClean="0">
                <a:solidFill>
                  <a:srgbClr val="003755"/>
                </a:solidFill>
              </a:rPr>
              <a:t>0,7</a:t>
            </a:r>
            <a:r>
              <a:rPr lang="sv-SE" sz="2000" dirty="0" smtClean="0">
                <a:solidFill>
                  <a:srgbClr val="003755"/>
                </a:solidFill>
              </a:rPr>
              <a:t>% (</a:t>
            </a:r>
            <a:r>
              <a:rPr lang="en-GB" sz="2000" dirty="0" smtClean="0">
                <a:solidFill>
                  <a:srgbClr val="003755"/>
                </a:solidFill>
              </a:rPr>
              <a:t>297</a:t>
            </a:r>
            <a:r>
              <a:rPr lang="sv-SE" sz="2000" dirty="0" smtClean="0">
                <a:solidFill>
                  <a:srgbClr val="003755"/>
                </a:solidFill>
              </a:rPr>
              <a:t> </a:t>
            </a:r>
            <a:r>
              <a:rPr lang="en-US" sz="2000" dirty="0" smtClean="0">
                <a:solidFill>
                  <a:srgbClr val="003755"/>
                </a:solidFill>
              </a:rPr>
              <a:t>proposals)</a:t>
            </a:r>
            <a:endParaRPr lang="en-US" sz="2000" dirty="0">
              <a:solidFill>
                <a:srgbClr val="003755"/>
              </a:solidFill>
            </a:endParaRPr>
          </a:p>
        </p:txBody>
      </p:sp>
      <p:sp>
        <p:nvSpPr>
          <p:cNvPr id="10" name="Rectangle 9"/>
          <p:cNvSpPr/>
          <p:nvPr/>
        </p:nvSpPr>
        <p:spPr>
          <a:xfrm>
            <a:off x="431790" y="2012731"/>
            <a:ext cx="1696861" cy="3851999"/>
          </a:xfrm>
          <a:prstGeom prst="rect">
            <a:avLst/>
          </a:prstGeom>
          <a:solidFill>
            <a:srgbClr val="00375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200" dirty="0" smtClean="0">
                <a:solidFill>
                  <a:schemeClr val="bg1"/>
                </a:solidFill>
              </a:rPr>
              <a:t>39 717 Proposals</a:t>
            </a:r>
            <a:endParaRPr lang="en-US" sz="2200" dirty="0">
              <a:solidFill>
                <a:schemeClr val="bg1"/>
              </a:solidFill>
            </a:endParaRPr>
          </a:p>
        </p:txBody>
      </p:sp>
      <p:sp>
        <p:nvSpPr>
          <p:cNvPr id="11" name="Thumbs up"/>
          <p:cNvSpPr>
            <a:spLocks noChangeAspect="1"/>
          </p:cNvSpPr>
          <p:nvPr>
            <p:custDataLst>
              <p:tags r:id="rId1"/>
            </p:custDataLst>
          </p:nvPr>
        </p:nvSpPr>
        <p:spPr bwMode="auto">
          <a:xfrm>
            <a:off x="2405742" y="2342617"/>
            <a:ext cx="610581" cy="551404"/>
          </a:xfrm>
          <a:custGeom>
            <a:avLst/>
            <a:gdLst>
              <a:gd name="connsiteX0" fmla="*/ 1205490 w 1752600"/>
              <a:gd name="connsiteY0" fmla="*/ 1349375 h 1582737"/>
              <a:gd name="connsiteX1" fmla="*/ 1122363 w 1752600"/>
              <a:gd name="connsiteY1" fmla="*/ 1432419 h 1582737"/>
              <a:gd name="connsiteX2" fmla="*/ 1205490 w 1752600"/>
              <a:gd name="connsiteY2" fmla="*/ 1519237 h 1582737"/>
              <a:gd name="connsiteX3" fmla="*/ 1496436 w 1752600"/>
              <a:gd name="connsiteY3" fmla="*/ 1519237 h 1582737"/>
              <a:gd name="connsiteX4" fmla="*/ 1579563 w 1752600"/>
              <a:gd name="connsiteY4" fmla="*/ 1436194 h 1582737"/>
              <a:gd name="connsiteX5" fmla="*/ 1496436 w 1752600"/>
              <a:gd name="connsiteY5" fmla="*/ 1349375 h 1582737"/>
              <a:gd name="connsiteX6" fmla="*/ 1205490 w 1752600"/>
              <a:gd name="connsiteY6" fmla="*/ 1349375 h 1582737"/>
              <a:gd name="connsiteX7" fmla="*/ 1239317 w 1752600"/>
              <a:gd name="connsiteY7" fmla="*/ 1111250 h 1582737"/>
              <a:gd name="connsiteX8" fmla="*/ 1152525 w 1752600"/>
              <a:gd name="connsiteY8" fmla="*/ 1197769 h 1582737"/>
              <a:gd name="connsiteX9" fmla="*/ 1239317 w 1752600"/>
              <a:gd name="connsiteY9" fmla="*/ 1284287 h 1582737"/>
              <a:gd name="connsiteX10" fmla="*/ 1526108 w 1752600"/>
              <a:gd name="connsiteY10" fmla="*/ 1284287 h 1582737"/>
              <a:gd name="connsiteX11" fmla="*/ 1612900 w 1752600"/>
              <a:gd name="connsiteY11" fmla="*/ 1197769 h 1582737"/>
              <a:gd name="connsiteX12" fmla="*/ 1526108 w 1752600"/>
              <a:gd name="connsiteY12" fmla="*/ 1111250 h 1582737"/>
              <a:gd name="connsiteX13" fmla="*/ 1239317 w 1752600"/>
              <a:gd name="connsiteY13" fmla="*/ 1111250 h 1582737"/>
              <a:gd name="connsiteX14" fmla="*/ 1277417 w 1752600"/>
              <a:gd name="connsiteY14" fmla="*/ 876300 h 1582737"/>
              <a:gd name="connsiteX15" fmla="*/ 1190625 w 1752600"/>
              <a:gd name="connsiteY15" fmla="*/ 959344 h 1582737"/>
              <a:gd name="connsiteX16" fmla="*/ 1277417 w 1752600"/>
              <a:gd name="connsiteY16" fmla="*/ 1046162 h 1582737"/>
              <a:gd name="connsiteX17" fmla="*/ 1564208 w 1752600"/>
              <a:gd name="connsiteY17" fmla="*/ 1046162 h 1582737"/>
              <a:gd name="connsiteX18" fmla="*/ 1651000 w 1752600"/>
              <a:gd name="connsiteY18" fmla="*/ 963119 h 1582737"/>
              <a:gd name="connsiteX19" fmla="*/ 1564208 w 1752600"/>
              <a:gd name="connsiteY19" fmla="*/ 876300 h 1582737"/>
              <a:gd name="connsiteX20" fmla="*/ 1277417 w 1752600"/>
              <a:gd name="connsiteY20" fmla="*/ 876300 h 1582737"/>
              <a:gd name="connsiteX21" fmla="*/ 1318202 w 1752600"/>
              <a:gd name="connsiteY21" fmla="*/ 638175 h 1582737"/>
              <a:gd name="connsiteX22" fmla="*/ 1235075 w 1752600"/>
              <a:gd name="connsiteY22" fmla="*/ 725487 h 1582737"/>
              <a:gd name="connsiteX23" fmla="*/ 1318202 w 1752600"/>
              <a:gd name="connsiteY23" fmla="*/ 812800 h 1582737"/>
              <a:gd name="connsiteX24" fmla="*/ 1605369 w 1752600"/>
              <a:gd name="connsiteY24" fmla="*/ 812800 h 1582737"/>
              <a:gd name="connsiteX25" fmla="*/ 1692275 w 1752600"/>
              <a:gd name="connsiteY25" fmla="*/ 725487 h 1582737"/>
              <a:gd name="connsiteX26" fmla="*/ 1605369 w 1752600"/>
              <a:gd name="connsiteY26" fmla="*/ 638175 h 1582737"/>
              <a:gd name="connsiteX27" fmla="*/ 1382437 w 1752600"/>
              <a:gd name="connsiteY27" fmla="*/ 638175 h 1582737"/>
              <a:gd name="connsiteX28" fmla="*/ 1318202 w 1752600"/>
              <a:gd name="connsiteY28" fmla="*/ 638175 h 1582737"/>
              <a:gd name="connsiteX29" fmla="*/ 1159594 w 1752600"/>
              <a:gd name="connsiteY29" fmla="*/ 79375 h 1582737"/>
              <a:gd name="connsiteX30" fmla="*/ 718029 w 1752600"/>
              <a:gd name="connsiteY30" fmla="*/ 495083 h 1582737"/>
              <a:gd name="connsiteX31" fmla="*/ 434975 w 1752600"/>
              <a:gd name="connsiteY31" fmla="*/ 672704 h 1582737"/>
              <a:gd name="connsiteX32" fmla="*/ 434975 w 1752600"/>
              <a:gd name="connsiteY32" fmla="*/ 1443654 h 1582737"/>
              <a:gd name="connsiteX33" fmla="*/ 751996 w 1752600"/>
              <a:gd name="connsiteY33" fmla="*/ 1519237 h 1582737"/>
              <a:gd name="connsiteX34" fmla="*/ 1087887 w 1752600"/>
              <a:gd name="connsiteY34" fmla="*/ 1519237 h 1582737"/>
              <a:gd name="connsiteX35" fmla="*/ 1057694 w 1752600"/>
              <a:gd name="connsiteY35" fmla="*/ 1436096 h 1582737"/>
              <a:gd name="connsiteX36" fmla="*/ 1136949 w 1752600"/>
              <a:gd name="connsiteY36" fmla="*/ 1303825 h 1582737"/>
              <a:gd name="connsiteX37" fmla="*/ 1091661 w 1752600"/>
              <a:gd name="connsiteY37" fmla="*/ 1198008 h 1582737"/>
              <a:gd name="connsiteX38" fmla="*/ 1170916 w 1752600"/>
              <a:gd name="connsiteY38" fmla="*/ 1065737 h 1582737"/>
              <a:gd name="connsiteX39" fmla="*/ 1129401 w 1752600"/>
              <a:gd name="connsiteY39" fmla="*/ 963700 h 1582737"/>
              <a:gd name="connsiteX40" fmla="*/ 1212431 w 1752600"/>
              <a:gd name="connsiteY40" fmla="*/ 827650 h 1582737"/>
              <a:gd name="connsiteX41" fmla="*/ 1170916 w 1752600"/>
              <a:gd name="connsiteY41" fmla="*/ 725612 h 1582737"/>
              <a:gd name="connsiteX42" fmla="*/ 1201109 w 1752600"/>
              <a:gd name="connsiteY42" fmla="*/ 638691 h 1582737"/>
              <a:gd name="connsiteX43" fmla="*/ 963343 w 1752600"/>
              <a:gd name="connsiteY43" fmla="*/ 638691 h 1582737"/>
              <a:gd name="connsiteX44" fmla="*/ 933150 w 1752600"/>
              <a:gd name="connsiteY44" fmla="*/ 619795 h 1582737"/>
              <a:gd name="connsiteX45" fmla="*/ 936924 w 1752600"/>
              <a:gd name="connsiteY45" fmla="*/ 589562 h 1582737"/>
              <a:gd name="connsiteX46" fmla="*/ 1170916 w 1752600"/>
              <a:gd name="connsiteY46" fmla="*/ 298566 h 1582737"/>
              <a:gd name="connsiteX47" fmla="*/ 1159594 w 1752600"/>
              <a:gd name="connsiteY47" fmla="*/ 79375 h 1582737"/>
              <a:gd name="connsiteX48" fmla="*/ 1167141 w 1752600"/>
              <a:gd name="connsiteY48" fmla="*/ 0 h 1582737"/>
              <a:gd name="connsiteX49" fmla="*/ 1189804 w 1752600"/>
              <a:gd name="connsiteY49" fmla="*/ 11332 h 1582737"/>
              <a:gd name="connsiteX50" fmla="*/ 1220021 w 1752600"/>
              <a:gd name="connsiteY50" fmla="*/ 339967 h 1582737"/>
              <a:gd name="connsiteX51" fmla="*/ 1027386 w 1752600"/>
              <a:gd name="connsiteY51" fmla="*/ 574167 h 1582737"/>
              <a:gd name="connsiteX52" fmla="*/ 1605291 w 1752600"/>
              <a:gd name="connsiteY52" fmla="*/ 574167 h 1582737"/>
              <a:gd name="connsiteX53" fmla="*/ 1752600 w 1752600"/>
              <a:gd name="connsiteY53" fmla="*/ 725264 h 1582737"/>
              <a:gd name="connsiteX54" fmla="*/ 1669503 w 1752600"/>
              <a:gd name="connsiteY54" fmla="*/ 857473 h 1582737"/>
              <a:gd name="connsiteX55" fmla="*/ 1711051 w 1752600"/>
              <a:gd name="connsiteY55" fmla="*/ 959464 h 1582737"/>
              <a:gd name="connsiteX56" fmla="*/ 1631731 w 1752600"/>
              <a:gd name="connsiteY56" fmla="*/ 1091673 h 1582737"/>
              <a:gd name="connsiteX57" fmla="*/ 1673280 w 1752600"/>
              <a:gd name="connsiteY57" fmla="*/ 1197441 h 1582737"/>
              <a:gd name="connsiteX58" fmla="*/ 1597737 w 1752600"/>
              <a:gd name="connsiteY58" fmla="*/ 1325873 h 1582737"/>
              <a:gd name="connsiteX59" fmla="*/ 1643063 w 1752600"/>
              <a:gd name="connsiteY59" fmla="*/ 1431641 h 1582737"/>
              <a:gd name="connsiteX60" fmla="*/ 1495754 w 1752600"/>
              <a:gd name="connsiteY60" fmla="*/ 1582737 h 1582737"/>
              <a:gd name="connsiteX61" fmla="*/ 1204913 w 1752600"/>
              <a:gd name="connsiteY61" fmla="*/ 1582737 h 1582737"/>
              <a:gd name="connsiteX62" fmla="*/ 747877 w 1752600"/>
              <a:gd name="connsiteY62" fmla="*/ 1582737 h 1582737"/>
              <a:gd name="connsiteX63" fmla="*/ 740322 w 1752600"/>
              <a:gd name="connsiteY63" fmla="*/ 1582737 h 1582737"/>
              <a:gd name="connsiteX64" fmla="*/ 434373 w 1752600"/>
              <a:gd name="connsiteY64" fmla="*/ 1507189 h 1582737"/>
              <a:gd name="connsiteX65" fmla="*/ 434373 w 1752600"/>
              <a:gd name="connsiteY65" fmla="*/ 1518521 h 1582737"/>
              <a:gd name="connsiteX66" fmla="*/ 373938 w 1752600"/>
              <a:gd name="connsiteY66" fmla="*/ 1582737 h 1582737"/>
              <a:gd name="connsiteX67" fmla="*/ 60434 w 1752600"/>
              <a:gd name="connsiteY67" fmla="*/ 1582737 h 1582737"/>
              <a:gd name="connsiteX68" fmla="*/ 0 w 1752600"/>
              <a:gd name="connsiteY68" fmla="*/ 1518521 h 1582737"/>
              <a:gd name="connsiteX69" fmla="*/ 0 w 1752600"/>
              <a:gd name="connsiteY69" fmla="*/ 528838 h 1582737"/>
              <a:gd name="connsiteX70" fmla="*/ 60434 w 1752600"/>
              <a:gd name="connsiteY70" fmla="*/ 464622 h 1582737"/>
              <a:gd name="connsiteX71" fmla="*/ 373938 w 1752600"/>
              <a:gd name="connsiteY71" fmla="*/ 464622 h 1582737"/>
              <a:gd name="connsiteX72" fmla="*/ 434373 w 1752600"/>
              <a:gd name="connsiteY72" fmla="*/ 528838 h 1582737"/>
              <a:gd name="connsiteX73" fmla="*/ 434373 w 1752600"/>
              <a:gd name="connsiteY73" fmla="*/ 600609 h 1582737"/>
              <a:gd name="connsiteX74" fmla="*/ 679888 w 1752600"/>
              <a:gd name="connsiteY74" fmla="*/ 449512 h 1582737"/>
              <a:gd name="connsiteX75" fmla="*/ 1144478 w 1752600"/>
              <a:gd name="connsiteY75" fmla="*/ 7555 h 1582737"/>
              <a:gd name="connsiteX76" fmla="*/ 1167141 w 1752600"/>
              <a:gd name="connsiteY76" fmla="*/ 0 h 1582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752600" h="1582737">
                <a:moveTo>
                  <a:pt x="1205490" y="1349375"/>
                </a:moveTo>
                <a:cubicBezTo>
                  <a:pt x="1160148" y="1349375"/>
                  <a:pt x="1122363" y="1387122"/>
                  <a:pt x="1122363" y="1432419"/>
                </a:cubicBezTo>
                <a:cubicBezTo>
                  <a:pt x="1122363" y="1481490"/>
                  <a:pt x="1160148" y="1519237"/>
                  <a:pt x="1205490" y="1519237"/>
                </a:cubicBezTo>
                <a:cubicBezTo>
                  <a:pt x="1205490" y="1519237"/>
                  <a:pt x="1205490" y="1519237"/>
                  <a:pt x="1496436" y="1519237"/>
                </a:cubicBezTo>
                <a:cubicBezTo>
                  <a:pt x="1541778" y="1519237"/>
                  <a:pt x="1579563" y="1481490"/>
                  <a:pt x="1579563" y="1436194"/>
                </a:cubicBezTo>
                <a:cubicBezTo>
                  <a:pt x="1579563" y="1387122"/>
                  <a:pt x="1541778" y="1349375"/>
                  <a:pt x="1496436" y="1349375"/>
                </a:cubicBezTo>
                <a:cubicBezTo>
                  <a:pt x="1496436" y="1349375"/>
                  <a:pt x="1496436" y="1349375"/>
                  <a:pt x="1205490" y="1349375"/>
                </a:cubicBezTo>
                <a:close/>
                <a:moveTo>
                  <a:pt x="1239317" y="1111250"/>
                </a:moveTo>
                <a:cubicBezTo>
                  <a:pt x="1194034" y="1111250"/>
                  <a:pt x="1152525" y="1148867"/>
                  <a:pt x="1152525" y="1197769"/>
                </a:cubicBezTo>
                <a:cubicBezTo>
                  <a:pt x="1152525" y="1246671"/>
                  <a:pt x="1194034" y="1284287"/>
                  <a:pt x="1239317" y="1284287"/>
                </a:cubicBezTo>
                <a:cubicBezTo>
                  <a:pt x="1239317" y="1284287"/>
                  <a:pt x="1239317" y="1284287"/>
                  <a:pt x="1526108" y="1284287"/>
                </a:cubicBezTo>
                <a:cubicBezTo>
                  <a:pt x="1575164" y="1284287"/>
                  <a:pt x="1612900" y="1246671"/>
                  <a:pt x="1612900" y="1197769"/>
                </a:cubicBezTo>
                <a:cubicBezTo>
                  <a:pt x="1612900" y="1148867"/>
                  <a:pt x="1575164" y="1111250"/>
                  <a:pt x="1526108" y="1111250"/>
                </a:cubicBezTo>
                <a:cubicBezTo>
                  <a:pt x="1526108" y="1111250"/>
                  <a:pt x="1526108" y="1111250"/>
                  <a:pt x="1239317" y="1111250"/>
                </a:cubicBezTo>
                <a:close/>
                <a:moveTo>
                  <a:pt x="1277417" y="876300"/>
                </a:moveTo>
                <a:cubicBezTo>
                  <a:pt x="1232134" y="876300"/>
                  <a:pt x="1190625" y="914047"/>
                  <a:pt x="1190625" y="959344"/>
                </a:cubicBezTo>
                <a:cubicBezTo>
                  <a:pt x="1190625" y="1008415"/>
                  <a:pt x="1232134" y="1046162"/>
                  <a:pt x="1277417" y="1046162"/>
                </a:cubicBezTo>
                <a:lnTo>
                  <a:pt x="1564208" y="1046162"/>
                </a:lnTo>
                <a:cubicBezTo>
                  <a:pt x="1613264" y="1046162"/>
                  <a:pt x="1651000" y="1008415"/>
                  <a:pt x="1651000" y="963119"/>
                </a:cubicBezTo>
                <a:cubicBezTo>
                  <a:pt x="1651000" y="914047"/>
                  <a:pt x="1613264" y="876300"/>
                  <a:pt x="1564208" y="876300"/>
                </a:cubicBezTo>
                <a:cubicBezTo>
                  <a:pt x="1564208" y="876300"/>
                  <a:pt x="1564208" y="876300"/>
                  <a:pt x="1277417" y="876300"/>
                </a:cubicBezTo>
                <a:close/>
                <a:moveTo>
                  <a:pt x="1318202" y="638175"/>
                </a:moveTo>
                <a:cubicBezTo>
                  <a:pt x="1272860" y="638175"/>
                  <a:pt x="1235075" y="676137"/>
                  <a:pt x="1235075" y="725487"/>
                </a:cubicBezTo>
                <a:cubicBezTo>
                  <a:pt x="1235075" y="771042"/>
                  <a:pt x="1272860" y="812800"/>
                  <a:pt x="1318202" y="812800"/>
                </a:cubicBezTo>
                <a:cubicBezTo>
                  <a:pt x="1318202" y="812800"/>
                  <a:pt x="1318202" y="812800"/>
                  <a:pt x="1605369" y="812800"/>
                </a:cubicBezTo>
                <a:cubicBezTo>
                  <a:pt x="1654490" y="812800"/>
                  <a:pt x="1692275" y="771042"/>
                  <a:pt x="1692275" y="725487"/>
                </a:cubicBezTo>
                <a:cubicBezTo>
                  <a:pt x="1692275" y="676137"/>
                  <a:pt x="1654490" y="638175"/>
                  <a:pt x="1605369" y="638175"/>
                </a:cubicBezTo>
                <a:cubicBezTo>
                  <a:pt x="1605369" y="638175"/>
                  <a:pt x="1605369" y="638175"/>
                  <a:pt x="1382437" y="638175"/>
                </a:cubicBezTo>
                <a:cubicBezTo>
                  <a:pt x="1382437" y="638175"/>
                  <a:pt x="1382437" y="638175"/>
                  <a:pt x="1318202" y="638175"/>
                </a:cubicBezTo>
                <a:close/>
                <a:moveTo>
                  <a:pt x="1159594" y="79375"/>
                </a:moveTo>
                <a:cubicBezTo>
                  <a:pt x="1159594" y="79375"/>
                  <a:pt x="1159594" y="79375"/>
                  <a:pt x="718029" y="495083"/>
                </a:cubicBezTo>
                <a:cubicBezTo>
                  <a:pt x="718029" y="495083"/>
                  <a:pt x="718029" y="495083"/>
                  <a:pt x="434975" y="672704"/>
                </a:cubicBezTo>
                <a:lnTo>
                  <a:pt x="434975" y="1443654"/>
                </a:lnTo>
                <a:cubicBezTo>
                  <a:pt x="434975" y="1443654"/>
                  <a:pt x="434975" y="1443654"/>
                  <a:pt x="751996" y="1519237"/>
                </a:cubicBezTo>
                <a:cubicBezTo>
                  <a:pt x="751996" y="1519237"/>
                  <a:pt x="751996" y="1519237"/>
                  <a:pt x="1087887" y="1519237"/>
                </a:cubicBezTo>
                <a:cubicBezTo>
                  <a:pt x="1069016" y="1496562"/>
                  <a:pt x="1057694" y="1466329"/>
                  <a:pt x="1057694" y="1436096"/>
                </a:cubicBezTo>
                <a:cubicBezTo>
                  <a:pt x="1057694" y="1379408"/>
                  <a:pt x="1091661" y="1330279"/>
                  <a:pt x="1136949" y="1303825"/>
                </a:cubicBezTo>
                <a:cubicBezTo>
                  <a:pt x="1110531" y="1277371"/>
                  <a:pt x="1091661" y="1239579"/>
                  <a:pt x="1091661" y="1198008"/>
                </a:cubicBezTo>
                <a:cubicBezTo>
                  <a:pt x="1091661" y="1141321"/>
                  <a:pt x="1125627" y="1092192"/>
                  <a:pt x="1170916" y="1065737"/>
                </a:cubicBezTo>
                <a:cubicBezTo>
                  <a:pt x="1144498" y="1039283"/>
                  <a:pt x="1129401" y="1001492"/>
                  <a:pt x="1129401" y="963700"/>
                </a:cubicBezTo>
                <a:cubicBezTo>
                  <a:pt x="1129401" y="903233"/>
                  <a:pt x="1163368" y="850325"/>
                  <a:pt x="1212431" y="827650"/>
                </a:cubicBezTo>
                <a:cubicBezTo>
                  <a:pt x="1186012" y="801195"/>
                  <a:pt x="1170916" y="763404"/>
                  <a:pt x="1170916" y="725612"/>
                </a:cubicBezTo>
                <a:cubicBezTo>
                  <a:pt x="1170916" y="691600"/>
                  <a:pt x="1182238" y="661366"/>
                  <a:pt x="1201109" y="638691"/>
                </a:cubicBezTo>
                <a:cubicBezTo>
                  <a:pt x="1201109" y="638691"/>
                  <a:pt x="1201109" y="638691"/>
                  <a:pt x="963343" y="638691"/>
                </a:cubicBezTo>
                <a:cubicBezTo>
                  <a:pt x="948247" y="638691"/>
                  <a:pt x="936924" y="631133"/>
                  <a:pt x="933150" y="619795"/>
                </a:cubicBezTo>
                <a:cubicBezTo>
                  <a:pt x="929376" y="608458"/>
                  <a:pt x="929376" y="597120"/>
                  <a:pt x="936924" y="589562"/>
                </a:cubicBezTo>
                <a:cubicBezTo>
                  <a:pt x="936924" y="589562"/>
                  <a:pt x="1114305" y="370370"/>
                  <a:pt x="1170916" y="298566"/>
                </a:cubicBezTo>
                <a:cubicBezTo>
                  <a:pt x="1235075" y="226762"/>
                  <a:pt x="1189786" y="124725"/>
                  <a:pt x="1159594" y="79375"/>
                </a:cubicBezTo>
                <a:close/>
                <a:moveTo>
                  <a:pt x="1167141" y="0"/>
                </a:moveTo>
                <a:cubicBezTo>
                  <a:pt x="1174695" y="0"/>
                  <a:pt x="1182250" y="3777"/>
                  <a:pt x="1189804" y="11332"/>
                </a:cubicBezTo>
                <a:cubicBezTo>
                  <a:pt x="1197358" y="18887"/>
                  <a:pt x="1337113" y="200203"/>
                  <a:pt x="1220021" y="339967"/>
                </a:cubicBezTo>
                <a:cubicBezTo>
                  <a:pt x="1178472" y="389074"/>
                  <a:pt x="1080266" y="506173"/>
                  <a:pt x="1027386" y="574167"/>
                </a:cubicBezTo>
                <a:cubicBezTo>
                  <a:pt x="1027386" y="574167"/>
                  <a:pt x="1027386" y="574167"/>
                  <a:pt x="1605291" y="574167"/>
                </a:cubicBezTo>
                <a:cubicBezTo>
                  <a:pt x="1688389" y="574167"/>
                  <a:pt x="1752600" y="642160"/>
                  <a:pt x="1752600" y="725264"/>
                </a:cubicBezTo>
                <a:cubicBezTo>
                  <a:pt x="1752600" y="781925"/>
                  <a:pt x="1718606" y="834809"/>
                  <a:pt x="1669503" y="857473"/>
                </a:cubicBezTo>
                <a:cubicBezTo>
                  <a:pt x="1695943" y="883915"/>
                  <a:pt x="1711051" y="921690"/>
                  <a:pt x="1711051" y="959464"/>
                </a:cubicBezTo>
                <a:cubicBezTo>
                  <a:pt x="1711051" y="1019902"/>
                  <a:pt x="1680834" y="1069009"/>
                  <a:pt x="1631731" y="1091673"/>
                </a:cubicBezTo>
                <a:cubicBezTo>
                  <a:pt x="1658171" y="1118115"/>
                  <a:pt x="1673280" y="1155889"/>
                  <a:pt x="1673280" y="1197441"/>
                </a:cubicBezTo>
                <a:cubicBezTo>
                  <a:pt x="1673280" y="1254102"/>
                  <a:pt x="1643063" y="1303208"/>
                  <a:pt x="1597737" y="1325873"/>
                </a:cubicBezTo>
                <a:cubicBezTo>
                  <a:pt x="1624177" y="1352315"/>
                  <a:pt x="1643063" y="1390089"/>
                  <a:pt x="1643063" y="1431641"/>
                </a:cubicBezTo>
                <a:cubicBezTo>
                  <a:pt x="1643063" y="1514744"/>
                  <a:pt x="1575074" y="1582737"/>
                  <a:pt x="1495754" y="1582737"/>
                </a:cubicBezTo>
                <a:cubicBezTo>
                  <a:pt x="1495754" y="1582737"/>
                  <a:pt x="1495754" y="1582737"/>
                  <a:pt x="1204913" y="1582737"/>
                </a:cubicBezTo>
                <a:cubicBezTo>
                  <a:pt x="1204913" y="1582737"/>
                  <a:pt x="1204913" y="1582737"/>
                  <a:pt x="747877" y="1582737"/>
                </a:cubicBezTo>
                <a:cubicBezTo>
                  <a:pt x="747877" y="1582737"/>
                  <a:pt x="744099" y="1582737"/>
                  <a:pt x="740322" y="1582737"/>
                </a:cubicBezTo>
                <a:cubicBezTo>
                  <a:pt x="740322" y="1582737"/>
                  <a:pt x="740322" y="1582737"/>
                  <a:pt x="434373" y="1507189"/>
                </a:cubicBezTo>
                <a:cubicBezTo>
                  <a:pt x="434373" y="1507189"/>
                  <a:pt x="434373" y="1507189"/>
                  <a:pt x="434373" y="1518521"/>
                </a:cubicBezTo>
                <a:cubicBezTo>
                  <a:pt x="434373" y="1556295"/>
                  <a:pt x="407933" y="1582737"/>
                  <a:pt x="373938" y="1582737"/>
                </a:cubicBezTo>
                <a:cubicBezTo>
                  <a:pt x="373938" y="1582737"/>
                  <a:pt x="373938" y="1582737"/>
                  <a:pt x="60434" y="1582737"/>
                </a:cubicBezTo>
                <a:cubicBezTo>
                  <a:pt x="26440" y="1582737"/>
                  <a:pt x="0" y="1552518"/>
                  <a:pt x="0" y="1518521"/>
                </a:cubicBezTo>
                <a:cubicBezTo>
                  <a:pt x="0" y="1518521"/>
                  <a:pt x="0" y="1518521"/>
                  <a:pt x="0" y="528838"/>
                </a:cubicBezTo>
                <a:cubicBezTo>
                  <a:pt x="0" y="491064"/>
                  <a:pt x="26440" y="464622"/>
                  <a:pt x="60434" y="464622"/>
                </a:cubicBezTo>
                <a:cubicBezTo>
                  <a:pt x="60434" y="464622"/>
                  <a:pt x="60434" y="464622"/>
                  <a:pt x="373938" y="464622"/>
                </a:cubicBezTo>
                <a:cubicBezTo>
                  <a:pt x="407933" y="464622"/>
                  <a:pt x="434373" y="491064"/>
                  <a:pt x="434373" y="528838"/>
                </a:cubicBezTo>
                <a:cubicBezTo>
                  <a:pt x="434373" y="528838"/>
                  <a:pt x="434373" y="528838"/>
                  <a:pt x="434373" y="600609"/>
                </a:cubicBezTo>
                <a:cubicBezTo>
                  <a:pt x="434373" y="600609"/>
                  <a:pt x="434373" y="600609"/>
                  <a:pt x="679888" y="449512"/>
                </a:cubicBezTo>
                <a:cubicBezTo>
                  <a:pt x="679888" y="449512"/>
                  <a:pt x="679888" y="449512"/>
                  <a:pt x="1144478" y="7555"/>
                </a:cubicBezTo>
                <a:cubicBezTo>
                  <a:pt x="1152032" y="3777"/>
                  <a:pt x="1159587" y="0"/>
                  <a:pt x="1167141" y="0"/>
                </a:cubicBezTo>
                <a:close/>
              </a:path>
            </a:pathLst>
          </a:custGeom>
          <a:solidFill>
            <a:srgbClr val="003755"/>
          </a:solidFill>
          <a:ln>
            <a:noFill/>
          </a:ln>
        </p:spPr>
        <p:txBody>
          <a:bodyPr vert="horz" wrap="square" lIns="91440" tIns="45720" rIns="91440" bIns="45720" numCol="1" anchor="t" anchorCtr="0" compatLnSpc="1">
            <a:prstTxWarp prst="textNoShape">
              <a:avLst/>
            </a:prstTxWarp>
            <a:noAutofit/>
          </a:bodyPr>
          <a:lstStyle/>
          <a:p>
            <a:endParaRPr lang="en-GB" sz="2000" dirty="0"/>
          </a:p>
        </p:txBody>
      </p:sp>
      <p:sp>
        <p:nvSpPr>
          <p:cNvPr id="2" name="TextBox 1"/>
          <p:cNvSpPr txBox="1"/>
          <p:nvPr/>
        </p:nvSpPr>
        <p:spPr>
          <a:xfrm>
            <a:off x="3173577" y="2500792"/>
            <a:ext cx="1416127" cy="307776"/>
          </a:xfrm>
          <a:prstGeom prst="rect">
            <a:avLst/>
          </a:prstGeom>
          <a:noFill/>
        </p:spPr>
        <p:txBody>
          <a:bodyPr wrap="square" lIns="0" tIns="0" rIns="0" bIns="0" rtlCol="0">
            <a:spAutoFit/>
          </a:bodyPr>
          <a:lstStyle/>
          <a:p>
            <a:r>
              <a:rPr lang="en-GB" sz="2000" dirty="0" smtClean="0">
                <a:solidFill>
                  <a:srgbClr val="003755"/>
                </a:solidFill>
              </a:rPr>
              <a:t>For</a:t>
            </a:r>
            <a:endParaRPr lang="en-GB" sz="2400" dirty="0" smtClean="0">
              <a:solidFill>
                <a:srgbClr val="003755"/>
              </a:solidFill>
            </a:endParaRPr>
          </a:p>
        </p:txBody>
      </p:sp>
      <p:sp>
        <p:nvSpPr>
          <p:cNvPr id="14" name="TextBox 13"/>
          <p:cNvSpPr txBox="1"/>
          <p:nvPr/>
        </p:nvSpPr>
        <p:spPr>
          <a:xfrm>
            <a:off x="3173577" y="3784775"/>
            <a:ext cx="2973997" cy="307776"/>
          </a:xfrm>
          <a:prstGeom prst="rect">
            <a:avLst/>
          </a:prstGeom>
          <a:noFill/>
        </p:spPr>
        <p:txBody>
          <a:bodyPr wrap="square" lIns="0" tIns="0" rIns="0" bIns="0" rtlCol="0">
            <a:spAutoFit/>
          </a:bodyPr>
          <a:lstStyle/>
          <a:p>
            <a:r>
              <a:rPr lang="en-GB" sz="2000" dirty="0" smtClean="0">
                <a:solidFill>
                  <a:srgbClr val="003755"/>
                </a:solidFill>
              </a:rPr>
              <a:t>Against/Withhold</a:t>
            </a:r>
          </a:p>
        </p:txBody>
      </p:sp>
      <p:sp>
        <p:nvSpPr>
          <p:cNvPr id="15" name="Thumbs up"/>
          <p:cNvSpPr>
            <a:spLocks noChangeAspect="1"/>
          </p:cNvSpPr>
          <p:nvPr>
            <p:custDataLst>
              <p:tags r:id="rId2"/>
            </p:custDataLst>
          </p:nvPr>
        </p:nvSpPr>
        <p:spPr bwMode="auto">
          <a:xfrm rot="10800000">
            <a:off x="2405742" y="3744944"/>
            <a:ext cx="610581" cy="551404"/>
          </a:xfrm>
          <a:custGeom>
            <a:avLst/>
            <a:gdLst>
              <a:gd name="connsiteX0" fmla="*/ 1205490 w 1752600"/>
              <a:gd name="connsiteY0" fmla="*/ 1349375 h 1582737"/>
              <a:gd name="connsiteX1" fmla="*/ 1122363 w 1752600"/>
              <a:gd name="connsiteY1" fmla="*/ 1432419 h 1582737"/>
              <a:gd name="connsiteX2" fmla="*/ 1205490 w 1752600"/>
              <a:gd name="connsiteY2" fmla="*/ 1519237 h 1582737"/>
              <a:gd name="connsiteX3" fmla="*/ 1496436 w 1752600"/>
              <a:gd name="connsiteY3" fmla="*/ 1519237 h 1582737"/>
              <a:gd name="connsiteX4" fmla="*/ 1579563 w 1752600"/>
              <a:gd name="connsiteY4" fmla="*/ 1436194 h 1582737"/>
              <a:gd name="connsiteX5" fmla="*/ 1496436 w 1752600"/>
              <a:gd name="connsiteY5" fmla="*/ 1349375 h 1582737"/>
              <a:gd name="connsiteX6" fmla="*/ 1205490 w 1752600"/>
              <a:gd name="connsiteY6" fmla="*/ 1349375 h 1582737"/>
              <a:gd name="connsiteX7" fmla="*/ 1239317 w 1752600"/>
              <a:gd name="connsiteY7" fmla="*/ 1111250 h 1582737"/>
              <a:gd name="connsiteX8" fmla="*/ 1152525 w 1752600"/>
              <a:gd name="connsiteY8" fmla="*/ 1197769 h 1582737"/>
              <a:gd name="connsiteX9" fmla="*/ 1239317 w 1752600"/>
              <a:gd name="connsiteY9" fmla="*/ 1284287 h 1582737"/>
              <a:gd name="connsiteX10" fmla="*/ 1526108 w 1752600"/>
              <a:gd name="connsiteY10" fmla="*/ 1284287 h 1582737"/>
              <a:gd name="connsiteX11" fmla="*/ 1612900 w 1752600"/>
              <a:gd name="connsiteY11" fmla="*/ 1197769 h 1582737"/>
              <a:gd name="connsiteX12" fmla="*/ 1526108 w 1752600"/>
              <a:gd name="connsiteY12" fmla="*/ 1111250 h 1582737"/>
              <a:gd name="connsiteX13" fmla="*/ 1239317 w 1752600"/>
              <a:gd name="connsiteY13" fmla="*/ 1111250 h 1582737"/>
              <a:gd name="connsiteX14" fmla="*/ 1277417 w 1752600"/>
              <a:gd name="connsiteY14" fmla="*/ 876300 h 1582737"/>
              <a:gd name="connsiteX15" fmla="*/ 1190625 w 1752600"/>
              <a:gd name="connsiteY15" fmla="*/ 959344 h 1582737"/>
              <a:gd name="connsiteX16" fmla="*/ 1277417 w 1752600"/>
              <a:gd name="connsiteY16" fmla="*/ 1046162 h 1582737"/>
              <a:gd name="connsiteX17" fmla="*/ 1564208 w 1752600"/>
              <a:gd name="connsiteY17" fmla="*/ 1046162 h 1582737"/>
              <a:gd name="connsiteX18" fmla="*/ 1651000 w 1752600"/>
              <a:gd name="connsiteY18" fmla="*/ 963119 h 1582737"/>
              <a:gd name="connsiteX19" fmla="*/ 1564208 w 1752600"/>
              <a:gd name="connsiteY19" fmla="*/ 876300 h 1582737"/>
              <a:gd name="connsiteX20" fmla="*/ 1277417 w 1752600"/>
              <a:gd name="connsiteY20" fmla="*/ 876300 h 1582737"/>
              <a:gd name="connsiteX21" fmla="*/ 1318202 w 1752600"/>
              <a:gd name="connsiteY21" fmla="*/ 638175 h 1582737"/>
              <a:gd name="connsiteX22" fmla="*/ 1235075 w 1752600"/>
              <a:gd name="connsiteY22" fmla="*/ 725487 h 1582737"/>
              <a:gd name="connsiteX23" fmla="*/ 1318202 w 1752600"/>
              <a:gd name="connsiteY23" fmla="*/ 812800 h 1582737"/>
              <a:gd name="connsiteX24" fmla="*/ 1605369 w 1752600"/>
              <a:gd name="connsiteY24" fmla="*/ 812800 h 1582737"/>
              <a:gd name="connsiteX25" fmla="*/ 1692275 w 1752600"/>
              <a:gd name="connsiteY25" fmla="*/ 725487 h 1582737"/>
              <a:gd name="connsiteX26" fmla="*/ 1605369 w 1752600"/>
              <a:gd name="connsiteY26" fmla="*/ 638175 h 1582737"/>
              <a:gd name="connsiteX27" fmla="*/ 1382437 w 1752600"/>
              <a:gd name="connsiteY27" fmla="*/ 638175 h 1582737"/>
              <a:gd name="connsiteX28" fmla="*/ 1318202 w 1752600"/>
              <a:gd name="connsiteY28" fmla="*/ 638175 h 1582737"/>
              <a:gd name="connsiteX29" fmla="*/ 1159594 w 1752600"/>
              <a:gd name="connsiteY29" fmla="*/ 79375 h 1582737"/>
              <a:gd name="connsiteX30" fmla="*/ 718029 w 1752600"/>
              <a:gd name="connsiteY30" fmla="*/ 495083 h 1582737"/>
              <a:gd name="connsiteX31" fmla="*/ 434975 w 1752600"/>
              <a:gd name="connsiteY31" fmla="*/ 672704 h 1582737"/>
              <a:gd name="connsiteX32" fmla="*/ 434975 w 1752600"/>
              <a:gd name="connsiteY32" fmla="*/ 1443654 h 1582737"/>
              <a:gd name="connsiteX33" fmla="*/ 751996 w 1752600"/>
              <a:gd name="connsiteY33" fmla="*/ 1519237 h 1582737"/>
              <a:gd name="connsiteX34" fmla="*/ 1087887 w 1752600"/>
              <a:gd name="connsiteY34" fmla="*/ 1519237 h 1582737"/>
              <a:gd name="connsiteX35" fmla="*/ 1057694 w 1752600"/>
              <a:gd name="connsiteY35" fmla="*/ 1436096 h 1582737"/>
              <a:gd name="connsiteX36" fmla="*/ 1136949 w 1752600"/>
              <a:gd name="connsiteY36" fmla="*/ 1303825 h 1582737"/>
              <a:gd name="connsiteX37" fmla="*/ 1091661 w 1752600"/>
              <a:gd name="connsiteY37" fmla="*/ 1198008 h 1582737"/>
              <a:gd name="connsiteX38" fmla="*/ 1170916 w 1752600"/>
              <a:gd name="connsiteY38" fmla="*/ 1065737 h 1582737"/>
              <a:gd name="connsiteX39" fmla="*/ 1129401 w 1752600"/>
              <a:gd name="connsiteY39" fmla="*/ 963700 h 1582737"/>
              <a:gd name="connsiteX40" fmla="*/ 1212431 w 1752600"/>
              <a:gd name="connsiteY40" fmla="*/ 827650 h 1582737"/>
              <a:gd name="connsiteX41" fmla="*/ 1170916 w 1752600"/>
              <a:gd name="connsiteY41" fmla="*/ 725612 h 1582737"/>
              <a:gd name="connsiteX42" fmla="*/ 1201109 w 1752600"/>
              <a:gd name="connsiteY42" fmla="*/ 638691 h 1582737"/>
              <a:gd name="connsiteX43" fmla="*/ 963343 w 1752600"/>
              <a:gd name="connsiteY43" fmla="*/ 638691 h 1582737"/>
              <a:gd name="connsiteX44" fmla="*/ 933150 w 1752600"/>
              <a:gd name="connsiteY44" fmla="*/ 619795 h 1582737"/>
              <a:gd name="connsiteX45" fmla="*/ 936924 w 1752600"/>
              <a:gd name="connsiteY45" fmla="*/ 589562 h 1582737"/>
              <a:gd name="connsiteX46" fmla="*/ 1170916 w 1752600"/>
              <a:gd name="connsiteY46" fmla="*/ 298566 h 1582737"/>
              <a:gd name="connsiteX47" fmla="*/ 1159594 w 1752600"/>
              <a:gd name="connsiteY47" fmla="*/ 79375 h 1582737"/>
              <a:gd name="connsiteX48" fmla="*/ 1167141 w 1752600"/>
              <a:gd name="connsiteY48" fmla="*/ 0 h 1582737"/>
              <a:gd name="connsiteX49" fmla="*/ 1189804 w 1752600"/>
              <a:gd name="connsiteY49" fmla="*/ 11332 h 1582737"/>
              <a:gd name="connsiteX50" fmla="*/ 1220021 w 1752600"/>
              <a:gd name="connsiteY50" fmla="*/ 339967 h 1582737"/>
              <a:gd name="connsiteX51" fmla="*/ 1027386 w 1752600"/>
              <a:gd name="connsiteY51" fmla="*/ 574167 h 1582737"/>
              <a:gd name="connsiteX52" fmla="*/ 1605291 w 1752600"/>
              <a:gd name="connsiteY52" fmla="*/ 574167 h 1582737"/>
              <a:gd name="connsiteX53" fmla="*/ 1752600 w 1752600"/>
              <a:gd name="connsiteY53" fmla="*/ 725264 h 1582737"/>
              <a:gd name="connsiteX54" fmla="*/ 1669503 w 1752600"/>
              <a:gd name="connsiteY54" fmla="*/ 857473 h 1582737"/>
              <a:gd name="connsiteX55" fmla="*/ 1711051 w 1752600"/>
              <a:gd name="connsiteY55" fmla="*/ 959464 h 1582737"/>
              <a:gd name="connsiteX56" fmla="*/ 1631731 w 1752600"/>
              <a:gd name="connsiteY56" fmla="*/ 1091673 h 1582737"/>
              <a:gd name="connsiteX57" fmla="*/ 1673280 w 1752600"/>
              <a:gd name="connsiteY57" fmla="*/ 1197441 h 1582737"/>
              <a:gd name="connsiteX58" fmla="*/ 1597737 w 1752600"/>
              <a:gd name="connsiteY58" fmla="*/ 1325873 h 1582737"/>
              <a:gd name="connsiteX59" fmla="*/ 1643063 w 1752600"/>
              <a:gd name="connsiteY59" fmla="*/ 1431641 h 1582737"/>
              <a:gd name="connsiteX60" fmla="*/ 1495754 w 1752600"/>
              <a:gd name="connsiteY60" fmla="*/ 1582737 h 1582737"/>
              <a:gd name="connsiteX61" fmla="*/ 1204913 w 1752600"/>
              <a:gd name="connsiteY61" fmla="*/ 1582737 h 1582737"/>
              <a:gd name="connsiteX62" fmla="*/ 747877 w 1752600"/>
              <a:gd name="connsiteY62" fmla="*/ 1582737 h 1582737"/>
              <a:gd name="connsiteX63" fmla="*/ 740322 w 1752600"/>
              <a:gd name="connsiteY63" fmla="*/ 1582737 h 1582737"/>
              <a:gd name="connsiteX64" fmla="*/ 434373 w 1752600"/>
              <a:gd name="connsiteY64" fmla="*/ 1507189 h 1582737"/>
              <a:gd name="connsiteX65" fmla="*/ 434373 w 1752600"/>
              <a:gd name="connsiteY65" fmla="*/ 1518521 h 1582737"/>
              <a:gd name="connsiteX66" fmla="*/ 373938 w 1752600"/>
              <a:gd name="connsiteY66" fmla="*/ 1582737 h 1582737"/>
              <a:gd name="connsiteX67" fmla="*/ 60434 w 1752600"/>
              <a:gd name="connsiteY67" fmla="*/ 1582737 h 1582737"/>
              <a:gd name="connsiteX68" fmla="*/ 0 w 1752600"/>
              <a:gd name="connsiteY68" fmla="*/ 1518521 h 1582737"/>
              <a:gd name="connsiteX69" fmla="*/ 0 w 1752600"/>
              <a:gd name="connsiteY69" fmla="*/ 528838 h 1582737"/>
              <a:gd name="connsiteX70" fmla="*/ 60434 w 1752600"/>
              <a:gd name="connsiteY70" fmla="*/ 464622 h 1582737"/>
              <a:gd name="connsiteX71" fmla="*/ 373938 w 1752600"/>
              <a:gd name="connsiteY71" fmla="*/ 464622 h 1582737"/>
              <a:gd name="connsiteX72" fmla="*/ 434373 w 1752600"/>
              <a:gd name="connsiteY72" fmla="*/ 528838 h 1582737"/>
              <a:gd name="connsiteX73" fmla="*/ 434373 w 1752600"/>
              <a:gd name="connsiteY73" fmla="*/ 600609 h 1582737"/>
              <a:gd name="connsiteX74" fmla="*/ 679888 w 1752600"/>
              <a:gd name="connsiteY74" fmla="*/ 449512 h 1582737"/>
              <a:gd name="connsiteX75" fmla="*/ 1144478 w 1752600"/>
              <a:gd name="connsiteY75" fmla="*/ 7555 h 1582737"/>
              <a:gd name="connsiteX76" fmla="*/ 1167141 w 1752600"/>
              <a:gd name="connsiteY76" fmla="*/ 0 h 1582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752600" h="1582737">
                <a:moveTo>
                  <a:pt x="1205490" y="1349375"/>
                </a:moveTo>
                <a:cubicBezTo>
                  <a:pt x="1160148" y="1349375"/>
                  <a:pt x="1122363" y="1387122"/>
                  <a:pt x="1122363" y="1432419"/>
                </a:cubicBezTo>
                <a:cubicBezTo>
                  <a:pt x="1122363" y="1481490"/>
                  <a:pt x="1160148" y="1519237"/>
                  <a:pt x="1205490" y="1519237"/>
                </a:cubicBezTo>
                <a:cubicBezTo>
                  <a:pt x="1205490" y="1519237"/>
                  <a:pt x="1205490" y="1519237"/>
                  <a:pt x="1496436" y="1519237"/>
                </a:cubicBezTo>
                <a:cubicBezTo>
                  <a:pt x="1541778" y="1519237"/>
                  <a:pt x="1579563" y="1481490"/>
                  <a:pt x="1579563" y="1436194"/>
                </a:cubicBezTo>
                <a:cubicBezTo>
                  <a:pt x="1579563" y="1387122"/>
                  <a:pt x="1541778" y="1349375"/>
                  <a:pt x="1496436" y="1349375"/>
                </a:cubicBezTo>
                <a:cubicBezTo>
                  <a:pt x="1496436" y="1349375"/>
                  <a:pt x="1496436" y="1349375"/>
                  <a:pt x="1205490" y="1349375"/>
                </a:cubicBezTo>
                <a:close/>
                <a:moveTo>
                  <a:pt x="1239317" y="1111250"/>
                </a:moveTo>
                <a:cubicBezTo>
                  <a:pt x="1194034" y="1111250"/>
                  <a:pt x="1152525" y="1148867"/>
                  <a:pt x="1152525" y="1197769"/>
                </a:cubicBezTo>
                <a:cubicBezTo>
                  <a:pt x="1152525" y="1246671"/>
                  <a:pt x="1194034" y="1284287"/>
                  <a:pt x="1239317" y="1284287"/>
                </a:cubicBezTo>
                <a:cubicBezTo>
                  <a:pt x="1239317" y="1284287"/>
                  <a:pt x="1239317" y="1284287"/>
                  <a:pt x="1526108" y="1284287"/>
                </a:cubicBezTo>
                <a:cubicBezTo>
                  <a:pt x="1575164" y="1284287"/>
                  <a:pt x="1612900" y="1246671"/>
                  <a:pt x="1612900" y="1197769"/>
                </a:cubicBezTo>
                <a:cubicBezTo>
                  <a:pt x="1612900" y="1148867"/>
                  <a:pt x="1575164" y="1111250"/>
                  <a:pt x="1526108" y="1111250"/>
                </a:cubicBezTo>
                <a:cubicBezTo>
                  <a:pt x="1526108" y="1111250"/>
                  <a:pt x="1526108" y="1111250"/>
                  <a:pt x="1239317" y="1111250"/>
                </a:cubicBezTo>
                <a:close/>
                <a:moveTo>
                  <a:pt x="1277417" y="876300"/>
                </a:moveTo>
                <a:cubicBezTo>
                  <a:pt x="1232134" y="876300"/>
                  <a:pt x="1190625" y="914047"/>
                  <a:pt x="1190625" y="959344"/>
                </a:cubicBezTo>
                <a:cubicBezTo>
                  <a:pt x="1190625" y="1008415"/>
                  <a:pt x="1232134" y="1046162"/>
                  <a:pt x="1277417" y="1046162"/>
                </a:cubicBezTo>
                <a:lnTo>
                  <a:pt x="1564208" y="1046162"/>
                </a:lnTo>
                <a:cubicBezTo>
                  <a:pt x="1613264" y="1046162"/>
                  <a:pt x="1651000" y="1008415"/>
                  <a:pt x="1651000" y="963119"/>
                </a:cubicBezTo>
                <a:cubicBezTo>
                  <a:pt x="1651000" y="914047"/>
                  <a:pt x="1613264" y="876300"/>
                  <a:pt x="1564208" y="876300"/>
                </a:cubicBezTo>
                <a:cubicBezTo>
                  <a:pt x="1564208" y="876300"/>
                  <a:pt x="1564208" y="876300"/>
                  <a:pt x="1277417" y="876300"/>
                </a:cubicBezTo>
                <a:close/>
                <a:moveTo>
                  <a:pt x="1318202" y="638175"/>
                </a:moveTo>
                <a:cubicBezTo>
                  <a:pt x="1272860" y="638175"/>
                  <a:pt x="1235075" y="676137"/>
                  <a:pt x="1235075" y="725487"/>
                </a:cubicBezTo>
                <a:cubicBezTo>
                  <a:pt x="1235075" y="771042"/>
                  <a:pt x="1272860" y="812800"/>
                  <a:pt x="1318202" y="812800"/>
                </a:cubicBezTo>
                <a:cubicBezTo>
                  <a:pt x="1318202" y="812800"/>
                  <a:pt x="1318202" y="812800"/>
                  <a:pt x="1605369" y="812800"/>
                </a:cubicBezTo>
                <a:cubicBezTo>
                  <a:pt x="1654490" y="812800"/>
                  <a:pt x="1692275" y="771042"/>
                  <a:pt x="1692275" y="725487"/>
                </a:cubicBezTo>
                <a:cubicBezTo>
                  <a:pt x="1692275" y="676137"/>
                  <a:pt x="1654490" y="638175"/>
                  <a:pt x="1605369" y="638175"/>
                </a:cubicBezTo>
                <a:cubicBezTo>
                  <a:pt x="1605369" y="638175"/>
                  <a:pt x="1605369" y="638175"/>
                  <a:pt x="1382437" y="638175"/>
                </a:cubicBezTo>
                <a:cubicBezTo>
                  <a:pt x="1382437" y="638175"/>
                  <a:pt x="1382437" y="638175"/>
                  <a:pt x="1318202" y="638175"/>
                </a:cubicBezTo>
                <a:close/>
                <a:moveTo>
                  <a:pt x="1159594" y="79375"/>
                </a:moveTo>
                <a:cubicBezTo>
                  <a:pt x="1159594" y="79375"/>
                  <a:pt x="1159594" y="79375"/>
                  <a:pt x="718029" y="495083"/>
                </a:cubicBezTo>
                <a:cubicBezTo>
                  <a:pt x="718029" y="495083"/>
                  <a:pt x="718029" y="495083"/>
                  <a:pt x="434975" y="672704"/>
                </a:cubicBezTo>
                <a:lnTo>
                  <a:pt x="434975" y="1443654"/>
                </a:lnTo>
                <a:cubicBezTo>
                  <a:pt x="434975" y="1443654"/>
                  <a:pt x="434975" y="1443654"/>
                  <a:pt x="751996" y="1519237"/>
                </a:cubicBezTo>
                <a:cubicBezTo>
                  <a:pt x="751996" y="1519237"/>
                  <a:pt x="751996" y="1519237"/>
                  <a:pt x="1087887" y="1519237"/>
                </a:cubicBezTo>
                <a:cubicBezTo>
                  <a:pt x="1069016" y="1496562"/>
                  <a:pt x="1057694" y="1466329"/>
                  <a:pt x="1057694" y="1436096"/>
                </a:cubicBezTo>
                <a:cubicBezTo>
                  <a:pt x="1057694" y="1379408"/>
                  <a:pt x="1091661" y="1330279"/>
                  <a:pt x="1136949" y="1303825"/>
                </a:cubicBezTo>
                <a:cubicBezTo>
                  <a:pt x="1110531" y="1277371"/>
                  <a:pt x="1091661" y="1239579"/>
                  <a:pt x="1091661" y="1198008"/>
                </a:cubicBezTo>
                <a:cubicBezTo>
                  <a:pt x="1091661" y="1141321"/>
                  <a:pt x="1125627" y="1092192"/>
                  <a:pt x="1170916" y="1065737"/>
                </a:cubicBezTo>
                <a:cubicBezTo>
                  <a:pt x="1144498" y="1039283"/>
                  <a:pt x="1129401" y="1001492"/>
                  <a:pt x="1129401" y="963700"/>
                </a:cubicBezTo>
                <a:cubicBezTo>
                  <a:pt x="1129401" y="903233"/>
                  <a:pt x="1163368" y="850325"/>
                  <a:pt x="1212431" y="827650"/>
                </a:cubicBezTo>
                <a:cubicBezTo>
                  <a:pt x="1186012" y="801195"/>
                  <a:pt x="1170916" y="763404"/>
                  <a:pt x="1170916" y="725612"/>
                </a:cubicBezTo>
                <a:cubicBezTo>
                  <a:pt x="1170916" y="691600"/>
                  <a:pt x="1182238" y="661366"/>
                  <a:pt x="1201109" y="638691"/>
                </a:cubicBezTo>
                <a:cubicBezTo>
                  <a:pt x="1201109" y="638691"/>
                  <a:pt x="1201109" y="638691"/>
                  <a:pt x="963343" y="638691"/>
                </a:cubicBezTo>
                <a:cubicBezTo>
                  <a:pt x="948247" y="638691"/>
                  <a:pt x="936924" y="631133"/>
                  <a:pt x="933150" y="619795"/>
                </a:cubicBezTo>
                <a:cubicBezTo>
                  <a:pt x="929376" y="608458"/>
                  <a:pt x="929376" y="597120"/>
                  <a:pt x="936924" y="589562"/>
                </a:cubicBezTo>
                <a:cubicBezTo>
                  <a:pt x="936924" y="589562"/>
                  <a:pt x="1114305" y="370370"/>
                  <a:pt x="1170916" y="298566"/>
                </a:cubicBezTo>
                <a:cubicBezTo>
                  <a:pt x="1235075" y="226762"/>
                  <a:pt x="1189786" y="124725"/>
                  <a:pt x="1159594" y="79375"/>
                </a:cubicBezTo>
                <a:close/>
                <a:moveTo>
                  <a:pt x="1167141" y="0"/>
                </a:moveTo>
                <a:cubicBezTo>
                  <a:pt x="1174695" y="0"/>
                  <a:pt x="1182250" y="3777"/>
                  <a:pt x="1189804" y="11332"/>
                </a:cubicBezTo>
                <a:cubicBezTo>
                  <a:pt x="1197358" y="18887"/>
                  <a:pt x="1337113" y="200203"/>
                  <a:pt x="1220021" y="339967"/>
                </a:cubicBezTo>
                <a:cubicBezTo>
                  <a:pt x="1178472" y="389074"/>
                  <a:pt x="1080266" y="506173"/>
                  <a:pt x="1027386" y="574167"/>
                </a:cubicBezTo>
                <a:cubicBezTo>
                  <a:pt x="1027386" y="574167"/>
                  <a:pt x="1027386" y="574167"/>
                  <a:pt x="1605291" y="574167"/>
                </a:cubicBezTo>
                <a:cubicBezTo>
                  <a:pt x="1688389" y="574167"/>
                  <a:pt x="1752600" y="642160"/>
                  <a:pt x="1752600" y="725264"/>
                </a:cubicBezTo>
                <a:cubicBezTo>
                  <a:pt x="1752600" y="781925"/>
                  <a:pt x="1718606" y="834809"/>
                  <a:pt x="1669503" y="857473"/>
                </a:cubicBezTo>
                <a:cubicBezTo>
                  <a:pt x="1695943" y="883915"/>
                  <a:pt x="1711051" y="921690"/>
                  <a:pt x="1711051" y="959464"/>
                </a:cubicBezTo>
                <a:cubicBezTo>
                  <a:pt x="1711051" y="1019902"/>
                  <a:pt x="1680834" y="1069009"/>
                  <a:pt x="1631731" y="1091673"/>
                </a:cubicBezTo>
                <a:cubicBezTo>
                  <a:pt x="1658171" y="1118115"/>
                  <a:pt x="1673280" y="1155889"/>
                  <a:pt x="1673280" y="1197441"/>
                </a:cubicBezTo>
                <a:cubicBezTo>
                  <a:pt x="1673280" y="1254102"/>
                  <a:pt x="1643063" y="1303208"/>
                  <a:pt x="1597737" y="1325873"/>
                </a:cubicBezTo>
                <a:cubicBezTo>
                  <a:pt x="1624177" y="1352315"/>
                  <a:pt x="1643063" y="1390089"/>
                  <a:pt x="1643063" y="1431641"/>
                </a:cubicBezTo>
                <a:cubicBezTo>
                  <a:pt x="1643063" y="1514744"/>
                  <a:pt x="1575074" y="1582737"/>
                  <a:pt x="1495754" y="1582737"/>
                </a:cubicBezTo>
                <a:cubicBezTo>
                  <a:pt x="1495754" y="1582737"/>
                  <a:pt x="1495754" y="1582737"/>
                  <a:pt x="1204913" y="1582737"/>
                </a:cubicBezTo>
                <a:cubicBezTo>
                  <a:pt x="1204913" y="1582737"/>
                  <a:pt x="1204913" y="1582737"/>
                  <a:pt x="747877" y="1582737"/>
                </a:cubicBezTo>
                <a:cubicBezTo>
                  <a:pt x="747877" y="1582737"/>
                  <a:pt x="744099" y="1582737"/>
                  <a:pt x="740322" y="1582737"/>
                </a:cubicBezTo>
                <a:cubicBezTo>
                  <a:pt x="740322" y="1582737"/>
                  <a:pt x="740322" y="1582737"/>
                  <a:pt x="434373" y="1507189"/>
                </a:cubicBezTo>
                <a:cubicBezTo>
                  <a:pt x="434373" y="1507189"/>
                  <a:pt x="434373" y="1507189"/>
                  <a:pt x="434373" y="1518521"/>
                </a:cubicBezTo>
                <a:cubicBezTo>
                  <a:pt x="434373" y="1556295"/>
                  <a:pt x="407933" y="1582737"/>
                  <a:pt x="373938" y="1582737"/>
                </a:cubicBezTo>
                <a:cubicBezTo>
                  <a:pt x="373938" y="1582737"/>
                  <a:pt x="373938" y="1582737"/>
                  <a:pt x="60434" y="1582737"/>
                </a:cubicBezTo>
                <a:cubicBezTo>
                  <a:pt x="26440" y="1582737"/>
                  <a:pt x="0" y="1552518"/>
                  <a:pt x="0" y="1518521"/>
                </a:cubicBezTo>
                <a:cubicBezTo>
                  <a:pt x="0" y="1518521"/>
                  <a:pt x="0" y="1518521"/>
                  <a:pt x="0" y="528838"/>
                </a:cubicBezTo>
                <a:cubicBezTo>
                  <a:pt x="0" y="491064"/>
                  <a:pt x="26440" y="464622"/>
                  <a:pt x="60434" y="464622"/>
                </a:cubicBezTo>
                <a:cubicBezTo>
                  <a:pt x="60434" y="464622"/>
                  <a:pt x="60434" y="464622"/>
                  <a:pt x="373938" y="464622"/>
                </a:cubicBezTo>
                <a:cubicBezTo>
                  <a:pt x="407933" y="464622"/>
                  <a:pt x="434373" y="491064"/>
                  <a:pt x="434373" y="528838"/>
                </a:cubicBezTo>
                <a:cubicBezTo>
                  <a:pt x="434373" y="528838"/>
                  <a:pt x="434373" y="528838"/>
                  <a:pt x="434373" y="600609"/>
                </a:cubicBezTo>
                <a:cubicBezTo>
                  <a:pt x="434373" y="600609"/>
                  <a:pt x="434373" y="600609"/>
                  <a:pt x="679888" y="449512"/>
                </a:cubicBezTo>
                <a:cubicBezTo>
                  <a:pt x="679888" y="449512"/>
                  <a:pt x="679888" y="449512"/>
                  <a:pt x="1144478" y="7555"/>
                </a:cubicBezTo>
                <a:cubicBezTo>
                  <a:pt x="1152032" y="3777"/>
                  <a:pt x="1159587" y="0"/>
                  <a:pt x="1167141" y="0"/>
                </a:cubicBezTo>
                <a:close/>
              </a:path>
            </a:pathLst>
          </a:custGeom>
          <a:solidFill>
            <a:srgbClr val="003755"/>
          </a:solidFill>
          <a:ln>
            <a:noFill/>
          </a:ln>
        </p:spPr>
        <p:txBody>
          <a:bodyPr vert="horz" wrap="square" lIns="91440" tIns="45720" rIns="91440" bIns="45720" numCol="1" anchor="t" anchorCtr="0" compatLnSpc="1">
            <a:prstTxWarp prst="textNoShape">
              <a:avLst/>
            </a:prstTxWarp>
            <a:noAutofit/>
          </a:bodyPr>
          <a:lstStyle/>
          <a:p>
            <a:endParaRPr lang="en-GB" sz="2000" dirty="0"/>
          </a:p>
        </p:txBody>
      </p:sp>
      <p:sp>
        <p:nvSpPr>
          <p:cNvPr id="16" name="Payment"/>
          <p:cNvSpPr>
            <a:spLocks noChangeAspect="1" noEditPoints="1"/>
          </p:cNvSpPr>
          <p:nvPr>
            <p:custDataLst>
              <p:tags r:id="rId3"/>
            </p:custDataLst>
          </p:nvPr>
        </p:nvSpPr>
        <p:spPr bwMode="auto">
          <a:xfrm>
            <a:off x="2345557" y="5087876"/>
            <a:ext cx="730950" cy="419784"/>
          </a:xfrm>
          <a:custGeom>
            <a:avLst/>
            <a:gdLst>
              <a:gd name="T0" fmla="*/ 77 w 419"/>
              <a:gd name="T1" fmla="*/ 0 h 239"/>
              <a:gd name="T2" fmla="*/ 72 w 419"/>
              <a:gd name="T3" fmla="*/ 36 h 239"/>
              <a:gd name="T4" fmla="*/ 36 w 419"/>
              <a:gd name="T5" fmla="*/ 41 h 239"/>
              <a:gd name="T6" fmla="*/ 5 w 419"/>
              <a:gd name="T7" fmla="*/ 74 h 239"/>
              <a:gd name="T8" fmla="*/ 0 w 419"/>
              <a:gd name="T9" fmla="*/ 234 h 239"/>
              <a:gd name="T10" fmla="*/ 341 w 419"/>
              <a:gd name="T11" fmla="*/ 239 h 239"/>
              <a:gd name="T12" fmla="*/ 346 w 419"/>
              <a:gd name="T13" fmla="*/ 201 h 239"/>
              <a:gd name="T14" fmla="*/ 382 w 419"/>
              <a:gd name="T15" fmla="*/ 196 h 239"/>
              <a:gd name="T16" fmla="*/ 413 w 419"/>
              <a:gd name="T17" fmla="*/ 165 h 239"/>
              <a:gd name="T18" fmla="*/ 419 w 419"/>
              <a:gd name="T19" fmla="*/ 5 h 239"/>
              <a:gd name="T20" fmla="*/ 408 w 419"/>
              <a:gd name="T21" fmla="*/ 155 h 239"/>
              <a:gd name="T22" fmla="*/ 382 w 419"/>
              <a:gd name="T23" fmla="*/ 41 h 239"/>
              <a:gd name="T24" fmla="*/ 82 w 419"/>
              <a:gd name="T25" fmla="*/ 36 h 239"/>
              <a:gd name="T26" fmla="*/ 408 w 419"/>
              <a:gd name="T27" fmla="*/ 10 h 239"/>
              <a:gd name="T28" fmla="*/ 10 w 419"/>
              <a:gd name="T29" fmla="*/ 228 h 239"/>
              <a:gd name="T30" fmla="*/ 336 w 419"/>
              <a:gd name="T31" fmla="*/ 84 h 239"/>
              <a:gd name="T32" fmla="*/ 10 w 419"/>
              <a:gd name="T33" fmla="*/ 229 h 239"/>
              <a:gd name="T34" fmla="*/ 346 w 419"/>
              <a:gd name="T35" fmla="*/ 79 h 239"/>
              <a:gd name="T36" fmla="*/ 46 w 419"/>
              <a:gd name="T37" fmla="*/ 74 h 239"/>
              <a:gd name="T38" fmla="*/ 372 w 419"/>
              <a:gd name="T39" fmla="*/ 46 h 239"/>
              <a:gd name="T40" fmla="*/ 346 w 419"/>
              <a:gd name="T41" fmla="*/ 191 h 239"/>
              <a:gd name="T42" fmla="*/ 37 w 419"/>
              <a:gd name="T43" fmla="*/ 162 h 239"/>
              <a:gd name="T44" fmla="*/ 32 w 419"/>
              <a:gd name="T45" fmla="*/ 116 h 239"/>
              <a:gd name="T46" fmla="*/ 168 w 419"/>
              <a:gd name="T47" fmla="*/ 111 h 239"/>
              <a:gd name="T48" fmla="*/ 173 w 419"/>
              <a:gd name="T49" fmla="*/ 157 h 239"/>
              <a:gd name="T50" fmla="*/ 37 w 419"/>
              <a:gd name="T51" fmla="*/ 162 h 239"/>
              <a:gd name="T52" fmla="*/ 271 w 419"/>
              <a:gd name="T53" fmla="*/ 142 h 239"/>
              <a:gd name="T54" fmla="*/ 276 w 419"/>
              <a:gd name="T55" fmla="*/ 102 h 239"/>
              <a:gd name="T56" fmla="*/ 315 w 419"/>
              <a:gd name="T57" fmla="*/ 108 h 239"/>
              <a:gd name="T58" fmla="*/ 310 w 419"/>
              <a:gd name="T59" fmla="*/ 147 h 239"/>
              <a:gd name="T60" fmla="*/ 281 w 419"/>
              <a:gd name="T61" fmla="*/ 113 h 239"/>
              <a:gd name="T62" fmla="*/ 305 w 419"/>
              <a:gd name="T63" fmla="*/ 137 h 239"/>
              <a:gd name="T64" fmla="*/ 281 w 419"/>
              <a:gd name="T65" fmla="*/ 11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9" h="239">
                <a:moveTo>
                  <a:pt x="413" y="0"/>
                </a:moveTo>
                <a:cubicBezTo>
                  <a:pt x="77" y="0"/>
                  <a:pt x="77" y="0"/>
                  <a:pt x="77" y="0"/>
                </a:cubicBezTo>
                <a:cubicBezTo>
                  <a:pt x="74" y="0"/>
                  <a:pt x="72" y="2"/>
                  <a:pt x="72" y="5"/>
                </a:cubicBezTo>
                <a:cubicBezTo>
                  <a:pt x="72" y="36"/>
                  <a:pt x="72" y="36"/>
                  <a:pt x="72" y="36"/>
                </a:cubicBezTo>
                <a:cubicBezTo>
                  <a:pt x="41" y="36"/>
                  <a:pt x="41" y="36"/>
                  <a:pt x="41" y="36"/>
                </a:cubicBezTo>
                <a:cubicBezTo>
                  <a:pt x="38" y="36"/>
                  <a:pt x="36" y="38"/>
                  <a:pt x="36" y="41"/>
                </a:cubicBezTo>
                <a:cubicBezTo>
                  <a:pt x="36" y="74"/>
                  <a:pt x="36" y="74"/>
                  <a:pt x="36" y="74"/>
                </a:cubicBezTo>
                <a:cubicBezTo>
                  <a:pt x="5" y="74"/>
                  <a:pt x="5" y="74"/>
                  <a:pt x="5" y="74"/>
                </a:cubicBezTo>
                <a:cubicBezTo>
                  <a:pt x="2" y="74"/>
                  <a:pt x="0" y="76"/>
                  <a:pt x="0" y="79"/>
                </a:cubicBezTo>
                <a:cubicBezTo>
                  <a:pt x="0" y="234"/>
                  <a:pt x="0" y="234"/>
                  <a:pt x="0" y="234"/>
                </a:cubicBezTo>
                <a:cubicBezTo>
                  <a:pt x="0" y="237"/>
                  <a:pt x="2" y="239"/>
                  <a:pt x="5" y="239"/>
                </a:cubicBezTo>
                <a:cubicBezTo>
                  <a:pt x="341" y="239"/>
                  <a:pt x="341" y="239"/>
                  <a:pt x="341" y="239"/>
                </a:cubicBezTo>
                <a:cubicBezTo>
                  <a:pt x="344" y="239"/>
                  <a:pt x="346" y="237"/>
                  <a:pt x="346" y="234"/>
                </a:cubicBezTo>
                <a:cubicBezTo>
                  <a:pt x="346" y="201"/>
                  <a:pt x="346" y="201"/>
                  <a:pt x="346" y="201"/>
                </a:cubicBezTo>
                <a:cubicBezTo>
                  <a:pt x="377" y="201"/>
                  <a:pt x="377" y="201"/>
                  <a:pt x="377" y="201"/>
                </a:cubicBezTo>
                <a:cubicBezTo>
                  <a:pt x="380" y="201"/>
                  <a:pt x="382" y="199"/>
                  <a:pt x="382" y="196"/>
                </a:cubicBezTo>
                <a:cubicBezTo>
                  <a:pt x="382" y="165"/>
                  <a:pt x="382" y="165"/>
                  <a:pt x="382" y="165"/>
                </a:cubicBezTo>
                <a:cubicBezTo>
                  <a:pt x="413" y="165"/>
                  <a:pt x="413" y="165"/>
                  <a:pt x="413" y="165"/>
                </a:cubicBezTo>
                <a:cubicBezTo>
                  <a:pt x="416" y="165"/>
                  <a:pt x="419" y="163"/>
                  <a:pt x="419" y="160"/>
                </a:cubicBezTo>
                <a:cubicBezTo>
                  <a:pt x="419" y="5"/>
                  <a:pt x="419" y="5"/>
                  <a:pt x="419" y="5"/>
                </a:cubicBezTo>
                <a:cubicBezTo>
                  <a:pt x="419" y="2"/>
                  <a:pt x="415" y="0"/>
                  <a:pt x="413" y="0"/>
                </a:cubicBezTo>
                <a:close/>
                <a:moveTo>
                  <a:pt x="408" y="155"/>
                </a:moveTo>
                <a:cubicBezTo>
                  <a:pt x="382" y="155"/>
                  <a:pt x="382" y="155"/>
                  <a:pt x="382" y="155"/>
                </a:cubicBezTo>
                <a:cubicBezTo>
                  <a:pt x="382" y="41"/>
                  <a:pt x="382" y="41"/>
                  <a:pt x="382" y="41"/>
                </a:cubicBezTo>
                <a:cubicBezTo>
                  <a:pt x="382" y="38"/>
                  <a:pt x="380" y="36"/>
                  <a:pt x="377" y="36"/>
                </a:cubicBezTo>
                <a:cubicBezTo>
                  <a:pt x="82" y="36"/>
                  <a:pt x="82" y="36"/>
                  <a:pt x="82" y="36"/>
                </a:cubicBezTo>
                <a:cubicBezTo>
                  <a:pt x="82" y="10"/>
                  <a:pt x="82" y="10"/>
                  <a:pt x="82" y="10"/>
                </a:cubicBezTo>
                <a:cubicBezTo>
                  <a:pt x="408" y="10"/>
                  <a:pt x="408" y="10"/>
                  <a:pt x="408" y="10"/>
                </a:cubicBezTo>
                <a:cubicBezTo>
                  <a:pt x="408" y="155"/>
                  <a:pt x="408" y="155"/>
                  <a:pt x="408" y="155"/>
                </a:cubicBezTo>
                <a:close/>
                <a:moveTo>
                  <a:pt x="10" y="228"/>
                </a:moveTo>
                <a:cubicBezTo>
                  <a:pt x="10" y="84"/>
                  <a:pt x="10" y="84"/>
                  <a:pt x="10" y="84"/>
                </a:cubicBezTo>
                <a:cubicBezTo>
                  <a:pt x="336" y="84"/>
                  <a:pt x="336" y="84"/>
                  <a:pt x="336" y="84"/>
                </a:cubicBezTo>
                <a:cubicBezTo>
                  <a:pt x="336" y="229"/>
                  <a:pt x="336" y="229"/>
                  <a:pt x="336" y="229"/>
                </a:cubicBezTo>
                <a:cubicBezTo>
                  <a:pt x="10" y="229"/>
                  <a:pt x="10" y="229"/>
                  <a:pt x="10" y="229"/>
                </a:cubicBezTo>
                <a:lnTo>
                  <a:pt x="10" y="228"/>
                </a:lnTo>
                <a:close/>
                <a:moveTo>
                  <a:pt x="346" y="79"/>
                </a:moveTo>
                <a:cubicBezTo>
                  <a:pt x="346" y="76"/>
                  <a:pt x="344" y="74"/>
                  <a:pt x="341" y="74"/>
                </a:cubicBezTo>
                <a:cubicBezTo>
                  <a:pt x="46" y="74"/>
                  <a:pt x="46" y="74"/>
                  <a:pt x="46" y="74"/>
                </a:cubicBezTo>
                <a:cubicBezTo>
                  <a:pt x="46" y="46"/>
                  <a:pt x="46" y="46"/>
                  <a:pt x="46" y="46"/>
                </a:cubicBezTo>
                <a:cubicBezTo>
                  <a:pt x="372" y="46"/>
                  <a:pt x="372" y="46"/>
                  <a:pt x="372" y="46"/>
                </a:cubicBezTo>
                <a:cubicBezTo>
                  <a:pt x="372" y="191"/>
                  <a:pt x="372" y="191"/>
                  <a:pt x="372" y="191"/>
                </a:cubicBezTo>
                <a:cubicBezTo>
                  <a:pt x="346" y="191"/>
                  <a:pt x="346" y="191"/>
                  <a:pt x="346" y="191"/>
                </a:cubicBezTo>
                <a:lnTo>
                  <a:pt x="346" y="79"/>
                </a:lnTo>
                <a:close/>
                <a:moveTo>
                  <a:pt x="37" y="162"/>
                </a:moveTo>
                <a:cubicBezTo>
                  <a:pt x="34" y="162"/>
                  <a:pt x="32" y="160"/>
                  <a:pt x="32" y="157"/>
                </a:cubicBezTo>
                <a:cubicBezTo>
                  <a:pt x="32" y="116"/>
                  <a:pt x="32" y="116"/>
                  <a:pt x="32" y="116"/>
                </a:cubicBezTo>
                <a:cubicBezTo>
                  <a:pt x="32" y="113"/>
                  <a:pt x="34" y="111"/>
                  <a:pt x="37" y="111"/>
                </a:cubicBezTo>
                <a:cubicBezTo>
                  <a:pt x="168" y="111"/>
                  <a:pt x="168" y="111"/>
                  <a:pt x="168" y="111"/>
                </a:cubicBezTo>
                <a:cubicBezTo>
                  <a:pt x="171" y="111"/>
                  <a:pt x="173" y="113"/>
                  <a:pt x="173" y="116"/>
                </a:cubicBezTo>
                <a:cubicBezTo>
                  <a:pt x="173" y="157"/>
                  <a:pt x="173" y="157"/>
                  <a:pt x="173" y="157"/>
                </a:cubicBezTo>
                <a:cubicBezTo>
                  <a:pt x="173" y="160"/>
                  <a:pt x="171" y="162"/>
                  <a:pt x="168" y="162"/>
                </a:cubicBezTo>
                <a:lnTo>
                  <a:pt x="37" y="162"/>
                </a:lnTo>
                <a:close/>
                <a:moveTo>
                  <a:pt x="276" y="147"/>
                </a:moveTo>
                <a:cubicBezTo>
                  <a:pt x="273" y="147"/>
                  <a:pt x="271" y="145"/>
                  <a:pt x="271" y="142"/>
                </a:cubicBezTo>
                <a:cubicBezTo>
                  <a:pt x="271" y="108"/>
                  <a:pt x="271" y="108"/>
                  <a:pt x="271" y="108"/>
                </a:cubicBezTo>
                <a:cubicBezTo>
                  <a:pt x="271" y="104"/>
                  <a:pt x="273" y="102"/>
                  <a:pt x="276" y="102"/>
                </a:cubicBezTo>
                <a:cubicBezTo>
                  <a:pt x="310" y="102"/>
                  <a:pt x="310" y="102"/>
                  <a:pt x="310" y="102"/>
                </a:cubicBezTo>
                <a:cubicBezTo>
                  <a:pt x="313" y="102"/>
                  <a:pt x="315" y="104"/>
                  <a:pt x="315" y="108"/>
                </a:cubicBezTo>
                <a:cubicBezTo>
                  <a:pt x="315" y="142"/>
                  <a:pt x="315" y="142"/>
                  <a:pt x="315" y="142"/>
                </a:cubicBezTo>
                <a:cubicBezTo>
                  <a:pt x="315" y="145"/>
                  <a:pt x="313" y="147"/>
                  <a:pt x="310" y="147"/>
                </a:cubicBezTo>
                <a:lnTo>
                  <a:pt x="276" y="147"/>
                </a:lnTo>
                <a:close/>
                <a:moveTo>
                  <a:pt x="281" y="113"/>
                </a:moveTo>
                <a:cubicBezTo>
                  <a:pt x="281" y="137"/>
                  <a:pt x="281" y="137"/>
                  <a:pt x="281" y="137"/>
                </a:cubicBezTo>
                <a:cubicBezTo>
                  <a:pt x="305" y="137"/>
                  <a:pt x="305" y="137"/>
                  <a:pt x="305" y="137"/>
                </a:cubicBezTo>
                <a:cubicBezTo>
                  <a:pt x="305" y="113"/>
                  <a:pt x="305" y="113"/>
                  <a:pt x="305" y="113"/>
                </a:cubicBezTo>
                <a:lnTo>
                  <a:pt x="281" y="113"/>
                </a:lnTo>
                <a:close/>
              </a:path>
            </a:pathLst>
          </a:custGeom>
          <a:solidFill>
            <a:srgbClr val="003755"/>
          </a:solidFill>
          <a:ln>
            <a:noFill/>
          </a:ln>
        </p:spPr>
        <p:txBody>
          <a:bodyPr vert="horz" wrap="square" lIns="91440" tIns="45720" rIns="91440" bIns="45720" numCol="1" anchor="t" anchorCtr="0" compatLnSpc="1">
            <a:prstTxWarp prst="textNoShape">
              <a:avLst/>
            </a:prstTxWarp>
          </a:bodyPr>
          <a:lstStyle/>
          <a:p>
            <a:endParaRPr lang="en-GB" sz="2000" dirty="0"/>
          </a:p>
        </p:txBody>
      </p:sp>
      <p:sp>
        <p:nvSpPr>
          <p:cNvPr id="18" name="TextBox 17"/>
          <p:cNvSpPr txBox="1"/>
          <p:nvPr/>
        </p:nvSpPr>
        <p:spPr>
          <a:xfrm>
            <a:off x="3173577" y="5137711"/>
            <a:ext cx="1785797" cy="307776"/>
          </a:xfrm>
          <a:prstGeom prst="rect">
            <a:avLst/>
          </a:prstGeom>
          <a:noFill/>
        </p:spPr>
        <p:txBody>
          <a:bodyPr wrap="square" lIns="0" tIns="0" rIns="0" bIns="0" rtlCol="0">
            <a:spAutoFit/>
          </a:bodyPr>
          <a:lstStyle/>
          <a:p>
            <a:r>
              <a:rPr lang="en-GB" sz="2000" dirty="0" smtClean="0">
                <a:solidFill>
                  <a:srgbClr val="003755"/>
                </a:solidFill>
              </a:rPr>
              <a:t>Abstain</a:t>
            </a:r>
            <a:endParaRPr lang="en-GB" sz="2400" dirty="0" smtClean="0">
              <a:solidFill>
                <a:srgbClr val="003755"/>
              </a:solidFill>
            </a:endParaRPr>
          </a:p>
        </p:txBody>
      </p:sp>
      <p:sp>
        <p:nvSpPr>
          <p:cNvPr id="12" name="Title 11"/>
          <p:cNvSpPr>
            <a:spLocks noGrp="1"/>
          </p:cNvSpPr>
          <p:nvPr>
            <p:ph type="title"/>
          </p:nvPr>
        </p:nvSpPr>
        <p:spPr/>
        <p:txBody>
          <a:bodyPr/>
          <a:lstStyle/>
          <a:p>
            <a:r>
              <a:rPr lang="en-US" dirty="0" smtClean="0"/>
              <a:t>We predominantly voted ‘For’ the proposals</a:t>
            </a:r>
            <a:endParaRPr lang="en-GB" dirty="0"/>
          </a:p>
        </p:txBody>
      </p:sp>
      <p:sp>
        <p:nvSpPr>
          <p:cNvPr id="24" name="TextBox 23"/>
          <p:cNvSpPr txBox="1"/>
          <p:nvPr/>
        </p:nvSpPr>
        <p:spPr>
          <a:xfrm>
            <a:off x="431800" y="6389168"/>
            <a:ext cx="9578474" cy="138499"/>
          </a:xfrm>
          <a:prstGeom prst="rect">
            <a:avLst/>
          </a:prstGeom>
          <a:noFill/>
        </p:spPr>
        <p:txBody>
          <a:bodyPr wrap="square" lIns="0" tIns="0" rIns="0" bIns="0" rtlCol="0">
            <a:spAutoFit/>
          </a:bodyPr>
          <a:lstStyle/>
          <a:p>
            <a:r>
              <a:rPr lang="en-US" sz="900" dirty="0" smtClean="0">
                <a:solidFill>
                  <a:srgbClr val="003755"/>
                </a:solidFill>
              </a:rPr>
              <a:t>Note: Across all voted proposals, 82 proposals with the type of ‘Advisory Vote on Say on Pay Frequency’ was voted on for one year</a:t>
            </a:r>
          </a:p>
        </p:txBody>
      </p:sp>
      <p:grpSp>
        <p:nvGrpSpPr>
          <p:cNvPr id="17" name="Group 16"/>
          <p:cNvGrpSpPr/>
          <p:nvPr/>
        </p:nvGrpSpPr>
        <p:grpSpPr>
          <a:xfrm>
            <a:off x="429768" y="192024"/>
            <a:ext cx="3058251" cy="441238"/>
            <a:chOff x="593025" y="3578566"/>
            <a:chExt cx="3058251" cy="441238"/>
          </a:xfrm>
        </p:grpSpPr>
        <p:grpSp>
          <p:nvGrpSpPr>
            <p:cNvPr id="19" name="Group 18"/>
            <p:cNvGrpSpPr>
              <a:grpSpLocks noChangeAspect="1"/>
            </p:cNvGrpSpPr>
            <p:nvPr/>
          </p:nvGrpSpPr>
          <p:grpSpPr>
            <a:xfrm flipV="1">
              <a:off x="593025" y="3578566"/>
              <a:ext cx="3058251" cy="441238"/>
              <a:chOff x="507634" y="4792349"/>
              <a:chExt cx="7560000" cy="1090741"/>
            </a:xfrm>
          </p:grpSpPr>
          <p:sp>
            <p:nvSpPr>
              <p:cNvPr id="21" name="Rectangle 20"/>
              <p:cNvSpPr/>
              <p:nvPr/>
            </p:nvSpPr>
            <p:spPr>
              <a:xfrm>
                <a:off x="507634" y="4793345"/>
                <a:ext cx="7560000" cy="1089745"/>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22" name="Rectangle 21"/>
              <p:cNvSpPr/>
              <p:nvPr/>
            </p:nvSpPr>
            <p:spPr>
              <a:xfrm>
                <a:off x="1000185" y="4792349"/>
                <a:ext cx="6373677" cy="1080000"/>
              </a:xfrm>
              <a:prstGeom prst="rect">
                <a:avLst/>
              </a:prstGeom>
              <a:solidFill>
                <a:schemeClr val="bg1">
                  <a:alpha val="26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600" dirty="0">
                  <a:solidFill>
                    <a:srgbClr val="000000"/>
                  </a:solidFill>
                </a:endParaRPr>
              </a:p>
            </p:txBody>
          </p:sp>
          <p:sp>
            <p:nvSpPr>
              <p:cNvPr id="25" name="Oval 24"/>
              <p:cNvSpPr/>
              <p:nvPr/>
            </p:nvSpPr>
            <p:spPr>
              <a:xfrm>
                <a:off x="544349" y="5005000"/>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chemeClr val="tx1"/>
                  </a:solidFill>
                </a:endParaRPr>
              </a:p>
            </p:txBody>
          </p:sp>
          <p:sp>
            <p:nvSpPr>
              <p:cNvPr id="26" name="TextBox 25"/>
              <p:cNvSpPr txBox="1"/>
              <p:nvPr/>
            </p:nvSpPr>
            <p:spPr>
              <a:xfrm rot="10800000">
                <a:off x="1574125" y="5148013"/>
                <a:ext cx="3557259" cy="380411"/>
              </a:xfrm>
              <a:prstGeom prst="rect">
                <a:avLst/>
              </a:prstGeom>
              <a:noFill/>
            </p:spPr>
            <p:txBody>
              <a:bodyPr wrap="square" lIns="0" tIns="0" rIns="0" bIns="0" rtlCol="0">
                <a:spAutoFit/>
              </a:bodyPr>
              <a:lstStyle/>
              <a:p>
                <a:r>
                  <a:rPr lang="en-US" sz="1000" b="1" dirty="0">
                    <a:solidFill>
                      <a:srgbClr val="003755"/>
                    </a:solidFill>
                  </a:rPr>
                  <a:t>Proposals</a:t>
                </a:r>
              </a:p>
            </p:txBody>
          </p:sp>
          <p:sp>
            <p:nvSpPr>
              <p:cNvPr id="27" name="Rectangle 26"/>
              <p:cNvSpPr/>
              <p:nvPr/>
            </p:nvSpPr>
            <p:spPr>
              <a:xfrm>
                <a:off x="1407794" y="5098677"/>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rgbClr val="000000"/>
                  </a:solidFill>
                </a:endParaRPr>
              </a:p>
            </p:txBody>
          </p:sp>
          <p:sp>
            <p:nvSpPr>
              <p:cNvPr id="28" name="Awareness"/>
              <p:cNvSpPr>
                <a:spLocks noChangeAspect="1"/>
              </p:cNvSpPr>
              <p:nvPr>
                <p:custDataLst>
                  <p:tags r:id="rId4"/>
                </p:custDataLst>
              </p:nvPr>
            </p:nvSpPr>
            <p:spPr bwMode="auto">
              <a:xfrm>
                <a:off x="656829" y="5179506"/>
                <a:ext cx="468147" cy="317423"/>
              </a:xfrm>
              <a:custGeom>
                <a:avLst/>
                <a:gdLst>
                  <a:gd name="connsiteX0" fmla="*/ 366788 w 1770026"/>
                  <a:gd name="connsiteY0" fmla="*/ 784225 h 1200150"/>
                  <a:gd name="connsiteX1" fmla="*/ 336550 w 1770026"/>
                  <a:gd name="connsiteY1" fmla="*/ 871538 h 1200150"/>
                  <a:gd name="connsiteX2" fmla="*/ 495300 w 1770026"/>
                  <a:gd name="connsiteY2" fmla="*/ 784225 h 1200150"/>
                  <a:gd name="connsiteX3" fmla="*/ 366788 w 1770026"/>
                  <a:gd name="connsiteY3" fmla="*/ 784225 h 1200150"/>
                  <a:gd name="connsiteX4" fmla="*/ 190008 w 1770026"/>
                  <a:gd name="connsiteY4" fmla="*/ 784225 h 1200150"/>
                  <a:gd name="connsiteX5" fmla="*/ 53975 w 1770026"/>
                  <a:gd name="connsiteY5" fmla="*/ 1154113 h 1200150"/>
                  <a:gd name="connsiteX6" fmla="*/ 190008 w 1770026"/>
                  <a:gd name="connsiteY6" fmla="*/ 1154113 h 1200150"/>
                  <a:gd name="connsiteX7" fmla="*/ 284476 w 1770026"/>
                  <a:gd name="connsiteY7" fmla="*/ 886133 h 1200150"/>
                  <a:gd name="connsiteX8" fmla="*/ 288254 w 1770026"/>
                  <a:gd name="connsiteY8" fmla="*/ 882359 h 1200150"/>
                  <a:gd name="connsiteX9" fmla="*/ 288254 w 1770026"/>
                  <a:gd name="connsiteY9" fmla="*/ 874810 h 1200150"/>
                  <a:gd name="connsiteX10" fmla="*/ 322263 w 1770026"/>
                  <a:gd name="connsiteY10" fmla="*/ 784225 h 1200150"/>
                  <a:gd name="connsiteX11" fmla="*/ 197566 w 1770026"/>
                  <a:gd name="connsiteY11" fmla="*/ 784225 h 1200150"/>
                  <a:gd name="connsiteX12" fmla="*/ 190008 w 1770026"/>
                  <a:gd name="connsiteY12" fmla="*/ 784225 h 1200150"/>
                  <a:gd name="connsiteX13" fmla="*/ 46038 w 1770026"/>
                  <a:gd name="connsiteY13" fmla="*/ 295275 h 1200150"/>
                  <a:gd name="connsiteX14" fmla="*/ 46038 w 1770026"/>
                  <a:gd name="connsiteY14" fmla="*/ 738188 h 1200150"/>
                  <a:gd name="connsiteX15" fmla="*/ 593726 w 1770026"/>
                  <a:gd name="connsiteY15" fmla="*/ 738188 h 1200150"/>
                  <a:gd name="connsiteX16" fmla="*/ 593726 w 1770026"/>
                  <a:gd name="connsiteY16" fmla="*/ 295275 h 1200150"/>
                  <a:gd name="connsiteX17" fmla="*/ 1411873 w 1770026"/>
                  <a:gd name="connsiteY17" fmla="*/ 198872 h 1200150"/>
                  <a:gd name="connsiteX18" fmla="*/ 1435101 w 1770026"/>
                  <a:gd name="connsiteY18" fmla="*/ 212574 h 1200150"/>
                  <a:gd name="connsiteX19" fmla="*/ 1435101 w 1770026"/>
                  <a:gd name="connsiteY19" fmla="*/ 817336 h 1200150"/>
                  <a:gd name="connsiteX20" fmla="*/ 1408554 w 1770026"/>
                  <a:gd name="connsiteY20" fmla="*/ 828675 h 1200150"/>
                  <a:gd name="connsiteX21" fmla="*/ 1385800 w 1770026"/>
                  <a:gd name="connsiteY21" fmla="*/ 821116 h 1200150"/>
                  <a:gd name="connsiteX22" fmla="*/ 1378215 w 1770026"/>
                  <a:gd name="connsiteY22" fmla="*/ 771979 h 1200150"/>
                  <a:gd name="connsiteX23" fmla="*/ 1378215 w 1770026"/>
                  <a:gd name="connsiteY23" fmla="*/ 254151 h 1200150"/>
                  <a:gd name="connsiteX24" fmla="*/ 1385800 w 1770026"/>
                  <a:gd name="connsiteY24" fmla="*/ 205014 h 1200150"/>
                  <a:gd name="connsiteX25" fmla="*/ 1411873 w 1770026"/>
                  <a:gd name="connsiteY25" fmla="*/ 198872 h 1200150"/>
                  <a:gd name="connsiteX26" fmla="*/ 1632058 w 1770026"/>
                  <a:gd name="connsiteY26" fmla="*/ 111572 h 1200150"/>
                  <a:gd name="connsiteX27" fmla="*/ 1653718 w 1770026"/>
                  <a:gd name="connsiteY27" fmla="*/ 125306 h 1200150"/>
                  <a:gd name="connsiteX28" fmla="*/ 1657485 w 1770026"/>
                  <a:gd name="connsiteY28" fmla="*/ 875434 h 1200150"/>
                  <a:gd name="connsiteX29" fmla="*/ 1627350 w 1770026"/>
                  <a:gd name="connsiteY29" fmla="*/ 890588 h 1200150"/>
                  <a:gd name="connsiteX30" fmla="*/ 1608515 w 1770026"/>
                  <a:gd name="connsiteY30" fmla="*/ 886800 h 1200150"/>
                  <a:gd name="connsiteX31" fmla="*/ 1597214 w 1770026"/>
                  <a:gd name="connsiteY31" fmla="*/ 837549 h 1200150"/>
                  <a:gd name="connsiteX32" fmla="*/ 1597214 w 1770026"/>
                  <a:gd name="connsiteY32" fmla="*/ 166980 h 1200150"/>
                  <a:gd name="connsiteX33" fmla="*/ 1604748 w 1770026"/>
                  <a:gd name="connsiteY33" fmla="*/ 117729 h 1200150"/>
                  <a:gd name="connsiteX34" fmla="*/ 1632058 w 1770026"/>
                  <a:gd name="connsiteY34" fmla="*/ 111572 h 1200150"/>
                  <a:gd name="connsiteX35" fmla="*/ 1177926 w 1770026"/>
                  <a:gd name="connsiteY35" fmla="*/ 57150 h 1200150"/>
                  <a:gd name="connsiteX36" fmla="*/ 687388 w 1770026"/>
                  <a:gd name="connsiteY36" fmla="*/ 284163 h 1200150"/>
                  <a:gd name="connsiteX37" fmla="*/ 687388 w 1770026"/>
                  <a:gd name="connsiteY37" fmla="*/ 754063 h 1200150"/>
                  <a:gd name="connsiteX38" fmla="*/ 1177926 w 1770026"/>
                  <a:gd name="connsiteY38" fmla="*/ 976313 h 1200150"/>
                  <a:gd name="connsiteX39" fmla="*/ 1189964 w 1770026"/>
                  <a:gd name="connsiteY39" fmla="*/ 0 h 1200150"/>
                  <a:gd name="connsiteX40" fmla="*/ 1212630 w 1770026"/>
                  <a:gd name="connsiteY40" fmla="*/ 3786 h 1200150"/>
                  <a:gd name="connsiteX41" fmla="*/ 1223963 w 1770026"/>
                  <a:gd name="connsiteY41" fmla="*/ 22716 h 1200150"/>
                  <a:gd name="connsiteX42" fmla="*/ 1223963 w 1770026"/>
                  <a:gd name="connsiteY42" fmla="*/ 1014638 h 1200150"/>
                  <a:gd name="connsiteX43" fmla="*/ 1212630 w 1770026"/>
                  <a:gd name="connsiteY43" fmla="*/ 1029782 h 1200150"/>
                  <a:gd name="connsiteX44" fmla="*/ 1201297 w 1770026"/>
                  <a:gd name="connsiteY44" fmla="*/ 1033568 h 1200150"/>
                  <a:gd name="connsiteX45" fmla="*/ 1189964 w 1770026"/>
                  <a:gd name="connsiteY45" fmla="*/ 1033568 h 1200150"/>
                  <a:gd name="connsiteX46" fmla="*/ 668646 w 1770026"/>
                  <a:gd name="connsiteY46" fmla="*/ 791266 h 1200150"/>
                  <a:gd name="connsiteX47" fmla="*/ 638425 w 1770026"/>
                  <a:gd name="connsiteY47" fmla="*/ 806410 h 1200150"/>
                  <a:gd name="connsiteX48" fmla="*/ 600648 w 1770026"/>
                  <a:gd name="connsiteY48" fmla="*/ 783694 h 1200150"/>
                  <a:gd name="connsiteX49" fmla="*/ 543983 w 1770026"/>
                  <a:gd name="connsiteY49" fmla="*/ 783694 h 1200150"/>
                  <a:gd name="connsiteX50" fmla="*/ 324879 w 1770026"/>
                  <a:gd name="connsiteY50" fmla="*/ 916203 h 1200150"/>
                  <a:gd name="connsiteX51" fmla="*/ 321101 w 1770026"/>
                  <a:gd name="connsiteY51" fmla="*/ 916203 h 1200150"/>
                  <a:gd name="connsiteX52" fmla="*/ 226660 w 1770026"/>
                  <a:gd name="connsiteY52" fmla="*/ 1185006 h 1200150"/>
                  <a:gd name="connsiteX53" fmla="*/ 203994 w 1770026"/>
                  <a:gd name="connsiteY53" fmla="*/ 1200150 h 1200150"/>
                  <a:gd name="connsiteX54" fmla="*/ 22666 w 1770026"/>
                  <a:gd name="connsiteY54" fmla="*/ 1200150 h 1200150"/>
                  <a:gd name="connsiteX55" fmla="*/ 3777 w 1770026"/>
                  <a:gd name="connsiteY55" fmla="*/ 1188792 h 1200150"/>
                  <a:gd name="connsiteX56" fmla="*/ 0 w 1770026"/>
                  <a:gd name="connsiteY56" fmla="*/ 1169862 h 1200150"/>
                  <a:gd name="connsiteX57" fmla="*/ 139773 w 1770026"/>
                  <a:gd name="connsiteY57" fmla="*/ 783694 h 1200150"/>
                  <a:gd name="connsiteX58" fmla="*/ 22666 w 1770026"/>
                  <a:gd name="connsiteY58" fmla="*/ 783694 h 1200150"/>
                  <a:gd name="connsiteX59" fmla="*/ 0 w 1770026"/>
                  <a:gd name="connsiteY59" fmla="*/ 760979 h 1200150"/>
                  <a:gd name="connsiteX60" fmla="*/ 0 w 1770026"/>
                  <a:gd name="connsiteY60" fmla="*/ 276375 h 1200150"/>
                  <a:gd name="connsiteX61" fmla="*/ 22666 w 1770026"/>
                  <a:gd name="connsiteY61" fmla="*/ 253660 h 1200150"/>
                  <a:gd name="connsiteX62" fmla="*/ 596871 w 1770026"/>
                  <a:gd name="connsiteY62" fmla="*/ 253660 h 1200150"/>
                  <a:gd name="connsiteX63" fmla="*/ 638425 w 1770026"/>
                  <a:gd name="connsiteY63" fmla="*/ 227158 h 1200150"/>
                  <a:gd name="connsiteX64" fmla="*/ 672424 w 1770026"/>
                  <a:gd name="connsiteY64" fmla="*/ 242302 h 1200150"/>
                  <a:gd name="connsiteX65" fmla="*/ 1189964 w 1770026"/>
                  <a:gd name="connsiteY65" fmla="*/ 0 h 120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770026" h="1200150">
                    <a:moveTo>
                      <a:pt x="366788" y="784225"/>
                    </a:moveTo>
                    <a:cubicBezTo>
                      <a:pt x="366788" y="784225"/>
                      <a:pt x="366788" y="784225"/>
                      <a:pt x="336550" y="871538"/>
                    </a:cubicBezTo>
                    <a:cubicBezTo>
                      <a:pt x="397026" y="867742"/>
                      <a:pt x="472621" y="829780"/>
                      <a:pt x="495300" y="784225"/>
                    </a:cubicBezTo>
                    <a:cubicBezTo>
                      <a:pt x="495300" y="784225"/>
                      <a:pt x="495300" y="784225"/>
                      <a:pt x="366788" y="784225"/>
                    </a:cubicBezTo>
                    <a:close/>
                    <a:moveTo>
                      <a:pt x="190008" y="784225"/>
                    </a:moveTo>
                    <a:cubicBezTo>
                      <a:pt x="190008" y="784225"/>
                      <a:pt x="190008" y="784225"/>
                      <a:pt x="53975" y="1154113"/>
                    </a:cubicBezTo>
                    <a:lnTo>
                      <a:pt x="190008" y="1154113"/>
                    </a:lnTo>
                    <a:cubicBezTo>
                      <a:pt x="190008" y="1154113"/>
                      <a:pt x="190008" y="1154113"/>
                      <a:pt x="284476" y="886133"/>
                    </a:cubicBezTo>
                    <a:cubicBezTo>
                      <a:pt x="288254" y="882359"/>
                      <a:pt x="288254" y="882359"/>
                      <a:pt x="288254" y="882359"/>
                    </a:cubicBezTo>
                    <a:cubicBezTo>
                      <a:pt x="288254" y="882359"/>
                      <a:pt x="288254" y="882359"/>
                      <a:pt x="288254" y="874810"/>
                    </a:cubicBezTo>
                    <a:cubicBezTo>
                      <a:pt x="288254" y="874810"/>
                      <a:pt x="288254" y="874810"/>
                      <a:pt x="322263" y="784225"/>
                    </a:cubicBezTo>
                    <a:cubicBezTo>
                      <a:pt x="322263" y="784225"/>
                      <a:pt x="322263" y="784225"/>
                      <a:pt x="197566" y="784225"/>
                    </a:cubicBezTo>
                    <a:cubicBezTo>
                      <a:pt x="197566" y="784225"/>
                      <a:pt x="197566" y="784225"/>
                      <a:pt x="190008" y="784225"/>
                    </a:cubicBezTo>
                    <a:close/>
                    <a:moveTo>
                      <a:pt x="46038" y="295275"/>
                    </a:moveTo>
                    <a:lnTo>
                      <a:pt x="46038" y="738188"/>
                    </a:lnTo>
                    <a:lnTo>
                      <a:pt x="593726" y="738188"/>
                    </a:lnTo>
                    <a:lnTo>
                      <a:pt x="593726" y="295275"/>
                    </a:lnTo>
                    <a:close/>
                    <a:moveTo>
                      <a:pt x="1411873" y="198872"/>
                    </a:moveTo>
                    <a:cubicBezTo>
                      <a:pt x="1420879" y="200290"/>
                      <a:pt x="1429412" y="205014"/>
                      <a:pt x="1435101" y="212574"/>
                    </a:cubicBezTo>
                    <a:cubicBezTo>
                      <a:pt x="1571626" y="390223"/>
                      <a:pt x="1571626" y="639687"/>
                      <a:pt x="1435101" y="817336"/>
                    </a:cubicBezTo>
                    <a:cubicBezTo>
                      <a:pt x="1427516" y="824895"/>
                      <a:pt x="1416139" y="828675"/>
                      <a:pt x="1408554" y="828675"/>
                    </a:cubicBezTo>
                    <a:cubicBezTo>
                      <a:pt x="1400970" y="828675"/>
                      <a:pt x="1393385" y="828675"/>
                      <a:pt x="1385800" y="821116"/>
                    </a:cubicBezTo>
                    <a:cubicBezTo>
                      <a:pt x="1370631" y="809776"/>
                      <a:pt x="1366838" y="787098"/>
                      <a:pt x="1378215" y="771979"/>
                    </a:cubicBezTo>
                    <a:cubicBezTo>
                      <a:pt x="1495779" y="620788"/>
                      <a:pt x="1495779" y="409122"/>
                      <a:pt x="1378215" y="254151"/>
                    </a:cubicBezTo>
                    <a:cubicBezTo>
                      <a:pt x="1366838" y="239032"/>
                      <a:pt x="1370631" y="216354"/>
                      <a:pt x="1385800" y="205014"/>
                    </a:cubicBezTo>
                    <a:cubicBezTo>
                      <a:pt x="1393385" y="199345"/>
                      <a:pt x="1402866" y="197455"/>
                      <a:pt x="1411873" y="198872"/>
                    </a:cubicBezTo>
                    <a:close/>
                    <a:moveTo>
                      <a:pt x="1632058" y="111572"/>
                    </a:moveTo>
                    <a:cubicBezTo>
                      <a:pt x="1640534" y="112993"/>
                      <a:pt x="1648068" y="117729"/>
                      <a:pt x="1653718" y="125306"/>
                    </a:cubicBezTo>
                    <a:cubicBezTo>
                      <a:pt x="1808163" y="348829"/>
                      <a:pt x="1808163" y="651911"/>
                      <a:pt x="1657485" y="875434"/>
                    </a:cubicBezTo>
                    <a:cubicBezTo>
                      <a:pt x="1649951" y="886800"/>
                      <a:pt x="1638651" y="890588"/>
                      <a:pt x="1627350" y="890588"/>
                    </a:cubicBezTo>
                    <a:cubicBezTo>
                      <a:pt x="1619816" y="890588"/>
                      <a:pt x="1616049" y="890588"/>
                      <a:pt x="1608515" y="886800"/>
                    </a:cubicBezTo>
                    <a:cubicBezTo>
                      <a:pt x="1593447" y="875434"/>
                      <a:pt x="1589680" y="852703"/>
                      <a:pt x="1597214" y="837549"/>
                    </a:cubicBezTo>
                    <a:cubicBezTo>
                      <a:pt x="1732824" y="636757"/>
                      <a:pt x="1732824" y="367771"/>
                      <a:pt x="1597214" y="166980"/>
                    </a:cubicBezTo>
                    <a:cubicBezTo>
                      <a:pt x="1585913" y="151825"/>
                      <a:pt x="1589680" y="129094"/>
                      <a:pt x="1604748" y="117729"/>
                    </a:cubicBezTo>
                    <a:cubicBezTo>
                      <a:pt x="1614165" y="112046"/>
                      <a:pt x="1623583" y="110152"/>
                      <a:pt x="1632058" y="111572"/>
                    </a:cubicBezTo>
                    <a:close/>
                    <a:moveTo>
                      <a:pt x="1177926" y="57150"/>
                    </a:moveTo>
                    <a:lnTo>
                      <a:pt x="687388" y="284163"/>
                    </a:lnTo>
                    <a:lnTo>
                      <a:pt x="687388" y="754063"/>
                    </a:lnTo>
                    <a:lnTo>
                      <a:pt x="1177926" y="976313"/>
                    </a:lnTo>
                    <a:close/>
                    <a:moveTo>
                      <a:pt x="1189964" y="0"/>
                    </a:moveTo>
                    <a:cubicBezTo>
                      <a:pt x="1197520" y="0"/>
                      <a:pt x="1205075" y="0"/>
                      <a:pt x="1212630" y="3786"/>
                    </a:cubicBezTo>
                    <a:cubicBezTo>
                      <a:pt x="1220186" y="7572"/>
                      <a:pt x="1223963" y="15144"/>
                      <a:pt x="1223963" y="22716"/>
                    </a:cubicBezTo>
                    <a:cubicBezTo>
                      <a:pt x="1223963" y="22716"/>
                      <a:pt x="1223963" y="22716"/>
                      <a:pt x="1223963" y="1014638"/>
                    </a:cubicBezTo>
                    <a:cubicBezTo>
                      <a:pt x="1223963" y="1022210"/>
                      <a:pt x="1220186" y="1025996"/>
                      <a:pt x="1212630" y="1029782"/>
                    </a:cubicBezTo>
                    <a:cubicBezTo>
                      <a:pt x="1208853" y="1033568"/>
                      <a:pt x="1205075" y="1033568"/>
                      <a:pt x="1201297" y="1033568"/>
                    </a:cubicBezTo>
                    <a:cubicBezTo>
                      <a:pt x="1197520" y="1033568"/>
                      <a:pt x="1193742" y="1033568"/>
                      <a:pt x="1189964" y="1033568"/>
                    </a:cubicBezTo>
                    <a:cubicBezTo>
                      <a:pt x="1189964" y="1033568"/>
                      <a:pt x="1189964" y="1033568"/>
                      <a:pt x="668646" y="791266"/>
                    </a:cubicBezTo>
                    <a:cubicBezTo>
                      <a:pt x="661091" y="798838"/>
                      <a:pt x="649758" y="806410"/>
                      <a:pt x="638425" y="806410"/>
                    </a:cubicBezTo>
                    <a:cubicBezTo>
                      <a:pt x="623314" y="806410"/>
                      <a:pt x="608204" y="795052"/>
                      <a:pt x="600648" y="783694"/>
                    </a:cubicBezTo>
                    <a:cubicBezTo>
                      <a:pt x="600648" y="783694"/>
                      <a:pt x="600648" y="783694"/>
                      <a:pt x="543983" y="783694"/>
                    </a:cubicBezTo>
                    <a:cubicBezTo>
                      <a:pt x="517540" y="863200"/>
                      <a:pt x="400432" y="916203"/>
                      <a:pt x="324879" y="916203"/>
                    </a:cubicBezTo>
                    <a:cubicBezTo>
                      <a:pt x="324879" y="916203"/>
                      <a:pt x="324879" y="916203"/>
                      <a:pt x="321101" y="916203"/>
                    </a:cubicBezTo>
                    <a:cubicBezTo>
                      <a:pt x="321101" y="916203"/>
                      <a:pt x="321101" y="916203"/>
                      <a:pt x="226660" y="1185006"/>
                    </a:cubicBezTo>
                    <a:cubicBezTo>
                      <a:pt x="222882" y="1192578"/>
                      <a:pt x="215327" y="1200150"/>
                      <a:pt x="203994" y="1200150"/>
                    </a:cubicBezTo>
                    <a:cubicBezTo>
                      <a:pt x="203994" y="1200150"/>
                      <a:pt x="203994" y="1200150"/>
                      <a:pt x="22666" y="1200150"/>
                    </a:cubicBezTo>
                    <a:cubicBezTo>
                      <a:pt x="15110" y="1200150"/>
                      <a:pt x="7555" y="1196364"/>
                      <a:pt x="3777" y="1188792"/>
                    </a:cubicBezTo>
                    <a:cubicBezTo>
                      <a:pt x="0" y="1185006"/>
                      <a:pt x="0" y="1177434"/>
                      <a:pt x="0" y="1169862"/>
                    </a:cubicBezTo>
                    <a:cubicBezTo>
                      <a:pt x="0" y="1169862"/>
                      <a:pt x="0" y="1169862"/>
                      <a:pt x="139773" y="783694"/>
                    </a:cubicBezTo>
                    <a:cubicBezTo>
                      <a:pt x="139773" y="783694"/>
                      <a:pt x="139773" y="783694"/>
                      <a:pt x="22666" y="783694"/>
                    </a:cubicBezTo>
                    <a:cubicBezTo>
                      <a:pt x="11333" y="783694"/>
                      <a:pt x="0" y="772336"/>
                      <a:pt x="0" y="760979"/>
                    </a:cubicBezTo>
                    <a:cubicBezTo>
                      <a:pt x="0" y="760979"/>
                      <a:pt x="0" y="760979"/>
                      <a:pt x="0" y="276375"/>
                    </a:cubicBezTo>
                    <a:cubicBezTo>
                      <a:pt x="0" y="261232"/>
                      <a:pt x="11333" y="253660"/>
                      <a:pt x="22666" y="253660"/>
                    </a:cubicBezTo>
                    <a:cubicBezTo>
                      <a:pt x="22666" y="253660"/>
                      <a:pt x="22666" y="253660"/>
                      <a:pt x="596871" y="253660"/>
                    </a:cubicBezTo>
                    <a:cubicBezTo>
                      <a:pt x="604426" y="238516"/>
                      <a:pt x="619537" y="227158"/>
                      <a:pt x="638425" y="227158"/>
                    </a:cubicBezTo>
                    <a:cubicBezTo>
                      <a:pt x="649758" y="227158"/>
                      <a:pt x="661091" y="230944"/>
                      <a:pt x="672424" y="242302"/>
                    </a:cubicBezTo>
                    <a:cubicBezTo>
                      <a:pt x="672424" y="242302"/>
                      <a:pt x="672424" y="242302"/>
                      <a:pt x="1189964"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dirty="0">
                  <a:solidFill>
                    <a:srgbClr val="000000"/>
                  </a:solidFill>
                </a:endParaRPr>
              </a:p>
            </p:txBody>
          </p:sp>
        </p:grpSp>
        <p:sp>
          <p:nvSpPr>
            <p:cNvPr id="20" name="TextBox 19"/>
            <p:cNvSpPr txBox="1"/>
            <p:nvPr/>
          </p:nvSpPr>
          <p:spPr>
            <a:xfrm>
              <a:off x="2672805" y="3684336"/>
              <a:ext cx="809519" cy="229294"/>
            </a:xfrm>
            <a:prstGeom prst="rect">
              <a:avLst/>
            </a:prstGeom>
            <a:noFill/>
          </p:spPr>
          <p:txBody>
            <a:bodyPr wrap="square" rtlCol="0" anchor="ctr" anchorCtr="0">
              <a:spAutoFit/>
            </a:bodyPr>
            <a:lstStyle/>
            <a:p>
              <a:pPr algn="ctr">
                <a:lnSpc>
                  <a:spcPct val="89000"/>
                </a:lnSpc>
              </a:pPr>
              <a:r>
                <a:rPr lang="en-GB" sz="1000" b="1" dirty="0" smtClean="0">
                  <a:solidFill>
                    <a:srgbClr val="00304A"/>
                  </a:solidFill>
                  <a:ea typeface="Open Sans" panose="020B0606030504020204" pitchFamily="34" charset="0"/>
                  <a:cs typeface="Open Sans" panose="020B0606030504020204" pitchFamily="34" charset="0"/>
                </a:rPr>
                <a:t>39 717</a:t>
              </a:r>
              <a:endParaRPr lang="en-US" sz="1000" b="1" dirty="0">
                <a:solidFill>
                  <a:srgbClr val="00304A"/>
                </a:solidFill>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26324892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db_03208" descr="db_03208"/>
          <p:cNvPicPr>
            <a:picLocks noGrp="1" noChangeAspect="1"/>
          </p:cNvPicPr>
          <p:nvPr isPhoto="1">
            <p:custDataLst>
              <p:tags r:id="rId1"/>
            </p:custDataLst>
          </p:nvPr>
        </p:nvPicPr>
        <p:blipFill rotWithShape="1">
          <a:blip r:embed="rId10" cstate="print">
            <a:lum/>
            <a:extLst>
              <a:ext uri="{28A0092B-C50C-407E-A947-70E740481C1C}">
                <a14:useLocalDpi xmlns:a14="http://schemas.microsoft.com/office/drawing/2010/main" val="0"/>
              </a:ext>
            </a:extLst>
          </a:blip>
          <a:srcRect l="24348" r="41902"/>
          <a:stretch/>
        </p:blipFill>
        <p:spPr>
          <a:xfrm>
            <a:off x="8077200" y="0"/>
            <a:ext cx="4114800" cy="6858000"/>
          </a:xfrm>
          <a:prstGeom prst="parallelogram">
            <a:avLst/>
          </a:prstGeom>
          <a:noFill/>
          <a:ln>
            <a:noFill/>
          </a:ln>
        </p:spPr>
      </p:pic>
      <p:sp>
        <p:nvSpPr>
          <p:cNvPr id="3" name="Title 2"/>
          <p:cNvSpPr>
            <a:spLocks noGrp="1"/>
          </p:cNvSpPr>
          <p:nvPr>
            <p:ph type="title"/>
          </p:nvPr>
        </p:nvSpPr>
        <p:spPr/>
        <p:txBody>
          <a:bodyPr/>
          <a:lstStyle/>
          <a:p>
            <a:r>
              <a:rPr lang="en-GB" dirty="0" smtClean="0"/>
              <a:t>Where to get additional information</a:t>
            </a:r>
            <a:endParaRPr lang="en-GB" dirty="0"/>
          </a:p>
        </p:txBody>
      </p:sp>
      <p:sp>
        <p:nvSpPr>
          <p:cNvPr id="78" name="Content Placeholder 13"/>
          <p:cNvSpPr txBox="1">
            <a:spLocks/>
          </p:cNvSpPr>
          <p:nvPr/>
        </p:nvSpPr>
        <p:spPr>
          <a:xfrm>
            <a:off x="10081971" y="3747700"/>
            <a:ext cx="4681125" cy="662406"/>
          </a:xfrm>
          <a:prstGeom prst="rect">
            <a:avLst/>
          </a:prstGeom>
        </p:spPr>
        <p:txBody>
          <a:bodyPr vert="horz" lIns="0" tIns="0" rIns="0" bIns="0" rtlCol="0" anchor="ctr">
            <a:noAutofit/>
          </a:bodyPr>
          <a:lstStyle>
            <a:lvl1pPr marL="180000" indent="-180000" algn="l" defTabSz="914400" rtl="0" eaLnBrk="1" latinLnBrk="0" hangingPunct="1">
              <a:lnSpc>
                <a:spcPct val="100000"/>
              </a:lnSpc>
              <a:spcBef>
                <a:spcPts val="0"/>
              </a:spcBef>
              <a:buClr>
                <a:schemeClr val="accent1"/>
              </a:buClr>
              <a:buFont typeface="Danske Text" panose="00000400000000000000" pitchFamily="2"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buClr>
                <a:srgbClr val="003755"/>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buClr>
                <a:srgbClr val="003755"/>
              </a:buClr>
              <a:buFont typeface="Danske Text" panose="00000400000000000000" pitchFamily="2"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buClr>
                <a:srgbClr val="003755"/>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buClr>
                <a:schemeClr val="accent1"/>
              </a:buClr>
              <a:buFont typeface="Danske Text" panose="00000400000000000000" pitchFamily="2" charset="0"/>
              <a:buChar char="•"/>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003755"/>
              </a:buClr>
              <a:buFont typeface="+mj-lt"/>
              <a:buAutoNum type="arabicPeriod"/>
              <a:defRPr sz="16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003755"/>
              </a:buClr>
              <a:buFont typeface="+mj-lt"/>
              <a:buAutoNum type="alphaLcPeriod"/>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0"/>
              </a:spcBef>
              <a:buClr>
                <a:srgbClr val="003755"/>
              </a:buClr>
              <a:buFont typeface="+mj-lt"/>
              <a:buAutoNum type="romanLcPeriod"/>
              <a:defRPr sz="1600" kern="1200" baseline="0">
                <a:solidFill>
                  <a:schemeClr val="tx1"/>
                </a:solidFill>
                <a:latin typeface="+mn-lt"/>
                <a:ea typeface="+mn-ea"/>
                <a:cs typeface="+mn-cs"/>
              </a:defRPr>
            </a:lvl8pPr>
            <a:lvl9pPr marL="1620000" indent="-180000" algn="l" defTabSz="914400" rtl="0" eaLnBrk="1" latinLnBrk="0" hangingPunct="1">
              <a:lnSpc>
                <a:spcPct val="120000"/>
              </a:lnSpc>
              <a:spcBef>
                <a:spcPts val="0"/>
              </a:spcBef>
              <a:buFont typeface="Arial" panose="020B0604020202020204" pitchFamily="34" charset="0"/>
              <a:buChar char="•"/>
              <a:defRPr sz="900" kern="1200" baseline="0">
                <a:solidFill>
                  <a:schemeClr val="tx1"/>
                </a:solidFill>
                <a:latin typeface="+mn-lt"/>
                <a:ea typeface="+mn-ea"/>
                <a:cs typeface="+mn-cs"/>
              </a:defRPr>
            </a:lvl9pPr>
          </a:lstStyle>
          <a:p>
            <a:pPr marL="0" indent="0">
              <a:buClr>
                <a:srgbClr val="003755"/>
              </a:buClr>
              <a:buNone/>
            </a:pPr>
            <a:endParaRPr lang="da-DK" sz="1200" dirty="0">
              <a:solidFill>
                <a:srgbClr val="003755"/>
              </a:solidFill>
            </a:endParaRPr>
          </a:p>
        </p:txBody>
      </p:sp>
      <p:grpSp>
        <p:nvGrpSpPr>
          <p:cNvPr id="14" name="Group 13"/>
          <p:cNvGrpSpPr/>
          <p:nvPr/>
        </p:nvGrpSpPr>
        <p:grpSpPr>
          <a:xfrm>
            <a:off x="710327" y="1558041"/>
            <a:ext cx="7881520" cy="673684"/>
            <a:chOff x="710327" y="1558041"/>
            <a:chExt cx="7881520" cy="673684"/>
          </a:xfrm>
        </p:grpSpPr>
        <p:sp>
          <p:nvSpPr>
            <p:cNvPr id="84" name="Content Placeholder 13"/>
            <p:cNvSpPr txBox="1">
              <a:spLocks/>
            </p:cNvSpPr>
            <p:nvPr/>
          </p:nvSpPr>
          <p:spPr>
            <a:xfrm>
              <a:off x="1881060" y="1558041"/>
              <a:ext cx="6710787" cy="673684"/>
            </a:xfrm>
            <a:prstGeom prst="rect">
              <a:avLst/>
            </a:prstGeom>
          </p:spPr>
          <p:txBody>
            <a:bodyPr vert="horz" lIns="0" tIns="0" rIns="0" bIns="0" rtlCol="0" anchor="ctr">
              <a:noAutofit/>
            </a:bodyPr>
            <a:lstStyle>
              <a:lvl1pPr marL="180000" indent="-180000" algn="l" defTabSz="914400" rtl="0" eaLnBrk="1" latinLnBrk="0" hangingPunct="1">
                <a:lnSpc>
                  <a:spcPct val="100000"/>
                </a:lnSpc>
                <a:spcBef>
                  <a:spcPts val="0"/>
                </a:spcBef>
                <a:buClr>
                  <a:schemeClr val="accent1"/>
                </a:buClr>
                <a:buFont typeface="Danske Text" panose="00000400000000000000" pitchFamily="2"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buClr>
                  <a:srgbClr val="003755"/>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buClr>
                  <a:srgbClr val="003755"/>
                </a:buClr>
                <a:buFont typeface="Danske Text" panose="00000400000000000000" pitchFamily="2"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buClr>
                  <a:srgbClr val="003755"/>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buClr>
                  <a:schemeClr val="accent1"/>
                </a:buClr>
                <a:buFont typeface="Danske Text" panose="00000400000000000000" pitchFamily="2" charset="0"/>
                <a:buChar char="•"/>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003755"/>
                </a:buClr>
                <a:buFont typeface="+mj-lt"/>
                <a:buAutoNum type="arabicPeriod"/>
                <a:defRPr sz="16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003755"/>
                </a:buClr>
                <a:buFont typeface="+mj-lt"/>
                <a:buAutoNum type="alphaLcPeriod"/>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0"/>
                </a:spcBef>
                <a:buClr>
                  <a:srgbClr val="003755"/>
                </a:buClr>
                <a:buFont typeface="+mj-lt"/>
                <a:buAutoNum type="romanLcPeriod"/>
                <a:defRPr sz="1600" kern="1200" baseline="0">
                  <a:solidFill>
                    <a:schemeClr val="tx1"/>
                  </a:solidFill>
                  <a:latin typeface="+mn-lt"/>
                  <a:ea typeface="+mn-ea"/>
                  <a:cs typeface="+mn-cs"/>
                </a:defRPr>
              </a:lvl8pPr>
              <a:lvl9pPr marL="1620000" indent="-180000" algn="l" defTabSz="914400" rtl="0" eaLnBrk="1" latinLnBrk="0" hangingPunct="1">
                <a:lnSpc>
                  <a:spcPct val="120000"/>
                </a:lnSpc>
                <a:spcBef>
                  <a:spcPts val="0"/>
                </a:spcBef>
                <a:buFont typeface="Arial" panose="020B0604020202020204" pitchFamily="34" charset="0"/>
                <a:buChar char="•"/>
                <a:defRPr sz="900" kern="1200" baseline="0">
                  <a:solidFill>
                    <a:schemeClr val="tx1"/>
                  </a:solidFill>
                  <a:latin typeface="+mn-lt"/>
                  <a:ea typeface="+mn-ea"/>
                  <a:cs typeface="+mn-cs"/>
                </a:defRPr>
              </a:lvl9pPr>
            </a:lstStyle>
            <a:p>
              <a:pPr marL="0" indent="0">
                <a:spcBef>
                  <a:spcPts val="600"/>
                </a:spcBef>
                <a:buNone/>
              </a:pPr>
              <a:r>
                <a:rPr lang="en-GB" sz="1400" dirty="0" smtClean="0">
                  <a:solidFill>
                    <a:srgbClr val="003755"/>
                  </a:solidFill>
                </a:rPr>
                <a:t>Sustainable Investment Policy</a:t>
              </a:r>
            </a:p>
            <a:p>
              <a:pPr marL="0" indent="0">
                <a:buNone/>
              </a:pPr>
              <a:r>
                <a:rPr lang="lt-LT" sz="1100" dirty="0">
                  <a:hlinkClick r:id="rId11"/>
                </a:rPr>
                <a:t>Click here</a:t>
              </a:r>
              <a:endParaRPr lang="da-DK" sz="1100" dirty="0"/>
            </a:p>
          </p:txBody>
        </p:sp>
        <p:sp>
          <p:nvSpPr>
            <p:cNvPr id="89" name="Rectangle 88"/>
            <p:cNvSpPr/>
            <p:nvPr/>
          </p:nvSpPr>
          <p:spPr>
            <a:xfrm>
              <a:off x="1610710" y="1655341"/>
              <a:ext cx="38326" cy="479081"/>
            </a:xfrm>
            <a:prstGeom prst="rect">
              <a:avLst/>
            </a:prstGeom>
            <a:solidFill>
              <a:srgbClr val="003755"/>
            </a:solidFill>
            <a:ln w="12700" cap="rnd">
              <a:solidFill>
                <a:srgbClr val="003755"/>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smtClean="0">
                <a:solidFill>
                  <a:srgbClr val="000000"/>
                </a:solidFill>
              </a:endParaRPr>
            </a:p>
          </p:txBody>
        </p:sp>
        <p:grpSp>
          <p:nvGrpSpPr>
            <p:cNvPr id="11" name="Group 10"/>
            <p:cNvGrpSpPr/>
            <p:nvPr/>
          </p:nvGrpSpPr>
          <p:grpSpPr>
            <a:xfrm>
              <a:off x="710327" y="1573750"/>
              <a:ext cx="707638" cy="612917"/>
              <a:chOff x="710327" y="1573750"/>
              <a:chExt cx="707638" cy="612917"/>
            </a:xfrm>
          </p:grpSpPr>
          <p:sp>
            <p:nvSpPr>
              <p:cNvPr id="55" name="Hexagon 54"/>
              <p:cNvSpPr>
                <a:spLocks noChangeAspect="1"/>
              </p:cNvSpPr>
              <p:nvPr/>
            </p:nvSpPr>
            <p:spPr>
              <a:xfrm>
                <a:off x="710327" y="1573750"/>
                <a:ext cx="707638" cy="612917"/>
              </a:xfrm>
              <a:prstGeom prst="hexagon">
                <a:avLst/>
              </a:prstGeom>
              <a:solidFill>
                <a:schemeClr val="dk2"/>
              </a:solidFill>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smtClean="0">
                  <a:solidFill>
                    <a:schemeClr val="tx1"/>
                  </a:solidFill>
                </a:endParaRPr>
              </a:p>
            </p:txBody>
          </p:sp>
          <p:sp>
            <p:nvSpPr>
              <p:cNvPr id="47" name="Globe"/>
              <p:cNvSpPr>
                <a:spLocks noChangeAspect="1" noEditPoints="1"/>
              </p:cNvSpPr>
              <p:nvPr>
                <p:custDataLst>
                  <p:tags r:id="rId8"/>
                </p:custDataLst>
              </p:nvPr>
            </p:nvSpPr>
            <p:spPr bwMode="auto">
              <a:xfrm>
                <a:off x="881266" y="1712002"/>
                <a:ext cx="365760" cy="365760"/>
              </a:xfrm>
              <a:custGeom>
                <a:avLst/>
                <a:gdLst>
                  <a:gd name="T0" fmla="*/ 433 w 573"/>
                  <a:gd name="T1" fmla="*/ 392 h 573"/>
                  <a:gd name="T2" fmla="*/ 347 w 573"/>
                  <a:gd name="T3" fmla="*/ 536 h 573"/>
                  <a:gd name="T4" fmla="*/ 152 w 573"/>
                  <a:gd name="T5" fmla="*/ 392 h 573"/>
                  <a:gd name="T6" fmla="*/ 51 w 573"/>
                  <a:gd name="T7" fmla="*/ 392 h 573"/>
                  <a:gd name="T8" fmla="*/ 42 w 573"/>
                  <a:gd name="T9" fmla="*/ 210 h 573"/>
                  <a:gd name="T10" fmla="*/ 137 w 573"/>
                  <a:gd name="T11" fmla="*/ 284 h 573"/>
                  <a:gd name="T12" fmla="*/ 40 w 573"/>
                  <a:gd name="T13" fmla="*/ 362 h 573"/>
                  <a:gd name="T14" fmla="*/ 42 w 573"/>
                  <a:gd name="T15" fmla="*/ 207 h 573"/>
                  <a:gd name="T16" fmla="*/ 151 w 573"/>
                  <a:gd name="T17" fmla="*/ 181 h 573"/>
                  <a:gd name="T18" fmla="*/ 237 w 573"/>
                  <a:gd name="T19" fmla="*/ 34 h 573"/>
                  <a:gd name="T20" fmla="*/ 430 w 573"/>
                  <a:gd name="T21" fmla="*/ 181 h 573"/>
                  <a:gd name="T22" fmla="*/ 521 w 573"/>
                  <a:gd name="T23" fmla="*/ 181 h 573"/>
                  <a:gd name="T24" fmla="*/ 301 w 573"/>
                  <a:gd name="T25" fmla="*/ 210 h 573"/>
                  <a:gd name="T26" fmla="*/ 417 w 573"/>
                  <a:gd name="T27" fmla="*/ 290 h 573"/>
                  <a:gd name="T28" fmla="*/ 301 w 573"/>
                  <a:gd name="T29" fmla="*/ 362 h 573"/>
                  <a:gd name="T30" fmla="*/ 301 w 573"/>
                  <a:gd name="T31" fmla="*/ 392 h 573"/>
                  <a:gd name="T32" fmla="*/ 301 w 573"/>
                  <a:gd name="T33" fmla="*/ 534 h 573"/>
                  <a:gd name="T34" fmla="*/ 272 w 573"/>
                  <a:gd name="T35" fmla="*/ 525 h 573"/>
                  <a:gd name="T36" fmla="*/ 272 w 573"/>
                  <a:gd name="T37" fmla="*/ 392 h 573"/>
                  <a:gd name="T38" fmla="*/ 272 w 573"/>
                  <a:gd name="T39" fmla="*/ 181 h 573"/>
                  <a:gd name="T40" fmla="*/ 272 w 573"/>
                  <a:gd name="T41" fmla="*/ 44 h 573"/>
                  <a:gd name="T42" fmla="*/ 301 w 573"/>
                  <a:gd name="T43" fmla="*/ 181 h 573"/>
                  <a:gd name="T44" fmla="*/ 399 w 573"/>
                  <a:gd name="T45" fmla="*/ 181 h 573"/>
                  <a:gd name="T46" fmla="*/ 175 w 573"/>
                  <a:gd name="T47" fmla="*/ 210 h 573"/>
                  <a:gd name="T48" fmla="*/ 272 w 573"/>
                  <a:gd name="T49" fmla="*/ 362 h 573"/>
                  <a:gd name="T50" fmla="*/ 168 w 573"/>
                  <a:gd name="T51" fmla="*/ 284 h 573"/>
                  <a:gd name="T52" fmla="*/ 440 w 573"/>
                  <a:gd name="T53" fmla="*/ 362 h 573"/>
                  <a:gd name="T54" fmla="*/ 438 w 573"/>
                  <a:gd name="T55" fmla="*/ 210 h 573"/>
                  <a:gd name="T56" fmla="*/ 544 w 573"/>
                  <a:gd name="T57" fmla="*/ 286 h 573"/>
                  <a:gd name="T58" fmla="*/ 573 w 573"/>
                  <a:gd name="T59" fmla="*/ 286 h 573"/>
                  <a:gd name="T60" fmla="*/ 0 w 573"/>
                  <a:gd name="T61" fmla="*/ 286 h 573"/>
                  <a:gd name="T62" fmla="*/ 272 w 573"/>
                  <a:gd name="T63" fmla="*/ 572 h 573"/>
                  <a:gd name="T64" fmla="*/ 286 w 573"/>
                  <a:gd name="T65" fmla="*/ 573 h 573"/>
                  <a:gd name="T66" fmla="*/ 301 w 573"/>
                  <a:gd name="T67" fmla="*/ 572 h 573"/>
                  <a:gd name="T68" fmla="*/ 573 w 573"/>
                  <a:gd name="T69" fmla="*/ 286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73" h="573">
                    <a:moveTo>
                      <a:pt x="347" y="536"/>
                    </a:moveTo>
                    <a:cubicBezTo>
                      <a:pt x="387" y="499"/>
                      <a:pt x="417" y="449"/>
                      <a:pt x="433" y="392"/>
                    </a:cubicBezTo>
                    <a:cubicBezTo>
                      <a:pt x="521" y="392"/>
                      <a:pt x="521" y="392"/>
                      <a:pt x="521" y="392"/>
                    </a:cubicBezTo>
                    <a:cubicBezTo>
                      <a:pt x="489" y="463"/>
                      <a:pt x="424" y="517"/>
                      <a:pt x="347" y="536"/>
                    </a:cubicBezTo>
                    <a:close/>
                    <a:moveTo>
                      <a:pt x="51" y="392"/>
                    </a:moveTo>
                    <a:cubicBezTo>
                      <a:pt x="152" y="392"/>
                      <a:pt x="152" y="392"/>
                      <a:pt x="152" y="392"/>
                    </a:cubicBezTo>
                    <a:cubicBezTo>
                      <a:pt x="169" y="453"/>
                      <a:pt x="200" y="504"/>
                      <a:pt x="242" y="540"/>
                    </a:cubicBezTo>
                    <a:cubicBezTo>
                      <a:pt x="157" y="525"/>
                      <a:pt x="86" y="468"/>
                      <a:pt x="51" y="392"/>
                    </a:cubicBezTo>
                    <a:close/>
                    <a:moveTo>
                      <a:pt x="42" y="207"/>
                    </a:moveTo>
                    <a:cubicBezTo>
                      <a:pt x="42" y="210"/>
                      <a:pt x="42" y="210"/>
                      <a:pt x="42" y="210"/>
                    </a:cubicBezTo>
                    <a:cubicBezTo>
                      <a:pt x="144" y="210"/>
                      <a:pt x="144" y="210"/>
                      <a:pt x="144" y="210"/>
                    </a:cubicBezTo>
                    <a:cubicBezTo>
                      <a:pt x="140" y="234"/>
                      <a:pt x="137" y="259"/>
                      <a:pt x="137" y="284"/>
                    </a:cubicBezTo>
                    <a:cubicBezTo>
                      <a:pt x="137" y="312"/>
                      <a:pt x="140" y="338"/>
                      <a:pt x="145" y="362"/>
                    </a:cubicBezTo>
                    <a:cubicBezTo>
                      <a:pt x="40" y="362"/>
                      <a:pt x="40" y="362"/>
                      <a:pt x="40" y="362"/>
                    </a:cubicBezTo>
                    <a:cubicBezTo>
                      <a:pt x="33" y="338"/>
                      <a:pt x="29" y="313"/>
                      <a:pt x="29" y="286"/>
                    </a:cubicBezTo>
                    <a:cubicBezTo>
                      <a:pt x="29" y="258"/>
                      <a:pt x="33" y="232"/>
                      <a:pt x="42" y="207"/>
                    </a:cubicBezTo>
                    <a:close/>
                    <a:moveTo>
                      <a:pt x="237" y="34"/>
                    </a:moveTo>
                    <a:cubicBezTo>
                      <a:pt x="196" y="70"/>
                      <a:pt x="166" y="121"/>
                      <a:pt x="151" y="181"/>
                    </a:cubicBezTo>
                    <a:cubicBezTo>
                      <a:pt x="51" y="181"/>
                      <a:pt x="51" y="181"/>
                      <a:pt x="51" y="181"/>
                    </a:cubicBezTo>
                    <a:cubicBezTo>
                      <a:pt x="85" y="106"/>
                      <a:pt x="154" y="50"/>
                      <a:pt x="237" y="34"/>
                    </a:cubicBezTo>
                    <a:close/>
                    <a:moveTo>
                      <a:pt x="521" y="181"/>
                    </a:moveTo>
                    <a:cubicBezTo>
                      <a:pt x="430" y="181"/>
                      <a:pt x="430" y="181"/>
                      <a:pt x="430" y="181"/>
                    </a:cubicBezTo>
                    <a:cubicBezTo>
                      <a:pt x="412" y="121"/>
                      <a:pt x="379" y="70"/>
                      <a:pt x="334" y="34"/>
                    </a:cubicBezTo>
                    <a:cubicBezTo>
                      <a:pt x="418" y="50"/>
                      <a:pt x="487" y="106"/>
                      <a:pt x="521" y="181"/>
                    </a:cubicBezTo>
                    <a:close/>
                    <a:moveTo>
                      <a:pt x="301" y="362"/>
                    </a:moveTo>
                    <a:cubicBezTo>
                      <a:pt x="301" y="210"/>
                      <a:pt x="301" y="210"/>
                      <a:pt x="301" y="210"/>
                    </a:cubicBezTo>
                    <a:cubicBezTo>
                      <a:pt x="407" y="210"/>
                      <a:pt x="407" y="210"/>
                      <a:pt x="407" y="210"/>
                    </a:cubicBezTo>
                    <a:cubicBezTo>
                      <a:pt x="413" y="236"/>
                      <a:pt x="417" y="262"/>
                      <a:pt x="417" y="290"/>
                    </a:cubicBezTo>
                    <a:cubicBezTo>
                      <a:pt x="417" y="315"/>
                      <a:pt x="414" y="339"/>
                      <a:pt x="409" y="362"/>
                    </a:cubicBezTo>
                    <a:lnTo>
                      <a:pt x="301" y="362"/>
                    </a:lnTo>
                    <a:close/>
                    <a:moveTo>
                      <a:pt x="301" y="534"/>
                    </a:moveTo>
                    <a:cubicBezTo>
                      <a:pt x="301" y="392"/>
                      <a:pt x="301" y="392"/>
                      <a:pt x="301" y="392"/>
                    </a:cubicBezTo>
                    <a:cubicBezTo>
                      <a:pt x="401" y="392"/>
                      <a:pt x="401" y="392"/>
                      <a:pt x="401" y="392"/>
                    </a:cubicBezTo>
                    <a:cubicBezTo>
                      <a:pt x="383" y="452"/>
                      <a:pt x="348" y="502"/>
                      <a:pt x="301" y="534"/>
                    </a:cubicBezTo>
                    <a:close/>
                    <a:moveTo>
                      <a:pt x="272" y="392"/>
                    </a:moveTo>
                    <a:cubicBezTo>
                      <a:pt x="272" y="525"/>
                      <a:pt x="272" y="525"/>
                      <a:pt x="272" y="525"/>
                    </a:cubicBezTo>
                    <a:cubicBezTo>
                      <a:pt x="231" y="495"/>
                      <a:pt x="200" y="448"/>
                      <a:pt x="183" y="392"/>
                    </a:cubicBezTo>
                    <a:lnTo>
                      <a:pt x="272" y="392"/>
                    </a:lnTo>
                    <a:close/>
                    <a:moveTo>
                      <a:pt x="272" y="44"/>
                    </a:moveTo>
                    <a:cubicBezTo>
                      <a:pt x="272" y="181"/>
                      <a:pt x="272" y="181"/>
                      <a:pt x="272" y="181"/>
                    </a:cubicBezTo>
                    <a:cubicBezTo>
                      <a:pt x="182" y="181"/>
                      <a:pt x="182" y="181"/>
                      <a:pt x="182" y="181"/>
                    </a:cubicBezTo>
                    <a:cubicBezTo>
                      <a:pt x="199" y="123"/>
                      <a:pt x="229" y="75"/>
                      <a:pt x="272" y="44"/>
                    </a:cubicBezTo>
                    <a:close/>
                    <a:moveTo>
                      <a:pt x="399" y="181"/>
                    </a:moveTo>
                    <a:cubicBezTo>
                      <a:pt x="301" y="181"/>
                      <a:pt x="301" y="181"/>
                      <a:pt x="301" y="181"/>
                    </a:cubicBezTo>
                    <a:cubicBezTo>
                      <a:pt x="301" y="46"/>
                      <a:pt x="301" y="46"/>
                      <a:pt x="301" y="46"/>
                    </a:cubicBezTo>
                    <a:cubicBezTo>
                      <a:pt x="346" y="76"/>
                      <a:pt x="379" y="124"/>
                      <a:pt x="399" y="181"/>
                    </a:cubicBezTo>
                    <a:close/>
                    <a:moveTo>
                      <a:pt x="168" y="284"/>
                    </a:moveTo>
                    <a:cubicBezTo>
                      <a:pt x="168" y="258"/>
                      <a:pt x="170" y="234"/>
                      <a:pt x="175" y="210"/>
                    </a:cubicBezTo>
                    <a:cubicBezTo>
                      <a:pt x="272" y="210"/>
                      <a:pt x="272" y="210"/>
                      <a:pt x="272" y="210"/>
                    </a:cubicBezTo>
                    <a:cubicBezTo>
                      <a:pt x="272" y="362"/>
                      <a:pt x="272" y="362"/>
                      <a:pt x="272" y="362"/>
                    </a:cubicBezTo>
                    <a:cubicBezTo>
                      <a:pt x="176" y="362"/>
                      <a:pt x="176" y="362"/>
                      <a:pt x="176" y="362"/>
                    </a:cubicBezTo>
                    <a:cubicBezTo>
                      <a:pt x="171" y="338"/>
                      <a:pt x="168" y="312"/>
                      <a:pt x="168" y="284"/>
                    </a:cubicBezTo>
                    <a:close/>
                    <a:moveTo>
                      <a:pt x="532" y="362"/>
                    </a:moveTo>
                    <a:cubicBezTo>
                      <a:pt x="440" y="362"/>
                      <a:pt x="440" y="362"/>
                      <a:pt x="440" y="362"/>
                    </a:cubicBezTo>
                    <a:cubicBezTo>
                      <a:pt x="444" y="339"/>
                      <a:pt x="447" y="315"/>
                      <a:pt x="447" y="290"/>
                    </a:cubicBezTo>
                    <a:cubicBezTo>
                      <a:pt x="447" y="263"/>
                      <a:pt x="444" y="236"/>
                      <a:pt x="438" y="210"/>
                    </a:cubicBezTo>
                    <a:cubicBezTo>
                      <a:pt x="532" y="210"/>
                      <a:pt x="532" y="210"/>
                      <a:pt x="532" y="210"/>
                    </a:cubicBezTo>
                    <a:cubicBezTo>
                      <a:pt x="539" y="234"/>
                      <a:pt x="544" y="260"/>
                      <a:pt x="544" y="286"/>
                    </a:cubicBezTo>
                    <a:cubicBezTo>
                      <a:pt x="544" y="313"/>
                      <a:pt x="539" y="338"/>
                      <a:pt x="532" y="362"/>
                    </a:cubicBezTo>
                    <a:close/>
                    <a:moveTo>
                      <a:pt x="573" y="286"/>
                    </a:moveTo>
                    <a:cubicBezTo>
                      <a:pt x="573" y="128"/>
                      <a:pt x="444" y="0"/>
                      <a:pt x="286" y="0"/>
                    </a:cubicBezTo>
                    <a:cubicBezTo>
                      <a:pt x="128" y="0"/>
                      <a:pt x="0" y="128"/>
                      <a:pt x="0" y="286"/>
                    </a:cubicBezTo>
                    <a:cubicBezTo>
                      <a:pt x="0" y="440"/>
                      <a:pt x="121" y="565"/>
                      <a:pt x="272" y="572"/>
                    </a:cubicBezTo>
                    <a:cubicBezTo>
                      <a:pt x="272" y="572"/>
                      <a:pt x="272" y="572"/>
                      <a:pt x="272" y="572"/>
                    </a:cubicBezTo>
                    <a:cubicBezTo>
                      <a:pt x="274" y="572"/>
                      <a:pt x="274" y="572"/>
                      <a:pt x="274" y="572"/>
                    </a:cubicBezTo>
                    <a:cubicBezTo>
                      <a:pt x="278" y="572"/>
                      <a:pt x="282" y="573"/>
                      <a:pt x="286" y="573"/>
                    </a:cubicBezTo>
                    <a:cubicBezTo>
                      <a:pt x="290" y="573"/>
                      <a:pt x="294" y="572"/>
                      <a:pt x="298" y="572"/>
                    </a:cubicBezTo>
                    <a:cubicBezTo>
                      <a:pt x="301" y="572"/>
                      <a:pt x="301" y="572"/>
                      <a:pt x="301" y="572"/>
                    </a:cubicBezTo>
                    <a:cubicBezTo>
                      <a:pt x="301" y="572"/>
                      <a:pt x="301" y="572"/>
                      <a:pt x="301" y="572"/>
                    </a:cubicBezTo>
                    <a:cubicBezTo>
                      <a:pt x="452" y="564"/>
                      <a:pt x="573" y="439"/>
                      <a:pt x="573" y="28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15" name="Group 14"/>
          <p:cNvGrpSpPr/>
          <p:nvPr/>
        </p:nvGrpSpPr>
        <p:grpSpPr>
          <a:xfrm>
            <a:off x="710327" y="2398672"/>
            <a:ext cx="7881520" cy="662406"/>
            <a:chOff x="710327" y="2380277"/>
            <a:chExt cx="7881520" cy="662406"/>
          </a:xfrm>
        </p:grpSpPr>
        <p:sp>
          <p:nvSpPr>
            <p:cNvPr id="85" name="Content Placeholder 13"/>
            <p:cNvSpPr txBox="1">
              <a:spLocks/>
            </p:cNvSpPr>
            <p:nvPr/>
          </p:nvSpPr>
          <p:spPr>
            <a:xfrm>
              <a:off x="1881060" y="2380277"/>
              <a:ext cx="6710787" cy="662406"/>
            </a:xfrm>
            <a:prstGeom prst="rect">
              <a:avLst/>
            </a:prstGeom>
          </p:spPr>
          <p:txBody>
            <a:bodyPr vert="horz" lIns="0" tIns="0" rIns="0" bIns="0" rtlCol="0" anchor="ctr">
              <a:noAutofit/>
            </a:bodyPr>
            <a:lstStyle>
              <a:lvl1pPr marL="180000" indent="-180000" algn="l" defTabSz="914400" rtl="0" eaLnBrk="1" latinLnBrk="0" hangingPunct="1">
                <a:lnSpc>
                  <a:spcPct val="100000"/>
                </a:lnSpc>
                <a:spcBef>
                  <a:spcPts val="0"/>
                </a:spcBef>
                <a:buClr>
                  <a:schemeClr val="accent1"/>
                </a:buClr>
                <a:buFont typeface="Danske Text" panose="00000400000000000000" pitchFamily="2"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buClr>
                  <a:srgbClr val="003755"/>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buClr>
                  <a:srgbClr val="003755"/>
                </a:buClr>
                <a:buFont typeface="Danske Text" panose="00000400000000000000" pitchFamily="2"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buClr>
                  <a:srgbClr val="003755"/>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buClr>
                  <a:schemeClr val="accent1"/>
                </a:buClr>
                <a:buFont typeface="Danske Text" panose="00000400000000000000" pitchFamily="2" charset="0"/>
                <a:buChar char="•"/>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003755"/>
                </a:buClr>
                <a:buFont typeface="+mj-lt"/>
                <a:buAutoNum type="arabicPeriod"/>
                <a:defRPr sz="16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003755"/>
                </a:buClr>
                <a:buFont typeface="+mj-lt"/>
                <a:buAutoNum type="alphaLcPeriod"/>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0"/>
                </a:spcBef>
                <a:buClr>
                  <a:srgbClr val="003755"/>
                </a:buClr>
                <a:buFont typeface="+mj-lt"/>
                <a:buAutoNum type="romanLcPeriod"/>
                <a:defRPr sz="1600" kern="1200" baseline="0">
                  <a:solidFill>
                    <a:schemeClr val="tx1"/>
                  </a:solidFill>
                  <a:latin typeface="+mn-lt"/>
                  <a:ea typeface="+mn-ea"/>
                  <a:cs typeface="+mn-cs"/>
                </a:defRPr>
              </a:lvl8pPr>
              <a:lvl9pPr marL="1620000" indent="-180000" algn="l" defTabSz="914400" rtl="0" eaLnBrk="1" latinLnBrk="0" hangingPunct="1">
                <a:lnSpc>
                  <a:spcPct val="120000"/>
                </a:lnSpc>
                <a:spcBef>
                  <a:spcPts val="0"/>
                </a:spcBef>
                <a:buFont typeface="Arial" panose="020B0604020202020204" pitchFamily="34" charset="0"/>
                <a:buChar char="•"/>
                <a:defRPr sz="900" kern="1200" baseline="0">
                  <a:solidFill>
                    <a:schemeClr val="tx1"/>
                  </a:solidFill>
                  <a:latin typeface="+mn-lt"/>
                  <a:ea typeface="+mn-ea"/>
                  <a:cs typeface="+mn-cs"/>
                </a:defRPr>
              </a:lvl9pPr>
            </a:lstStyle>
            <a:p>
              <a:pPr marL="0" indent="0">
                <a:buClr>
                  <a:srgbClr val="003755"/>
                </a:buClr>
                <a:buNone/>
              </a:pPr>
              <a:r>
                <a:rPr lang="en-GB" sz="1400" dirty="0" smtClean="0">
                  <a:solidFill>
                    <a:srgbClr val="003755"/>
                  </a:solidFill>
                </a:rPr>
                <a:t>Active Ownership Instruction</a:t>
              </a:r>
            </a:p>
            <a:p>
              <a:pPr marL="0" indent="0">
                <a:buNone/>
              </a:pPr>
              <a:r>
                <a:rPr lang="en-GB" sz="1100" dirty="0" smtClean="0">
                  <a:hlinkClick r:id="rId12"/>
                </a:rPr>
                <a:t>Click here</a:t>
              </a:r>
              <a:endParaRPr lang="en-GB" sz="1100" dirty="0"/>
            </a:p>
          </p:txBody>
        </p:sp>
        <p:sp>
          <p:nvSpPr>
            <p:cNvPr id="90" name="Rectangle 89"/>
            <p:cNvSpPr/>
            <p:nvPr/>
          </p:nvSpPr>
          <p:spPr>
            <a:xfrm>
              <a:off x="1612516" y="2484169"/>
              <a:ext cx="38326" cy="479081"/>
            </a:xfrm>
            <a:prstGeom prst="rect">
              <a:avLst/>
            </a:prstGeom>
            <a:solidFill>
              <a:srgbClr val="003755"/>
            </a:solidFill>
            <a:ln w="12700" cap="rnd">
              <a:solidFill>
                <a:srgbClr val="003755"/>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smtClean="0">
                <a:solidFill>
                  <a:srgbClr val="000000"/>
                </a:solidFill>
              </a:endParaRPr>
            </a:p>
          </p:txBody>
        </p:sp>
        <p:grpSp>
          <p:nvGrpSpPr>
            <p:cNvPr id="4" name="Group 3"/>
            <p:cNvGrpSpPr/>
            <p:nvPr/>
          </p:nvGrpSpPr>
          <p:grpSpPr>
            <a:xfrm>
              <a:off x="710327" y="2404722"/>
              <a:ext cx="707638" cy="612917"/>
              <a:chOff x="428779" y="2441057"/>
              <a:chExt cx="707638" cy="612917"/>
            </a:xfrm>
          </p:grpSpPr>
          <p:sp>
            <p:nvSpPr>
              <p:cNvPr id="56" name="Hexagon 55"/>
              <p:cNvSpPr>
                <a:spLocks noChangeAspect="1"/>
              </p:cNvSpPr>
              <p:nvPr/>
            </p:nvSpPr>
            <p:spPr>
              <a:xfrm>
                <a:off x="428779" y="2441057"/>
                <a:ext cx="707638" cy="612917"/>
              </a:xfrm>
              <a:prstGeom prst="hexagon">
                <a:avLst/>
              </a:prstGeom>
              <a:solidFill>
                <a:schemeClr val="dk2"/>
              </a:solidFill>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smtClean="0">
                  <a:solidFill>
                    <a:schemeClr val="tx1"/>
                  </a:solidFill>
                </a:endParaRPr>
              </a:p>
            </p:txBody>
          </p:sp>
          <p:sp>
            <p:nvSpPr>
              <p:cNvPr id="51" name="Responsible investments"/>
              <p:cNvSpPr>
                <a:spLocks noChangeAspect="1" noEditPoints="1"/>
              </p:cNvSpPr>
              <p:nvPr>
                <p:custDataLst>
                  <p:tags r:id="rId7"/>
                </p:custDataLst>
              </p:nvPr>
            </p:nvSpPr>
            <p:spPr bwMode="auto">
              <a:xfrm>
                <a:off x="615204" y="2567225"/>
                <a:ext cx="358117" cy="365760"/>
              </a:xfrm>
              <a:custGeom>
                <a:avLst/>
                <a:gdLst>
                  <a:gd name="T0" fmla="*/ 599 w 1774"/>
                  <a:gd name="T1" fmla="*/ 1035 h 1808"/>
                  <a:gd name="T2" fmla="*/ 805 w 1774"/>
                  <a:gd name="T3" fmla="*/ 1118 h 1808"/>
                  <a:gd name="T4" fmla="*/ 1012 w 1774"/>
                  <a:gd name="T5" fmla="*/ 1151 h 1808"/>
                  <a:gd name="T6" fmla="*/ 680 w 1774"/>
                  <a:gd name="T7" fmla="*/ 1187 h 1808"/>
                  <a:gd name="T8" fmla="*/ 60 w 1774"/>
                  <a:gd name="T9" fmla="*/ 1212 h 1808"/>
                  <a:gd name="T10" fmla="*/ 576 w 1774"/>
                  <a:gd name="T11" fmla="*/ 1303 h 1808"/>
                  <a:gd name="T12" fmla="*/ 689 w 1774"/>
                  <a:gd name="T13" fmla="*/ 1317 h 1808"/>
                  <a:gd name="T14" fmla="*/ 1156 w 1774"/>
                  <a:gd name="T15" fmla="*/ 1364 h 1808"/>
                  <a:gd name="T16" fmla="*/ 1248 w 1774"/>
                  <a:gd name="T17" fmla="*/ 841 h 1808"/>
                  <a:gd name="T18" fmla="*/ 1523 w 1774"/>
                  <a:gd name="T19" fmla="*/ 885 h 1808"/>
                  <a:gd name="T20" fmla="*/ 1737 w 1774"/>
                  <a:gd name="T21" fmla="*/ 956 h 1808"/>
                  <a:gd name="T22" fmla="*/ 1403 w 1774"/>
                  <a:gd name="T23" fmla="*/ 1780 h 1808"/>
                  <a:gd name="T24" fmla="*/ 1300 w 1774"/>
                  <a:gd name="T25" fmla="*/ 1793 h 1808"/>
                  <a:gd name="T26" fmla="*/ 1045 w 1774"/>
                  <a:gd name="T27" fmla="*/ 1508 h 1808"/>
                  <a:gd name="T28" fmla="*/ 1119 w 1774"/>
                  <a:gd name="T29" fmla="*/ 1402 h 1808"/>
                  <a:gd name="T30" fmla="*/ 680 w 1774"/>
                  <a:gd name="T31" fmla="*/ 1371 h 1808"/>
                  <a:gd name="T32" fmla="*/ 119 w 1774"/>
                  <a:gd name="T33" fmla="*/ 1320 h 1808"/>
                  <a:gd name="T34" fmla="*/ 109 w 1774"/>
                  <a:gd name="T35" fmla="*/ 1093 h 1808"/>
                  <a:gd name="T36" fmla="*/ 536 w 1774"/>
                  <a:gd name="T37" fmla="*/ 1076 h 1808"/>
                  <a:gd name="T38" fmla="*/ 1238 w 1774"/>
                  <a:gd name="T39" fmla="*/ 842 h 1808"/>
                  <a:gd name="T40" fmla="*/ 362 w 1774"/>
                  <a:gd name="T41" fmla="*/ 705 h 1808"/>
                  <a:gd name="T42" fmla="*/ 814 w 1774"/>
                  <a:gd name="T43" fmla="*/ 679 h 1808"/>
                  <a:gd name="T44" fmla="*/ 814 w 1774"/>
                  <a:gd name="T45" fmla="*/ 679 h 1808"/>
                  <a:gd name="T46" fmla="*/ 491 w 1774"/>
                  <a:gd name="T47" fmla="*/ 666 h 1808"/>
                  <a:gd name="T48" fmla="*/ 598 w 1774"/>
                  <a:gd name="T49" fmla="*/ 655 h 1808"/>
                  <a:gd name="T50" fmla="*/ 760 w 1774"/>
                  <a:gd name="T51" fmla="*/ 666 h 1808"/>
                  <a:gd name="T52" fmla="*/ 652 w 1774"/>
                  <a:gd name="T53" fmla="*/ 565 h 1808"/>
                  <a:gd name="T54" fmla="*/ 798 w 1774"/>
                  <a:gd name="T55" fmla="*/ 461 h 1808"/>
                  <a:gd name="T56" fmla="*/ 246 w 1774"/>
                  <a:gd name="T57" fmla="*/ 461 h 1808"/>
                  <a:gd name="T58" fmla="*/ 421 w 1774"/>
                  <a:gd name="T59" fmla="*/ 627 h 1808"/>
                  <a:gd name="T60" fmla="*/ 246 w 1774"/>
                  <a:gd name="T61" fmla="*/ 461 h 1808"/>
                  <a:gd name="T62" fmla="*/ 591 w 1774"/>
                  <a:gd name="T63" fmla="*/ 601 h 1808"/>
                  <a:gd name="T64" fmla="*/ 598 w 1774"/>
                  <a:gd name="T65" fmla="*/ 461 h 1808"/>
                  <a:gd name="T66" fmla="*/ 829 w 1774"/>
                  <a:gd name="T67" fmla="*/ 627 h 1808"/>
                  <a:gd name="T68" fmla="*/ 852 w 1774"/>
                  <a:gd name="T69" fmla="*/ 461 h 1808"/>
                  <a:gd name="T70" fmla="*/ 652 w 1774"/>
                  <a:gd name="T71" fmla="*/ 266 h 1808"/>
                  <a:gd name="T72" fmla="*/ 680 w 1774"/>
                  <a:gd name="T73" fmla="*/ 406 h 1808"/>
                  <a:gd name="T74" fmla="*/ 776 w 1774"/>
                  <a:gd name="T75" fmla="*/ 253 h 1808"/>
                  <a:gd name="T76" fmla="*/ 598 w 1774"/>
                  <a:gd name="T77" fmla="*/ 406 h 1808"/>
                  <a:gd name="T78" fmla="*/ 325 w 1774"/>
                  <a:gd name="T79" fmla="*/ 203 h 1808"/>
                  <a:gd name="T80" fmla="*/ 247 w 1774"/>
                  <a:gd name="T81" fmla="*/ 406 h 1808"/>
                  <a:gd name="T82" fmla="*/ 325 w 1774"/>
                  <a:gd name="T83" fmla="*/ 203 h 1808"/>
                  <a:gd name="T84" fmla="*/ 852 w 1774"/>
                  <a:gd name="T85" fmla="*/ 404 h 1808"/>
                  <a:gd name="T86" fmla="*/ 1003 w 1774"/>
                  <a:gd name="T87" fmla="*/ 404 h 1808"/>
                  <a:gd name="T88" fmla="*/ 814 w 1774"/>
                  <a:gd name="T89" fmla="*/ 188 h 1808"/>
                  <a:gd name="T90" fmla="*/ 495 w 1774"/>
                  <a:gd name="T91" fmla="*/ 78 h 1808"/>
                  <a:gd name="T92" fmla="*/ 495 w 1774"/>
                  <a:gd name="T93" fmla="*/ 78 h 1808"/>
                  <a:gd name="T94" fmla="*/ 659 w 1774"/>
                  <a:gd name="T95" fmla="*/ 211 h 1808"/>
                  <a:gd name="T96" fmla="*/ 729 w 1774"/>
                  <a:gd name="T97" fmla="*/ 134 h 1808"/>
                  <a:gd name="T98" fmla="*/ 598 w 1774"/>
                  <a:gd name="T99" fmla="*/ 62 h 1808"/>
                  <a:gd name="T100" fmla="*/ 598 w 1774"/>
                  <a:gd name="T101" fmla="*/ 212 h 1808"/>
                  <a:gd name="T102" fmla="*/ 625 w 1774"/>
                  <a:gd name="T103" fmla="*/ 0 h 1808"/>
                  <a:gd name="T104" fmla="*/ 938 w 1774"/>
                  <a:gd name="T105" fmla="*/ 134 h 1808"/>
                  <a:gd name="T106" fmla="*/ 1059 w 1774"/>
                  <a:gd name="T107" fmla="*/ 433 h 1808"/>
                  <a:gd name="T108" fmla="*/ 625 w 1774"/>
                  <a:gd name="T109" fmla="*/ 867 h 1808"/>
                  <a:gd name="T110" fmla="*/ 314 w 1774"/>
                  <a:gd name="T111" fmla="*/ 734 h 1808"/>
                  <a:gd name="T112" fmla="*/ 191 w 1774"/>
                  <a:gd name="T113" fmla="*/ 433 h 1808"/>
                  <a:gd name="T114" fmla="*/ 314 w 1774"/>
                  <a:gd name="T115" fmla="*/ 133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74" h="1808">
                    <a:moveTo>
                      <a:pt x="1238" y="896"/>
                    </a:moveTo>
                    <a:cubicBezTo>
                      <a:pt x="1238" y="896"/>
                      <a:pt x="1238" y="896"/>
                      <a:pt x="651" y="1008"/>
                    </a:cubicBezTo>
                    <a:cubicBezTo>
                      <a:pt x="628" y="1014"/>
                      <a:pt x="610" y="1023"/>
                      <a:pt x="599" y="1035"/>
                    </a:cubicBezTo>
                    <a:cubicBezTo>
                      <a:pt x="590" y="1048"/>
                      <a:pt x="587" y="1061"/>
                      <a:pt x="591" y="1079"/>
                    </a:cubicBezTo>
                    <a:cubicBezTo>
                      <a:pt x="601" y="1118"/>
                      <a:pt x="649" y="1137"/>
                      <a:pt x="689" y="1134"/>
                    </a:cubicBezTo>
                    <a:cubicBezTo>
                      <a:pt x="719" y="1130"/>
                      <a:pt x="761" y="1124"/>
                      <a:pt x="805" y="1118"/>
                    </a:cubicBezTo>
                    <a:cubicBezTo>
                      <a:pt x="882" y="1107"/>
                      <a:pt x="961" y="1095"/>
                      <a:pt x="1014" y="1096"/>
                    </a:cubicBezTo>
                    <a:cubicBezTo>
                      <a:pt x="1029" y="1097"/>
                      <a:pt x="1040" y="1110"/>
                      <a:pt x="1040" y="1125"/>
                    </a:cubicBezTo>
                    <a:cubicBezTo>
                      <a:pt x="1039" y="1140"/>
                      <a:pt x="1028" y="1152"/>
                      <a:pt x="1012" y="1151"/>
                    </a:cubicBezTo>
                    <a:cubicBezTo>
                      <a:pt x="964" y="1150"/>
                      <a:pt x="884" y="1161"/>
                      <a:pt x="813" y="1172"/>
                    </a:cubicBezTo>
                    <a:cubicBezTo>
                      <a:pt x="768" y="1178"/>
                      <a:pt x="724" y="1184"/>
                      <a:pt x="693" y="1187"/>
                    </a:cubicBezTo>
                    <a:cubicBezTo>
                      <a:pt x="689" y="1187"/>
                      <a:pt x="684" y="1187"/>
                      <a:pt x="680" y="1187"/>
                    </a:cubicBezTo>
                    <a:cubicBezTo>
                      <a:pt x="633" y="1187"/>
                      <a:pt x="584" y="1169"/>
                      <a:pt x="556" y="1129"/>
                    </a:cubicBezTo>
                    <a:cubicBezTo>
                      <a:pt x="556" y="1129"/>
                      <a:pt x="556" y="1129"/>
                      <a:pt x="114" y="1147"/>
                    </a:cubicBezTo>
                    <a:cubicBezTo>
                      <a:pt x="80" y="1150"/>
                      <a:pt x="57" y="1179"/>
                      <a:pt x="60" y="1212"/>
                    </a:cubicBezTo>
                    <a:cubicBezTo>
                      <a:pt x="63" y="1248"/>
                      <a:pt x="98" y="1266"/>
                      <a:pt x="128" y="1266"/>
                    </a:cubicBezTo>
                    <a:cubicBezTo>
                      <a:pt x="138" y="1267"/>
                      <a:pt x="188" y="1270"/>
                      <a:pt x="253" y="1275"/>
                    </a:cubicBezTo>
                    <a:cubicBezTo>
                      <a:pt x="349" y="1282"/>
                      <a:pt x="477" y="1292"/>
                      <a:pt x="576" y="1303"/>
                    </a:cubicBezTo>
                    <a:cubicBezTo>
                      <a:pt x="602" y="1305"/>
                      <a:pt x="622" y="1307"/>
                      <a:pt x="630" y="1307"/>
                    </a:cubicBezTo>
                    <a:cubicBezTo>
                      <a:pt x="638" y="1309"/>
                      <a:pt x="647" y="1310"/>
                      <a:pt x="655" y="1312"/>
                    </a:cubicBezTo>
                    <a:cubicBezTo>
                      <a:pt x="667" y="1314"/>
                      <a:pt x="680" y="1315"/>
                      <a:pt x="689" y="1317"/>
                    </a:cubicBezTo>
                    <a:cubicBezTo>
                      <a:pt x="724" y="1323"/>
                      <a:pt x="781" y="1318"/>
                      <a:pt x="840" y="1313"/>
                    </a:cubicBezTo>
                    <a:cubicBezTo>
                      <a:pt x="956" y="1303"/>
                      <a:pt x="1087" y="1291"/>
                      <a:pt x="1148" y="1355"/>
                    </a:cubicBezTo>
                    <a:cubicBezTo>
                      <a:pt x="1151" y="1359"/>
                      <a:pt x="1153" y="1361"/>
                      <a:pt x="1156" y="1364"/>
                    </a:cubicBezTo>
                    <a:cubicBezTo>
                      <a:pt x="1156" y="1364"/>
                      <a:pt x="1156" y="1364"/>
                      <a:pt x="1429" y="1006"/>
                    </a:cubicBezTo>
                    <a:cubicBezTo>
                      <a:pt x="1429" y="1006"/>
                      <a:pt x="1429" y="1006"/>
                      <a:pt x="1238" y="896"/>
                    </a:cubicBezTo>
                    <a:close/>
                    <a:moveTo>
                      <a:pt x="1248" y="841"/>
                    </a:moveTo>
                    <a:cubicBezTo>
                      <a:pt x="1251" y="841"/>
                      <a:pt x="1254" y="843"/>
                      <a:pt x="1257" y="845"/>
                    </a:cubicBezTo>
                    <a:cubicBezTo>
                      <a:pt x="1257" y="845"/>
                      <a:pt x="1257" y="845"/>
                      <a:pt x="1463" y="962"/>
                    </a:cubicBezTo>
                    <a:cubicBezTo>
                      <a:pt x="1463" y="962"/>
                      <a:pt x="1463" y="962"/>
                      <a:pt x="1523" y="885"/>
                    </a:cubicBezTo>
                    <a:cubicBezTo>
                      <a:pt x="1534" y="869"/>
                      <a:pt x="1552" y="859"/>
                      <a:pt x="1570" y="857"/>
                    </a:cubicBezTo>
                    <a:cubicBezTo>
                      <a:pt x="1590" y="854"/>
                      <a:pt x="1609" y="859"/>
                      <a:pt x="1624" y="871"/>
                    </a:cubicBezTo>
                    <a:cubicBezTo>
                      <a:pt x="1624" y="871"/>
                      <a:pt x="1624" y="871"/>
                      <a:pt x="1737" y="956"/>
                    </a:cubicBezTo>
                    <a:cubicBezTo>
                      <a:pt x="1768" y="980"/>
                      <a:pt x="1774" y="1024"/>
                      <a:pt x="1753" y="1056"/>
                    </a:cubicBezTo>
                    <a:cubicBezTo>
                      <a:pt x="1753" y="1056"/>
                      <a:pt x="1753" y="1056"/>
                      <a:pt x="1406" y="1774"/>
                    </a:cubicBezTo>
                    <a:cubicBezTo>
                      <a:pt x="1405" y="1776"/>
                      <a:pt x="1404" y="1779"/>
                      <a:pt x="1403" y="1780"/>
                    </a:cubicBezTo>
                    <a:cubicBezTo>
                      <a:pt x="1391" y="1795"/>
                      <a:pt x="1374" y="1805"/>
                      <a:pt x="1354" y="1807"/>
                    </a:cubicBezTo>
                    <a:cubicBezTo>
                      <a:pt x="1351" y="1808"/>
                      <a:pt x="1348" y="1808"/>
                      <a:pt x="1345" y="1808"/>
                    </a:cubicBezTo>
                    <a:cubicBezTo>
                      <a:pt x="1329" y="1808"/>
                      <a:pt x="1314" y="1803"/>
                      <a:pt x="1300" y="1793"/>
                    </a:cubicBezTo>
                    <a:cubicBezTo>
                      <a:pt x="1300" y="1793"/>
                      <a:pt x="1300" y="1793"/>
                      <a:pt x="1059" y="1609"/>
                    </a:cubicBezTo>
                    <a:cubicBezTo>
                      <a:pt x="1043" y="1598"/>
                      <a:pt x="1034" y="1580"/>
                      <a:pt x="1031" y="1562"/>
                    </a:cubicBezTo>
                    <a:cubicBezTo>
                      <a:pt x="1029" y="1542"/>
                      <a:pt x="1034" y="1524"/>
                      <a:pt x="1045" y="1508"/>
                    </a:cubicBezTo>
                    <a:cubicBezTo>
                      <a:pt x="1045" y="1508"/>
                      <a:pt x="1045" y="1508"/>
                      <a:pt x="1123" y="1406"/>
                    </a:cubicBezTo>
                    <a:cubicBezTo>
                      <a:pt x="1122" y="1405"/>
                      <a:pt x="1121" y="1405"/>
                      <a:pt x="1120" y="1404"/>
                    </a:cubicBezTo>
                    <a:cubicBezTo>
                      <a:pt x="1120" y="1403"/>
                      <a:pt x="1119" y="1402"/>
                      <a:pt x="1119" y="1402"/>
                    </a:cubicBezTo>
                    <a:cubicBezTo>
                      <a:pt x="1117" y="1400"/>
                      <a:pt x="1116" y="1399"/>
                      <a:pt x="1114" y="1398"/>
                    </a:cubicBezTo>
                    <a:cubicBezTo>
                      <a:pt x="1076" y="1346"/>
                      <a:pt x="948" y="1358"/>
                      <a:pt x="846" y="1367"/>
                    </a:cubicBezTo>
                    <a:cubicBezTo>
                      <a:pt x="783" y="1373"/>
                      <a:pt x="722" y="1378"/>
                      <a:pt x="680" y="1371"/>
                    </a:cubicBezTo>
                    <a:cubicBezTo>
                      <a:pt x="652" y="1366"/>
                      <a:pt x="609" y="1361"/>
                      <a:pt x="558" y="1355"/>
                    </a:cubicBezTo>
                    <a:cubicBezTo>
                      <a:pt x="457" y="1346"/>
                      <a:pt x="341" y="1337"/>
                      <a:pt x="255" y="1330"/>
                    </a:cubicBezTo>
                    <a:cubicBezTo>
                      <a:pt x="177" y="1324"/>
                      <a:pt x="121" y="1320"/>
                      <a:pt x="119" y="1320"/>
                    </a:cubicBezTo>
                    <a:cubicBezTo>
                      <a:pt x="117" y="1320"/>
                      <a:pt x="115" y="1319"/>
                      <a:pt x="113" y="1318"/>
                    </a:cubicBezTo>
                    <a:cubicBezTo>
                      <a:pt x="55" y="1312"/>
                      <a:pt x="11" y="1272"/>
                      <a:pt x="6" y="1217"/>
                    </a:cubicBezTo>
                    <a:cubicBezTo>
                      <a:pt x="0" y="1155"/>
                      <a:pt x="45" y="1099"/>
                      <a:pt x="109" y="1093"/>
                    </a:cubicBezTo>
                    <a:cubicBezTo>
                      <a:pt x="109" y="1093"/>
                      <a:pt x="109" y="1093"/>
                      <a:pt x="110" y="1093"/>
                    </a:cubicBezTo>
                    <a:cubicBezTo>
                      <a:pt x="110" y="1093"/>
                      <a:pt x="110" y="1092"/>
                      <a:pt x="110" y="1092"/>
                    </a:cubicBezTo>
                    <a:cubicBezTo>
                      <a:pt x="110" y="1092"/>
                      <a:pt x="110" y="1092"/>
                      <a:pt x="536" y="1076"/>
                    </a:cubicBezTo>
                    <a:cubicBezTo>
                      <a:pt x="533" y="1048"/>
                      <a:pt x="540" y="1021"/>
                      <a:pt x="559" y="1000"/>
                    </a:cubicBezTo>
                    <a:cubicBezTo>
                      <a:pt x="576" y="980"/>
                      <a:pt x="604" y="964"/>
                      <a:pt x="640" y="955"/>
                    </a:cubicBezTo>
                    <a:cubicBezTo>
                      <a:pt x="640" y="955"/>
                      <a:pt x="640" y="955"/>
                      <a:pt x="1238" y="842"/>
                    </a:cubicBezTo>
                    <a:cubicBezTo>
                      <a:pt x="1241" y="841"/>
                      <a:pt x="1245" y="840"/>
                      <a:pt x="1248" y="841"/>
                    </a:cubicBezTo>
                    <a:close/>
                    <a:moveTo>
                      <a:pt x="437" y="679"/>
                    </a:moveTo>
                    <a:cubicBezTo>
                      <a:pt x="409" y="686"/>
                      <a:pt x="384" y="695"/>
                      <a:pt x="362" y="705"/>
                    </a:cubicBezTo>
                    <a:cubicBezTo>
                      <a:pt x="399" y="743"/>
                      <a:pt x="445" y="770"/>
                      <a:pt x="495" y="789"/>
                    </a:cubicBezTo>
                    <a:cubicBezTo>
                      <a:pt x="472" y="759"/>
                      <a:pt x="452" y="722"/>
                      <a:pt x="437" y="679"/>
                    </a:cubicBezTo>
                    <a:close/>
                    <a:moveTo>
                      <a:pt x="814" y="679"/>
                    </a:moveTo>
                    <a:cubicBezTo>
                      <a:pt x="798" y="722"/>
                      <a:pt x="778" y="759"/>
                      <a:pt x="756" y="789"/>
                    </a:cubicBezTo>
                    <a:cubicBezTo>
                      <a:pt x="805" y="770"/>
                      <a:pt x="851" y="741"/>
                      <a:pt x="889" y="705"/>
                    </a:cubicBezTo>
                    <a:cubicBezTo>
                      <a:pt x="866" y="695"/>
                      <a:pt x="840" y="686"/>
                      <a:pt x="814" y="679"/>
                    </a:cubicBezTo>
                    <a:close/>
                    <a:moveTo>
                      <a:pt x="598" y="655"/>
                    </a:moveTo>
                    <a:cubicBezTo>
                      <a:pt x="592" y="655"/>
                      <a:pt x="587" y="656"/>
                      <a:pt x="581" y="656"/>
                    </a:cubicBezTo>
                    <a:cubicBezTo>
                      <a:pt x="549" y="658"/>
                      <a:pt x="519" y="661"/>
                      <a:pt x="491" y="666"/>
                    </a:cubicBezTo>
                    <a:cubicBezTo>
                      <a:pt x="508" y="716"/>
                      <a:pt x="532" y="755"/>
                      <a:pt x="559" y="780"/>
                    </a:cubicBezTo>
                    <a:cubicBezTo>
                      <a:pt x="571" y="791"/>
                      <a:pt x="585" y="800"/>
                      <a:pt x="598" y="805"/>
                    </a:cubicBezTo>
                    <a:lnTo>
                      <a:pt x="598" y="655"/>
                    </a:lnTo>
                    <a:close/>
                    <a:moveTo>
                      <a:pt x="652" y="655"/>
                    </a:moveTo>
                    <a:cubicBezTo>
                      <a:pt x="652" y="655"/>
                      <a:pt x="652" y="655"/>
                      <a:pt x="652" y="805"/>
                    </a:cubicBezTo>
                    <a:cubicBezTo>
                      <a:pt x="695" y="789"/>
                      <a:pt x="734" y="739"/>
                      <a:pt x="760" y="666"/>
                    </a:cubicBezTo>
                    <a:cubicBezTo>
                      <a:pt x="725" y="660"/>
                      <a:pt x="689" y="656"/>
                      <a:pt x="652" y="655"/>
                    </a:cubicBezTo>
                    <a:close/>
                    <a:moveTo>
                      <a:pt x="652" y="461"/>
                    </a:moveTo>
                    <a:cubicBezTo>
                      <a:pt x="652" y="461"/>
                      <a:pt x="652" y="461"/>
                      <a:pt x="652" y="565"/>
                    </a:cubicBezTo>
                    <a:lnTo>
                      <a:pt x="652" y="601"/>
                    </a:lnTo>
                    <a:cubicBezTo>
                      <a:pt x="695" y="602"/>
                      <a:pt x="737" y="607"/>
                      <a:pt x="776" y="614"/>
                    </a:cubicBezTo>
                    <a:cubicBezTo>
                      <a:pt x="789" y="568"/>
                      <a:pt x="796" y="516"/>
                      <a:pt x="798" y="461"/>
                    </a:cubicBezTo>
                    <a:cubicBezTo>
                      <a:pt x="798" y="461"/>
                      <a:pt x="798" y="461"/>
                      <a:pt x="671" y="461"/>
                    </a:cubicBezTo>
                    <a:cubicBezTo>
                      <a:pt x="671" y="461"/>
                      <a:pt x="671" y="461"/>
                      <a:pt x="652" y="461"/>
                    </a:cubicBezTo>
                    <a:close/>
                    <a:moveTo>
                      <a:pt x="246" y="461"/>
                    </a:moveTo>
                    <a:cubicBezTo>
                      <a:pt x="246" y="461"/>
                      <a:pt x="247" y="462"/>
                      <a:pt x="247" y="463"/>
                    </a:cubicBezTo>
                    <a:cubicBezTo>
                      <a:pt x="252" y="538"/>
                      <a:pt x="280" y="607"/>
                      <a:pt x="325" y="664"/>
                    </a:cubicBezTo>
                    <a:cubicBezTo>
                      <a:pt x="353" y="650"/>
                      <a:pt x="385" y="637"/>
                      <a:pt x="421" y="627"/>
                    </a:cubicBezTo>
                    <a:cubicBezTo>
                      <a:pt x="408" y="577"/>
                      <a:pt x="399" y="521"/>
                      <a:pt x="398" y="461"/>
                    </a:cubicBezTo>
                    <a:cubicBezTo>
                      <a:pt x="398" y="461"/>
                      <a:pt x="398" y="461"/>
                      <a:pt x="247" y="461"/>
                    </a:cubicBezTo>
                    <a:cubicBezTo>
                      <a:pt x="247" y="461"/>
                      <a:pt x="247" y="461"/>
                      <a:pt x="246" y="461"/>
                    </a:cubicBezTo>
                    <a:close/>
                    <a:moveTo>
                      <a:pt x="452" y="461"/>
                    </a:moveTo>
                    <a:cubicBezTo>
                      <a:pt x="454" y="516"/>
                      <a:pt x="461" y="568"/>
                      <a:pt x="474" y="614"/>
                    </a:cubicBezTo>
                    <a:cubicBezTo>
                      <a:pt x="510" y="607"/>
                      <a:pt x="549" y="603"/>
                      <a:pt x="591" y="601"/>
                    </a:cubicBezTo>
                    <a:cubicBezTo>
                      <a:pt x="593" y="601"/>
                      <a:pt x="595" y="601"/>
                      <a:pt x="598" y="601"/>
                    </a:cubicBezTo>
                    <a:cubicBezTo>
                      <a:pt x="598" y="601"/>
                      <a:pt x="598" y="601"/>
                      <a:pt x="598" y="561"/>
                    </a:cubicBezTo>
                    <a:lnTo>
                      <a:pt x="598" y="461"/>
                    </a:lnTo>
                    <a:cubicBezTo>
                      <a:pt x="598" y="461"/>
                      <a:pt x="598" y="461"/>
                      <a:pt x="452" y="461"/>
                    </a:cubicBezTo>
                    <a:close/>
                    <a:moveTo>
                      <a:pt x="852" y="461"/>
                    </a:moveTo>
                    <a:cubicBezTo>
                      <a:pt x="850" y="521"/>
                      <a:pt x="843" y="576"/>
                      <a:pt x="829" y="627"/>
                    </a:cubicBezTo>
                    <a:cubicBezTo>
                      <a:pt x="865" y="636"/>
                      <a:pt x="897" y="648"/>
                      <a:pt x="926" y="663"/>
                    </a:cubicBezTo>
                    <a:cubicBezTo>
                      <a:pt x="970" y="606"/>
                      <a:pt x="998" y="536"/>
                      <a:pt x="1004" y="461"/>
                    </a:cubicBezTo>
                    <a:cubicBezTo>
                      <a:pt x="1004" y="461"/>
                      <a:pt x="1004" y="461"/>
                      <a:pt x="852" y="461"/>
                    </a:cubicBezTo>
                    <a:close/>
                    <a:moveTo>
                      <a:pt x="776" y="253"/>
                    </a:moveTo>
                    <a:cubicBezTo>
                      <a:pt x="754" y="257"/>
                      <a:pt x="730" y="260"/>
                      <a:pt x="706" y="262"/>
                    </a:cubicBezTo>
                    <a:cubicBezTo>
                      <a:pt x="688" y="264"/>
                      <a:pt x="671" y="265"/>
                      <a:pt x="652" y="266"/>
                    </a:cubicBezTo>
                    <a:cubicBezTo>
                      <a:pt x="652" y="266"/>
                      <a:pt x="652" y="266"/>
                      <a:pt x="652" y="290"/>
                    </a:cubicBezTo>
                    <a:cubicBezTo>
                      <a:pt x="652" y="290"/>
                      <a:pt x="652" y="290"/>
                      <a:pt x="652" y="406"/>
                    </a:cubicBezTo>
                    <a:cubicBezTo>
                      <a:pt x="652" y="406"/>
                      <a:pt x="652" y="406"/>
                      <a:pt x="680" y="406"/>
                    </a:cubicBezTo>
                    <a:cubicBezTo>
                      <a:pt x="680" y="406"/>
                      <a:pt x="680" y="406"/>
                      <a:pt x="798" y="406"/>
                    </a:cubicBezTo>
                    <a:cubicBezTo>
                      <a:pt x="798" y="405"/>
                      <a:pt x="798" y="405"/>
                      <a:pt x="798" y="404"/>
                    </a:cubicBezTo>
                    <a:cubicBezTo>
                      <a:pt x="796" y="349"/>
                      <a:pt x="789" y="298"/>
                      <a:pt x="776" y="253"/>
                    </a:cubicBezTo>
                    <a:close/>
                    <a:moveTo>
                      <a:pt x="474" y="253"/>
                    </a:moveTo>
                    <a:cubicBezTo>
                      <a:pt x="461" y="299"/>
                      <a:pt x="454" y="351"/>
                      <a:pt x="452" y="406"/>
                    </a:cubicBezTo>
                    <a:cubicBezTo>
                      <a:pt x="452" y="406"/>
                      <a:pt x="452" y="406"/>
                      <a:pt x="598" y="406"/>
                    </a:cubicBezTo>
                    <a:lnTo>
                      <a:pt x="598" y="266"/>
                    </a:lnTo>
                    <a:cubicBezTo>
                      <a:pt x="555" y="265"/>
                      <a:pt x="512" y="260"/>
                      <a:pt x="474" y="253"/>
                    </a:cubicBezTo>
                    <a:close/>
                    <a:moveTo>
                      <a:pt x="325" y="203"/>
                    </a:moveTo>
                    <a:cubicBezTo>
                      <a:pt x="280" y="260"/>
                      <a:pt x="252" y="329"/>
                      <a:pt x="247" y="404"/>
                    </a:cubicBezTo>
                    <a:cubicBezTo>
                      <a:pt x="247" y="405"/>
                      <a:pt x="246" y="405"/>
                      <a:pt x="246" y="406"/>
                    </a:cubicBezTo>
                    <a:cubicBezTo>
                      <a:pt x="246" y="406"/>
                      <a:pt x="246" y="406"/>
                      <a:pt x="247" y="406"/>
                    </a:cubicBezTo>
                    <a:cubicBezTo>
                      <a:pt x="247" y="406"/>
                      <a:pt x="247" y="406"/>
                      <a:pt x="398" y="406"/>
                    </a:cubicBezTo>
                    <a:cubicBezTo>
                      <a:pt x="399" y="346"/>
                      <a:pt x="408" y="290"/>
                      <a:pt x="421" y="240"/>
                    </a:cubicBezTo>
                    <a:cubicBezTo>
                      <a:pt x="385" y="230"/>
                      <a:pt x="353" y="217"/>
                      <a:pt x="325" y="203"/>
                    </a:cubicBezTo>
                    <a:close/>
                    <a:moveTo>
                      <a:pt x="926" y="203"/>
                    </a:moveTo>
                    <a:cubicBezTo>
                      <a:pt x="897" y="217"/>
                      <a:pt x="865" y="231"/>
                      <a:pt x="829" y="240"/>
                    </a:cubicBezTo>
                    <a:cubicBezTo>
                      <a:pt x="843" y="289"/>
                      <a:pt x="850" y="345"/>
                      <a:pt x="852" y="404"/>
                    </a:cubicBezTo>
                    <a:cubicBezTo>
                      <a:pt x="852" y="405"/>
                      <a:pt x="852" y="405"/>
                      <a:pt x="852" y="406"/>
                    </a:cubicBezTo>
                    <a:cubicBezTo>
                      <a:pt x="852" y="406"/>
                      <a:pt x="852" y="406"/>
                      <a:pt x="1004" y="406"/>
                    </a:cubicBezTo>
                    <a:cubicBezTo>
                      <a:pt x="1004" y="405"/>
                      <a:pt x="1003" y="405"/>
                      <a:pt x="1003" y="404"/>
                    </a:cubicBezTo>
                    <a:cubicBezTo>
                      <a:pt x="998" y="329"/>
                      <a:pt x="970" y="260"/>
                      <a:pt x="926" y="203"/>
                    </a:cubicBezTo>
                    <a:close/>
                    <a:moveTo>
                      <a:pt x="756" y="78"/>
                    </a:moveTo>
                    <a:cubicBezTo>
                      <a:pt x="778" y="108"/>
                      <a:pt x="798" y="145"/>
                      <a:pt x="814" y="188"/>
                    </a:cubicBezTo>
                    <a:cubicBezTo>
                      <a:pt x="841" y="181"/>
                      <a:pt x="866" y="172"/>
                      <a:pt x="889" y="162"/>
                    </a:cubicBezTo>
                    <a:cubicBezTo>
                      <a:pt x="851" y="124"/>
                      <a:pt x="805" y="97"/>
                      <a:pt x="756" y="78"/>
                    </a:cubicBezTo>
                    <a:close/>
                    <a:moveTo>
                      <a:pt x="495" y="78"/>
                    </a:moveTo>
                    <a:cubicBezTo>
                      <a:pt x="445" y="97"/>
                      <a:pt x="399" y="124"/>
                      <a:pt x="362" y="161"/>
                    </a:cubicBezTo>
                    <a:cubicBezTo>
                      <a:pt x="384" y="171"/>
                      <a:pt x="409" y="181"/>
                      <a:pt x="437" y="188"/>
                    </a:cubicBezTo>
                    <a:cubicBezTo>
                      <a:pt x="452" y="145"/>
                      <a:pt x="472" y="108"/>
                      <a:pt x="495" y="78"/>
                    </a:cubicBezTo>
                    <a:close/>
                    <a:moveTo>
                      <a:pt x="652" y="62"/>
                    </a:moveTo>
                    <a:lnTo>
                      <a:pt x="652" y="212"/>
                    </a:lnTo>
                    <a:cubicBezTo>
                      <a:pt x="655" y="211"/>
                      <a:pt x="657" y="211"/>
                      <a:pt x="659" y="211"/>
                    </a:cubicBezTo>
                    <a:cubicBezTo>
                      <a:pt x="679" y="210"/>
                      <a:pt x="698" y="209"/>
                      <a:pt x="715" y="207"/>
                    </a:cubicBezTo>
                    <a:cubicBezTo>
                      <a:pt x="731" y="205"/>
                      <a:pt x="746" y="203"/>
                      <a:pt x="760" y="201"/>
                    </a:cubicBezTo>
                    <a:cubicBezTo>
                      <a:pt x="751" y="175"/>
                      <a:pt x="740" y="153"/>
                      <a:pt x="729" y="134"/>
                    </a:cubicBezTo>
                    <a:cubicBezTo>
                      <a:pt x="714" y="111"/>
                      <a:pt x="700" y="92"/>
                      <a:pt x="683" y="79"/>
                    </a:cubicBezTo>
                    <a:cubicBezTo>
                      <a:pt x="673" y="72"/>
                      <a:pt x="662" y="66"/>
                      <a:pt x="652" y="62"/>
                    </a:cubicBezTo>
                    <a:close/>
                    <a:moveTo>
                      <a:pt x="598" y="62"/>
                    </a:moveTo>
                    <a:cubicBezTo>
                      <a:pt x="582" y="68"/>
                      <a:pt x="565" y="79"/>
                      <a:pt x="550" y="94"/>
                    </a:cubicBezTo>
                    <a:cubicBezTo>
                      <a:pt x="527" y="120"/>
                      <a:pt x="506" y="156"/>
                      <a:pt x="489" y="201"/>
                    </a:cubicBezTo>
                    <a:cubicBezTo>
                      <a:pt x="523" y="206"/>
                      <a:pt x="560" y="210"/>
                      <a:pt x="598" y="212"/>
                    </a:cubicBezTo>
                    <a:cubicBezTo>
                      <a:pt x="598" y="212"/>
                      <a:pt x="598" y="212"/>
                      <a:pt x="598" y="185"/>
                    </a:cubicBezTo>
                    <a:cubicBezTo>
                      <a:pt x="598" y="185"/>
                      <a:pt x="598" y="185"/>
                      <a:pt x="598" y="62"/>
                    </a:cubicBezTo>
                    <a:close/>
                    <a:moveTo>
                      <a:pt x="625" y="0"/>
                    </a:moveTo>
                    <a:cubicBezTo>
                      <a:pt x="649" y="0"/>
                      <a:pt x="673" y="3"/>
                      <a:pt x="695" y="7"/>
                    </a:cubicBezTo>
                    <a:cubicBezTo>
                      <a:pt x="714" y="10"/>
                      <a:pt x="732" y="14"/>
                      <a:pt x="748" y="19"/>
                    </a:cubicBezTo>
                    <a:cubicBezTo>
                      <a:pt x="822" y="41"/>
                      <a:pt x="886" y="80"/>
                      <a:pt x="938" y="134"/>
                    </a:cubicBezTo>
                    <a:cubicBezTo>
                      <a:pt x="950" y="146"/>
                      <a:pt x="961" y="160"/>
                      <a:pt x="973" y="175"/>
                    </a:cubicBezTo>
                    <a:cubicBezTo>
                      <a:pt x="1021" y="240"/>
                      <a:pt x="1050" y="318"/>
                      <a:pt x="1057" y="404"/>
                    </a:cubicBezTo>
                    <a:cubicBezTo>
                      <a:pt x="1058" y="413"/>
                      <a:pt x="1059" y="424"/>
                      <a:pt x="1059" y="433"/>
                    </a:cubicBezTo>
                    <a:cubicBezTo>
                      <a:pt x="1059" y="530"/>
                      <a:pt x="1027" y="620"/>
                      <a:pt x="973" y="692"/>
                    </a:cubicBezTo>
                    <a:cubicBezTo>
                      <a:pt x="961" y="707"/>
                      <a:pt x="950" y="720"/>
                      <a:pt x="938" y="733"/>
                    </a:cubicBezTo>
                    <a:cubicBezTo>
                      <a:pt x="859" y="815"/>
                      <a:pt x="748" y="867"/>
                      <a:pt x="625" y="867"/>
                    </a:cubicBezTo>
                    <a:cubicBezTo>
                      <a:pt x="617" y="867"/>
                      <a:pt x="607" y="865"/>
                      <a:pt x="599" y="864"/>
                    </a:cubicBezTo>
                    <a:cubicBezTo>
                      <a:pt x="581" y="863"/>
                      <a:pt x="563" y="861"/>
                      <a:pt x="545" y="858"/>
                    </a:cubicBezTo>
                    <a:cubicBezTo>
                      <a:pt x="455" y="842"/>
                      <a:pt x="375" y="797"/>
                      <a:pt x="314" y="734"/>
                    </a:cubicBezTo>
                    <a:cubicBezTo>
                      <a:pt x="301" y="721"/>
                      <a:pt x="289" y="708"/>
                      <a:pt x="278" y="693"/>
                    </a:cubicBezTo>
                    <a:cubicBezTo>
                      <a:pt x="267" y="678"/>
                      <a:pt x="257" y="660"/>
                      <a:pt x="247" y="644"/>
                    </a:cubicBezTo>
                    <a:cubicBezTo>
                      <a:pt x="212" y="582"/>
                      <a:pt x="191" y="509"/>
                      <a:pt x="191" y="433"/>
                    </a:cubicBezTo>
                    <a:cubicBezTo>
                      <a:pt x="191" y="356"/>
                      <a:pt x="213" y="282"/>
                      <a:pt x="249" y="219"/>
                    </a:cubicBezTo>
                    <a:cubicBezTo>
                      <a:pt x="259" y="204"/>
                      <a:pt x="267" y="188"/>
                      <a:pt x="278" y="174"/>
                    </a:cubicBezTo>
                    <a:cubicBezTo>
                      <a:pt x="289" y="159"/>
                      <a:pt x="301" y="146"/>
                      <a:pt x="314" y="133"/>
                    </a:cubicBezTo>
                    <a:cubicBezTo>
                      <a:pt x="366" y="78"/>
                      <a:pt x="434" y="38"/>
                      <a:pt x="510" y="16"/>
                    </a:cubicBezTo>
                    <a:cubicBezTo>
                      <a:pt x="546" y="7"/>
                      <a:pt x="585" y="0"/>
                      <a:pt x="625"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6" name="Group 15"/>
          <p:cNvGrpSpPr/>
          <p:nvPr/>
        </p:nvGrpSpPr>
        <p:grpSpPr>
          <a:xfrm>
            <a:off x="710327" y="3228025"/>
            <a:ext cx="7881521" cy="661444"/>
            <a:chOff x="710327" y="3228025"/>
            <a:chExt cx="7881521" cy="661444"/>
          </a:xfrm>
        </p:grpSpPr>
        <p:sp>
          <p:nvSpPr>
            <p:cNvPr id="87" name="Content Placeholder 13"/>
            <p:cNvSpPr txBox="1">
              <a:spLocks/>
            </p:cNvSpPr>
            <p:nvPr/>
          </p:nvSpPr>
          <p:spPr>
            <a:xfrm>
              <a:off x="1881061" y="3228025"/>
              <a:ext cx="6710787" cy="661444"/>
            </a:xfrm>
            <a:prstGeom prst="rect">
              <a:avLst/>
            </a:prstGeom>
          </p:spPr>
          <p:txBody>
            <a:bodyPr vert="horz" lIns="0" tIns="0" rIns="0" bIns="0" rtlCol="0" anchor="ctr">
              <a:noAutofit/>
            </a:bodyPr>
            <a:lstStyle>
              <a:lvl1pPr marL="180000" indent="-180000" algn="l" defTabSz="914400" rtl="0" eaLnBrk="1" latinLnBrk="0" hangingPunct="1">
                <a:lnSpc>
                  <a:spcPct val="100000"/>
                </a:lnSpc>
                <a:spcBef>
                  <a:spcPts val="0"/>
                </a:spcBef>
                <a:buClr>
                  <a:schemeClr val="accent1"/>
                </a:buClr>
                <a:buFont typeface="Danske Text" panose="00000400000000000000" pitchFamily="2"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buClr>
                  <a:srgbClr val="003755"/>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buClr>
                  <a:srgbClr val="003755"/>
                </a:buClr>
                <a:buFont typeface="Danske Text" panose="00000400000000000000" pitchFamily="2"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buClr>
                  <a:srgbClr val="003755"/>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buClr>
                  <a:schemeClr val="accent1"/>
                </a:buClr>
                <a:buFont typeface="Danske Text" panose="00000400000000000000" pitchFamily="2" charset="0"/>
                <a:buChar char="•"/>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003755"/>
                </a:buClr>
                <a:buFont typeface="+mj-lt"/>
                <a:buAutoNum type="arabicPeriod"/>
                <a:defRPr sz="16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003755"/>
                </a:buClr>
                <a:buFont typeface="+mj-lt"/>
                <a:buAutoNum type="alphaLcPeriod"/>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0"/>
                </a:spcBef>
                <a:buClr>
                  <a:srgbClr val="003755"/>
                </a:buClr>
                <a:buFont typeface="+mj-lt"/>
                <a:buAutoNum type="romanLcPeriod"/>
                <a:defRPr sz="1600" kern="1200" baseline="0">
                  <a:solidFill>
                    <a:schemeClr val="tx1"/>
                  </a:solidFill>
                  <a:latin typeface="+mn-lt"/>
                  <a:ea typeface="+mn-ea"/>
                  <a:cs typeface="+mn-cs"/>
                </a:defRPr>
              </a:lvl8pPr>
              <a:lvl9pPr marL="1620000" indent="-180000" algn="l" defTabSz="914400" rtl="0" eaLnBrk="1" latinLnBrk="0" hangingPunct="1">
                <a:lnSpc>
                  <a:spcPct val="120000"/>
                </a:lnSpc>
                <a:spcBef>
                  <a:spcPts val="0"/>
                </a:spcBef>
                <a:buFont typeface="Arial" panose="020B0604020202020204" pitchFamily="34" charset="0"/>
                <a:buChar char="•"/>
                <a:defRPr sz="900" kern="1200" baseline="0">
                  <a:solidFill>
                    <a:schemeClr val="tx1"/>
                  </a:solidFill>
                  <a:latin typeface="+mn-lt"/>
                  <a:ea typeface="+mn-ea"/>
                  <a:cs typeface="+mn-cs"/>
                </a:defRPr>
              </a:lvl9pPr>
            </a:lstStyle>
            <a:p>
              <a:pPr marL="0" indent="0">
                <a:spcBef>
                  <a:spcPts val="600"/>
                </a:spcBef>
                <a:buNone/>
              </a:pPr>
              <a:r>
                <a:rPr lang="en-GB" sz="1400" dirty="0" smtClean="0">
                  <a:solidFill>
                    <a:srgbClr val="003755"/>
                  </a:solidFill>
                </a:rPr>
                <a:t>Voting Guidelines</a:t>
              </a:r>
            </a:p>
            <a:p>
              <a:pPr marL="0" indent="0">
                <a:buNone/>
              </a:pPr>
              <a:r>
                <a:rPr lang="lt-LT" sz="1100" dirty="0" err="1" smtClean="0"/>
                <a:t>Click</a:t>
              </a:r>
              <a:r>
                <a:rPr lang="lt-LT" sz="1100" dirty="0" smtClean="0"/>
                <a:t> </a:t>
              </a:r>
              <a:r>
                <a:rPr lang="lt-LT" sz="1100" dirty="0" err="1" smtClean="0"/>
                <a:t>here</a:t>
              </a:r>
              <a:r>
                <a:rPr lang="en-GB" sz="1100" dirty="0" smtClean="0"/>
                <a:t>*</a:t>
              </a:r>
              <a:endParaRPr lang="lt-LT" sz="1100" dirty="0"/>
            </a:p>
          </p:txBody>
        </p:sp>
        <p:sp>
          <p:nvSpPr>
            <p:cNvPr id="91" name="Rectangle 90"/>
            <p:cNvSpPr/>
            <p:nvPr/>
          </p:nvSpPr>
          <p:spPr>
            <a:xfrm>
              <a:off x="1612516" y="3312996"/>
              <a:ext cx="38326" cy="479081"/>
            </a:xfrm>
            <a:prstGeom prst="rect">
              <a:avLst/>
            </a:prstGeom>
            <a:solidFill>
              <a:srgbClr val="003755"/>
            </a:solidFill>
            <a:ln w="12700" cap="rnd">
              <a:solidFill>
                <a:srgbClr val="003755"/>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smtClean="0">
                <a:solidFill>
                  <a:srgbClr val="000000"/>
                </a:solidFill>
              </a:endParaRPr>
            </a:p>
          </p:txBody>
        </p:sp>
        <p:grpSp>
          <p:nvGrpSpPr>
            <p:cNvPr id="6" name="Group 5"/>
            <p:cNvGrpSpPr/>
            <p:nvPr/>
          </p:nvGrpSpPr>
          <p:grpSpPr>
            <a:xfrm>
              <a:off x="710327" y="3235694"/>
              <a:ext cx="707638" cy="612917"/>
              <a:chOff x="128718" y="3405654"/>
              <a:chExt cx="707638" cy="612917"/>
            </a:xfrm>
          </p:grpSpPr>
          <p:sp>
            <p:nvSpPr>
              <p:cNvPr id="57" name="Hexagon 56"/>
              <p:cNvSpPr>
                <a:spLocks noChangeAspect="1"/>
              </p:cNvSpPr>
              <p:nvPr/>
            </p:nvSpPr>
            <p:spPr>
              <a:xfrm>
                <a:off x="128718" y="3405654"/>
                <a:ext cx="707638" cy="612917"/>
              </a:xfrm>
              <a:prstGeom prst="hexagon">
                <a:avLst/>
              </a:prstGeom>
              <a:solidFill>
                <a:schemeClr val="dk2"/>
              </a:solidFill>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smtClean="0">
                  <a:solidFill>
                    <a:schemeClr val="tx1"/>
                  </a:solidFill>
                </a:endParaRPr>
              </a:p>
            </p:txBody>
          </p:sp>
          <p:grpSp>
            <p:nvGrpSpPr>
              <p:cNvPr id="2" name="Group 1"/>
              <p:cNvGrpSpPr/>
              <p:nvPr/>
            </p:nvGrpSpPr>
            <p:grpSpPr>
              <a:xfrm>
                <a:off x="269634" y="3527754"/>
                <a:ext cx="416049" cy="367720"/>
                <a:chOff x="5663494" y="3330644"/>
                <a:chExt cx="416049" cy="367720"/>
              </a:xfrm>
              <a:solidFill>
                <a:schemeClr val="bg1"/>
              </a:solidFill>
            </p:grpSpPr>
            <p:sp>
              <p:nvSpPr>
                <p:cNvPr id="50" name="Hand"/>
                <p:cNvSpPr>
                  <a:spLocks noChangeAspect="1" noEditPoints="1"/>
                </p:cNvSpPr>
                <p:nvPr>
                  <p:custDataLst>
                    <p:tags r:id="rId5"/>
                  </p:custDataLst>
                </p:nvPr>
              </p:nvSpPr>
              <p:spPr bwMode="auto">
                <a:xfrm>
                  <a:off x="5663494" y="3332604"/>
                  <a:ext cx="209629" cy="365760"/>
                </a:xfrm>
                <a:custGeom>
                  <a:avLst/>
                  <a:gdLst>
                    <a:gd name="T0" fmla="*/ 518 w 1040"/>
                    <a:gd name="T1" fmla="*/ 116 h 1808"/>
                    <a:gd name="T2" fmla="*/ 489 w 1040"/>
                    <a:gd name="T3" fmla="*/ 735 h 1808"/>
                    <a:gd name="T4" fmla="*/ 458 w 1040"/>
                    <a:gd name="T5" fmla="*/ 193 h 1808"/>
                    <a:gd name="T6" fmla="*/ 401 w 1040"/>
                    <a:gd name="T7" fmla="*/ 134 h 1808"/>
                    <a:gd name="T8" fmla="*/ 344 w 1040"/>
                    <a:gd name="T9" fmla="*/ 964 h 1808"/>
                    <a:gd name="T10" fmla="*/ 318 w 1040"/>
                    <a:gd name="T11" fmla="*/ 994 h 1808"/>
                    <a:gd name="T12" fmla="*/ 281 w 1040"/>
                    <a:gd name="T13" fmla="*/ 974 h 1808"/>
                    <a:gd name="T14" fmla="*/ 65 w 1040"/>
                    <a:gd name="T15" fmla="*/ 653 h 1808"/>
                    <a:gd name="T16" fmla="*/ 913 w 1040"/>
                    <a:gd name="T17" fmla="*/ 1444 h 1808"/>
                    <a:gd name="T18" fmla="*/ 978 w 1040"/>
                    <a:gd name="T19" fmla="*/ 1097 h 1808"/>
                    <a:gd name="T20" fmla="*/ 978 w 1040"/>
                    <a:gd name="T21" fmla="*/ 327 h 1808"/>
                    <a:gd name="T22" fmla="*/ 866 w 1040"/>
                    <a:gd name="T23" fmla="*/ 324 h 1808"/>
                    <a:gd name="T24" fmla="*/ 835 w 1040"/>
                    <a:gd name="T25" fmla="*/ 735 h 1808"/>
                    <a:gd name="T26" fmla="*/ 804 w 1040"/>
                    <a:gd name="T27" fmla="*/ 321 h 1808"/>
                    <a:gd name="T28" fmla="*/ 747 w 1040"/>
                    <a:gd name="T29" fmla="*/ 134 h 1808"/>
                    <a:gd name="T30" fmla="*/ 692 w 1040"/>
                    <a:gd name="T31" fmla="*/ 707 h 1808"/>
                    <a:gd name="T32" fmla="*/ 632 w 1040"/>
                    <a:gd name="T33" fmla="*/ 707 h 1808"/>
                    <a:gd name="T34" fmla="*/ 632 w 1040"/>
                    <a:gd name="T35" fmla="*/ 116 h 1808"/>
                    <a:gd name="T36" fmla="*/ 575 w 1040"/>
                    <a:gd name="T37" fmla="*/ 0 h 1808"/>
                    <a:gd name="T38" fmla="*/ 747 w 1040"/>
                    <a:gd name="T39" fmla="*/ 75 h 1808"/>
                    <a:gd name="T40" fmla="*/ 864 w 1040"/>
                    <a:gd name="T41" fmla="*/ 229 h 1808"/>
                    <a:gd name="T42" fmla="*/ 1038 w 1040"/>
                    <a:gd name="T43" fmla="*/ 319 h 1808"/>
                    <a:gd name="T44" fmla="*/ 1038 w 1040"/>
                    <a:gd name="T45" fmla="*/ 1097 h 1808"/>
                    <a:gd name="T46" fmla="*/ 978 w 1040"/>
                    <a:gd name="T47" fmla="*/ 1444 h 1808"/>
                    <a:gd name="T48" fmla="*/ 1040 w 1040"/>
                    <a:gd name="T49" fmla="*/ 1495 h 1808"/>
                    <a:gd name="T50" fmla="*/ 988 w 1040"/>
                    <a:gd name="T51" fmla="*/ 1808 h 1808"/>
                    <a:gd name="T52" fmla="*/ 104 w 1040"/>
                    <a:gd name="T53" fmla="*/ 1760 h 1808"/>
                    <a:gd name="T54" fmla="*/ 156 w 1040"/>
                    <a:gd name="T55" fmla="*/ 1444 h 1808"/>
                    <a:gd name="T56" fmla="*/ 3 w 1040"/>
                    <a:gd name="T57" fmla="*/ 643 h 1808"/>
                    <a:gd name="T58" fmla="*/ 125 w 1040"/>
                    <a:gd name="T59" fmla="*/ 591 h 1808"/>
                    <a:gd name="T60" fmla="*/ 281 w 1040"/>
                    <a:gd name="T61" fmla="*/ 185 h 1808"/>
                    <a:gd name="T62" fmla="*/ 281 w 1040"/>
                    <a:gd name="T63" fmla="*/ 180 h 1808"/>
                    <a:gd name="T64" fmla="*/ 461 w 1040"/>
                    <a:gd name="T65" fmla="*/ 90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0" h="1808">
                      <a:moveTo>
                        <a:pt x="575" y="62"/>
                      </a:moveTo>
                      <a:cubicBezTo>
                        <a:pt x="546" y="62"/>
                        <a:pt x="520" y="85"/>
                        <a:pt x="518" y="116"/>
                      </a:cubicBezTo>
                      <a:cubicBezTo>
                        <a:pt x="518" y="116"/>
                        <a:pt x="518" y="116"/>
                        <a:pt x="518" y="707"/>
                      </a:cubicBezTo>
                      <a:cubicBezTo>
                        <a:pt x="518" y="722"/>
                        <a:pt x="505" y="735"/>
                        <a:pt x="489" y="735"/>
                      </a:cubicBezTo>
                      <a:cubicBezTo>
                        <a:pt x="471" y="735"/>
                        <a:pt x="458" y="722"/>
                        <a:pt x="458" y="707"/>
                      </a:cubicBezTo>
                      <a:cubicBezTo>
                        <a:pt x="458" y="707"/>
                        <a:pt x="458" y="707"/>
                        <a:pt x="458" y="193"/>
                      </a:cubicBezTo>
                      <a:cubicBezTo>
                        <a:pt x="458" y="191"/>
                        <a:pt x="455" y="188"/>
                        <a:pt x="455" y="185"/>
                      </a:cubicBezTo>
                      <a:cubicBezTo>
                        <a:pt x="455" y="157"/>
                        <a:pt x="429" y="134"/>
                        <a:pt x="401" y="134"/>
                      </a:cubicBezTo>
                      <a:cubicBezTo>
                        <a:pt x="370" y="134"/>
                        <a:pt x="346" y="157"/>
                        <a:pt x="344" y="185"/>
                      </a:cubicBezTo>
                      <a:cubicBezTo>
                        <a:pt x="344" y="185"/>
                        <a:pt x="344" y="185"/>
                        <a:pt x="344" y="964"/>
                      </a:cubicBezTo>
                      <a:cubicBezTo>
                        <a:pt x="344" y="969"/>
                        <a:pt x="341" y="974"/>
                        <a:pt x="338" y="979"/>
                      </a:cubicBezTo>
                      <a:cubicBezTo>
                        <a:pt x="333" y="987"/>
                        <a:pt x="328" y="992"/>
                        <a:pt x="318" y="994"/>
                      </a:cubicBezTo>
                      <a:cubicBezTo>
                        <a:pt x="315" y="997"/>
                        <a:pt x="312" y="997"/>
                        <a:pt x="310" y="997"/>
                      </a:cubicBezTo>
                      <a:cubicBezTo>
                        <a:pt x="297" y="997"/>
                        <a:pt x="284" y="987"/>
                        <a:pt x="281" y="974"/>
                      </a:cubicBezTo>
                      <a:cubicBezTo>
                        <a:pt x="253" y="861"/>
                        <a:pt x="182" y="671"/>
                        <a:pt x="107" y="648"/>
                      </a:cubicBezTo>
                      <a:cubicBezTo>
                        <a:pt x="99" y="643"/>
                        <a:pt x="84" y="643"/>
                        <a:pt x="65" y="653"/>
                      </a:cubicBezTo>
                      <a:cubicBezTo>
                        <a:pt x="65" y="653"/>
                        <a:pt x="65" y="653"/>
                        <a:pt x="221" y="1444"/>
                      </a:cubicBezTo>
                      <a:lnTo>
                        <a:pt x="913" y="1444"/>
                      </a:lnTo>
                      <a:cubicBezTo>
                        <a:pt x="913" y="1444"/>
                        <a:pt x="913" y="1444"/>
                        <a:pt x="978" y="1105"/>
                      </a:cubicBezTo>
                      <a:cubicBezTo>
                        <a:pt x="978" y="1105"/>
                        <a:pt x="978" y="1105"/>
                        <a:pt x="978" y="1097"/>
                      </a:cubicBezTo>
                      <a:cubicBezTo>
                        <a:pt x="978" y="1097"/>
                        <a:pt x="978" y="1097"/>
                        <a:pt x="978" y="327"/>
                      </a:cubicBezTo>
                      <a:cubicBezTo>
                        <a:pt x="978" y="327"/>
                        <a:pt x="978" y="327"/>
                        <a:pt x="978" y="327"/>
                      </a:cubicBezTo>
                      <a:cubicBezTo>
                        <a:pt x="975" y="296"/>
                        <a:pt x="949" y="273"/>
                        <a:pt x="921" y="273"/>
                      </a:cubicBezTo>
                      <a:cubicBezTo>
                        <a:pt x="892" y="273"/>
                        <a:pt x="869" y="296"/>
                        <a:pt x="866" y="324"/>
                      </a:cubicBezTo>
                      <a:cubicBezTo>
                        <a:pt x="866" y="324"/>
                        <a:pt x="866" y="324"/>
                        <a:pt x="866" y="707"/>
                      </a:cubicBezTo>
                      <a:cubicBezTo>
                        <a:pt x="866" y="722"/>
                        <a:pt x="851" y="735"/>
                        <a:pt x="835" y="735"/>
                      </a:cubicBezTo>
                      <a:cubicBezTo>
                        <a:pt x="817" y="735"/>
                        <a:pt x="804" y="722"/>
                        <a:pt x="804" y="707"/>
                      </a:cubicBezTo>
                      <a:cubicBezTo>
                        <a:pt x="804" y="707"/>
                        <a:pt x="804" y="707"/>
                        <a:pt x="804" y="321"/>
                      </a:cubicBezTo>
                      <a:cubicBezTo>
                        <a:pt x="804" y="321"/>
                        <a:pt x="804" y="321"/>
                        <a:pt x="804" y="188"/>
                      </a:cubicBezTo>
                      <a:cubicBezTo>
                        <a:pt x="801" y="157"/>
                        <a:pt x="775" y="134"/>
                        <a:pt x="747" y="134"/>
                      </a:cubicBezTo>
                      <a:cubicBezTo>
                        <a:pt x="718" y="134"/>
                        <a:pt x="695" y="157"/>
                        <a:pt x="692" y="185"/>
                      </a:cubicBezTo>
                      <a:cubicBezTo>
                        <a:pt x="692" y="185"/>
                        <a:pt x="692" y="185"/>
                        <a:pt x="692" y="707"/>
                      </a:cubicBezTo>
                      <a:cubicBezTo>
                        <a:pt x="692" y="722"/>
                        <a:pt x="679" y="735"/>
                        <a:pt x="661" y="735"/>
                      </a:cubicBezTo>
                      <a:cubicBezTo>
                        <a:pt x="645" y="735"/>
                        <a:pt x="632" y="722"/>
                        <a:pt x="632" y="707"/>
                      </a:cubicBezTo>
                      <a:cubicBezTo>
                        <a:pt x="632" y="707"/>
                        <a:pt x="632" y="707"/>
                        <a:pt x="632" y="191"/>
                      </a:cubicBezTo>
                      <a:cubicBezTo>
                        <a:pt x="632" y="191"/>
                        <a:pt x="632" y="191"/>
                        <a:pt x="632" y="116"/>
                      </a:cubicBezTo>
                      <a:cubicBezTo>
                        <a:pt x="630" y="85"/>
                        <a:pt x="604" y="62"/>
                        <a:pt x="575" y="62"/>
                      </a:cubicBezTo>
                      <a:close/>
                      <a:moveTo>
                        <a:pt x="575" y="0"/>
                      </a:moveTo>
                      <a:cubicBezTo>
                        <a:pt x="630" y="0"/>
                        <a:pt x="676" y="39"/>
                        <a:pt x="689" y="90"/>
                      </a:cubicBezTo>
                      <a:cubicBezTo>
                        <a:pt x="705" y="80"/>
                        <a:pt x="726" y="75"/>
                        <a:pt x="747" y="75"/>
                      </a:cubicBezTo>
                      <a:cubicBezTo>
                        <a:pt x="806" y="75"/>
                        <a:pt x="856" y="116"/>
                        <a:pt x="864" y="173"/>
                      </a:cubicBezTo>
                      <a:cubicBezTo>
                        <a:pt x="864" y="173"/>
                        <a:pt x="864" y="173"/>
                        <a:pt x="864" y="229"/>
                      </a:cubicBezTo>
                      <a:cubicBezTo>
                        <a:pt x="882" y="219"/>
                        <a:pt x="900" y="214"/>
                        <a:pt x="921" y="214"/>
                      </a:cubicBezTo>
                      <a:cubicBezTo>
                        <a:pt x="981" y="214"/>
                        <a:pt x="1033" y="257"/>
                        <a:pt x="1038" y="319"/>
                      </a:cubicBezTo>
                      <a:cubicBezTo>
                        <a:pt x="1038" y="319"/>
                        <a:pt x="1038" y="321"/>
                        <a:pt x="1038" y="324"/>
                      </a:cubicBezTo>
                      <a:cubicBezTo>
                        <a:pt x="1038" y="324"/>
                        <a:pt x="1038" y="324"/>
                        <a:pt x="1038" y="1097"/>
                      </a:cubicBezTo>
                      <a:cubicBezTo>
                        <a:pt x="1038" y="1097"/>
                        <a:pt x="1038" y="1097"/>
                        <a:pt x="1038" y="1118"/>
                      </a:cubicBezTo>
                      <a:cubicBezTo>
                        <a:pt x="1038" y="1118"/>
                        <a:pt x="1038" y="1118"/>
                        <a:pt x="978" y="1444"/>
                      </a:cubicBezTo>
                      <a:cubicBezTo>
                        <a:pt x="978" y="1444"/>
                        <a:pt x="978" y="1444"/>
                        <a:pt x="988" y="1444"/>
                      </a:cubicBezTo>
                      <a:cubicBezTo>
                        <a:pt x="1017" y="1444"/>
                        <a:pt x="1040" y="1467"/>
                        <a:pt x="1040" y="1495"/>
                      </a:cubicBezTo>
                      <a:cubicBezTo>
                        <a:pt x="1040" y="1495"/>
                        <a:pt x="1040" y="1495"/>
                        <a:pt x="1040" y="1760"/>
                      </a:cubicBezTo>
                      <a:cubicBezTo>
                        <a:pt x="1040" y="1788"/>
                        <a:pt x="1017" y="1808"/>
                        <a:pt x="988" y="1808"/>
                      </a:cubicBezTo>
                      <a:cubicBezTo>
                        <a:pt x="988" y="1808"/>
                        <a:pt x="988" y="1808"/>
                        <a:pt x="156" y="1808"/>
                      </a:cubicBezTo>
                      <a:cubicBezTo>
                        <a:pt x="128" y="1808"/>
                        <a:pt x="104" y="1788"/>
                        <a:pt x="104" y="1760"/>
                      </a:cubicBezTo>
                      <a:cubicBezTo>
                        <a:pt x="104" y="1760"/>
                        <a:pt x="104" y="1760"/>
                        <a:pt x="104" y="1495"/>
                      </a:cubicBezTo>
                      <a:cubicBezTo>
                        <a:pt x="104" y="1467"/>
                        <a:pt x="128" y="1444"/>
                        <a:pt x="156" y="1444"/>
                      </a:cubicBezTo>
                      <a:cubicBezTo>
                        <a:pt x="156" y="1444"/>
                        <a:pt x="156" y="1444"/>
                        <a:pt x="162" y="1444"/>
                      </a:cubicBezTo>
                      <a:cubicBezTo>
                        <a:pt x="162" y="1444"/>
                        <a:pt x="162" y="1444"/>
                        <a:pt x="3" y="643"/>
                      </a:cubicBezTo>
                      <a:cubicBezTo>
                        <a:pt x="0" y="630"/>
                        <a:pt x="8" y="617"/>
                        <a:pt x="21" y="612"/>
                      </a:cubicBezTo>
                      <a:cubicBezTo>
                        <a:pt x="63" y="581"/>
                        <a:pt x="102" y="581"/>
                        <a:pt x="125" y="591"/>
                      </a:cubicBezTo>
                      <a:cubicBezTo>
                        <a:pt x="195" y="612"/>
                        <a:pt x="247" y="702"/>
                        <a:pt x="281" y="786"/>
                      </a:cubicBezTo>
                      <a:cubicBezTo>
                        <a:pt x="281" y="786"/>
                        <a:pt x="281" y="786"/>
                        <a:pt x="281" y="185"/>
                      </a:cubicBezTo>
                      <a:cubicBezTo>
                        <a:pt x="281" y="185"/>
                        <a:pt x="284" y="185"/>
                        <a:pt x="284" y="185"/>
                      </a:cubicBezTo>
                      <a:cubicBezTo>
                        <a:pt x="284" y="183"/>
                        <a:pt x="281" y="183"/>
                        <a:pt x="281" y="180"/>
                      </a:cubicBezTo>
                      <a:cubicBezTo>
                        <a:pt x="286" y="121"/>
                        <a:pt x="338" y="72"/>
                        <a:pt x="401" y="72"/>
                      </a:cubicBezTo>
                      <a:cubicBezTo>
                        <a:pt x="422" y="72"/>
                        <a:pt x="442" y="80"/>
                        <a:pt x="461" y="90"/>
                      </a:cubicBezTo>
                      <a:cubicBezTo>
                        <a:pt x="474" y="39"/>
                        <a:pt x="520" y="0"/>
                        <a:pt x="57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00" dirty="0"/>
                </a:p>
              </p:txBody>
            </p:sp>
            <p:sp>
              <p:nvSpPr>
                <p:cNvPr id="52" name="Hand"/>
                <p:cNvSpPr>
                  <a:spLocks noChangeAspect="1" noEditPoints="1"/>
                </p:cNvSpPr>
                <p:nvPr>
                  <p:custDataLst>
                    <p:tags r:id="rId6"/>
                  </p:custDataLst>
                </p:nvPr>
              </p:nvSpPr>
              <p:spPr bwMode="auto">
                <a:xfrm>
                  <a:off x="5869914" y="3330644"/>
                  <a:ext cx="209629" cy="365760"/>
                </a:xfrm>
                <a:custGeom>
                  <a:avLst/>
                  <a:gdLst>
                    <a:gd name="T0" fmla="*/ 518 w 1040"/>
                    <a:gd name="T1" fmla="*/ 116 h 1808"/>
                    <a:gd name="T2" fmla="*/ 489 w 1040"/>
                    <a:gd name="T3" fmla="*/ 735 h 1808"/>
                    <a:gd name="T4" fmla="*/ 458 w 1040"/>
                    <a:gd name="T5" fmla="*/ 193 h 1808"/>
                    <a:gd name="T6" fmla="*/ 401 w 1040"/>
                    <a:gd name="T7" fmla="*/ 134 h 1808"/>
                    <a:gd name="T8" fmla="*/ 344 w 1040"/>
                    <a:gd name="T9" fmla="*/ 964 h 1808"/>
                    <a:gd name="T10" fmla="*/ 318 w 1040"/>
                    <a:gd name="T11" fmla="*/ 994 h 1808"/>
                    <a:gd name="T12" fmla="*/ 281 w 1040"/>
                    <a:gd name="T13" fmla="*/ 974 h 1808"/>
                    <a:gd name="T14" fmla="*/ 65 w 1040"/>
                    <a:gd name="T15" fmla="*/ 653 h 1808"/>
                    <a:gd name="T16" fmla="*/ 913 w 1040"/>
                    <a:gd name="T17" fmla="*/ 1444 h 1808"/>
                    <a:gd name="T18" fmla="*/ 978 w 1040"/>
                    <a:gd name="T19" fmla="*/ 1097 h 1808"/>
                    <a:gd name="T20" fmla="*/ 978 w 1040"/>
                    <a:gd name="T21" fmla="*/ 327 h 1808"/>
                    <a:gd name="T22" fmla="*/ 866 w 1040"/>
                    <a:gd name="T23" fmla="*/ 324 h 1808"/>
                    <a:gd name="T24" fmla="*/ 835 w 1040"/>
                    <a:gd name="T25" fmla="*/ 735 h 1808"/>
                    <a:gd name="T26" fmla="*/ 804 w 1040"/>
                    <a:gd name="T27" fmla="*/ 321 h 1808"/>
                    <a:gd name="T28" fmla="*/ 747 w 1040"/>
                    <a:gd name="T29" fmla="*/ 134 h 1808"/>
                    <a:gd name="T30" fmla="*/ 692 w 1040"/>
                    <a:gd name="T31" fmla="*/ 707 h 1808"/>
                    <a:gd name="T32" fmla="*/ 632 w 1040"/>
                    <a:gd name="T33" fmla="*/ 707 h 1808"/>
                    <a:gd name="T34" fmla="*/ 632 w 1040"/>
                    <a:gd name="T35" fmla="*/ 116 h 1808"/>
                    <a:gd name="T36" fmla="*/ 575 w 1040"/>
                    <a:gd name="T37" fmla="*/ 0 h 1808"/>
                    <a:gd name="T38" fmla="*/ 747 w 1040"/>
                    <a:gd name="T39" fmla="*/ 75 h 1808"/>
                    <a:gd name="T40" fmla="*/ 864 w 1040"/>
                    <a:gd name="T41" fmla="*/ 229 h 1808"/>
                    <a:gd name="T42" fmla="*/ 1038 w 1040"/>
                    <a:gd name="T43" fmla="*/ 319 h 1808"/>
                    <a:gd name="T44" fmla="*/ 1038 w 1040"/>
                    <a:gd name="T45" fmla="*/ 1097 h 1808"/>
                    <a:gd name="T46" fmla="*/ 978 w 1040"/>
                    <a:gd name="T47" fmla="*/ 1444 h 1808"/>
                    <a:gd name="T48" fmla="*/ 1040 w 1040"/>
                    <a:gd name="T49" fmla="*/ 1495 h 1808"/>
                    <a:gd name="T50" fmla="*/ 988 w 1040"/>
                    <a:gd name="T51" fmla="*/ 1808 h 1808"/>
                    <a:gd name="T52" fmla="*/ 104 w 1040"/>
                    <a:gd name="T53" fmla="*/ 1760 h 1808"/>
                    <a:gd name="T54" fmla="*/ 156 w 1040"/>
                    <a:gd name="T55" fmla="*/ 1444 h 1808"/>
                    <a:gd name="T56" fmla="*/ 3 w 1040"/>
                    <a:gd name="T57" fmla="*/ 643 h 1808"/>
                    <a:gd name="T58" fmla="*/ 125 w 1040"/>
                    <a:gd name="T59" fmla="*/ 591 h 1808"/>
                    <a:gd name="T60" fmla="*/ 281 w 1040"/>
                    <a:gd name="T61" fmla="*/ 185 h 1808"/>
                    <a:gd name="T62" fmla="*/ 281 w 1040"/>
                    <a:gd name="T63" fmla="*/ 180 h 1808"/>
                    <a:gd name="T64" fmla="*/ 461 w 1040"/>
                    <a:gd name="T65" fmla="*/ 90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0" h="1808">
                      <a:moveTo>
                        <a:pt x="575" y="62"/>
                      </a:moveTo>
                      <a:cubicBezTo>
                        <a:pt x="546" y="62"/>
                        <a:pt x="520" y="85"/>
                        <a:pt x="518" y="116"/>
                      </a:cubicBezTo>
                      <a:cubicBezTo>
                        <a:pt x="518" y="116"/>
                        <a:pt x="518" y="116"/>
                        <a:pt x="518" y="707"/>
                      </a:cubicBezTo>
                      <a:cubicBezTo>
                        <a:pt x="518" y="722"/>
                        <a:pt x="505" y="735"/>
                        <a:pt x="489" y="735"/>
                      </a:cubicBezTo>
                      <a:cubicBezTo>
                        <a:pt x="471" y="735"/>
                        <a:pt x="458" y="722"/>
                        <a:pt x="458" y="707"/>
                      </a:cubicBezTo>
                      <a:cubicBezTo>
                        <a:pt x="458" y="707"/>
                        <a:pt x="458" y="707"/>
                        <a:pt x="458" y="193"/>
                      </a:cubicBezTo>
                      <a:cubicBezTo>
                        <a:pt x="458" y="191"/>
                        <a:pt x="455" y="188"/>
                        <a:pt x="455" y="185"/>
                      </a:cubicBezTo>
                      <a:cubicBezTo>
                        <a:pt x="455" y="157"/>
                        <a:pt x="429" y="134"/>
                        <a:pt x="401" y="134"/>
                      </a:cubicBezTo>
                      <a:cubicBezTo>
                        <a:pt x="370" y="134"/>
                        <a:pt x="346" y="157"/>
                        <a:pt x="344" y="185"/>
                      </a:cubicBezTo>
                      <a:cubicBezTo>
                        <a:pt x="344" y="185"/>
                        <a:pt x="344" y="185"/>
                        <a:pt x="344" y="964"/>
                      </a:cubicBezTo>
                      <a:cubicBezTo>
                        <a:pt x="344" y="969"/>
                        <a:pt x="341" y="974"/>
                        <a:pt x="338" y="979"/>
                      </a:cubicBezTo>
                      <a:cubicBezTo>
                        <a:pt x="333" y="987"/>
                        <a:pt x="328" y="992"/>
                        <a:pt x="318" y="994"/>
                      </a:cubicBezTo>
                      <a:cubicBezTo>
                        <a:pt x="315" y="997"/>
                        <a:pt x="312" y="997"/>
                        <a:pt x="310" y="997"/>
                      </a:cubicBezTo>
                      <a:cubicBezTo>
                        <a:pt x="297" y="997"/>
                        <a:pt x="284" y="987"/>
                        <a:pt x="281" y="974"/>
                      </a:cubicBezTo>
                      <a:cubicBezTo>
                        <a:pt x="253" y="861"/>
                        <a:pt x="182" y="671"/>
                        <a:pt x="107" y="648"/>
                      </a:cubicBezTo>
                      <a:cubicBezTo>
                        <a:pt x="99" y="643"/>
                        <a:pt x="84" y="643"/>
                        <a:pt x="65" y="653"/>
                      </a:cubicBezTo>
                      <a:cubicBezTo>
                        <a:pt x="65" y="653"/>
                        <a:pt x="65" y="653"/>
                        <a:pt x="221" y="1444"/>
                      </a:cubicBezTo>
                      <a:lnTo>
                        <a:pt x="913" y="1444"/>
                      </a:lnTo>
                      <a:cubicBezTo>
                        <a:pt x="913" y="1444"/>
                        <a:pt x="913" y="1444"/>
                        <a:pt x="978" y="1105"/>
                      </a:cubicBezTo>
                      <a:cubicBezTo>
                        <a:pt x="978" y="1105"/>
                        <a:pt x="978" y="1105"/>
                        <a:pt x="978" y="1097"/>
                      </a:cubicBezTo>
                      <a:cubicBezTo>
                        <a:pt x="978" y="1097"/>
                        <a:pt x="978" y="1097"/>
                        <a:pt x="978" y="327"/>
                      </a:cubicBezTo>
                      <a:cubicBezTo>
                        <a:pt x="978" y="327"/>
                        <a:pt x="978" y="327"/>
                        <a:pt x="978" y="327"/>
                      </a:cubicBezTo>
                      <a:cubicBezTo>
                        <a:pt x="975" y="296"/>
                        <a:pt x="949" y="273"/>
                        <a:pt x="921" y="273"/>
                      </a:cubicBezTo>
                      <a:cubicBezTo>
                        <a:pt x="892" y="273"/>
                        <a:pt x="869" y="296"/>
                        <a:pt x="866" y="324"/>
                      </a:cubicBezTo>
                      <a:cubicBezTo>
                        <a:pt x="866" y="324"/>
                        <a:pt x="866" y="324"/>
                        <a:pt x="866" y="707"/>
                      </a:cubicBezTo>
                      <a:cubicBezTo>
                        <a:pt x="866" y="722"/>
                        <a:pt x="851" y="735"/>
                        <a:pt x="835" y="735"/>
                      </a:cubicBezTo>
                      <a:cubicBezTo>
                        <a:pt x="817" y="735"/>
                        <a:pt x="804" y="722"/>
                        <a:pt x="804" y="707"/>
                      </a:cubicBezTo>
                      <a:cubicBezTo>
                        <a:pt x="804" y="707"/>
                        <a:pt x="804" y="707"/>
                        <a:pt x="804" y="321"/>
                      </a:cubicBezTo>
                      <a:cubicBezTo>
                        <a:pt x="804" y="321"/>
                        <a:pt x="804" y="321"/>
                        <a:pt x="804" y="188"/>
                      </a:cubicBezTo>
                      <a:cubicBezTo>
                        <a:pt x="801" y="157"/>
                        <a:pt x="775" y="134"/>
                        <a:pt x="747" y="134"/>
                      </a:cubicBezTo>
                      <a:cubicBezTo>
                        <a:pt x="718" y="134"/>
                        <a:pt x="695" y="157"/>
                        <a:pt x="692" y="185"/>
                      </a:cubicBezTo>
                      <a:cubicBezTo>
                        <a:pt x="692" y="185"/>
                        <a:pt x="692" y="185"/>
                        <a:pt x="692" y="707"/>
                      </a:cubicBezTo>
                      <a:cubicBezTo>
                        <a:pt x="692" y="722"/>
                        <a:pt x="679" y="735"/>
                        <a:pt x="661" y="735"/>
                      </a:cubicBezTo>
                      <a:cubicBezTo>
                        <a:pt x="645" y="735"/>
                        <a:pt x="632" y="722"/>
                        <a:pt x="632" y="707"/>
                      </a:cubicBezTo>
                      <a:cubicBezTo>
                        <a:pt x="632" y="707"/>
                        <a:pt x="632" y="707"/>
                        <a:pt x="632" y="191"/>
                      </a:cubicBezTo>
                      <a:cubicBezTo>
                        <a:pt x="632" y="191"/>
                        <a:pt x="632" y="191"/>
                        <a:pt x="632" y="116"/>
                      </a:cubicBezTo>
                      <a:cubicBezTo>
                        <a:pt x="630" y="85"/>
                        <a:pt x="604" y="62"/>
                        <a:pt x="575" y="62"/>
                      </a:cubicBezTo>
                      <a:close/>
                      <a:moveTo>
                        <a:pt x="575" y="0"/>
                      </a:moveTo>
                      <a:cubicBezTo>
                        <a:pt x="630" y="0"/>
                        <a:pt x="676" y="39"/>
                        <a:pt x="689" y="90"/>
                      </a:cubicBezTo>
                      <a:cubicBezTo>
                        <a:pt x="705" y="80"/>
                        <a:pt x="726" y="75"/>
                        <a:pt x="747" y="75"/>
                      </a:cubicBezTo>
                      <a:cubicBezTo>
                        <a:pt x="806" y="75"/>
                        <a:pt x="856" y="116"/>
                        <a:pt x="864" y="173"/>
                      </a:cubicBezTo>
                      <a:cubicBezTo>
                        <a:pt x="864" y="173"/>
                        <a:pt x="864" y="173"/>
                        <a:pt x="864" y="229"/>
                      </a:cubicBezTo>
                      <a:cubicBezTo>
                        <a:pt x="882" y="219"/>
                        <a:pt x="900" y="214"/>
                        <a:pt x="921" y="214"/>
                      </a:cubicBezTo>
                      <a:cubicBezTo>
                        <a:pt x="981" y="214"/>
                        <a:pt x="1033" y="257"/>
                        <a:pt x="1038" y="319"/>
                      </a:cubicBezTo>
                      <a:cubicBezTo>
                        <a:pt x="1038" y="319"/>
                        <a:pt x="1038" y="321"/>
                        <a:pt x="1038" y="324"/>
                      </a:cubicBezTo>
                      <a:cubicBezTo>
                        <a:pt x="1038" y="324"/>
                        <a:pt x="1038" y="324"/>
                        <a:pt x="1038" y="1097"/>
                      </a:cubicBezTo>
                      <a:cubicBezTo>
                        <a:pt x="1038" y="1097"/>
                        <a:pt x="1038" y="1097"/>
                        <a:pt x="1038" y="1118"/>
                      </a:cubicBezTo>
                      <a:cubicBezTo>
                        <a:pt x="1038" y="1118"/>
                        <a:pt x="1038" y="1118"/>
                        <a:pt x="978" y="1444"/>
                      </a:cubicBezTo>
                      <a:cubicBezTo>
                        <a:pt x="978" y="1444"/>
                        <a:pt x="978" y="1444"/>
                        <a:pt x="988" y="1444"/>
                      </a:cubicBezTo>
                      <a:cubicBezTo>
                        <a:pt x="1017" y="1444"/>
                        <a:pt x="1040" y="1467"/>
                        <a:pt x="1040" y="1495"/>
                      </a:cubicBezTo>
                      <a:cubicBezTo>
                        <a:pt x="1040" y="1495"/>
                        <a:pt x="1040" y="1495"/>
                        <a:pt x="1040" y="1760"/>
                      </a:cubicBezTo>
                      <a:cubicBezTo>
                        <a:pt x="1040" y="1788"/>
                        <a:pt x="1017" y="1808"/>
                        <a:pt x="988" y="1808"/>
                      </a:cubicBezTo>
                      <a:cubicBezTo>
                        <a:pt x="988" y="1808"/>
                        <a:pt x="988" y="1808"/>
                        <a:pt x="156" y="1808"/>
                      </a:cubicBezTo>
                      <a:cubicBezTo>
                        <a:pt x="128" y="1808"/>
                        <a:pt x="104" y="1788"/>
                        <a:pt x="104" y="1760"/>
                      </a:cubicBezTo>
                      <a:cubicBezTo>
                        <a:pt x="104" y="1760"/>
                        <a:pt x="104" y="1760"/>
                        <a:pt x="104" y="1495"/>
                      </a:cubicBezTo>
                      <a:cubicBezTo>
                        <a:pt x="104" y="1467"/>
                        <a:pt x="128" y="1444"/>
                        <a:pt x="156" y="1444"/>
                      </a:cubicBezTo>
                      <a:cubicBezTo>
                        <a:pt x="156" y="1444"/>
                        <a:pt x="156" y="1444"/>
                        <a:pt x="162" y="1444"/>
                      </a:cubicBezTo>
                      <a:cubicBezTo>
                        <a:pt x="162" y="1444"/>
                        <a:pt x="162" y="1444"/>
                        <a:pt x="3" y="643"/>
                      </a:cubicBezTo>
                      <a:cubicBezTo>
                        <a:pt x="0" y="630"/>
                        <a:pt x="8" y="617"/>
                        <a:pt x="21" y="612"/>
                      </a:cubicBezTo>
                      <a:cubicBezTo>
                        <a:pt x="63" y="581"/>
                        <a:pt x="102" y="581"/>
                        <a:pt x="125" y="591"/>
                      </a:cubicBezTo>
                      <a:cubicBezTo>
                        <a:pt x="195" y="612"/>
                        <a:pt x="247" y="702"/>
                        <a:pt x="281" y="786"/>
                      </a:cubicBezTo>
                      <a:cubicBezTo>
                        <a:pt x="281" y="786"/>
                        <a:pt x="281" y="786"/>
                        <a:pt x="281" y="185"/>
                      </a:cubicBezTo>
                      <a:cubicBezTo>
                        <a:pt x="281" y="185"/>
                        <a:pt x="284" y="185"/>
                        <a:pt x="284" y="185"/>
                      </a:cubicBezTo>
                      <a:cubicBezTo>
                        <a:pt x="284" y="183"/>
                        <a:pt x="281" y="183"/>
                        <a:pt x="281" y="180"/>
                      </a:cubicBezTo>
                      <a:cubicBezTo>
                        <a:pt x="286" y="121"/>
                        <a:pt x="338" y="72"/>
                        <a:pt x="401" y="72"/>
                      </a:cubicBezTo>
                      <a:cubicBezTo>
                        <a:pt x="422" y="72"/>
                        <a:pt x="442" y="80"/>
                        <a:pt x="461" y="90"/>
                      </a:cubicBezTo>
                      <a:cubicBezTo>
                        <a:pt x="474" y="39"/>
                        <a:pt x="520" y="0"/>
                        <a:pt x="57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00" dirty="0"/>
                </a:p>
              </p:txBody>
            </p:sp>
          </p:grpSp>
        </p:grpSp>
      </p:grpSp>
      <p:grpSp>
        <p:nvGrpSpPr>
          <p:cNvPr id="17" name="Group 16"/>
          <p:cNvGrpSpPr/>
          <p:nvPr/>
        </p:nvGrpSpPr>
        <p:grpSpPr>
          <a:xfrm>
            <a:off x="710327" y="4056416"/>
            <a:ext cx="7881521" cy="661444"/>
            <a:chOff x="710327" y="4056416"/>
            <a:chExt cx="7881521" cy="661444"/>
          </a:xfrm>
        </p:grpSpPr>
        <p:sp>
          <p:nvSpPr>
            <p:cNvPr id="86" name="Content Placeholder 13"/>
            <p:cNvSpPr txBox="1">
              <a:spLocks/>
            </p:cNvSpPr>
            <p:nvPr/>
          </p:nvSpPr>
          <p:spPr>
            <a:xfrm>
              <a:off x="1881061" y="4056416"/>
              <a:ext cx="6710787" cy="661444"/>
            </a:xfrm>
            <a:prstGeom prst="rect">
              <a:avLst/>
            </a:prstGeom>
          </p:spPr>
          <p:txBody>
            <a:bodyPr vert="horz" lIns="0" tIns="0" rIns="0" bIns="0" rtlCol="0" anchor="ctr">
              <a:noAutofit/>
            </a:bodyPr>
            <a:lstStyle>
              <a:lvl1pPr marL="180000" indent="-180000" algn="l" defTabSz="914400" rtl="0" eaLnBrk="1" latinLnBrk="0" hangingPunct="1">
                <a:lnSpc>
                  <a:spcPct val="100000"/>
                </a:lnSpc>
                <a:spcBef>
                  <a:spcPts val="0"/>
                </a:spcBef>
                <a:buClr>
                  <a:schemeClr val="accent1"/>
                </a:buClr>
                <a:buFont typeface="Danske Text" panose="00000400000000000000" pitchFamily="2"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buClr>
                  <a:srgbClr val="003755"/>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buClr>
                  <a:srgbClr val="003755"/>
                </a:buClr>
                <a:buFont typeface="Danske Text" panose="00000400000000000000" pitchFamily="2"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buClr>
                  <a:srgbClr val="003755"/>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buClr>
                  <a:schemeClr val="accent1"/>
                </a:buClr>
                <a:buFont typeface="Danske Text" panose="00000400000000000000" pitchFamily="2" charset="0"/>
                <a:buChar char="•"/>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003755"/>
                </a:buClr>
                <a:buFont typeface="+mj-lt"/>
                <a:buAutoNum type="arabicPeriod"/>
                <a:defRPr sz="16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003755"/>
                </a:buClr>
                <a:buFont typeface="+mj-lt"/>
                <a:buAutoNum type="alphaLcPeriod"/>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0"/>
                </a:spcBef>
                <a:buClr>
                  <a:srgbClr val="003755"/>
                </a:buClr>
                <a:buFont typeface="+mj-lt"/>
                <a:buAutoNum type="romanLcPeriod"/>
                <a:defRPr sz="1600" kern="1200" baseline="0">
                  <a:solidFill>
                    <a:schemeClr val="tx1"/>
                  </a:solidFill>
                  <a:latin typeface="+mn-lt"/>
                  <a:ea typeface="+mn-ea"/>
                  <a:cs typeface="+mn-cs"/>
                </a:defRPr>
              </a:lvl8pPr>
              <a:lvl9pPr marL="1620000" indent="-180000" algn="l" defTabSz="914400" rtl="0" eaLnBrk="1" latinLnBrk="0" hangingPunct="1">
                <a:lnSpc>
                  <a:spcPct val="120000"/>
                </a:lnSpc>
                <a:spcBef>
                  <a:spcPts val="0"/>
                </a:spcBef>
                <a:buFont typeface="Arial" panose="020B0604020202020204" pitchFamily="34" charset="0"/>
                <a:buChar char="•"/>
                <a:defRPr sz="900" kern="1200" baseline="0">
                  <a:solidFill>
                    <a:schemeClr val="tx1"/>
                  </a:solidFill>
                  <a:latin typeface="+mn-lt"/>
                  <a:ea typeface="+mn-ea"/>
                  <a:cs typeface="+mn-cs"/>
                </a:defRPr>
              </a:lvl9pPr>
            </a:lstStyle>
            <a:p>
              <a:pPr marL="0" indent="0">
                <a:spcBef>
                  <a:spcPts val="600"/>
                </a:spcBef>
                <a:buNone/>
              </a:pPr>
              <a:r>
                <a:rPr lang="en-GB" sz="1400" dirty="0" smtClean="0">
                  <a:solidFill>
                    <a:srgbClr val="003755"/>
                  </a:solidFill>
                </a:rPr>
                <a:t>Our Sustainable Investment Journey</a:t>
              </a:r>
            </a:p>
            <a:p>
              <a:pPr marL="0" indent="0">
                <a:buNone/>
              </a:pPr>
              <a:r>
                <a:rPr lang="lt-LT" sz="1100" dirty="0" smtClean="0">
                  <a:hlinkClick r:id="rId13"/>
                </a:rPr>
                <a:t>Click </a:t>
              </a:r>
              <a:r>
                <a:rPr lang="lt-LT" sz="1100" dirty="0">
                  <a:hlinkClick r:id="rId13"/>
                </a:rPr>
                <a:t>here</a:t>
              </a:r>
              <a:endParaRPr lang="lt-LT" sz="1100" dirty="0"/>
            </a:p>
          </p:txBody>
        </p:sp>
        <p:sp>
          <p:nvSpPr>
            <p:cNvPr id="88" name="Rectangle 87"/>
            <p:cNvSpPr/>
            <p:nvPr/>
          </p:nvSpPr>
          <p:spPr>
            <a:xfrm>
              <a:off x="1612516" y="4141823"/>
              <a:ext cx="38326" cy="479081"/>
            </a:xfrm>
            <a:prstGeom prst="rect">
              <a:avLst/>
            </a:prstGeom>
            <a:solidFill>
              <a:srgbClr val="003755"/>
            </a:solidFill>
            <a:ln w="12700" cap="rnd">
              <a:solidFill>
                <a:srgbClr val="003755"/>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smtClean="0">
                <a:solidFill>
                  <a:srgbClr val="000000"/>
                </a:solidFill>
              </a:endParaRPr>
            </a:p>
          </p:txBody>
        </p:sp>
        <p:grpSp>
          <p:nvGrpSpPr>
            <p:cNvPr id="7" name="Group 6"/>
            <p:cNvGrpSpPr/>
            <p:nvPr/>
          </p:nvGrpSpPr>
          <p:grpSpPr>
            <a:xfrm>
              <a:off x="710327" y="4066666"/>
              <a:ext cx="707638" cy="612917"/>
              <a:chOff x="133342" y="4181122"/>
              <a:chExt cx="707638" cy="612917"/>
            </a:xfrm>
          </p:grpSpPr>
          <p:sp>
            <p:nvSpPr>
              <p:cNvPr id="58" name="Hexagon 57"/>
              <p:cNvSpPr>
                <a:spLocks noChangeAspect="1"/>
              </p:cNvSpPr>
              <p:nvPr/>
            </p:nvSpPr>
            <p:spPr>
              <a:xfrm>
                <a:off x="133342" y="4181122"/>
                <a:ext cx="707638" cy="612917"/>
              </a:xfrm>
              <a:prstGeom prst="hexagon">
                <a:avLst/>
              </a:prstGeom>
              <a:solidFill>
                <a:schemeClr val="dk2"/>
              </a:solidFill>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smtClean="0">
                  <a:solidFill>
                    <a:schemeClr val="tx1"/>
                  </a:solidFill>
                </a:endParaRPr>
              </a:p>
            </p:txBody>
          </p:sp>
          <p:sp>
            <p:nvSpPr>
              <p:cNvPr id="44" name="Environment"/>
              <p:cNvSpPr>
                <a:spLocks noChangeAspect="1" noEditPoints="1"/>
              </p:cNvSpPr>
              <p:nvPr>
                <p:custDataLst>
                  <p:tags r:id="rId4"/>
                </p:custDataLst>
              </p:nvPr>
            </p:nvSpPr>
            <p:spPr bwMode="auto">
              <a:xfrm>
                <a:off x="333746" y="4306841"/>
                <a:ext cx="316137" cy="365760"/>
              </a:xfrm>
              <a:custGeom>
                <a:avLst/>
                <a:gdLst>
                  <a:gd name="T0" fmla="*/ 534 w 1522"/>
                  <a:gd name="T1" fmla="*/ 961 h 1808"/>
                  <a:gd name="T2" fmla="*/ 733 w 1522"/>
                  <a:gd name="T3" fmla="*/ 829 h 1808"/>
                  <a:gd name="T4" fmla="*/ 529 w 1522"/>
                  <a:gd name="T5" fmla="*/ 802 h 1808"/>
                  <a:gd name="T6" fmla="*/ 679 w 1522"/>
                  <a:gd name="T7" fmla="*/ 775 h 1808"/>
                  <a:gd name="T8" fmla="*/ 512 w 1522"/>
                  <a:gd name="T9" fmla="*/ 709 h 1808"/>
                  <a:gd name="T10" fmla="*/ 512 w 1522"/>
                  <a:gd name="T11" fmla="*/ 655 h 1808"/>
                  <a:gd name="T12" fmla="*/ 460 w 1522"/>
                  <a:gd name="T13" fmla="*/ 557 h 1808"/>
                  <a:gd name="T14" fmla="*/ 499 w 1522"/>
                  <a:gd name="T15" fmla="*/ 520 h 1808"/>
                  <a:gd name="T16" fmla="*/ 595 w 1522"/>
                  <a:gd name="T17" fmla="*/ 569 h 1808"/>
                  <a:gd name="T18" fmla="*/ 649 w 1522"/>
                  <a:gd name="T19" fmla="*/ 569 h 1808"/>
                  <a:gd name="T20" fmla="*/ 716 w 1522"/>
                  <a:gd name="T21" fmla="*/ 736 h 1808"/>
                  <a:gd name="T22" fmla="*/ 743 w 1522"/>
                  <a:gd name="T23" fmla="*/ 589 h 1808"/>
                  <a:gd name="T24" fmla="*/ 770 w 1522"/>
                  <a:gd name="T25" fmla="*/ 789 h 1808"/>
                  <a:gd name="T26" fmla="*/ 902 w 1522"/>
                  <a:gd name="T27" fmla="*/ 596 h 1808"/>
                  <a:gd name="T28" fmla="*/ 296 w 1522"/>
                  <a:gd name="T29" fmla="*/ 313 h 1808"/>
                  <a:gd name="T30" fmla="*/ 939 w 1522"/>
                  <a:gd name="T31" fmla="*/ 559 h 1808"/>
                  <a:gd name="T32" fmla="*/ 1094 w 1522"/>
                  <a:gd name="T33" fmla="*/ 1052 h 1808"/>
                  <a:gd name="T34" fmla="*/ 1084 w 1522"/>
                  <a:gd name="T35" fmla="*/ 1103 h 1808"/>
                  <a:gd name="T36" fmla="*/ 878 w 1522"/>
                  <a:gd name="T37" fmla="*/ 973 h 1808"/>
                  <a:gd name="T38" fmla="*/ 495 w 1522"/>
                  <a:gd name="T39" fmla="*/ 998 h 1808"/>
                  <a:gd name="T40" fmla="*/ 263 w 1522"/>
                  <a:gd name="T41" fmla="*/ 322 h 1808"/>
                  <a:gd name="T42" fmla="*/ 696 w 1522"/>
                  <a:gd name="T43" fmla="*/ 57 h 1808"/>
                  <a:gd name="T44" fmla="*/ 696 w 1522"/>
                  <a:gd name="T45" fmla="*/ 1330 h 1808"/>
                  <a:gd name="T46" fmla="*/ 696 w 1522"/>
                  <a:gd name="T47" fmla="*/ 57 h 1808"/>
                  <a:gd name="T48" fmla="*/ 1390 w 1522"/>
                  <a:gd name="T49" fmla="*/ 693 h 1808"/>
                  <a:gd name="T50" fmla="*/ 2 w 1522"/>
                  <a:gd name="T51" fmla="*/ 693 h 1808"/>
                  <a:gd name="T52" fmla="*/ 1349 w 1522"/>
                  <a:gd name="T53" fmla="*/ 0 h 1808"/>
                  <a:gd name="T54" fmla="*/ 1368 w 1522"/>
                  <a:gd name="T55" fmla="*/ 47 h 1808"/>
                  <a:gd name="T56" fmla="*/ 1522 w 1522"/>
                  <a:gd name="T57" fmla="*/ 689 h 1808"/>
                  <a:gd name="T58" fmla="*/ 723 w 1522"/>
                  <a:gd name="T59" fmla="*/ 1654 h 1808"/>
                  <a:gd name="T60" fmla="*/ 1119 w 1522"/>
                  <a:gd name="T61" fmla="*/ 1681 h 1808"/>
                  <a:gd name="T62" fmla="*/ 1112 w 1522"/>
                  <a:gd name="T63" fmla="*/ 1801 h 1808"/>
                  <a:gd name="T64" fmla="*/ 300 w 1522"/>
                  <a:gd name="T65" fmla="*/ 1808 h 1808"/>
                  <a:gd name="T66" fmla="*/ 273 w 1522"/>
                  <a:gd name="T67" fmla="*/ 1681 h 1808"/>
                  <a:gd name="T68" fmla="*/ 669 w 1522"/>
                  <a:gd name="T69" fmla="*/ 1654 h 1808"/>
                  <a:gd name="T70" fmla="*/ 123 w 1522"/>
                  <a:gd name="T71" fmla="*/ 1284 h 1808"/>
                  <a:gd name="T72" fmla="*/ 10 w 1522"/>
                  <a:gd name="T73" fmla="*/ 1358 h 1808"/>
                  <a:gd name="T74" fmla="*/ 104 w 1522"/>
                  <a:gd name="T75" fmla="*/ 1225 h 1808"/>
                  <a:gd name="T76" fmla="*/ 143 w 1522"/>
                  <a:gd name="T77" fmla="*/ 1225 h 1808"/>
                  <a:gd name="T78" fmla="*/ 1468 w 1522"/>
                  <a:gd name="T79" fmla="*/ 689 h 1808"/>
                  <a:gd name="T80" fmla="*/ 1227 w 1522"/>
                  <a:gd name="T81" fmla="*/ 121 h 1808"/>
                  <a:gd name="T82" fmla="*/ 1328 w 1522"/>
                  <a:gd name="T83" fmla="*/ 8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22" h="1808">
                    <a:moveTo>
                      <a:pt x="305" y="366"/>
                    </a:moveTo>
                    <a:cubicBezTo>
                      <a:pt x="313" y="454"/>
                      <a:pt x="433" y="860"/>
                      <a:pt x="534" y="961"/>
                    </a:cubicBezTo>
                    <a:cubicBezTo>
                      <a:pt x="617" y="1044"/>
                      <a:pt x="774" y="976"/>
                      <a:pt x="838" y="934"/>
                    </a:cubicBezTo>
                    <a:cubicBezTo>
                      <a:pt x="838" y="934"/>
                      <a:pt x="838" y="934"/>
                      <a:pt x="733" y="829"/>
                    </a:cubicBezTo>
                    <a:cubicBezTo>
                      <a:pt x="733" y="829"/>
                      <a:pt x="733" y="829"/>
                      <a:pt x="556" y="829"/>
                    </a:cubicBezTo>
                    <a:cubicBezTo>
                      <a:pt x="541" y="829"/>
                      <a:pt x="529" y="816"/>
                      <a:pt x="529" y="802"/>
                    </a:cubicBezTo>
                    <a:cubicBezTo>
                      <a:pt x="529" y="787"/>
                      <a:pt x="541" y="775"/>
                      <a:pt x="556" y="775"/>
                    </a:cubicBezTo>
                    <a:cubicBezTo>
                      <a:pt x="556" y="775"/>
                      <a:pt x="556" y="775"/>
                      <a:pt x="679" y="775"/>
                    </a:cubicBezTo>
                    <a:cubicBezTo>
                      <a:pt x="679" y="775"/>
                      <a:pt x="679" y="775"/>
                      <a:pt x="612" y="709"/>
                    </a:cubicBezTo>
                    <a:cubicBezTo>
                      <a:pt x="612" y="709"/>
                      <a:pt x="612" y="709"/>
                      <a:pt x="512" y="709"/>
                    </a:cubicBezTo>
                    <a:cubicBezTo>
                      <a:pt x="494" y="709"/>
                      <a:pt x="482" y="696"/>
                      <a:pt x="482" y="682"/>
                    </a:cubicBezTo>
                    <a:cubicBezTo>
                      <a:pt x="482" y="667"/>
                      <a:pt x="494" y="655"/>
                      <a:pt x="512" y="655"/>
                    </a:cubicBezTo>
                    <a:cubicBezTo>
                      <a:pt x="512" y="655"/>
                      <a:pt x="512" y="655"/>
                      <a:pt x="558" y="655"/>
                    </a:cubicBezTo>
                    <a:cubicBezTo>
                      <a:pt x="558" y="655"/>
                      <a:pt x="558" y="655"/>
                      <a:pt x="460" y="557"/>
                    </a:cubicBezTo>
                    <a:cubicBezTo>
                      <a:pt x="450" y="547"/>
                      <a:pt x="450" y="530"/>
                      <a:pt x="460" y="520"/>
                    </a:cubicBezTo>
                    <a:cubicBezTo>
                      <a:pt x="470" y="510"/>
                      <a:pt x="487" y="510"/>
                      <a:pt x="499" y="520"/>
                    </a:cubicBezTo>
                    <a:cubicBezTo>
                      <a:pt x="499" y="520"/>
                      <a:pt x="499" y="520"/>
                      <a:pt x="595" y="616"/>
                    </a:cubicBezTo>
                    <a:cubicBezTo>
                      <a:pt x="595" y="616"/>
                      <a:pt x="595" y="616"/>
                      <a:pt x="595" y="569"/>
                    </a:cubicBezTo>
                    <a:cubicBezTo>
                      <a:pt x="595" y="554"/>
                      <a:pt x="607" y="542"/>
                      <a:pt x="622" y="542"/>
                    </a:cubicBezTo>
                    <a:cubicBezTo>
                      <a:pt x="637" y="542"/>
                      <a:pt x="649" y="554"/>
                      <a:pt x="649" y="569"/>
                    </a:cubicBezTo>
                    <a:cubicBezTo>
                      <a:pt x="649" y="569"/>
                      <a:pt x="649" y="569"/>
                      <a:pt x="649" y="669"/>
                    </a:cubicBezTo>
                    <a:cubicBezTo>
                      <a:pt x="649" y="669"/>
                      <a:pt x="649" y="669"/>
                      <a:pt x="716" y="736"/>
                    </a:cubicBezTo>
                    <a:cubicBezTo>
                      <a:pt x="716" y="736"/>
                      <a:pt x="716" y="736"/>
                      <a:pt x="716" y="616"/>
                    </a:cubicBezTo>
                    <a:cubicBezTo>
                      <a:pt x="716" y="601"/>
                      <a:pt x="728" y="589"/>
                      <a:pt x="743" y="589"/>
                    </a:cubicBezTo>
                    <a:cubicBezTo>
                      <a:pt x="757" y="589"/>
                      <a:pt x="770" y="601"/>
                      <a:pt x="770" y="616"/>
                    </a:cubicBezTo>
                    <a:cubicBezTo>
                      <a:pt x="770" y="616"/>
                      <a:pt x="770" y="616"/>
                      <a:pt x="770" y="789"/>
                    </a:cubicBezTo>
                    <a:cubicBezTo>
                      <a:pt x="770" y="789"/>
                      <a:pt x="770" y="789"/>
                      <a:pt x="878" y="895"/>
                    </a:cubicBezTo>
                    <a:cubicBezTo>
                      <a:pt x="919" y="834"/>
                      <a:pt x="983" y="679"/>
                      <a:pt x="902" y="596"/>
                    </a:cubicBezTo>
                    <a:cubicBezTo>
                      <a:pt x="806" y="500"/>
                      <a:pt x="394" y="373"/>
                      <a:pt x="305" y="366"/>
                    </a:cubicBezTo>
                    <a:close/>
                    <a:moveTo>
                      <a:pt x="296" y="313"/>
                    </a:moveTo>
                    <a:cubicBezTo>
                      <a:pt x="344" y="312"/>
                      <a:pt x="440" y="335"/>
                      <a:pt x="578" y="383"/>
                    </a:cubicBezTo>
                    <a:cubicBezTo>
                      <a:pt x="662" y="410"/>
                      <a:pt x="866" y="486"/>
                      <a:pt x="939" y="559"/>
                    </a:cubicBezTo>
                    <a:cubicBezTo>
                      <a:pt x="1057" y="674"/>
                      <a:pt x="966" y="863"/>
                      <a:pt x="915" y="934"/>
                    </a:cubicBezTo>
                    <a:cubicBezTo>
                      <a:pt x="969" y="986"/>
                      <a:pt x="1028" y="1025"/>
                      <a:pt x="1094" y="1052"/>
                    </a:cubicBezTo>
                    <a:cubicBezTo>
                      <a:pt x="1109" y="1057"/>
                      <a:pt x="1114" y="1071"/>
                      <a:pt x="1109" y="1086"/>
                    </a:cubicBezTo>
                    <a:cubicBezTo>
                      <a:pt x="1104" y="1096"/>
                      <a:pt x="1094" y="1103"/>
                      <a:pt x="1084" y="1103"/>
                    </a:cubicBezTo>
                    <a:cubicBezTo>
                      <a:pt x="1080" y="1103"/>
                      <a:pt x="1077" y="1103"/>
                      <a:pt x="1075" y="1101"/>
                    </a:cubicBezTo>
                    <a:cubicBezTo>
                      <a:pt x="1001" y="1071"/>
                      <a:pt x="937" y="1030"/>
                      <a:pt x="878" y="973"/>
                    </a:cubicBezTo>
                    <a:cubicBezTo>
                      <a:pt x="829" y="1008"/>
                      <a:pt x="733" y="1054"/>
                      <a:pt x="640" y="1054"/>
                    </a:cubicBezTo>
                    <a:cubicBezTo>
                      <a:pt x="588" y="1054"/>
                      <a:pt x="536" y="1039"/>
                      <a:pt x="495" y="998"/>
                    </a:cubicBezTo>
                    <a:cubicBezTo>
                      <a:pt x="421" y="924"/>
                      <a:pt x="347" y="721"/>
                      <a:pt x="320" y="638"/>
                    </a:cubicBezTo>
                    <a:cubicBezTo>
                      <a:pt x="259" y="451"/>
                      <a:pt x="239" y="346"/>
                      <a:pt x="263" y="322"/>
                    </a:cubicBezTo>
                    <a:cubicBezTo>
                      <a:pt x="269" y="316"/>
                      <a:pt x="280" y="313"/>
                      <a:pt x="296" y="313"/>
                    </a:cubicBezTo>
                    <a:close/>
                    <a:moveTo>
                      <a:pt x="696" y="57"/>
                    </a:moveTo>
                    <a:cubicBezTo>
                      <a:pt x="343" y="57"/>
                      <a:pt x="56" y="342"/>
                      <a:pt x="56" y="694"/>
                    </a:cubicBezTo>
                    <a:cubicBezTo>
                      <a:pt x="56" y="1045"/>
                      <a:pt x="343" y="1330"/>
                      <a:pt x="696" y="1330"/>
                    </a:cubicBezTo>
                    <a:cubicBezTo>
                      <a:pt x="1049" y="1330"/>
                      <a:pt x="1336" y="1045"/>
                      <a:pt x="1336" y="694"/>
                    </a:cubicBezTo>
                    <a:cubicBezTo>
                      <a:pt x="1336" y="342"/>
                      <a:pt x="1049" y="57"/>
                      <a:pt x="696" y="57"/>
                    </a:cubicBezTo>
                    <a:close/>
                    <a:moveTo>
                      <a:pt x="696" y="1"/>
                    </a:moveTo>
                    <a:cubicBezTo>
                      <a:pt x="1079" y="1"/>
                      <a:pt x="1390" y="311"/>
                      <a:pt x="1390" y="693"/>
                    </a:cubicBezTo>
                    <a:cubicBezTo>
                      <a:pt x="1390" y="1074"/>
                      <a:pt x="1079" y="1384"/>
                      <a:pt x="696" y="1384"/>
                    </a:cubicBezTo>
                    <a:cubicBezTo>
                      <a:pt x="313" y="1384"/>
                      <a:pt x="2" y="1074"/>
                      <a:pt x="2" y="693"/>
                    </a:cubicBezTo>
                    <a:cubicBezTo>
                      <a:pt x="2" y="311"/>
                      <a:pt x="313" y="1"/>
                      <a:pt x="696" y="1"/>
                    </a:cubicBezTo>
                    <a:close/>
                    <a:moveTo>
                      <a:pt x="1349" y="0"/>
                    </a:moveTo>
                    <a:cubicBezTo>
                      <a:pt x="1356" y="0"/>
                      <a:pt x="1363" y="3"/>
                      <a:pt x="1368" y="8"/>
                    </a:cubicBezTo>
                    <a:cubicBezTo>
                      <a:pt x="1377" y="20"/>
                      <a:pt x="1377" y="37"/>
                      <a:pt x="1368" y="47"/>
                    </a:cubicBezTo>
                    <a:cubicBezTo>
                      <a:pt x="1368" y="47"/>
                      <a:pt x="1368" y="47"/>
                      <a:pt x="1294" y="121"/>
                    </a:cubicBezTo>
                    <a:cubicBezTo>
                      <a:pt x="1441" y="275"/>
                      <a:pt x="1522" y="476"/>
                      <a:pt x="1522" y="689"/>
                    </a:cubicBezTo>
                    <a:cubicBezTo>
                      <a:pt x="1522" y="1132"/>
                      <a:pt x="1166" y="1495"/>
                      <a:pt x="723" y="1510"/>
                    </a:cubicBezTo>
                    <a:cubicBezTo>
                      <a:pt x="723" y="1510"/>
                      <a:pt x="723" y="1510"/>
                      <a:pt x="723" y="1654"/>
                    </a:cubicBezTo>
                    <a:cubicBezTo>
                      <a:pt x="723" y="1654"/>
                      <a:pt x="723" y="1654"/>
                      <a:pt x="1092" y="1654"/>
                    </a:cubicBezTo>
                    <a:cubicBezTo>
                      <a:pt x="1107" y="1654"/>
                      <a:pt x="1119" y="1666"/>
                      <a:pt x="1119" y="1681"/>
                    </a:cubicBezTo>
                    <a:cubicBezTo>
                      <a:pt x="1119" y="1681"/>
                      <a:pt x="1119" y="1681"/>
                      <a:pt x="1119" y="1782"/>
                    </a:cubicBezTo>
                    <a:cubicBezTo>
                      <a:pt x="1119" y="1789"/>
                      <a:pt x="1117" y="1796"/>
                      <a:pt x="1112" y="1801"/>
                    </a:cubicBezTo>
                    <a:cubicBezTo>
                      <a:pt x="1107" y="1806"/>
                      <a:pt x="1100" y="1808"/>
                      <a:pt x="1092" y="1808"/>
                    </a:cubicBezTo>
                    <a:cubicBezTo>
                      <a:pt x="1092" y="1808"/>
                      <a:pt x="1092" y="1808"/>
                      <a:pt x="300" y="1808"/>
                    </a:cubicBezTo>
                    <a:cubicBezTo>
                      <a:pt x="286" y="1808"/>
                      <a:pt x="273" y="1796"/>
                      <a:pt x="273" y="1782"/>
                    </a:cubicBezTo>
                    <a:cubicBezTo>
                      <a:pt x="273" y="1782"/>
                      <a:pt x="273" y="1782"/>
                      <a:pt x="273" y="1681"/>
                    </a:cubicBezTo>
                    <a:cubicBezTo>
                      <a:pt x="273" y="1666"/>
                      <a:pt x="286" y="1654"/>
                      <a:pt x="300" y="1654"/>
                    </a:cubicBezTo>
                    <a:cubicBezTo>
                      <a:pt x="300" y="1654"/>
                      <a:pt x="300" y="1654"/>
                      <a:pt x="669" y="1654"/>
                    </a:cubicBezTo>
                    <a:cubicBezTo>
                      <a:pt x="669" y="1654"/>
                      <a:pt x="669" y="1654"/>
                      <a:pt x="669" y="1510"/>
                    </a:cubicBezTo>
                    <a:cubicBezTo>
                      <a:pt x="463" y="1505"/>
                      <a:pt x="271" y="1424"/>
                      <a:pt x="123" y="1284"/>
                    </a:cubicBezTo>
                    <a:cubicBezTo>
                      <a:pt x="123" y="1284"/>
                      <a:pt x="123" y="1284"/>
                      <a:pt x="50" y="1358"/>
                    </a:cubicBezTo>
                    <a:cubicBezTo>
                      <a:pt x="40" y="1367"/>
                      <a:pt x="23" y="1367"/>
                      <a:pt x="10" y="1358"/>
                    </a:cubicBezTo>
                    <a:cubicBezTo>
                      <a:pt x="0" y="1345"/>
                      <a:pt x="0" y="1328"/>
                      <a:pt x="10" y="1318"/>
                    </a:cubicBezTo>
                    <a:cubicBezTo>
                      <a:pt x="10" y="1318"/>
                      <a:pt x="10" y="1318"/>
                      <a:pt x="104" y="1225"/>
                    </a:cubicBezTo>
                    <a:cubicBezTo>
                      <a:pt x="109" y="1221"/>
                      <a:pt x="116" y="1218"/>
                      <a:pt x="123" y="1218"/>
                    </a:cubicBezTo>
                    <a:cubicBezTo>
                      <a:pt x="131" y="1218"/>
                      <a:pt x="138" y="1221"/>
                      <a:pt x="143" y="1225"/>
                    </a:cubicBezTo>
                    <a:cubicBezTo>
                      <a:pt x="288" y="1375"/>
                      <a:pt x="485" y="1458"/>
                      <a:pt x="696" y="1458"/>
                    </a:cubicBezTo>
                    <a:cubicBezTo>
                      <a:pt x="1122" y="1458"/>
                      <a:pt x="1468" y="1113"/>
                      <a:pt x="1468" y="689"/>
                    </a:cubicBezTo>
                    <a:cubicBezTo>
                      <a:pt x="1468" y="481"/>
                      <a:pt x="1385" y="287"/>
                      <a:pt x="1235" y="140"/>
                    </a:cubicBezTo>
                    <a:cubicBezTo>
                      <a:pt x="1230" y="135"/>
                      <a:pt x="1227" y="128"/>
                      <a:pt x="1227" y="121"/>
                    </a:cubicBezTo>
                    <a:cubicBezTo>
                      <a:pt x="1227" y="113"/>
                      <a:pt x="1230" y="106"/>
                      <a:pt x="1235" y="101"/>
                    </a:cubicBezTo>
                    <a:cubicBezTo>
                      <a:pt x="1235" y="101"/>
                      <a:pt x="1235" y="101"/>
                      <a:pt x="1328" y="8"/>
                    </a:cubicBezTo>
                    <a:cubicBezTo>
                      <a:pt x="1334" y="3"/>
                      <a:pt x="1342" y="0"/>
                      <a:pt x="1349"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8" name="Group 17"/>
          <p:cNvGrpSpPr/>
          <p:nvPr/>
        </p:nvGrpSpPr>
        <p:grpSpPr>
          <a:xfrm>
            <a:off x="710328" y="4884807"/>
            <a:ext cx="7881519" cy="661444"/>
            <a:chOff x="710327" y="4884806"/>
            <a:chExt cx="7881519" cy="661444"/>
          </a:xfrm>
        </p:grpSpPr>
        <p:sp>
          <p:nvSpPr>
            <p:cNvPr id="95" name="Content Placeholder 13"/>
            <p:cNvSpPr txBox="1">
              <a:spLocks/>
            </p:cNvSpPr>
            <p:nvPr/>
          </p:nvSpPr>
          <p:spPr>
            <a:xfrm>
              <a:off x="1881059" y="4884806"/>
              <a:ext cx="6710787" cy="661444"/>
            </a:xfrm>
            <a:prstGeom prst="rect">
              <a:avLst/>
            </a:prstGeom>
          </p:spPr>
          <p:txBody>
            <a:bodyPr vert="horz" lIns="0" tIns="0" rIns="0" bIns="0" rtlCol="0" anchor="ctr">
              <a:noAutofit/>
            </a:bodyPr>
            <a:lstStyle>
              <a:lvl1pPr marL="180000" indent="-180000" algn="l" defTabSz="914400" rtl="0" eaLnBrk="1" latinLnBrk="0" hangingPunct="1">
                <a:lnSpc>
                  <a:spcPct val="100000"/>
                </a:lnSpc>
                <a:spcBef>
                  <a:spcPts val="0"/>
                </a:spcBef>
                <a:buClr>
                  <a:schemeClr val="accent1"/>
                </a:buClr>
                <a:buFont typeface="Danske Text" panose="00000400000000000000" pitchFamily="2"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buClr>
                  <a:srgbClr val="003755"/>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buClr>
                  <a:srgbClr val="003755"/>
                </a:buClr>
                <a:buFont typeface="Danske Text" panose="00000400000000000000" pitchFamily="2"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buClr>
                  <a:srgbClr val="003755"/>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buClr>
                  <a:schemeClr val="accent1"/>
                </a:buClr>
                <a:buFont typeface="Danske Text" panose="00000400000000000000" pitchFamily="2" charset="0"/>
                <a:buChar char="•"/>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003755"/>
                </a:buClr>
                <a:buFont typeface="+mj-lt"/>
                <a:buAutoNum type="arabicPeriod"/>
                <a:defRPr sz="16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003755"/>
                </a:buClr>
                <a:buFont typeface="+mj-lt"/>
                <a:buAutoNum type="alphaLcPeriod"/>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0"/>
                </a:spcBef>
                <a:buClr>
                  <a:srgbClr val="003755"/>
                </a:buClr>
                <a:buFont typeface="+mj-lt"/>
                <a:buAutoNum type="romanLcPeriod"/>
                <a:defRPr sz="1600" kern="1200" baseline="0">
                  <a:solidFill>
                    <a:schemeClr val="tx1"/>
                  </a:solidFill>
                  <a:latin typeface="+mn-lt"/>
                  <a:ea typeface="+mn-ea"/>
                  <a:cs typeface="+mn-cs"/>
                </a:defRPr>
              </a:lvl8pPr>
              <a:lvl9pPr marL="1620000" indent="-180000" algn="l" defTabSz="914400" rtl="0" eaLnBrk="1" latinLnBrk="0" hangingPunct="1">
                <a:lnSpc>
                  <a:spcPct val="120000"/>
                </a:lnSpc>
                <a:spcBef>
                  <a:spcPts val="0"/>
                </a:spcBef>
                <a:buFont typeface="Arial" panose="020B0604020202020204" pitchFamily="34" charset="0"/>
                <a:buChar char="•"/>
                <a:defRPr sz="900" kern="1200" baseline="0">
                  <a:solidFill>
                    <a:schemeClr val="tx1"/>
                  </a:solidFill>
                  <a:latin typeface="+mn-lt"/>
                  <a:ea typeface="+mn-ea"/>
                  <a:cs typeface="+mn-cs"/>
                </a:defRPr>
              </a:lvl9pPr>
            </a:lstStyle>
            <a:p>
              <a:pPr marL="0" indent="0">
                <a:spcBef>
                  <a:spcPts val="600"/>
                </a:spcBef>
                <a:buNone/>
              </a:pPr>
              <a:r>
                <a:rPr lang="en-GB" sz="1400" dirty="0" smtClean="0">
                  <a:solidFill>
                    <a:srgbClr val="003755"/>
                  </a:solidFill>
                </a:rPr>
                <a:t>Active Ownership Stories</a:t>
              </a:r>
            </a:p>
            <a:p>
              <a:pPr marL="0" indent="0">
                <a:buNone/>
              </a:pPr>
              <a:r>
                <a:rPr lang="lt-LT" sz="1100" dirty="0" smtClean="0">
                  <a:hlinkClick r:id="rId14"/>
                </a:rPr>
                <a:t>Click </a:t>
              </a:r>
              <a:r>
                <a:rPr lang="lt-LT" sz="1100" dirty="0">
                  <a:hlinkClick r:id="rId14"/>
                </a:rPr>
                <a:t>here</a:t>
              </a:r>
              <a:endParaRPr lang="da-DK" sz="1400" dirty="0"/>
            </a:p>
          </p:txBody>
        </p:sp>
        <p:sp>
          <p:nvSpPr>
            <p:cNvPr id="97" name="Rectangle 96"/>
            <p:cNvSpPr/>
            <p:nvPr/>
          </p:nvSpPr>
          <p:spPr>
            <a:xfrm>
              <a:off x="1612516" y="4970650"/>
              <a:ext cx="38326" cy="479081"/>
            </a:xfrm>
            <a:prstGeom prst="rect">
              <a:avLst/>
            </a:prstGeom>
            <a:solidFill>
              <a:srgbClr val="003755"/>
            </a:solidFill>
            <a:ln w="12700" cap="rnd">
              <a:solidFill>
                <a:srgbClr val="003755"/>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smtClean="0">
                <a:solidFill>
                  <a:srgbClr val="000000"/>
                </a:solidFill>
              </a:endParaRPr>
            </a:p>
          </p:txBody>
        </p:sp>
        <p:grpSp>
          <p:nvGrpSpPr>
            <p:cNvPr id="8" name="Group 7"/>
            <p:cNvGrpSpPr/>
            <p:nvPr/>
          </p:nvGrpSpPr>
          <p:grpSpPr>
            <a:xfrm>
              <a:off x="710327" y="4897638"/>
              <a:ext cx="707638" cy="612917"/>
              <a:chOff x="126566" y="4956590"/>
              <a:chExt cx="707638" cy="612917"/>
            </a:xfrm>
          </p:grpSpPr>
          <p:sp>
            <p:nvSpPr>
              <p:cNvPr id="59" name="Hexagon 58"/>
              <p:cNvSpPr>
                <a:spLocks noChangeAspect="1"/>
              </p:cNvSpPr>
              <p:nvPr/>
            </p:nvSpPr>
            <p:spPr>
              <a:xfrm>
                <a:off x="126566" y="4956590"/>
                <a:ext cx="707638" cy="612917"/>
              </a:xfrm>
              <a:prstGeom prst="hexagon">
                <a:avLst/>
              </a:prstGeom>
              <a:solidFill>
                <a:schemeClr val="dk2"/>
              </a:solidFill>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smtClean="0">
                  <a:solidFill>
                    <a:schemeClr val="tx1"/>
                  </a:solidFill>
                </a:endParaRPr>
              </a:p>
            </p:txBody>
          </p:sp>
          <p:sp>
            <p:nvSpPr>
              <p:cNvPr id="49" name="Save"/>
              <p:cNvSpPr>
                <a:spLocks noChangeAspect="1" noChangeArrowheads="1"/>
              </p:cNvSpPr>
              <p:nvPr>
                <p:custDataLst>
                  <p:tags r:id="rId3"/>
                </p:custDataLst>
              </p:nvPr>
            </p:nvSpPr>
            <p:spPr bwMode="auto">
              <a:xfrm>
                <a:off x="305844" y="5080168"/>
                <a:ext cx="365862" cy="365760"/>
              </a:xfrm>
              <a:custGeom>
                <a:avLst/>
                <a:gdLst>
                  <a:gd name="connsiteX0" fmla="*/ 1416050 w 5657850"/>
                  <a:gd name="connsiteY0" fmla="*/ 4244975 h 5656263"/>
                  <a:gd name="connsiteX1" fmla="*/ 3959225 w 5657850"/>
                  <a:gd name="connsiteY1" fmla="*/ 4244975 h 5656263"/>
                  <a:gd name="connsiteX2" fmla="*/ 3959225 w 5657850"/>
                  <a:gd name="connsiteY2" fmla="*/ 4525963 h 5656263"/>
                  <a:gd name="connsiteX3" fmla="*/ 1416050 w 5657850"/>
                  <a:gd name="connsiteY3" fmla="*/ 4525963 h 5656263"/>
                  <a:gd name="connsiteX4" fmla="*/ 1416050 w 5657850"/>
                  <a:gd name="connsiteY4" fmla="*/ 3395663 h 5656263"/>
                  <a:gd name="connsiteX5" fmla="*/ 3959225 w 5657850"/>
                  <a:gd name="connsiteY5" fmla="*/ 3395663 h 5656263"/>
                  <a:gd name="connsiteX6" fmla="*/ 3959225 w 5657850"/>
                  <a:gd name="connsiteY6" fmla="*/ 3676651 h 5656263"/>
                  <a:gd name="connsiteX7" fmla="*/ 1416050 w 5657850"/>
                  <a:gd name="connsiteY7" fmla="*/ 3676651 h 5656263"/>
                  <a:gd name="connsiteX8" fmla="*/ 2828925 w 5657850"/>
                  <a:gd name="connsiteY8" fmla="*/ 423863 h 5656263"/>
                  <a:gd name="connsiteX9" fmla="*/ 2828925 w 5657850"/>
                  <a:gd name="connsiteY9" fmla="*/ 1273176 h 5656263"/>
                  <a:gd name="connsiteX10" fmla="*/ 3109913 w 5657850"/>
                  <a:gd name="connsiteY10" fmla="*/ 1273176 h 5656263"/>
                  <a:gd name="connsiteX11" fmla="*/ 3109913 w 5657850"/>
                  <a:gd name="connsiteY11" fmla="*/ 423863 h 5656263"/>
                  <a:gd name="connsiteX12" fmla="*/ 280988 w 5657850"/>
                  <a:gd name="connsiteY12" fmla="*/ 280988 h 5656263"/>
                  <a:gd name="connsiteX13" fmla="*/ 280988 w 5657850"/>
                  <a:gd name="connsiteY13" fmla="*/ 5375276 h 5656263"/>
                  <a:gd name="connsiteX14" fmla="*/ 5375276 w 5657850"/>
                  <a:gd name="connsiteY14" fmla="*/ 5375276 h 5656263"/>
                  <a:gd name="connsiteX15" fmla="*/ 5375276 w 5657850"/>
                  <a:gd name="connsiteY15" fmla="*/ 1333500 h 5656263"/>
                  <a:gd name="connsiteX16" fmla="*/ 4327526 w 5657850"/>
                  <a:gd name="connsiteY16" fmla="*/ 280988 h 5656263"/>
                  <a:gd name="connsiteX17" fmla="*/ 3676651 w 5657850"/>
                  <a:gd name="connsiteY17" fmla="*/ 280988 h 5656263"/>
                  <a:gd name="connsiteX18" fmla="*/ 3676651 w 5657850"/>
                  <a:gd name="connsiteY18" fmla="*/ 1697038 h 5656263"/>
                  <a:gd name="connsiteX19" fmla="*/ 1416051 w 5657850"/>
                  <a:gd name="connsiteY19" fmla="*/ 1697038 h 5656263"/>
                  <a:gd name="connsiteX20" fmla="*/ 1416051 w 5657850"/>
                  <a:gd name="connsiteY20" fmla="*/ 280988 h 5656263"/>
                  <a:gd name="connsiteX21" fmla="*/ 142761 w 5657850"/>
                  <a:gd name="connsiteY21" fmla="*/ 0 h 5656263"/>
                  <a:gd name="connsiteX22" fmla="*/ 1416341 w 5657850"/>
                  <a:gd name="connsiteY22" fmla="*/ 0 h 5656263"/>
                  <a:gd name="connsiteX23" fmla="*/ 3677978 w 5657850"/>
                  <a:gd name="connsiteY23" fmla="*/ 0 h 5656263"/>
                  <a:gd name="connsiteX24" fmla="*/ 4384270 w 5657850"/>
                  <a:gd name="connsiteY24" fmla="*/ 0 h 5656263"/>
                  <a:gd name="connsiteX25" fmla="*/ 4485706 w 5657850"/>
                  <a:gd name="connsiteY25" fmla="*/ 41314 h 5656263"/>
                  <a:gd name="connsiteX26" fmla="*/ 5616524 w 5657850"/>
                  <a:gd name="connsiteY26" fmla="*/ 1171815 h 5656263"/>
                  <a:gd name="connsiteX27" fmla="*/ 5657850 w 5657850"/>
                  <a:gd name="connsiteY27" fmla="*/ 1273222 h 5656263"/>
                  <a:gd name="connsiteX28" fmla="*/ 5657850 w 5657850"/>
                  <a:gd name="connsiteY28" fmla="*/ 5517297 h 5656263"/>
                  <a:gd name="connsiteX29" fmla="*/ 5515089 w 5657850"/>
                  <a:gd name="connsiteY29" fmla="*/ 5656263 h 5656263"/>
                  <a:gd name="connsiteX30" fmla="*/ 142761 w 5657850"/>
                  <a:gd name="connsiteY30" fmla="*/ 5656263 h 5656263"/>
                  <a:gd name="connsiteX31" fmla="*/ 0 w 5657850"/>
                  <a:gd name="connsiteY31" fmla="*/ 5517297 h 5656263"/>
                  <a:gd name="connsiteX32" fmla="*/ 0 w 5657850"/>
                  <a:gd name="connsiteY32" fmla="*/ 142721 h 5656263"/>
                  <a:gd name="connsiteX33" fmla="*/ 142761 w 5657850"/>
                  <a:gd name="connsiteY33" fmla="*/ 0 h 5656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657850" h="5656263">
                    <a:moveTo>
                      <a:pt x="1416050" y="4244975"/>
                    </a:moveTo>
                    <a:lnTo>
                      <a:pt x="3959225" y="4244975"/>
                    </a:lnTo>
                    <a:lnTo>
                      <a:pt x="3959225" y="4525963"/>
                    </a:lnTo>
                    <a:lnTo>
                      <a:pt x="1416050" y="4525963"/>
                    </a:lnTo>
                    <a:close/>
                    <a:moveTo>
                      <a:pt x="1416050" y="3395663"/>
                    </a:moveTo>
                    <a:lnTo>
                      <a:pt x="3959225" y="3395663"/>
                    </a:lnTo>
                    <a:lnTo>
                      <a:pt x="3959225" y="3676651"/>
                    </a:lnTo>
                    <a:lnTo>
                      <a:pt x="1416050" y="3676651"/>
                    </a:lnTo>
                    <a:close/>
                    <a:moveTo>
                      <a:pt x="2828925" y="423863"/>
                    </a:moveTo>
                    <a:lnTo>
                      <a:pt x="2828925" y="1273176"/>
                    </a:lnTo>
                    <a:lnTo>
                      <a:pt x="3109913" y="1273176"/>
                    </a:lnTo>
                    <a:lnTo>
                      <a:pt x="3109913" y="423863"/>
                    </a:lnTo>
                    <a:close/>
                    <a:moveTo>
                      <a:pt x="280988" y="280988"/>
                    </a:moveTo>
                    <a:lnTo>
                      <a:pt x="280988" y="5375276"/>
                    </a:lnTo>
                    <a:lnTo>
                      <a:pt x="5375276" y="5375276"/>
                    </a:lnTo>
                    <a:lnTo>
                      <a:pt x="5375276" y="1333500"/>
                    </a:lnTo>
                    <a:lnTo>
                      <a:pt x="4327526" y="280988"/>
                    </a:lnTo>
                    <a:lnTo>
                      <a:pt x="3676651" y="280988"/>
                    </a:lnTo>
                    <a:lnTo>
                      <a:pt x="3676651" y="1697038"/>
                    </a:lnTo>
                    <a:lnTo>
                      <a:pt x="1416051" y="1697038"/>
                    </a:lnTo>
                    <a:lnTo>
                      <a:pt x="1416051" y="280988"/>
                    </a:lnTo>
                    <a:close/>
                    <a:moveTo>
                      <a:pt x="142761" y="0"/>
                    </a:moveTo>
                    <a:cubicBezTo>
                      <a:pt x="142761" y="0"/>
                      <a:pt x="142761" y="0"/>
                      <a:pt x="1416341" y="0"/>
                    </a:cubicBezTo>
                    <a:cubicBezTo>
                      <a:pt x="1416341" y="0"/>
                      <a:pt x="1416341" y="0"/>
                      <a:pt x="3677978" y="0"/>
                    </a:cubicBezTo>
                    <a:cubicBezTo>
                      <a:pt x="3677978" y="0"/>
                      <a:pt x="3677978" y="0"/>
                      <a:pt x="4384270" y="0"/>
                    </a:cubicBezTo>
                    <a:cubicBezTo>
                      <a:pt x="4421839" y="0"/>
                      <a:pt x="4459408" y="15023"/>
                      <a:pt x="4485706" y="41314"/>
                    </a:cubicBezTo>
                    <a:cubicBezTo>
                      <a:pt x="4485706" y="41314"/>
                      <a:pt x="4485706" y="41314"/>
                      <a:pt x="5616524" y="1171815"/>
                    </a:cubicBezTo>
                    <a:cubicBezTo>
                      <a:pt x="5642822" y="1198106"/>
                      <a:pt x="5657850" y="1235664"/>
                      <a:pt x="5657850" y="1273222"/>
                    </a:cubicBezTo>
                    <a:cubicBezTo>
                      <a:pt x="5657850" y="1273222"/>
                      <a:pt x="5657850" y="1273222"/>
                      <a:pt x="5657850" y="5517297"/>
                    </a:cubicBezTo>
                    <a:cubicBezTo>
                      <a:pt x="5657850" y="5592414"/>
                      <a:pt x="5593983" y="5656263"/>
                      <a:pt x="5515089" y="5656263"/>
                    </a:cubicBezTo>
                    <a:cubicBezTo>
                      <a:pt x="5515089" y="5656263"/>
                      <a:pt x="5515089" y="5656263"/>
                      <a:pt x="142761" y="5656263"/>
                    </a:cubicBezTo>
                    <a:cubicBezTo>
                      <a:pt x="63867" y="5656263"/>
                      <a:pt x="0" y="5592414"/>
                      <a:pt x="0" y="5517297"/>
                    </a:cubicBezTo>
                    <a:cubicBezTo>
                      <a:pt x="0" y="5517297"/>
                      <a:pt x="0" y="5517297"/>
                      <a:pt x="0" y="142721"/>
                    </a:cubicBezTo>
                    <a:cubicBezTo>
                      <a:pt x="0" y="63849"/>
                      <a:pt x="63867" y="0"/>
                      <a:pt x="142761"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dirty="0"/>
              </a:p>
            </p:txBody>
          </p:sp>
        </p:grpSp>
      </p:grpSp>
      <p:grpSp>
        <p:nvGrpSpPr>
          <p:cNvPr id="19" name="Group 18"/>
          <p:cNvGrpSpPr/>
          <p:nvPr/>
        </p:nvGrpSpPr>
        <p:grpSpPr>
          <a:xfrm>
            <a:off x="710327" y="5713197"/>
            <a:ext cx="7881520" cy="661444"/>
            <a:chOff x="710327" y="5713197"/>
            <a:chExt cx="7881520" cy="661444"/>
          </a:xfrm>
        </p:grpSpPr>
        <p:sp>
          <p:nvSpPr>
            <p:cNvPr id="34" name="Rectangle 33"/>
            <p:cNvSpPr/>
            <p:nvPr/>
          </p:nvSpPr>
          <p:spPr>
            <a:xfrm>
              <a:off x="1612516" y="5799478"/>
              <a:ext cx="38326" cy="479081"/>
            </a:xfrm>
            <a:prstGeom prst="rect">
              <a:avLst/>
            </a:prstGeom>
            <a:solidFill>
              <a:srgbClr val="003755"/>
            </a:solidFill>
            <a:ln w="12700" cap="rnd">
              <a:solidFill>
                <a:srgbClr val="003755"/>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err="1" smtClean="0">
                <a:solidFill>
                  <a:srgbClr val="000000"/>
                </a:solidFill>
              </a:endParaRPr>
            </a:p>
          </p:txBody>
        </p:sp>
        <p:sp>
          <p:nvSpPr>
            <p:cNvPr id="41" name="Content Placeholder 13"/>
            <p:cNvSpPr txBox="1">
              <a:spLocks/>
            </p:cNvSpPr>
            <p:nvPr/>
          </p:nvSpPr>
          <p:spPr>
            <a:xfrm>
              <a:off x="1881060" y="5713197"/>
              <a:ext cx="6710787" cy="661444"/>
            </a:xfrm>
            <a:prstGeom prst="rect">
              <a:avLst/>
            </a:prstGeom>
          </p:spPr>
          <p:txBody>
            <a:bodyPr vert="horz" lIns="0" tIns="0" rIns="0" bIns="0" rtlCol="0" anchor="ctr">
              <a:noAutofit/>
            </a:bodyPr>
            <a:lstStyle>
              <a:lvl1pPr marL="180000" indent="-180000" algn="l" defTabSz="914400" rtl="0" eaLnBrk="1" latinLnBrk="0" hangingPunct="1">
                <a:lnSpc>
                  <a:spcPct val="100000"/>
                </a:lnSpc>
                <a:spcBef>
                  <a:spcPts val="0"/>
                </a:spcBef>
                <a:buClr>
                  <a:schemeClr val="accent1"/>
                </a:buClr>
                <a:buFont typeface="Danske Text" panose="00000400000000000000" pitchFamily="2" charset="0"/>
                <a:buChar char="•"/>
                <a:defRPr sz="1600" kern="1200">
                  <a:solidFill>
                    <a:schemeClr val="tx1"/>
                  </a:solidFill>
                  <a:latin typeface="+mn-lt"/>
                  <a:ea typeface="+mn-ea"/>
                  <a:cs typeface="+mn-cs"/>
                </a:defRPr>
              </a:lvl1pPr>
              <a:lvl2pPr marL="360000" indent="-180000" algn="l" defTabSz="914400" rtl="0" eaLnBrk="1" latinLnBrk="0" hangingPunct="1">
                <a:lnSpc>
                  <a:spcPct val="100000"/>
                </a:lnSpc>
                <a:spcBef>
                  <a:spcPts val="0"/>
                </a:spcBef>
                <a:buClr>
                  <a:srgbClr val="003755"/>
                </a:buClr>
                <a:buFont typeface="Arial" panose="020B0604020202020204" pitchFamily="34" charset="0"/>
                <a:buChar char="‒"/>
                <a:defRPr sz="1600" kern="1200">
                  <a:solidFill>
                    <a:schemeClr val="tx1"/>
                  </a:solidFill>
                  <a:latin typeface="+mn-lt"/>
                  <a:ea typeface="+mn-ea"/>
                  <a:cs typeface="+mn-cs"/>
                </a:defRPr>
              </a:lvl2pPr>
              <a:lvl3pPr marL="540000" indent="-180000" algn="l" defTabSz="914400" rtl="0" eaLnBrk="1" latinLnBrk="0" hangingPunct="1">
                <a:lnSpc>
                  <a:spcPct val="100000"/>
                </a:lnSpc>
                <a:spcBef>
                  <a:spcPts val="0"/>
                </a:spcBef>
                <a:buClr>
                  <a:srgbClr val="003755"/>
                </a:buClr>
                <a:buFont typeface="Danske Text" panose="00000400000000000000" pitchFamily="2"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0"/>
                </a:spcBef>
                <a:buClr>
                  <a:srgbClr val="003755"/>
                </a:buClr>
                <a:buFont typeface="Arial" panose="020B0604020202020204" pitchFamily="34" charset="0"/>
                <a:buChar char="–"/>
                <a:defRPr sz="1600" kern="1200">
                  <a:solidFill>
                    <a:schemeClr val="tx1"/>
                  </a:solidFill>
                  <a:latin typeface="+mn-lt"/>
                  <a:ea typeface="+mn-ea"/>
                  <a:cs typeface="+mn-cs"/>
                </a:defRPr>
              </a:lvl4pPr>
              <a:lvl5pPr marL="900000" indent="-180000" algn="l" defTabSz="914400" rtl="0" eaLnBrk="1" latinLnBrk="0" hangingPunct="1">
                <a:lnSpc>
                  <a:spcPct val="100000"/>
                </a:lnSpc>
                <a:spcBef>
                  <a:spcPts val="0"/>
                </a:spcBef>
                <a:buClr>
                  <a:schemeClr val="accent1"/>
                </a:buClr>
                <a:buFont typeface="Danske Text" panose="00000400000000000000" pitchFamily="2" charset="0"/>
                <a:buChar char="•"/>
                <a:defRPr sz="16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003755"/>
                </a:buClr>
                <a:buFont typeface="+mj-lt"/>
                <a:buAutoNum type="arabicPeriod"/>
                <a:defRPr sz="16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003755"/>
                </a:buClr>
                <a:buFont typeface="+mj-lt"/>
                <a:buAutoNum type="alphaLcPeriod"/>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0"/>
                </a:spcBef>
                <a:buClr>
                  <a:srgbClr val="003755"/>
                </a:buClr>
                <a:buFont typeface="+mj-lt"/>
                <a:buAutoNum type="romanLcPeriod"/>
                <a:defRPr sz="1600" kern="1200" baseline="0">
                  <a:solidFill>
                    <a:schemeClr val="tx1"/>
                  </a:solidFill>
                  <a:latin typeface="+mn-lt"/>
                  <a:ea typeface="+mn-ea"/>
                  <a:cs typeface="+mn-cs"/>
                </a:defRPr>
              </a:lvl8pPr>
              <a:lvl9pPr marL="1620000" indent="-180000" algn="l" defTabSz="914400" rtl="0" eaLnBrk="1" latinLnBrk="0" hangingPunct="1">
                <a:lnSpc>
                  <a:spcPct val="120000"/>
                </a:lnSpc>
                <a:spcBef>
                  <a:spcPts val="0"/>
                </a:spcBef>
                <a:buFont typeface="Arial" panose="020B0604020202020204" pitchFamily="34" charset="0"/>
                <a:buChar char="•"/>
                <a:defRPr sz="900" kern="1200" baseline="0">
                  <a:solidFill>
                    <a:schemeClr val="tx1"/>
                  </a:solidFill>
                  <a:latin typeface="+mn-lt"/>
                  <a:ea typeface="+mn-ea"/>
                  <a:cs typeface="+mn-cs"/>
                </a:defRPr>
              </a:lvl9pPr>
            </a:lstStyle>
            <a:p>
              <a:pPr marL="0" indent="0">
                <a:spcBef>
                  <a:spcPts val="600"/>
                </a:spcBef>
                <a:buNone/>
              </a:pPr>
              <a:r>
                <a:rPr lang="en-GB" sz="1400" dirty="0" smtClean="0">
                  <a:solidFill>
                    <a:srgbClr val="003755"/>
                  </a:solidFill>
                </a:rPr>
                <a:t>Proxy Voting Dashboard</a:t>
              </a:r>
            </a:p>
            <a:p>
              <a:pPr marL="0" indent="0">
                <a:buNone/>
              </a:pPr>
              <a:r>
                <a:rPr lang="lt-LT" sz="1100" dirty="0" smtClean="0">
                  <a:hlinkClick r:id="rId15"/>
                </a:rPr>
                <a:t>Click </a:t>
              </a:r>
              <a:r>
                <a:rPr lang="lt-LT" sz="1100" dirty="0">
                  <a:hlinkClick r:id="rId15"/>
                </a:rPr>
                <a:t>here</a:t>
              </a:r>
              <a:endParaRPr lang="da-DK" sz="1400" dirty="0"/>
            </a:p>
          </p:txBody>
        </p:sp>
        <p:grpSp>
          <p:nvGrpSpPr>
            <p:cNvPr id="9" name="Group 8"/>
            <p:cNvGrpSpPr/>
            <p:nvPr/>
          </p:nvGrpSpPr>
          <p:grpSpPr>
            <a:xfrm>
              <a:off x="710327" y="5728608"/>
              <a:ext cx="707638" cy="612917"/>
              <a:chOff x="62584" y="5686839"/>
              <a:chExt cx="707638" cy="612917"/>
            </a:xfrm>
          </p:grpSpPr>
          <p:sp>
            <p:nvSpPr>
              <p:cNvPr id="60" name="Hexagon 59"/>
              <p:cNvSpPr>
                <a:spLocks noChangeAspect="1"/>
              </p:cNvSpPr>
              <p:nvPr/>
            </p:nvSpPr>
            <p:spPr>
              <a:xfrm>
                <a:off x="62584" y="5686839"/>
                <a:ext cx="707638" cy="612917"/>
              </a:xfrm>
              <a:prstGeom prst="hexagon">
                <a:avLst/>
              </a:prstGeom>
              <a:solidFill>
                <a:schemeClr val="dk2"/>
              </a:solidFill>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600" dirty="0" smtClean="0">
                  <a:solidFill>
                    <a:schemeClr val="tx1"/>
                  </a:solidFill>
                </a:endParaRPr>
              </a:p>
            </p:txBody>
          </p:sp>
          <p:sp>
            <p:nvSpPr>
              <p:cNvPr id="46" name="Matrix"/>
              <p:cNvSpPr>
                <a:spLocks noChangeAspect="1" noEditPoints="1"/>
              </p:cNvSpPr>
              <p:nvPr>
                <p:custDataLst>
                  <p:tags r:id="rId2"/>
                </p:custDataLst>
              </p:nvPr>
            </p:nvSpPr>
            <p:spPr bwMode="auto">
              <a:xfrm>
                <a:off x="224461" y="5856138"/>
                <a:ext cx="383885" cy="274320"/>
              </a:xfrm>
              <a:custGeom>
                <a:avLst/>
                <a:gdLst>
                  <a:gd name="T0" fmla="*/ 2502 w 2560"/>
                  <a:gd name="T1" fmla="*/ 1765 h 1824"/>
                  <a:gd name="T2" fmla="*/ 956 w 2560"/>
                  <a:gd name="T3" fmla="*/ 1505 h 1824"/>
                  <a:gd name="T4" fmla="*/ 1608 w 2560"/>
                  <a:gd name="T5" fmla="*/ 1505 h 1824"/>
                  <a:gd name="T6" fmla="*/ 58 w 2560"/>
                  <a:gd name="T7" fmla="*/ 1765 h 1824"/>
                  <a:gd name="T8" fmla="*/ 58 w 2560"/>
                  <a:gd name="T9" fmla="*/ 1505 h 1824"/>
                  <a:gd name="T10" fmla="*/ 2552 w 2560"/>
                  <a:gd name="T11" fmla="*/ 1454 h 1824"/>
                  <a:gd name="T12" fmla="*/ 2531 w 2560"/>
                  <a:gd name="T13" fmla="*/ 1824 h 1824"/>
                  <a:gd name="T14" fmla="*/ 1790 w 2560"/>
                  <a:gd name="T15" fmla="*/ 1794 h 1824"/>
                  <a:gd name="T16" fmla="*/ 926 w 2560"/>
                  <a:gd name="T17" fmla="*/ 1445 h 1824"/>
                  <a:gd name="T18" fmla="*/ 1666 w 2560"/>
                  <a:gd name="T19" fmla="*/ 1476 h 1824"/>
                  <a:gd name="T20" fmla="*/ 926 w 2560"/>
                  <a:gd name="T21" fmla="*/ 1824 h 1824"/>
                  <a:gd name="T22" fmla="*/ 897 w 2560"/>
                  <a:gd name="T23" fmla="*/ 1476 h 1824"/>
                  <a:gd name="T24" fmla="*/ 741 w 2560"/>
                  <a:gd name="T25" fmla="*/ 1445 h 1824"/>
                  <a:gd name="T26" fmla="*/ 770 w 2560"/>
                  <a:gd name="T27" fmla="*/ 1794 h 1824"/>
                  <a:gd name="T28" fmla="*/ 8 w 2560"/>
                  <a:gd name="T29" fmla="*/ 1816 h 1824"/>
                  <a:gd name="T30" fmla="*/ 29 w 2560"/>
                  <a:gd name="T31" fmla="*/ 1445 h 1824"/>
                  <a:gd name="T32" fmla="*/ 2502 w 2560"/>
                  <a:gd name="T33" fmla="*/ 1283 h 1824"/>
                  <a:gd name="T34" fmla="*/ 956 w 2560"/>
                  <a:gd name="T35" fmla="*/ 1024 h 1824"/>
                  <a:gd name="T36" fmla="*/ 1608 w 2560"/>
                  <a:gd name="T37" fmla="*/ 1024 h 1824"/>
                  <a:gd name="T38" fmla="*/ 59 w 2560"/>
                  <a:gd name="T39" fmla="*/ 1283 h 1824"/>
                  <a:gd name="T40" fmla="*/ 59 w 2560"/>
                  <a:gd name="T41" fmla="*/ 1024 h 1824"/>
                  <a:gd name="T42" fmla="*/ 2552 w 2560"/>
                  <a:gd name="T43" fmla="*/ 973 h 1824"/>
                  <a:gd name="T44" fmla="*/ 2531 w 2560"/>
                  <a:gd name="T45" fmla="*/ 1342 h 1824"/>
                  <a:gd name="T46" fmla="*/ 1790 w 2560"/>
                  <a:gd name="T47" fmla="*/ 1313 h 1824"/>
                  <a:gd name="T48" fmla="*/ 926 w 2560"/>
                  <a:gd name="T49" fmla="*/ 964 h 1824"/>
                  <a:gd name="T50" fmla="*/ 1667 w 2560"/>
                  <a:gd name="T51" fmla="*/ 994 h 1824"/>
                  <a:gd name="T52" fmla="*/ 926 w 2560"/>
                  <a:gd name="T53" fmla="*/ 1342 h 1824"/>
                  <a:gd name="T54" fmla="*/ 897 w 2560"/>
                  <a:gd name="T55" fmla="*/ 994 h 1824"/>
                  <a:gd name="T56" fmla="*/ 741 w 2560"/>
                  <a:gd name="T57" fmla="*/ 964 h 1824"/>
                  <a:gd name="T58" fmla="*/ 770 w 2560"/>
                  <a:gd name="T59" fmla="*/ 1313 h 1824"/>
                  <a:gd name="T60" fmla="*/ 9 w 2560"/>
                  <a:gd name="T61" fmla="*/ 1334 h 1824"/>
                  <a:gd name="T62" fmla="*/ 29 w 2560"/>
                  <a:gd name="T63" fmla="*/ 964 h 1824"/>
                  <a:gd name="T64" fmla="*/ 711 w 2560"/>
                  <a:gd name="T65" fmla="*/ 801 h 1824"/>
                  <a:gd name="T66" fmla="*/ 956 w 2560"/>
                  <a:gd name="T67" fmla="*/ 542 h 1824"/>
                  <a:gd name="T68" fmla="*/ 1608 w 2560"/>
                  <a:gd name="T69" fmla="*/ 542 h 1824"/>
                  <a:gd name="T70" fmla="*/ 1849 w 2560"/>
                  <a:gd name="T71" fmla="*/ 802 h 1824"/>
                  <a:gd name="T72" fmla="*/ 1849 w 2560"/>
                  <a:gd name="T73" fmla="*/ 542 h 1824"/>
                  <a:gd name="T74" fmla="*/ 761 w 2560"/>
                  <a:gd name="T75" fmla="*/ 491 h 1824"/>
                  <a:gd name="T76" fmla="*/ 741 w 2560"/>
                  <a:gd name="T77" fmla="*/ 860 h 1824"/>
                  <a:gd name="T78" fmla="*/ 0 w 2560"/>
                  <a:gd name="T79" fmla="*/ 831 h 1824"/>
                  <a:gd name="T80" fmla="*/ 926 w 2560"/>
                  <a:gd name="T81" fmla="*/ 483 h 1824"/>
                  <a:gd name="T82" fmla="*/ 1667 w 2560"/>
                  <a:gd name="T83" fmla="*/ 512 h 1824"/>
                  <a:gd name="T84" fmla="*/ 926 w 2560"/>
                  <a:gd name="T85" fmla="*/ 860 h 1824"/>
                  <a:gd name="T86" fmla="*/ 897 w 2560"/>
                  <a:gd name="T87" fmla="*/ 512 h 1824"/>
                  <a:gd name="T88" fmla="*/ 2531 w 2560"/>
                  <a:gd name="T89" fmla="*/ 483 h 1824"/>
                  <a:gd name="T90" fmla="*/ 2560 w 2560"/>
                  <a:gd name="T91" fmla="*/ 831 h 1824"/>
                  <a:gd name="T92" fmla="*/ 1799 w 2560"/>
                  <a:gd name="T93" fmla="*/ 853 h 1824"/>
                  <a:gd name="T94" fmla="*/ 1820 w 2560"/>
                  <a:gd name="T95" fmla="*/ 483 h 1824"/>
                  <a:gd name="T96" fmla="*/ 2552 w 2560"/>
                  <a:gd name="T97" fmla="*/ 9 h 1824"/>
                  <a:gd name="T98" fmla="*/ 2531 w 2560"/>
                  <a:gd name="T99" fmla="*/ 379 h 1824"/>
                  <a:gd name="T100" fmla="*/ 1790 w 2560"/>
                  <a:gd name="T101" fmla="*/ 349 h 1824"/>
                  <a:gd name="T102" fmla="*/ 29 w 2560"/>
                  <a:gd name="T103" fmla="*/ 0 h 1824"/>
                  <a:gd name="T104" fmla="*/ 770 w 2560"/>
                  <a:gd name="T105" fmla="*/ 31 h 1824"/>
                  <a:gd name="T106" fmla="*/ 29 w 2560"/>
                  <a:gd name="T107" fmla="*/ 379 h 1824"/>
                  <a:gd name="T108" fmla="*/ 0 w 2560"/>
                  <a:gd name="T109" fmla="*/ 31 h 1824"/>
                  <a:gd name="T110" fmla="*/ 1637 w 2560"/>
                  <a:gd name="T111" fmla="*/ 0 h 1824"/>
                  <a:gd name="T112" fmla="*/ 1667 w 2560"/>
                  <a:gd name="T113" fmla="*/ 349 h 1824"/>
                  <a:gd name="T114" fmla="*/ 906 w 2560"/>
                  <a:gd name="T115" fmla="*/ 370 h 1824"/>
                  <a:gd name="T116" fmla="*/ 927 w 2560"/>
                  <a:gd name="T117" fmla="*/ 0 h 1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60" h="1824">
                    <a:moveTo>
                      <a:pt x="1849" y="1505"/>
                    </a:moveTo>
                    <a:lnTo>
                      <a:pt x="1849" y="1765"/>
                    </a:lnTo>
                    <a:lnTo>
                      <a:pt x="2502" y="1765"/>
                    </a:lnTo>
                    <a:lnTo>
                      <a:pt x="2502" y="1505"/>
                    </a:lnTo>
                    <a:lnTo>
                      <a:pt x="1849" y="1505"/>
                    </a:lnTo>
                    <a:close/>
                    <a:moveTo>
                      <a:pt x="956" y="1505"/>
                    </a:moveTo>
                    <a:lnTo>
                      <a:pt x="956" y="1765"/>
                    </a:lnTo>
                    <a:lnTo>
                      <a:pt x="1607" y="1765"/>
                    </a:lnTo>
                    <a:lnTo>
                      <a:pt x="1608" y="1505"/>
                    </a:lnTo>
                    <a:lnTo>
                      <a:pt x="956" y="1505"/>
                    </a:lnTo>
                    <a:close/>
                    <a:moveTo>
                      <a:pt x="58" y="1505"/>
                    </a:moveTo>
                    <a:lnTo>
                      <a:pt x="58" y="1765"/>
                    </a:lnTo>
                    <a:lnTo>
                      <a:pt x="711" y="1765"/>
                    </a:lnTo>
                    <a:lnTo>
                      <a:pt x="711" y="1505"/>
                    </a:lnTo>
                    <a:lnTo>
                      <a:pt x="58" y="1505"/>
                    </a:lnTo>
                    <a:close/>
                    <a:moveTo>
                      <a:pt x="1820" y="1445"/>
                    </a:moveTo>
                    <a:cubicBezTo>
                      <a:pt x="1820" y="1445"/>
                      <a:pt x="1820" y="1445"/>
                      <a:pt x="2531" y="1445"/>
                    </a:cubicBezTo>
                    <a:cubicBezTo>
                      <a:pt x="2538" y="1445"/>
                      <a:pt x="2546" y="1449"/>
                      <a:pt x="2552" y="1454"/>
                    </a:cubicBezTo>
                    <a:cubicBezTo>
                      <a:pt x="2557" y="1460"/>
                      <a:pt x="2560" y="1468"/>
                      <a:pt x="2560" y="1476"/>
                    </a:cubicBezTo>
                    <a:cubicBezTo>
                      <a:pt x="2560" y="1476"/>
                      <a:pt x="2560" y="1476"/>
                      <a:pt x="2560" y="1794"/>
                    </a:cubicBezTo>
                    <a:cubicBezTo>
                      <a:pt x="2560" y="1811"/>
                      <a:pt x="2547" y="1824"/>
                      <a:pt x="2531" y="1824"/>
                    </a:cubicBezTo>
                    <a:cubicBezTo>
                      <a:pt x="2531" y="1824"/>
                      <a:pt x="2531" y="1824"/>
                      <a:pt x="1819" y="1824"/>
                    </a:cubicBezTo>
                    <a:cubicBezTo>
                      <a:pt x="1811" y="1824"/>
                      <a:pt x="1805" y="1822"/>
                      <a:pt x="1799" y="1816"/>
                    </a:cubicBezTo>
                    <a:cubicBezTo>
                      <a:pt x="1793" y="1810"/>
                      <a:pt x="1790" y="1802"/>
                      <a:pt x="1790" y="1794"/>
                    </a:cubicBezTo>
                    <a:cubicBezTo>
                      <a:pt x="1790" y="1794"/>
                      <a:pt x="1790" y="1794"/>
                      <a:pt x="1790" y="1476"/>
                    </a:cubicBezTo>
                    <a:cubicBezTo>
                      <a:pt x="1790" y="1459"/>
                      <a:pt x="1804" y="1445"/>
                      <a:pt x="1820" y="1445"/>
                    </a:cubicBezTo>
                    <a:close/>
                    <a:moveTo>
                      <a:pt x="926" y="1445"/>
                    </a:moveTo>
                    <a:cubicBezTo>
                      <a:pt x="926" y="1445"/>
                      <a:pt x="926" y="1445"/>
                      <a:pt x="1637" y="1445"/>
                    </a:cubicBezTo>
                    <a:cubicBezTo>
                      <a:pt x="1645" y="1445"/>
                      <a:pt x="1652" y="1449"/>
                      <a:pt x="1658" y="1454"/>
                    </a:cubicBezTo>
                    <a:cubicBezTo>
                      <a:pt x="1663" y="1460"/>
                      <a:pt x="1666" y="1468"/>
                      <a:pt x="1666" y="1476"/>
                    </a:cubicBezTo>
                    <a:cubicBezTo>
                      <a:pt x="1666" y="1476"/>
                      <a:pt x="1666" y="1476"/>
                      <a:pt x="1666" y="1794"/>
                    </a:cubicBezTo>
                    <a:cubicBezTo>
                      <a:pt x="1666" y="1811"/>
                      <a:pt x="1653" y="1824"/>
                      <a:pt x="1637" y="1824"/>
                    </a:cubicBezTo>
                    <a:cubicBezTo>
                      <a:pt x="1637" y="1824"/>
                      <a:pt x="1637" y="1824"/>
                      <a:pt x="926" y="1824"/>
                    </a:cubicBezTo>
                    <a:cubicBezTo>
                      <a:pt x="918" y="1824"/>
                      <a:pt x="911" y="1822"/>
                      <a:pt x="906" y="1816"/>
                    </a:cubicBezTo>
                    <a:cubicBezTo>
                      <a:pt x="900" y="1810"/>
                      <a:pt x="897" y="1802"/>
                      <a:pt x="897" y="1794"/>
                    </a:cubicBezTo>
                    <a:cubicBezTo>
                      <a:pt x="897" y="1794"/>
                      <a:pt x="897" y="1794"/>
                      <a:pt x="897" y="1476"/>
                    </a:cubicBezTo>
                    <a:cubicBezTo>
                      <a:pt x="897" y="1459"/>
                      <a:pt x="911" y="1445"/>
                      <a:pt x="926" y="1445"/>
                    </a:cubicBezTo>
                    <a:close/>
                    <a:moveTo>
                      <a:pt x="29" y="1445"/>
                    </a:moveTo>
                    <a:cubicBezTo>
                      <a:pt x="29" y="1445"/>
                      <a:pt x="29" y="1445"/>
                      <a:pt x="741" y="1445"/>
                    </a:cubicBezTo>
                    <a:cubicBezTo>
                      <a:pt x="749" y="1445"/>
                      <a:pt x="755" y="1449"/>
                      <a:pt x="761" y="1454"/>
                    </a:cubicBezTo>
                    <a:cubicBezTo>
                      <a:pt x="767" y="1460"/>
                      <a:pt x="770" y="1468"/>
                      <a:pt x="770" y="1476"/>
                    </a:cubicBezTo>
                    <a:cubicBezTo>
                      <a:pt x="770" y="1476"/>
                      <a:pt x="770" y="1476"/>
                      <a:pt x="770" y="1794"/>
                    </a:cubicBezTo>
                    <a:cubicBezTo>
                      <a:pt x="770" y="1811"/>
                      <a:pt x="756" y="1824"/>
                      <a:pt x="741" y="1824"/>
                    </a:cubicBezTo>
                    <a:cubicBezTo>
                      <a:pt x="741" y="1824"/>
                      <a:pt x="741" y="1824"/>
                      <a:pt x="29" y="1824"/>
                    </a:cubicBezTo>
                    <a:cubicBezTo>
                      <a:pt x="22" y="1824"/>
                      <a:pt x="14" y="1822"/>
                      <a:pt x="8" y="1816"/>
                    </a:cubicBezTo>
                    <a:cubicBezTo>
                      <a:pt x="3" y="1810"/>
                      <a:pt x="0" y="1802"/>
                      <a:pt x="0" y="1794"/>
                    </a:cubicBezTo>
                    <a:cubicBezTo>
                      <a:pt x="0" y="1794"/>
                      <a:pt x="0" y="1794"/>
                      <a:pt x="0" y="1476"/>
                    </a:cubicBezTo>
                    <a:cubicBezTo>
                      <a:pt x="0" y="1459"/>
                      <a:pt x="13" y="1445"/>
                      <a:pt x="29" y="1445"/>
                    </a:cubicBezTo>
                    <a:close/>
                    <a:moveTo>
                      <a:pt x="1849" y="1024"/>
                    </a:moveTo>
                    <a:lnTo>
                      <a:pt x="1849" y="1283"/>
                    </a:lnTo>
                    <a:lnTo>
                      <a:pt x="2502" y="1283"/>
                    </a:lnTo>
                    <a:lnTo>
                      <a:pt x="2502" y="1024"/>
                    </a:lnTo>
                    <a:lnTo>
                      <a:pt x="1849" y="1024"/>
                    </a:lnTo>
                    <a:close/>
                    <a:moveTo>
                      <a:pt x="956" y="1024"/>
                    </a:moveTo>
                    <a:lnTo>
                      <a:pt x="956" y="1283"/>
                    </a:lnTo>
                    <a:lnTo>
                      <a:pt x="1608" y="1283"/>
                    </a:lnTo>
                    <a:lnTo>
                      <a:pt x="1608" y="1024"/>
                    </a:lnTo>
                    <a:lnTo>
                      <a:pt x="956" y="1024"/>
                    </a:lnTo>
                    <a:close/>
                    <a:moveTo>
                      <a:pt x="59" y="1024"/>
                    </a:moveTo>
                    <a:lnTo>
                      <a:pt x="59" y="1283"/>
                    </a:lnTo>
                    <a:lnTo>
                      <a:pt x="711" y="1283"/>
                    </a:lnTo>
                    <a:lnTo>
                      <a:pt x="711" y="1024"/>
                    </a:lnTo>
                    <a:lnTo>
                      <a:pt x="59" y="1024"/>
                    </a:lnTo>
                    <a:close/>
                    <a:moveTo>
                      <a:pt x="1820" y="964"/>
                    </a:moveTo>
                    <a:cubicBezTo>
                      <a:pt x="1820" y="964"/>
                      <a:pt x="1820" y="964"/>
                      <a:pt x="2531" y="964"/>
                    </a:cubicBezTo>
                    <a:cubicBezTo>
                      <a:pt x="2538" y="964"/>
                      <a:pt x="2546" y="967"/>
                      <a:pt x="2552" y="973"/>
                    </a:cubicBezTo>
                    <a:cubicBezTo>
                      <a:pt x="2557" y="978"/>
                      <a:pt x="2560" y="986"/>
                      <a:pt x="2560" y="994"/>
                    </a:cubicBezTo>
                    <a:cubicBezTo>
                      <a:pt x="2560" y="994"/>
                      <a:pt x="2560" y="994"/>
                      <a:pt x="2560" y="1313"/>
                    </a:cubicBezTo>
                    <a:cubicBezTo>
                      <a:pt x="2560" y="1330"/>
                      <a:pt x="2547" y="1342"/>
                      <a:pt x="2531" y="1342"/>
                    </a:cubicBezTo>
                    <a:cubicBezTo>
                      <a:pt x="2531" y="1342"/>
                      <a:pt x="2531" y="1342"/>
                      <a:pt x="1820" y="1342"/>
                    </a:cubicBezTo>
                    <a:cubicBezTo>
                      <a:pt x="1811" y="1342"/>
                      <a:pt x="1805" y="1339"/>
                      <a:pt x="1799" y="1334"/>
                    </a:cubicBezTo>
                    <a:cubicBezTo>
                      <a:pt x="1793" y="1328"/>
                      <a:pt x="1790" y="1321"/>
                      <a:pt x="1790" y="1313"/>
                    </a:cubicBezTo>
                    <a:cubicBezTo>
                      <a:pt x="1790" y="1313"/>
                      <a:pt x="1790" y="1313"/>
                      <a:pt x="1790" y="994"/>
                    </a:cubicBezTo>
                    <a:cubicBezTo>
                      <a:pt x="1790" y="977"/>
                      <a:pt x="1804" y="964"/>
                      <a:pt x="1820" y="964"/>
                    </a:cubicBezTo>
                    <a:close/>
                    <a:moveTo>
                      <a:pt x="926" y="964"/>
                    </a:moveTo>
                    <a:cubicBezTo>
                      <a:pt x="926" y="964"/>
                      <a:pt x="926" y="964"/>
                      <a:pt x="1637" y="964"/>
                    </a:cubicBezTo>
                    <a:cubicBezTo>
                      <a:pt x="1645" y="964"/>
                      <a:pt x="1653" y="967"/>
                      <a:pt x="1659" y="973"/>
                    </a:cubicBezTo>
                    <a:cubicBezTo>
                      <a:pt x="1663" y="978"/>
                      <a:pt x="1667" y="986"/>
                      <a:pt x="1667" y="994"/>
                    </a:cubicBezTo>
                    <a:cubicBezTo>
                      <a:pt x="1667" y="994"/>
                      <a:pt x="1667" y="994"/>
                      <a:pt x="1666" y="1313"/>
                    </a:cubicBezTo>
                    <a:cubicBezTo>
                      <a:pt x="1666" y="1329"/>
                      <a:pt x="1654" y="1342"/>
                      <a:pt x="1637" y="1342"/>
                    </a:cubicBezTo>
                    <a:cubicBezTo>
                      <a:pt x="1637" y="1342"/>
                      <a:pt x="1637" y="1342"/>
                      <a:pt x="926" y="1342"/>
                    </a:cubicBezTo>
                    <a:cubicBezTo>
                      <a:pt x="918" y="1342"/>
                      <a:pt x="912" y="1339"/>
                      <a:pt x="906" y="1334"/>
                    </a:cubicBezTo>
                    <a:cubicBezTo>
                      <a:pt x="900" y="1328"/>
                      <a:pt x="897" y="1321"/>
                      <a:pt x="897" y="1313"/>
                    </a:cubicBezTo>
                    <a:cubicBezTo>
                      <a:pt x="897" y="1313"/>
                      <a:pt x="897" y="1313"/>
                      <a:pt x="897" y="994"/>
                    </a:cubicBezTo>
                    <a:cubicBezTo>
                      <a:pt x="897" y="977"/>
                      <a:pt x="911" y="964"/>
                      <a:pt x="926" y="964"/>
                    </a:cubicBezTo>
                    <a:close/>
                    <a:moveTo>
                      <a:pt x="29" y="964"/>
                    </a:moveTo>
                    <a:cubicBezTo>
                      <a:pt x="29" y="964"/>
                      <a:pt x="29" y="964"/>
                      <a:pt x="741" y="964"/>
                    </a:cubicBezTo>
                    <a:cubicBezTo>
                      <a:pt x="749" y="964"/>
                      <a:pt x="756" y="967"/>
                      <a:pt x="761" y="973"/>
                    </a:cubicBezTo>
                    <a:cubicBezTo>
                      <a:pt x="767" y="978"/>
                      <a:pt x="770" y="986"/>
                      <a:pt x="770" y="994"/>
                    </a:cubicBezTo>
                    <a:cubicBezTo>
                      <a:pt x="770" y="994"/>
                      <a:pt x="770" y="994"/>
                      <a:pt x="770" y="1313"/>
                    </a:cubicBezTo>
                    <a:cubicBezTo>
                      <a:pt x="770" y="1329"/>
                      <a:pt x="757" y="1342"/>
                      <a:pt x="741" y="1342"/>
                    </a:cubicBezTo>
                    <a:cubicBezTo>
                      <a:pt x="741" y="1342"/>
                      <a:pt x="741" y="1342"/>
                      <a:pt x="29" y="1342"/>
                    </a:cubicBezTo>
                    <a:cubicBezTo>
                      <a:pt x="22" y="1342"/>
                      <a:pt x="14" y="1339"/>
                      <a:pt x="9" y="1334"/>
                    </a:cubicBezTo>
                    <a:cubicBezTo>
                      <a:pt x="3" y="1328"/>
                      <a:pt x="0" y="1321"/>
                      <a:pt x="0" y="1313"/>
                    </a:cubicBezTo>
                    <a:cubicBezTo>
                      <a:pt x="0" y="1313"/>
                      <a:pt x="0" y="1313"/>
                      <a:pt x="0" y="994"/>
                    </a:cubicBezTo>
                    <a:cubicBezTo>
                      <a:pt x="0" y="977"/>
                      <a:pt x="13" y="964"/>
                      <a:pt x="29" y="964"/>
                    </a:cubicBezTo>
                    <a:close/>
                    <a:moveTo>
                      <a:pt x="59" y="542"/>
                    </a:moveTo>
                    <a:lnTo>
                      <a:pt x="59" y="801"/>
                    </a:lnTo>
                    <a:lnTo>
                      <a:pt x="711" y="801"/>
                    </a:lnTo>
                    <a:lnTo>
                      <a:pt x="711" y="542"/>
                    </a:lnTo>
                    <a:lnTo>
                      <a:pt x="59" y="542"/>
                    </a:lnTo>
                    <a:close/>
                    <a:moveTo>
                      <a:pt x="956" y="542"/>
                    </a:moveTo>
                    <a:lnTo>
                      <a:pt x="956" y="801"/>
                    </a:lnTo>
                    <a:lnTo>
                      <a:pt x="1608" y="802"/>
                    </a:lnTo>
                    <a:lnTo>
                      <a:pt x="1608" y="542"/>
                    </a:lnTo>
                    <a:lnTo>
                      <a:pt x="956" y="542"/>
                    </a:lnTo>
                    <a:close/>
                    <a:moveTo>
                      <a:pt x="1849" y="542"/>
                    </a:moveTo>
                    <a:lnTo>
                      <a:pt x="1849" y="802"/>
                    </a:lnTo>
                    <a:lnTo>
                      <a:pt x="2502" y="802"/>
                    </a:lnTo>
                    <a:lnTo>
                      <a:pt x="2502" y="542"/>
                    </a:lnTo>
                    <a:lnTo>
                      <a:pt x="1849" y="542"/>
                    </a:lnTo>
                    <a:close/>
                    <a:moveTo>
                      <a:pt x="29" y="483"/>
                    </a:moveTo>
                    <a:cubicBezTo>
                      <a:pt x="29" y="483"/>
                      <a:pt x="29" y="483"/>
                      <a:pt x="741" y="483"/>
                    </a:cubicBezTo>
                    <a:cubicBezTo>
                      <a:pt x="749" y="483"/>
                      <a:pt x="756" y="486"/>
                      <a:pt x="761" y="491"/>
                    </a:cubicBezTo>
                    <a:cubicBezTo>
                      <a:pt x="767" y="497"/>
                      <a:pt x="770" y="504"/>
                      <a:pt x="770" y="512"/>
                    </a:cubicBezTo>
                    <a:cubicBezTo>
                      <a:pt x="770" y="512"/>
                      <a:pt x="770" y="512"/>
                      <a:pt x="770" y="831"/>
                    </a:cubicBezTo>
                    <a:cubicBezTo>
                      <a:pt x="770" y="848"/>
                      <a:pt x="757" y="860"/>
                      <a:pt x="741" y="860"/>
                    </a:cubicBezTo>
                    <a:cubicBezTo>
                      <a:pt x="741" y="860"/>
                      <a:pt x="741" y="860"/>
                      <a:pt x="29" y="860"/>
                    </a:cubicBezTo>
                    <a:cubicBezTo>
                      <a:pt x="22" y="860"/>
                      <a:pt x="14" y="858"/>
                      <a:pt x="9" y="852"/>
                    </a:cubicBezTo>
                    <a:cubicBezTo>
                      <a:pt x="3" y="847"/>
                      <a:pt x="0" y="839"/>
                      <a:pt x="0" y="831"/>
                    </a:cubicBezTo>
                    <a:cubicBezTo>
                      <a:pt x="0" y="831"/>
                      <a:pt x="0" y="831"/>
                      <a:pt x="0" y="512"/>
                    </a:cubicBezTo>
                    <a:cubicBezTo>
                      <a:pt x="0" y="495"/>
                      <a:pt x="13" y="483"/>
                      <a:pt x="29" y="483"/>
                    </a:cubicBezTo>
                    <a:close/>
                    <a:moveTo>
                      <a:pt x="926" y="483"/>
                    </a:moveTo>
                    <a:cubicBezTo>
                      <a:pt x="926" y="483"/>
                      <a:pt x="926" y="483"/>
                      <a:pt x="1637" y="483"/>
                    </a:cubicBezTo>
                    <a:cubicBezTo>
                      <a:pt x="1645" y="483"/>
                      <a:pt x="1653" y="486"/>
                      <a:pt x="1659" y="491"/>
                    </a:cubicBezTo>
                    <a:cubicBezTo>
                      <a:pt x="1663" y="497"/>
                      <a:pt x="1667" y="504"/>
                      <a:pt x="1667" y="512"/>
                    </a:cubicBezTo>
                    <a:cubicBezTo>
                      <a:pt x="1667" y="512"/>
                      <a:pt x="1667" y="512"/>
                      <a:pt x="1667" y="831"/>
                    </a:cubicBezTo>
                    <a:cubicBezTo>
                      <a:pt x="1667" y="848"/>
                      <a:pt x="1654" y="860"/>
                      <a:pt x="1637" y="860"/>
                    </a:cubicBezTo>
                    <a:cubicBezTo>
                      <a:pt x="1637" y="860"/>
                      <a:pt x="1637" y="860"/>
                      <a:pt x="926" y="860"/>
                    </a:cubicBezTo>
                    <a:cubicBezTo>
                      <a:pt x="918" y="860"/>
                      <a:pt x="912" y="858"/>
                      <a:pt x="906" y="852"/>
                    </a:cubicBezTo>
                    <a:cubicBezTo>
                      <a:pt x="900" y="847"/>
                      <a:pt x="897" y="839"/>
                      <a:pt x="897" y="831"/>
                    </a:cubicBezTo>
                    <a:cubicBezTo>
                      <a:pt x="897" y="831"/>
                      <a:pt x="897" y="831"/>
                      <a:pt x="897" y="512"/>
                    </a:cubicBezTo>
                    <a:cubicBezTo>
                      <a:pt x="897" y="496"/>
                      <a:pt x="911" y="483"/>
                      <a:pt x="926" y="483"/>
                    </a:cubicBezTo>
                    <a:close/>
                    <a:moveTo>
                      <a:pt x="1820" y="483"/>
                    </a:moveTo>
                    <a:cubicBezTo>
                      <a:pt x="1820" y="483"/>
                      <a:pt x="1820" y="483"/>
                      <a:pt x="2531" y="483"/>
                    </a:cubicBezTo>
                    <a:cubicBezTo>
                      <a:pt x="2538" y="483"/>
                      <a:pt x="2546" y="486"/>
                      <a:pt x="2552" y="491"/>
                    </a:cubicBezTo>
                    <a:cubicBezTo>
                      <a:pt x="2558" y="497"/>
                      <a:pt x="2560" y="504"/>
                      <a:pt x="2560" y="512"/>
                    </a:cubicBezTo>
                    <a:cubicBezTo>
                      <a:pt x="2560" y="512"/>
                      <a:pt x="2560" y="512"/>
                      <a:pt x="2560" y="831"/>
                    </a:cubicBezTo>
                    <a:cubicBezTo>
                      <a:pt x="2560" y="848"/>
                      <a:pt x="2547" y="860"/>
                      <a:pt x="2531" y="860"/>
                    </a:cubicBezTo>
                    <a:cubicBezTo>
                      <a:pt x="2531" y="860"/>
                      <a:pt x="2531" y="860"/>
                      <a:pt x="1820" y="860"/>
                    </a:cubicBezTo>
                    <a:cubicBezTo>
                      <a:pt x="1812" y="860"/>
                      <a:pt x="1805" y="858"/>
                      <a:pt x="1799" y="853"/>
                    </a:cubicBezTo>
                    <a:cubicBezTo>
                      <a:pt x="1793" y="847"/>
                      <a:pt x="1790" y="839"/>
                      <a:pt x="1790" y="831"/>
                    </a:cubicBezTo>
                    <a:cubicBezTo>
                      <a:pt x="1790" y="831"/>
                      <a:pt x="1790" y="831"/>
                      <a:pt x="1790" y="512"/>
                    </a:cubicBezTo>
                    <a:cubicBezTo>
                      <a:pt x="1790" y="496"/>
                      <a:pt x="1804" y="483"/>
                      <a:pt x="1820" y="483"/>
                    </a:cubicBezTo>
                    <a:close/>
                    <a:moveTo>
                      <a:pt x="1820" y="0"/>
                    </a:moveTo>
                    <a:cubicBezTo>
                      <a:pt x="1820" y="0"/>
                      <a:pt x="1820" y="0"/>
                      <a:pt x="2531" y="0"/>
                    </a:cubicBezTo>
                    <a:cubicBezTo>
                      <a:pt x="2538" y="0"/>
                      <a:pt x="2546" y="3"/>
                      <a:pt x="2552" y="9"/>
                    </a:cubicBezTo>
                    <a:cubicBezTo>
                      <a:pt x="2558" y="15"/>
                      <a:pt x="2560" y="23"/>
                      <a:pt x="2560" y="31"/>
                    </a:cubicBezTo>
                    <a:cubicBezTo>
                      <a:pt x="2560" y="31"/>
                      <a:pt x="2560" y="31"/>
                      <a:pt x="2560" y="349"/>
                    </a:cubicBezTo>
                    <a:cubicBezTo>
                      <a:pt x="2560" y="366"/>
                      <a:pt x="2547" y="379"/>
                      <a:pt x="2531" y="379"/>
                    </a:cubicBezTo>
                    <a:cubicBezTo>
                      <a:pt x="2531" y="379"/>
                      <a:pt x="2531" y="379"/>
                      <a:pt x="1820" y="379"/>
                    </a:cubicBezTo>
                    <a:cubicBezTo>
                      <a:pt x="1812" y="379"/>
                      <a:pt x="1805" y="375"/>
                      <a:pt x="1799" y="370"/>
                    </a:cubicBezTo>
                    <a:cubicBezTo>
                      <a:pt x="1793" y="365"/>
                      <a:pt x="1790" y="357"/>
                      <a:pt x="1790" y="349"/>
                    </a:cubicBezTo>
                    <a:cubicBezTo>
                      <a:pt x="1790" y="349"/>
                      <a:pt x="1790" y="349"/>
                      <a:pt x="1790" y="31"/>
                    </a:cubicBezTo>
                    <a:cubicBezTo>
                      <a:pt x="1790" y="14"/>
                      <a:pt x="1804" y="0"/>
                      <a:pt x="1820" y="0"/>
                    </a:cubicBezTo>
                    <a:close/>
                    <a:moveTo>
                      <a:pt x="29" y="0"/>
                    </a:moveTo>
                    <a:cubicBezTo>
                      <a:pt x="29" y="0"/>
                      <a:pt x="29" y="0"/>
                      <a:pt x="741" y="0"/>
                    </a:cubicBezTo>
                    <a:cubicBezTo>
                      <a:pt x="749" y="0"/>
                      <a:pt x="756" y="3"/>
                      <a:pt x="761" y="9"/>
                    </a:cubicBezTo>
                    <a:cubicBezTo>
                      <a:pt x="767" y="15"/>
                      <a:pt x="770" y="23"/>
                      <a:pt x="770" y="31"/>
                    </a:cubicBezTo>
                    <a:cubicBezTo>
                      <a:pt x="770" y="31"/>
                      <a:pt x="770" y="31"/>
                      <a:pt x="770" y="349"/>
                    </a:cubicBezTo>
                    <a:cubicBezTo>
                      <a:pt x="770" y="366"/>
                      <a:pt x="757" y="379"/>
                      <a:pt x="741" y="379"/>
                    </a:cubicBezTo>
                    <a:cubicBezTo>
                      <a:pt x="741" y="379"/>
                      <a:pt x="741" y="379"/>
                      <a:pt x="29" y="379"/>
                    </a:cubicBezTo>
                    <a:cubicBezTo>
                      <a:pt x="22" y="379"/>
                      <a:pt x="14" y="375"/>
                      <a:pt x="9" y="370"/>
                    </a:cubicBezTo>
                    <a:cubicBezTo>
                      <a:pt x="3" y="365"/>
                      <a:pt x="0" y="357"/>
                      <a:pt x="0" y="349"/>
                    </a:cubicBezTo>
                    <a:cubicBezTo>
                      <a:pt x="0" y="349"/>
                      <a:pt x="0" y="349"/>
                      <a:pt x="0" y="31"/>
                    </a:cubicBezTo>
                    <a:cubicBezTo>
                      <a:pt x="0" y="14"/>
                      <a:pt x="13" y="0"/>
                      <a:pt x="29" y="0"/>
                    </a:cubicBezTo>
                    <a:close/>
                    <a:moveTo>
                      <a:pt x="927" y="0"/>
                    </a:moveTo>
                    <a:cubicBezTo>
                      <a:pt x="927" y="0"/>
                      <a:pt x="927" y="0"/>
                      <a:pt x="1637" y="0"/>
                    </a:cubicBezTo>
                    <a:cubicBezTo>
                      <a:pt x="1645" y="0"/>
                      <a:pt x="1653" y="3"/>
                      <a:pt x="1659" y="9"/>
                    </a:cubicBezTo>
                    <a:cubicBezTo>
                      <a:pt x="1663" y="15"/>
                      <a:pt x="1667" y="23"/>
                      <a:pt x="1667" y="31"/>
                    </a:cubicBezTo>
                    <a:cubicBezTo>
                      <a:pt x="1667" y="31"/>
                      <a:pt x="1667" y="31"/>
                      <a:pt x="1667" y="349"/>
                    </a:cubicBezTo>
                    <a:cubicBezTo>
                      <a:pt x="1667" y="366"/>
                      <a:pt x="1654" y="379"/>
                      <a:pt x="1637" y="379"/>
                    </a:cubicBezTo>
                    <a:cubicBezTo>
                      <a:pt x="1637" y="379"/>
                      <a:pt x="1637" y="379"/>
                      <a:pt x="927" y="379"/>
                    </a:cubicBezTo>
                    <a:cubicBezTo>
                      <a:pt x="918" y="379"/>
                      <a:pt x="912" y="375"/>
                      <a:pt x="906" y="370"/>
                    </a:cubicBezTo>
                    <a:cubicBezTo>
                      <a:pt x="900" y="365"/>
                      <a:pt x="897" y="357"/>
                      <a:pt x="897" y="349"/>
                    </a:cubicBezTo>
                    <a:cubicBezTo>
                      <a:pt x="897" y="349"/>
                      <a:pt x="897" y="349"/>
                      <a:pt x="897" y="31"/>
                    </a:cubicBezTo>
                    <a:cubicBezTo>
                      <a:pt x="897" y="14"/>
                      <a:pt x="911" y="0"/>
                      <a:pt x="927"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00" dirty="0"/>
              </a:p>
            </p:txBody>
          </p:sp>
        </p:grpSp>
      </p:grpSp>
      <p:sp>
        <p:nvSpPr>
          <p:cNvPr id="43" name="Text Placeholder 11"/>
          <p:cNvSpPr>
            <a:spLocks noGrp="1"/>
          </p:cNvSpPr>
          <p:nvPr>
            <p:ph type="body" sz="quarter" idx="68"/>
          </p:nvPr>
        </p:nvSpPr>
        <p:spPr>
          <a:xfrm>
            <a:off x="432198" y="6634236"/>
            <a:ext cx="7704000" cy="123111"/>
          </a:xfrm>
        </p:spPr>
        <p:txBody>
          <a:bodyPr/>
          <a:lstStyle/>
          <a:p>
            <a:r>
              <a:rPr lang="en-GB" i="1" dirty="0"/>
              <a:t>* Will be published shortly </a:t>
            </a:r>
            <a:endParaRPr lang="en-GB" dirty="0"/>
          </a:p>
        </p:txBody>
      </p:sp>
    </p:spTree>
    <p:extLst>
      <p:ext uri="{BB962C8B-B14F-4D97-AF65-F5344CB8AC3E}">
        <p14:creationId xmlns:p14="http://schemas.microsoft.com/office/powerpoint/2010/main" val="305033910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142826" y="2012730"/>
            <a:ext cx="9628963" cy="1211179"/>
          </a:xfrm>
          <a:prstGeom prst="rect">
            <a:avLst/>
          </a:prstGeom>
          <a:solidFill>
            <a:srgbClr val="B2DFD3">
              <a:alpha val="6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687638">
              <a:tabLst>
                <a:tab pos="9153525" algn="r"/>
              </a:tabLst>
            </a:pPr>
            <a:r>
              <a:rPr lang="lt-LT" sz="2800" dirty="0" smtClean="0">
                <a:solidFill>
                  <a:srgbClr val="003755"/>
                </a:solidFill>
              </a:rPr>
              <a:t>    	</a:t>
            </a:r>
            <a:r>
              <a:rPr lang="sv-SE" sz="2000" dirty="0" smtClean="0">
                <a:solidFill>
                  <a:srgbClr val="003755"/>
                </a:solidFill>
              </a:rPr>
              <a:t>9</a:t>
            </a:r>
            <a:r>
              <a:rPr lang="en-US" sz="2000" dirty="0" smtClean="0">
                <a:solidFill>
                  <a:srgbClr val="003755"/>
                </a:solidFill>
              </a:rPr>
              <a:t>1,2</a:t>
            </a:r>
            <a:r>
              <a:rPr lang="sv-SE" sz="2000" dirty="0" smtClean="0">
                <a:solidFill>
                  <a:srgbClr val="003755"/>
                </a:solidFill>
              </a:rPr>
              <a:t>% (</a:t>
            </a:r>
            <a:r>
              <a:rPr lang="en-US" sz="2000" dirty="0" smtClean="0">
                <a:solidFill>
                  <a:srgbClr val="003755"/>
                </a:solidFill>
              </a:rPr>
              <a:t>35 208 proposals)</a:t>
            </a:r>
            <a:endParaRPr lang="en-US" sz="2000" b="1" dirty="0" smtClean="0">
              <a:solidFill>
                <a:srgbClr val="003755"/>
              </a:solidFill>
            </a:endParaRPr>
          </a:p>
        </p:txBody>
      </p:sp>
      <p:sp>
        <p:nvSpPr>
          <p:cNvPr id="7" name="Rectangle 6"/>
          <p:cNvSpPr/>
          <p:nvPr/>
        </p:nvSpPr>
        <p:spPr>
          <a:xfrm>
            <a:off x="2142826" y="3333007"/>
            <a:ext cx="9628964" cy="1211312"/>
          </a:xfrm>
          <a:prstGeom prst="rect">
            <a:avLst/>
          </a:prstGeom>
          <a:solidFill>
            <a:srgbClr val="F4BAB8">
              <a:alpha val="6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687638">
              <a:tabLst>
                <a:tab pos="9153525" algn="r"/>
              </a:tabLst>
            </a:pPr>
            <a:r>
              <a:rPr lang="lt-LT" sz="2800" dirty="0" smtClean="0">
                <a:solidFill>
                  <a:srgbClr val="003755"/>
                </a:solidFill>
              </a:rPr>
              <a:t>       	 </a:t>
            </a:r>
            <a:r>
              <a:rPr lang="sv-SE" sz="2800" dirty="0" smtClean="0">
                <a:solidFill>
                  <a:srgbClr val="003755"/>
                </a:solidFill>
              </a:rPr>
              <a:t>  </a:t>
            </a:r>
            <a:r>
              <a:rPr lang="en-US" sz="2000" dirty="0" smtClean="0">
                <a:solidFill>
                  <a:srgbClr val="003755"/>
                </a:solidFill>
              </a:rPr>
              <a:t>7,9</a:t>
            </a:r>
            <a:r>
              <a:rPr lang="sv-SE" sz="2000" dirty="0" smtClean="0">
                <a:solidFill>
                  <a:srgbClr val="003755"/>
                </a:solidFill>
              </a:rPr>
              <a:t>% (3 051 </a:t>
            </a:r>
            <a:r>
              <a:rPr lang="en-US" sz="2000" dirty="0" smtClean="0">
                <a:solidFill>
                  <a:srgbClr val="003755"/>
                </a:solidFill>
              </a:rPr>
              <a:t>proposals)</a:t>
            </a:r>
            <a:endParaRPr lang="en-US" sz="2000" dirty="0">
              <a:solidFill>
                <a:srgbClr val="003755"/>
              </a:solidFill>
            </a:endParaRPr>
          </a:p>
        </p:txBody>
      </p:sp>
      <p:sp>
        <p:nvSpPr>
          <p:cNvPr id="8" name="Rectangle 7"/>
          <p:cNvSpPr/>
          <p:nvPr/>
        </p:nvSpPr>
        <p:spPr>
          <a:xfrm>
            <a:off x="2142826" y="4653417"/>
            <a:ext cx="9628964" cy="1211312"/>
          </a:xfrm>
          <a:prstGeom prst="rect">
            <a:avLst/>
          </a:prstGeom>
          <a:solidFill>
            <a:schemeClr val="bg1">
              <a:lumMod val="95000"/>
              <a:alpha val="6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687638">
              <a:tabLst>
                <a:tab pos="9153525" algn="r"/>
              </a:tabLst>
            </a:pPr>
            <a:r>
              <a:rPr lang="lt-LT" sz="2800" dirty="0" smtClean="0">
                <a:solidFill>
                  <a:srgbClr val="003755"/>
                </a:solidFill>
              </a:rPr>
              <a:t>      	</a:t>
            </a:r>
            <a:r>
              <a:rPr lang="sv-SE" sz="2800" dirty="0" smtClean="0">
                <a:solidFill>
                  <a:srgbClr val="003755"/>
                </a:solidFill>
              </a:rPr>
              <a:t>  </a:t>
            </a:r>
            <a:r>
              <a:rPr lang="en-US" sz="2000" dirty="0" smtClean="0">
                <a:solidFill>
                  <a:srgbClr val="003755"/>
                </a:solidFill>
              </a:rPr>
              <a:t>0,7</a:t>
            </a:r>
            <a:r>
              <a:rPr lang="sv-SE" sz="2000" dirty="0" smtClean="0">
                <a:solidFill>
                  <a:srgbClr val="003755"/>
                </a:solidFill>
              </a:rPr>
              <a:t>% (282 </a:t>
            </a:r>
            <a:r>
              <a:rPr lang="en-US" sz="2000" dirty="0" smtClean="0">
                <a:solidFill>
                  <a:srgbClr val="003755"/>
                </a:solidFill>
              </a:rPr>
              <a:t>proposals)</a:t>
            </a:r>
            <a:endParaRPr lang="en-US" sz="2000" dirty="0">
              <a:solidFill>
                <a:srgbClr val="003755"/>
              </a:solidFill>
            </a:endParaRPr>
          </a:p>
        </p:txBody>
      </p:sp>
      <p:sp>
        <p:nvSpPr>
          <p:cNvPr id="10" name="Rectangle 9"/>
          <p:cNvSpPr/>
          <p:nvPr/>
        </p:nvSpPr>
        <p:spPr>
          <a:xfrm>
            <a:off x="431790" y="2012731"/>
            <a:ext cx="1696861" cy="3851999"/>
          </a:xfrm>
          <a:prstGeom prst="rect">
            <a:avLst/>
          </a:prstGeom>
          <a:solidFill>
            <a:srgbClr val="00375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2200" dirty="0" smtClean="0">
                <a:solidFill>
                  <a:schemeClr val="bg1"/>
                </a:solidFill>
              </a:rPr>
              <a:t>38 623</a:t>
            </a:r>
            <a:endParaRPr lang="en-US" sz="2200" dirty="0">
              <a:solidFill>
                <a:schemeClr val="bg1"/>
              </a:solidFill>
            </a:endParaRPr>
          </a:p>
          <a:p>
            <a:pPr algn="ctr"/>
            <a:r>
              <a:rPr lang="en-GB" sz="2200" dirty="0">
                <a:solidFill>
                  <a:schemeClr val="bg1"/>
                </a:solidFill>
              </a:rPr>
              <a:t>Management</a:t>
            </a:r>
          </a:p>
          <a:p>
            <a:pPr algn="ctr"/>
            <a:r>
              <a:rPr lang="en-US" sz="2200" dirty="0">
                <a:solidFill>
                  <a:schemeClr val="bg1"/>
                </a:solidFill>
              </a:rPr>
              <a:t>proposals</a:t>
            </a:r>
          </a:p>
        </p:txBody>
      </p:sp>
      <p:sp>
        <p:nvSpPr>
          <p:cNvPr id="11" name="Thumbs up"/>
          <p:cNvSpPr>
            <a:spLocks noChangeAspect="1"/>
          </p:cNvSpPr>
          <p:nvPr>
            <p:custDataLst>
              <p:tags r:id="rId1"/>
            </p:custDataLst>
          </p:nvPr>
        </p:nvSpPr>
        <p:spPr bwMode="auto">
          <a:xfrm>
            <a:off x="2405742" y="2342617"/>
            <a:ext cx="610581" cy="551404"/>
          </a:xfrm>
          <a:custGeom>
            <a:avLst/>
            <a:gdLst>
              <a:gd name="connsiteX0" fmla="*/ 1205490 w 1752600"/>
              <a:gd name="connsiteY0" fmla="*/ 1349375 h 1582737"/>
              <a:gd name="connsiteX1" fmla="*/ 1122363 w 1752600"/>
              <a:gd name="connsiteY1" fmla="*/ 1432419 h 1582737"/>
              <a:gd name="connsiteX2" fmla="*/ 1205490 w 1752600"/>
              <a:gd name="connsiteY2" fmla="*/ 1519237 h 1582737"/>
              <a:gd name="connsiteX3" fmla="*/ 1496436 w 1752600"/>
              <a:gd name="connsiteY3" fmla="*/ 1519237 h 1582737"/>
              <a:gd name="connsiteX4" fmla="*/ 1579563 w 1752600"/>
              <a:gd name="connsiteY4" fmla="*/ 1436194 h 1582737"/>
              <a:gd name="connsiteX5" fmla="*/ 1496436 w 1752600"/>
              <a:gd name="connsiteY5" fmla="*/ 1349375 h 1582737"/>
              <a:gd name="connsiteX6" fmla="*/ 1205490 w 1752600"/>
              <a:gd name="connsiteY6" fmla="*/ 1349375 h 1582737"/>
              <a:gd name="connsiteX7" fmla="*/ 1239317 w 1752600"/>
              <a:gd name="connsiteY7" fmla="*/ 1111250 h 1582737"/>
              <a:gd name="connsiteX8" fmla="*/ 1152525 w 1752600"/>
              <a:gd name="connsiteY8" fmla="*/ 1197769 h 1582737"/>
              <a:gd name="connsiteX9" fmla="*/ 1239317 w 1752600"/>
              <a:gd name="connsiteY9" fmla="*/ 1284287 h 1582737"/>
              <a:gd name="connsiteX10" fmla="*/ 1526108 w 1752600"/>
              <a:gd name="connsiteY10" fmla="*/ 1284287 h 1582737"/>
              <a:gd name="connsiteX11" fmla="*/ 1612900 w 1752600"/>
              <a:gd name="connsiteY11" fmla="*/ 1197769 h 1582737"/>
              <a:gd name="connsiteX12" fmla="*/ 1526108 w 1752600"/>
              <a:gd name="connsiteY12" fmla="*/ 1111250 h 1582737"/>
              <a:gd name="connsiteX13" fmla="*/ 1239317 w 1752600"/>
              <a:gd name="connsiteY13" fmla="*/ 1111250 h 1582737"/>
              <a:gd name="connsiteX14" fmla="*/ 1277417 w 1752600"/>
              <a:gd name="connsiteY14" fmla="*/ 876300 h 1582737"/>
              <a:gd name="connsiteX15" fmla="*/ 1190625 w 1752600"/>
              <a:gd name="connsiteY15" fmla="*/ 959344 h 1582737"/>
              <a:gd name="connsiteX16" fmla="*/ 1277417 w 1752600"/>
              <a:gd name="connsiteY16" fmla="*/ 1046162 h 1582737"/>
              <a:gd name="connsiteX17" fmla="*/ 1564208 w 1752600"/>
              <a:gd name="connsiteY17" fmla="*/ 1046162 h 1582737"/>
              <a:gd name="connsiteX18" fmla="*/ 1651000 w 1752600"/>
              <a:gd name="connsiteY18" fmla="*/ 963119 h 1582737"/>
              <a:gd name="connsiteX19" fmla="*/ 1564208 w 1752600"/>
              <a:gd name="connsiteY19" fmla="*/ 876300 h 1582737"/>
              <a:gd name="connsiteX20" fmla="*/ 1277417 w 1752600"/>
              <a:gd name="connsiteY20" fmla="*/ 876300 h 1582737"/>
              <a:gd name="connsiteX21" fmla="*/ 1318202 w 1752600"/>
              <a:gd name="connsiteY21" fmla="*/ 638175 h 1582737"/>
              <a:gd name="connsiteX22" fmla="*/ 1235075 w 1752600"/>
              <a:gd name="connsiteY22" fmla="*/ 725487 h 1582737"/>
              <a:gd name="connsiteX23" fmla="*/ 1318202 w 1752600"/>
              <a:gd name="connsiteY23" fmla="*/ 812800 h 1582737"/>
              <a:gd name="connsiteX24" fmla="*/ 1605369 w 1752600"/>
              <a:gd name="connsiteY24" fmla="*/ 812800 h 1582737"/>
              <a:gd name="connsiteX25" fmla="*/ 1692275 w 1752600"/>
              <a:gd name="connsiteY25" fmla="*/ 725487 h 1582737"/>
              <a:gd name="connsiteX26" fmla="*/ 1605369 w 1752600"/>
              <a:gd name="connsiteY26" fmla="*/ 638175 h 1582737"/>
              <a:gd name="connsiteX27" fmla="*/ 1382437 w 1752600"/>
              <a:gd name="connsiteY27" fmla="*/ 638175 h 1582737"/>
              <a:gd name="connsiteX28" fmla="*/ 1318202 w 1752600"/>
              <a:gd name="connsiteY28" fmla="*/ 638175 h 1582737"/>
              <a:gd name="connsiteX29" fmla="*/ 1159594 w 1752600"/>
              <a:gd name="connsiteY29" fmla="*/ 79375 h 1582737"/>
              <a:gd name="connsiteX30" fmla="*/ 718029 w 1752600"/>
              <a:gd name="connsiteY30" fmla="*/ 495083 h 1582737"/>
              <a:gd name="connsiteX31" fmla="*/ 434975 w 1752600"/>
              <a:gd name="connsiteY31" fmla="*/ 672704 h 1582737"/>
              <a:gd name="connsiteX32" fmla="*/ 434975 w 1752600"/>
              <a:gd name="connsiteY32" fmla="*/ 1443654 h 1582737"/>
              <a:gd name="connsiteX33" fmla="*/ 751996 w 1752600"/>
              <a:gd name="connsiteY33" fmla="*/ 1519237 h 1582737"/>
              <a:gd name="connsiteX34" fmla="*/ 1087887 w 1752600"/>
              <a:gd name="connsiteY34" fmla="*/ 1519237 h 1582737"/>
              <a:gd name="connsiteX35" fmla="*/ 1057694 w 1752600"/>
              <a:gd name="connsiteY35" fmla="*/ 1436096 h 1582737"/>
              <a:gd name="connsiteX36" fmla="*/ 1136949 w 1752600"/>
              <a:gd name="connsiteY36" fmla="*/ 1303825 h 1582737"/>
              <a:gd name="connsiteX37" fmla="*/ 1091661 w 1752600"/>
              <a:gd name="connsiteY37" fmla="*/ 1198008 h 1582737"/>
              <a:gd name="connsiteX38" fmla="*/ 1170916 w 1752600"/>
              <a:gd name="connsiteY38" fmla="*/ 1065737 h 1582737"/>
              <a:gd name="connsiteX39" fmla="*/ 1129401 w 1752600"/>
              <a:gd name="connsiteY39" fmla="*/ 963700 h 1582737"/>
              <a:gd name="connsiteX40" fmla="*/ 1212431 w 1752600"/>
              <a:gd name="connsiteY40" fmla="*/ 827650 h 1582737"/>
              <a:gd name="connsiteX41" fmla="*/ 1170916 w 1752600"/>
              <a:gd name="connsiteY41" fmla="*/ 725612 h 1582737"/>
              <a:gd name="connsiteX42" fmla="*/ 1201109 w 1752600"/>
              <a:gd name="connsiteY42" fmla="*/ 638691 h 1582737"/>
              <a:gd name="connsiteX43" fmla="*/ 963343 w 1752600"/>
              <a:gd name="connsiteY43" fmla="*/ 638691 h 1582737"/>
              <a:gd name="connsiteX44" fmla="*/ 933150 w 1752600"/>
              <a:gd name="connsiteY44" fmla="*/ 619795 h 1582737"/>
              <a:gd name="connsiteX45" fmla="*/ 936924 w 1752600"/>
              <a:gd name="connsiteY45" fmla="*/ 589562 h 1582737"/>
              <a:gd name="connsiteX46" fmla="*/ 1170916 w 1752600"/>
              <a:gd name="connsiteY46" fmla="*/ 298566 h 1582737"/>
              <a:gd name="connsiteX47" fmla="*/ 1159594 w 1752600"/>
              <a:gd name="connsiteY47" fmla="*/ 79375 h 1582737"/>
              <a:gd name="connsiteX48" fmla="*/ 1167141 w 1752600"/>
              <a:gd name="connsiteY48" fmla="*/ 0 h 1582737"/>
              <a:gd name="connsiteX49" fmla="*/ 1189804 w 1752600"/>
              <a:gd name="connsiteY49" fmla="*/ 11332 h 1582737"/>
              <a:gd name="connsiteX50" fmla="*/ 1220021 w 1752600"/>
              <a:gd name="connsiteY50" fmla="*/ 339967 h 1582737"/>
              <a:gd name="connsiteX51" fmla="*/ 1027386 w 1752600"/>
              <a:gd name="connsiteY51" fmla="*/ 574167 h 1582737"/>
              <a:gd name="connsiteX52" fmla="*/ 1605291 w 1752600"/>
              <a:gd name="connsiteY52" fmla="*/ 574167 h 1582737"/>
              <a:gd name="connsiteX53" fmla="*/ 1752600 w 1752600"/>
              <a:gd name="connsiteY53" fmla="*/ 725264 h 1582737"/>
              <a:gd name="connsiteX54" fmla="*/ 1669503 w 1752600"/>
              <a:gd name="connsiteY54" fmla="*/ 857473 h 1582737"/>
              <a:gd name="connsiteX55" fmla="*/ 1711051 w 1752600"/>
              <a:gd name="connsiteY55" fmla="*/ 959464 h 1582737"/>
              <a:gd name="connsiteX56" fmla="*/ 1631731 w 1752600"/>
              <a:gd name="connsiteY56" fmla="*/ 1091673 h 1582737"/>
              <a:gd name="connsiteX57" fmla="*/ 1673280 w 1752600"/>
              <a:gd name="connsiteY57" fmla="*/ 1197441 h 1582737"/>
              <a:gd name="connsiteX58" fmla="*/ 1597737 w 1752600"/>
              <a:gd name="connsiteY58" fmla="*/ 1325873 h 1582737"/>
              <a:gd name="connsiteX59" fmla="*/ 1643063 w 1752600"/>
              <a:gd name="connsiteY59" fmla="*/ 1431641 h 1582737"/>
              <a:gd name="connsiteX60" fmla="*/ 1495754 w 1752600"/>
              <a:gd name="connsiteY60" fmla="*/ 1582737 h 1582737"/>
              <a:gd name="connsiteX61" fmla="*/ 1204913 w 1752600"/>
              <a:gd name="connsiteY61" fmla="*/ 1582737 h 1582737"/>
              <a:gd name="connsiteX62" fmla="*/ 747877 w 1752600"/>
              <a:gd name="connsiteY62" fmla="*/ 1582737 h 1582737"/>
              <a:gd name="connsiteX63" fmla="*/ 740322 w 1752600"/>
              <a:gd name="connsiteY63" fmla="*/ 1582737 h 1582737"/>
              <a:gd name="connsiteX64" fmla="*/ 434373 w 1752600"/>
              <a:gd name="connsiteY64" fmla="*/ 1507189 h 1582737"/>
              <a:gd name="connsiteX65" fmla="*/ 434373 w 1752600"/>
              <a:gd name="connsiteY65" fmla="*/ 1518521 h 1582737"/>
              <a:gd name="connsiteX66" fmla="*/ 373938 w 1752600"/>
              <a:gd name="connsiteY66" fmla="*/ 1582737 h 1582737"/>
              <a:gd name="connsiteX67" fmla="*/ 60434 w 1752600"/>
              <a:gd name="connsiteY67" fmla="*/ 1582737 h 1582737"/>
              <a:gd name="connsiteX68" fmla="*/ 0 w 1752600"/>
              <a:gd name="connsiteY68" fmla="*/ 1518521 h 1582737"/>
              <a:gd name="connsiteX69" fmla="*/ 0 w 1752600"/>
              <a:gd name="connsiteY69" fmla="*/ 528838 h 1582737"/>
              <a:gd name="connsiteX70" fmla="*/ 60434 w 1752600"/>
              <a:gd name="connsiteY70" fmla="*/ 464622 h 1582737"/>
              <a:gd name="connsiteX71" fmla="*/ 373938 w 1752600"/>
              <a:gd name="connsiteY71" fmla="*/ 464622 h 1582737"/>
              <a:gd name="connsiteX72" fmla="*/ 434373 w 1752600"/>
              <a:gd name="connsiteY72" fmla="*/ 528838 h 1582737"/>
              <a:gd name="connsiteX73" fmla="*/ 434373 w 1752600"/>
              <a:gd name="connsiteY73" fmla="*/ 600609 h 1582737"/>
              <a:gd name="connsiteX74" fmla="*/ 679888 w 1752600"/>
              <a:gd name="connsiteY74" fmla="*/ 449512 h 1582737"/>
              <a:gd name="connsiteX75" fmla="*/ 1144478 w 1752600"/>
              <a:gd name="connsiteY75" fmla="*/ 7555 h 1582737"/>
              <a:gd name="connsiteX76" fmla="*/ 1167141 w 1752600"/>
              <a:gd name="connsiteY76" fmla="*/ 0 h 1582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752600" h="1582737">
                <a:moveTo>
                  <a:pt x="1205490" y="1349375"/>
                </a:moveTo>
                <a:cubicBezTo>
                  <a:pt x="1160148" y="1349375"/>
                  <a:pt x="1122363" y="1387122"/>
                  <a:pt x="1122363" y="1432419"/>
                </a:cubicBezTo>
                <a:cubicBezTo>
                  <a:pt x="1122363" y="1481490"/>
                  <a:pt x="1160148" y="1519237"/>
                  <a:pt x="1205490" y="1519237"/>
                </a:cubicBezTo>
                <a:cubicBezTo>
                  <a:pt x="1205490" y="1519237"/>
                  <a:pt x="1205490" y="1519237"/>
                  <a:pt x="1496436" y="1519237"/>
                </a:cubicBezTo>
                <a:cubicBezTo>
                  <a:pt x="1541778" y="1519237"/>
                  <a:pt x="1579563" y="1481490"/>
                  <a:pt x="1579563" y="1436194"/>
                </a:cubicBezTo>
                <a:cubicBezTo>
                  <a:pt x="1579563" y="1387122"/>
                  <a:pt x="1541778" y="1349375"/>
                  <a:pt x="1496436" y="1349375"/>
                </a:cubicBezTo>
                <a:cubicBezTo>
                  <a:pt x="1496436" y="1349375"/>
                  <a:pt x="1496436" y="1349375"/>
                  <a:pt x="1205490" y="1349375"/>
                </a:cubicBezTo>
                <a:close/>
                <a:moveTo>
                  <a:pt x="1239317" y="1111250"/>
                </a:moveTo>
                <a:cubicBezTo>
                  <a:pt x="1194034" y="1111250"/>
                  <a:pt x="1152525" y="1148867"/>
                  <a:pt x="1152525" y="1197769"/>
                </a:cubicBezTo>
                <a:cubicBezTo>
                  <a:pt x="1152525" y="1246671"/>
                  <a:pt x="1194034" y="1284287"/>
                  <a:pt x="1239317" y="1284287"/>
                </a:cubicBezTo>
                <a:cubicBezTo>
                  <a:pt x="1239317" y="1284287"/>
                  <a:pt x="1239317" y="1284287"/>
                  <a:pt x="1526108" y="1284287"/>
                </a:cubicBezTo>
                <a:cubicBezTo>
                  <a:pt x="1575164" y="1284287"/>
                  <a:pt x="1612900" y="1246671"/>
                  <a:pt x="1612900" y="1197769"/>
                </a:cubicBezTo>
                <a:cubicBezTo>
                  <a:pt x="1612900" y="1148867"/>
                  <a:pt x="1575164" y="1111250"/>
                  <a:pt x="1526108" y="1111250"/>
                </a:cubicBezTo>
                <a:cubicBezTo>
                  <a:pt x="1526108" y="1111250"/>
                  <a:pt x="1526108" y="1111250"/>
                  <a:pt x="1239317" y="1111250"/>
                </a:cubicBezTo>
                <a:close/>
                <a:moveTo>
                  <a:pt x="1277417" y="876300"/>
                </a:moveTo>
                <a:cubicBezTo>
                  <a:pt x="1232134" y="876300"/>
                  <a:pt x="1190625" y="914047"/>
                  <a:pt x="1190625" y="959344"/>
                </a:cubicBezTo>
                <a:cubicBezTo>
                  <a:pt x="1190625" y="1008415"/>
                  <a:pt x="1232134" y="1046162"/>
                  <a:pt x="1277417" y="1046162"/>
                </a:cubicBezTo>
                <a:lnTo>
                  <a:pt x="1564208" y="1046162"/>
                </a:lnTo>
                <a:cubicBezTo>
                  <a:pt x="1613264" y="1046162"/>
                  <a:pt x="1651000" y="1008415"/>
                  <a:pt x="1651000" y="963119"/>
                </a:cubicBezTo>
                <a:cubicBezTo>
                  <a:pt x="1651000" y="914047"/>
                  <a:pt x="1613264" y="876300"/>
                  <a:pt x="1564208" y="876300"/>
                </a:cubicBezTo>
                <a:cubicBezTo>
                  <a:pt x="1564208" y="876300"/>
                  <a:pt x="1564208" y="876300"/>
                  <a:pt x="1277417" y="876300"/>
                </a:cubicBezTo>
                <a:close/>
                <a:moveTo>
                  <a:pt x="1318202" y="638175"/>
                </a:moveTo>
                <a:cubicBezTo>
                  <a:pt x="1272860" y="638175"/>
                  <a:pt x="1235075" y="676137"/>
                  <a:pt x="1235075" y="725487"/>
                </a:cubicBezTo>
                <a:cubicBezTo>
                  <a:pt x="1235075" y="771042"/>
                  <a:pt x="1272860" y="812800"/>
                  <a:pt x="1318202" y="812800"/>
                </a:cubicBezTo>
                <a:cubicBezTo>
                  <a:pt x="1318202" y="812800"/>
                  <a:pt x="1318202" y="812800"/>
                  <a:pt x="1605369" y="812800"/>
                </a:cubicBezTo>
                <a:cubicBezTo>
                  <a:pt x="1654490" y="812800"/>
                  <a:pt x="1692275" y="771042"/>
                  <a:pt x="1692275" y="725487"/>
                </a:cubicBezTo>
                <a:cubicBezTo>
                  <a:pt x="1692275" y="676137"/>
                  <a:pt x="1654490" y="638175"/>
                  <a:pt x="1605369" y="638175"/>
                </a:cubicBezTo>
                <a:cubicBezTo>
                  <a:pt x="1605369" y="638175"/>
                  <a:pt x="1605369" y="638175"/>
                  <a:pt x="1382437" y="638175"/>
                </a:cubicBezTo>
                <a:cubicBezTo>
                  <a:pt x="1382437" y="638175"/>
                  <a:pt x="1382437" y="638175"/>
                  <a:pt x="1318202" y="638175"/>
                </a:cubicBezTo>
                <a:close/>
                <a:moveTo>
                  <a:pt x="1159594" y="79375"/>
                </a:moveTo>
                <a:cubicBezTo>
                  <a:pt x="1159594" y="79375"/>
                  <a:pt x="1159594" y="79375"/>
                  <a:pt x="718029" y="495083"/>
                </a:cubicBezTo>
                <a:cubicBezTo>
                  <a:pt x="718029" y="495083"/>
                  <a:pt x="718029" y="495083"/>
                  <a:pt x="434975" y="672704"/>
                </a:cubicBezTo>
                <a:lnTo>
                  <a:pt x="434975" y="1443654"/>
                </a:lnTo>
                <a:cubicBezTo>
                  <a:pt x="434975" y="1443654"/>
                  <a:pt x="434975" y="1443654"/>
                  <a:pt x="751996" y="1519237"/>
                </a:cubicBezTo>
                <a:cubicBezTo>
                  <a:pt x="751996" y="1519237"/>
                  <a:pt x="751996" y="1519237"/>
                  <a:pt x="1087887" y="1519237"/>
                </a:cubicBezTo>
                <a:cubicBezTo>
                  <a:pt x="1069016" y="1496562"/>
                  <a:pt x="1057694" y="1466329"/>
                  <a:pt x="1057694" y="1436096"/>
                </a:cubicBezTo>
                <a:cubicBezTo>
                  <a:pt x="1057694" y="1379408"/>
                  <a:pt x="1091661" y="1330279"/>
                  <a:pt x="1136949" y="1303825"/>
                </a:cubicBezTo>
                <a:cubicBezTo>
                  <a:pt x="1110531" y="1277371"/>
                  <a:pt x="1091661" y="1239579"/>
                  <a:pt x="1091661" y="1198008"/>
                </a:cubicBezTo>
                <a:cubicBezTo>
                  <a:pt x="1091661" y="1141321"/>
                  <a:pt x="1125627" y="1092192"/>
                  <a:pt x="1170916" y="1065737"/>
                </a:cubicBezTo>
                <a:cubicBezTo>
                  <a:pt x="1144498" y="1039283"/>
                  <a:pt x="1129401" y="1001492"/>
                  <a:pt x="1129401" y="963700"/>
                </a:cubicBezTo>
                <a:cubicBezTo>
                  <a:pt x="1129401" y="903233"/>
                  <a:pt x="1163368" y="850325"/>
                  <a:pt x="1212431" y="827650"/>
                </a:cubicBezTo>
                <a:cubicBezTo>
                  <a:pt x="1186012" y="801195"/>
                  <a:pt x="1170916" y="763404"/>
                  <a:pt x="1170916" y="725612"/>
                </a:cubicBezTo>
                <a:cubicBezTo>
                  <a:pt x="1170916" y="691600"/>
                  <a:pt x="1182238" y="661366"/>
                  <a:pt x="1201109" y="638691"/>
                </a:cubicBezTo>
                <a:cubicBezTo>
                  <a:pt x="1201109" y="638691"/>
                  <a:pt x="1201109" y="638691"/>
                  <a:pt x="963343" y="638691"/>
                </a:cubicBezTo>
                <a:cubicBezTo>
                  <a:pt x="948247" y="638691"/>
                  <a:pt x="936924" y="631133"/>
                  <a:pt x="933150" y="619795"/>
                </a:cubicBezTo>
                <a:cubicBezTo>
                  <a:pt x="929376" y="608458"/>
                  <a:pt x="929376" y="597120"/>
                  <a:pt x="936924" y="589562"/>
                </a:cubicBezTo>
                <a:cubicBezTo>
                  <a:pt x="936924" y="589562"/>
                  <a:pt x="1114305" y="370370"/>
                  <a:pt x="1170916" y="298566"/>
                </a:cubicBezTo>
                <a:cubicBezTo>
                  <a:pt x="1235075" y="226762"/>
                  <a:pt x="1189786" y="124725"/>
                  <a:pt x="1159594" y="79375"/>
                </a:cubicBezTo>
                <a:close/>
                <a:moveTo>
                  <a:pt x="1167141" y="0"/>
                </a:moveTo>
                <a:cubicBezTo>
                  <a:pt x="1174695" y="0"/>
                  <a:pt x="1182250" y="3777"/>
                  <a:pt x="1189804" y="11332"/>
                </a:cubicBezTo>
                <a:cubicBezTo>
                  <a:pt x="1197358" y="18887"/>
                  <a:pt x="1337113" y="200203"/>
                  <a:pt x="1220021" y="339967"/>
                </a:cubicBezTo>
                <a:cubicBezTo>
                  <a:pt x="1178472" y="389074"/>
                  <a:pt x="1080266" y="506173"/>
                  <a:pt x="1027386" y="574167"/>
                </a:cubicBezTo>
                <a:cubicBezTo>
                  <a:pt x="1027386" y="574167"/>
                  <a:pt x="1027386" y="574167"/>
                  <a:pt x="1605291" y="574167"/>
                </a:cubicBezTo>
                <a:cubicBezTo>
                  <a:pt x="1688389" y="574167"/>
                  <a:pt x="1752600" y="642160"/>
                  <a:pt x="1752600" y="725264"/>
                </a:cubicBezTo>
                <a:cubicBezTo>
                  <a:pt x="1752600" y="781925"/>
                  <a:pt x="1718606" y="834809"/>
                  <a:pt x="1669503" y="857473"/>
                </a:cubicBezTo>
                <a:cubicBezTo>
                  <a:pt x="1695943" y="883915"/>
                  <a:pt x="1711051" y="921690"/>
                  <a:pt x="1711051" y="959464"/>
                </a:cubicBezTo>
                <a:cubicBezTo>
                  <a:pt x="1711051" y="1019902"/>
                  <a:pt x="1680834" y="1069009"/>
                  <a:pt x="1631731" y="1091673"/>
                </a:cubicBezTo>
                <a:cubicBezTo>
                  <a:pt x="1658171" y="1118115"/>
                  <a:pt x="1673280" y="1155889"/>
                  <a:pt x="1673280" y="1197441"/>
                </a:cubicBezTo>
                <a:cubicBezTo>
                  <a:pt x="1673280" y="1254102"/>
                  <a:pt x="1643063" y="1303208"/>
                  <a:pt x="1597737" y="1325873"/>
                </a:cubicBezTo>
                <a:cubicBezTo>
                  <a:pt x="1624177" y="1352315"/>
                  <a:pt x="1643063" y="1390089"/>
                  <a:pt x="1643063" y="1431641"/>
                </a:cubicBezTo>
                <a:cubicBezTo>
                  <a:pt x="1643063" y="1514744"/>
                  <a:pt x="1575074" y="1582737"/>
                  <a:pt x="1495754" y="1582737"/>
                </a:cubicBezTo>
                <a:cubicBezTo>
                  <a:pt x="1495754" y="1582737"/>
                  <a:pt x="1495754" y="1582737"/>
                  <a:pt x="1204913" y="1582737"/>
                </a:cubicBezTo>
                <a:cubicBezTo>
                  <a:pt x="1204913" y="1582737"/>
                  <a:pt x="1204913" y="1582737"/>
                  <a:pt x="747877" y="1582737"/>
                </a:cubicBezTo>
                <a:cubicBezTo>
                  <a:pt x="747877" y="1582737"/>
                  <a:pt x="744099" y="1582737"/>
                  <a:pt x="740322" y="1582737"/>
                </a:cubicBezTo>
                <a:cubicBezTo>
                  <a:pt x="740322" y="1582737"/>
                  <a:pt x="740322" y="1582737"/>
                  <a:pt x="434373" y="1507189"/>
                </a:cubicBezTo>
                <a:cubicBezTo>
                  <a:pt x="434373" y="1507189"/>
                  <a:pt x="434373" y="1507189"/>
                  <a:pt x="434373" y="1518521"/>
                </a:cubicBezTo>
                <a:cubicBezTo>
                  <a:pt x="434373" y="1556295"/>
                  <a:pt x="407933" y="1582737"/>
                  <a:pt x="373938" y="1582737"/>
                </a:cubicBezTo>
                <a:cubicBezTo>
                  <a:pt x="373938" y="1582737"/>
                  <a:pt x="373938" y="1582737"/>
                  <a:pt x="60434" y="1582737"/>
                </a:cubicBezTo>
                <a:cubicBezTo>
                  <a:pt x="26440" y="1582737"/>
                  <a:pt x="0" y="1552518"/>
                  <a:pt x="0" y="1518521"/>
                </a:cubicBezTo>
                <a:cubicBezTo>
                  <a:pt x="0" y="1518521"/>
                  <a:pt x="0" y="1518521"/>
                  <a:pt x="0" y="528838"/>
                </a:cubicBezTo>
                <a:cubicBezTo>
                  <a:pt x="0" y="491064"/>
                  <a:pt x="26440" y="464622"/>
                  <a:pt x="60434" y="464622"/>
                </a:cubicBezTo>
                <a:cubicBezTo>
                  <a:pt x="60434" y="464622"/>
                  <a:pt x="60434" y="464622"/>
                  <a:pt x="373938" y="464622"/>
                </a:cubicBezTo>
                <a:cubicBezTo>
                  <a:pt x="407933" y="464622"/>
                  <a:pt x="434373" y="491064"/>
                  <a:pt x="434373" y="528838"/>
                </a:cubicBezTo>
                <a:cubicBezTo>
                  <a:pt x="434373" y="528838"/>
                  <a:pt x="434373" y="528838"/>
                  <a:pt x="434373" y="600609"/>
                </a:cubicBezTo>
                <a:cubicBezTo>
                  <a:pt x="434373" y="600609"/>
                  <a:pt x="434373" y="600609"/>
                  <a:pt x="679888" y="449512"/>
                </a:cubicBezTo>
                <a:cubicBezTo>
                  <a:pt x="679888" y="449512"/>
                  <a:pt x="679888" y="449512"/>
                  <a:pt x="1144478" y="7555"/>
                </a:cubicBezTo>
                <a:cubicBezTo>
                  <a:pt x="1152032" y="3777"/>
                  <a:pt x="1159587" y="0"/>
                  <a:pt x="1167141" y="0"/>
                </a:cubicBezTo>
                <a:close/>
              </a:path>
            </a:pathLst>
          </a:custGeom>
          <a:solidFill>
            <a:srgbClr val="003755"/>
          </a:solidFill>
          <a:ln>
            <a:noFill/>
          </a:ln>
        </p:spPr>
        <p:txBody>
          <a:bodyPr vert="horz" wrap="square" lIns="91440" tIns="45720" rIns="91440" bIns="45720" numCol="1" anchor="t" anchorCtr="0" compatLnSpc="1">
            <a:prstTxWarp prst="textNoShape">
              <a:avLst/>
            </a:prstTxWarp>
            <a:noAutofit/>
          </a:bodyPr>
          <a:lstStyle/>
          <a:p>
            <a:endParaRPr lang="en-GB" sz="2000" dirty="0"/>
          </a:p>
        </p:txBody>
      </p:sp>
      <p:sp>
        <p:nvSpPr>
          <p:cNvPr id="2" name="TextBox 1"/>
          <p:cNvSpPr txBox="1"/>
          <p:nvPr/>
        </p:nvSpPr>
        <p:spPr>
          <a:xfrm>
            <a:off x="3173577" y="2500792"/>
            <a:ext cx="1416127" cy="307776"/>
          </a:xfrm>
          <a:prstGeom prst="rect">
            <a:avLst/>
          </a:prstGeom>
          <a:noFill/>
        </p:spPr>
        <p:txBody>
          <a:bodyPr wrap="square" lIns="0" tIns="0" rIns="0" bIns="0" rtlCol="0">
            <a:spAutoFit/>
          </a:bodyPr>
          <a:lstStyle/>
          <a:p>
            <a:r>
              <a:rPr lang="en-GB" sz="2000" dirty="0" smtClean="0">
                <a:solidFill>
                  <a:srgbClr val="003755"/>
                </a:solidFill>
              </a:rPr>
              <a:t>For</a:t>
            </a:r>
            <a:endParaRPr lang="en-GB" sz="2400" dirty="0" smtClean="0">
              <a:solidFill>
                <a:srgbClr val="003755"/>
              </a:solidFill>
            </a:endParaRPr>
          </a:p>
        </p:txBody>
      </p:sp>
      <p:sp>
        <p:nvSpPr>
          <p:cNvPr id="14" name="TextBox 13"/>
          <p:cNvSpPr txBox="1"/>
          <p:nvPr/>
        </p:nvSpPr>
        <p:spPr>
          <a:xfrm>
            <a:off x="3173577" y="3784775"/>
            <a:ext cx="2973997" cy="307776"/>
          </a:xfrm>
          <a:prstGeom prst="rect">
            <a:avLst/>
          </a:prstGeom>
          <a:noFill/>
        </p:spPr>
        <p:txBody>
          <a:bodyPr wrap="square" lIns="0" tIns="0" rIns="0" bIns="0" rtlCol="0">
            <a:spAutoFit/>
          </a:bodyPr>
          <a:lstStyle/>
          <a:p>
            <a:r>
              <a:rPr lang="en-GB" sz="2000" dirty="0" smtClean="0">
                <a:solidFill>
                  <a:srgbClr val="003755"/>
                </a:solidFill>
              </a:rPr>
              <a:t>Against/Withhold</a:t>
            </a:r>
          </a:p>
        </p:txBody>
      </p:sp>
      <p:sp>
        <p:nvSpPr>
          <p:cNvPr id="15" name="Thumbs up"/>
          <p:cNvSpPr>
            <a:spLocks noChangeAspect="1"/>
          </p:cNvSpPr>
          <p:nvPr>
            <p:custDataLst>
              <p:tags r:id="rId2"/>
            </p:custDataLst>
          </p:nvPr>
        </p:nvSpPr>
        <p:spPr bwMode="auto">
          <a:xfrm rot="10800000">
            <a:off x="2405742" y="3744944"/>
            <a:ext cx="610581" cy="551404"/>
          </a:xfrm>
          <a:custGeom>
            <a:avLst/>
            <a:gdLst>
              <a:gd name="connsiteX0" fmla="*/ 1205490 w 1752600"/>
              <a:gd name="connsiteY0" fmla="*/ 1349375 h 1582737"/>
              <a:gd name="connsiteX1" fmla="*/ 1122363 w 1752600"/>
              <a:gd name="connsiteY1" fmla="*/ 1432419 h 1582737"/>
              <a:gd name="connsiteX2" fmla="*/ 1205490 w 1752600"/>
              <a:gd name="connsiteY2" fmla="*/ 1519237 h 1582737"/>
              <a:gd name="connsiteX3" fmla="*/ 1496436 w 1752600"/>
              <a:gd name="connsiteY3" fmla="*/ 1519237 h 1582737"/>
              <a:gd name="connsiteX4" fmla="*/ 1579563 w 1752600"/>
              <a:gd name="connsiteY4" fmla="*/ 1436194 h 1582737"/>
              <a:gd name="connsiteX5" fmla="*/ 1496436 w 1752600"/>
              <a:gd name="connsiteY5" fmla="*/ 1349375 h 1582737"/>
              <a:gd name="connsiteX6" fmla="*/ 1205490 w 1752600"/>
              <a:gd name="connsiteY6" fmla="*/ 1349375 h 1582737"/>
              <a:gd name="connsiteX7" fmla="*/ 1239317 w 1752600"/>
              <a:gd name="connsiteY7" fmla="*/ 1111250 h 1582737"/>
              <a:gd name="connsiteX8" fmla="*/ 1152525 w 1752600"/>
              <a:gd name="connsiteY8" fmla="*/ 1197769 h 1582737"/>
              <a:gd name="connsiteX9" fmla="*/ 1239317 w 1752600"/>
              <a:gd name="connsiteY9" fmla="*/ 1284287 h 1582737"/>
              <a:gd name="connsiteX10" fmla="*/ 1526108 w 1752600"/>
              <a:gd name="connsiteY10" fmla="*/ 1284287 h 1582737"/>
              <a:gd name="connsiteX11" fmla="*/ 1612900 w 1752600"/>
              <a:gd name="connsiteY11" fmla="*/ 1197769 h 1582737"/>
              <a:gd name="connsiteX12" fmla="*/ 1526108 w 1752600"/>
              <a:gd name="connsiteY12" fmla="*/ 1111250 h 1582737"/>
              <a:gd name="connsiteX13" fmla="*/ 1239317 w 1752600"/>
              <a:gd name="connsiteY13" fmla="*/ 1111250 h 1582737"/>
              <a:gd name="connsiteX14" fmla="*/ 1277417 w 1752600"/>
              <a:gd name="connsiteY14" fmla="*/ 876300 h 1582737"/>
              <a:gd name="connsiteX15" fmla="*/ 1190625 w 1752600"/>
              <a:gd name="connsiteY15" fmla="*/ 959344 h 1582737"/>
              <a:gd name="connsiteX16" fmla="*/ 1277417 w 1752600"/>
              <a:gd name="connsiteY16" fmla="*/ 1046162 h 1582737"/>
              <a:gd name="connsiteX17" fmla="*/ 1564208 w 1752600"/>
              <a:gd name="connsiteY17" fmla="*/ 1046162 h 1582737"/>
              <a:gd name="connsiteX18" fmla="*/ 1651000 w 1752600"/>
              <a:gd name="connsiteY18" fmla="*/ 963119 h 1582737"/>
              <a:gd name="connsiteX19" fmla="*/ 1564208 w 1752600"/>
              <a:gd name="connsiteY19" fmla="*/ 876300 h 1582737"/>
              <a:gd name="connsiteX20" fmla="*/ 1277417 w 1752600"/>
              <a:gd name="connsiteY20" fmla="*/ 876300 h 1582737"/>
              <a:gd name="connsiteX21" fmla="*/ 1318202 w 1752600"/>
              <a:gd name="connsiteY21" fmla="*/ 638175 h 1582737"/>
              <a:gd name="connsiteX22" fmla="*/ 1235075 w 1752600"/>
              <a:gd name="connsiteY22" fmla="*/ 725487 h 1582737"/>
              <a:gd name="connsiteX23" fmla="*/ 1318202 w 1752600"/>
              <a:gd name="connsiteY23" fmla="*/ 812800 h 1582737"/>
              <a:gd name="connsiteX24" fmla="*/ 1605369 w 1752600"/>
              <a:gd name="connsiteY24" fmla="*/ 812800 h 1582737"/>
              <a:gd name="connsiteX25" fmla="*/ 1692275 w 1752600"/>
              <a:gd name="connsiteY25" fmla="*/ 725487 h 1582737"/>
              <a:gd name="connsiteX26" fmla="*/ 1605369 w 1752600"/>
              <a:gd name="connsiteY26" fmla="*/ 638175 h 1582737"/>
              <a:gd name="connsiteX27" fmla="*/ 1382437 w 1752600"/>
              <a:gd name="connsiteY27" fmla="*/ 638175 h 1582737"/>
              <a:gd name="connsiteX28" fmla="*/ 1318202 w 1752600"/>
              <a:gd name="connsiteY28" fmla="*/ 638175 h 1582737"/>
              <a:gd name="connsiteX29" fmla="*/ 1159594 w 1752600"/>
              <a:gd name="connsiteY29" fmla="*/ 79375 h 1582737"/>
              <a:gd name="connsiteX30" fmla="*/ 718029 w 1752600"/>
              <a:gd name="connsiteY30" fmla="*/ 495083 h 1582737"/>
              <a:gd name="connsiteX31" fmla="*/ 434975 w 1752600"/>
              <a:gd name="connsiteY31" fmla="*/ 672704 h 1582737"/>
              <a:gd name="connsiteX32" fmla="*/ 434975 w 1752600"/>
              <a:gd name="connsiteY32" fmla="*/ 1443654 h 1582737"/>
              <a:gd name="connsiteX33" fmla="*/ 751996 w 1752600"/>
              <a:gd name="connsiteY33" fmla="*/ 1519237 h 1582737"/>
              <a:gd name="connsiteX34" fmla="*/ 1087887 w 1752600"/>
              <a:gd name="connsiteY34" fmla="*/ 1519237 h 1582737"/>
              <a:gd name="connsiteX35" fmla="*/ 1057694 w 1752600"/>
              <a:gd name="connsiteY35" fmla="*/ 1436096 h 1582737"/>
              <a:gd name="connsiteX36" fmla="*/ 1136949 w 1752600"/>
              <a:gd name="connsiteY36" fmla="*/ 1303825 h 1582737"/>
              <a:gd name="connsiteX37" fmla="*/ 1091661 w 1752600"/>
              <a:gd name="connsiteY37" fmla="*/ 1198008 h 1582737"/>
              <a:gd name="connsiteX38" fmla="*/ 1170916 w 1752600"/>
              <a:gd name="connsiteY38" fmla="*/ 1065737 h 1582737"/>
              <a:gd name="connsiteX39" fmla="*/ 1129401 w 1752600"/>
              <a:gd name="connsiteY39" fmla="*/ 963700 h 1582737"/>
              <a:gd name="connsiteX40" fmla="*/ 1212431 w 1752600"/>
              <a:gd name="connsiteY40" fmla="*/ 827650 h 1582737"/>
              <a:gd name="connsiteX41" fmla="*/ 1170916 w 1752600"/>
              <a:gd name="connsiteY41" fmla="*/ 725612 h 1582737"/>
              <a:gd name="connsiteX42" fmla="*/ 1201109 w 1752600"/>
              <a:gd name="connsiteY42" fmla="*/ 638691 h 1582737"/>
              <a:gd name="connsiteX43" fmla="*/ 963343 w 1752600"/>
              <a:gd name="connsiteY43" fmla="*/ 638691 h 1582737"/>
              <a:gd name="connsiteX44" fmla="*/ 933150 w 1752600"/>
              <a:gd name="connsiteY44" fmla="*/ 619795 h 1582737"/>
              <a:gd name="connsiteX45" fmla="*/ 936924 w 1752600"/>
              <a:gd name="connsiteY45" fmla="*/ 589562 h 1582737"/>
              <a:gd name="connsiteX46" fmla="*/ 1170916 w 1752600"/>
              <a:gd name="connsiteY46" fmla="*/ 298566 h 1582737"/>
              <a:gd name="connsiteX47" fmla="*/ 1159594 w 1752600"/>
              <a:gd name="connsiteY47" fmla="*/ 79375 h 1582737"/>
              <a:gd name="connsiteX48" fmla="*/ 1167141 w 1752600"/>
              <a:gd name="connsiteY48" fmla="*/ 0 h 1582737"/>
              <a:gd name="connsiteX49" fmla="*/ 1189804 w 1752600"/>
              <a:gd name="connsiteY49" fmla="*/ 11332 h 1582737"/>
              <a:gd name="connsiteX50" fmla="*/ 1220021 w 1752600"/>
              <a:gd name="connsiteY50" fmla="*/ 339967 h 1582737"/>
              <a:gd name="connsiteX51" fmla="*/ 1027386 w 1752600"/>
              <a:gd name="connsiteY51" fmla="*/ 574167 h 1582737"/>
              <a:gd name="connsiteX52" fmla="*/ 1605291 w 1752600"/>
              <a:gd name="connsiteY52" fmla="*/ 574167 h 1582737"/>
              <a:gd name="connsiteX53" fmla="*/ 1752600 w 1752600"/>
              <a:gd name="connsiteY53" fmla="*/ 725264 h 1582737"/>
              <a:gd name="connsiteX54" fmla="*/ 1669503 w 1752600"/>
              <a:gd name="connsiteY54" fmla="*/ 857473 h 1582737"/>
              <a:gd name="connsiteX55" fmla="*/ 1711051 w 1752600"/>
              <a:gd name="connsiteY55" fmla="*/ 959464 h 1582737"/>
              <a:gd name="connsiteX56" fmla="*/ 1631731 w 1752600"/>
              <a:gd name="connsiteY56" fmla="*/ 1091673 h 1582737"/>
              <a:gd name="connsiteX57" fmla="*/ 1673280 w 1752600"/>
              <a:gd name="connsiteY57" fmla="*/ 1197441 h 1582737"/>
              <a:gd name="connsiteX58" fmla="*/ 1597737 w 1752600"/>
              <a:gd name="connsiteY58" fmla="*/ 1325873 h 1582737"/>
              <a:gd name="connsiteX59" fmla="*/ 1643063 w 1752600"/>
              <a:gd name="connsiteY59" fmla="*/ 1431641 h 1582737"/>
              <a:gd name="connsiteX60" fmla="*/ 1495754 w 1752600"/>
              <a:gd name="connsiteY60" fmla="*/ 1582737 h 1582737"/>
              <a:gd name="connsiteX61" fmla="*/ 1204913 w 1752600"/>
              <a:gd name="connsiteY61" fmla="*/ 1582737 h 1582737"/>
              <a:gd name="connsiteX62" fmla="*/ 747877 w 1752600"/>
              <a:gd name="connsiteY62" fmla="*/ 1582737 h 1582737"/>
              <a:gd name="connsiteX63" fmla="*/ 740322 w 1752600"/>
              <a:gd name="connsiteY63" fmla="*/ 1582737 h 1582737"/>
              <a:gd name="connsiteX64" fmla="*/ 434373 w 1752600"/>
              <a:gd name="connsiteY64" fmla="*/ 1507189 h 1582737"/>
              <a:gd name="connsiteX65" fmla="*/ 434373 w 1752600"/>
              <a:gd name="connsiteY65" fmla="*/ 1518521 h 1582737"/>
              <a:gd name="connsiteX66" fmla="*/ 373938 w 1752600"/>
              <a:gd name="connsiteY66" fmla="*/ 1582737 h 1582737"/>
              <a:gd name="connsiteX67" fmla="*/ 60434 w 1752600"/>
              <a:gd name="connsiteY67" fmla="*/ 1582737 h 1582737"/>
              <a:gd name="connsiteX68" fmla="*/ 0 w 1752600"/>
              <a:gd name="connsiteY68" fmla="*/ 1518521 h 1582737"/>
              <a:gd name="connsiteX69" fmla="*/ 0 w 1752600"/>
              <a:gd name="connsiteY69" fmla="*/ 528838 h 1582737"/>
              <a:gd name="connsiteX70" fmla="*/ 60434 w 1752600"/>
              <a:gd name="connsiteY70" fmla="*/ 464622 h 1582737"/>
              <a:gd name="connsiteX71" fmla="*/ 373938 w 1752600"/>
              <a:gd name="connsiteY71" fmla="*/ 464622 h 1582737"/>
              <a:gd name="connsiteX72" fmla="*/ 434373 w 1752600"/>
              <a:gd name="connsiteY72" fmla="*/ 528838 h 1582737"/>
              <a:gd name="connsiteX73" fmla="*/ 434373 w 1752600"/>
              <a:gd name="connsiteY73" fmla="*/ 600609 h 1582737"/>
              <a:gd name="connsiteX74" fmla="*/ 679888 w 1752600"/>
              <a:gd name="connsiteY74" fmla="*/ 449512 h 1582737"/>
              <a:gd name="connsiteX75" fmla="*/ 1144478 w 1752600"/>
              <a:gd name="connsiteY75" fmla="*/ 7555 h 1582737"/>
              <a:gd name="connsiteX76" fmla="*/ 1167141 w 1752600"/>
              <a:gd name="connsiteY76" fmla="*/ 0 h 1582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752600" h="1582737">
                <a:moveTo>
                  <a:pt x="1205490" y="1349375"/>
                </a:moveTo>
                <a:cubicBezTo>
                  <a:pt x="1160148" y="1349375"/>
                  <a:pt x="1122363" y="1387122"/>
                  <a:pt x="1122363" y="1432419"/>
                </a:cubicBezTo>
                <a:cubicBezTo>
                  <a:pt x="1122363" y="1481490"/>
                  <a:pt x="1160148" y="1519237"/>
                  <a:pt x="1205490" y="1519237"/>
                </a:cubicBezTo>
                <a:cubicBezTo>
                  <a:pt x="1205490" y="1519237"/>
                  <a:pt x="1205490" y="1519237"/>
                  <a:pt x="1496436" y="1519237"/>
                </a:cubicBezTo>
                <a:cubicBezTo>
                  <a:pt x="1541778" y="1519237"/>
                  <a:pt x="1579563" y="1481490"/>
                  <a:pt x="1579563" y="1436194"/>
                </a:cubicBezTo>
                <a:cubicBezTo>
                  <a:pt x="1579563" y="1387122"/>
                  <a:pt x="1541778" y="1349375"/>
                  <a:pt x="1496436" y="1349375"/>
                </a:cubicBezTo>
                <a:cubicBezTo>
                  <a:pt x="1496436" y="1349375"/>
                  <a:pt x="1496436" y="1349375"/>
                  <a:pt x="1205490" y="1349375"/>
                </a:cubicBezTo>
                <a:close/>
                <a:moveTo>
                  <a:pt x="1239317" y="1111250"/>
                </a:moveTo>
                <a:cubicBezTo>
                  <a:pt x="1194034" y="1111250"/>
                  <a:pt x="1152525" y="1148867"/>
                  <a:pt x="1152525" y="1197769"/>
                </a:cubicBezTo>
                <a:cubicBezTo>
                  <a:pt x="1152525" y="1246671"/>
                  <a:pt x="1194034" y="1284287"/>
                  <a:pt x="1239317" y="1284287"/>
                </a:cubicBezTo>
                <a:cubicBezTo>
                  <a:pt x="1239317" y="1284287"/>
                  <a:pt x="1239317" y="1284287"/>
                  <a:pt x="1526108" y="1284287"/>
                </a:cubicBezTo>
                <a:cubicBezTo>
                  <a:pt x="1575164" y="1284287"/>
                  <a:pt x="1612900" y="1246671"/>
                  <a:pt x="1612900" y="1197769"/>
                </a:cubicBezTo>
                <a:cubicBezTo>
                  <a:pt x="1612900" y="1148867"/>
                  <a:pt x="1575164" y="1111250"/>
                  <a:pt x="1526108" y="1111250"/>
                </a:cubicBezTo>
                <a:cubicBezTo>
                  <a:pt x="1526108" y="1111250"/>
                  <a:pt x="1526108" y="1111250"/>
                  <a:pt x="1239317" y="1111250"/>
                </a:cubicBezTo>
                <a:close/>
                <a:moveTo>
                  <a:pt x="1277417" y="876300"/>
                </a:moveTo>
                <a:cubicBezTo>
                  <a:pt x="1232134" y="876300"/>
                  <a:pt x="1190625" y="914047"/>
                  <a:pt x="1190625" y="959344"/>
                </a:cubicBezTo>
                <a:cubicBezTo>
                  <a:pt x="1190625" y="1008415"/>
                  <a:pt x="1232134" y="1046162"/>
                  <a:pt x="1277417" y="1046162"/>
                </a:cubicBezTo>
                <a:lnTo>
                  <a:pt x="1564208" y="1046162"/>
                </a:lnTo>
                <a:cubicBezTo>
                  <a:pt x="1613264" y="1046162"/>
                  <a:pt x="1651000" y="1008415"/>
                  <a:pt x="1651000" y="963119"/>
                </a:cubicBezTo>
                <a:cubicBezTo>
                  <a:pt x="1651000" y="914047"/>
                  <a:pt x="1613264" y="876300"/>
                  <a:pt x="1564208" y="876300"/>
                </a:cubicBezTo>
                <a:cubicBezTo>
                  <a:pt x="1564208" y="876300"/>
                  <a:pt x="1564208" y="876300"/>
                  <a:pt x="1277417" y="876300"/>
                </a:cubicBezTo>
                <a:close/>
                <a:moveTo>
                  <a:pt x="1318202" y="638175"/>
                </a:moveTo>
                <a:cubicBezTo>
                  <a:pt x="1272860" y="638175"/>
                  <a:pt x="1235075" y="676137"/>
                  <a:pt x="1235075" y="725487"/>
                </a:cubicBezTo>
                <a:cubicBezTo>
                  <a:pt x="1235075" y="771042"/>
                  <a:pt x="1272860" y="812800"/>
                  <a:pt x="1318202" y="812800"/>
                </a:cubicBezTo>
                <a:cubicBezTo>
                  <a:pt x="1318202" y="812800"/>
                  <a:pt x="1318202" y="812800"/>
                  <a:pt x="1605369" y="812800"/>
                </a:cubicBezTo>
                <a:cubicBezTo>
                  <a:pt x="1654490" y="812800"/>
                  <a:pt x="1692275" y="771042"/>
                  <a:pt x="1692275" y="725487"/>
                </a:cubicBezTo>
                <a:cubicBezTo>
                  <a:pt x="1692275" y="676137"/>
                  <a:pt x="1654490" y="638175"/>
                  <a:pt x="1605369" y="638175"/>
                </a:cubicBezTo>
                <a:cubicBezTo>
                  <a:pt x="1605369" y="638175"/>
                  <a:pt x="1605369" y="638175"/>
                  <a:pt x="1382437" y="638175"/>
                </a:cubicBezTo>
                <a:cubicBezTo>
                  <a:pt x="1382437" y="638175"/>
                  <a:pt x="1382437" y="638175"/>
                  <a:pt x="1318202" y="638175"/>
                </a:cubicBezTo>
                <a:close/>
                <a:moveTo>
                  <a:pt x="1159594" y="79375"/>
                </a:moveTo>
                <a:cubicBezTo>
                  <a:pt x="1159594" y="79375"/>
                  <a:pt x="1159594" y="79375"/>
                  <a:pt x="718029" y="495083"/>
                </a:cubicBezTo>
                <a:cubicBezTo>
                  <a:pt x="718029" y="495083"/>
                  <a:pt x="718029" y="495083"/>
                  <a:pt x="434975" y="672704"/>
                </a:cubicBezTo>
                <a:lnTo>
                  <a:pt x="434975" y="1443654"/>
                </a:lnTo>
                <a:cubicBezTo>
                  <a:pt x="434975" y="1443654"/>
                  <a:pt x="434975" y="1443654"/>
                  <a:pt x="751996" y="1519237"/>
                </a:cubicBezTo>
                <a:cubicBezTo>
                  <a:pt x="751996" y="1519237"/>
                  <a:pt x="751996" y="1519237"/>
                  <a:pt x="1087887" y="1519237"/>
                </a:cubicBezTo>
                <a:cubicBezTo>
                  <a:pt x="1069016" y="1496562"/>
                  <a:pt x="1057694" y="1466329"/>
                  <a:pt x="1057694" y="1436096"/>
                </a:cubicBezTo>
                <a:cubicBezTo>
                  <a:pt x="1057694" y="1379408"/>
                  <a:pt x="1091661" y="1330279"/>
                  <a:pt x="1136949" y="1303825"/>
                </a:cubicBezTo>
                <a:cubicBezTo>
                  <a:pt x="1110531" y="1277371"/>
                  <a:pt x="1091661" y="1239579"/>
                  <a:pt x="1091661" y="1198008"/>
                </a:cubicBezTo>
                <a:cubicBezTo>
                  <a:pt x="1091661" y="1141321"/>
                  <a:pt x="1125627" y="1092192"/>
                  <a:pt x="1170916" y="1065737"/>
                </a:cubicBezTo>
                <a:cubicBezTo>
                  <a:pt x="1144498" y="1039283"/>
                  <a:pt x="1129401" y="1001492"/>
                  <a:pt x="1129401" y="963700"/>
                </a:cubicBezTo>
                <a:cubicBezTo>
                  <a:pt x="1129401" y="903233"/>
                  <a:pt x="1163368" y="850325"/>
                  <a:pt x="1212431" y="827650"/>
                </a:cubicBezTo>
                <a:cubicBezTo>
                  <a:pt x="1186012" y="801195"/>
                  <a:pt x="1170916" y="763404"/>
                  <a:pt x="1170916" y="725612"/>
                </a:cubicBezTo>
                <a:cubicBezTo>
                  <a:pt x="1170916" y="691600"/>
                  <a:pt x="1182238" y="661366"/>
                  <a:pt x="1201109" y="638691"/>
                </a:cubicBezTo>
                <a:cubicBezTo>
                  <a:pt x="1201109" y="638691"/>
                  <a:pt x="1201109" y="638691"/>
                  <a:pt x="963343" y="638691"/>
                </a:cubicBezTo>
                <a:cubicBezTo>
                  <a:pt x="948247" y="638691"/>
                  <a:pt x="936924" y="631133"/>
                  <a:pt x="933150" y="619795"/>
                </a:cubicBezTo>
                <a:cubicBezTo>
                  <a:pt x="929376" y="608458"/>
                  <a:pt x="929376" y="597120"/>
                  <a:pt x="936924" y="589562"/>
                </a:cubicBezTo>
                <a:cubicBezTo>
                  <a:pt x="936924" y="589562"/>
                  <a:pt x="1114305" y="370370"/>
                  <a:pt x="1170916" y="298566"/>
                </a:cubicBezTo>
                <a:cubicBezTo>
                  <a:pt x="1235075" y="226762"/>
                  <a:pt x="1189786" y="124725"/>
                  <a:pt x="1159594" y="79375"/>
                </a:cubicBezTo>
                <a:close/>
                <a:moveTo>
                  <a:pt x="1167141" y="0"/>
                </a:moveTo>
                <a:cubicBezTo>
                  <a:pt x="1174695" y="0"/>
                  <a:pt x="1182250" y="3777"/>
                  <a:pt x="1189804" y="11332"/>
                </a:cubicBezTo>
                <a:cubicBezTo>
                  <a:pt x="1197358" y="18887"/>
                  <a:pt x="1337113" y="200203"/>
                  <a:pt x="1220021" y="339967"/>
                </a:cubicBezTo>
                <a:cubicBezTo>
                  <a:pt x="1178472" y="389074"/>
                  <a:pt x="1080266" y="506173"/>
                  <a:pt x="1027386" y="574167"/>
                </a:cubicBezTo>
                <a:cubicBezTo>
                  <a:pt x="1027386" y="574167"/>
                  <a:pt x="1027386" y="574167"/>
                  <a:pt x="1605291" y="574167"/>
                </a:cubicBezTo>
                <a:cubicBezTo>
                  <a:pt x="1688389" y="574167"/>
                  <a:pt x="1752600" y="642160"/>
                  <a:pt x="1752600" y="725264"/>
                </a:cubicBezTo>
                <a:cubicBezTo>
                  <a:pt x="1752600" y="781925"/>
                  <a:pt x="1718606" y="834809"/>
                  <a:pt x="1669503" y="857473"/>
                </a:cubicBezTo>
                <a:cubicBezTo>
                  <a:pt x="1695943" y="883915"/>
                  <a:pt x="1711051" y="921690"/>
                  <a:pt x="1711051" y="959464"/>
                </a:cubicBezTo>
                <a:cubicBezTo>
                  <a:pt x="1711051" y="1019902"/>
                  <a:pt x="1680834" y="1069009"/>
                  <a:pt x="1631731" y="1091673"/>
                </a:cubicBezTo>
                <a:cubicBezTo>
                  <a:pt x="1658171" y="1118115"/>
                  <a:pt x="1673280" y="1155889"/>
                  <a:pt x="1673280" y="1197441"/>
                </a:cubicBezTo>
                <a:cubicBezTo>
                  <a:pt x="1673280" y="1254102"/>
                  <a:pt x="1643063" y="1303208"/>
                  <a:pt x="1597737" y="1325873"/>
                </a:cubicBezTo>
                <a:cubicBezTo>
                  <a:pt x="1624177" y="1352315"/>
                  <a:pt x="1643063" y="1390089"/>
                  <a:pt x="1643063" y="1431641"/>
                </a:cubicBezTo>
                <a:cubicBezTo>
                  <a:pt x="1643063" y="1514744"/>
                  <a:pt x="1575074" y="1582737"/>
                  <a:pt x="1495754" y="1582737"/>
                </a:cubicBezTo>
                <a:cubicBezTo>
                  <a:pt x="1495754" y="1582737"/>
                  <a:pt x="1495754" y="1582737"/>
                  <a:pt x="1204913" y="1582737"/>
                </a:cubicBezTo>
                <a:cubicBezTo>
                  <a:pt x="1204913" y="1582737"/>
                  <a:pt x="1204913" y="1582737"/>
                  <a:pt x="747877" y="1582737"/>
                </a:cubicBezTo>
                <a:cubicBezTo>
                  <a:pt x="747877" y="1582737"/>
                  <a:pt x="744099" y="1582737"/>
                  <a:pt x="740322" y="1582737"/>
                </a:cubicBezTo>
                <a:cubicBezTo>
                  <a:pt x="740322" y="1582737"/>
                  <a:pt x="740322" y="1582737"/>
                  <a:pt x="434373" y="1507189"/>
                </a:cubicBezTo>
                <a:cubicBezTo>
                  <a:pt x="434373" y="1507189"/>
                  <a:pt x="434373" y="1507189"/>
                  <a:pt x="434373" y="1518521"/>
                </a:cubicBezTo>
                <a:cubicBezTo>
                  <a:pt x="434373" y="1556295"/>
                  <a:pt x="407933" y="1582737"/>
                  <a:pt x="373938" y="1582737"/>
                </a:cubicBezTo>
                <a:cubicBezTo>
                  <a:pt x="373938" y="1582737"/>
                  <a:pt x="373938" y="1582737"/>
                  <a:pt x="60434" y="1582737"/>
                </a:cubicBezTo>
                <a:cubicBezTo>
                  <a:pt x="26440" y="1582737"/>
                  <a:pt x="0" y="1552518"/>
                  <a:pt x="0" y="1518521"/>
                </a:cubicBezTo>
                <a:cubicBezTo>
                  <a:pt x="0" y="1518521"/>
                  <a:pt x="0" y="1518521"/>
                  <a:pt x="0" y="528838"/>
                </a:cubicBezTo>
                <a:cubicBezTo>
                  <a:pt x="0" y="491064"/>
                  <a:pt x="26440" y="464622"/>
                  <a:pt x="60434" y="464622"/>
                </a:cubicBezTo>
                <a:cubicBezTo>
                  <a:pt x="60434" y="464622"/>
                  <a:pt x="60434" y="464622"/>
                  <a:pt x="373938" y="464622"/>
                </a:cubicBezTo>
                <a:cubicBezTo>
                  <a:pt x="407933" y="464622"/>
                  <a:pt x="434373" y="491064"/>
                  <a:pt x="434373" y="528838"/>
                </a:cubicBezTo>
                <a:cubicBezTo>
                  <a:pt x="434373" y="528838"/>
                  <a:pt x="434373" y="528838"/>
                  <a:pt x="434373" y="600609"/>
                </a:cubicBezTo>
                <a:cubicBezTo>
                  <a:pt x="434373" y="600609"/>
                  <a:pt x="434373" y="600609"/>
                  <a:pt x="679888" y="449512"/>
                </a:cubicBezTo>
                <a:cubicBezTo>
                  <a:pt x="679888" y="449512"/>
                  <a:pt x="679888" y="449512"/>
                  <a:pt x="1144478" y="7555"/>
                </a:cubicBezTo>
                <a:cubicBezTo>
                  <a:pt x="1152032" y="3777"/>
                  <a:pt x="1159587" y="0"/>
                  <a:pt x="1167141" y="0"/>
                </a:cubicBezTo>
                <a:close/>
              </a:path>
            </a:pathLst>
          </a:custGeom>
          <a:solidFill>
            <a:srgbClr val="003755"/>
          </a:solidFill>
          <a:ln>
            <a:noFill/>
          </a:ln>
        </p:spPr>
        <p:txBody>
          <a:bodyPr vert="horz" wrap="square" lIns="91440" tIns="45720" rIns="91440" bIns="45720" numCol="1" anchor="t" anchorCtr="0" compatLnSpc="1">
            <a:prstTxWarp prst="textNoShape">
              <a:avLst/>
            </a:prstTxWarp>
            <a:noAutofit/>
          </a:bodyPr>
          <a:lstStyle/>
          <a:p>
            <a:endParaRPr lang="en-GB" sz="2000" dirty="0"/>
          </a:p>
        </p:txBody>
      </p:sp>
      <p:sp>
        <p:nvSpPr>
          <p:cNvPr id="16" name="Payment"/>
          <p:cNvSpPr>
            <a:spLocks noChangeAspect="1" noEditPoints="1"/>
          </p:cNvSpPr>
          <p:nvPr>
            <p:custDataLst>
              <p:tags r:id="rId3"/>
            </p:custDataLst>
          </p:nvPr>
        </p:nvSpPr>
        <p:spPr bwMode="auto">
          <a:xfrm>
            <a:off x="2345557" y="5087876"/>
            <a:ext cx="730950" cy="419784"/>
          </a:xfrm>
          <a:custGeom>
            <a:avLst/>
            <a:gdLst>
              <a:gd name="T0" fmla="*/ 77 w 419"/>
              <a:gd name="T1" fmla="*/ 0 h 239"/>
              <a:gd name="T2" fmla="*/ 72 w 419"/>
              <a:gd name="T3" fmla="*/ 36 h 239"/>
              <a:gd name="T4" fmla="*/ 36 w 419"/>
              <a:gd name="T5" fmla="*/ 41 h 239"/>
              <a:gd name="T6" fmla="*/ 5 w 419"/>
              <a:gd name="T7" fmla="*/ 74 h 239"/>
              <a:gd name="T8" fmla="*/ 0 w 419"/>
              <a:gd name="T9" fmla="*/ 234 h 239"/>
              <a:gd name="T10" fmla="*/ 341 w 419"/>
              <a:gd name="T11" fmla="*/ 239 h 239"/>
              <a:gd name="T12" fmla="*/ 346 w 419"/>
              <a:gd name="T13" fmla="*/ 201 h 239"/>
              <a:gd name="T14" fmla="*/ 382 w 419"/>
              <a:gd name="T15" fmla="*/ 196 h 239"/>
              <a:gd name="T16" fmla="*/ 413 w 419"/>
              <a:gd name="T17" fmla="*/ 165 h 239"/>
              <a:gd name="T18" fmla="*/ 419 w 419"/>
              <a:gd name="T19" fmla="*/ 5 h 239"/>
              <a:gd name="T20" fmla="*/ 408 w 419"/>
              <a:gd name="T21" fmla="*/ 155 h 239"/>
              <a:gd name="T22" fmla="*/ 382 w 419"/>
              <a:gd name="T23" fmla="*/ 41 h 239"/>
              <a:gd name="T24" fmla="*/ 82 w 419"/>
              <a:gd name="T25" fmla="*/ 36 h 239"/>
              <a:gd name="T26" fmla="*/ 408 w 419"/>
              <a:gd name="T27" fmla="*/ 10 h 239"/>
              <a:gd name="T28" fmla="*/ 10 w 419"/>
              <a:gd name="T29" fmla="*/ 228 h 239"/>
              <a:gd name="T30" fmla="*/ 336 w 419"/>
              <a:gd name="T31" fmla="*/ 84 h 239"/>
              <a:gd name="T32" fmla="*/ 10 w 419"/>
              <a:gd name="T33" fmla="*/ 229 h 239"/>
              <a:gd name="T34" fmla="*/ 346 w 419"/>
              <a:gd name="T35" fmla="*/ 79 h 239"/>
              <a:gd name="T36" fmla="*/ 46 w 419"/>
              <a:gd name="T37" fmla="*/ 74 h 239"/>
              <a:gd name="T38" fmla="*/ 372 w 419"/>
              <a:gd name="T39" fmla="*/ 46 h 239"/>
              <a:gd name="T40" fmla="*/ 346 w 419"/>
              <a:gd name="T41" fmla="*/ 191 h 239"/>
              <a:gd name="T42" fmla="*/ 37 w 419"/>
              <a:gd name="T43" fmla="*/ 162 h 239"/>
              <a:gd name="T44" fmla="*/ 32 w 419"/>
              <a:gd name="T45" fmla="*/ 116 h 239"/>
              <a:gd name="T46" fmla="*/ 168 w 419"/>
              <a:gd name="T47" fmla="*/ 111 h 239"/>
              <a:gd name="T48" fmla="*/ 173 w 419"/>
              <a:gd name="T49" fmla="*/ 157 h 239"/>
              <a:gd name="T50" fmla="*/ 37 w 419"/>
              <a:gd name="T51" fmla="*/ 162 h 239"/>
              <a:gd name="T52" fmla="*/ 271 w 419"/>
              <a:gd name="T53" fmla="*/ 142 h 239"/>
              <a:gd name="T54" fmla="*/ 276 w 419"/>
              <a:gd name="T55" fmla="*/ 102 h 239"/>
              <a:gd name="T56" fmla="*/ 315 w 419"/>
              <a:gd name="T57" fmla="*/ 108 h 239"/>
              <a:gd name="T58" fmla="*/ 310 w 419"/>
              <a:gd name="T59" fmla="*/ 147 h 239"/>
              <a:gd name="T60" fmla="*/ 281 w 419"/>
              <a:gd name="T61" fmla="*/ 113 h 239"/>
              <a:gd name="T62" fmla="*/ 305 w 419"/>
              <a:gd name="T63" fmla="*/ 137 h 239"/>
              <a:gd name="T64" fmla="*/ 281 w 419"/>
              <a:gd name="T65" fmla="*/ 11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9" h="239">
                <a:moveTo>
                  <a:pt x="413" y="0"/>
                </a:moveTo>
                <a:cubicBezTo>
                  <a:pt x="77" y="0"/>
                  <a:pt x="77" y="0"/>
                  <a:pt x="77" y="0"/>
                </a:cubicBezTo>
                <a:cubicBezTo>
                  <a:pt x="74" y="0"/>
                  <a:pt x="72" y="2"/>
                  <a:pt x="72" y="5"/>
                </a:cubicBezTo>
                <a:cubicBezTo>
                  <a:pt x="72" y="36"/>
                  <a:pt x="72" y="36"/>
                  <a:pt x="72" y="36"/>
                </a:cubicBezTo>
                <a:cubicBezTo>
                  <a:pt x="41" y="36"/>
                  <a:pt x="41" y="36"/>
                  <a:pt x="41" y="36"/>
                </a:cubicBezTo>
                <a:cubicBezTo>
                  <a:pt x="38" y="36"/>
                  <a:pt x="36" y="38"/>
                  <a:pt x="36" y="41"/>
                </a:cubicBezTo>
                <a:cubicBezTo>
                  <a:pt x="36" y="74"/>
                  <a:pt x="36" y="74"/>
                  <a:pt x="36" y="74"/>
                </a:cubicBezTo>
                <a:cubicBezTo>
                  <a:pt x="5" y="74"/>
                  <a:pt x="5" y="74"/>
                  <a:pt x="5" y="74"/>
                </a:cubicBezTo>
                <a:cubicBezTo>
                  <a:pt x="2" y="74"/>
                  <a:pt x="0" y="76"/>
                  <a:pt x="0" y="79"/>
                </a:cubicBezTo>
                <a:cubicBezTo>
                  <a:pt x="0" y="234"/>
                  <a:pt x="0" y="234"/>
                  <a:pt x="0" y="234"/>
                </a:cubicBezTo>
                <a:cubicBezTo>
                  <a:pt x="0" y="237"/>
                  <a:pt x="2" y="239"/>
                  <a:pt x="5" y="239"/>
                </a:cubicBezTo>
                <a:cubicBezTo>
                  <a:pt x="341" y="239"/>
                  <a:pt x="341" y="239"/>
                  <a:pt x="341" y="239"/>
                </a:cubicBezTo>
                <a:cubicBezTo>
                  <a:pt x="344" y="239"/>
                  <a:pt x="346" y="237"/>
                  <a:pt x="346" y="234"/>
                </a:cubicBezTo>
                <a:cubicBezTo>
                  <a:pt x="346" y="201"/>
                  <a:pt x="346" y="201"/>
                  <a:pt x="346" y="201"/>
                </a:cubicBezTo>
                <a:cubicBezTo>
                  <a:pt x="377" y="201"/>
                  <a:pt x="377" y="201"/>
                  <a:pt x="377" y="201"/>
                </a:cubicBezTo>
                <a:cubicBezTo>
                  <a:pt x="380" y="201"/>
                  <a:pt x="382" y="199"/>
                  <a:pt x="382" y="196"/>
                </a:cubicBezTo>
                <a:cubicBezTo>
                  <a:pt x="382" y="165"/>
                  <a:pt x="382" y="165"/>
                  <a:pt x="382" y="165"/>
                </a:cubicBezTo>
                <a:cubicBezTo>
                  <a:pt x="413" y="165"/>
                  <a:pt x="413" y="165"/>
                  <a:pt x="413" y="165"/>
                </a:cubicBezTo>
                <a:cubicBezTo>
                  <a:pt x="416" y="165"/>
                  <a:pt x="419" y="163"/>
                  <a:pt x="419" y="160"/>
                </a:cubicBezTo>
                <a:cubicBezTo>
                  <a:pt x="419" y="5"/>
                  <a:pt x="419" y="5"/>
                  <a:pt x="419" y="5"/>
                </a:cubicBezTo>
                <a:cubicBezTo>
                  <a:pt x="419" y="2"/>
                  <a:pt x="415" y="0"/>
                  <a:pt x="413" y="0"/>
                </a:cubicBezTo>
                <a:close/>
                <a:moveTo>
                  <a:pt x="408" y="155"/>
                </a:moveTo>
                <a:cubicBezTo>
                  <a:pt x="382" y="155"/>
                  <a:pt x="382" y="155"/>
                  <a:pt x="382" y="155"/>
                </a:cubicBezTo>
                <a:cubicBezTo>
                  <a:pt x="382" y="41"/>
                  <a:pt x="382" y="41"/>
                  <a:pt x="382" y="41"/>
                </a:cubicBezTo>
                <a:cubicBezTo>
                  <a:pt x="382" y="38"/>
                  <a:pt x="380" y="36"/>
                  <a:pt x="377" y="36"/>
                </a:cubicBezTo>
                <a:cubicBezTo>
                  <a:pt x="82" y="36"/>
                  <a:pt x="82" y="36"/>
                  <a:pt x="82" y="36"/>
                </a:cubicBezTo>
                <a:cubicBezTo>
                  <a:pt x="82" y="10"/>
                  <a:pt x="82" y="10"/>
                  <a:pt x="82" y="10"/>
                </a:cubicBezTo>
                <a:cubicBezTo>
                  <a:pt x="408" y="10"/>
                  <a:pt x="408" y="10"/>
                  <a:pt x="408" y="10"/>
                </a:cubicBezTo>
                <a:cubicBezTo>
                  <a:pt x="408" y="155"/>
                  <a:pt x="408" y="155"/>
                  <a:pt x="408" y="155"/>
                </a:cubicBezTo>
                <a:close/>
                <a:moveTo>
                  <a:pt x="10" y="228"/>
                </a:moveTo>
                <a:cubicBezTo>
                  <a:pt x="10" y="84"/>
                  <a:pt x="10" y="84"/>
                  <a:pt x="10" y="84"/>
                </a:cubicBezTo>
                <a:cubicBezTo>
                  <a:pt x="336" y="84"/>
                  <a:pt x="336" y="84"/>
                  <a:pt x="336" y="84"/>
                </a:cubicBezTo>
                <a:cubicBezTo>
                  <a:pt x="336" y="229"/>
                  <a:pt x="336" y="229"/>
                  <a:pt x="336" y="229"/>
                </a:cubicBezTo>
                <a:cubicBezTo>
                  <a:pt x="10" y="229"/>
                  <a:pt x="10" y="229"/>
                  <a:pt x="10" y="229"/>
                </a:cubicBezTo>
                <a:lnTo>
                  <a:pt x="10" y="228"/>
                </a:lnTo>
                <a:close/>
                <a:moveTo>
                  <a:pt x="346" y="79"/>
                </a:moveTo>
                <a:cubicBezTo>
                  <a:pt x="346" y="76"/>
                  <a:pt x="344" y="74"/>
                  <a:pt x="341" y="74"/>
                </a:cubicBezTo>
                <a:cubicBezTo>
                  <a:pt x="46" y="74"/>
                  <a:pt x="46" y="74"/>
                  <a:pt x="46" y="74"/>
                </a:cubicBezTo>
                <a:cubicBezTo>
                  <a:pt x="46" y="46"/>
                  <a:pt x="46" y="46"/>
                  <a:pt x="46" y="46"/>
                </a:cubicBezTo>
                <a:cubicBezTo>
                  <a:pt x="372" y="46"/>
                  <a:pt x="372" y="46"/>
                  <a:pt x="372" y="46"/>
                </a:cubicBezTo>
                <a:cubicBezTo>
                  <a:pt x="372" y="191"/>
                  <a:pt x="372" y="191"/>
                  <a:pt x="372" y="191"/>
                </a:cubicBezTo>
                <a:cubicBezTo>
                  <a:pt x="346" y="191"/>
                  <a:pt x="346" y="191"/>
                  <a:pt x="346" y="191"/>
                </a:cubicBezTo>
                <a:lnTo>
                  <a:pt x="346" y="79"/>
                </a:lnTo>
                <a:close/>
                <a:moveTo>
                  <a:pt x="37" y="162"/>
                </a:moveTo>
                <a:cubicBezTo>
                  <a:pt x="34" y="162"/>
                  <a:pt x="32" y="160"/>
                  <a:pt x="32" y="157"/>
                </a:cubicBezTo>
                <a:cubicBezTo>
                  <a:pt x="32" y="116"/>
                  <a:pt x="32" y="116"/>
                  <a:pt x="32" y="116"/>
                </a:cubicBezTo>
                <a:cubicBezTo>
                  <a:pt x="32" y="113"/>
                  <a:pt x="34" y="111"/>
                  <a:pt x="37" y="111"/>
                </a:cubicBezTo>
                <a:cubicBezTo>
                  <a:pt x="168" y="111"/>
                  <a:pt x="168" y="111"/>
                  <a:pt x="168" y="111"/>
                </a:cubicBezTo>
                <a:cubicBezTo>
                  <a:pt x="171" y="111"/>
                  <a:pt x="173" y="113"/>
                  <a:pt x="173" y="116"/>
                </a:cubicBezTo>
                <a:cubicBezTo>
                  <a:pt x="173" y="157"/>
                  <a:pt x="173" y="157"/>
                  <a:pt x="173" y="157"/>
                </a:cubicBezTo>
                <a:cubicBezTo>
                  <a:pt x="173" y="160"/>
                  <a:pt x="171" y="162"/>
                  <a:pt x="168" y="162"/>
                </a:cubicBezTo>
                <a:lnTo>
                  <a:pt x="37" y="162"/>
                </a:lnTo>
                <a:close/>
                <a:moveTo>
                  <a:pt x="276" y="147"/>
                </a:moveTo>
                <a:cubicBezTo>
                  <a:pt x="273" y="147"/>
                  <a:pt x="271" y="145"/>
                  <a:pt x="271" y="142"/>
                </a:cubicBezTo>
                <a:cubicBezTo>
                  <a:pt x="271" y="108"/>
                  <a:pt x="271" y="108"/>
                  <a:pt x="271" y="108"/>
                </a:cubicBezTo>
                <a:cubicBezTo>
                  <a:pt x="271" y="104"/>
                  <a:pt x="273" y="102"/>
                  <a:pt x="276" y="102"/>
                </a:cubicBezTo>
                <a:cubicBezTo>
                  <a:pt x="310" y="102"/>
                  <a:pt x="310" y="102"/>
                  <a:pt x="310" y="102"/>
                </a:cubicBezTo>
                <a:cubicBezTo>
                  <a:pt x="313" y="102"/>
                  <a:pt x="315" y="104"/>
                  <a:pt x="315" y="108"/>
                </a:cubicBezTo>
                <a:cubicBezTo>
                  <a:pt x="315" y="142"/>
                  <a:pt x="315" y="142"/>
                  <a:pt x="315" y="142"/>
                </a:cubicBezTo>
                <a:cubicBezTo>
                  <a:pt x="315" y="145"/>
                  <a:pt x="313" y="147"/>
                  <a:pt x="310" y="147"/>
                </a:cubicBezTo>
                <a:lnTo>
                  <a:pt x="276" y="147"/>
                </a:lnTo>
                <a:close/>
                <a:moveTo>
                  <a:pt x="281" y="113"/>
                </a:moveTo>
                <a:cubicBezTo>
                  <a:pt x="281" y="137"/>
                  <a:pt x="281" y="137"/>
                  <a:pt x="281" y="137"/>
                </a:cubicBezTo>
                <a:cubicBezTo>
                  <a:pt x="305" y="137"/>
                  <a:pt x="305" y="137"/>
                  <a:pt x="305" y="137"/>
                </a:cubicBezTo>
                <a:cubicBezTo>
                  <a:pt x="305" y="113"/>
                  <a:pt x="305" y="113"/>
                  <a:pt x="305" y="113"/>
                </a:cubicBezTo>
                <a:lnTo>
                  <a:pt x="281" y="113"/>
                </a:lnTo>
                <a:close/>
              </a:path>
            </a:pathLst>
          </a:custGeom>
          <a:solidFill>
            <a:srgbClr val="003755"/>
          </a:solidFill>
          <a:ln>
            <a:noFill/>
          </a:ln>
        </p:spPr>
        <p:txBody>
          <a:bodyPr vert="horz" wrap="square" lIns="91440" tIns="45720" rIns="91440" bIns="45720" numCol="1" anchor="t" anchorCtr="0" compatLnSpc="1">
            <a:prstTxWarp prst="textNoShape">
              <a:avLst/>
            </a:prstTxWarp>
          </a:bodyPr>
          <a:lstStyle/>
          <a:p>
            <a:endParaRPr lang="en-GB" sz="2000" dirty="0"/>
          </a:p>
        </p:txBody>
      </p:sp>
      <p:sp>
        <p:nvSpPr>
          <p:cNvPr id="18" name="TextBox 17"/>
          <p:cNvSpPr txBox="1"/>
          <p:nvPr/>
        </p:nvSpPr>
        <p:spPr>
          <a:xfrm>
            <a:off x="3173577" y="5137711"/>
            <a:ext cx="1785797" cy="307776"/>
          </a:xfrm>
          <a:prstGeom prst="rect">
            <a:avLst/>
          </a:prstGeom>
          <a:noFill/>
        </p:spPr>
        <p:txBody>
          <a:bodyPr wrap="square" lIns="0" tIns="0" rIns="0" bIns="0" rtlCol="0">
            <a:spAutoFit/>
          </a:bodyPr>
          <a:lstStyle/>
          <a:p>
            <a:r>
              <a:rPr lang="en-GB" sz="2000" dirty="0" smtClean="0">
                <a:solidFill>
                  <a:srgbClr val="003755"/>
                </a:solidFill>
              </a:rPr>
              <a:t>Abstain</a:t>
            </a:r>
            <a:endParaRPr lang="en-GB" sz="2400" dirty="0" smtClean="0">
              <a:solidFill>
                <a:srgbClr val="003755"/>
              </a:solidFill>
            </a:endParaRPr>
          </a:p>
        </p:txBody>
      </p:sp>
      <p:sp>
        <p:nvSpPr>
          <p:cNvPr id="24" name="TextBox 23"/>
          <p:cNvSpPr txBox="1"/>
          <p:nvPr/>
        </p:nvSpPr>
        <p:spPr>
          <a:xfrm>
            <a:off x="431800" y="6389168"/>
            <a:ext cx="9578474" cy="138499"/>
          </a:xfrm>
          <a:prstGeom prst="rect">
            <a:avLst/>
          </a:prstGeom>
          <a:noFill/>
        </p:spPr>
        <p:txBody>
          <a:bodyPr wrap="square" lIns="0" tIns="0" rIns="0" bIns="0" rtlCol="0">
            <a:spAutoFit/>
          </a:bodyPr>
          <a:lstStyle/>
          <a:p>
            <a:r>
              <a:rPr lang="en-US" sz="900" dirty="0" smtClean="0">
                <a:solidFill>
                  <a:srgbClr val="003755"/>
                </a:solidFill>
              </a:rPr>
              <a:t>Note: </a:t>
            </a:r>
            <a:r>
              <a:rPr lang="en-US" sz="900" dirty="0">
                <a:solidFill>
                  <a:srgbClr val="003755"/>
                </a:solidFill>
              </a:rPr>
              <a:t>Across all voted proposals, </a:t>
            </a:r>
            <a:r>
              <a:rPr lang="en-US" sz="900" dirty="0" smtClean="0">
                <a:solidFill>
                  <a:srgbClr val="003755"/>
                </a:solidFill>
              </a:rPr>
              <a:t>82 proposals </a:t>
            </a:r>
            <a:r>
              <a:rPr lang="en-US" sz="900" dirty="0">
                <a:solidFill>
                  <a:srgbClr val="003755"/>
                </a:solidFill>
              </a:rPr>
              <a:t>with the type of ‘Advisory Vote on Say on Pay Frequency’ was voted on for one year</a:t>
            </a:r>
          </a:p>
        </p:txBody>
      </p:sp>
      <p:sp>
        <p:nvSpPr>
          <p:cNvPr id="3" name="Title 2"/>
          <p:cNvSpPr>
            <a:spLocks noGrp="1"/>
          </p:cNvSpPr>
          <p:nvPr>
            <p:ph type="title"/>
          </p:nvPr>
        </p:nvSpPr>
        <p:spPr/>
        <p:txBody>
          <a:bodyPr/>
          <a:lstStyle/>
          <a:p>
            <a:r>
              <a:rPr lang="en-GB" dirty="0"/>
              <a:t>We predominantly voted ‘For’ the Management proposals</a:t>
            </a:r>
          </a:p>
        </p:txBody>
      </p:sp>
      <p:grpSp>
        <p:nvGrpSpPr>
          <p:cNvPr id="17" name="Group 16"/>
          <p:cNvGrpSpPr/>
          <p:nvPr/>
        </p:nvGrpSpPr>
        <p:grpSpPr>
          <a:xfrm>
            <a:off x="429768" y="192024"/>
            <a:ext cx="3058251" cy="441238"/>
            <a:chOff x="593025" y="3578566"/>
            <a:chExt cx="3058251" cy="441238"/>
          </a:xfrm>
        </p:grpSpPr>
        <p:grpSp>
          <p:nvGrpSpPr>
            <p:cNvPr id="19" name="Group 18"/>
            <p:cNvGrpSpPr>
              <a:grpSpLocks noChangeAspect="1"/>
            </p:cNvGrpSpPr>
            <p:nvPr/>
          </p:nvGrpSpPr>
          <p:grpSpPr>
            <a:xfrm flipV="1">
              <a:off x="593025" y="3578566"/>
              <a:ext cx="3058251" cy="441238"/>
              <a:chOff x="507634" y="4792349"/>
              <a:chExt cx="7560000" cy="1090741"/>
            </a:xfrm>
          </p:grpSpPr>
          <p:sp>
            <p:nvSpPr>
              <p:cNvPr id="21" name="Rectangle 20"/>
              <p:cNvSpPr/>
              <p:nvPr/>
            </p:nvSpPr>
            <p:spPr>
              <a:xfrm>
                <a:off x="507634" y="4793345"/>
                <a:ext cx="7560000" cy="1089745"/>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22" name="Rectangle 21"/>
              <p:cNvSpPr/>
              <p:nvPr/>
            </p:nvSpPr>
            <p:spPr>
              <a:xfrm>
                <a:off x="1000185" y="4792349"/>
                <a:ext cx="6373677" cy="1080000"/>
              </a:xfrm>
              <a:prstGeom prst="rect">
                <a:avLst/>
              </a:prstGeom>
              <a:solidFill>
                <a:schemeClr val="bg1">
                  <a:alpha val="26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600" dirty="0">
                  <a:solidFill>
                    <a:srgbClr val="000000"/>
                  </a:solidFill>
                </a:endParaRPr>
              </a:p>
            </p:txBody>
          </p:sp>
          <p:sp>
            <p:nvSpPr>
              <p:cNvPr id="25" name="Oval 24"/>
              <p:cNvSpPr/>
              <p:nvPr/>
            </p:nvSpPr>
            <p:spPr>
              <a:xfrm>
                <a:off x="544349" y="5005000"/>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chemeClr val="tx1"/>
                  </a:solidFill>
                </a:endParaRPr>
              </a:p>
            </p:txBody>
          </p:sp>
          <p:sp>
            <p:nvSpPr>
              <p:cNvPr id="26" name="TextBox 25"/>
              <p:cNvSpPr txBox="1"/>
              <p:nvPr/>
            </p:nvSpPr>
            <p:spPr>
              <a:xfrm rot="10800000">
                <a:off x="1574125" y="5148013"/>
                <a:ext cx="3557259" cy="380411"/>
              </a:xfrm>
              <a:prstGeom prst="rect">
                <a:avLst/>
              </a:prstGeom>
              <a:noFill/>
            </p:spPr>
            <p:txBody>
              <a:bodyPr wrap="square" lIns="0" tIns="0" rIns="0" bIns="0" rtlCol="0">
                <a:spAutoFit/>
              </a:bodyPr>
              <a:lstStyle/>
              <a:p>
                <a:r>
                  <a:rPr lang="en-US" sz="1000" b="1" dirty="0">
                    <a:solidFill>
                      <a:srgbClr val="003755"/>
                    </a:solidFill>
                  </a:rPr>
                  <a:t>Proposals</a:t>
                </a:r>
              </a:p>
            </p:txBody>
          </p:sp>
          <p:sp>
            <p:nvSpPr>
              <p:cNvPr id="27" name="Rectangle 26"/>
              <p:cNvSpPr/>
              <p:nvPr/>
            </p:nvSpPr>
            <p:spPr>
              <a:xfrm>
                <a:off x="1407794" y="5098677"/>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rgbClr val="000000"/>
                  </a:solidFill>
                </a:endParaRPr>
              </a:p>
            </p:txBody>
          </p:sp>
          <p:sp>
            <p:nvSpPr>
              <p:cNvPr id="28" name="Awareness"/>
              <p:cNvSpPr>
                <a:spLocks noChangeAspect="1"/>
              </p:cNvSpPr>
              <p:nvPr>
                <p:custDataLst>
                  <p:tags r:id="rId4"/>
                </p:custDataLst>
              </p:nvPr>
            </p:nvSpPr>
            <p:spPr bwMode="auto">
              <a:xfrm>
                <a:off x="656829" y="5179506"/>
                <a:ext cx="468147" cy="317423"/>
              </a:xfrm>
              <a:custGeom>
                <a:avLst/>
                <a:gdLst>
                  <a:gd name="connsiteX0" fmla="*/ 366788 w 1770026"/>
                  <a:gd name="connsiteY0" fmla="*/ 784225 h 1200150"/>
                  <a:gd name="connsiteX1" fmla="*/ 336550 w 1770026"/>
                  <a:gd name="connsiteY1" fmla="*/ 871538 h 1200150"/>
                  <a:gd name="connsiteX2" fmla="*/ 495300 w 1770026"/>
                  <a:gd name="connsiteY2" fmla="*/ 784225 h 1200150"/>
                  <a:gd name="connsiteX3" fmla="*/ 366788 w 1770026"/>
                  <a:gd name="connsiteY3" fmla="*/ 784225 h 1200150"/>
                  <a:gd name="connsiteX4" fmla="*/ 190008 w 1770026"/>
                  <a:gd name="connsiteY4" fmla="*/ 784225 h 1200150"/>
                  <a:gd name="connsiteX5" fmla="*/ 53975 w 1770026"/>
                  <a:gd name="connsiteY5" fmla="*/ 1154113 h 1200150"/>
                  <a:gd name="connsiteX6" fmla="*/ 190008 w 1770026"/>
                  <a:gd name="connsiteY6" fmla="*/ 1154113 h 1200150"/>
                  <a:gd name="connsiteX7" fmla="*/ 284476 w 1770026"/>
                  <a:gd name="connsiteY7" fmla="*/ 886133 h 1200150"/>
                  <a:gd name="connsiteX8" fmla="*/ 288254 w 1770026"/>
                  <a:gd name="connsiteY8" fmla="*/ 882359 h 1200150"/>
                  <a:gd name="connsiteX9" fmla="*/ 288254 w 1770026"/>
                  <a:gd name="connsiteY9" fmla="*/ 874810 h 1200150"/>
                  <a:gd name="connsiteX10" fmla="*/ 322263 w 1770026"/>
                  <a:gd name="connsiteY10" fmla="*/ 784225 h 1200150"/>
                  <a:gd name="connsiteX11" fmla="*/ 197566 w 1770026"/>
                  <a:gd name="connsiteY11" fmla="*/ 784225 h 1200150"/>
                  <a:gd name="connsiteX12" fmla="*/ 190008 w 1770026"/>
                  <a:gd name="connsiteY12" fmla="*/ 784225 h 1200150"/>
                  <a:gd name="connsiteX13" fmla="*/ 46038 w 1770026"/>
                  <a:gd name="connsiteY13" fmla="*/ 295275 h 1200150"/>
                  <a:gd name="connsiteX14" fmla="*/ 46038 w 1770026"/>
                  <a:gd name="connsiteY14" fmla="*/ 738188 h 1200150"/>
                  <a:gd name="connsiteX15" fmla="*/ 593726 w 1770026"/>
                  <a:gd name="connsiteY15" fmla="*/ 738188 h 1200150"/>
                  <a:gd name="connsiteX16" fmla="*/ 593726 w 1770026"/>
                  <a:gd name="connsiteY16" fmla="*/ 295275 h 1200150"/>
                  <a:gd name="connsiteX17" fmla="*/ 1411873 w 1770026"/>
                  <a:gd name="connsiteY17" fmla="*/ 198872 h 1200150"/>
                  <a:gd name="connsiteX18" fmla="*/ 1435101 w 1770026"/>
                  <a:gd name="connsiteY18" fmla="*/ 212574 h 1200150"/>
                  <a:gd name="connsiteX19" fmla="*/ 1435101 w 1770026"/>
                  <a:gd name="connsiteY19" fmla="*/ 817336 h 1200150"/>
                  <a:gd name="connsiteX20" fmla="*/ 1408554 w 1770026"/>
                  <a:gd name="connsiteY20" fmla="*/ 828675 h 1200150"/>
                  <a:gd name="connsiteX21" fmla="*/ 1385800 w 1770026"/>
                  <a:gd name="connsiteY21" fmla="*/ 821116 h 1200150"/>
                  <a:gd name="connsiteX22" fmla="*/ 1378215 w 1770026"/>
                  <a:gd name="connsiteY22" fmla="*/ 771979 h 1200150"/>
                  <a:gd name="connsiteX23" fmla="*/ 1378215 w 1770026"/>
                  <a:gd name="connsiteY23" fmla="*/ 254151 h 1200150"/>
                  <a:gd name="connsiteX24" fmla="*/ 1385800 w 1770026"/>
                  <a:gd name="connsiteY24" fmla="*/ 205014 h 1200150"/>
                  <a:gd name="connsiteX25" fmla="*/ 1411873 w 1770026"/>
                  <a:gd name="connsiteY25" fmla="*/ 198872 h 1200150"/>
                  <a:gd name="connsiteX26" fmla="*/ 1632058 w 1770026"/>
                  <a:gd name="connsiteY26" fmla="*/ 111572 h 1200150"/>
                  <a:gd name="connsiteX27" fmla="*/ 1653718 w 1770026"/>
                  <a:gd name="connsiteY27" fmla="*/ 125306 h 1200150"/>
                  <a:gd name="connsiteX28" fmla="*/ 1657485 w 1770026"/>
                  <a:gd name="connsiteY28" fmla="*/ 875434 h 1200150"/>
                  <a:gd name="connsiteX29" fmla="*/ 1627350 w 1770026"/>
                  <a:gd name="connsiteY29" fmla="*/ 890588 h 1200150"/>
                  <a:gd name="connsiteX30" fmla="*/ 1608515 w 1770026"/>
                  <a:gd name="connsiteY30" fmla="*/ 886800 h 1200150"/>
                  <a:gd name="connsiteX31" fmla="*/ 1597214 w 1770026"/>
                  <a:gd name="connsiteY31" fmla="*/ 837549 h 1200150"/>
                  <a:gd name="connsiteX32" fmla="*/ 1597214 w 1770026"/>
                  <a:gd name="connsiteY32" fmla="*/ 166980 h 1200150"/>
                  <a:gd name="connsiteX33" fmla="*/ 1604748 w 1770026"/>
                  <a:gd name="connsiteY33" fmla="*/ 117729 h 1200150"/>
                  <a:gd name="connsiteX34" fmla="*/ 1632058 w 1770026"/>
                  <a:gd name="connsiteY34" fmla="*/ 111572 h 1200150"/>
                  <a:gd name="connsiteX35" fmla="*/ 1177926 w 1770026"/>
                  <a:gd name="connsiteY35" fmla="*/ 57150 h 1200150"/>
                  <a:gd name="connsiteX36" fmla="*/ 687388 w 1770026"/>
                  <a:gd name="connsiteY36" fmla="*/ 284163 h 1200150"/>
                  <a:gd name="connsiteX37" fmla="*/ 687388 w 1770026"/>
                  <a:gd name="connsiteY37" fmla="*/ 754063 h 1200150"/>
                  <a:gd name="connsiteX38" fmla="*/ 1177926 w 1770026"/>
                  <a:gd name="connsiteY38" fmla="*/ 976313 h 1200150"/>
                  <a:gd name="connsiteX39" fmla="*/ 1189964 w 1770026"/>
                  <a:gd name="connsiteY39" fmla="*/ 0 h 1200150"/>
                  <a:gd name="connsiteX40" fmla="*/ 1212630 w 1770026"/>
                  <a:gd name="connsiteY40" fmla="*/ 3786 h 1200150"/>
                  <a:gd name="connsiteX41" fmla="*/ 1223963 w 1770026"/>
                  <a:gd name="connsiteY41" fmla="*/ 22716 h 1200150"/>
                  <a:gd name="connsiteX42" fmla="*/ 1223963 w 1770026"/>
                  <a:gd name="connsiteY42" fmla="*/ 1014638 h 1200150"/>
                  <a:gd name="connsiteX43" fmla="*/ 1212630 w 1770026"/>
                  <a:gd name="connsiteY43" fmla="*/ 1029782 h 1200150"/>
                  <a:gd name="connsiteX44" fmla="*/ 1201297 w 1770026"/>
                  <a:gd name="connsiteY44" fmla="*/ 1033568 h 1200150"/>
                  <a:gd name="connsiteX45" fmla="*/ 1189964 w 1770026"/>
                  <a:gd name="connsiteY45" fmla="*/ 1033568 h 1200150"/>
                  <a:gd name="connsiteX46" fmla="*/ 668646 w 1770026"/>
                  <a:gd name="connsiteY46" fmla="*/ 791266 h 1200150"/>
                  <a:gd name="connsiteX47" fmla="*/ 638425 w 1770026"/>
                  <a:gd name="connsiteY47" fmla="*/ 806410 h 1200150"/>
                  <a:gd name="connsiteX48" fmla="*/ 600648 w 1770026"/>
                  <a:gd name="connsiteY48" fmla="*/ 783694 h 1200150"/>
                  <a:gd name="connsiteX49" fmla="*/ 543983 w 1770026"/>
                  <a:gd name="connsiteY49" fmla="*/ 783694 h 1200150"/>
                  <a:gd name="connsiteX50" fmla="*/ 324879 w 1770026"/>
                  <a:gd name="connsiteY50" fmla="*/ 916203 h 1200150"/>
                  <a:gd name="connsiteX51" fmla="*/ 321101 w 1770026"/>
                  <a:gd name="connsiteY51" fmla="*/ 916203 h 1200150"/>
                  <a:gd name="connsiteX52" fmla="*/ 226660 w 1770026"/>
                  <a:gd name="connsiteY52" fmla="*/ 1185006 h 1200150"/>
                  <a:gd name="connsiteX53" fmla="*/ 203994 w 1770026"/>
                  <a:gd name="connsiteY53" fmla="*/ 1200150 h 1200150"/>
                  <a:gd name="connsiteX54" fmla="*/ 22666 w 1770026"/>
                  <a:gd name="connsiteY54" fmla="*/ 1200150 h 1200150"/>
                  <a:gd name="connsiteX55" fmla="*/ 3777 w 1770026"/>
                  <a:gd name="connsiteY55" fmla="*/ 1188792 h 1200150"/>
                  <a:gd name="connsiteX56" fmla="*/ 0 w 1770026"/>
                  <a:gd name="connsiteY56" fmla="*/ 1169862 h 1200150"/>
                  <a:gd name="connsiteX57" fmla="*/ 139773 w 1770026"/>
                  <a:gd name="connsiteY57" fmla="*/ 783694 h 1200150"/>
                  <a:gd name="connsiteX58" fmla="*/ 22666 w 1770026"/>
                  <a:gd name="connsiteY58" fmla="*/ 783694 h 1200150"/>
                  <a:gd name="connsiteX59" fmla="*/ 0 w 1770026"/>
                  <a:gd name="connsiteY59" fmla="*/ 760979 h 1200150"/>
                  <a:gd name="connsiteX60" fmla="*/ 0 w 1770026"/>
                  <a:gd name="connsiteY60" fmla="*/ 276375 h 1200150"/>
                  <a:gd name="connsiteX61" fmla="*/ 22666 w 1770026"/>
                  <a:gd name="connsiteY61" fmla="*/ 253660 h 1200150"/>
                  <a:gd name="connsiteX62" fmla="*/ 596871 w 1770026"/>
                  <a:gd name="connsiteY62" fmla="*/ 253660 h 1200150"/>
                  <a:gd name="connsiteX63" fmla="*/ 638425 w 1770026"/>
                  <a:gd name="connsiteY63" fmla="*/ 227158 h 1200150"/>
                  <a:gd name="connsiteX64" fmla="*/ 672424 w 1770026"/>
                  <a:gd name="connsiteY64" fmla="*/ 242302 h 1200150"/>
                  <a:gd name="connsiteX65" fmla="*/ 1189964 w 1770026"/>
                  <a:gd name="connsiteY65" fmla="*/ 0 h 120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770026" h="1200150">
                    <a:moveTo>
                      <a:pt x="366788" y="784225"/>
                    </a:moveTo>
                    <a:cubicBezTo>
                      <a:pt x="366788" y="784225"/>
                      <a:pt x="366788" y="784225"/>
                      <a:pt x="336550" y="871538"/>
                    </a:cubicBezTo>
                    <a:cubicBezTo>
                      <a:pt x="397026" y="867742"/>
                      <a:pt x="472621" y="829780"/>
                      <a:pt x="495300" y="784225"/>
                    </a:cubicBezTo>
                    <a:cubicBezTo>
                      <a:pt x="495300" y="784225"/>
                      <a:pt x="495300" y="784225"/>
                      <a:pt x="366788" y="784225"/>
                    </a:cubicBezTo>
                    <a:close/>
                    <a:moveTo>
                      <a:pt x="190008" y="784225"/>
                    </a:moveTo>
                    <a:cubicBezTo>
                      <a:pt x="190008" y="784225"/>
                      <a:pt x="190008" y="784225"/>
                      <a:pt x="53975" y="1154113"/>
                    </a:cubicBezTo>
                    <a:lnTo>
                      <a:pt x="190008" y="1154113"/>
                    </a:lnTo>
                    <a:cubicBezTo>
                      <a:pt x="190008" y="1154113"/>
                      <a:pt x="190008" y="1154113"/>
                      <a:pt x="284476" y="886133"/>
                    </a:cubicBezTo>
                    <a:cubicBezTo>
                      <a:pt x="288254" y="882359"/>
                      <a:pt x="288254" y="882359"/>
                      <a:pt x="288254" y="882359"/>
                    </a:cubicBezTo>
                    <a:cubicBezTo>
                      <a:pt x="288254" y="882359"/>
                      <a:pt x="288254" y="882359"/>
                      <a:pt x="288254" y="874810"/>
                    </a:cubicBezTo>
                    <a:cubicBezTo>
                      <a:pt x="288254" y="874810"/>
                      <a:pt x="288254" y="874810"/>
                      <a:pt x="322263" y="784225"/>
                    </a:cubicBezTo>
                    <a:cubicBezTo>
                      <a:pt x="322263" y="784225"/>
                      <a:pt x="322263" y="784225"/>
                      <a:pt x="197566" y="784225"/>
                    </a:cubicBezTo>
                    <a:cubicBezTo>
                      <a:pt x="197566" y="784225"/>
                      <a:pt x="197566" y="784225"/>
                      <a:pt x="190008" y="784225"/>
                    </a:cubicBezTo>
                    <a:close/>
                    <a:moveTo>
                      <a:pt x="46038" y="295275"/>
                    </a:moveTo>
                    <a:lnTo>
                      <a:pt x="46038" y="738188"/>
                    </a:lnTo>
                    <a:lnTo>
                      <a:pt x="593726" y="738188"/>
                    </a:lnTo>
                    <a:lnTo>
                      <a:pt x="593726" y="295275"/>
                    </a:lnTo>
                    <a:close/>
                    <a:moveTo>
                      <a:pt x="1411873" y="198872"/>
                    </a:moveTo>
                    <a:cubicBezTo>
                      <a:pt x="1420879" y="200290"/>
                      <a:pt x="1429412" y="205014"/>
                      <a:pt x="1435101" y="212574"/>
                    </a:cubicBezTo>
                    <a:cubicBezTo>
                      <a:pt x="1571626" y="390223"/>
                      <a:pt x="1571626" y="639687"/>
                      <a:pt x="1435101" y="817336"/>
                    </a:cubicBezTo>
                    <a:cubicBezTo>
                      <a:pt x="1427516" y="824895"/>
                      <a:pt x="1416139" y="828675"/>
                      <a:pt x="1408554" y="828675"/>
                    </a:cubicBezTo>
                    <a:cubicBezTo>
                      <a:pt x="1400970" y="828675"/>
                      <a:pt x="1393385" y="828675"/>
                      <a:pt x="1385800" y="821116"/>
                    </a:cubicBezTo>
                    <a:cubicBezTo>
                      <a:pt x="1370631" y="809776"/>
                      <a:pt x="1366838" y="787098"/>
                      <a:pt x="1378215" y="771979"/>
                    </a:cubicBezTo>
                    <a:cubicBezTo>
                      <a:pt x="1495779" y="620788"/>
                      <a:pt x="1495779" y="409122"/>
                      <a:pt x="1378215" y="254151"/>
                    </a:cubicBezTo>
                    <a:cubicBezTo>
                      <a:pt x="1366838" y="239032"/>
                      <a:pt x="1370631" y="216354"/>
                      <a:pt x="1385800" y="205014"/>
                    </a:cubicBezTo>
                    <a:cubicBezTo>
                      <a:pt x="1393385" y="199345"/>
                      <a:pt x="1402866" y="197455"/>
                      <a:pt x="1411873" y="198872"/>
                    </a:cubicBezTo>
                    <a:close/>
                    <a:moveTo>
                      <a:pt x="1632058" y="111572"/>
                    </a:moveTo>
                    <a:cubicBezTo>
                      <a:pt x="1640534" y="112993"/>
                      <a:pt x="1648068" y="117729"/>
                      <a:pt x="1653718" y="125306"/>
                    </a:cubicBezTo>
                    <a:cubicBezTo>
                      <a:pt x="1808163" y="348829"/>
                      <a:pt x="1808163" y="651911"/>
                      <a:pt x="1657485" y="875434"/>
                    </a:cubicBezTo>
                    <a:cubicBezTo>
                      <a:pt x="1649951" y="886800"/>
                      <a:pt x="1638651" y="890588"/>
                      <a:pt x="1627350" y="890588"/>
                    </a:cubicBezTo>
                    <a:cubicBezTo>
                      <a:pt x="1619816" y="890588"/>
                      <a:pt x="1616049" y="890588"/>
                      <a:pt x="1608515" y="886800"/>
                    </a:cubicBezTo>
                    <a:cubicBezTo>
                      <a:pt x="1593447" y="875434"/>
                      <a:pt x="1589680" y="852703"/>
                      <a:pt x="1597214" y="837549"/>
                    </a:cubicBezTo>
                    <a:cubicBezTo>
                      <a:pt x="1732824" y="636757"/>
                      <a:pt x="1732824" y="367771"/>
                      <a:pt x="1597214" y="166980"/>
                    </a:cubicBezTo>
                    <a:cubicBezTo>
                      <a:pt x="1585913" y="151825"/>
                      <a:pt x="1589680" y="129094"/>
                      <a:pt x="1604748" y="117729"/>
                    </a:cubicBezTo>
                    <a:cubicBezTo>
                      <a:pt x="1614165" y="112046"/>
                      <a:pt x="1623583" y="110152"/>
                      <a:pt x="1632058" y="111572"/>
                    </a:cubicBezTo>
                    <a:close/>
                    <a:moveTo>
                      <a:pt x="1177926" y="57150"/>
                    </a:moveTo>
                    <a:lnTo>
                      <a:pt x="687388" y="284163"/>
                    </a:lnTo>
                    <a:lnTo>
                      <a:pt x="687388" y="754063"/>
                    </a:lnTo>
                    <a:lnTo>
                      <a:pt x="1177926" y="976313"/>
                    </a:lnTo>
                    <a:close/>
                    <a:moveTo>
                      <a:pt x="1189964" y="0"/>
                    </a:moveTo>
                    <a:cubicBezTo>
                      <a:pt x="1197520" y="0"/>
                      <a:pt x="1205075" y="0"/>
                      <a:pt x="1212630" y="3786"/>
                    </a:cubicBezTo>
                    <a:cubicBezTo>
                      <a:pt x="1220186" y="7572"/>
                      <a:pt x="1223963" y="15144"/>
                      <a:pt x="1223963" y="22716"/>
                    </a:cubicBezTo>
                    <a:cubicBezTo>
                      <a:pt x="1223963" y="22716"/>
                      <a:pt x="1223963" y="22716"/>
                      <a:pt x="1223963" y="1014638"/>
                    </a:cubicBezTo>
                    <a:cubicBezTo>
                      <a:pt x="1223963" y="1022210"/>
                      <a:pt x="1220186" y="1025996"/>
                      <a:pt x="1212630" y="1029782"/>
                    </a:cubicBezTo>
                    <a:cubicBezTo>
                      <a:pt x="1208853" y="1033568"/>
                      <a:pt x="1205075" y="1033568"/>
                      <a:pt x="1201297" y="1033568"/>
                    </a:cubicBezTo>
                    <a:cubicBezTo>
                      <a:pt x="1197520" y="1033568"/>
                      <a:pt x="1193742" y="1033568"/>
                      <a:pt x="1189964" y="1033568"/>
                    </a:cubicBezTo>
                    <a:cubicBezTo>
                      <a:pt x="1189964" y="1033568"/>
                      <a:pt x="1189964" y="1033568"/>
                      <a:pt x="668646" y="791266"/>
                    </a:cubicBezTo>
                    <a:cubicBezTo>
                      <a:pt x="661091" y="798838"/>
                      <a:pt x="649758" y="806410"/>
                      <a:pt x="638425" y="806410"/>
                    </a:cubicBezTo>
                    <a:cubicBezTo>
                      <a:pt x="623314" y="806410"/>
                      <a:pt x="608204" y="795052"/>
                      <a:pt x="600648" y="783694"/>
                    </a:cubicBezTo>
                    <a:cubicBezTo>
                      <a:pt x="600648" y="783694"/>
                      <a:pt x="600648" y="783694"/>
                      <a:pt x="543983" y="783694"/>
                    </a:cubicBezTo>
                    <a:cubicBezTo>
                      <a:pt x="517540" y="863200"/>
                      <a:pt x="400432" y="916203"/>
                      <a:pt x="324879" y="916203"/>
                    </a:cubicBezTo>
                    <a:cubicBezTo>
                      <a:pt x="324879" y="916203"/>
                      <a:pt x="324879" y="916203"/>
                      <a:pt x="321101" y="916203"/>
                    </a:cubicBezTo>
                    <a:cubicBezTo>
                      <a:pt x="321101" y="916203"/>
                      <a:pt x="321101" y="916203"/>
                      <a:pt x="226660" y="1185006"/>
                    </a:cubicBezTo>
                    <a:cubicBezTo>
                      <a:pt x="222882" y="1192578"/>
                      <a:pt x="215327" y="1200150"/>
                      <a:pt x="203994" y="1200150"/>
                    </a:cubicBezTo>
                    <a:cubicBezTo>
                      <a:pt x="203994" y="1200150"/>
                      <a:pt x="203994" y="1200150"/>
                      <a:pt x="22666" y="1200150"/>
                    </a:cubicBezTo>
                    <a:cubicBezTo>
                      <a:pt x="15110" y="1200150"/>
                      <a:pt x="7555" y="1196364"/>
                      <a:pt x="3777" y="1188792"/>
                    </a:cubicBezTo>
                    <a:cubicBezTo>
                      <a:pt x="0" y="1185006"/>
                      <a:pt x="0" y="1177434"/>
                      <a:pt x="0" y="1169862"/>
                    </a:cubicBezTo>
                    <a:cubicBezTo>
                      <a:pt x="0" y="1169862"/>
                      <a:pt x="0" y="1169862"/>
                      <a:pt x="139773" y="783694"/>
                    </a:cubicBezTo>
                    <a:cubicBezTo>
                      <a:pt x="139773" y="783694"/>
                      <a:pt x="139773" y="783694"/>
                      <a:pt x="22666" y="783694"/>
                    </a:cubicBezTo>
                    <a:cubicBezTo>
                      <a:pt x="11333" y="783694"/>
                      <a:pt x="0" y="772336"/>
                      <a:pt x="0" y="760979"/>
                    </a:cubicBezTo>
                    <a:cubicBezTo>
                      <a:pt x="0" y="760979"/>
                      <a:pt x="0" y="760979"/>
                      <a:pt x="0" y="276375"/>
                    </a:cubicBezTo>
                    <a:cubicBezTo>
                      <a:pt x="0" y="261232"/>
                      <a:pt x="11333" y="253660"/>
                      <a:pt x="22666" y="253660"/>
                    </a:cubicBezTo>
                    <a:cubicBezTo>
                      <a:pt x="22666" y="253660"/>
                      <a:pt x="22666" y="253660"/>
                      <a:pt x="596871" y="253660"/>
                    </a:cubicBezTo>
                    <a:cubicBezTo>
                      <a:pt x="604426" y="238516"/>
                      <a:pt x="619537" y="227158"/>
                      <a:pt x="638425" y="227158"/>
                    </a:cubicBezTo>
                    <a:cubicBezTo>
                      <a:pt x="649758" y="227158"/>
                      <a:pt x="661091" y="230944"/>
                      <a:pt x="672424" y="242302"/>
                    </a:cubicBezTo>
                    <a:cubicBezTo>
                      <a:pt x="672424" y="242302"/>
                      <a:pt x="672424" y="242302"/>
                      <a:pt x="1189964"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dirty="0">
                  <a:solidFill>
                    <a:srgbClr val="000000"/>
                  </a:solidFill>
                </a:endParaRPr>
              </a:p>
            </p:txBody>
          </p:sp>
        </p:grpSp>
        <p:sp>
          <p:nvSpPr>
            <p:cNvPr id="20" name="TextBox 19"/>
            <p:cNvSpPr txBox="1"/>
            <p:nvPr/>
          </p:nvSpPr>
          <p:spPr>
            <a:xfrm>
              <a:off x="2672805" y="3684336"/>
              <a:ext cx="809519" cy="229294"/>
            </a:xfrm>
            <a:prstGeom prst="rect">
              <a:avLst/>
            </a:prstGeom>
            <a:noFill/>
          </p:spPr>
          <p:txBody>
            <a:bodyPr wrap="square" rtlCol="0" anchor="ctr" anchorCtr="0">
              <a:spAutoFit/>
            </a:bodyPr>
            <a:lstStyle/>
            <a:p>
              <a:pPr algn="ctr">
                <a:lnSpc>
                  <a:spcPct val="89000"/>
                </a:lnSpc>
              </a:pPr>
              <a:r>
                <a:rPr lang="en-GB" sz="1000" b="1" dirty="0">
                  <a:solidFill>
                    <a:srgbClr val="00304A"/>
                  </a:solidFill>
                  <a:ea typeface="Open Sans" panose="020B0606030504020204" pitchFamily="34" charset="0"/>
                  <a:cs typeface="Open Sans" panose="020B0606030504020204" pitchFamily="34" charset="0"/>
                </a:rPr>
                <a:t>39 717</a:t>
              </a:r>
              <a:endParaRPr lang="en-US" sz="1000" b="1" dirty="0">
                <a:solidFill>
                  <a:srgbClr val="00304A"/>
                </a:solidFill>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350182249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142826" y="2012730"/>
            <a:ext cx="9628963" cy="1211179"/>
          </a:xfrm>
          <a:prstGeom prst="rect">
            <a:avLst/>
          </a:prstGeom>
          <a:solidFill>
            <a:srgbClr val="B2DFD3">
              <a:alpha val="6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687638">
              <a:tabLst>
                <a:tab pos="9153525" algn="r"/>
              </a:tabLst>
            </a:pPr>
            <a:r>
              <a:rPr lang="lt-LT" sz="2800" dirty="0" smtClean="0">
                <a:solidFill>
                  <a:srgbClr val="003755"/>
                </a:solidFill>
              </a:rPr>
              <a:t>    </a:t>
            </a:r>
            <a:r>
              <a:rPr lang="da-DK" sz="2800" dirty="0">
                <a:solidFill>
                  <a:srgbClr val="003755"/>
                </a:solidFill>
              </a:rPr>
              <a:t>	</a:t>
            </a:r>
            <a:r>
              <a:rPr lang="en-US" sz="2000" dirty="0" smtClean="0">
                <a:solidFill>
                  <a:srgbClr val="003755"/>
                </a:solidFill>
              </a:rPr>
              <a:t>64,4</a:t>
            </a:r>
            <a:r>
              <a:rPr lang="sv-SE" sz="2000" dirty="0" smtClean="0">
                <a:solidFill>
                  <a:srgbClr val="003755"/>
                </a:solidFill>
              </a:rPr>
              <a:t>% (7</a:t>
            </a:r>
            <a:r>
              <a:rPr lang="en-GB" sz="2000" dirty="0" smtClean="0">
                <a:solidFill>
                  <a:srgbClr val="003755"/>
                </a:solidFill>
              </a:rPr>
              <a:t>05</a:t>
            </a:r>
            <a:r>
              <a:rPr lang="en-US" sz="2000" dirty="0" smtClean="0">
                <a:solidFill>
                  <a:srgbClr val="003755"/>
                </a:solidFill>
              </a:rPr>
              <a:t> proposals)</a:t>
            </a:r>
            <a:endParaRPr lang="en-US" sz="2000" b="1" dirty="0" smtClean="0">
              <a:solidFill>
                <a:srgbClr val="003755"/>
              </a:solidFill>
            </a:endParaRPr>
          </a:p>
        </p:txBody>
      </p:sp>
      <p:sp>
        <p:nvSpPr>
          <p:cNvPr id="7" name="Rectangle 6"/>
          <p:cNvSpPr/>
          <p:nvPr/>
        </p:nvSpPr>
        <p:spPr>
          <a:xfrm>
            <a:off x="2142826" y="3333007"/>
            <a:ext cx="9628964" cy="1211312"/>
          </a:xfrm>
          <a:prstGeom prst="rect">
            <a:avLst/>
          </a:prstGeom>
          <a:solidFill>
            <a:srgbClr val="F4BAB8">
              <a:alpha val="6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687638">
              <a:tabLst>
                <a:tab pos="9153525" algn="r"/>
              </a:tabLst>
            </a:pPr>
            <a:r>
              <a:rPr lang="lt-LT" sz="2800" dirty="0" smtClean="0">
                <a:solidFill>
                  <a:srgbClr val="003755"/>
                </a:solidFill>
              </a:rPr>
              <a:t>       	 </a:t>
            </a:r>
            <a:r>
              <a:rPr lang="en-US" sz="2000" dirty="0" smtClean="0">
                <a:solidFill>
                  <a:srgbClr val="003755"/>
                </a:solidFill>
              </a:rPr>
              <a:t>34</a:t>
            </a:r>
            <a:r>
              <a:rPr lang="sv-SE" sz="2000" dirty="0" smtClean="0">
                <a:solidFill>
                  <a:srgbClr val="003755"/>
                </a:solidFill>
              </a:rPr>
              <a:t>,2% (</a:t>
            </a:r>
            <a:r>
              <a:rPr lang="en-US" sz="2000" dirty="0" smtClean="0">
                <a:solidFill>
                  <a:srgbClr val="003755"/>
                </a:solidFill>
              </a:rPr>
              <a:t>374</a:t>
            </a:r>
            <a:r>
              <a:rPr lang="lt-LT" sz="2000" dirty="0" smtClean="0">
                <a:solidFill>
                  <a:srgbClr val="003755"/>
                </a:solidFill>
              </a:rPr>
              <a:t> </a:t>
            </a:r>
            <a:r>
              <a:rPr lang="en-US" sz="2000" dirty="0" smtClean="0">
                <a:solidFill>
                  <a:srgbClr val="003755"/>
                </a:solidFill>
              </a:rPr>
              <a:t>proposals)</a:t>
            </a:r>
            <a:endParaRPr lang="en-US" sz="2000" dirty="0">
              <a:solidFill>
                <a:srgbClr val="003755"/>
              </a:solidFill>
            </a:endParaRPr>
          </a:p>
        </p:txBody>
      </p:sp>
      <p:sp>
        <p:nvSpPr>
          <p:cNvPr id="8" name="Rectangle 7"/>
          <p:cNvSpPr/>
          <p:nvPr/>
        </p:nvSpPr>
        <p:spPr>
          <a:xfrm>
            <a:off x="2142826" y="4653417"/>
            <a:ext cx="9628964" cy="1211312"/>
          </a:xfrm>
          <a:prstGeom prst="rect">
            <a:avLst/>
          </a:prstGeom>
          <a:solidFill>
            <a:schemeClr val="bg1">
              <a:lumMod val="95000"/>
              <a:alpha val="6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687638">
              <a:tabLst>
                <a:tab pos="9153525" algn="r"/>
              </a:tabLst>
            </a:pPr>
            <a:r>
              <a:rPr lang="lt-LT" sz="2800" dirty="0" smtClean="0">
                <a:solidFill>
                  <a:srgbClr val="003755"/>
                </a:solidFill>
              </a:rPr>
              <a:t>      	 </a:t>
            </a:r>
            <a:r>
              <a:rPr lang="lt-LT" sz="2000" dirty="0" smtClean="0">
                <a:solidFill>
                  <a:srgbClr val="003755"/>
                </a:solidFill>
              </a:rPr>
              <a:t>1</a:t>
            </a:r>
            <a:r>
              <a:rPr lang="sv-SE" sz="2000" dirty="0" smtClean="0">
                <a:solidFill>
                  <a:srgbClr val="003755"/>
                </a:solidFill>
              </a:rPr>
              <a:t>,4% (</a:t>
            </a:r>
            <a:r>
              <a:rPr lang="en-GB" sz="2000" dirty="0" smtClean="0">
                <a:solidFill>
                  <a:srgbClr val="003755"/>
                </a:solidFill>
              </a:rPr>
              <a:t>15</a:t>
            </a:r>
            <a:r>
              <a:rPr lang="sv-SE" sz="2000" dirty="0" smtClean="0">
                <a:solidFill>
                  <a:srgbClr val="003755"/>
                </a:solidFill>
              </a:rPr>
              <a:t> </a:t>
            </a:r>
            <a:r>
              <a:rPr lang="en-US" sz="2000" dirty="0" smtClean="0">
                <a:solidFill>
                  <a:srgbClr val="003755"/>
                </a:solidFill>
              </a:rPr>
              <a:t>proposals)</a:t>
            </a:r>
            <a:endParaRPr lang="en-US" sz="2000" dirty="0">
              <a:solidFill>
                <a:srgbClr val="003755"/>
              </a:solidFill>
            </a:endParaRPr>
          </a:p>
        </p:txBody>
      </p:sp>
      <p:sp>
        <p:nvSpPr>
          <p:cNvPr id="10" name="Rectangle 9"/>
          <p:cNvSpPr/>
          <p:nvPr/>
        </p:nvSpPr>
        <p:spPr>
          <a:xfrm>
            <a:off x="431790" y="2012731"/>
            <a:ext cx="1696861" cy="3851999"/>
          </a:xfrm>
          <a:prstGeom prst="rect">
            <a:avLst/>
          </a:prstGeom>
          <a:solidFill>
            <a:srgbClr val="00375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lt-LT" sz="2200" dirty="0" smtClean="0">
                <a:solidFill>
                  <a:schemeClr val="bg1"/>
                </a:solidFill>
              </a:rPr>
              <a:t>1</a:t>
            </a:r>
            <a:r>
              <a:rPr lang="en-US" sz="2200" dirty="0" smtClean="0">
                <a:solidFill>
                  <a:schemeClr val="bg1"/>
                </a:solidFill>
              </a:rPr>
              <a:t> </a:t>
            </a:r>
            <a:r>
              <a:rPr lang="en-GB" sz="2200" dirty="0" smtClean="0">
                <a:solidFill>
                  <a:schemeClr val="bg1"/>
                </a:solidFill>
              </a:rPr>
              <a:t>094</a:t>
            </a:r>
            <a:endParaRPr lang="en-US" sz="2200" dirty="0">
              <a:solidFill>
                <a:schemeClr val="bg1"/>
              </a:solidFill>
            </a:endParaRPr>
          </a:p>
          <a:p>
            <a:pPr algn="ctr"/>
            <a:r>
              <a:rPr lang="en-US" sz="2200" dirty="0">
                <a:solidFill>
                  <a:schemeClr val="bg1"/>
                </a:solidFill>
              </a:rPr>
              <a:t>Shareholder</a:t>
            </a:r>
          </a:p>
          <a:p>
            <a:pPr algn="ctr"/>
            <a:r>
              <a:rPr lang="en-US" sz="2200" dirty="0">
                <a:solidFill>
                  <a:schemeClr val="bg1"/>
                </a:solidFill>
              </a:rPr>
              <a:t>proposals</a:t>
            </a:r>
          </a:p>
        </p:txBody>
      </p:sp>
      <p:sp>
        <p:nvSpPr>
          <p:cNvPr id="11" name="Thumbs up"/>
          <p:cNvSpPr>
            <a:spLocks noChangeAspect="1"/>
          </p:cNvSpPr>
          <p:nvPr>
            <p:custDataLst>
              <p:tags r:id="rId1"/>
            </p:custDataLst>
          </p:nvPr>
        </p:nvSpPr>
        <p:spPr bwMode="auto">
          <a:xfrm>
            <a:off x="2405742" y="2342617"/>
            <a:ext cx="610581" cy="551404"/>
          </a:xfrm>
          <a:custGeom>
            <a:avLst/>
            <a:gdLst>
              <a:gd name="connsiteX0" fmla="*/ 1205490 w 1752600"/>
              <a:gd name="connsiteY0" fmla="*/ 1349375 h 1582737"/>
              <a:gd name="connsiteX1" fmla="*/ 1122363 w 1752600"/>
              <a:gd name="connsiteY1" fmla="*/ 1432419 h 1582737"/>
              <a:gd name="connsiteX2" fmla="*/ 1205490 w 1752600"/>
              <a:gd name="connsiteY2" fmla="*/ 1519237 h 1582737"/>
              <a:gd name="connsiteX3" fmla="*/ 1496436 w 1752600"/>
              <a:gd name="connsiteY3" fmla="*/ 1519237 h 1582737"/>
              <a:gd name="connsiteX4" fmla="*/ 1579563 w 1752600"/>
              <a:gd name="connsiteY4" fmla="*/ 1436194 h 1582737"/>
              <a:gd name="connsiteX5" fmla="*/ 1496436 w 1752600"/>
              <a:gd name="connsiteY5" fmla="*/ 1349375 h 1582737"/>
              <a:gd name="connsiteX6" fmla="*/ 1205490 w 1752600"/>
              <a:gd name="connsiteY6" fmla="*/ 1349375 h 1582737"/>
              <a:gd name="connsiteX7" fmla="*/ 1239317 w 1752600"/>
              <a:gd name="connsiteY7" fmla="*/ 1111250 h 1582737"/>
              <a:gd name="connsiteX8" fmla="*/ 1152525 w 1752600"/>
              <a:gd name="connsiteY8" fmla="*/ 1197769 h 1582737"/>
              <a:gd name="connsiteX9" fmla="*/ 1239317 w 1752600"/>
              <a:gd name="connsiteY9" fmla="*/ 1284287 h 1582737"/>
              <a:gd name="connsiteX10" fmla="*/ 1526108 w 1752600"/>
              <a:gd name="connsiteY10" fmla="*/ 1284287 h 1582737"/>
              <a:gd name="connsiteX11" fmla="*/ 1612900 w 1752600"/>
              <a:gd name="connsiteY11" fmla="*/ 1197769 h 1582737"/>
              <a:gd name="connsiteX12" fmla="*/ 1526108 w 1752600"/>
              <a:gd name="connsiteY12" fmla="*/ 1111250 h 1582737"/>
              <a:gd name="connsiteX13" fmla="*/ 1239317 w 1752600"/>
              <a:gd name="connsiteY13" fmla="*/ 1111250 h 1582737"/>
              <a:gd name="connsiteX14" fmla="*/ 1277417 w 1752600"/>
              <a:gd name="connsiteY14" fmla="*/ 876300 h 1582737"/>
              <a:gd name="connsiteX15" fmla="*/ 1190625 w 1752600"/>
              <a:gd name="connsiteY15" fmla="*/ 959344 h 1582737"/>
              <a:gd name="connsiteX16" fmla="*/ 1277417 w 1752600"/>
              <a:gd name="connsiteY16" fmla="*/ 1046162 h 1582737"/>
              <a:gd name="connsiteX17" fmla="*/ 1564208 w 1752600"/>
              <a:gd name="connsiteY17" fmla="*/ 1046162 h 1582737"/>
              <a:gd name="connsiteX18" fmla="*/ 1651000 w 1752600"/>
              <a:gd name="connsiteY18" fmla="*/ 963119 h 1582737"/>
              <a:gd name="connsiteX19" fmla="*/ 1564208 w 1752600"/>
              <a:gd name="connsiteY19" fmla="*/ 876300 h 1582737"/>
              <a:gd name="connsiteX20" fmla="*/ 1277417 w 1752600"/>
              <a:gd name="connsiteY20" fmla="*/ 876300 h 1582737"/>
              <a:gd name="connsiteX21" fmla="*/ 1318202 w 1752600"/>
              <a:gd name="connsiteY21" fmla="*/ 638175 h 1582737"/>
              <a:gd name="connsiteX22" fmla="*/ 1235075 w 1752600"/>
              <a:gd name="connsiteY22" fmla="*/ 725487 h 1582737"/>
              <a:gd name="connsiteX23" fmla="*/ 1318202 w 1752600"/>
              <a:gd name="connsiteY23" fmla="*/ 812800 h 1582737"/>
              <a:gd name="connsiteX24" fmla="*/ 1605369 w 1752600"/>
              <a:gd name="connsiteY24" fmla="*/ 812800 h 1582737"/>
              <a:gd name="connsiteX25" fmla="*/ 1692275 w 1752600"/>
              <a:gd name="connsiteY25" fmla="*/ 725487 h 1582737"/>
              <a:gd name="connsiteX26" fmla="*/ 1605369 w 1752600"/>
              <a:gd name="connsiteY26" fmla="*/ 638175 h 1582737"/>
              <a:gd name="connsiteX27" fmla="*/ 1382437 w 1752600"/>
              <a:gd name="connsiteY27" fmla="*/ 638175 h 1582737"/>
              <a:gd name="connsiteX28" fmla="*/ 1318202 w 1752600"/>
              <a:gd name="connsiteY28" fmla="*/ 638175 h 1582737"/>
              <a:gd name="connsiteX29" fmla="*/ 1159594 w 1752600"/>
              <a:gd name="connsiteY29" fmla="*/ 79375 h 1582737"/>
              <a:gd name="connsiteX30" fmla="*/ 718029 w 1752600"/>
              <a:gd name="connsiteY30" fmla="*/ 495083 h 1582737"/>
              <a:gd name="connsiteX31" fmla="*/ 434975 w 1752600"/>
              <a:gd name="connsiteY31" fmla="*/ 672704 h 1582737"/>
              <a:gd name="connsiteX32" fmla="*/ 434975 w 1752600"/>
              <a:gd name="connsiteY32" fmla="*/ 1443654 h 1582737"/>
              <a:gd name="connsiteX33" fmla="*/ 751996 w 1752600"/>
              <a:gd name="connsiteY33" fmla="*/ 1519237 h 1582737"/>
              <a:gd name="connsiteX34" fmla="*/ 1087887 w 1752600"/>
              <a:gd name="connsiteY34" fmla="*/ 1519237 h 1582737"/>
              <a:gd name="connsiteX35" fmla="*/ 1057694 w 1752600"/>
              <a:gd name="connsiteY35" fmla="*/ 1436096 h 1582737"/>
              <a:gd name="connsiteX36" fmla="*/ 1136949 w 1752600"/>
              <a:gd name="connsiteY36" fmla="*/ 1303825 h 1582737"/>
              <a:gd name="connsiteX37" fmla="*/ 1091661 w 1752600"/>
              <a:gd name="connsiteY37" fmla="*/ 1198008 h 1582737"/>
              <a:gd name="connsiteX38" fmla="*/ 1170916 w 1752600"/>
              <a:gd name="connsiteY38" fmla="*/ 1065737 h 1582737"/>
              <a:gd name="connsiteX39" fmla="*/ 1129401 w 1752600"/>
              <a:gd name="connsiteY39" fmla="*/ 963700 h 1582737"/>
              <a:gd name="connsiteX40" fmla="*/ 1212431 w 1752600"/>
              <a:gd name="connsiteY40" fmla="*/ 827650 h 1582737"/>
              <a:gd name="connsiteX41" fmla="*/ 1170916 w 1752600"/>
              <a:gd name="connsiteY41" fmla="*/ 725612 h 1582737"/>
              <a:gd name="connsiteX42" fmla="*/ 1201109 w 1752600"/>
              <a:gd name="connsiteY42" fmla="*/ 638691 h 1582737"/>
              <a:gd name="connsiteX43" fmla="*/ 963343 w 1752600"/>
              <a:gd name="connsiteY43" fmla="*/ 638691 h 1582737"/>
              <a:gd name="connsiteX44" fmla="*/ 933150 w 1752600"/>
              <a:gd name="connsiteY44" fmla="*/ 619795 h 1582737"/>
              <a:gd name="connsiteX45" fmla="*/ 936924 w 1752600"/>
              <a:gd name="connsiteY45" fmla="*/ 589562 h 1582737"/>
              <a:gd name="connsiteX46" fmla="*/ 1170916 w 1752600"/>
              <a:gd name="connsiteY46" fmla="*/ 298566 h 1582737"/>
              <a:gd name="connsiteX47" fmla="*/ 1159594 w 1752600"/>
              <a:gd name="connsiteY47" fmla="*/ 79375 h 1582737"/>
              <a:gd name="connsiteX48" fmla="*/ 1167141 w 1752600"/>
              <a:gd name="connsiteY48" fmla="*/ 0 h 1582737"/>
              <a:gd name="connsiteX49" fmla="*/ 1189804 w 1752600"/>
              <a:gd name="connsiteY49" fmla="*/ 11332 h 1582737"/>
              <a:gd name="connsiteX50" fmla="*/ 1220021 w 1752600"/>
              <a:gd name="connsiteY50" fmla="*/ 339967 h 1582737"/>
              <a:gd name="connsiteX51" fmla="*/ 1027386 w 1752600"/>
              <a:gd name="connsiteY51" fmla="*/ 574167 h 1582737"/>
              <a:gd name="connsiteX52" fmla="*/ 1605291 w 1752600"/>
              <a:gd name="connsiteY52" fmla="*/ 574167 h 1582737"/>
              <a:gd name="connsiteX53" fmla="*/ 1752600 w 1752600"/>
              <a:gd name="connsiteY53" fmla="*/ 725264 h 1582737"/>
              <a:gd name="connsiteX54" fmla="*/ 1669503 w 1752600"/>
              <a:gd name="connsiteY54" fmla="*/ 857473 h 1582737"/>
              <a:gd name="connsiteX55" fmla="*/ 1711051 w 1752600"/>
              <a:gd name="connsiteY55" fmla="*/ 959464 h 1582737"/>
              <a:gd name="connsiteX56" fmla="*/ 1631731 w 1752600"/>
              <a:gd name="connsiteY56" fmla="*/ 1091673 h 1582737"/>
              <a:gd name="connsiteX57" fmla="*/ 1673280 w 1752600"/>
              <a:gd name="connsiteY57" fmla="*/ 1197441 h 1582737"/>
              <a:gd name="connsiteX58" fmla="*/ 1597737 w 1752600"/>
              <a:gd name="connsiteY58" fmla="*/ 1325873 h 1582737"/>
              <a:gd name="connsiteX59" fmla="*/ 1643063 w 1752600"/>
              <a:gd name="connsiteY59" fmla="*/ 1431641 h 1582737"/>
              <a:gd name="connsiteX60" fmla="*/ 1495754 w 1752600"/>
              <a:gd name="connsiteY60" fmla="*/ 1582737 h 1582737"/>
              <a:gd name="connsiteX61" fmla="*/ 1204913 w 1752600"/>
              <a:gd name="connsiteY61" fmla="*/ 1582737 h 1582737"/>
              <a:gd name="connsiteX62" fmla="*/ 747877 w 1752600"/>
              <a:gd name="connsiteY62" fmla="*/ 1582737 h 1582737"/>
              <a:gd name="connsiteX63" fmla="*/ 740322 w 1752600"/>
              <a:gd name="connsiteY63" fmla="*/ 1582737 h 1582737"/>
              <a:gd name="connsiteX64" fmla="*/ 434373 w 1752600"/>
              <a:gd name="connsiteY64" fmla="*/ 1507189 h 1582737"/>
              <a:gd name="connsiteX65" fmla="*/ 434373 w 1752600"/>
              <a:gd name="connsiteY65" fmla="*/ 1518521 h 1582737"/>
              <a:gd name="connsiteX66" fmla="*/ 373938 w 1752600"/>
              <a:gd name="connsiteY66" fmla="*/ 1582737 h 1582737"/>
              <a:gd name="connsiteX67" fmla="*/ 60434 w 1752600"/>
              <a:gd name="connsiteY67" fmla="*/ 1582737 h 1582737"/>
              <a:gd name="connsiteX68" fmla="*/ 0 w 1752600"/>
              <a:gd name="connsiteY68" fmla="*/ 1518521 h 1582737"/>
              <a:gd name="connsiteX69" fmla="*/ 0 w 1752600"/>
              <a:gd name="connsiteY69" fmla="*/ 528838 h 1582737"/>
              <a:gd name="connsiteX70" fmla="*/ 60434 w 1752600"/>
              <a:gd name="connsiteY70" fmla="*/ 464622 h 1582737"/>
              <a:gd name="connsiteX71" fmla="*/ 373938 w 1752600"/>
              <a:gd name="connsiteY71" fmla="*/ 464622 h 1582737"/>
              <a:gd name="connsiteX72" fmla="*/ 434373 w 1752600"/>
              <a:gd name="connsiteY72" fmla="*/ 528838 h 1582737"/>
              <a:gd name="connsiteX73" fmla="*/ 434373 w 1752600"/>
              <a:gd name="connsiteY73" fmla="*/ 600609 h 1582737"/>
              <a:gd name="connsiteX74" fmla="*/ 679888 w 1752600"/>
              <a:gd name="connsiteY74" fmla="*/ 449512 h 1582737"/>
              <a:gd name="connsiteX75" fmla="*/ 1144478 w 1752600"/>
              <a:gd name="connsiteY75" fmla="*/ 7555 h 1582737"/>
              <a:gd name="connsiteX76" fmla="*/ 1167141 w 1752600"/>
              <a:gd name="connsiteY76" fmla="*/ 0 h 1582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752600" h="1582737">
                <a:moveTo>
                  <a:pt x="1205490" y="1349375"/>
                </a:moveTo>
                <a:cubicBezTo>
                  <a:pt x="1160148" y="1349375"/>
                  <a:pt x="1122363" y="1387122"/>
                  <a:pt x="1122363" y="1432419"/>
                </a:cubicBezTo>
                <a:cubicBezTo>
                  <a:pt x="1122363" y="1481490"/>
                  <a:pt x="1160148" y="1519237"/>
                  <a:pt x="1205490" y="1519237"/>
                </a:cubicBezTo>
                <a:cubicBezTo>
                  <a:pt x="1205490" y="1519237"/>
                  <a:pt x="1205490" y="1519237"/>
                  <a:pt x="1496436" y="1519237"/>
                </a:cubicBezTo>
                <a:cubicBezTo>
                  <a:pt x="1541778" y="1519237"/>
                  <a:pt x="1579563" y="1481490"/>
                  <a:pt x="1579563" y="1436194"/>
                </a:cubicBezTo>
                <a:cubicBezTo>
                  <a:pt x="1579563" y="1387122"/>
                  <a:pt x="1541778" y="1349375"/>
                  <a:pt x="1496436" y="1349375"/>
                </a:cubicBezTo>
                <a:cubicBezTo>
                  <a:pt x="1496436" y="1349375"/>
                  <a:pt x="1496436" y="1349375"/>
                  <a:pt x="1205490" y="1349375"/>
                </a:cubicBezTo>
                <a:close/>
                <a:moveTo>
                  <a:pt x="1239317" y="1111250"/>
                </a:moveTo>
                <a:cubicBezTo>
                  <a:pt x="1194034" y="1111250"/>
                  <a:pt x="1152525" y="1148867"/>
                  <a:pt x="1152525" y="1197769"/>
                </a:cubicBezTo>
                <a:cubicBezTo>
                  <a:pt x="1152525" y="1246671"/>
                  <a:pt x="1194034" y="1284287"/>
                  <a:pt x="1239317" y="1284287"/>
                </a:cubicBezTo>
                <a:cubicBezTo>
                  <a:pt x="1239317" y="1284287"/>
                  <a:pt x="1239317" y="1284287"/>
                  <a:pt x="1526108" y="1284287"/>
                </a:cubicBezTo>
                <a:cubicBezTo>
                  <a:pt x="1575164" y="1284287"/>
                  <a:pt x="1612900" y="1246671"/>
                  <a:pt x="1612900" y="1197769"/>
                </a:cubicBezTo>
                <a:cubicBezTo>
                  <a:pt x="1612900" y="1148867"/>
                  <a:pt x="1575164" y="1111250"/>
                  <a:pt x="1526108" y="1111250"/>
                </a:cubicBezTo>
                <a:cubicBezTo>
                  <a:pt x="1526108" y="1111250"/>
                  <a:pt x="1526108" y="1111250"/>
                  <a:pt x="1239317" y="1111250"/>
                </a:cubicBezTo>
                <a:close/>
                <a:moveTo>
                  <a:pt x="1277417" y="876300"/>
                </a:moveTo>
                <a:cubicBezTo>
                  <a:pt x="1232134" y="876300"/>
                  <a:pt x="1190625" y="914047"/>
                  <a:pt x="1190625" y="959344"/>
                </a:cubicBezTo>
                <a:cubicBezTo>
                  <a:pt x="1190625" y="1008415"/>
                  <a:pt x="1232134" y="1046162"/>
                  <a:pt x="1277417" y="1046162"/>
                </a:cubicBezTo>
                <a:lnTo>
                  <a:pt x="1564208" y="1046162"/>
                </a:lnTo>
                <a:cubicBezTo>
                  <a:pt x="1613264" y="1046162"/>
                  <a:pt x="1651000" y="1008415"/>
                  <a:pt x="1651000" y="963119"/>
                </a:cubicBezTo>
                <a:cubicBezTo>
                  <a:pt x="1651000" y="914047"/>
                  <a:pt x="1613264" y="876300"/>
                  <a:pt x="1564208" y="876300"/>
                </a:cubicBezTo>
                <a:cubicBezTo>
                  <a:pt x="1564208" y="876300"/>
                  <a:pt x="1564208" y="876300"/>
                  <a:pt x="1277417" y="876300"/>
                </a:cubicBezTo>
                <a:close/>
                <a:moveTo>
                  <a:pt x="1318202" y="638175"/>
                </a:moveTo>
                <a:cubicBezTo>
                  <a:pt x="1272860" y="638175"/>
                  <a:pt x="1235075" y="676137"/>
                  <a:pt x="1235075" y="725487"/>
                </a:cubicBezTo>
                <a:cubicBezTo>
                  <a:pt x="1235075" y="771042"/>
                  <a:pt x="1272860" y="812800"/>
                  <a:pt x="1318202" y="812800"/>
                </a:cubicBezTo>
                <a:cubicBezTo>
                  <a:pt x="1318202" y="812800"/>
                  <a:pt x="1318202" y="812800"/>
                  <a:pt x="1605369" y="812800"/>
                </a:cubicBezTo>
                <a:cubicBezTo>
                  <a:pt x="1654490" y="812800"/>
                  <a:pt x="1692275" y="771042"/>
                  <a:pt x="1692275" y="725487"/>
                </a:cubicBezTo>
                <a:cubicBezTo>
                  <a:pt x="1692275" y="676137"/>
                  <a:pt x="1654490" y="638175"/>
                  <a:pt x="1605369" y="638175"/>
                </a:cubicBezTo>
                <a:cubicBezTo>
                  <a:pt x="1605369" y="638175"/>
                  <a:pt x="1605369" y="638175"/>
                  <a:pt x="1382437" y="638175"/>
                </a:cubicBezTo>
                <a:cubicBezTo>
                  <a:pt x="1382437" y="638175"/>
                  <a:pt x="1382437" y="638175"/>
                  <a:pt x="1318202" y="638175"/>
                </a:cubicBezTo>
                <a:close/>
                <a:moveTo>
                  <a:pt x="1159594" y="79375"/>
                </a:moveTo>
                <a:cubicBezTo>
                  <a:pt x="1159594" y="79375"/>
                  <a:pt x="1159594" y="79375"/>
                  <a:pt x="718029" y="495083"/>
                </a:cubicBezTo>
                <a:cubicBezTo>
                  <a:pt x="718029" y="495083"/>
                  <a:pt x="718029" y="495083"/>
                  <a:pt x="434975" y="672704"/>
                </a:cubicBezTo>
                <a:lnTo>
                  <a:pt x="434975" y="1443654"/>
                </a:lnTo>
                <a:cubicBezTo>
                  <a:pt x="434975" y="1443654"/>
                  <a:pt x="434975" y="1443654"/>
                  <a:pt x="751996" y="1519237"/>
                </a:cubicBezTo>
                <a:cubicBezTo>
                  <a:pt x="751996" y="1519237"/>
                  <a:pt x="751996" y="1519237"/>
                  <a:pt x="1087887" y="1519237"/>
                </a:cubicBezTo>
                <a:cubicBezTo>
                  <a:pt x="1069016" y="1496562"/>
                  <a:pt x="1057694" y="1466329"/>
                  <a:pt x="1057694" y="1436096"/>
                </a:cubicBezTo>
                <a:cubicBezTo>
                  <a:pt x="1057694" y="1379408"/>
                  <a:pt x="1091661" y="1330279"/>
                  <a:pt x="1136949" y="1303825"/>
                </a:cubicBezTo>
                <a:cubicBezTo>
                  <a:pt x="1110531" y="1277371"/>
                  <a:pt x="1091661" y="1239579"/>
                  <a:pt x="1091661" y="1198008"/>
                </a:cubicBezTo>
                <a:cubicBezTo>
                  <a:pt x="1091661" y="1141321"/>
                  <a:pt x="1125627" y="1092192"/>
                  <a:pt x="1170916" y="1065737"/>
                </a:cubicBezTo>
                <a:cubicBezTo>
                  <a:pt x="1144498" y="1039283"/>
                  <a:pt x="1129401" y="1001492"/>
                  <a:pt x="1129401" y="963700"/>
                </a:cubicBezTo>
                <a:cubicBezTo>
                  <a:pt x="1129401" y="903233"/>
                  <a:pt x="1163368" y="850325"/>
                  <a:pt x="1212431" y="827650"/>
                </a:cubicBezTo>
                <a:cubicBezTo>
                  <a:pt x="1186012" y="801195"/>
                  <a:pt x="1170916" y="763404"/>
                  <a:pt x="1170916" y="725612"/>
                </a:cubicBezTo>
                <a:cubicBezTo>
                  <a:pt x="1170916" y="691600"/>
                  <a:pt x="1182238" y="661366"/>
                  <a:pt x="1201109" y="638691"/>
                </a:cubicBezTo>
                <a:cubicBezTo>
                  <a:pt x="1201109" y="638691"/>
                  <a:pt x="1201109" y="638691"/>
                  <a:pt x="963343" y="638691"/>
                </a:cubicBezTo>
                <a:cubicBezTo>
                  <a:pt x="948247" y="638691"/>
                  <a:pt x="936924" y="631133"/>
                  <a:pt x="933150" y="619795"/>
                </a:cubicBezTo>
                <a:cubicBezTo>
                  <a:pt x="929376" y="608458"/>
                  <a:pt x="929376" y="597120"/>
                  <a:pt x="936924" y="589562"/>
                </a:cubicBezTo>
                <a:cubicBezTo>
                  <a:pt x="936924" y="589562"/>
                  <a:pt x="1114305" y="370370"/>
                  <a:pt x="1170916" y="298566"/>
                </a:cubicBezTo>
                <a:cubicBezTo>
                  <a:pt x="1235075" y="226762"/>
                  <a:pt x="1189786" y="124725"/>
                  <a:pt x="1159594" y="79375"/>
                </a:cubicBezTo>
                <a:close/>
                <a:moveTo>
                  <a:pt x="1167141" y="0"/>
                </a:moveTo>
                <a:cubicBezTo>
                  <a:pt x="1174695" y="0"/>
                  <a:pt x="1182250" y="3777"/>
                  <a:pt x="1189804" y="11332"/>
                </a:cubicBezTo>
                <a:cubicBezTo>
                  <a:pt x="1197358" y="18887"/>
                  <a:pt x="1337113" y="200203"/>
                  <a:pt x="1220021" y="339967"/>
                </a:cubicBezTo>
                <a:cubicBezTo>
                  <a:pt x="1178472" y="389074"/>
                  <a:pt x="1080266" y="506173"/>
                  <a:pt x="1027386" y="574167"/>
                </a:cubicBezTo>
                <a:cubicBezTo>
                  <a:pt x="1027386" y="574167"/>
                  <a:pt x="1027386" y="574167"/>
                  <a:pt x="1605291" y="574167"/>
                </a:cubicBezTo>
                <a:cubicBezTo>
                  <a:pt x="1688389" y="574167"/>
                  <a:pt x="1752600" y="642160"/>
                  <a:pt x="1752600" y="725264"/>
                </a:cubicBezTo>
                <a:cubicBezTo>
                  <a:pt x="1752600" y="781925"/>
                  <a:pt x="1718606" y="834809"/>
                  <a:pt x="1669503" y="857473"/>
                </a:cubicBezTo>
                <a:cubicBezTo>
                  <a:pt x="1695943" y="883915"/>
                  <a:pt x="1711051" y="921690"/>
                  <a:pt x="1711051" y="959464"/>
                </a:cubicBezTo>
                <a:cubicBezTo>
                  <a:pt x="1711051" y="1019902"/>
                  <a:pt x="1680834" y="1069009"/>
                  <a:pt x="1631731" y="1091673"/>
                </a:cubicBezTo>
                <a:cubicBezTo>
                  <a:pt x="1658171" y="1118115"/>
                  <a:pt x="1673280" y="1155889"/>
                  <a:pt x="1673280" y="1197441"/>
                </a:cubicBezTo>
                <a:cubicBezTo>
                  <a:pt x="1673280" y="1254102"/>
                  <a:pt x="1643063" y="1303208"/>
                  <a:pt x="1597737" y="1325873"/>
                </a:cubicBezTo>
                <a:cubicBezTo>
                  <a:pt x="1624177" y="1352315"/>
                  <a:pt x="1643063" y="1390089"/>
                  <a:pt x="1643063" y="1431641"/>
                </a:cubicBezTo>
                <a:cubicBezTo>
                  <a:pt x="1643063" y="1514744"/>
                  <a:pt x="1575074" y="1582737"/>
                  <a:pt x="1495754" y="1582737"/>
                </a:cubicBezTo>
                <a:cubicBezTo>
                  <a:pt x="1495754" y="1582737"/>
                  <a:pt x="1495754" y="1582737"/>
                  <a:pt x="1204913" y="1582737"/>
                </a:cubicBezTo>
                <a:cubicBezTo>
                  <a:pt x="1204913" y="1582737"/>
                  <a:pt x="1204913" y="1582737"/>
                  <a:pt x="747877" y="1582737"/>
                </a:cubicBezTo>
                <a:cubicBezTo>
                  <a:pt x="747877" y="1582737"/>
                  <a:pt x="744099" y="1582737"/>
                  <a:pt x="740322" y="1582737"/>
                </a:cubicBezTo>
                <a:cubicBezTo>
                  <a:pt x="740322" y="1582737"/>
                  <a:pt x="740322" y="1582737"/>
                  <a:pt x="434373" y="1507189"/>
                </a:cubicBezTo>
                <a:cubicBezTo>
                  <a:pt x="434373" y="1507189"/>
                  <a:pt x="434373" y="1507189"/>
                  <a:pt x="434373" y="1518521"/>
                </a:cubicBezTo>
                <a:cubicBezTo>
                  <a:pt x="434373" y="1556295"/>
                  <a:pt x="407933" y="1582737"/>
                  <a:pt x="373938" y="1582737"/>
                </a:cubicBezTo>
                <a:cubicBezTo>
                  <a:pt x="373938" y="1582737"/>
                  <a:pt x="373938" y="1582737"/>
                  <a:pt x="60434" y="1582737"/>
                </a:cubicBezTo>
                <a:cubicBezTo>
                  <a:pt x="26440" y="1582737"/>
                  <a:pt x="0" y="1552518"/>
                  <a:pt x="0" y="1518521"/>
                </a:cubicBezTo>
                <a:cubicBezTo>
                  <a:pt x="0" y="1518521"/>
                  <a:pt x="0" y="1518521"/>
                  <a:pt x="0" y="528838"/>
                </a:cubicBezTo>
                <a:cubicBezTo>
                  <a:pt x="0" y="491064"/>
                  <a:pt x="26440" y="464622"/>
                  <a:pt x="60434" y="464622"/>
                </a:cubicBezTo>
                <a:cubicBezTo>
                  <a:pt x="60434" y="464622"/>
                  <a:pt x="60434" y="464622"/>
                  <a:pt x="373938" y="464622"/>
                </a:cubicBezTo>
                <a:cubicBezTo>
                  <a:pt x="407933" y="464622"/>
                  <a:pt x="434373" y="491064"/>
                  <a:pt x="434373" y="528838"/>
                </a:cubicBezTo>
                <a:cubicBezTo>
                  <a:pt x="434373" y="528838"/>
                  <a:pt x="434373" y="528838"/>
                  <a:pt x="434373" y="600609"/>
                </a:cubicBezTo>
                <a:cubicBezTo>
                  <a:pt x="434373" y="600609"/>
                  <a:pt x="434373" y="600609"/>
                  <a:pt x="679888" y="449512"/>
                </a:cubicBezTo>
                <a:cubicBezTo>
                  <a:pt x="679888" y="449512"/>
                  <a:pt x="679888" y="449512"/>
                  <a:pt x="1144478" y="7555"/>
                </a:cubicBezTo>
                <a:cubicBezTo>
                  <a:pt x="1152032" y="3777"/>
                  <a:pt x="1159587" y="0"/>
                  <a:pt x="1167141" y="0"/>
                </a:cubicBezTo>
                <a:close/>
              </a:path>
            </a:pathLst>
          </a:custGeom>
          <a:solidFill>
            <a:srgbClr val="003755"/>
          </a:solidFill>
          <a:ln>
            <a:noFill/>
          </a:ln>
        </p:spPr>
        <p:txBody>
          <a:bodyPr vert="horz" wrap="square" lIns="91440" tIns="45720" rIns="91440" bIns="45720" numCol="1" anchor="t" anchorCtr="0" compatLnSpc="1">
            <a:prstTxWarp prst="textNoShape">
              <a:avLst/>
            </a:prstTxWarp>
            <a:noAutofit/>
          </a:bodyPr>
          <a:lstStyle/>
          <a:p>
            <a:endParaRPr lang="en-GB" sz="2000" dirty="0"/>
          </a:p>
        </p:txBody>
      </p:sp>
      <p:sp>
        <p:nvSpPr>
          <p:cNvPr id="2" name="TextBox 1"/>
          <p:cNvSpPr txBox="1"/>
          <p:nvPr/>
        </p:nvSpPr>
        <p:spPr>
          <a:xfrm>
            <a:off x="3173577" y="2500792"/>
            <a:ext cx="1416127" cy="307776"/>
          </a:xfrm>
          <a:prstGeom prst="rect">
            <a:avLst/>
          </a:prstGeom>
          <a:noFill/>
        </p:spPr>
        <p:txBody>
          <a:bodyPr wrap="square" lIns="0" tIns="0" rIns="0" bIns="0" rtlCol="0">
            <a:spAutoFit/>
          </a:bodyPr>
          <a:lstStyle/>
          <a:p>
            <a:r>
              <a:rPr lang="en-GB" sz="2000" dirty="0" smtClean="0">
                <a:solidFill>
                  <a:srgbClr val="003755"/>
                </a:solidFill>
              </a:rPr>
              <a:t>For</a:t>
            </a:r>
            <a:endParaRPr lang="en-GB" sz="2400" dirty="0" smtClean="0">
              <a:solidFill>
                <a:srgbClr val="003755"/>
              </a:solidFill>
            </a:endParaRPr>
          </a:p>
        </p:txBody>
      </p:sp>
      <p:sp>
        <p:nvSpPr>
          <p:cNvPr id="14" name="TextBox 13"/>
          <p:cNvSpPr txBox="1"/>
          <p:nvPr/>
        </p:nvSpPr>
        <p:spPr>
          <a:xfrm>
            <a:off x="3173577" y="3784775"/>
            <a:ext cx="2973997" cy="307776"/>
          </a:xfrm>
          <a:prstGeom prst="rect">
            <a:avLst/>
          </a:prstGeom>
          <a:noFill/>
        </p:spPr>
        <p:txBody>
          <a:bodyPr wrap="square" lIns="0" tIns="0" rIns="0" bIns="0" rtlCol="0">
            <a:spAutoFit/>
          </a:bodyPr>
          <a:lstStyle/>
          <a:p>
            <a:r>
              <a:rPr lang="en-GB" sz="2000" dirty="0" smtClean="0">
                <a:solidFill>
                  <a:srgbClr val="003755"/>
                </a:solidFill>
              </a:rPr>
              <a:t>Against/Withhold</a:t>
            </a:r>
          </a:p>
        </p:txBody>
      </p:sp>
      <p:sp>
        <p:nvSpPr>
          <p:cNvPr id="15" name="Thumbs up"/>
          <p:cNvSpPr>
            <a:spLocks noChangeAspect="1"/>
          </p:cNvSpPr>
          <p:nvPr>
            <p:custDataLst>
              <p:tags r:id="rId2"/>
            </p:custDataLst>
          </p:nvPr>
        </p:nvSpPr>
        <p:spPr bwMode="auto">
          <a:xfrm rot="10800000">
            <a:off x="2405742" y="3744944"/>
            <a:ext cx="610581" cy="551404"/>
          </a:xfrm>
          <a:custGeom>
            <a:avLst/>
            <a:gdLst>
              <a:gd name="connsiteX0" fmla="*/ 1205490 w 1752600"/>
              <a:gd name="connsiteY0" fmla="*/ 1349375 h 1582737"/>
              <a:gd name="connsiteX1" fmla="*/ 1122363 w 1752600"/>
              <a:gd name="connsiteY1" fmla="*/ 1432419 h 1582737"/>
              <a:gd name="connsiteX2" fmla="*/ 1205490 w 1752600"/>
              <a:gd name="connsiteY2" fmla="*/ 1519237 h 1582737"/>
              <a:gd name="connsiteX3" fmla="*/ 1496436 w 1752600"/>
              <a:gd name="connsiteY3" fmla="*/ 1519237 h 1582737"/>
              <a:gd name="connsiteX4" fmla="*/ 1579563 w 1752600"/>
              <a:gd name="connsiteY4" fmla="*/ 1436194 h 1582737"/>
              <a:gd name="connsiteX5" fmla="*/ 1496436 w 1752600"/>
              <a:gd name="connsiteY5" fmla="*/ 1349375 h 1582737"/>
              <a:gd name="connsiteX6" fmla="*/ 1205490 w 1752600"/>
              <a:gd name="connsiteY6" fmla="*/ 1349375 h 1582737"/>
              <a:gd name="connsiteX7" fmla="*/ 1239317 w 1752600"/>
              <a:gd name="connsiteY7" fmla="*/ 1111250 h 1582737"/>
              <a:gd name="connsiteX8" fmla="*/ 1152525 w 1752600"/>
              <a:gd name="connsiteY8" fmla="*/ 1197769 h 1582737"/>
              <a:gd name="connsiteX9" fmla="*/ 1239317 w 1752600"/>
              <a:gd name="connsiteY9" fmla="*/ 1284287 h 1582737"/>
              <a:gd name="connsiteX10" fmla="*/ 1526108 w 1752600"/>
              <a:gd name="connsiteY10" fmla="*/ 1284287 h 1582737"/>
              <a:gd name="connsiteX11" fmla="*/ 1612900 w 1752600"/>
              <a:gd name="connsiteY11" fmla="*/ 1197769 h 1582737"/>
              <a:gd name="connsiteX12" fmla="*/ 1526108 w 1752600"/>
              <a:gd name="connsiteY12" fmla="*/ 1111250 h 1582737"/>
              <a:gd name="connsiteX13" fmla="*/ 1239317 w 1752600"/>
              <a:gd name="connsiteY13" fmla="*/ 1111250 h 1582737"/>
              <a:gd name="connsiteX14" fmla="*/ 1277417 w 1752600"/>
              <a:gd name="connsiteY14" fmla="*/ 876300 h 1582737"/>
              <a:gd name="connsiteX15" fmla="*/ 1190625 w 1752600"/>
              <a:gd name="connsiteY15" fmla="*/ 959344 h 1582737"/>
              <a:gd name="connsiteX16" fmla="*/ 1277417 w 1752600"/>
              <a:gd name="connsiteY16" fmla="*/ 1046162 h 1582737"/>
              <a:gd name="connsiteX17" fmla="*/ 1564208 w 1752600"/>
              <a:gd name="connsiteY17" fmla="*/ 1046162 h 1582737"/>
              <a:gd name="connsiteX18" fmla="*/ 1651000 w 1752600"/>
              <a:gd name="connsiteY18" fmla="*/ 963119 h 1582737"/>
              <a:gd name="connsiteX19" fmla="*/ 1564208 w 1752600"/>
              <a:gd name="connsiteY19" fmla="*/ 876300 h 1582737"/>
              <a:gd name="connsiteX20" fmla="*/ 1277417 w 1752600"/>
              <a:gd name="connsiteY20" fmla="*/ 876300 h 1582737"/>
              <a:gd name="connsiteX21" fmla="*/ 1318202 w 1752600"/>
              <a:gd name="connsiteY21" fmla="*/ 638175 h 1582737"/>
              <a:gd name="connsiteX22" fmla="*/ 1235075 w 1752600"/>
              <a:gd name="connsiteY22" fmla="*/ 725487 h 1582737"/>
              <a:gd name="connsiteX23" fmla="*/ 1318202 w 1752600"/>
              <a:gd name="connsiteY23" fmla="*/ 812800 h 1582737"/>
              <a:gd name="connsiteX24" fmla="*/ 1605369 w 1752600"/>
              <a:gd name="connsiteY24" fmla="*/ 812800 h 1582737"/>
              <a:gd name="connsiteX25" fmla="*/ 1692275 w 1752600"/>
              <a:gd name="connsiteY25" fmla="*/ 725487 h 1582737"/>
              <a:gd name="connsiteX26" fmla="*/ 1605369 w 1752600"/>
              <a:gd name="connsiteY26" fmla="*/ 638175 h 1582737"/>
              <a:gd name="connsiteX27" fmla="*/ 1382437 w 1752600"/>
              <a:gd name="connsiteY27" fmla="*/ 638175 h 1582737"/>
              <a:gd name="connsiteX28" fmla="*/ 1318202 w 1752600"/>
              <a:gd name="connsiteY28" fmla="*/ 638175 h 1582737"/>
              <a:gd name="connsiteX29" fmla="*/ 1159594 w 1752600"/>
              <a:gd name="connsiteY29" fmla="*/ 79375 h 1582737"/>
              <a:gd name="connsiteX30" fmla="*/ 718029 w 1752600"/>
              <a:gd name="connsiteY30" fmla="*/ 495083 h 1582737"/>
              <a:gd name="connsiteX31" fmla="*/ 434975 w 1752600"/>
              <a:gd name="connsiteY31" fmla="*/ 672704 h 1582737"/>
              <a:gd name="connsiteX32" fmla="*/ 434975 w 1752600"/>
              <a:gd name="connsiteY32" fmla="*/ 1443654 h 1582737"/>
              <a:gd name="connsiteX33" fmla="*/ 751996 w 1752600"/>
              <a:gd name="connsiteY33" fmla="*/ 1519237 h 1582737"/>
              <a:gd name="connsiteX34" fmla="*/ 1087887 w 1752600"/>
              <a:gd name="connsiteY34" fmla="*/ 1519237 h 1582737"/>
              <a:gd name="connsiteX35" fmla="*/ 1057694 w 1752600"/>
              <a:gd name="connsiteY35" fmla="*/ 1436096 h 1582737"/>
              <a:gd name="connsiteX36" fmla="*/ 1136949 w 1752600"/>
              <a:gd name="connsiteY36" fmla="*/ 1303825 h 1582737"/>
              <a:gd name="connsiteX37" fmla="*/ 1091661 w 1752600"/>
              <a:gd name="connsiteY37" fmla="*/ 1198008 h 1582737"/>
              <a:gd name="connsiteX38" fmla="*/ 1170916 w 1752600"/>
              <a:gd name="connsiteY38" fmla="*/ 1065737 h 1582737"/>
              <a:gd name="connsiteX39" fmla="*/ 1129401 w 1752600"/>
              <a:gd name="connsiteY39" fmla="*/ 963700 h 1582737"/>
              <a:gd name="connsiteX40" fmla="*/ 1212431 w 1752600"/>
              <a:gd name="connsiteY40" fmla="*/ 827650 h 1582737"/>
              <a:gd name="connsiteX41" fmla="*/ 1170916 w 1752600"/>
              <a:gd name="connsiteY41" fmla="*/ 725612 h 1582737"/>
              <a:gd name="connsiteX42" fmla="*/ 1201109 w 1752600"/>
              <a:gd name="connsiteY42" fmla="*/ 638691 h 1582737"/>
              <a:gd name="connsiteX43" fmla="*/ 963343 w 1752600"/>
              <a:gd name="connsiteY43" fmla="*/ 638691 h 1582737"/>
              <a:gd name="connsiteX44" fmla="*/ 933150 w 1752600"/>
              <a:gd name="connsiteY44" fmla="*/ 619795 h 1582737"/>
              <a:gd name="connsiteX45" fmla="*/ 936924 w 1752600"/>
              <a:gd name="connsiteY45" fmla="*/ 589562 h 1582737"/>
              <a:gd name="connsiteX46" fmla="*/ 1170916 w 1752600"/>
              <a:gd name="connsiteY46" fmla="*/ 298566 h 1582737"/>
              <a:gd name="connsiteX47" fmla="*/ 1159594 w 1752600"/>
              <a:gd name="connsiteY47" fmla="*/ 79375 h 1582737"/>
              <a:gd name="connsiteX48" fmla="*/ 1167141 w 1752600"/>
              <a:gd name="connsiteY48" fmla="*/ 0 h 1582737"/>
              <a:gd name="connsiteX49" fmla="*/ 1189804 w 1752600"/>
              <a:gd name="connsiteY49" fmla="*/ 11332 h 1582737"/>
              <a:gd name="connsiteX50" fmla="*/ 1220021 w 1752600"/>
              <a:gd name="connsiteY50" fmla="*/ 339967 h 1582737"/>
              <a:gd name="connsiteX51" fmla="*/ 1027386 w 1752600"/>
              <a:gd name="connsiteY51" fmla="*/ 574167 h 1582737"/>
              <a:gd name="connsiteX52" fmla="*/ 1605291 w 1752600"/>
              <a:gd name="connsiteY52" fmla="*/ 574167 h 1582737"/>
              <a:gd name="connsiteX53" fmla="*/ 1752600 w 1752600"/>
              <a:gd name="connsiteY53" fmla="*/ 725264 h 1582737"/>
              <a:gd name="connsiteX54" fmla="*/ 1669503 w 1752600"/>
              <a:gd name="connsiteY54" fmla="*/ 857473 h 1582737"/>
              <a:gd name="connsiteX55" fmla="*/ 1711051 w 1752600"/>
              <a:gd name="connsiteY55" fmla="*/ 959464 h 1582737"/>
              <a:gd name="connsiteX56" fmla="*/ 1631731 w 1752600"/>
              <a:gd name="connsiteY56" fmla="*/ 1091673 h 1582737"/>
              <a:gd name="connsiteX57" fmla="*/ 1673280 w 1752600"/>
              <a:gd name="connsiteY57" fmla="*/ 1197441 h 1582737"/>
              <a:gd name="connsiteX58" fmla="*/ 1597737 w 1752600"/>
              <a:gd name="connsiteY58" fmla="*/ 1325873 h 1582737"/>
              <a:gd name="connsiteX59" fmla="*/ 1643063 w 1752600"/>
              <a:gd name="connsiteY59" fmla="*/ 1431641 h 1582737"/>
              <a:gd name="connsiteX60" fmla="*/ 1495754 w 1752600"/>
              <a:gd name="connsiteY60" fmla="*/ 1582737 h 1582737"/>
              <a:gd name="connsiteX61" fmla="*/ 1204913 w 1752600"/>
              <a:gd name="connsiteY61" fmla="*/ 1582737 h 1582737"/>
              <a:gd name="connsiteX62" fmla="*/ 747877 w 1752600"/>
              <a:gd name="connsiteY62" fmla="*/ 1582737 h 1582737"/>
              <a:gd name="connsiteX63" fmla="*/ 740322 w 1752600"/>
              <a:gd name="connsiteY63" fmla="*/ 1582737 h 1582737"/>
              <a:gd name="connsiteX64" fmla="*/ 434373 w 1752600"/>
              <a:gd name="connsiteY64" fmla="*/ 1507189 h 1582737"/>
              <a:gd name="connsiteX65" fmla="*/ 434373 w 1752600"/>
              <a:gd name="connsiteY65" fmla="*/ 1518521 h 1582737"/>
              <a:gd name="connsiteX66" fmla="*/ 373938 w 1752600"/>
              <a:gd name="connsiteY66" fmla="*/ 1582737 h 1582737"/>
              <a:gd name="connsiteX67" fmla="*/ 60434 w 1752600"/>
              <a:gd name="connsiteY67" fmla="*/ 1582737 h 1582737"/>
              <a:gd name="connsiteX68" fmla="*/ 0 w 1752600"/>
              <a:gd name="connsiteY68" fmla="*/ 1518521 h 1582737"/>
              <a:gd name="connsiteX69" fmla="*/ 0 w 1752600"/>
              <a:gd name="connsiteY69" fmla="*/ 528838 h 1582737"/>
              <a:gd name="connsiteX70" fmla="*/ 60434 w 1752600"/>
              <a:gd name="connsiteY70" fmla="*/ 464622 h 1582737"/>
              <a:gd name="connsiteX71" fmla="*/ 373938 w 1752600"/>
              <a:gd name="connsiteY71" fmla="*/ 464622 h 1582737"/>
              <a:gd name="connsiteX72" fmla="*/ 434373 w 1752600"/>
              <a:gd name="connsiteY72" fmla="*/ 528838 h 1582737"/>
              <a:gd name="connsiteX73" fmla="*/ 434373 w 1752600"/>
              <a:gd name="connsiteY73" fmla="*/ 600609 h 1582737"/>
              <a:gd name="connsiteX74" fmla="*/ 679888 w 1752600"/>
              <a:gd name="connsiteY74" fmla="*/ 449512 h 1582737"/>
              <a:gd name="connsiteX75" fmla="*/ 1144478 w 1752600"/>
              <a:gd name="connsiteY75" fmla="*/ 7555 h 1582737"/>
              <a:gd name="connsiteX76" fmla="*/ 1167141 w 1752600"/>
              <a:gd name="connsiteY76" fmla="*/ 0 h 1582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752600" h="1582737">
                <a:moveTo>
                  <a:pt x="1205490" y="1349375"/>
                </a:moveTo>
                <a:cubicBezTo>
                  <a:pt x="1160148" y="1349375"/>
                  <a:pt x="1122363" y="1387122"/>
                  <a:pt x="1122363" y="1432419"/>
                </a:cubicBezTo>
                <a:cubicBezTo>
                  <a:pt x="1122363" y="1481490"/>
                  <a:pt x="1160148" y="1519237"/>
                  <a:pt x="1205490" y="1519237"/>
                </a:cubicBezTo>
                <a:cubicBezTo>
                  <a:pt x="1205490" y="1519237"/>
                  <a:pt x="1205490" y="1519237"/>
                  <a:pt x="1496436" y="1519237"/>
                </a:cubicBezTo>
                <a:cubicBezTo>
                  <a:pt x="1541778" y="1519237"/>
                  <a:pt x="1579563" y="1481490"/>
                  <a:pt x="1579563" y="1436194"/>
                </a:cubicBezTo>
                <a:cubicBezTo>
                  <a:pt x="1579563" y="1387122"/>
                  <a:pt x="1541778" y="1349375"/>
                  <a:pt x="1496436" y="1349375"/>
                </a:cubicBezTo>
                <a:cubicBezTo>
                  <a:pt x="1496436" y="1349375"/>
                  <a:pt x="1496436" y="1349375"/>
                  <a:pt x="1205490" y="1349375"/>
                </a:cubicBezTo>
                <a:close/>
                <a:moveTo>
                  <a:pt x="1239317" y="1111250"/>
                </a:moveTo>
                <a:cubicBezTo>
                  <a:pt x="1194034" y="1111250"/>
                  <a:pt x="1152525" y="1148867"/>
                  <a:pt x="1152525" y="1197769"/>
                </a:cubicBezTo>
                <a:cubicBezTo>
                  <a:pt x="1152525" y="1246671"/>
                  <a:pt x="1194034" y="1284287"/>
                  <a:pt x="1239317" y="1284287"/>
                </a:cubicBezTo>
                <a:cubicBezTo>
                  <a:pt x="1239317" y="1284287"/>
                  <a:pt x="1239317" y="1284287"/>
                  <a:pt x="1526108" y="1284287"/>
                </a:cubicBezTo>
                <a:cubicBezTo>
                  <a:pt x="1575164" y="1284287"/>
                  <a:pt x="1612900" y="1246671"/>
                  <a:pt x="1612900" y="1197769"/>
                </a:cubicBezTo>
                <a:cubicBezTo>
                  <a:pt x="1612900" y="1148867"/>
                  <a:pt x="1575164" y="1111250"/>
                  <a:pt x="1526108" y="1111250"/>
                </a:cubicBezTo>
                <a:cubicBezTo>
                  <a:pt x="1526108" y="1111250"/>
                  <a:pt x="1526108" y="1111250"/>
                  <a:pt x="1239317" y="1111250"/>
                </a:cubicBezTo>
                <a:close/>
                <a:moveTo>
                  <a:pt x="1277417" y="876300"/>
                </a:moveTo>
                <a:cubicBezTo>
                  <a:pt x="1232134" y="876300"/>
                  <a:pt x="1190625" y="914047"/>
                  <a:pt x="1190625" y="959344"/>
                </a:cubicBezTo>
                <a:cubicBezTo>
                  <a:pt x="1190625" y="1008415"/>
                  <a:pt x="1232134" y="1046162"/>
                  <a:pt x="1277417" y="1046162"/>
                </a:cubicBezTo>
                <a:lnTo>
                  <a:pt x="1564208" y="1046162"/>
                </a:lnTo>
                <a:cubicBezTo>
                  <a:pt x="1613264" y="1046162"/>
                  <a:pt x="1651000" y="1008415"/>
                  <a:pt x="1651000" y="963119"/>
                </a:cubicBezTo>
                <a:cubicBezTo>
                  <a:pt x="1651000" y="914047"/>
                  <a:pt x="1613264" y="876300"/>
                  <a:pt x="1564208" y="876300"/>
                </a:cubicBezTo>
                <a:cubicBezTo>
                  <a:pt x="1564208" y="876300"/>
                  <a:pt x="1564208" y="876300"/>
                  <a:pt x="1277417" y="876300"/>
                </a:cubicBezTo>
                <a:close/>
                <a:moveTo>
                  <a:pt x="1318202" y="638175"/>
                </a:moveTo>
                <a:cubicBezTo>
                  <a:pt x="1272860" y="638175"/>
                  <a:pt x="1235075" y="676137"/>
                  <a:pt x="1235075" y="725487"/>
                </a:cubicBezTo>
                <a:cubicBezTo>
                  <a:pt x="1235075" y="771042"/>
                  <a:pt x="1272860" y="812800"/>
                  <a:pt x="1318202" y="812800"/>
                </a:cubicBezTo>
                <a:cubicBezTo>
                  <a:pt x="1318202" y="812800"/>
                  <a:pt x="1318202" y="812800"/>
                  <a:pt x="1605369" y="812800"/>
                </a:cubicBezTo>
                <a:cubicBezTo>
                  <a:pt x="1654490" y="812800"/>
                  <a:pt x="1692275" y="771042"/>
                  <a:pt x="1692275" y="725487"/>
                </a:cubicBezTo>
                <a:cubicBezTo>
                  <a:pt x="1692275" y="676137"/>
                  <a:pt x="1654490" y="638175"/>
                  <a:pt x="1605369" y="638175"/>
                </a:cubicBezTo>
                <a:cubicBezTo>
                  <a:pt x="1605369" y="638175"/>
                  <a:pt x="1605369" y="638175"/>
                  <a:pt x="1382437" y="638175"/>
                </a:cubicBezTo>
                <a:cubicBezTo>
                  <a:pt x="1382437" y="638175"/>
                  <a:pt x="1382437" y="638175"/>
                  <a:pt x="1318202" y="638175"/>
                </a:cubicBezTo>
                <a:close/>
                <a:moveTo>
                  <a:pt x="1159594" y="79375"/>
                </a:moveTo>
                <a:cubicBezTo>
                  <a:pt x="1159594" y="79375"/>
                  <a:pt x="1159594" y="79375"/>
                  <a:pt x="718029" y="495083"/>
                </a:cubicBezTo>
                <a:cubicBezTo>
                  <a:pt x="718029" y="495083"/>
                  <a:pt x="718029" y="495083"/>
                  <a:pt x="434975" y="672704"/>
                </a:cubicBezTo>
                <a:lnTo>
                  <a:pt x="434975" y="1443654"/>
                </a:lnTo>
                <a:cubicBezTo>
                  <a:pt x="434975" y="1443654"/>
                  <a:pt x="434975" y="1443654"/>
                  <a:pt x="751996" y="1519237"/>
                </a:cubicBezTo>
                <a:cubicBezTo>
                  <a:pt x="751996" y="1519237"/>
                  <a:pt x="751996" y="1519237"/>
                  <a:pt x="1087887" y="1519237"/>
                </a:cubicBezTo>
                <a:cubicBezTo>
                  <a:pt x="1069016" y="1496562"/>
                  <a:pt x="1057694" y="1466329"/>
                  <a:pt x="1057694" y="1436096"/>
                </a:cubicBezTo>
                <a:cubicBezTo>
                  <a:pt x="1057694" y="1379408"/>
                  <a:pt x="1091661" y="1330279"/>
                  <a:pt x="1136949" y="1303825"/>
                </a:cubicBezTo>
                <a:cubicBezTo>
                  <a:pt x="1110531" y="1277371"/>
                  <a:pt x="1091661" y="1239579"/>
                  <a:pt x="1091661" y="1198008"/>
                </a:cubicBezTo>
                <a:cubicBezTo>
                  <a:pt x="1091661" y="1141321"/>
                  <a:pt x="1125627" y="1092192"/>
                  <a:pt x="1170916" y="1065737"/>
                </a:cubicBezTo>
                <a:cubicBezTo>
                  <a:pt x="1144498" y="1039283"/>
                  <a:pt x="1129401" y="1001492"/>
                  <a:pt x="1129401" y="963700"/>
                </a:cubicBezTo>
                <a:cubicBezTo>
                  <a:pt x="1129401" y="903233"/>
                  <a:pt x="1163368" y="850325"/>
                  <a:pt x="1212431" y="827650"/>
                </a:cubicBezTo>
                <a:cubicBezTo>
                  <a:pt x="1186012" y="801195"/>
                  <a:pt x="1170916" y="763404"/>
                  <a:pt x="1170916" y="725612"/>
                </a:cubicBezTo>
                <a:cubicBezTo>
                  <a:pt x="1170916" y="691600"/>
                  <a:pt x="1182238" y="661366"/>
                  <a:pt x="1201109" y="638691"/>
                </a:cubicBezTo>
                <a:cubicBezTo>
                  <a:pt x="1201109" y="638691"/>
                  <a:pt x="1201109" y="638691"/>
                  <a:pt x="963343" y="638691"/>
                </a:cubicBezTo>
                <a:cubicBezTo>
                  <a:pt x="948247" y="638691"/>
                  <a:pt x="936924" y="631133"/>
                  <a:pt x="933150" y="619795"/>
                </a:cubicBezTo>
                <a:cubicBezTo>
                  <a:pt x="929376" y="608458"/>
                  <a:pt x="929376" y="597120"/>
                  <a:pt x="936924" y="589562"/>
                </a:cubicBezTo>
                <a:cubicBezTo>
                  <a:pt x="936924" y="589562"/>
                  <a:pt x="1114305" y="370370"/>
                  <a:pt x="1170916" y="298566"/>
                </a:cubicBezTo>
                <a:cubicBezTo>
                  <a:pt x="1235075" y="226762"/>
                  <a:pt x="1189786" y="124725"/>
                  <a:pt x="1159594" y="79375"/>
                </a:cubicBezTo>
                <a:close/>
                <a:moveTo>
                  <a:pt x="1167141" y="0"/>
                </a:moveTo>
                <a:cubicBezTo>
                  <a:pt x="1174695" y="0"/>
                  <a:pt x="1182250" y="3777"/>
                  <a:pt x="1189804" y="11332"/>
                </a:cubicBezTo>
                <a:cubicBezTo>
                  <a:pt x="1197358" y="18887"/>
                  <a:pt x="1337113" y="200203"/>
                  <a:pt x="1220021" y="339967"/>
                </a:cubicBezTo>
                <a:cubicBezTo>
                  <a:pt x="1178472" y="389074"/>
                  <a:pt x="1080266" y="506173"/>
                  <a:pt x="1027386" y="574167"/>
                </a:cubicBezTo>
                <a:cubicBezTo>
                  <a:pt x="1027386" y="574167"/>
                  <a:pt x="1027386" y="574167"/>
                  <a:pt x="1605291" y="574167"/>
                </a:cubicBezTo>
                <a:cubicBezTo>
                  <a:pt x="1688389" y="574167"/>
                  <a:pt x="1752600" y="642160"/>
                  <a:pt x="1752600" y="725264"/>
                </a:cubicBezTo>
                <a:cubicBezTo>
                  <a:pt x="1752600" y="781925"/>
                  <a:pt x="1718606" y="834809"/>
                  <a:pt x="1669503" y="857473"/>
                </a:cubicBezTo>
                <a:cubicBezTo>
                  <a:pt x="1695943" y="883915"/>
                  <a:pt x="1711051" y="921690"/>
                  <a:pt x="1711051" y="959464"/>
                </a:cubicBezTo>
                <a:cubicBezTo>
                  <a:pt x="1711051" y="1019902"/>
                  <a:pt x="1680834" y="1069009"/>
                  <a:pt x="1631731" y="1091673"/>
                </a:cubicBezTo>
                <a:cubicBezTo>
                  <a:pt x="1658171" y="1118115"/>
                  <a:pt x="1673280" y="1155889"/>
                  <a:pt x="1673280" y="1197441"/>
                </a:cubicBezTo>
                <a:cubicBezTo>
                  <a:pt x="1673280" y="1254102"/>
                  <a:pt x="1643063" y="1303208"/>
                  <a:pt x="1597737" y="1325873"/>
                </a:cubicBezTo>
                <a:cubicBezTo>
                  <a:pt x="1624177" y="1352315"/>
                  <a:pt x="1643063" y="1390089"/>
                  <a:pt x="1643063" y="1431641"/>
                </a:cubicBezTo>
                <a:cubicBezTo>
                  <a:pt x="1643063" y="1514744"/>
                  <a:pt x="1575074" y="1582737"/>
                  <a:pt x="1495754" y="1582737"/>
                </a:cubicBezTo>
                <a:cubicBezTo>
                  <a:pt x="1495754" y="1582737"/>
                  <a:pt x="1495754" y="1582737"/>
                  <a:pt x="1204913" y="1582737"/>
                </a:cubicBezTo>
                <a:cubicBezTo>
                  <a:pt x="1204913" y="1582737"/>
                  <a:pt x="1204913" y="1582737"/>
                  <a:pt x="747877" y="1582737"/>
                </a:cubicBezTo>
                <a:cubicBezTo>
                  <a:pt x="747877" y="1582737"/>
                  <a:pt x="744099" y="1582737"/>
                  <a:pt x="740322" y="1582737"/>
                </a:cubicBezTo>
                <a:cubicBezTo>
                  <a:pt x="740322" y="1582737"/>
                  <a:pt x="740322" y="1582737"/>
                  <a:pt x="434373" y="1507189"/>
                </a:cubicBezTo>
                <a:cubicBezTo>
                  <a:pt x="434373" y="1507189"/>
                  <a:pt x="434373" y="1507189"/>
                  <a:pt x="434373" y="1518521"/>
                </a:cubicBezTo>
                <a:cubicBezTo>
                  <a:pt x="434373" y="1556295"/>
                  <a:pt x="407933" y="1582737"/>
                  <a:pt x="373938" y="1582737"/>
                </a:cubicBezTo>
                <a:cubicBezTo>
                  <a:pt x="373938" y="1582737"/>
                  <a:pt x="373938" y="1582737"/>
                  <a:pt x="60434" y="1582737"/>
                </a:cubicBezTo>
                <a:cubicBezTo>
                  <a:pt x="26440" y="1582737"/>
                  <a:pt x="0" y="1552518"/>
                  <a:pt x="0" y="1518521"/>
                </a:cubicBezTo>
                <a:cubicBezTo>
                  <a:pt x="0" y="1518521"/>
                  <a:pt x="0" y="1518521"/>
                  <a:pt x="0" y="528838"/>
                </a:cubicBezTo>
                <a:cubicBezTo>
                  <a:pt x="0" y="491064"/>
                  <a:pt x="26440" y="464622"/>
                  <a:pt x="60434" y="464622"/>
                </a:cubicBezTo>
                <a:cubicBezTo>
                  <a:pt x="60434" y="464622"/>
                  <a:pt x="60434" y="464622"/>
                  <a:pt x="373938" y="464622"/>
                </a:cubicBezTo>
                <a:cubicBezTo>
                  <a:pt x="407933" y="464622"/>
                  <a:pt x="434373" y="491064"/>
                  <a:pt x="434373" y="528838"/>
                </a:cubicBezTo>
                <a:cubicBezTo>
                  <a:pt x="434373" y="528838"/>
                  <a:pt x="434373" y="528838"/>
                  <a:pt x="434373" y="600609"/>
                </a:cubicBezTo>
                <a:cubicBezTo>
                  <a:pt x="434373" y="600609"/>
                  <a:pt x="434373" y="600609"/>
                  <a:pt x="679888" y="449512"/>
                </a:cubicBezTo>
                <a:cubicBezTo>
                  <a:pt x="679888" y="449512"/>
                  <a:pt x="679888" y="449512"/>
                  <a:pt x="1144478" y="7555"/>
                </a:cubicBezTo>
                <a:cubicBezTo>
                  <a:pt x="1152032" y="3777"/>
                  <a:pt x="1159587" y="0"/>
                  <a:pt x="1167141" y="0"/>
                </a:cubicBezTo>
                <a:close/>
              </a:path>
            </a:pathLst>
          </a:custGeom>
          <a:solidFill>
            <a:srgbClr val="003755"/>
          </a:solidFill>
          <a:ln>
            <a:noFill/>
          </a:ln>
        </p:spPr>
        <p:txBody>
          <a:bodyPr vert="horz" wrap="square" lIns="91440" tIns="45720" rIns="91440" bIns="45720" numCol="1" anchor="t" anchorCtr="0" compatLnSpc="1">
            <a:prstTxWarp prst="textNoShape">
              <a:avLst/>
            </a:prstTxWarp>
            <a:noAutofit/>
          </a:bodyPr>
          <a:lstStyle/>
          <a:p>
            <a:endParaRPr lang="en-GB" sz="2000" dirty="0"/>
          </a:p>
        </p:txBody>
      </p:sp>
      <p:sp>
        <p:nvSpPr>
          <p:cNvPr id="16" name="Payment"/>
          <p:cNvSpPr>
            <a:spLocks noChangeAspect="1" noEditPoints="1"/>
          </p:cNvSpPr>
          <p:nvPr>
            <p:custDataLst>
              <p:tags r:id="rId3"/>
            </p:custDataLst>
          </p:nvPr>
        </p:nvSpPr>
        <p:spPr bwMode="auto">
          <a:xfrm>
            <a:off x="2345557" y="5087876"/>
            <a:ext cx="730950" cy="419784"/>
          </a:xfrm>
          <a:custGeom>
            <a:avLst/>
            <a:gdLst>
              <a:gd name="T0" fmla="*/ 77 w 419"/>
              <a:gd name="T1" fmla="*/ 0 h 239"/>
              <a:gd name="T2" fmla="*/ 72 w 419"/>
              <a:gd name="T3" fmla="*/ 36 h 239"/>
              <a:gd name="T4" fmla="*/ 36 w 419"/>
              <a:gd name="T5" fmla="*/ 41 h 239"/>
              <a:gd name="T6" fmla="*/ 5 w 419"/>
              <a:gd name="T7" fmla="*/ 74 h 239"/>
              <a:gd name="T8" fmla="*/ 0 w 419"/>
              <a:gd name="T9" fmla="*/ 234 h 239"/>
              <a:gd name="T10" fmla="*/ 341 w 419"/>
              <a:gd name="T11" fmla="*/ 239 h 239"/>
              <a:gd name="T12" fmla="*/ 346 w 419"/>
              <a:gd name="T13" fmla="*/ 201 h 239"/>
              <a:gd name="T14" fmla="*/ 382 w 419"/>
              <a:gd name="T15" fmla="*/ 196 h 239"/>
              <a:gd name="T16" fmla="*/ 413 w 419"/>
              <a:gd name="T17" fmla="*/ 165 h 239"/>
              <a:gd name="T18" fmla="*/ 419 w 419"/>
              <a:gd name="T19" fmla="*/ 5 h 239"/>
              <a:gd name="T20" fmla="*/ 408 w 419"/>
              <a:gd name="T21" fmla="*/ 155 h 239"/>
              <a:gd name="T22" fmla="*/ 382 w 419"/>
              <a:gd name="T23" fmla="*/ 41 h 239"/>
              <a:gd name="T24" fmla="*/ 82 w 419"/>
              <a:gd name="T25" fmla="*/ 36 h 239"/>
              <a:gd name="T26" fmla="*/ 408 w 419"/>
              <a:gd name="T27" fmla="*/ 10 h 239"/>
              <a:gd name="T28" fmla="*/ 10 w 419"/>
              <a:gd name="T29" fmla="*/ 228 h 239"/>
              <a:gd name="T30" fmla="*/ 336 w 419"/>
              <a:gd name="T31" fmla="*/ 84 h 239"/>
              <a:gd name="T32" fmla="*/ 10 w 419"/>
              <a:gd name="T33" fmla="*/ 229 h 239"/>
              <a:gd name="T34" fmla="*/ 346 w 419"/>
              <a:gd name="T35" fmla="*/ 79 h 239"/>
              <a:gd name="T36" fmla="*/ 46 w 419"/>
              <a:gd name="T37" fmla="*/ 74 h 239"/>
              <a:gd name="T38" fmla="*/ 372 w 419"/>
              <a:gd name="T39" fmla="*/ 46 h 239"/>
              <a:gd name="T40" fmla="*/ 346 w 419"/>
              <a:gd name="T41" fmla="*/ 191 h 239"/>
              <a:gd name="T42" fmla="*/ 37 w 419"/>
              <a:gd name="T43" fmla="*/ 162 h 239"/>
              <a:gd name="T44" fmla="*/ 32 w 419"/>
              <a:gd name="T45" fmla="*/ 116 h 239"/>
              <a:gd name="T46" fmla="*/ 168 w 419"/>
              <a:gd name="T47" fmla="*/ 111 h 239"/>
              <a:gd name="T48" fmla="*/ 173 w 419"/>
              <a:gd name="T49" fmla="*/ 157 h 239"/>
              <a:gd name="T50" fmla="*/ 37 w 419"/>
              <a:gd name="T51" fmla="*/ 162 h 239"/>
              <a:gd name="T52" fmla="*/ 271 w 419"/>
              <a:gd name="T53" fmla="*/ 142 h 239"/>
              <a:gd name="T54" fmla="*/ 276 w 419"/>
              <a:gd name="T55" fmla="*/ 102 h 239"/>
              <a:gd name="T56" fmla="*/ 315 w 419"/>
              <a:gd name="T57" fmla="*/ 108 h 239"/>
              <a:gd name="T58" fmla="*/ 310 w 419"/>
              <a:gd name="T59" fmla="*/ 147 h 239"/>
              <a:gd name="T60" fmla="*/ 281 w 419"/>
              <a:gd name="T61" fmla="*/ 113 h 239"/>
              <a:gd name="T62" fmla="*/ 305 w 419"/>
              <a:gd name="T63" fmla="*/ 137 h 239"/>
              <a:gd name="T64" fmla="*/ 281 w 419"/>
              <a:gd name="T65" fmla="*/ 11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9" h="239">
                <a:moveTo>
                  <a:pt x="413" y="0"/>
                </a:moveTo>
                <a:cubicBezTo>
                  <a:pt x="77" y="0"/>
                  <a:pt x="77" y="0"/>
                  <a:pt x="77" y="0"/>
                </a:cubicBezTo>
                <a:cubicBezTo>
                  <a:pt x="74" y="0"/>
                  <a:pt x="72" y="2"/>
                  <a:pt x="72" y="5"/>
                </a:cubicBezTo>
                <a:cubicBezTo>
                  <a:pt x="72" y="36"/>
                  <a:pt x="72" y="36"/>
                  <a:pt x="72" y="36"/>
                </a:cubicBezTo>
                <a:cubicBezTo>
                  <a:pt x="41" y="36"/>
                  <a:pt x="41" y="36"/>
                  <a:pt x="41" y="36"/>
                </a:cubicBezTo>
                <a:cubicBezTo>
                  <a:pt x="38" y="36"/>
                  <a:pt x="36" y="38"/>
                  <a:pt x="36" y="41"/>
                </a:cubicBezTo>
                <a:cubicBezTo>
                  <a:pt x="36" y="74"/>
                  <a:pt x="36" y="74"/>
                  <a:pt x="36" y="74"/>
                </a:cubicBezTo>
                <a:cubicBezTo>
                  <a:pt x="5" y="74"/>
                  <a:pt x="5" y="74"/>
                  <a:pt x="5" y="74"/>
                </a:cubicBezTo>
                <a:cubicBezTo>
                  <a:pt x="2" y="74"/>
                  <a:pt x="0" y="76"/>
                  <a:pt x="0" y="79"/>
                </a:cubicBezTo>
                <a:cubicBezTo>
                  <a:pt x="0" y="234"/>
                  <a:pt x="0" y="234"/>
                  <a:pt x="0" y="234"/>
                </a:cubicBezTo>
                <a:cubicBezTo>
                  <a:pt x="0" y="237"/>
                  <a:pt x="2" y="239"/>
                  <a:pt x="5" y="239"/>
                </a:cubicBezTo>
                <a:cubicBezTo>
                  <a:pt x="341" y="239"/>
                  <a:pt x="341" y="239"/>
                  <a:pt x="341" y="239"/>
                </a:cubicBezTo>
                <a:cubicBezTo>
                  <a:pt x="344" y="239"/>
                  <a:pt x="346" y="237"/>
                  <a:pt x="346" y="234"/>
                </a:cubicBezTo>
                <a:cubicBezTo>
                  <a:pt x="346" y="201"/>
                  <a:pt x="346" y="201"/>
                  <a:pt x="346" y="201"/>
                </a:cubicBezTo>
                <a:cubicBezTo>
                  <a:pt x="377" y="201"/>
                  <a:pt x="377" y="201"/>
                  <a:pt x="377" y="201"/>
                </a:cubicBezTo>
                <a:cubicBezTo>
                  <a:pt x="380" y="201"/>
                  <a:pt x="382" y="199"/>
                  <a:pt x="382" y="196"/>
                </a:cubicBezTo>
                <a:cubicBezTo>
                  <a:pt x="382" y="165"/>
                  <a:pt x="382" y="165"/>
                  <a:pt x="382" y="165"/>
                </a:cubicBezTo>
                <a:cubicBezTo>
                  <a:pt x="413" y="165"/>
                  <a:pt x="413" y="165"/>
                  <a:pt x="413" y="165"/>
                </a:cubicBezTo>
                <a:cubicBezTo>
                  <a:pt x="416" y="165"/>
                  <a:pt x="419" y="163"/>
                  <a:pt x="419" y="160"/>
                </a:cubicBezTo>
                <a:cubicBezTo>
                  <a:pt x="419" y="5"/>
                  <a:pt x="419" y="5"/>
                  <a:pt x="419" y="5"/>
                </a:cubicBezTo>
                <a:cubicBezTo>
                  <a:pt x="419" y="2"/>
                  <a:pt x="415" y="0"/>
                  <a:pt x="413" y="0"/>
                </a:cubicBezTo>
                <a:close/>
                <a:moveTo>
                  <a:pt x="408" y="155"/>
                </a:moveTo>
                <a:cubicBezTo>
                  <a:pt x="382" y="155"/>
                  <a:pt x="382" y="155"/>
                  <a:pt x="382" y="155"/>
                </a:cubicBezTo>
                <a:cubicBezTo>
                  <a:pt x="382" y="41"/>
                  <a:pt x="382" y="41"/>
                  <a:pt x="382" y="41"/>
                </a:cubicBezTo>
                <a:cubicBezTo>
                  <a:pt x="382" y="38"/>
                  <a:pt x="380" y="36"/>
                  <a:pt x="377" y="36"/>
                </a:cubicBezTo>
                <a:cubicBezTo>
                  <a:pt x="82" y="36"/>
                  <a:pt x="82" y="36"/>
                  <a:pt x="82" y="36"/>
                </a:cubicBezTo>
                <a:cubicBezTo>
                  <a:pt x="82" y="10"/>
                  <a:pt x="82" y="10"/>
                  <a:pt x="82" y="10"/>
                </a:cubicBezTo>
                <a:cubicBezTo>
                  <a:pt x="408" y="10"/>
                  <a:pt x="408" y="10"/>
                  <a:pt x="408" y="10"/>
                </a:cubicBezTo>
                <a:cubicBezTo>
                  <a:pt x="408" y="155"/>
                  <a:pt x="408" y="155"/>
                  <a:pt x="408" y="155"/>
                </a:cubicBezTo>
                <a:close/>
                <a:moveTo>
                  <a:pt x="10" y="228"/>
                </a:moveTo>
                <a:cubicBezTo>
                  <a:pt x="10" y="84"/>
                  <a:pt x="10" y="84"/>
                  <a:pt x="10" y="84"/>
                </a:cubicBezTo>
                <a:cubicBezTo>
                  <a:pt x="336" y="84"/>
                  <a:pt x="336" y="84"/>
                  <a:pt x="336" y="84"/>
                </a:cubicBezTo>
                <a:cubicBezTo>
                  <a:pt x="336" y="229"/>
                  <a:pt x="336" y="229"/>
                  <a:pt x="336" y="229"/>
                </a:cubicBezTo>
                <a:cubicBezTo>
                  <a:pt x="10" y="229"/>
                  <a:pt x="10" y="229"/>
                  <a:pt x="10" y="229"/>
                </a:cubicBezTo>
                <a:lnTo>
                  <a:pt x="10" y="228"/>
                </a:lnTo>
                <a:close/>
                <a:moveTo>
                  <a:pt x="346" y="79"/>
                </a:moveTo>
                <a:cubicBezTo>
                  <a:pt x="346" y="76"/>
                  <a:pt x="344" y="74"/>
                  <a:pt x="341" y="74"/>
                </a:cubicBezTo>
                <a:cubicBezTo>
                  <a:pt x="46" y="74"/>
                  <a:pt x="46" y="74"/>
                  <a:pt x="46" y="74"/>
                </a:cubicBezTo>
                <a:cubicBezTo>
                  <a:pt x="46" y="46"/>
                  <a:pt x="46" y="46"/>
                  <a:pt x="46" y="46"/>
                </a:cubicBezTo>
                <a:cubicBezTo>
                  <a:pt x="372" y="46"/>
                  <a:pt x="372" y="46"/>
                  <a:pt x="372" y="46"/>
                </a:cubicBezTo>
                <a:cubicBezTo>
                  <a:pt x="372" y="191"/>
                  <a:pt x="372" y="191"/>
                  <a:pt x="372" y="191"/>
                </a:cubicBezTo>
                <a:cubicBezTo>
                  <a:pt x="346" y="191"/>
                  <a:pt x="346" y="191"/>
                  <a:pt x="346" y="191"/>
                </a:cubicBezTo>
                <a:lnTo>
                  <a:pt x="346" y="79"/>
                </a:lnTo>
                <a:close/>
                <a:moveTo>
                  <a:pt x="37" y="162"/>
                </a:moveTo>
                <a:cubicBezTo>
                  <a:pt x="34" y="162"/>
                  <a:pt x="32" y="160"/>
                  <a:pt x="32" y="157"/>
                </a:cubicBezTo>
                <a:cubicBezTo>
                  <a:pt x="32" y="116"/>
                  <a:pt x="32" y="116"/>
                  <a:pt x="32" y="116"/>
                </a:cubicBezTo>
                <a:cubicBezTo>
                  <a:pt x="32" y="113"/>
                  <a:pt x="34" y="111"/>
                  <a:pt x="37" y="111"/>
                </a:cubicBezTo>
                <a:cubicBezTo>
                  <a:pt x="168" y="111"/>
                  <a:pt x="168" y="111"/>
                  <a:pt x="168" y="111"/>
                </a:cubicBezTo>
                <a:cubicBezTo>
                  <a:pt x="171" y="111"/>
                  <a:pt x="173" y="113"/>
                  <a:pt x="173" y="116"/>
                </a:cubicBezTo>
                <a:cubicBezTo>
                  <a:pt x="173" y="157"/>
                  <a:pt x="173" y="157"/>
                  <a:pt x="173" y="157"/>
                </a:cubicBezTo>
                <a:cubicBezTo>
                  <a:pt x="173" y="160"/>
                  <a:pt x="171" y="162"/>
                  <a:pt x="168" y="162"/>
                </a:cubicBezTo>
                <a:lnTo>
                  <a:pt x="37" y="162"/>
                </a:lnTo>
                <a:close/>
                <a:moveTo>
                  <a:pt x="276" y="147"/>
                </a:moveTo>
                <a:cubicBezTo>
                  <a:pt x="273" y="147"/>
                  <a:pt x="271" y="145"/>
                  <a:pt x="271" y="142"/>
                </a:cubicBezTo>
                <a:cubicBezTo>
                  <a:pt x="271" y="108"/>
                  <a:pt x="271" y="108"/>
                  <a:pt x="271" y="108"/>
                </a:cubicBezTo>
                <a:cubicBezTo>
                  <a:pt x="271" y="104"/>
                  <a:pt x="273" y="102"/>
                  <a:pt x="276" y="102"/>
                </a:cubicBezTo>
                <a:cubicBezTo>
                  <a:pt x="310" y="102"/>
                  <a:pt x="310" y="102"/>
                  <a:pt x="310" y="102"/>
                </a:cubicBezTo>
                <a:cubicBezTo>
                  <a:pt x="313" y="102"/>
                  <a:pt x="315" y="104"/>
                  <a:pt x="315" y="108"/>
                </a:cubicBezTo>
                <a:cubicBezTo>
                  <a:pt x="315" y="142"/>
                  <a:pt x="315" y="142"/>
                  <a:pt x="315" y="142"/>
                </a:cubicBezTo>
                <a:cubicBezTo>
                  <a:pt x="315" y="145"/>
                  <a:pt x="313" y="147"/>
                  <a:pt x="310" y="147"/>
                </a:cubicBezTo>
                <a:lnTo>
                  <a:pt x="276" y="147"/>
                </a:lnTo>
                <a:close/>
                <a:moveTo>
                  <a:pt x="281" y="113"/>
                </a:moveTo>
                <a:cubicBezTo>
                  <a:pt x="281" y="137"/>
                  <a:pt x="281" y="137"/>
                  <a:pt x="281" y="137"/>
                </a:cubicBezTo>
                <a:cubicBezTo>
                  <a:pt x="305" y="137"/>
                  <a:pt x="305" y="137"/>
                  <a:pt x="305" y="137"/>
                </a:cubicBezTo>
                <a:cubicBezTo>
                  <a:pt x="305" y="113"/>
                  <a:pt x="305" y="113"/>
                  <a:pt x="305" y="113"/>
                </a:cubicBezTo>
                <a:lnTo>
                  <a:pt x="281" y="113"/>
                </a:lnTo>
                <a:close/>
              </a:path>
            </a:pathLst>
          </a:custGeom>
          <a:solidFill>
            <a:srgbClr val="003755"/>
          </a:solidFill>
          <a:ln>
            <a:noFill/>
          </a:ln>
        </p:spPr>
        <p:txBody>
          <a:bodyPr vert="horz" wrap="square" lIns="91440" tIns="45720" rIns="91440" bIns="45720" numCol="1" anchor="t" anchorCtr="0" compatLnSpc="1">
            <a:prstTxWarp prst="textNoShape">
              <a:avLst/>
            </a:prstTxWarp>
          </a:bodyPr>
          <a:lstStyle/>
          <a:p>
            <a:endParaRPr lang="en-GB" sz="2000" dirty="0"/>
          </a:p>
        </p:txBody>
      </p:sp>
      <p:sp>
        <p:nvSpPr>
          <p:cNvPr id="18" name="TextBox 17"/>
          <p:cNvSpPr txBox="1"/>
          <p:nvPr/>
        </p:nvSpPr>
        <p:spPr>
          <a:xfrm>
            <a:off x="3173577" y="5137711"/>
            <a:ext cx="1785797" cy="307776"/>
          </a:xfrm>
          <a:prstGeom prst="rect">
            <a:avLst/>
          </a:prstGeom>
          <a:noFill/>
        </p:spPr>
        <p:txBody>
          <a:bodyPr wrap="square" lIns="0" tIns="0" rIns="0" bIns="0" rtlCol="0">
            <a:spAutoFit/>
          </a:bodyPr>
          <a:lstStyle/>
          <a:p>
            <a:r>
              <a:rPr lang="en-GB" sz="2000" dirty="0" smtClean="0">
                <a:solidFill>
                  <a:srgbClr val="003755"/>
                </a:solidFill>
              </a:rPr>
              <a:t>Abstain</a:t>
            </a:r>
            <a:endParaRPr lang="en-GB" sz="2400" dirty="0" smtClean="0">
              <a:solidFill>
                <a:srgbClr val="003755"/>
              </a:solidFill>
            </a:endParaRPr>
          </a:p>
        </p:txBody>
      </p:sp>
      <p:sp>
        <p:nvSpPr>
          <p:cNvPr id="17" name="Title 11"/>
          <p:cNvSpPr>
            <a:spLocks noGrp="1"/>
          </p:cNvSpPr>
          <p:nvPr>
            <p:ph type="title"/>
          </p:nvPr>
        </p:nvSpPr>
        <p:spPr/>
        <p:txBody>
          <a:bodyPr/>
          <a:lstStyle/>
          <a:p>
            <a:r>
              <a:rPr lang="en-GB" dirty="0" smtClean="0"/>
              <a:t>We predominantly voted ‘For’ the Shareholder proposals</a:t>
            </a:r>
            <a:endParaRPr lang="en-GB" dirty="0"/>
          </a:p>
        </p:txBody>
      </p:sp>
      <p:grpSp>
        <p:nvGrpSpPr>
          <p:cNvPr id="19" name="Group 18"/>
          <p:cNvGrpSpPr/>
          <p:nvPr/>
        </p:nvGrpSpPr>
        <p:grpSpPr>
          <a:xfrm>
            <a:off x="429768" y="192024"/>
            <a:ext cx="3058251" cy="441238"/>
            <a:chOff x="593025" y="3578566"/>
            <a:chExt cx="3058251" cy="441238"/>
          </a:xfrm>
        </p:grpSpPr>
        <p:grpSp>
          <p:nvGrpSpPr>
            <p:cNvPr id="20" name="Group 19"/>
            <p:cNvGrpSpPr>
              <a:grpSpLocks noChangeAspect="1"/>
            </p:cNvGrpSpPr>
            <p:nvPr/>
          </p:nvGrpSpPr>
          <p:grpSpPr>
            <a:xfrm flipV="1">
              <a:off x="593025" y="3578566"/>
              <a:ext cx="3058251" cy="441238"/>
              <a:chOff x="507634" y="4792349"/>
              <a:chExt cx="7560000" cy="1090741"/>
            </a:xfrm>
          </p:grpSpPr>
          <p:sp>
            <p:nvSpPr>
              <p:cNvPr id="22" name="Rectangle 21"/>
              <p:cNvSpPr/>
              <p:nvPr/>
            </p:nvSpPr>
            <p:spPr>
              <a:xfrm>
                <a:off x="507634" y="4793345"/>
                <a:ext cx="7560000" cy="1089745"/>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24" name="Rectangle 23"/>
              <p:cNvSpPr/>
              <p:nvPr/>
            </p:nvSpPr>
            <p:spPr>
              <a:xfrm>
                <a:off x="1000185" y="4792349"/>
                <a:ext cx="6373677" cy="1080000"/>
              </a:xfrm>
              <a:prstGeom prst="rect">
                <a:avLst/>
              </a:prstGeom>
              <a:solidFill>
                <a:schemeClr val="bg1">
                  <a:alpha val="26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600" dirty="0">
                  <a:solidFill>
                    <a:srgbClr val="000000"/>
                  </a:solidFill>
                </a:endParaRPr>
              </a:p>
            </p:txBody>
          </p:sp>
          <p:sp>
            <p:nvSpPr>
              <p:cNvPr id="25" name="Oval 24"/>
              <p:cNvSpPr/>
              <p:nvPr/>
            </p:nvSpPr>
            <p:spPr>
              <a:xfrm>
                <a:off x="544349" y="5005000"/>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chemeClr val="tx1"/>
                  </a:solidFill>
                </a:endParaRPr>
              </a:p>
            </p:txBody>
          </p:sp>
          <p:sp>
            <p:nvSpPr>
              <p:cNvPr id="26" name="TextBox 25"/>
              <p:cNvSpPr txBox="1"/>
              <p:nvPr/>
            </p:nvSpPr>
            <p:spPr>
              <a:xfrm rot="10800000">
                <a:off x="1574125" y="5148013"/>
                <a:ext cx="3557259" cy="380411"/>
              </a:xfrm>
              <a:prstGeom prst="rect">
                <a:avLst/>
              </a:prstGeom>
              <a:noFill/>
            </p:spPr>
            <p:txBody>
              <a:bodyPr wrap="square" lIns="0" tIns="0" rIns="0" bIns="0" rtlCol="0">
                <a:spAutoFit/>
              </a:bodyPr>
              <a:lstStyle/>
              <a:p>
                <a:r>
                  <a:rPr lang="en-US" sz="1000" b="1" dirty="0">
                    <a:solidFill>
                      <a:srgbClr val="003755"/>
                    </a:solidFill>
                  </a:rPr>
                  <a:t>Proposals</a:t>
                </a:r>
              </a:p>
            </p:txBody>
          </p:sp>
          <p:sp>
            <p:nvSpPr>
              <p:cNvPr id="27" name="Rectangle 26"/>
              <p:cNvSpPr/>
              <p:nvPr/>
            </p:nvSpPr>
            <p:spPr>
              <a:xfrm>
                <a:off x="1407794" y="5098677"/>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rgbClr val="000000"/>
                  </a:solidFill>
                </a:endParaRPr>
              </a:p>
            </p:txBody>
          </p:sp>
          <p:sp>
            <p:nvSpPr>
              <p:cNvPr id="28" name="Awareness"/>
              <p:cNvSpPr>
                <a:spLocks noChangeAspect="1"/>
              </p:cNvSpPr>
              <p:nvPr>
                <p:custDataLst>
                  <p:tags r:id="rId4"/>
                </p:custDataLst>
              </p:nvPr>
            </p:nvSpPr>
            <p:spPr bwMode="auto">
              <a:xfrm>
                <a:off x="656829" y="5179506"/>
                <a:ext cx="468147" cy="317423"/>
              </a:xfrm>
              <a:custGeom>
                <a:avLst/>
                <a:gdLst>
                  <a:gd name="connsiteX0" fmla="*/ 366788 w 1770026"/>
                  <a:gd name="connsiteY0" fmla="*/ 784225 h 1200150"/>
                  <a:gd name="connsiteX1" fmla="*/ 336550 w 1770026"/>
                  <a:gd name="connsiteY1" fmla="*/ 871538 h 1200150"/>
                  <a:gd name="connsiteX2" fmla="*/ 495300 w 1770026"/>
                  <a:gd name="connsiteY2" fmla="*/ 784225 h 1200150"/>
                  <a:gd name="connsiteX3" fmla="*/ 366788 w 1770026"/>
                  <a:gd name="connsiteY3" fmla="*/ 784225 h 1200150"/>
                  <a:gd name="connsiteX4" fmla="*/ 190008 w 1770026"/>
                  <a:gd name="connsiteY4" fmla="*/ 784225 h 1200150"/>
                  <a:gd name="connsiteX5" fmla="*/ 53975 w 1770026"/>
                  <a:gd name="connsiteY5" fmla="*/ 1154113 h 1200150"/>
                  <a:gd name="connsiteX6" fmla="*/ 190008 w 1770026"/>
                  <a:gd name="connsiteY6" fmla="*/ 1154113 h 1200150"/>
                  <a:gd name="connsiteX7" fmla="*/ 284476 w 1770026"/>
                  <a:gd name="connsiteY7" fmla="*/ 886133 h 1200150"/>
                  <a:gd name="connsiteX8" fmla="*/ 288254 w 1770026"/>
                  <a:gd name="connsiteY8" fmla="*/ 882359 h 1200150"/>
                  <a:gd name="connsiteX9" fmla="*/ 288254 w 1770026"/>
                  <a:gd name="connsiteY9" fmla="*/ 874810 h 1200150"/>
                  <a:gd name="connsiteX10" fmla="*/ 322263 w 1770026"/>
                  <a:gd name="connsiteY10" fmla="*/ 784225 h 1200150"/>
                  <a:gd name="connsiteX11" fmla="*/ 197566 w 1770026"/>
                  <a:gd name="connsiteY11" fmla="*/ 784225 h 1200150"/>
                  <a:gd name="connsiteX12" fmla="*/ 190008 w 1770026"/>
                  <a:gd name="connsiteY12" fmla="*/ 784225 h 1200150"/>
                  <a:gd name="connsiteX13" fmla="*/ 46038 w 1770026"/>
                  <a:gd name="connsiteY13" fmla="*/ 295275 h 1200150"/>
                  <a:gd name="connsiteX14" fmla="*/ 46038 w 1770026"/>
                  <a:gd name="connsiteY14" fmla="*/ 738188 h 1200150"/>
                  <a:gd name="connsiteX15" fmla="*/ 593726 w 1770026"/>
                  <a:gd name="connsiteY15" fmla="*/ 738188 h 1200150"/>
                  <a:gd name="connsiteX16" fmla="*/ 593726 w 1770026"/>
                  <a:gd name="connsiteY16" fmla="*/ 295275 h 1200150"/>
                  <a:gd name="connsiteX17" fmla="*/ 1411873 w 1770026"/>
                  <a:gd name="connsiteY17" fmla="*/ 198872 h 1200150"/>
                  <a:gd name="connsiteX18" fmla="*/ 1435101 w 1770026"/>
                  <a:gd name="connsiteY18" fmla="*/ 212574 h 1200150"/>
                  <a:gd name="connsiteX19" fmla="*/ 1435101 w 1770026"/>
                  <a:gd name="connsiteY19" fmla="*/ 817336 h 1200150"/>
                  <a:gd name="connsiteX20" fmla="*/ 1408554 w 1770026"/>
                  <a:gd name="connsiteY20" fmla="*/ 828675 h 1200150"/>
                  <a:gd name="connsiteX21" fmla="*/ 1385800 w 1770026"/>
                  <a:gd name="connsiteY21" fmla="*/ 821116 h 1200150"/>
                  <a:gd name="connsiteX22" fmla="*/ 1378215 w 1770026"/>
                  <a:gd name="connsiteY22" fmla="*/ 771979 h 1200150"/>
                  <a:gd name="connsiteX23" fmla="*/ 1378215 w 1770026"/>
                  <a:gd name="connsiteY23" fmla="*/ 254151 h 1200150"/>
                  <a:gd name="connsiteX24" fmla="*/ 1385800 w 1770026"/>
                  <a:gd name="connsiteY24" fmla="*/ 205014 h 1200150"/>
                  <a:gd name="connsiteX25" fmla="*/ 1411873 w 1770026"/>
                  <a:gd name="connsiteY25" fmla="*/ 198872 h 1200150"/>
                  <a:gd name="connsiteX26" fmla="*/ 1632058 w 1770026"/>
                  <a:gd name="connsiteY26" fmla="*/ 111572 h 1200150"/>
                  <a:gd name="connsiteX27" fmla="*/ 1653718 w 1770026"/>
                  <a:gd name="connsiteY27" fmla="*/ 125306 h 1200150"/>
                  <a:gd name="connsiteX28" fmla="*/ 1657485 w 1770026"/>
                  <a:gd name="connsiteY28" fmla="*/ 875434 h 1200150"/>
                  <a:gd name="connsiteX29" fmla="*/ 1627350 w 1770026"/>
                  <a:gd name="connsiteY29" fmla="*/ 890588 h 1200150"/>
                  <a:gd name="connsiteX30" fmla="*/ 1608515 w 1770026"/>
                  <a:gd name="connsiteY30" fmla="*/ 886800 h 1200150"/>
                  <a:gd name="connsiteX31" fmla="*/ 1597214 w 1770026"/>
                  <a:gd name="connsiteY31" fmla="*/ 837549 h 1200150"/>
                  <a:gd name="connsiteX32" fmla="*/ 1597214 w 1770026"/>
                  <a:gd name="connsiteY32" fmla="*/ 166980 h 1200150"/>
                  <a:gd name="connsiteX33" fmla="*/ 1604748 w 1770026"/>
                  <a:gd name="connsiteY33" fmla="*/ 117729 h 1200150"/>
                  <a:gd name="connsiteX34" fmla="*/ 1632058 w 1770026"/>
                  <a:gd name="connsiteY34" fmla="*/ 111572 h 1200150"/>
                  <a:gd name="connsiteX35" fmla="*/ 1177926 w 1770026"/>
                  <a:gd name="connsiteY35" fmla="*/ 57150 h 1200150"/>
                  <a:gd name="connsiteX36" fmla="*/ 687388 w 1770026"/>
                  <a:gd name="connsiteY36" fmla="*/ 284163 h 1200150"/>
                  <a:gd name="connsiteX37" fmla="*/ 687388 w 1770026"/>
                  <a:gd name="connsiteY37" fmla="*/ 754063 h 1200150"/>
                  <a:gd name="connsiteX38" fmla="*/ 1177926 w 1770026"/>
                  <a:gd name="connsiteY38" fmla="*/ 976313 h 1200150"/>
                  <a:gd name="connsiteX39" fmla="*/ 1189964 w 1770026"/>
                  <a:gd name="connsiteY39" fmla="*/ 0 h 1200150"/>
                  <a:gd name="connsiteX40" fmla="*/ 1212630 w 1770026"/>
                  <a:gd name="connsiteY40" fmla="*/ 3786 h 1200150"/>
                  <a:gd name="connsiteX41" fmla="*/ 1223963 w 1770026"/>
                  <a:gd name="connsiteY41" fmla="*/ 22716 h 1200150"/>
                  <a:gd name="connsiteX42" fmla="*/ 1223963 w 1770026"/>
                  <a:gd name="connsiteY42" fmla="*/ 1014638 h 1200150"/>
                  <a:gd name="connsiteX43" fmla="*/ 1212630 w 1770026"/>
                  <a:gd name="connsiteY43" fmla="*/ 1029782 h 1200150"/>
                  <a:gd name="connsiteX44" fmla="*/ 1201297 w 1770026"/>
                  <a:gd name="connsiteY44" fmla="*/ 1033568 h 1200150"/>
                  <a:gd name="connsiteX45" fmla="*/ 1189964 w 1770026"/>
                  <a:gd name="connsiteY45" fmla="*/ 1033568 h 1200150"/>
                  <a:gd name="connsiteX46" fmla="*/ 668646 w 1770026"/>
                  <a:gd name="connsiteY46" fmla="*/ 791266 h 1200150"/>
                  <a:gd name="connsiteX47" fmla="*/ 638425 w 1770026"/>
                  <a:gd name="connsiteY47" fmla="*/ 806410 h 1200150"/>
                  <a:gd name="connsiteX48" fmla="*/ 600648 w 1770026"/>
                  <a:gd name="connsiteY48" fmla="*/ 783694 h 1200150"/>
                  <a:gd name="connsiteX49" fmla="*/ 543983 w 1770026"/>
                  <a:gd name="connsiteY49" fmla="*/ 783694 h 1200150"/>
                  <a:gd name="connsiteX50" fmla="*/ 324879 w 1770026"/>
                  <a:gd name="connsiteY50" fmla="*/ 916203 h 1200150"/>
                  <a:gd name="connsiteX51" fmla="*/ 321101 w 1770026"/>
                  <a:gd name="connsiteY51" fmla="*/ 916203 h 1200150"/>
                  <a:gd name="connsiteX52" fmla="*/ 226660 w 1770026"/>
                  <a:gd name="connsiteY52" fmla="*/ 1185006 h 1200150"/>
                  <a:gd name="connsiteX53" fmla="*/ 203994 w 1770026"/>
                  <a:gd name="connsiteY53" fmla="*/ 1200150 h 1200150"/>
                  <a:gd name="connsiteX54" fmla="*/ 22666 w 1770026"/>
                  <a:gd name="connsiteY54" fmla="*/ 1200150 h 1200150"/>
                  <a:gd name="connsiteX55" fmla="*/ 3777 w 1770026"/>
                  <a:gd name="connsiteY55" fmla="*/ 1188792 h 1200150"/>
                  <a:gd name="connsiteX56" fmla="*/ 0 w 1770026"/>
                  <a:gd name="connsiteY56" fmla="*/ 1169862 h 1200150"/>
                  <a:gd name="connsiteX57" fmla="*/ 139773 w 1770026"/>
                  <a:gd name="connsiteY57" fmla="*/ 783694 h 1200150"/>
                  <a:gd name="connsiteX58" fmla="*/ 22666 w 1770026"/>
                  <a:gd name="connsiteY58" fmla="*/ 783694 h 1200150"/>
                  <a:gd name="connsiteX59" fmla="*/ 0 w 1770026"/>
                  <a:gd name="connsiteY59" fmla="*/ 760979 h 1200150"/>
                  <a:gd name="connsiteX60" fmla="*/ 0 w 1770026"/>
                  <a:gd name="connsiteY60" fmla="*/ 276375 h 1200150"/>
                  <a:gd name="connsiteX61" fmla="*/ 22666 w 1770026"/>
                  <a:gd name="connsiteY61" fmla="*/ 253660 h 1200150"/>
                  <a:gd name="connsiteX62" fmla="*/ 596871 w 1770026"/>
                  <a:gd name="connsiteY62" fmla="*/ 253660 h 1200150"/>
                  <a:gd name="connsiteX63" fmla="*/ 638425 w 1770026"/>
                  <a:gd name="connsiteY63" fmla="*/ 227158 h 1200150"/>
                  <a:gd name="connsiteX64" fmla="*/ 672424 w 1770026"/>
                  <a:gd name="connsiteY64" fmla="*/ 242302 h 1200150"/>
                  <a:gd name="connsiteX65" fmla="*/ 1189964 w 1770026"/>
                  <a:gd name="connsiteY65" fmla="*/ 0 h 120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770026" h="1200150">
                    <a:moveTo>
                      <a:pt x="366788" y="784225"/>
                    </a:moveTo>
                    <a:cubicBezTo>
                      <a:pt x="366788" y="784225"/>
                      <a:pt x="366788" y="784225"/>
                      <a:pt x="336550" y="871538"/>
                    </a:cubicBezTo>
                    <a:cubicBezTo>
                      <a:pt x="397026" y="867742"/>
                      <a:pt x="472621" y="829780"/>
                      <a:pt x="495300" y="784225"/>
                    </a:cubicBezTo>
                    <a:cubicBezTo>
                      <a:pt x="495300" y="784225"/>
                      <a:pt x="495300" y="784225"/>
                      <a:pt x="366788" y="784225"/>
                    </a:cubicBezTo>
                    <a:close/>
                    <a:moveTo>
                      <a:pt x="190008" y="784225"/>
                    </a:moveTo>
                    <a:cubicBezTo>
                      <a:pt x="190008" y="784225"/>
                      <a:pt x="190008" y="784225"/>
                      <a:pt x="53975" y="1154113"/>
                    </a:cubicBezTo>
                    <a:lnTo>
                      <a:pt x="190008" y="1154113"/>
                    </a:lnTo>
                    <a:cubicBezTo>
                      <a:pt x="190008" y="1154113"/>
                      <a:pt x="190008" y="1154113"/>
                      <a:pt x="284476" y="886133"/>
                    </a:cubicBezTo>
                    <a:cubicBezTo>
                      <a:pt x="288254" y="882359"/>
                      <a:pt x="288254" y="882359"/>
                      <a:pt x="288254" y="882359"/>
                    </a:cubicBezTo>
                    <a:cubicBezTo>
                      <a:pt x="288254" y="882359"/>
                      <a:pt x="288254" y="882359"/>
                      <a:pt x="288254" y="874810"/>
                    </a:cubicBezTo>
                    <a:cubicBezTo>
                      <a:pt x="288254" y="874810"/>
                      <a:pt x="288254" y="874810"/>
                      <a:pt x="322263" y="784225"/>
                    </a:cubicBezTo>
                    <a:cubicBezTo>
                      <a:pt x="322263" y="784225"/>
                      <a:pt x="322263" y="784225"/>
                      <a:pt x="197566" y="784225"/>
                    </a:cubicBezTo>
                    <a:cubicBezTo>
                      <a:pt x="197566" y="784225"/>
                      <a:pt x="197566" y="784225"/>
                      <a:pt x="190008" y="784225"/>
                    </a:cubicBezTo>
                    <a:close/>
                    <a:moveTo>
                      <a:pt x="46038" y="295275"/>
                    </a:moveTo>
                    <a:lnTo>
                      <a:pt x="46038" y="738188"/>
                    </a:lnTo>
                    <a:lnTo>
                      <a:pt x="593726" y="738188"/>
                    </a:lnTo>
                    <a:lnTo>
                      <a:pt x="593726" y="295275"/>
                    </a:lnTo>
                    <a:close/>
                    <a:moveTo>
                      <a:pt x="1411873" y="198872"/>
                    </a:moveTo>
                    <a:cubicBezTo>
                      <a:pt x="1420879" y="200290"/>
                      <a:pt x="1429412" y="205014"/>
                      <a:pt x="1435101" y="212574"/>
                    </a:cubicBezTo>
                    <a:cubicBezTo>
                      <a:pt x="1571626" y="390223"/>
                      <a:pt x="1571626" y="639687"/>
                      <a:pt x="1435101" y="817336"/>
                    </a:cubicBezTo>
                    <a:cubicBezTo>
                      <a:pt x="1427516" y="824895"/>
                      <a:pt x="1416139" y="828675"/>
                      <a:pt x="1408554" y="828675"/>
                    </a:cubicBezTo>
                    <a:cubicBezTo>
                      <a:pt x="1400970" y="828675"/>
                      <a:pt x="1393385" y="828675"/>
                      <a:pt x="1385800" y="821116"/>
                    </a:cubicBezTo>
                    <a:cubicBezTo>
                      <a:pt x="1370631" y="809776"/>
                      <a:pt x="1366838" y="787098"/>
                      <a:pt x="1378215" y="771979"/>
                    </a:cubicBezTo>
                    <a:cubicBezTo>
                      <a:pt x="1495779" y="620788"/>
                      <a:pt x="1495779" y="409122"/>
                      <a:pt x="1378215" y="254151"/>
                    </a:cubicBezTo>
                    <a:cubicBezTo>
                      <a:pt x="1366838" y="239032"/>
                      <a:pt x="1370631" y="216354"/>
                      <a:pt x="1385800" y="205014"/>
                    </a:cubicBezTo>
                    <a:cubicBezTo>
                      <a:pt x="1393385" y="199345"/>
                      <a:pt x="1402866" y="197455"/>
                      <a:pt x="1411873" y="198872"/>
                    </a:cubicBezTo>
                    <a:close/>
                    <a:moveTo>
                      <a:pt x="1632058" y="111572"/>
                    </a:moveTo>
                    <a:cubicBezTo>
                      <a:pt x="1640534" y="112993"/>
                      <a:pt x="1648068" y="117729"/>
                      <a:pt x="1653718" y="125306"/>
                    </a:cubicBezTo>
                    <a:cubicBezTo>
                      <a:pt x="1808163" y="348829"/>
                      <a:pt x="1808163" y="651911"/>
                      <a:pt x="1657485" y="875434"/>
                    </a:cubicBezTo>
                    <a:cubicBezTo>
                      <a:pt x="1649951" y="886800"/>
                      <a:pt x="1638651" y="890588"/>
                      <a:pt x="1627350" y="890588"/>
                    </a:cubicBezTo>
                    <a:cubicBezTo>
                      <a:pt x="1619816" y="890588"/>
                      <a:pt x="1616049" y="890588"/>
                      <a:pt x="1608515" y="886800"/>
                    </a:cubicBezTo>
                    <a:cubicBezTo>
                      <a:pt x="1593447" y="875434"/>
                      <a:pt x="1589680" y="852703"/>
                      <a:pt x="1597214" y="837549"/>
                    </a:cubicBezTo>
                    <a:cubicBezTo>
                      <a:pt x="1732824" y="636757"/>
                      <a:pt x="1732824" y="367771"/>
                      <a:pt x="1597214" y="166980"/>
                    </a:cubicBezTo>
                    <a:cubicBezTo>
                      <a:pt x="1585913" y="151825"/>
                      <a:pt x="1589680" y="129094"/>
                      <a:pt x="1604748" y="117729"/>
                    </a:cubicBezTo>
                    <a:cubicBezTo>
                      <a:pt x="1614165" y="112046"/>
                      <a:pt x="1623583" y="110152"/>
                      <a:pt x="1632058" y="111572"/>
                    </a:cubicBezTo>
                    <a:close/>
                    <a:moveTo>
                      <a:pt x="1177926" y="57150"/>
                    </a:moveTo>
                    <a:lnTo>
                      <a:pt x="687388" y="284163"/>
                    </a:lnTo>
                    <a:lnTo>
                      <a:pt x="687388" y="754063"/>
                    </a:lnTo>
                    <a:lnTo>
                      <a:pt x="1177926" y="976313"/>
                    </a:lnTo>
                    <a:close/>
                    <a:moveTo>
                      <a:pt x="1189964" y="0"/>
                    </a:moveTo>
                    <a:cubicBezTo>
                      <a:pt x="1197520" y="0"/>
                      <a:pt x="1205075" y="0"/>
                      <a:pt x="1212630" y="3786"/>
                    </a:cubicBezTo>
                    <a:cubicBezTo>
                      <a:pt x="1220186" y="7572"/>
                      <a:pt x="1223963" y="15144"/>
                      <a:pt x="1223963" y="22716"/>
                    </a:cubicBezTo>
                    <a:cubicBezTo>
                      <a:pt x="1223963" y="22716"/>
                      <a:pt x="1223963" y="22716"/>
                      <a:pt x="1223963" y="1014638"/>
                    </a:cubicBezTo>
                    <a:cubicBezTo>
                      <a:pt x="1223963" y="1022210"/>
                      <a:pt x="1220186" y="1025996"/>
                      <a:pt x="1212630" y="1029782"/>
                    </a:cubicBezTo>
                    <a:cubicBezTo>
                      <a:pt x="1208853" y="1033568"/>
                      <a:pt x="1205075" y="1033568"/>
                      <a:pt x="1201297" y="1033568"/>
                    </a:cubicBezTo>
                    <a:cubicBezTo>
                      <a:pt x="1197520" y="1033568"/>
                      <a:pt x="1193742" y="1033568"/>
                      <a:pt x="1189964" y="1033568"/>
                    </a:cubicBezTo>
                    <a:cubicBezTo>
                      <a:pt x="1189964" y="1033568"/>
                      <a:pt x="1189964" y="1033568"/>
                      <a:pt x="668646" y="791266"/>
                    </a:cubicBezTo>
                    <a:cubicBezTo>
                      <a:pt x="661091" y="798838"/>
                      <a:pt x="649758" y="806410"/>
                      <a:pt x="638425" y="806410"/>
                    </a:cubicBezTo>
                    <a:cubicBezTo>
                      <a:pt x="623314" y="806410"/>
                      <a:pt x="608204" y="795052"/>
                      <a:pt x="600648" y="783694"/>
                    </a:cubicBezTo>
                    <a:cubicBezTo>
                      <a:pt x="600648" y="783694"/>
                      <a:pt x="600648" y="783694"/>
                      <a:pt x="543983" y="783694"/>
                    </a:cubicBezTo>
                    <a:cubicBezTo>
                      <a:pt x="517540" y="863200"/>
                      <a:pt x="400432" y="916203"/>
                      <a:pt x="324879" y="916203"/>
                    </a:cubicBezTo>
                    <a:cubicBezTo>
                      <a:pt x="324879" y="916203"/>
                      <a:pt x="324879" y="916203"/>
                      <a:pt x="321101" y="916203"/>
                    </a:cubicBezTo>
                    <a:cubicBezTo>
                      <a:pt x="321101" y="916203"/>
                      <a:pt x="321101" y="916203"/>
                      <a:pt x="226660" y="1185006"/>
                    </a:cubicBezTo>
                    <a:cubicBezTo>
                      <a:pt x="222882" y="1192578"/>
                      <a:pt x="215327" y="1200150"/>
                      <a:pt x="203994" y="1200150"/>
                    </a:cubicBezTo>
                    <a:cubicBezTo>
                      <a:pt x="203994" y="1200150"/>
                      <a:pt x="203994" y="1200150"/>
                      <a:pt x="22666" y="1200150"/>
                    </a:cubicBezTo>
                    <a:cubicBezTo>
                      <a:pt x="15110" y="1200150"/>
                      <a:pt x="7555" y="1196364"/>
                      <a:pt x="3777" y="1188792"/>
                    </a:cubicBezTo>
                    <a:cubicBezTo>
                      <a:pt x="0" y="1185006"/>
                      <a:pt x="0" y="1177434"/>
                      <a:pt x="0" y="1169862"/>
                    </a:cubicBezTo>
                    <a:cubicBezTo>
                      <a:pt x="0" y="1169862"/>
                      <a:pt x="0" y="1169862"/>
                      <a:pt x="139773" y="783694"/>
                    </a:cubicBezTo>
                    <a:cubicBezTo>
                      <a:pt x="139773" y="783694"/>
                      <a:pt x="139773" y="783694"/>
                      <a:pt x="22666" y="783694"/>
                    </a:cubicBezTo>
                    <a:cubicBezTo>
                      <a:pt x="11333" y="783694"/>
                      <a:pt x="0" y="772336"/>
                      <a:pt x="0" y="760979"/>
                    </a:cubicBezTo>
                    <a:cubicBezTo>
                      <a:pt x="0" y="760979"/>
                      <a:pt x="0" y="760979"/>
                      <a:pt x="0" y="276375"/>
                    </a:cubicBezTo>
                    <a:cubicBezTo>
                      <a:pt x="0" y="261232"/>
                      <a:pt x="11333" y="253660"/>
                      <a:pt x="22666" y="253660"/>
                    </a:cubicBezTo>
                    <a:cubicBezTo>
                      <a:pt x="22666" y="253660"/>
                      <a:pt x="22666" y="253660"/>
                      <a:pt x="596871" y="253660"/>
                    </a:cubicBezTo>
                    <a:cubicBezTo>
                      <a:pt x="604426" y="238516"/>
                      <a:pt x="619537" y="227158"/>
                      <a:pt x="638425" y="227158"/>
                    </a:cubicBezTo>
                    <a:cubicBezTo>
                      <a:pt x="649758" y="227158"/>
                      <a:pt x="661091" y="230944"/>
                      <a:pt x="672424" y="242302"/>
                    </a:cubicBezTo>
                    <a:cubicBezTo>
                      <a:pt x="672424" y="242302"/>
                      <a:pt x="672424" y="242302"/>
                      <a:pt x="1189964"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dirty="0">
                  <a:solidFill>
                    <a:srgbClr val="000000"/>
                  </a:solidFill>
                </a:endParaRPr>
              </a:p>
            </p:txBody>
          </p:sp>
        </p:grpSp>
        <p:sp>
          <p:nvSpPr>
            <p:cNvPr id="21" name="TextBox 20"/>
            <p:cNvSpPr txBox="1"/>
            <p:nvPr/>
          </p:nvSpPr>
          <p:spPr>
            <a:xfrm>
              <a:off x="2672805" y="3684336"/>
              <a:ext cx="809519" cy="229294"/>
            </a:xfrm>
            <a:prstGeom prst="rect">
              <a:avLst/>
            </a:prstGeom>
            <a:noFill/>
          </p:spPr>
          <p:txBody>
            <a:bodyPr wrap="square" rtlCol="0" anchor="ctr" anchorCtr="0">
              <a:spAutoFit/>
            </a:bodyPr>
            <a:lstStyle/>
            <a:p>
              <a:pPr algn="ctr">
                <a:lnSpc>
                  <a:spcPct val="89000"/>
                </a:lnSpc>
              </a:pPr>
              <a:r>
                <a:rPr lang="en-GB" sz="1000" b="1" dirty="0">
                  <a:solidFill>
                    <a:srgbClr val="00304A"/>
                  </a:solidFill>
                  <a:ea typeface="Open Sans" panose="020B0606030504020204" pitchFamily="34" charset="0"/>
                  <a:cs typeface="Open Sans" panose="020B0606030504020204" pitchFamily="34" charset="0"/>
                </a:rPr>
                <a:t>39 717</a:t>
              </a:r>
              <a:endParaRPr lang="en-US" sz="1000" b="1" dirty="0">
                <a:solidFill>
                  <a:srgbClr val="00304A"/>
                </a:solidFill>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151146167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944"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Voted proposals are mainly </a:t>
            </a:r>
            <a:r>
              <a:rPr lang="en-US" dirty="0" smtClean="0">
                <a:solidFill>
                  <a:schemeClr val="tx2"/>
                </a:solidFill>
              </a:rPr>
              <a:t>Directors-related</a:t>
            </a:r>
            <a:endParaRPr lang="en-US" dirty="0">
              <a:solidFill>
                <a:schemeClr val="tx2"/>
              </a:solidFill>
            </a:endParaRPr>
          </a:p>
        </p:txBody>
      </p:sp>
      <p:sp>
        <p:nvSpPr>
          <p:cNvPr id="6" name="TextBox 5"/>
          <p:cNvSpPr txBox="1">
            <a:spLocks/>
          </p:cNvSpPr>
          <p:nvPr/>
        </p:nvSpPr>
        <p:spPr>
          <a:xfrm>
            <a:off x="6321176" y="1379231"/>
            <a:ext cx="5516676" cy="400110"/>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buClr>
                <a:srgbClr val="003755"/>
              </a:buClr>
            </a:pPr>
            <a:r>
              <a:rPr lang="en-US" b="1" dirty="0" smtClean="0">
                <a:solidFill>
                  <a:srgbClr val="003755"/>
                </a:solidFill>
              </a:rPr>
              <a:t>Shareholder proposals </a:t>
            </a:r>
            <a:endParaRPr lang="sv-SE" dirty="0">
              <a:solidFill>
                <a:srgbClr val="003755"/>
              </a:solidFill>
            </a:endParaRPr>
          </a:p>
          <a:p>
            <a:pPr>
              <a:buClr>
                <a:srgbClr val="003755"/>
              </a:buClr>
            </a:pPr>
            <a:r>
              <a:rPr lang="en-GB" sz="1200" dirty="0" smtClean="0">
                <a:solidFill>
                  <a:srgbClr val="003755"/>
                </a:solidFill>
              </a:rPr>
              <a:t>A total of 1 094 proposals</a:t>
            </a:r>
            <a:endParaRPr lang="en-GB" sz="1200" dirty="0">
              <a:solidFill>
                <a:srgbClr val="003755"/>
              </a:solidFill>
            </a:endParaRPr>
          </a:p>
        </p:txBody>
      </p:sp>
      <p:sp>
        <p:nvSpPr>
          <p:cNvPr id="8" name="TextBox 7"/>
          <p:cNvSpPr txBox="1">
            <a:spLocks/>
          </p:cNvSpPr>
          <p:nvPr/>
        </p:nvSpPr>
        <p:spPr>
          <a:xfrm>
            <a:off x="422757" y="1365348"/>
            <a:ext cx="3381148" cy="400110"/>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a:buClr>
                <a:srgbClr val="003755"/>
              </a:buClr>
            </a:pPr>
            <a:r>
              <a:rPr lang="en-US" b="1" dirty="0">
                <a:solidFill>
                  <a:srgbClr val="003755"/>
                </a:solidFill>
              </a:rPr>
              <a:t>M</a:t>
            </a:r>
            <a:r>
              <a:rPr lang="en-US" b="1" dirty="0" smtClean="0">
                <a:solidFill>
                  <a:srgbClr val="003755"/>
                </a:solidFill>
              </a:rPr>
              <a:t>anagement proposals</a:t>
            </a:r>
            <a:endParaRPr lang="sv-SE" dirty="0" smtClean="0"/>
          </a:p>
          <a:p>
            <a:pPr>
              <a:buClr>
                <a:srgbClr val="003755"/>
              </a:buClr>
            </a:pPr>
            <a:r>
              <a:rPr lang="en-GB" sz="1200" dirty="0" smtClean="0">
                <a:solidFill>
                  <a:srgbClr val="003755"/>
                </a:solidFill>
              </a:rPr>
              <a:t>A total of 38 623 proposals</a:t>
            </a:r>
            <a:endParaRPr lang="en-US" sz="1200" i="1" dirty="0">
              <a:solidFill>
                <a:srgbClr val="003755"/>
              </a:solidFill>
            </a:endParaRPr>
          </a:p>
        </p:txBody>
      </p:sp>
      <p:graphicFrame>
        <p:nvGraphicFramePr>
          <p:cNvPr id="11" name="Chart 10"/>
          <p:cNvGraphicFramePr/>
          <p:nvPr>
            <p:extLst>
              <p:ext uri="{D42A27DB-BD31-4B8C-83A1-F6EECF244321}">
                <p14:modId xmlns:p14="http://schemas.microsoft.com/office/powerpoint/2010/main" val="4139657070"/>
              </p:ext>
            </p:extLst>
          </p:nvPr>
        </p:nvGraphicFramePr>
        <p:xfrm>
          <a:off x="6321176" y="2170930"/>
          <a:ext cx="5538878" cy="45457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7" name="Chart 16"/>
          <p:cNvGraphicFramePr>
            <a:graphicFrameLocks/>
          </p:cNvGraphicFramePr>
          <p:nvPr>
            <p:extLst>
              <p:ext uri="{D42A27DB-BD31-4B8C-83A1-F6EECF244321}">
                <p14:modId xmlns:p14="http://schemas.microsoft.com/office/powerpoint/2010/main" val="2708199097"/>
              </p:ext>
            </p:extLst>
          </p:nvPr>
        </p:nvGraphicFramePr>
        <p:xfrm>
          <a:off x="331127" y="2045035"/>
          <a:ext cx="5435500" cy="4797553"/>
        </p:xfrm>
        <a:graphic>
          <a:graphicData uri="http://schemas.openxmlformats.org/drawingml/2006/chart">
            <c:chart xmlns:c="http://schemas.openxmlformats.org/drawingml/2006/chart" xmlns:r="http://schemas.openxmlformats.org/officeDocument/2006/relationships" r:id="rId8"/>
          </a:graphicData>
        </a:graphic>
      </p:graphicFrame>
      <p:cxnSp>
        <p:nvCxnSpPr>
          <p:cNvPr id="3" name="Straight Connector 2"/>
          <p:cNvCxnSpPr/>
          <p:nvPr/>
        </p:nvCxnSpPr>
        <p:spPr>
          <a:xfrm>
            <a:off x="387007" y="5375656"/>
            <a:ext cx="5166360" cy="0"/>
          </a:xfrm>
          <a:prstGeom prst="line">
            <a:avLst/>
          </a:prstGeom>
          <a:ln w="952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427127" y="5375656"/>
            <a:ext cx="5166360" cy="0"/>
          </a:xfrm>
          <a:prstGeom prst="line">
            <a:avLst/>
          </a:prstGeom>
          <a:ln w="952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429768" y="192024"/>
            <a:ext cx="3058251" cy="441238"/>
            <a:chOff x="593025" y="3578566"/>
            <a:chExt cx="3058251" cy="441238"/>
          </a:xfrm>
        </p:grpSpPr>
        <p:grpSp>
          <p:nvGrpSpPr>
            <p:cNvPr id="15" name="Group 14"/>
            <p:cNvGrpSpPr>
              <a:grpSpLocks noChangeAspect="1"/>
            </p:cNvGrpSpPr>
            <p:nvPr/>
          </p:nvGrpSpPr>
          <p:grpSpPr>
            <a:xfrm flipV="1">
              <a:off x="593025" y="3578566"/>
              <a:ext cx="3058251" cy="441238"/>
              <a:chOff x="507634" y="4792349"/>
              <a:chExt cx="7560000" cy="1090741"/>
            </a:xfrm>
          </p:grpSpPr>
          <p:sp>
            <p:nvSpPr>
              <p:cNvPr id="18" name="Rectangle 17"/>
              <p:cNvSpPr/>
              <p:nvPr/>
            </p:nvSpPr>
            <p:spPr>
              <a:xfrm>
                <a:off x="507634" y="4793345"/>
                <a:ext cx="7560000" cy="1089745"/>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19" name="Rectangle 18"/>
              <p:cNvSpPr/>
              <p:nvPr/>
            </p:nvSpPr>
            <p:spPr>
              <a:xfrm>
                <a:off x="1000185" y="4792349"/>
                <a:ext cx="6373677" cy="1080000"/>
              </a:xfrm>
              <a:prstGeom prst="rect">
                <a:avLst/>
              </a:prstGeom>
              <a:solidFill>
                <a:schemeClr val="bg1">
                  <a:alpha val="26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600" dirty="0">
                  <a:solidFill>
                    <a:srgbClr val="000000"/>
                  </a:solidFill>
                </a:endParaRPr>
              </a:p>
            </p:txBody>
          </p:sp>
          <p:sp>
            <p:nvSpPr>
              <p:cNvPr id="20" name="Oval 19"/>
              <p:cNvSpPr/>
              <p:nvPr/>
            </p:nvSpPr>
            <p:spPr>
              <a:xfrm>
                <a:off x="544349" y="5005000"/>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chemeClr val="tx1"/>
                  </a:solidFill>
                </a:endParaRPr>
              </a:p>
            </p:txBody>
          </p:sp>
          <p:sp>
            <p:nvSpPr>
              <p:cNvPr id="21" name="TextBox 20"/>
              <p:cNvSpPr txBox="1"/>
              <p:nvPr/>
            </p:nvSpPr>
            <p:spPr>
              <a:xfrm rot="10800000">
                <a:off x="1574125" y="5148013"/>
                <a:ext cx="3557259" cy="380411"/>
              </a:xfrm>
              <a:prstGeom prst="rect">
                <a:avLst/>
              </a:prstGeom>
              <a:noFill/>
            </p:spPr>
            <p:txBody>
              <a:bodyPr wrap="square" lIns="0" tIns="0" rIns="0" bIns="0" rtlCol="0">
                <a:spAutoFit/>
              </a:bodyPr>
              <a:lstStyle/>
              <a:p>
                <a:r>
                  <a:rPr lang="en-US" sz="1000" b="1" dirty="0">
                    <a:solidFill>
                      <a:srgbClr val="003755"/>
                    </a:solidFill>
                  </a:rPr>
                  <a:t>Proposals</a:t>
                </a:r>
              </a:p>
            </p:txBody>
          </p:sp>
          <p:sp>
            <p:nvSpPr>
              <p:cNvPr id="22" name="Rectangle 21"/>
              <p:cNvSpPr/>
              <p:nvPr/>
            </p:nvSpPr>
            <p:spPr>
              <a:xfrm>
                <a:off x="1407794" y="5098677"/>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rgbClr val="000000"/>
                  </a:solidFill>
                </a:endParaRPr>
              </a:p>
            </p:txBody>
          </p:sp>
          <p:sp>
            <p:nvSpPr>
              <p:cNvPr id="23" name="Awareness"/>
              <p:cNvSpPr>
                <a:spLocks noChangeAspect="1"/>
              </p:cNvSpPr>
              <p:nvPr>
                <p:custDataLst>
                  <p:tags r:id="rId3"/>
                </p:custDataLst>
              </p:nvPr>
            </p:nvSpPr>
            <p:spPr bwMode="auto">
              <a:xfrm>
                <a:off x="656829" y="5179506"/>
                <a:ext cx="468147" cy="317423"/>
              </a:xfrm>
              <a:custGeom>
                <a:avLst/>
                <a:gdLst>
                  <a:gd name="connsiteX0" fmla="*/ 366788 w 1770026"/>
                  <a:gd name="connsiteY0" fmla="*/ 784225 h 1200150"/>
                  <a:gd name="connsiteX1" fmla="*/ 336550 w 1770026"/>
                  <a:gd name="connsiteY1" fmla="*/ 871538 h 1200150"/>
                  <a:gd name="connsiteX2" fmla="*/ 495300 w 1770026"/>
                  <a:gd name="connsiteY2" fmla="*/ 784225 h 1200150"/>
                  <a:gd name="connsiteX3" fmla="*/ 366788 w 1770026"/>
                  <a:gd name="connsiteY3" fmla="*/ 784225 h 1200150"/>
                  <a:gd name="connsiteX4" fmla="*/ 190008 w 1770026"/>
                  <a:gd name="connsiteY4" fmla="*/ 784225 h 1200150"/>
                  <a:gd name="connsiteX5" fmla="*/ 53975 w 1770026"/>
                  <a:gd name="connsiteY5" fmla="*/ 1154113 h 1200150"/>
                  <a:gd name="connsiteX6" fmla="*/ 190008 w 1770026"/>
                  <a:gd name="connsiteY6" fmla="*/ 1154113 h 1200150"/>
                  <a:gd name="connsiteX7" fmla="*/ 284476 w 1770026"/>
                  <a:gd name="connsiteY7" fmla="*/ 886133 h 1200150"/>
                  <a:gd name="connsiteX8" fmla="*/ 288254 w 1770026"/>
                  <a:gd name="connsiteY8" fmla="*/ 882359 h 1200150"/>
                  <a:gd name="connsiteX9" fmla="*/ 288254 w 1770026"/>
                  <a:gd name="connsiteY9" fmla="*/ 874810 h 1200150"/>
                  <a:gd name="connsiteX10" fmla="*/ 322263 w 1770026"/>
                  <a:gd name="connsiteY10" fmla="*/ 784225 h 1200150"/>
                  <a:gd name="connsiteX11" fmla="*/ 197566 w 1770026"/>
                  <a:gd name="connsiteY11" fmla="*/ 784225 h 1200150"/>
                  <a:gd name="connsiteX12" fmla="*/ 190008 w 1770026"/>
                  <a:gd name="connsiteY12" fmla="*/ 784225 h 1200150"/>
                  <a:gd name="connsiteX13" fmla="*/ 46038 w 1770026"/>
                  <a:gd name="connsiteY13" fmla="*/ 295275 h 1200150"/>
                  <a:gd name="connsiteX14" fmla="*/ 46038 w 1770026"/>
                  <a:gd name="connsiteY14" fmla="*/ 738188 h 1200150"/>
                  <a:gd name="connsiteX15" fmla="*/ 593726 w 1770026"/>
                  <a:gd name="connsiteY15" fmla="*/ 738188 h 1200150"/>
                  <a:gd name="connsiteX16" fmla="*/ 593726 w 1770026"/>
                  <a:gd name="connsiteY16" fmla="*/ 295275 h 1200150"/>
                  <a:gd name="connsiteX17" fmla="*/ 1411873 w 1770026"/>
                  <a:gd name="connsiteY17" fmla="*/ 198872 h 1200150"/>
                  <a:gd name="connsiteX18" fmla="*/ 1435101 w 1770026"/>
                  <a:gd name="connsiteY18" fmla="*/ 212574 h 1200150"/>
                  <a:gd name="connsiteX19" fmla="*/ 1435101 w 1770026"/>
                  <a:gd name="connsiteY19" fmla="*/ 817336 h 1200150"/>
                  <a:gd name="connsiteX20" fmla="*/ 1408554 w 1770026"/>
                  <a:gd name="connsiteY20" fmla="*/ 828675 h 1200150"/>
                  <a:gd name="connsiteX21" fmla="*/ 1385800 w 1770026"/>
                  <a:gd name="connsiteY21" fmla="*/ 821116 h 1200150"/>
                  <a:gd name="connsiteX22" fmla="*/ 1378215 w 1770026"/>
                  <a:gd name="connsiteY22" fmla="*/ 771979 h 1200150"/>
                  <a:gd name="connsiteX23" fmla="*/ 1378215 w 1770026"/>
                  <a:gd name="connsiteY23" fmla="*/ 254151 h 1200150"/>
                  <a:gd name="connsiteX24" fmla="*/ 1385800 w 1770026"/>
                  <a:gd name="connsiteY24" fmla="*/ 205014 h 1200150"/>
                  <a:gd name="connsiteX25" fmla="*/ 1411873 w 1770026"/>
                  <a:gd name="connsiteY25" fmla="*/ 198872 h 1200150"/>
                  <a:gd name="connsiteX26" fmla="*/ 1632058 w 1770026"/>
                  <a:gd name="connsiteY26" fmla="*/ 111572 h 1200150"/>
                  <a:gd name="connsiteX27" fmla="*/ 1653718 w 1770026"/>
                  <a:gd name="connsiteY27" fmla="*/ 125306 h 1200150"/>
                  <a:gd name="connsiteX28" fmla="*/ 1657485 w 1770026"/>
                  <a:gd name="connsiteY28" fmla="*/ 875434 h 1200150"/>
                  <a:gd name="connsiteX29" fmla="*/ 1627350 w 1770026"/>
                  <a:gd name="connsiteY29" fmla="*/ 890588 h 1200150"/>
                  <a:gd name="connsiteX30" fmla="*/ 1608515 w 1770026"/>
                  <a:gd name="connsiteY30" fmla="*/ 886800 h 1200150"/>
                  <a:gd name="connsiteX31" fmla="*/ 1597214 w 1770026"/>
                  <a:gd name="connsiteY31" fmla="*/ 837549 h 1200150"/>
                  <a:gd name="connsiteX32" fmla="*/ 1597214 w 1770026"/>
                  <a:gd name="connsiteY32" fmla="*/ 166980 h 1200150"/>
                  <a:gd name="connsiteX33" fmla="*/ 1604748 w 1770026"/>
                  <a:gd name="connsiteY33" fmla="*/ 117729 h 1200150"/>
                  <a:gd name="connsiteX34" fmla="*/ 1632058 w 1770026"/>
                  <a:gd name="connsiteY34" fmla="*/ 111572 h 1200150"/>
                  <a:gd name="connsiteX35" fmla="*/ 1177926 w 1770026"/>
                  <a:gd name="connsiteY35" fmla="*/ 57150 h 1200150"/>
                  <a:gd name="connsiteX36" fmla="*/ 687388 w 1770026"/>
                  <a:gd name="connsiteY36" fmla="*/ 284163 h 1200150"/>
                  <a:gd name="connsiteX37" fmla="*/ 687388 w 1770026"/>
                  <a:gd name="connsiteY37" fmla="*/ 754063 h 1200150"/>
                  <a:gd name="connsiteX38" fmla="*/ 1177926 w 1770026"/>
                  <a:gd name="connsiteY38" fmla="*/ 976313 h 1200150"/>
                  <a:gd name="connsiteX39" fmla="*/ 1189964 w 1770026"/>
                  <a:gd name="connsiteY39" fmla="*/ 0 h 1200150"/>
                  <a:gd name="connsiteX40" fmla="*/ 1212630 w 1770026"/>
                  <a:gd name="connsiteY40" fmla="*/ 3786 h 1200150"/>
                  <a:gd name="connsiteX41" fmla="*/ 1223963 w 1770026"/>
                  <a:gd name="connsiteY41" fmla="*/ 22716 h 1200150"/>
                  <a:gd name="connsiteX42" fmla="*/ 1223963 w 1770026"/>
                  <a:gd name="connsiteY42" fmla="*/ 1014638 h 1200150"/>
                  <a:gd name="connsiteX43" fmla="*/ 1212630 w 1770026"/>
                  <a:gd name="connsiteY43" fmla="*/ 1029782 h 1200150"/>
                  <a:gd name="connsiteX44" fmla="*/ 1201297 w 1770026"/>
                  <a:gd name="connsiteY44" fmla="*/ 1033568 h 1200150"/>
                  <a:gd name="connsiteX45" fmla="*/ 1189964 w 1770026"/>
                  <a:gd name="connsiteY45" fmla="*/ 1033568 h 1200150"/>
                  <a:gd name="connsiteX46" fmla="*/ 668646 w 1770026"/>
                  <a:gd name="connsiteY46" fmla="*/ 791266 h 1200150"/>
                  <a:gd name="connsiteX47" fmla="*/ 638425 w 1770026"/>
                  <a:gd name="connsiteY47" fmla="*/ 806410 h 1200150"/>
                  <a:gd name="connsiteX48" fmla="*/ 600648 w 1770026"/>
                  <a:gd name="connsiteY48" fmla="*/ 783694 h 1200150"/>
                  <a:gd name="connsiteX49" fmla="*/ 543983 w 1770026"/>
                  <a:gd name="connsiteY49" fmla="*/ 783694 h 1200150"/>
                  <a:gd name="connsiteX50" fmla="*/ 324879 w 1770026"/>
                  <a:gd name="connsiteY50" fmla="*/ 916203 h 1200150"/>
                  <a:gd name="connsiteX51" fmla="*/ 321101 w 1770026"/>
                  <a:gd name="connsiteY51" fmla="*/ 916203 h 1200150"/>
                  <a:gd name="connsiteX52" fmla="*/ 226660 w 1770026"/>
                  <a:gd name="connsiteY52" fmla="*/ 1185006 h 1200150"/>
                  <a:gd name="connsiteX53" fmla="*/ 203994 w 1770026"/>
                  <a:gd name="connsiteY53" fmla="*/ 1200150 h 1200150"/>
                  <a:gd name="connsiteX54" fmla="*/ 22666 w 1770026"/>
                  <a:gd name="connsiteY54" fmla="*/ 1200150 h 1200150"/>
                  <a:gd name="connsiteX55" fmla="*/ 3777 w 1770026"/>
                  <a:gd name="connsiteY55" fmla="*/ 1188792 h 1200150"/>
                  <a:gd name="connsiteX56" fmla="*/ 0 w 1770026"/>
                  <a:gd name="connsiteY56" fmla="*/ 1169862 h 1200150"/>
                  <a:gd name="connsiteX57" fmla="*/ 139773 w 1770026"/>
                  <a:gd name="connsiteY57" fmla="*/ 783694 h 1200150"/>
                  <a:gd name="connsiteX58" fmla="*/ 22666 w 1770026"/>
                  <a:gd name="connsiteY58" fmla="*/ 783694 h 1200150"/>
                  <a:gd name="connsiteX59" fmla="*/ 0 w 1770026"/>
                  <a:gd name="connsiteY59" fmla="*/ 760979 h 1200150"/>
                  <a:gd name="connsiteX60" fmla="*/ 0 w 1770026"/>
                  <a:gd name="connsiteY60" fmla="*/ 276375 h 1200150"/>
                  <a:gd name="connsiteX61" fmla="*/ 22666 w 1770026"/>
                  <a:gd name="connsiteY61" fmla="*/ 253660 h 1200150"/>
                  <a:gd name="connsiteX62" fmla="*/ 596871 w 1770026"/>
                  <a:gd name="connsiteY62" fmla="*/ 253660 h 1200150"/>
                  <a:gd name="connsiteX63" fmla="*/ 638425 w 1770026"/>
                  <a:gd name="connsiteY63" fmla="*/ 227158 h 1200150"/>
                  <a:gd name="connsiteX64" fmla="*/ 672424 w 1770026"/>
                  <a:gd name="connsiteY64" fmla="*/ 242302 h 1200150"/>
                  <a:gd name="connsiteX65" fmla="*/ 1189964 w 1770026"/>
                  <a:gd name="connsiteY65" fmla="*/ 0 h 120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770026" h="1200150">
                    <a:moveTo>
                      <a:pt x="366788" y="784225"/>
                    </a:moveTo>
                    <a:cubicBezTo>
                      <a:pt x="366788" y="784225"/>
                      <a:pt x="366788" y="784225"/>
                      <a:pt x="336550" y="871538"/>
                    </a:cubicBezTo>
                    <a:cubicBezTo>
                      <a:pt x="397026" y="867742"/>
                      <a:pt x="472621" y="829780"/>
                      <a:pt x="495300" y="784225"/>
                    </a:cubicBezTo>
                    <a:cubicBezTo>
                      <a:pt x="495300" y="784225"/>
                      <a:pt x="495300" y="784225"/>
                      <a:pt x="366788" y="784225"/>
                    </a:cubicBezTo>
                    <a:close/>
                    <a:moveTo>
                      <a:pt x="190008" y="784225"/>
                    </a:moveTo>
                    <a:cubicBezTo>
                      <a:pt x="190008" y="784225"/>
                      <a:pt x="190008" y="784225"/>
                      <a:pt x="53975" y="1154113"/>
                    </a:cubicBezTo>
                    <a:lnTo>
                      <a:pt x="190008" y="1154113"/>
                    </a:lnTo>
                    <a:cubicBezTo>
                      <a:pt x="190008" y="1154113"/>
                      <a:pt x="190008" y="1154113"/>
                      <a:pt x="284476" y="886133"/>
                    </a:cubicBezTo>
                    <a:cubicBezTo>
                      <a:pt x="288254" y="882359"/>
                      <a:pt x="288254" y="882359"/>
                      <a:pt x="288254" y="882359"/>
                    </a:cubicBezTo>
                    <a:cubicBezTo>
                      <a:pt x="288254" y="882359"/>
                      <a:pt x="288254" y="882359"/>
                      <a:pt x="288254" y="874810"/>
                    </a:cubicBezTo>
                    <a:cubicBezTo>
                      <a:pt x="288254" y="874810"/>
                      <a:pt x="288254" y="874810"/>
                      <a:pt x="322263" y="784225"/>
                    </a:cubicBezTo>
                    <a:cubicBezTo>
                      <a:pt x="322263" y="784225"/>
                      <a:pt x="322263" y="784225"/>
                      <a:pt x="197566" y="784225"/>
                    </a:cubicBezTo>
                    <a:cubicBezTo>
                      <a:pt x="197566" y="784225"/>
                      <a:pt x="197566" y="784225"/>
                      <a:pt x="190008" y="784225"/>
                    </a:cubicBezTo>
                    <a:close/>
                    <a:moveTo>
                      <a:pt x="46038" y="295275"/>
                    </a:moveTo>
                    <a:lnTo>
                      <a:pt x="46038" y="738188"/>
                    </a:lnTo>
                    <a:lnTo>
                      <a:pt x="593726" y="738188"/>
                    </a:lnTo>
                    <a:lnTo>
                      <a:pt x="593726" y="295275"/>
                    </a:lnTo>
                    <a:close/>
                    <a:moveTo>
                      <a:pt x="1411873" y="198872"/>
                    </a:moveTo>
                    <a:cubicBezTo>
                      <a:pt x="1420879" y="200290"/>
                      <a:pt x="1429412" y="205014"/>
                      <a:pt x="1435101" y="212574"/>
                    </a:cubicBezTo>
                    <a:cubicBezTo>
                      <a:pt x="1571626" y="390223"/>
                      <a:pt x="1571626" y="639687"/>
                      <a:pt x="1435101" y="817336"/>
                    </a:cubicBezTo>
                    <a:cubicBezTo>
                      <a:pt x="1427516" y="824895"/>
                      <a:pt x="1416139" y="828675"/>
                      <a:pt x="1408554" y="828675"/>
                    </a:cubicBezTo>
                    <a:cubicBezTo>
                      <a:pt x="1400970" y="828675"/>
                      <a:pt x="1393385" y="828675"/>
                      <a:pt x="1385800" y="821116"/>
                    </a:cubicBezTo>
                    <a:cubicBezTo>
                      <a:pt x="1370631" y="809776"/>
                      <a:pt x="1366838" y="787098"/>
                      <a:pt x="1378215" y="771979"/>
                    </a:cubicBezTo>
                    <a:cubicBezTo>
                      <a:pt x="1495779" y="620788"/>
                      <a:pt x="1495779" y="409122"/>
                      <a:pt x="1378215" y="254151"/>
                    </a:cubicBezTo>
                    <a:cubicBezTo>
                      <a:pt x="1366838" y="239032"/>
                      <a:pt x="1370631" y="216354"/>
                      <a:pt x="1385800" y="205014"/>
                    </a:cubicBezTo>
                    <a:cubicBezTo>
                      <a:pt x="1393385" y="199345"/>
                      <a:pt x="1402866" y="197455"/>
                      <a:pt x="1411873" y="198872"/>
                    </a:cubicBezTo>
                    <a:close/>
                    <a:moveTo>
                      <a:pt x="1632058" y="111572"/>
                    </a:moveTo>
                    <a:cubicBezTo>
                      <a:pt x="1640534" y="112993"/>
                      <a:pt x="1648068" y="117729"/>
                      <a:pt x="1653718" y="125306"/>
                    </a:cubicBezTo>
                    <a:cubicBezTo>
                      <a:pt x="1808163" y="348829"/>
                      <a:pt x="1808163" y="651911"/>
                      <a:pt x="1657485" y="875434"/>
                    </a:cubicBezTo>
                    <a:cubicBezTo>
                      <a:pt x="1649951" y="886800"/>
                      <a:pt x="1638651" y="890588"/>
                      <a:pt x="1627350" y="890588"/>
                    </a:cubicBezTo>
                    <a:cubicBezTo>
                      <a:pt x="1619816" y="890588"/>
                      <a:pt x="1616049" y="890588"/>
                      <a:pt x="1608515" y="886800"/>
                    </a:cubicBezTo>
                    <a:cubicBezTo>
                      <a:pt x="1593447" y="875434"/>
                      <a:pt x="1589680" y="852703"/>
                      <a:pt x="1597214" y="837549"/>
                    </a:cubicBezTo>
                    <a:cubicBezTo>
                      <a:pt x="1732824" y="636757"/>
                      <a:pt x="1732824" y="367771"/>
                      <a:pt x="1597214" y="166980"/>
                    </a:cubicBezTo>
                    <a:cubicBezTo>
                      <a:pt x="1585913" y="151825"/>
                      <a:pt x="1589680" y="129094"/>
                      <a:pt x="1604748" y="117729"/>
                    </a:cubicBezTo>
                    <a:cubicBezTo>
                      <a:pt x="1614165" y="112046"/>
                      <a:pt x="1623583" y="110152"/>
                      <a:pt x="1632058" y="111572"/>
                    </a:cubicBezTo>
                    <a:close/>
                    <a:moveTo>
                      <a:pt x="1177926" y="57150"/>
                    </a:moveTo>
                    <a:lnTo>
                      <a:pt x="687388" y="284163"/>
                    </a:lnTo>
                    <a:lnTo>
                      <a:pt x="687388" y="754063"/>
                    </a:lnTo>
                    <a:lnTo>
                      <a:pt x="1177926" y="976313"/>
                    </a:lnTo>
                    <a:close/>
                    <a:moveTo>
                      <a:pt x="1189964" y="0"/>
                    </a:moveTo>
                    <a:cubicBezTo>
                      <a:pt x="1197520" y="0"/>
                      <a:pt x="1205075" y="0"/>
                      <a:pt x="1212630" y="3786"/>
                    </a:cubicBezTo>
                    <a:cubicBezTo>
                      <a:pt x="1220186" y="7572"/>
                      <a:pt x="1223963" y="15144"/>
                      <a:pt x="1223963" y="22716"/>
                    </a:cubicBezTo>
                    <a:cubicBezTo>
                      <a:pt x="1223963" y="22716"/>
                      <a:pt x="1223963" y="22716"/>
                      <a:pt x="1223963" y="1014638"/>
                    </a:cubicBezTo>
                    <a:cubicBezTo>
                      <a:pt x="1223963" y="1022210"/>
                      <a:pt x="1220186" y="1025996"/>
                      <a:pt x="1212630" y="1029782"/>
                    </a:cubicBezTo>
                    <a:cubicBezTo>
                      <a:pt x="1208853" y="1033568"/>
                      <a:pt x="1205075" y="1033568"/>
                      <a:pt x="1201297" y="1033568"/>
                    </a:cubicBezTo>
                    <a:cubicBezTo>
                      <a:pt x="1197520" y="1033568"/>
                      <a:pt x="1193742" y="1033568"/>
                      <a:pt x="1189964" y="1033568"/>
                    </a:cubicBezTo>
                    <a:cubicBezTo>
                      <a:pt x="1189964" y="1033568"/>
                      <a:pt x="1189964" y="1033568"/>
                      <a:pt x="668646" y="791266"/>
                    </a:cubicBezTo>
                    <a:cubicBezTo>
                      <a:pt x="661091" y="798838"/>
                      <a:pt x="649758" y="806410"/>
                      <a:pt x="638425" y="806410"/>
                    </a:cubicBezTo>
                    <a:cubicBezTo>
                      <a:pt x="623314" y="806410"/>
                      <a:pt x="608204" y="795052"/>
                      <a:pt x="600648" y="783694"/>
                    </a:cubicBezTo>
                    <a:cubicBezTo>
                      <a:pt x="600648" y="783694"/>
                      <a:pt x="600648" y="783694"/>
                      <a:pt x="543983" y="783694"/>
                    </a:cubicBezTo>
                    <a:cubicBezTo>
                      <a:pt x="517540" y="863200"/>
                      <a:pt x="400432" y="916203"/>
                      <a:pt x="324879" y="916203"/>
                    </a:cubicBezTo>
                    <a:cubicBezTo>
                      <a:pt x="324879" y="916203"/>
                      <a:pt x="324879" y="916203"/>
                      <a:pt x="321101" y="916203"/>
                    </a:cubicBezTo>
                    <a:cubicBezTo>
                      <a:pt x="321101" y="916203"/>
                      <a:pt x="321101" y="916203"/>
                      <a:pt x="226660" y="1185006"/>
                    </a:cubicBezTo>
                    <a:cubicBezTo>
                      <a:pt x="222882" y="1192578"/>
                      <a:pt x="215327" y="1200150"/>
                      <a:pt x="203994" y="1200150"/>
                    </a:cubicBezTo>
                    <a:cubicBezTo>
                      <a:pt x="203994" y="1200150"/>
                      <a:pt x="203994" y="1200150"/>
                      <a:pt x="22666" y="1200150"/>
                    </a:cubicBezTo>
                    <a:cubicBezTo>
                      <a:pt x="15110" y="1200150"/>
                      <a:pt x="7555" y="1196364"/>
                      <a:pt x="3777" y="1188792"/>
                    </a:cubicBezTo>
                    <a:cubicBezTo>
                      <a:pt x="0" y="1185006"/>
                      <a:pt x="0" y="1177434"/>
                      <a:pt x="0" y="1169862"/>
                    </a:cubicBezTo>
                    <a:cubicBezTo>
                      <a:pt x="0" y="1169862"/>
                      <a:pt x="0" y="1169862"/>
                      <a:pt x="139773" y="783694"/>
                    </a:cubicBezTo>
                    <a:cubicBezTo>
                      <a:pt x="139773" y="783694"/>
                      <a:pt x="139773" y="783694"/>
                      <a:pt x="22666" y="783694"/>
                    </a:cubicBezTo>
                    <a:cubicBezTo>
                      <a:pt x="11333" y="783694"/>
                      <a:pt x="0" y="772336"/>
                      <a:pt x="0" y="760979"/>
                    </a:cubicBezTo>
                    <a:cubicBezTo>
                      <a:pt x="0" y="760979"/>
                      <a:pt x="0" y="760979"/>
                      <a:pt x="0" y="276375"/>
                    </a:cubicBezTo>
                    <a:cubicBezTo>
                      <a:pt x="0" y="261232"/>
                      <a:pt x="11333" y="253660"/>
                      <a:pt x="22666" y="253660"/>
                    </a:cubicBezTo>
                    <a:cubicBezTo>
                      <a:pt x="22666" y="253660"/>
                      <a:pt x="22666" y="253660"/>
                      <a:pt x="596871" y="253660"/>
                    </a:cubicBezTo>
                    <a:cubicBezTo>
                      <a:pt x="604426" y="238516"/>
                      <a:pt x="619537" y="227158"/>
                      <a:pt x="638425" y="227158"/>
                    </a:cubicBezTo>
                    <a:cubicBezTo>
                      <a:pt x="649758" y="227158"/>
                      <a:pt x="661091" y="230944"/>
                      <a:pt x="672424" y="242302"/>
                    </a:cubicBezTo>
                    <a:cubicBezTo>
                      <a:pt x="672424" y="242302"/>
                      <a:pt x="672424" y="242302"/>
                      <a:pt x="1189964"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dirty="0">
                  <a:solidFill>
                    <a:srgbClr val="000000"/>
                  </a:solidFill>
                </a:endParaRPr>
              </a:p>
            </p:txBody>
          </p:sp>
        </p:grpSp>
        <p:sp>
          <p:nvSpPr>
            <p:cNvPr id="16" name="TextBox 15"/>
            <p:cNvSpPr txBox="1"/>
            <p:nvPr/>
          </p:nvSpPr>
          <p:spPr>
            <a:xfrm>
              <a:off x="2672805" y="3684336"/>
              <a:ext cx="809519" cy="229294"/>
            </a:xfrm>
            <a:prstGeom prst="rect">
              <a:avLst/>
            </a:prstGeom>
            <a:noFill/>
          </p:spPr>
          <p:txBody>
            <a:bodyPr wrap="square" rtlCol="0" anchor="ctr" anchorCtr="0">
              <a:spAutoFit/>
            </a:bodyPr>
            <a:lstStyle/>
            <a:p>
              <a:pPr algn="ctr">
                <a:lnSpc>
                  <a:spcPct val="89000"/>
                </a:lnSpc>
              </a:pPr>
              <a:r>
                <a:rPr lang="en-GB" sz="1000" b="1" dirty="0">
                  <a:solidFill>
                    <a:srgbClr val="00304A"/>
                  </a:solidFill>
                  <a:ea typeface="Open Sans" panose="020B0606030504020204" pitchFamily="34" charset="0"/>
                  <a:cs typeface="Open Sans" panose="020B0606030504020204" pitchFamily="34" charset="0"/>
                </a:rPr>
                <a:t>39 717</a:t>
              </a:r>
              <a:endParaRPr lang="en-US" sz="1000" b="1" dirty="0">
                <a:solidFill>
                  <a:srgbClr val="00304A"/>
                </a:solidFill>
                <a:ea typeface="Open Sans" panose="020B0606030504020204" pitchFamily="34" charset="0"/>
                <a:cs typeface="Open Sans" panose="020B0606030504020204" pitchFamily="34" charset="0"/>
              </a:endParaRPr>
            </a:p>
          </p:txBody>
        </p:sp>
      </p:grpSp>
      <p:cxnSp>
        <p:nvCxnSpPr>
          <p:cNvPr id="25" name="Straight Connector 24"/>
          <p:cNvCxnSpPr/>
          <p:nvPr/>
        </p:nvCxnSpPr>
        <p:spPr>
          <a:xfrm flipV="1">
            <a:off x="422757" y="1804824"/>
            <a:ext cx="5231283" cy="5294"/>
          </a:xfrm>
          <a:prstGeom prst="line">
            <a:avLst/>
          </a:prstGeom>
          <a:ln w="12700"/>
        </p:spPr>
        <p:style>
          <a:lnRef idx="1">
            <a:schemeClr val="accent3"/>
          </a:lnRef>
          <a:fillRef idx="0">
            <a:schemeClr val="accent3"/>
          </a:fillRef>
          <a:effectRef idx="0">
            <a:schemeClr val="accent3"/>
          </a:effectRef>
          <a:fontRef idx="minor">
            <a:schemeClr val="tx1"/>
          </a:fontRef>
        </p:style>
      </p:cxnSp>
      <p:cxnSp>
        <p:nvCxnSpPr>
          <p:cNvPr id="26" name="Straight Connector 25"/>
          <p:cNvCxnSpPr/>
          <p:nvPr/>
        </p:nvCxnSpPr>
        <p:spPr>
          <a:xfrm>
            <a:off x="6321176" y="1805435"/>
            <a:ext cx="5272311" cy="4683"/>
          </a:xfrm>
          <a:prstGeom prst="line">
            <a:avLst/>
          </a:prstGeom>
          <a:ln w="12700"/>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40538832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1800" y="728663"/>
            <a:ext cx="10834298" cy="332399"/>
          </a:xfrm>
        </p:spPr>
        <p:txBody>
          <a:bodyPr/>
          <a:lstStyle/>
          <a:p>
            <a:r>
              <a:rPr lang="en-US" dirty="0" smtClean="0">
                <a:solidFill>
                  <a:schemeClr val="tx2"/>
                </a:solidFill>
              </a:rPr>
              <a:t>Most</a:t>
            </a:r>
            <a:r>
              <a:rPr lang="lt-LT" dirty="0" smtClean="0">
                <a:solidFill>
                  <a:schemeClr val="tx2"/>
                </a:solidFill>
              </a:rPr>
              <a:t> </a:t>
            </a:r>
            <a:r>
              <a:rPr lang="en-US" dirty="0" smtClean="0">
                <a:solidFill>
                  <a:schemeClr val="tx2"/>
                </a:solidFill>
              </a:rPr>
              <a:t>common </a:t>
            </a:r>
            <a:r>
              <a:rPr lang="en-US" dirty="0">
                <a:solidFill>
                  <a:schemeClr val="tx2"/>
                </a:solidFill>
              </a:rPr>
              <a:t>voted proposals against </a:t>
            </a:r>
            <a:r>
              <a:rPr lang="en-US" dirty="0" smtClean="0">
                <a:solidFill>
                  <a:schemeClr val="tx2"/>
                </a:solidFill>
              </a:rPr>
              <a:t>Management recommendations</a:t>
            </a:r>
            <a:endParaRPr lang="en-US" dirty="0">
              <a:solidFill>
                <a:schemeClr val="tx2"/>
              </a:solidFill>
            </a:endParaRPr>
          </a:p>
        </p:txBody>
      </p:sp>
      <p:graphicFrame>
        <p:nvGraphicFramePr>
          <p:cNvPr id="9" name="Chart 8"/>
          <p:cNvGraphicFramePr/>
          <p:nvPr>
            <p:extLst>
              <p:ext uri="{D42A27DB-BD31-4B8C-83A1-F6EECF244321}">
                <p14:modId xmlns:p14="http://schemas.microsoft.com/office/powerpoint/2010/main" val="3423436517"/>
              </p:ext>
            </p:extLst>
          </p:nvPr>
        </p:nvGraphicFramePr>
        <p:xfrm>
          <a:off x="-549853" y="1621094"/>
          <a:ext cx="11208327" cy="4773074"/>
        </p:xfrm>
        <a:graphic>
          <a:graphicData uri="http://schemas.openxmlformats.org/drawingml/2006/chart">
            <c:chart xmlns:c="http://schemas.openxmlformats.org/drawingml/2006/chart" xmlns:r="http://schemas.openxmlformats.org/officeDocument/2006/relationships" r:id="rId3"/>
          </a:graphicData>
        </a:graphic>
      </p:graphicFrame>
      <p:grpSp>
        <p:nvGrpSpPr>
          <p:cNvPr id="6" name="Group 5"/>
          <p:cNvGrpSpPr/>
          <p:nvPr/>
        </p:nvGrpSpPr>
        <p:grpSpPr>
          <a:xfrm>
            <a:off x="429768" y="192024"/>
            <a:ext cx="3058251" cy="441238"/>
            <a:chOff x="593025" y="3578566"/>
            <a:chExt cx="3058251" cy="441238"/>
          </a:xfrm>
        </p:grpSpPr>
        <p:grpSp>
          <p:nvGrpSpPr>
            <p:cNvPr id="7" name="Group 6"/>
            <p:cNvGrpSpPr>
              <a:grpSpLocks noChangeAspect="1"/>
            </p:cNvGrpSpPr>
            <p:nvPr/>
          </p:nvGrpSpPr>
          <p:grpSpPr>
            <a:xfrm flipV="1">
              <a:off x="593025" y="3578566"/>
              <a:ext cx="3058251" cy="441238"/>
              <a:chOff x="507634" y="4792349"/>
              <a:chExt cx="7560000" cy="1090741"/>
            </a:xfrm>
          </p:grpSpPr>
          <p:sp>
            <p:nvSpPr>
              <p:cNvPr id="10" name="Rectangle 9"/>
              <p:cNvSpPr/>
              <p:nvPr/>
            </p:nvSpPr>
            <p:spPr>
              <a:xfrm>
                <a:off x="507634" y="4793345"/>
                <a:ext cx="7560000" cy="1089745"/>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11" name="Rectangle 10"/>
              <p:cNvSpPr/>
              <p:nvPr/>
            </p:nvSpPr>
            <p:spPr>
              <a:xfrm>
                <a:off x="1000185" y="4792349"/>
                <a:ext cx="6373677" cy="1080000"/>
              </a:xfrm>
              <a:prstGeom prst="rect">
                <a:avLst/>
              </a:prstGeom>
              <a:solidFill>
                <a:schemeClr val="bg1">
                  <a:alpha val="26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600" dirty="0">
                  <a:solidFill>
                    <a:srgbClr val="000000"/>
                  </a:solidFill>
                </a:endParaRPr>
              </a:p>
            </p:txBody>
          </p:sp>
          <p:sp>
            <p:nvSpPr>
              <p:cNvPr id="12" name="Oval 11"/>
              <p:cNvSpPr/>
              <p:nvPr/>
            </p:nvSpPr>
            <p:spPr>
              <a:xfrm>
                <a:off x="544349" y="5005000"/>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chemeClr val="tx1"/>
                  </a:solidFill>
                </a:endParaRPr>
              </a:p>
            </p:txBody>
          </p:sp>
          <p:sp>
            <p:nvSpPr>
              <p:cNvPr id="13" name="TextBox 12"/>
              <p:cNvSpPr txBox="1"/>
              <p:nvPr/>
            </p:nvSpPr>
            <p:spPr>
              <a:xfrm rot="10800000">
                <a:off x="1574125" y="5148013"/>
                <a:ext cx="3557259" cy="380411"/>
              </a:xfrm>
              <a:prstGeom prst="rect">
                <a:avLst/>
              </a:prstGeom>
              <a:noFill/>
            </p:spPr>
            <p:txBody>
              <a:bodyPr wrap="square" lIns="0" tIns="0" rIns="0" bIns="0" rtlCol="0">
                <a:spAutoFit/>
              </a:bodyPr>
              <a:lstStyle/>
              <a:p>
                <a:r>
                  <a:rPr lang="en-US" sz="1000" b="1" dirty="0">
                    <a:solidFill>
                      <a:srgbClr val="003755"/>
                    </a:solidFill>
                  </a:rPr>
                  <a:t>Proposals</a:t>
                </a:r>
              </a:p>
            </p:txBody>
          </p:sp>
          <p:sp>
            <p:nvSpPr>
              <p:cNvPr id="14" name="Rectangle 13"/>
              <p:cNvSpPr/>
              <p:nvPr/>
            </p:nvSpPr>
            <p:spPr>
              <a:xfrm>
                <a:off x="1407794" y="5098677"/>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rgbClr val="000000"/>
                  </a:solidFill>
                </a:endParaRPr>
              </a:p>
            </p:txBody>
          </p:sp>
          <p:sp>
            <p:nvSpPr>
              <p:cNvPr id="15" name="Awareness"/>
              <p:cNvSpPr>
                <a:spLocks noChangeAspect="1"/>
              </p:cNvSpPr>
              <p:nvPr>
                <p:custDataLst>
                  <p:tags r:id="rId1"/>
                </p:custDataLst>
              </p:nvPr>
            </p:nvSpPr>
            <p:spPr bwMode="auto">
              <a:xfrm>
                <a:off x="656829" y="5179506"/>
                <a:ext cx="468147" cy="317423"/>
              </a:xfrm>
              <a:custGeom>
                <a:avLst/>
                <a:gdLst>
                  <a:gd name="connsiteX0" fmla="*/ 366788 w 1770026"/>
                  <a:gd name="connsiteY0" fmla="*/ 784225 h 1200150"/>
                  <a:gd name="connsiteX1" fmla="*/ 336550 w 1770026"/>
                  <a:gd name="connsiteY1" fmla="*/ 871538 h 1200150"/>
                  <a:gd name="connsiteX2" fmla="*/ 495300 w 1770026"/>
                  <a:gd name="connsiteY2" fmla="*/ 784225 h 1200150"/>
                  <a:gd name="connsiteX3" fmla="*/ 366788 w 1770026"/>
                  <a:gd name="connsiteY3" fmla="*/ 784225 h 1200150"/>
                  <a:gd name="connsiteX4" fmla="*/ 190008 w 1770026"/>
                  <a:gd name="connsiteY4" fmla="*/ 784225 h 1200150"/>
                  <a:gd name="connsiteX5" fmla="*/ 53975 w 1770026"/>
                  <a:gd name="connsiteY5" fmla="*/ 1154113 h 1200150"/>
                  <a:gd name="connsiteX6" fmla="*/ 190008 w 1770026"/>
                  <a:gd name="connsiteY6" fmla="*/ 1154113 h 1200150"/>
                  <a:gd name="connsiteX7" fmla="*/ 284476 w 1770026"/>
                  <a:gd name="connsiteY7" fmla="*/ 886133 h 1200150"/>
                  <a:gd name="connsiteX8" fmla="*/ 288254 w 1770026"/>
                  <a:gd name="connsiteY8" fmla="*/ 882359 h 1200150"/>
                  <a:gd name="connsiteX9" fmla="*/ 288254 w 1770026"/>
                  <a:gd name="connsiteY9" fmla="*/ 874810 h 1200150"/>
                  <a:gd name="connsiteX10" fmla="*/ 322263 w 1770026"/>
                  <a:gd name="connsiteY10" fmla="*/ 784225 h 1200150"/>
                  <a:gd name="connsiteX11" fmla="*/ 197566 w 1770026"/>
                  <a:gd name="connsiteY11" fmla="*/ 784225 h 1200150"/>
                  <a:gd name="connsiteX12" fmla="*/ 190008 w 1770026"/>
                  <a:gd name="connsiteY12" fmla="*/ 784225 h 1200150"/>
                  <a:gd name="connsiteX13" fmla="*/ 46038 w 1770026"/>
                  <a:gd name="connsiteY13" fmla="*/ 295275 h 1200150"/>
                  <a:gd name="connsiteX14" fmla="*/ 46038 w 1770026"/>
                  <a:gd name="connsiteY14" fmla="*/ 738188 h 1200150"/>
                  <a:gd name="connsiteX15" fmla="*/ 593726 w 1770026"/>
                  <a:gd name="connsiteY15" fmla="*/ 738188 h 1200150"/>
                  <a:gd name="connsiteX16" fmla="*/ 593726 w 1770026"/>
                  <a:gd name="connsiteY16" fmla="*/ 295275 h 1200150"/>
                  <a:gd name="connsiteX17" fmla="*/ 1411873 w 1770026"/>
                  <a:gd name="connsiteY17" fmla="*/ 198872 h 1200150"/>
                  <a:gd name="connsiteX18" fmla="*/ 1435101 w 1770026"/>
                  <a:gd name="connsiteY18" fmla="*/ 212574 h 1200150"/>
                  <a:gd name="connsiteX19" fmla="*/ 1435101 w 1770026"/>
                  <a:gd name="connsiteY19" fmla="*/ 817336 h 1200150"/>
                  <a:gd name="connsiteX20" fmla="*/ 1408554 w 1770026"/>
                  <a:gd name="connsiteY20" fmla="*/ 828675 h 1200150"/>
                  <a:gd name="connsiteX21" fmla="*/ 1385800 w 1770026"/>
                  <a:gd name="connsiteY21" fmla="*/ 821116 h 1200150"/>
                  <a:gd name="connsiteX22" fmla="*/ 1378215 w 1770026"/>
                  <a:gd name="connsiteY22" fmla="*/ 771979 h 1200150"/>
                  <a:gd name="connsiteX23" fmla="*/ 1378215 w 1770026"/>
                  <a:gd name="connsiteY23" fmla="*/ 254151 h 1200150"/>
                  <a:gd name="connsiteX24" fmla="*/ 1385800 w 1770026"/>
                  <a:gd name="connsiteY24" fmla="*/ 205014 h 1200150"/>
                  <a:gd name="connsiteX25" fmla="*/ 1411873 w 1770026"/>
                  <a:gd name="connsiteY25" fmla="*/ 198872 h 1200150"/>
                  <a:gd name="connsiteX26" fmla="*/ 1632058 w 1770026"/>
                  <a:gd name="connsiteY26" fmla="*/ 111572 h 1200150"/>
                  <a:gd name="connsiteX27" fmla="*/ 1653718 w 1770026"/>
                  <a:gd name="connsiteY27" fmla="*/ 125306 h 1200150"/>
                  <a:gd name="connsiteX28" fmla="*/ 1657485 w 1770026"/>
                  <a:gd name="connsiteY28" fmla="*/ 875434 h 1200150"/>
                  <a:gd name="connsiteX29" fmla="*/ 1627350 w 1770026"/>
                  <a:gd name="connsiteY29" fmla="*/ 890588 h 1200150"/>
                  <a:gd name="connsiteX30" fmla="*/ 1608515 w 1770026"/>
                  <a:gd name="connsiteY30" fmla="*/ 886800 h 1200150"/>
                  <a:gd name="connsiteX31" fmla="*/ 1597214 w 1770026"/>
                  <a:gd name="connsiteY31" fmla="*/ 837549 h 1200150"/>
                  <a:gd name="connsiteX32" fmla="*/ 1597214 w 1770026"/>
                  <a:gd name="connsiteY32" fmla="*/ 166980 h 1200150"/>
                  <a:gd name="connsiteX33" fmla="*/ 1604748 w 1770026"/>
                  <a:gd name="connsiteY33" fmla="*/ 117729 h 1200150"/>
                  <a:gd name="connsiteX34" fmla="*/ 1632058 w 1770026"/>
                  <a:gd name="connsiteY34" fmla="*/ 111572 h 1200150"/>
                  <a:gd name="connsiteX35" fmla="*/ 1177926 w 1770026"/>
                  <a:gd name="connsiteY35" fmla="*/ 57150 h 1200150"/>
                  <a:gd name="connsiteX36" fmla="*/ 687388 w 1770026"/>
                  <a:gd name="connsiteY36" fmla="*/ 284163 h 1200150"/>
                  <a:gd name="connsiteX37" fmla="*/ 687388 w 1770026"/>
                  <a:gd name="connsiteY37" fmla="*/ 754063 h 1200150"/>
                  <a:gd name="connsiteX38" fmla="*/ 1177926 w 1770026"/>
                  <a:gd name="connsiteY38" fmla="*/ 976313 h 1200150"/>
                  <a:gd name="connsiteX39" fmla="*/ 1189964 w 1770026"/>
                  <a:gd name="connsiteY39" fmla="*/ 0 h 1200150"/>
                  <a:gd name="connsiteX40" fmla="*/ 1212630 w 1770026"/>
                  <a:gd name="connsiteY40" fmla="*/ 3786 h 1200150"/>
                  <a:gd name="connsiteX41" fmla="*/ 1223963 w 1770026"/>
                  <a:gd name="connsiteY41" fmla="*/ 22716 h 1200150"/>
                  <a:gd name="connsiteX42" fmla="*/ 1223963 w 1770026"/>
                  <a:gd name="connsiteY42" fmla="*/ 1014638 h 1200150"/>
                  <a:gd name="connsiteX43" fmla="*/ 1212630 w 1770026"/>
                  <a:gd name="connsiteY43" fmla="*/ 1029782 h 1200150"/>
                  <a:gd name="connsiteX44" fmla="*/ 1201297 w 1770026"/>
                  <a:gd name="connsiteY44" fmla="*/ 1033568 h 1200150"/>
                  <a:gd name="connsiteX45" fmla="*/ 1189964 w 1770026"/>
                  <a:gd name="connsiteY45" fmla="*/ 1033568 h 1200150"/>
                  <a:gd name="connsiteX46" fmla="*/ 668646 w 1770026"/>
                  <a:gd name="connsiteY46" fmla="*/ 791266 h 1200150"/>
                  <a:gd name="connsiteX47" fmla="*/ 638425 w 1770026"/>
                  <a:gd name="connsiteY47" fmla="*/ 806410 h 1200150"/>
                  <a:gd name="connsiteX48" fmla="*/ 600648 w 1770026"/>
                  <a:gd name="connsiteY48" fmla="*/ 783694 h 1200150"/>
                  <a:gd name="connsiteX49" fmla="*/ 543983 w 1770026"/>
                  <a:gd name="connsiteY49" fmla="*/ 783694 h 1200150"/>
                  <a:gd name="connsiteX50" fmla="*/ 324879 w 1770026"/>
                  <a:gd name="connsiteY50" fmla="*/ 916203 h 1200150"/>
                  <a:gd name="connsiteX51" fmla="*/ 321101 w 1770026"/>
                  <a:gd name="connsiteY51" fmla="*/ 916203 h 1200150"/>
                  <a:gd name="connsiteX52" fmla="*/ 226660 w 1770026"/>
                  <a:gd name="connsiteY52" fmla="*/ 1185006 h 1200150"/>
                  <a:gd name="connsiteX53" fmla="*/ 203994 w 1770026"/>
                  <a:gd name="connsiteY53" fmla="*/ 1200150 h 1200150"/>
                  <a:gd name="connsiteX54" fmla="*/ 22666 w 1770026"/>
                  <a:gd name="connsiteY54" fmla="*/ 1200150 h 1200150"/>
                  <a:gd name="connsiteX55" fmla="*/ 3777 w 1770026"/>
                  <a:gd name="connsiteY55" fmla="*/ 1188792 h 1200150"/>
                  <a:gd name="connsiteX56" fmla="*/ 0 w 1770026"/>
                  <a:gd name="connsiteY56" fmla="*/ 1169862 h 1200150"/>
                  <a:gd name="connsiteX57" fmla="*/ 139773 w 1770026"/>
                  <a:gd name="connsiteY57" fmla="*/ 783694 h 1200150"/>
                  <a:gd name="connsiteX58" fmla="*/ 22666 w 1770026"/>
                  <a:gd name="connsiteY58" fmla="*/ 783694 h 1200150"/>
                  <a:gd name="connsiteX59" fmla="*/ 0 w 1770026"/>
                  <a:gd name="connsiteY59" fmla="*/ 760979 h 1200150"/>
                  <a:gd name="connsiteX60" fmla="*/ 0 w 1770026"/>
                  <a:gd name="connsiteY60" fmla="*/ 276375 h 1200150"/>
                  <a:gd name="connsiteX61" fmla="*/ 22666 w 1770026"/>
                  <a:gd name="connsiteY61" fmla="*/ 253660 h 1200150"/>
                  <a:gd name="connsiteX62" fmla="*/ 596871 w 1770026"/>
                  <a:gd name="connsiteY62" fmla="*/ 253660 h 1200150"/>
                  <a:gd name="connsiteX63" fmla="*/ 638425 w 1770026"/>
                  <a:gd name="connsiteY63" fmla="*/ 227158 h 1200150"/>
                  <a:gd name="connsiteX64" fmla="*/ 672424 w 1770026"/>
                  <a:gd name="connsiteY64" fmla="*/ 242302 h 1200150"/>
                  <a:gd name="connsiteX65" fmla="*/ 1189964 w 1770026"/>
                  <a:gd name="connsiteY65" fmla="*/ 0 h 120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770026" h="1200150">
                    <a:moveTo>
                      <a:pt x="366788" y="784225"/>
                    </a:moveTo>
                    <a:cubicBezTo>
                      <a:pt x="366788" y="784225"/>
                      <a:pt x="366788" y="784225"/>
                      <a:pt x="336550" y="871538"/>
                    </a:cubicBezTo>
                    <a:cubicBezTo>
                      <a:pt x="397026" y="867742"/>
                      <a:pt x="472621" y="829780"/>
                      <a:pt x="495300" y="784225"/>
                    </a:cubicBezTo>
                    <a:cubicBezTo>
                      <a:pt x="495300" y="784225"/>
                      <a:pt x="495300" y="784225"/>
                      <a:pt x="366788" y="784225"/>
                    </a:cubicBezTo>
                    <a:close/>
                    <a:moveTo>
                      <a:pt x="190008" y="784225"/>
                    </a:moveTo>
                    <a:cubicBezTo>
                      <a:pt x="190008" y="784225"/>
                      <a:pt x="190008" y="784225"/>
                      <a:pt x="53975" y="1154113"/>
                    </a:cubicBezTo>
                    <a:lnTo>
                      <a:pt x="190008" y="1154113"/>
                    </a:lnTo>
                    <a:cubicBezTo>
                      <a:pt x="190008" y="1154113"/>
                      <a:pt x="190008" y="1154113"/>
                      <a:pt x="284476" y="886133"/>
                    </a:cubicBezTo>
                    <a:cubicBezTo>
                      <a:pt x="288254" y="882359"/>
                      <a:pt x="288254" y="882359"/>
                      <a:pt x="288254" y="882359"/>
                    </a:cubicBezTo>
                    <a:cubicBezTo>
                      <a:pt x="288254" y="882359"/>
                      <a:pt x="288254" y="882359"/>
                      <a:pt x="288254" y="874810"/>
                    </a:cubicBezTo>
                    <a:cubicBezTo>
                      <a:pt x="288254" y="874810"/>
                      <a:pt x="288254" y="874810"/>
                      <a:pt x="322263" y="784225"/>
                    </a:cubicBezTo>
                    <a:cubicBezTo>
                      <a:pt x="322263" y="784225"/>
                      <a:pt x="322263" y="784225"/>
                      <a:pt x="197566" y="784225"/>
                    </a:cubicBezTo>
                    <a:cubicBezTo>
                      <a:pt x="197566" y="784225"/>
                      <a:pt x="197566" y="784225"/>
                      <a:pt x="190008" y="784225"/>
                    </a:cubicBezTo>
                    <a:close/>
                    <a:moveTo>
                      <a:pt x="46038" y="295275"/>
                    </a:moveTo>
                    <a:lnTo>
                      <a:pt x="46038" y="738188"/>
                    </a:lnTo>
                    <a:lnTo>
                      <a:pt x="593726" y="738188"/>
                    </a:lnTo>
                    <a:lnTo>
                      <a:pt x="593726" y="295275"/>
                    </a:lnTo>
                    <a:close/>
                    <a:moveTo>
                      <a:pt x="1411873" y="198872"/>
                    </a:moveTo>
                    <a:cubicBezTo>
                      <a:pt x="1420879" y="200290"/>
                      <a:pt x="1429412" y="205014"/>
                      <a:pt x="1435101" y="212574"/>
                    </a:cubicBezTo>
                    <a:cubicBezTo>
                      <a:pt x="1571626" y="390223"/>
                      <a:pt x="1571626" y="639687"/>
                      <a:pt x="1435101" y="817336"/>
                    </a:cubicBezTo>
                    <a:cubicBezTo>
                      <a:pt x="1427516" y="824895"/>
                      <a:pt x="1416139" y="828675"/>
                      <a:pt x="1408554" y="828675"/>
                    </a:cubicBezTo>
                    <a:cubicBezTo>
                      <a:pt x="1400970" y="828675"/>
                      <a:pt x="1393385" y="828675"/>
                      <a:pt x="1385800" y="821116"/>
                    </a:cubicBezTo>
                    <a:cubicBezTo>
                      <a:pt x="1370631" y="809776"/>
                      <a:pt x="1366838" y="787098"/>
                      <a:pt x="1378215" y="771979"/>
                    </a:cubicBezTo>
                    <a:cubicBezTo>
                      <a:pt x="1495779" y="620788"/>
                      <a:pt x="1495779" y="409122"/>
                      <a:pt x="1378215" y="254151"/>
                    </a:cubicBezTo>
                    <a:cubicBezTo>
                      <a:pt x="1366838" y="239032"/>
                      <a:pt x="1370631" y="216354"/>
                      <a:pt x="1385800" y="205014"/>
                    </a:cubicBezTo>
                    <a:cubicBezTo>
                      <a:pt x="1393385" y="199345"/>
                      <a:pt x="1402866" y="197455"/>
                      <a:pt x="1411873" y="198872"/>
                    </a:cubicBezTo>
                    <a:close/>
                    <a:moveTo>
                      <a:pt x="1632058" y="111572"/>
                    </a:moveTo>
                    <a:cubicBezTo>
                      <a:pt x="1640534" y="112993"/>
                      <a:pt x="1648068" y="117729"/>
                      <a:pt x="1653718" y="125306"/>
                    </a:cubicBezTo>
                    <a:cubicBezTo>
                      <a:pt x="1808163" y="348829"/>
                      <a:pt x="1808163" y="651911"/>
                      <a:pt x="1657485" y="875434"/>
                    </a:cubicBezTo>
                    <a:cubicBezTo>
                      <a:pt x="1649951" y="886800"/>
                      <a:pt x="1638651" y="890588"/>
                      <a:pt x="1627350" y="890588"/>
                    </a:cubicBezTo>
                    <a:cubicBezTo>
                      <a:pt x="1619816" y="890588"/>
                      <a:pt x="1616049" y="890588"/>
                      <a:pt x="1608515" y="886800"/>
                    </a:cubicBezTo>
                    <a:cubicBezTo>
                      <a:pt x="1593447" y="875434"/>
                      <a:pt x="1589680" y="852703"/>
                      <a:pt x="1597214" y="837549"/>
                    </a:cubicBezTo>
                    <a:cubicBezTo>
                      <a:pt x="1732824" y="636757"/>
                      <a:pt x="1732824" y="367771"/>
                      <a:pt x="1597214" y="166980"/>
                    </a:cubicBezTo>
                    <a:cubicBezTo>
                      <a:pt x="1585913" y="151825"/>
                      <a:pt x="1589680" y="129094"/>
                      <a:pt x="1604748" y="117729"/>
                    </a:cubicBezTo>
                    <a:cubicBezTo>
                      <a:pt x="1614165" y="112046"/>
                      <a:pt x="1623583" y="110152"/>
                      <a:pt x="1632058" y="111572"/>
                    </a:cubicBezTo>
                    <a:close/>
                    <a:moveTo>
                      <a:pt x="1177926" y="57150"/>
                    </a:moveTo>
                    <a:lnTo>
                      <a:pt x="687388" y="284163"/>
                    </a:lnTo>
                    <a:lnTo>
                      <a:pt x="687388" y="754063"/>
                    </a:lnTo>
                    <a:lnTo>
                      <a:pt x="1177926" y="976313"/>
                    </a:lnTo>
                    <a:close/>
                    <a:moveTo>
                      <a:pt x="1189964" y="0"/>
                    </a:moveTo>
                    <a:cubicBezTo>
                      <a:pt x="1197520" y="0"/>
                      <a:pt x="1205075" y="0"/>
                      <a:pt x="1212630" y="3786"/>
                    </a:cubicBezTo>
                    <a:cubicBezTo>
                      <a:pt x="1220186" y="7572"/>
                      <a:pt x="1223963" y="15144"/>
                      <a:pt x="1223963" y="22716"/>
                    </a:cubicBezTo>
                    <a:cubicBezTo>
                      <a:pt x="1223963" y="22716"/>
                      <a:pt x="1223963" y="22716"/>
                      <a:pt x="1223963" y="1014638"/>
                    </a:cubicBezTo>
                    <a:cubicBezTo>
                      <a:pt x="1223963" y="1022210"/>
                      <a:pt x="1220186" y="1025996"/>
                      <a:pt x="1212630" y="1029782"/>
                    </a:cubicBezTo>
                    <a:cubicBezTo>
                      <a:pt x="1208853" y="1033568"/>
                      <a:pt x="1205075" y="1033568"/>
                      <a:pt x="1201297" y="1033568"/>
                    </a:cubicBezTo>
                    <a:cubicBezTo>
                      <a:pt x="1197520" y="1033568"/>
                      <a:pt x="1193742" y="1033568"/>
                      <a:pt x="1189964" y="1033568"/>
                    </a:cubicBezTo>
                    <a:cubicBezTo>
                      <a:pt x="1189964" y="1033568"/>
                      <a:pt x="1189964" y="1033568"/>
                      <a:pt x="668646" y="791266"/>
                    </a:cubicBezTo>
                    <a:cubicBezTo>
                      <a:pt x="661091" y="798838"/>
                      <a:pt x="649758" y="806410"/>
                      <a:pt x="638425" y="806410"/>
                    </a:cubicBezTo>
                    <a:cubicBezTo>
                      <a:pt x="623314" y="806410"/>
                      <a:pt x="608204" y="795052"/>
                      <a:pt x="600648" y="783694"/>
                    </a:cubicBezTo>
                    <a:cubicBezTo>
                      <a:pt x="600648" y="783694"/>
                      <a:pt x="600648" y="783694"/>
                      <a:pt x="543983" y="783694"/>
                    </a:cubicBezTo>
                    <a:cubicBezTo>
                      <a:pt x="517540" y="863200"/>
                      <a:pt x="400432" y="916203"/>
                      <a:pt x="324879" y="916203"/>
                    </a:cubicBezTo>
                    <a:cubicBezTo>
                      <a:pt x="324879" y="916203"/>
                      <a:pt x="324879" y="916203"/>
                      <a:pt x="321101" y="916203"/>
                    </a:cubicBezTo>
                    <a:cubicBezTo>
                      <a:pt x="321101" y="916203"/>
                      <a:pt x="321101" y="916203"/>
                      <a:pt x="226660" y="1185006"/>
                    </a:cubicBezTo>
                    <a:cubicBezTo>
                      <a:pt x="222882" y="1192578"/>
                      <a:pt x="215327" y="1200150"/>
                      <a:pt x="203994" y="1200150"/>
                    </a:cubicBezTo>
                    <a:cubicBezTo>
                      <a:pt x="203994" y="1200150"/>
                      <a:pt x="203994" y="1200150"/>
                      <a:pt x="22666" y="1200150"/>
                    </a:cubicBezTo>
                    <a:cubicBezTo>
                      <a:pt x="15110" y="1200150"/>
                      <a:pt x="7555" y="1196364"/>
                      <a:pt x="3777" y="1188792"/>
                    </a:cubicBezTo>
                    <a:cubicBezTo>
                      <a:pt x="0" y="1185006"/>
                      <a:pt x="0" y="1177434"/>
                      <a:pt x="0" y="1169862"/>
                    </a:cubicBezTo>
                    <a:cubicBezTo>
                      <a:pt x="0" y="1169862"/>
                      <a:pt x="0" y="1169862"/>
                      <a:pt x="139773" y="783694"/>
                    </a:cubicBezTo>
                    <a:cubicBezTo>
                      <a:pt x="139773" y="783694"/>
                      <a:pt x="139773" y="783694"/>
                      <a:pt x="22666" y="783694"/>
                    </a:cubicBezTo>
                    <a:cubicBezTo>
                      <a:pt x="11333" y="783694"/>
                      <a:pt x="0" y="772336"/>
                      <a:pt x="0" y="760979"/>
                    </a:cubicBezTo>
                    <a:cubicBezTo>
                      <a:pt x="0" y="760979"/>
                      <a:pt x="0" y="760979"/>
                      <a:pt x="0" y="276375"/>
                    </a:cubicBezTo>
                    <a:cubicBezTo>
                      <a:pt x="0" y="261232"/>
                      <a:pt x="11333" y="253660"/>
                      <a:pt x="22666" y="253660"/>
                    </a:cubicBezTo>
                    <a:cubicBezTo>
                      <a:pt x="22666" y="253660"/>
                      <a:pt x="22666" y="253660"/>
                      <a:pt x="596871" y="253660"/>
                    </a:cubicBezTo>
                    <a:cubicBezTo>
                      <a:pt x="604426" y="238516"/>
                      <a:pt x="619537" y="227158"/>
                      <a:pt x="638425" y="227158"/>
                    </a:cubicBezTo>
                    <a:cubicBezTo>
                      <a:pt x="649758" y="227158"/>
                      <a:pt x="661091" y="230944"/>
                      <a:pt x="672424" y="242302"/>
                    </a:cubicBezTo>
                    <a:cubicBezTo>
                      <a:pt x="672424" y="242302"/>
                      <a:pt x="672424" y="242302"/>
                      <a:pt x="1189964"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GB" dirty="0">
                  <a:solidFill>
                    <a:srgbClr val="000000"/>
                  </a:solidFill>
                </a:endParaRPr>
              </a:p>
            </p:txBody>
          </p:sp>
        </p:grpSp>
        <p:sp>
          <p:nvSpPr>
            <p:cNvPr id="8" name="TextBox 7"/>
            <p:cNvSpPr txBox="1"/>
            <p:nvPr/>
          </p:nvSpPr>
          <p:spPr>
            <a:xfrm>
              <a:off x="2672805" y="3684336"/>
              <a:ext cx="809519" cy="229294"/>
            </a:xfrm>
            <a:prstGeom prst="rect">
              <a:avLst/>
            </a:prstGeom>
            <a:noFill/>
          </p:spPr>
          <p:txBody>
            <a:bodyPr wrap="square" rtlCol="0" anchor="ctr" anchorCtr="0">
              <a:spAutoFit/>
            </a:bodyPr>
            <a:lstStyle/>
            <a:p>
              <a:pPr algn="ctr">
                <a:lnSpc>
                  <a:spcPct val="89000"/>
                </a:lnSpc>
              </a:pPr>
              <a:r>
                <a:rPr lang="en-GB" sz="1000" b="1" dirty="0">
                  <a:solidFill>
                    <a:srgbClr val="00304A"/>
                  </a:solidFill>
                  <a:ea typeface="Open Sans" panose="020B0606030504020204" pitchFamily="34" charset="0"/>
                  <a:cs typeface="Open Sans" panose="020B0606030504020204" pitchFamily="34" charset="0"/>
                </a:rPr>
                <a:t>39 717</a:t>
              </a:r>
              <a:endParaRPr lang="en-US" sz="1000" b="1" dirty="0">
                <a:solidFill>
                  <a:srgbClr val="00304A"/>
                </a:solidFill>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95432181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25588" y="1589"/>
          <a:ext cx="1587" cy="1587"/>
        </p:xfrm>
        <a:graphic>
          <a:graphicData uri="http://schemas.openxmlformats.org/presentationml/2006/ole">
            <mc:AlternateContent xmlns:mc="http://schemas.openxmlformats.org/markup-compatibility/2006">
              <mc:Choice xmlns:v="urn:schemas-microsoft-com:vml" Requires="v">
                <p:oleObj spid="_x0000_s70869"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Box 11"/>
          <p:cNvSpPr txBox="1"/>
          <p:nvPr/>
        </p:nvSpPr>
        <p:spPr>
          <a:xfrm>
            <a:off x="431900" y="1522800"/>
            <a:ext cx="11332800" cy="3383106"/>
          </a:xfrm>
          <a:prstGeom prst="rect">
            <a:avLst/>
          </a:prstGeom>
          <a:noFill/>
        </p:spPr>
        <p:txBody>
          <a:bodyPr wrap="square" lIns="0" tIns="0" rIns="0" bIns="0" rtlCol="0" anchor="t">
            <a:spAutoFit/>
          </a:bodyPr>
          <a:lstStyle/>
          <a:p>
            <a:pPr marL="0" lvl="1" fontAlgn="base">
              <a:spcBef>
                <a:spcPct val="0"/>
              </a:spcBef>
              <a:spcAft>
                <a:spcPct val="0"/>
              </a:spcAft>
              <a:buSzPct val="100000"/>
              <a:defRPr/>
            </a:pPr>
            <a:r>
              <a:rPr lang="en-US" sz="900" dirty="0">
                <a:solidFill>
                  <a:srgbClr val="003755"/>
                </a:solidFill>
              </a:rPr>
              <a:t>This publication has been prepared by Wealth Management — a division of Danske Bank A/S (“Danske Bank”). Danske Bank is under supervision by the Danish Financial Supervisory Authority (</a:t>
            </a:r>
            <a:r>
              <a:rPr lang="en-US" sz="900" dirty="0" err="1">
                <a:solidFill>
                  <a:srgbClr val="003755"/>
                </a:solidFill>
              </a:rPr>
              <a:t>Finanstilsynet</a:t>
            </a:r>
            <a:r>
              <a:rPr lang="en-US" sz="900" dirty="0">
                <a:solidFill>
                  <a:srgbClr val="003755"/>
                </a:solidFill>
              </a:rPr>
              <a:t>).
</a:t>
            </a:r>
            <a:r>
              <a:rPr lang="en-US" sz="569" dirty="0">
                <a:solidFill>
                  <a:srgbClr val="003755"/>
                </a:solidFill>
              </a:rPr>
              <a:t>
</a:t>
            </a:r>
            <a:r>
              <a:rPr lang="en-US" sz="900" dirty="0">
                <a:solidFill>
                  <a:srgbClr val="003755"/>
                </a:solidFill>
              </a:rPr>
              <a:t>This publication has been prepared for information purposes only and it is not to be relied upon as investment, legal, tax, or financial advice. The Reader must consult with his or her professional advisors as to the legal, tax, financial or other matters relevant to the suitability and appropriateness of an investment. It is not an offer or solicitation of any offer to purchase or sell any financial instrument. Whilst reasonable care has been taken to ensure that its contents are fair and true, and not misleading, no representation is made as to its accuracy or completeness and no liability is accepted for any loss arising from reliance on it. We accept no responsibility for the accuracy and/or completeness of any third party information obtained from sources we believe to be reliable but which have not been independently verified.
</a:t>
            </a:r>
            <a:r>
              <a:rPr lang="en-US" sz="569" dirty="0">
                <a:solidFill>
                  <a:srgbClr val="003755"/>
                </a:solidFill>
              </a:rPr>
              <a:t>
</a:t>
            </a:r>
            <a:r>
              <a:rPr lang="en-US" sz="900" dirty="0">
                <a:solidFill>
                  <a:srgbClr val="003755"/>
                </a:solidFill>
              </a:rPr>
              <a:t>Any reference herein to any financial instrument and/or a particular issuer shall not constitute a recommendation to buy or sell, offer to buy, offer to sell, or a solicitation of an offer to buy or sell any such financial instruments issued by such issuer.
</a:t>
            </a:r>
            <a:r>
              <a:rPr lang="en-US" sz="569" dirty="0">
                <a:solidFill>
                  <a:srgbClr val="003755"/>
                </a:solidFill>
              </a:rPr>
              <a:t>
</a:t>
            </a:r>
            <a:r>
              <a:rPr lang="en-US" sz="900" dirty="0">
                <a:solidFill>
                  <a:srgbClr val="003755"/>
                </a:solidFill>
              </a:rPr>
              <a:t>Danske Bank (acting on its own behalf or on behalf of other clients), its affiliates or staff, may perform services for, solicit business from, hold long or short positions in, or otherwise be interested in the investments (including derivatives), of any issuer mentioned herein. 
</a:t>
            </a:r>
            <a:r>
              <a:rPr lang="en-US" sz="569" dirty="0">
                <a:solidFill>
                  <a:srgbClr val="003755"/>
                </a:solidFill>
              </a:rPr>
              <a:t>
</a:t>
            </a:r>
            <a:r>
              <a:rPr lang="en-US" sz="900" dirty="0">
                <a:solidFill>
                  <a:srgbClr val="003755"/>
                </a:solidFill>
              </a:rPr>
              <a:t>Neither this document nor any copy of it may be taken or transmitted into the United States of America, its territories or possessions (the ‘United States’) or distributed directly or indirectly in the United States or to any U.S. person (as defined in Regulation S under the U.S Securities Act of 1933, as amended), including any national or resident of the United States, or any corporation, partnership or other entity </a:t>
            </a:r>
            <a:r>
              <a:rPr lang="en-US" sz="900" dirty="0" err="1">
                <a:solidFill>
                  <a:srgbClr val="003755"/>
                </a:solidFill>
              </a:rPr>
              <a:t>organised</a:t>
            </a:r>
            <a:r>
              <a:rPr lang="en-US" sz="900" dirty="0">
                <a:solidFill>
                  <a:srgbClr val="003755"/>
                </a:solidFill>
              </a:rPr>
              <a:t> under the laws of the United States.
</a:t>
            </a:r>
            <a:r>
              <a:rPr lang="en-US" sz="569" dirty="0">
                <a:solidFill>
                  <a:srgbClr val="003755"/>
                </a:solidFill>
              </a:rPr>
              <a:t>
</a:t>
            </a:r>
            <a:r>
              <a:rPr lang="en-US" sz="900" dirty="0">
                <a:solidFill>
                  <a:srgbClr val="003755"/>
                </a:solidFill>
              </a:rPr>
              <a:t>Copyright © Danske Bank A/S. All rights reserved. This publication is protected by copyright and may not be reproduced in whole or in part without permission.
</a:t>
            </a:r>
            <a:r>
              <a:rPr lang="en-US" sz="569" dirty="0">
                <a:solidFill>
                  <a:srgbClr val="003755"/>
                </a:solidFill>
              </a:rPr>
              <a:t>
</a:t>
            </a:r>
            <a:r>
              <a:rPr lang="en-US" sz="900" dirty="0">
                <a:solidFill>
                  <a:srgbClr val="003755"/>
                </a:solidFill>
              </a:rPr>
              <a:t>Danske Bank Asset Management — a division of Danske Bank A/S
</a:t>
            </a:r>
            <a:r>
              <a:rPr lang="en-US" sz="900" dirty="0" err="1">
                <a:solidFill>
                  <a:srgbClr val="003755"/>
                </a:solidFill>
              </a:rPr>
              <a:t>Holmens</a:t>
            </a:r>
            <a:r>
              <a:rPr lang="en-US" sz="900" dirty="0">
                <a:solidFill>
                  <a:srgbClr val="003755"/>
                </a:solidFill>
              </a:rPr>
              <a:t> </a:t>
            </a:r>
            <a:r>
              <a:rPr lang="en-US" sz="900" dirty="0" err="1">
                <a:solidFill>
                  <a:srgbClr val="003755"/>
                </a:solidFill>
              </a:rPr>
              <a:t>Kanal</a:t>
            </a:r>
            <a:r>
              <a:rPr lang="en-US" sz="900" dirty="0">
                <a:solidFill>
                  <a:srgbClr val="003755"/>
                </a:solidFill>
              </a:rPr>
              <a:t> 2-12
DK-1092 Copenhagen, Denmark
Company reg. no.: 61 12 62 28 
Tel.  +45 45 13 96 00
Fax  +45 45 14 98 03
https://danskebank.dk/asset-management</a:t>
            </a:r>
            <a:endParaRPr lang="en-GB" sz="900" dirty="0">
              <a:solidFill>
                <a:srgbClr val="003755"/>
              </a:solidFill>
            </a:endParaRPr>
          </a:p>
        </p:txBody>
      </p:sp>
      <p:sp>
        <p:nvSpPr>
          <p:cNvPr id="9" name="Title 1"/>
          <p:cNvSpPr>
            <a:spLocks noGrp="1"/>
          </p:cNvSpPr>
          <p:nvPr>
            <p:ph type="title"/>
          </p:nvPr>
        </p:nvSpPr>
        <p:spPr/>
        <p:txBody>
          <a:bodyPr/>
          <a:lstStyle/>
          <a:p>
            <a:r>
              <a:rPr lang="en-US" dirty="0" smtClean="0">
                <a:solidFill>
                  <a:schemeClr val="tx2"/>
                </a:solidFill>
                <a:latin typeface="Danske Human Medium Italic" panose="02000603050000020003" pitchFamily="2" charset="0"/>
              </a:rPr>
              <a:t>Disclaimer &amp; contact information</a:t>
            </a:r>
            <a:endParaRPr lang="en-US" dirty="0">
              <a:solidFill>
                <a:schemeClr val="tx2"/>
              </a:solidFill>
              <a:latin typeface="Danske Human Medium Italic" panose="02000603050000020003" pitchFamily="2" charset="0"/>
            </a:endParaRPr>
          </a:p>
        </p:txBody>
      </p:sp>
    </p:spTree>
    <p:extLst>
      <p:ext uri="{BB962C8B-B14F-4D97-AF65-F5344CB8AC3E}">
        <p14:creationId xmlns:p14="http://schemas.microsoft.com/office/powerpoint/2010/main" val="298517665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006931158"/>
              </p:ext>
            </p:extLst>
          </p:nvPr>
        </p:nvGraphicFramePr>
        <p:xfrm>
          <a:off x="431800" y="1242038"/>
          <a:ext cx="11052000" cy="4724400"/>
        </p:xfrm>
        <a:graphic>
          <a:graphicData uri="http://schemas.openxmlformats.org/drawingml/2006/table">
            <a:tbl>
              <a:tblPr>
                <a:tableStyleId>{2D5ABB26-0587-4C30-8999-92F81FD0307C}</a:tableStyleId>
              </a:tblPr>
              <a:tblGrid>
                <a:gridCol w="2210400"/>
                <a:gridCol w="2210400"/>
                <a:gridCol w="2210400"/>
                <a:gridCol w="2210400"/>
                <a:gridCol w="2210400"/>
              </a:tblGrid>
              <a:tr h="126000">
                <a:tc>
                  <a:txBody>
                    <a:bodyPr/>
                    <a:lstStyle/>
                    <a:p>
                      <a:pPr algn="l" fontAlgn="b"/>
                      <a:r>
                        <a:rPr lang="en-GB" sz="1000" u="none" strike="noStrike" kern="1200" dirty="0">
                          <a:solidFill>
                            <a:srgbClr val="003755"/>
                          </a:solidFill>
                          <a:effectLst/>
                          <a:latin typeface="+mn-lt"/>
                          <a:ea typeface="+mn-ea"/>
                          <a:cs typeface="+mn-cs"/>
                        </a:rPr>
                        <a:t>Akamai Technologies </a:t>
                      </a:r>
                      <a:r>
                        <a:rPr lang="en-GB" sz="1000" u="none" strike="noStrike" kern="1200" dirty="0" err="1">
                          <a:solidFill>
                            <a:srgbClr val="003755"/>
                          </a:solidFill>
                          <a:effectLst/>
                          <a:latin typeface="+mn-lt"/>
                          <a:ea typeface="+mn-ea"/>
                          <a:cs typeface="+mn-cs"/>
                        </a:rPr>
                        <a:t>Inc</a:t>
                      </a:r>
                      <a:endParaRPr lang="en-GB" sz="1000" u="none" strike="noStrike" kern="1200" dirty="0">
                        <a:solidFill>
                          <a:srgbClr val="003755"/>
                        </a:solidFill>
                        <a:effectLst/>
                        <a:latin typeface="+mn-lt"/>
                        <a:ea typeface="+mn-ea"/>
                        <a:cs typeface="+mn-cs"/>
                      </a:endParaRPr>
                    </a:p>
                  </a:txBody>
                  <a:tcPr marL="0" marR="0" marT="0" marB="0" anchor="b"/>
                </a:tc>
                <a:tc>
                  <a:txBody>
                    <a:bodyPr/>
                    <a:lstStyle/>
                    <a:p>
                      <a:pPr algn="l" fontAlgn="b"/>
                      <a:r>
                        <a:rPr lang="en-GB" sz="1000" u="none" strike="noStrike" kern="1200">
                          <a:solidFill>
                            <a:srgbClr val="003755"/>
                          </a:solidFill>
                          <a:effectLst/>
                          <a:latin typeface="+mn-lt"/>
                          <a:ea typeface="+mn-ea"/>
                          <a:cs typeface="+mn-cs"/>
                        </a:rPr>
                        <a:t>BASF SE</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DLR Kredit A/S</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Grieg Seafood AS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Kemira Oyj</a:t>
                      </a:r>
                    </a:p>
                  </a:txBody>
                  <a:tcPr marL="0" marR="0" marT="0" marB="0" anchor="b"/>
                </a:tc>
              </a:tr>
              <a:tr h="126000">
                <a:tc>
                  <a:txBody>
                    <a:bodyPr/>
                    <a:lstStyle/>
                    <a:p>
                      <a:pPr algn="l" fontAlgn="b"/>
                      <a:r>
                        <a:rPr lang="en-GB" sz="1000" u="none" strike="noStrike" kern="1200" dirty="0" err="1">
                          <a:solidFill>
                            <a:srgbClr val="003755"/>
                          </a:solidFill>
                          <a:effectLst/>
                          <a:latin typeface="+mn-lt"/>
                          <a:ea typeface="+mn-ea"/>
                          <a:cs typeface="+mn-cs"/>
                        </a:rPr>
                        <a:t>Akelius</a:t>
                      </a:r>
                      <a:r>
                        <a:rPr lang="en-GB" sz="1000" u="none" strike="noStrike" kern="1200" dirty="0">
                          <a:solidFill>
                            <a:srgbClr val="003755"/>
                          </a:solidFill>
                          <a:effectLst/>
                          <a:latin typeface="+mn-lt"/>
                          <a:ea typeface="+mn-ea"/>
                          <a:cs typeface="+mn-cs"/>
                        </a:rPr>
                        <a:t> Residential Property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Bavarian Nordic A/S</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DNB AS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Grupa Kety S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K-fast Holding AB</a:t>
                      </a:r>
                    </a:p>
                  </a:txBody>
                  <a:tcPr marL="0" marR="0" marT="0" marB="0" anchor="b"/>
                </a:tc>
              </a:tr>
              <a:tr h="126000">
                <a:tc>
                  <a:txBody>
                    <a:bodyPr/>
                    <a:lstStyle/>
                    <a:p>
                      <a:pPr algn="l" fontAlgn="b"/>
                      <a:r>
                        <a:rPr lang="en-GB" sz="1000" u="none" strike="noStrike" kern="1200" dirty="0">
                          <a:solidFill>
                            <a:srgbClr val="003755"/>
                          </a:solidFill>
                          <a:effectLst/>
                          <a:latin typeface="+mn-lt"/>
                          <a:ea typeface="+mn-ea"/>
                          <a:cs typeface="+mn-cs"/>
                        </a:rPr>
                        <a:t>Aker </a:t>
                      </a:r>
                      <a:r>
                        <a:rPr lang="en-GB" sz="1000" u="none" strike="noStrike" kern="1200" dirty="0" err="1">
                          <a:solidFill>
                            <a:srgbClr val="003755"/>
                          </a:solidFill>
                          <a:effectLst/>
                          <a:latin typeface="+mn-lt"/>
                          <a:ea typeface="+mn-ea"/>
                          <a:cs typeface="+mn-cs"/>
                        </a:rPr>
                        <a:t>BioMarine</a:t>
                      </a:r>
                      <a:r>
                        <a:rPr lang="en-GB" sz="1000" u="none" strike="noStrike" kern="1200" dirty="0">
                          <a:solidFill>
                            <a:srgbClr val="003755"/>
                          </a:solidFill>
                          <a:effectLst/>
                          <a:latin typeface="+mn-lt"/>
                          <a:ea typeface="+mn-ea"/>
                          <a:cs typeface="+mn-cs"/>
                        </a:rPr>
                        <a:t> AS</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Baxter International Inc</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Dometic Group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H Lundbeck A/S</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Kinnevik AB</a:t>
                      </a: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kzo Nobel NV</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BHP Group Ltd</a:t>
                      </a:r>
                    </a:p>
                  </a:txBody>
                  <a:tcPr marL="0" marR="0" marT="0" marB="0" anchor="b"/>
                </a:tc>
                <a:tc>
                  <a:txBody>
                    <a:bodyPr/>
                    <a:lstStyle/>
                    <a:p>
                      <a:pPr algn="l" fontAlgn="b"/>
                      <a:r>
                        <a:rPr lang="en-US" sz="1000" u="none" strike="noStrike" kern="1200">
                          <a:solidFill>
                            <a:srgbClr val="003755"/>
                          </a:solidFill>
                          <a:effectLst/>
                          <a:latin typeface="+mn-lt"/>
                          <a:ea typeface="+mn-ea"/>
                          <a:cs typeface="+mn-cs"/>
                        </a:rPr>
                        <a:t>Drilling Co of 1972 A/S/The</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Haci Omer Sabanci Holding AS</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Knorr-Bremse AG</a:t>
                      </a:r>
                    </a:p>
                  </a:txBody>
                  <a:tcPr marL="0" marR="0" marT="0" marB="0" anchor="b"/>
                </a:tc>
              </a:tr>
              <a:tr h="126000">
                <a:tc>
                  <a:txBody>
                    <a:bodyPr/>
                    <a:lstStyle/>
                    <a:p>
                      <a:pPr algn="l" fontAlgn="b"/>
                      <a:r>
                        <a:rPr lang="en-GB" sz="1000" u="none" strike="noStrike" kern="1200" dirty="0">
                          <a:solidFill>
                            <a:srgbClr val="003755"/>
                          </a:solidFill>
                          <a:effectLst/>
                          <a:latin typeface="+mn-lt"/>
                          <a:ea typeface="+mn-ea"/>
                          <a:cs typeface="+mn-cs"/>
                        </a:rPr>
                        <a:t>Allegion plc</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BillerudKorsnas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DSV PANALPINA A/S</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Haldex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Kojamo Oyj</a:t>
                      </a: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llianz SE</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Boston Scientific Corp</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E.ON SE</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Heimstaden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Konecranes Oyj</a:t>
                      </a: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lrosa PJSC</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BP PLC</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Ecolab Inc</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Heimstaden Bostad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Koninklijke Philips NV</a:t>
                      </a: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lstom S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BW Offshore Ltd</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Eli Lilly and Co</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Heineken NV</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Kungsleden AB</a:t>
                      </a: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ltice Europe NV</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CaixaBank S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Elisa Oyj</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Hennes &amp; Mauritz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Leroy Seafood Group ASA</a:t>
                      </a:r>
                    </a:p>
                  </a:txBody>
                  <a:tcPr marL="0" marR="0" marT="0" marB="0" anchor="b"/>
                </a:tc>
              </a:tr>
              <a:tr h="126000">
                <a:tc>
                  <a:txBody>
                    <a:bodyPr/>
                    <a:lstStyle/>
                    <a:p>
                      <a:pPr algn="l" fontAlgn="b"/>
                      <a:r>
                        <a:rPr lang="en-GB" sz="1000" u="none" strike="noStrike" kern="1200" dirty="0" err="1">
                          <a:solidFill>
                            <a:srgbClr val="003755"/>
                          </a:solidFill>
                          <a:effectLst/>
                          <a:latin typeface="+mn-lt"/>
                          <a:ea typeface="+mn-ea"/>
                          <a:cs typeface="+mn-cs"/>
                        </a:rPr>
                        <a:t>Ambea</a:t>
                      </a:r>
                      <a:r>
                        <a:rPr lang="en-GB" sz="1000" u="none" strike="noStrike" kern="1200" dirty="0">
                          <a:solidFill>
                            <a:srgbClr val="003755"/>
                          </a:solidFill>
                          <a:effectLst/>
                          <a:latin typeface="+mn-lt"/>
                          <a:ea typeface="+mn-ea"/>
                          <a:cs typeface="+mn-cs"/>
                        </a:rPr>
                        <a:t>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Castellum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Elkem AS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Hexagon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Liberty Global PLC</a:t>
                      </a: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mgen Inc</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Caverion Oyj</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Ellevio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Hoist Finance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Lifco AB</a:t>
                      </a: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nheuser-Busch InBev SA/NV</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CD Projekt S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Eltel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Huhtamaki Oyj</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Link Net Tbk PT</a:t>
                      </a: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ntofagasta PLC</a:t>
                      </a:r>
                    </a:p>
                  </a:txBody>
                  <a:tcPr marL="0" marR="0" marT="0" marB="0" anchor="b"/>
                </a:tc>
                <a:tc>
                  <a:txBody>
                    <a:bodyPr/>
                    <a:lstStyle/>
                    <a:p>
                      <a:pPr algn="l" fontAlgn="b"/>
                      <a:r>
                        <a:rPr lang="en-GB" sz="1000" u="none" strike="noStrike" kern="1200" dirty="0">
                          <a:solidFill>
                            <a:srgbClr val="003755"/>
                          </a:solidFill>
                          <a:effectLst/>
                          <a:latin typeface="+mn-lt"/>
                          <a:ea typeface="+mn-ea"/>
                          <a:cs typeface="+mn-cs"/>
                        </a:rPr>
                        <a:t>CEZ AS</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Enel Sp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Husqvarna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L'Oreal SA</a:t>
                      </a: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P Moller - Maersk A/S</a:t>
                      </a:r>
                    </a:p>
                  </a:txBody>
                  <a:tcPr marL="0" marR="0" marT="0" marB="0" anchor="b"/>
                </a:tc>
                <a:tc>
                  <a:txBody>
                    <a:bodyPr/>
                    <a:lstStyle/>
                    <a:p>
                      <a:pPr algn="l" fontAlgn="b"/>
                      <a:r>
                        <a:rPr lang="en-GB" sz="1000" u="none" strike="noStrike" kern="1200" dirty="0" err="1">
                          <a:solidFill>
                            <a:srgbClr val="003755"/>
                          </a:solidFill>
                          <a:effectLst/>
                          <a:latin typeface="+mn-lt"/>
                          <a:ea typeface="+mn-ea"/>
                          <a:cs typeface="+mn-cs"/>
                        </a:rPr>
                        <a:t>Chr</a:t>
                      </a:r>
                      <a:r>
                        <a:rPr lang="en-GB" sz="1000" u="none" strike="noStrike" kern="1200" dirty="0">
                          <a:solidFill>
                            <a:srgbClr val="003755"/>
                          </a:solidFill>
                          <a:effectLst/>
                          <a:latin typeface="+mn-lt"/>
                          <a:ea typeface="+mn-ea"/>
                          <a:cs typeface="+mn-cs"/>
                        </a:rPr>
                        <a:t> Hansen Holding A/S</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Epiroc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Iberdrola S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Magnit PJSC</a:t>
                      </a:r>
                    </a:p>
                  </a:txBody>
                  <a:tcPr marL="0" marR="0" marT="0" marB="0" anchor="b"/>
                </a:tc>
              </a:tr>
              <a:tr h="126000">
                <a:tc>
                  <a:txBody>
                    <a:bodyPr/>
                    <a:lstStyle/>
                    <a:p>
                      <a:pPr algn="l" fontAlgn="b"/>
                      <a:r>
                        <a:rPr lang="en-GB" sz="1000" u="none" strike="noStrike" kern="1200" dirty="0" err="1">
                          <a:solidFill>
                            <a:srgbClr val="003755"/>
                          </a:solidFill>
                          <a:effectLst/>
                          <a:latin typeface="+mn-lt"/>
                          <a:ea typeface="+mn-ea"/>
                          <a:cs typeface="+mn-cs"/>
                        </a:rPr>
                        <a:t>Arjo</a:t>
                      </a:r>
                      <a:r>
                        <a:rPr lang="en-GB" sz="1000" u="none" strike="noStrike" kern="1200" dirty="0">
                          <a:solidFill>
                            <a:srgbClr val="003755"/>
                          </a:solidFill>
                          <a:effectLst/>
                          <a:latin typeface="+mn-lt"/>
                          <a:ea typeface="+mn-ea"/>
                          <a:cs typeface="+mn-cs"/>
                        </a:rPr>
                        <a:t> AB</a:t>
                      </a:r>
                    </a:p>
                  </a:txBody>
                  <a:tcPr marL="0" marR="0" marT="0" marB="0" anchor="ctr"/>
                </a:tc>
                <a:tc>
                  <a:txBody>
                    <a:bodyPr/>
                    <a:lstStyle/>
                    <a:p>
                      <a:pPr algn="l" fontAlgn="b"/>
                      <a:r>
                        <a:rPr lang="fr-FR" sz="1000" u="none" strike="noStrike" kern="1200" dirty="0">
                          <a:solidFill>
                            <a:srgbClr val="003755"/>
                          </a:solidFill>
                          <a:effectLst/>
                          <a:latin typeface="+mn-lt"/>
                          <a:ea typeface="+mn-ea"/>
                          <a:cs typeface="+mn-cs"/>
                        </a:rPr>
                        <a:t>Cie </a:t>
                      </a:r>
                      <a:r>
                        <a:rPr lang="fr-FR" sz="1000" u="none" strike="noStrike" kern="1200" dirty="0" err="1">
                          <a:solidFill>
                            <a:srgbClr val="003755"/>
                          </a:solidFill>
                          <a:effectLst/>
                          <a:latin typeface="+mn-lt"/>
                          <a:ea typeface="+mn-ea"/>
                          <a:cs typeface="+mn-cs"/>
                        </a:rPr>
                        <a:t>Generale</a:t>
                      </a:r>
                      <a:r>
                        <a:rPr lang="fr-FR" sz="1000" u="none" strike="noStrike" kern="1200" dirty="0">
                          <a:solidFill>
                            <a:srgbClr val="003755"/>
                          </a:solidFill>
                          <a:effectLst/>
                          <a:latin typeface="+mn-lt"/>
                          <a:ea typeface="+mn-ea"/>
                          <a:cs typeface="+mn-cs"/>
                        </a:rPr>
                        <a:t> des Etablissements Michelin SCA</a:t>
                      </a:r>
                    </a:p>
                  </a:txBody>
                  <a:tcPr marL="0" marR="0" marT="0" marB="0" anchor="ctr"/>
                </a:tc>
                <a:tc>
                  <a:txBody>
                    <a:bodyPr/>
                    <a:lstStyle/>
                    <a:p>
                      <a:pPr algn="l" fontAlgn="b"/>
                      <a:r>
                        <a:rPr lang="en-GB" sz="1000" u="none" strike="noStrike" kern="1200" dirty="0">
                          <a:solidFill>
                            <a:srgbClr val="003755"/>
                          </a:solidFill>
                          <a:effectLst/>
                          <a:latin typeface="+mn-lt"/>
                          <a:ea typeface="+mn-ea"/>
                          <a:cs typeface="+mn-cs"/>
                        </a:rPr>
                        <a:t>EQT AB</a:t>
                      </a:r>
                    </a:p>
                  </a:txBody>
                  <a:tcPr marL="0" marR="0" marT="0" marB="0" anchor="ctr"/>
                </a:tc>
                <a:tc>
                  <a:txBody>
                    <a:bodyPr/>
                    <a:lstStyle/>
                    <a:p>
                      <a:pPr algn="l" fontAlgn="b"/>
                      <a:r>
                        <a:rPr lang="en-GB" sz="1000" u="none" strike="noStrike" kern="1200" dirty="0">
                          <a:solidFill>
                            <a:srgbClr val="003755"/>
                          </a:solidFill>
                          <a:effectLst/>
                          <a:latin typeface="+mn-lt"/>
                          <a:ea typeface="+mn-ea"/>
                          <a:cs typeface="+mn-cs"/>
                        </a:rPr>
                        <a:t>ICA </a:t>
                      </a:r>
                      <a:r>
                        <a:rPr lang="en-GB" sz="1000" u="none" strike="noStrike" kern="1200" dirty="0" err="1">
                          <a:solidFill>
                            <a:srgbClr val="003755"/>
                          </a:solidFill>
                          <a:effectLst/>
                          <a:latin typeface="+mn-lt"/>
                          <a:ea typeface="+mn-ea"/>
                          <a:cs typeface="+mn-cs"/>
                        </a:rPr>
                        <a:t>Gruppen</a:t>
                      </a:r>
                      <a:r>
                        <a:rPr lang="en-GB" sz="1000" u="none" strike="noStrike" kern="1200" dirty="0">
                          <a:solidFill>
                            <a:srgbClr val="003755"/>
                          </a:solidFill>
                          <a:effectLst/>
                          <a:latin typeface="+mn-lt"/>
                          <a:ea typeface="+mn-ea"/>
                          <a:cs typeface="+mn-cs"/>
                        </a:rPr>
                        <a:t> AB</a:t>
                      </a:r>
                    </a:p>
                  </a:txBody>
                  <a:tcPr marL="0" marR="0" marT="0" marB="0" anchor="ctr"/>
                </a:tc>
                <a:tc>
                  <a:txBody>
                    <a:bodyPr/>
                    <a:lstStyle/>
                    <a:p>
                      <a:pPr algn="l" fontAlgn="b"/>
                      <a:r>
                        <a:rPr lang="en-US" sz="1000" u="none" strike="noStrike" kern="1200" dirty="0">
                          <a:solidFill>
                            <a:srgbClr val="003755"/>
                          </a:solidFill>
                          <a:effectLst/>
                          <a:latin typeface="+mn-lt"/>
                          <a:ea typeface="+mn-ea"/>
                          <a:cs typeface="+mn-cs"/>
                        </a:rPr>
                        <a:t>Magnitogorsk Iron &amp; Steel Works PJSC</a:t>
                      </a:r>
                    </a:p>
                  </a:txBody>
                  <a:tcPr marL="0" marR="0" marT="0" marB="0" anchor="ctr"/>
                </a:tc>
              </a:tr>
              <a:tr h="126000">
                <a:tc>
                  <a:txBody>
                    <a:bodyPr/>
                    <a:lstStyle/>
                    <a:p>
                      <a:pPr algn="l" fontAlgn="b"/>
                      <a:r>
                        <a:rPr lang="en-GB" sz="1000" u="none" strike="noStrike" kern="1200">
                          <a:solidFill>
                            <a:srgbClr val="003755"/>
                          </a:solidFill>
                          <a:effectLst/>
                          <a:latin typeface="+mn-lt"/>
                          <a:ea typeface="+mn-ea"/>
                          <a:cs typeface="+mn-cs"/>
                        </a:rPr>
                        <a:t>Aroundtown S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Colgate-Palmolive Co</a:t>
                      </a:r>
                    </a:p>
                  </a:txBody>
                  <a:tcPr marL="0" marR="0" marT="0" marB="0" anchor="b"/>
                </a:tc>
                <a:tc>
                  <a:txBody>
                    <a:bodyPr/>
                    <a:lstStyle/>
                    <a:p>
                      <a:pPr algn="l" fontAlgn="b"/>
                      <a:r>
                        <a:rPr lang="en-GB" sz="1000" u="none" strike="noStrike" kern="1200" dirty="0" err="1">
                          <a:solidFill>
                            <a:srgbClr val="003755"/>
                          </a:solidFill>
                          <a:effectLst/>
                          <a:latin typeface="+mn-lt"/>
                          <a:ea typeface="+mn-ea"/>
                          <a:cs typeface="+mn-cs"/>
                        </a:rPr>
                        <a:t>Equinor</a:t>
                      </a:r>
                      <a:r>
                        <a:rPr lang="en-GB" sz="1000" u="none" strike="noStrike" kern="1200" dirty="0">
                          <a:solidFill>
                            <a:srgbClr val="003755"/>
                          </a:solidFill>
                          <a:effectLst/>
                          <a:latin typeface="+mn-lt"/>
                          <a:ea typeface="+mn-ea"/>
                          <a:cs typeface="+mn-cs"/>
                        </a:rPr>
                        <a:t> ASA</a:t>
                      </a:r>
                    </a:p>
                  </a:txBody>
                  <a:tcPr marL="0" marR="0" marT="0" marB="0" anchor="b"/>
                </a:tc>
                <a:tc>
                  <a:txBody>
                    <a:bodyPr/>
                    <a:lstStyle/>
                    <a:p>
                      <a:pPr algn="l" fontAlgn="b"/>
                      <a:r>
                        <a:rPr lang="en-GB" sz="1000" u="none" strike="noStrike" kern="1200" dirty="0" err="1">
                          <a:solidFill>
                            <a:srgbClr val="003755"/>
                          </a:solidFill>
                          <a:effectLst/>
                          <a:latin typeface="+mn-lt"/>
                          <a:ea typeface="+mn-ea"/>
                          <a:cs typeface="+mn-cs"/>
                        </a:rPr>
                        <a:t>Ideagen</a:t>
                      </a:r>
                      <a:r>
                        <a:rPr lang="en-GB" sz="1000" u="none" strike="noStrike" kern="1200" dirty="0">
                          <a:solidFill>
                            <a:srgbClr val="003755"/>
                          </a:solidFill>
                          <a:effectLst/>
                          <a:latin typeface="+mn-lt"/>
                          <a:ea typeface="+mn-ea"/>
                          <a:cs typeface="+mn-cs"/>
                        </a:rPr>
                        <a:t> PLC</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Matas A/S</a:t>
                      </a: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shtead Group PLC</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Concentric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Erste Group Bank AG</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IMI PLC</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Medistim ASA</a:t>
                      </a: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SML Holding NV</a:t>
                      </a:r>
                    </a:p>
                  </a:txBody>
                  <a:tcPr marL="0" marR="0" marT="0" marB="0" anchor="b"/>
                </a:tc>
                <a:tc>
                  <a:txBody>
                    <a:bodyPr/>
                    <a:lstStyle/>
                    <a:p>
                      <a:pPr algn="l" fontAlgn="b"/>
                      <a:r>
                        <a:rPr lang="en-US" sz="1000" u="none" strike="noStrike" kern="1200">
                          <a:solidFill>
                            <a:srgbClr val="003755"/>
                          </a:solidFill>
                          <a:effectLst/>
                          <a:latin typeface="+mn-lt"/>
                          <a:ea typeface="+mn-ea"/>
                          <a:cs typeface="+mn-cs"/>
                        </a:rPr>
                        <a:t>Coor Service Management Holding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Etalon Group PLC</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Industrivarden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MetLife Inc</a:t>
                      </a: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ssa Abloy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Corticeira Amorim SGPS S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European Investment Bank</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Indutrade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Metsa Board Oyj</a:t>
                      </a: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straZeneca PLC</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Covestro AG</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Evraz PLC</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Infineon Technologies AG</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Metso Outotec Oyj</a:t>
                      </a: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tlantia Sp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Croda International PLC</a:t>
                      </a:r>
                    </a:p>
                  </a:txBody>
                  <a:tcPr marL="0" marR="0" marT="0" marB="0" anchor="b"/>
                </a:tc>
                <a:tc>
                  <a:txBody>
                    <a:bodyPr/>
                    <a:lstStyle/>
                    <a:p>
                      <a:pPr algn="l" fontAlgn="b"/>
                      <a:r>
                        <a:rPr lang="en-GB" sz="1000" u="none" strike="noStrike" kern="1200" dirty="0" err="1">
                          <a:solidFill>
                            <a:srgbClr val="003755"/>
                          </a:solidFill>
                          <a:effectLst/>
                          <a:latin typeface="+mn-lt"/>
                          <a:ea typeface="+mn-ea"/>
                          <a:cs typeface="+mn-cs"/>
                        </a:rPr>
                        <a:t>Fabege</a:t>
                      </a:r>
                      <a:r>
                        <a:rPr lang="en-GB" sz="1000" u="none" strike="noStrike" kern="1200" dirty="0">
                          <a:solidFill>
                            <a:srgbClr val="003755"/>
                          </a:solidFill>
                          <a:effectLst/>
                          <a:latin typeface="+mn-lt"/>
                          <a:ea typeface="+mn-ea"/>
                          <a:cs typeface="+mn-cs"/>
                        </a:rPr>
                        <a:t>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ING Groep NV</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Millicom International Cellular SA</a:t>
                      </a: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tlas Copco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CTT Systems AB</a:t>
                      </a:r>
                    </a:p>
                  </a:txBody>
                  <a:tcPr marL="0" marR="0" marT="0" marB="0" anchor="b"/>
                </a:tc>
                <a:tc>
                  <a:txBody>
                    <a:bodyPr/>
                    <a:lstStyle/>
                    <a:p>
                      <a:pPr algn="l" fontAlgn="b"/>
                      <a:r>
                        <a:rPr lang="en-GB" sz="1000" u="none" strike="noStrike" kern="1200" dirty="0" err="1">
                          <a:solidFill>
                            <a:srgbClr val="003755"/>
                          </a:solidFill>
                          <a:effectLst/>
                          <a:latin typeface="+mn-lt"/>
                          <a:ea typeface="+mn-ea"/>
                          <a:cs typeface="+mn-cs"/>
                        </a:rPr>
                        <a:t>Fastighets</a:t>
                      </a:r>
                      <a:r>
                        <a:rPr lang="en-GB" sz="1000" u="none" strike="noStrike" kern="1200" dirty="0">
                          <a:solidFill>
                            <a:srgbClr val="003755"/>
                          </a:solidFill>
                          <a:effectLst/>
                          <a:latin typeface="+mn-lt"/>
                          <a:ea typeface="+mn-ea"/>
                          <a:cs typeface="+mn-cs"/>
                        </a:rPr>
                        <a:t> AB Balder</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Intrum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Mobile TeleSystems PJSC</a:t>
                      </a: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trium Ljungberg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CyrusOne Inc</a:t>
                      </a:r>
                    </a:p>
                  </a:txBody>
                  <a:tcPr marL="0" marR="0" marT="0" marB="0" anchor="b"/>
                </a:tc>
                <a:tc>
                  <a:txBody>
                    <a:bodyPr/>
                    <a:lstStyle/>
                    <a:p>
                      <a:pPr algn="l" fontAlgn="b"/>
                      <a:r>
                        <a:rPr lang="en-GB" sz="1000" u="none" strike="noStrike" kern="1200" dirty="0">
                          <a:solidFill>
                            <a:srgbClr val="003755"/>
                          </a:solidFill>
                          <a:effectLst/>
                          <a:latin typeface="+mn-lt"/>
                          <a:ea typeface="+mn-ea"/>
                          <a:cs typeface="+mn-cs"/>
                        </a:rPr>
                        <a:t>Faurecia SE</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Investor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Mondelez International Inc</a:t>
                      </a: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ustevoll Seafood AS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Daimler AG</a:t>
                      </a:r>
                    </a:p>
                  </a:txBody>
                  <a:tcPr marL="0" marR="0" marT="0" marB="0" anchor="b"/>
                </a:tc>
                <a:tc>
                  <a:txBody>
                    <a:bodyPr/>
                    <a:lstStyle/>
                    <a:p>
                      <a:pPr algn="l" fontAlgn="b"/>
                      <a:r>
                        <a:rPr lang="en-GB" sz="1000" u="none" strike="noStrike" kern="1200" dirty="0">
                          <a:solidFill>
                            <a:srgbClr val="003755"/>
                          </a:solidFill>
                          <a:effectLst/>
                          <a:latin typeface="+mn-lt"/>
                          <a:ea typeface="+mn-ea"/>
                          <a:cs typeface="+mn-cs"/>
                        </a:rPr>
                        <a:t>Federal Bank Ltd</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Islandsbanki HF</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Morningstar Inc</a:t>
                      </a: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kamai Technologies Inc</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BASF SE</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DLR Kredit A/S</a:t>
                      </a:r>
                    </a:p>
                  </a:txBody>
                  <a:tcPr marL="0" marR="0" marT="0" marB="0" anchor="b"/>
                </a:tc>
                <a:tc>
                  <a:txBody>
                    <a:bodyPr/>
                    <a:lstStyle/>
                    <a:p>
                      <a:pPr algn="l" fontAlgn="b"/>
                      <a:r>
                        <a:rPr lang="en-GB" sz="1000" u="none" strike="noStrike" kern="1200" dirty="0">
                          <a:solidFill>
                            <a:srgbClr val="003755"/>
                          </a:solidFill>
                          <a:effectLst/>
                          <a:latin typeface="+mn-lt"/>
                          <a:ea typeface="+mn-ea"/>
                          <a:cs typeface="+mn-cs"/>
                        </a:rPr>
                        <a:t>Grieg Seafood AS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Kemira Oyj</a:t>
                      </a: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kelius Residential Property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Bavarian Nordic A/S</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DNB ASA</a:t>
                      </a:r>
                    </a:p>
                  </a:txBody>
                  <a:tcPr marL="0" marR="0" marT="0" marB="0" anchor="b"/>
                </a:tc>
                <a:tc>
                  <a:txBody>
                    <a:bodyPr/>
                    <a:lstStyle/>
                    <a:p>
                      <a:pPr algn="l" fontAlgn="b"/>
                      <a:r>
                        <a:rPr lang="en-GB" sz="1000" u="none" strike="noStrike" kern="1200" dirty="0" err="1">
                          <a:solidFill>
                            <a:srgbClr val="003755"/>
                          </a:solidFill>
                          <a:effectLst/>
                          <a:latin typeface="+mn-lt"/>
                          <a:ea typeface="+mn-ea"/>
                          <a:cs typeface="+mn-cs"/>
                        </a:rPr>
                        <a:t>Grupa</a:t>
                      </a:r>
                      <a:r>
                        <a:rPr lang="en-GB" sz="1000" u="none" strike="noStrike" kern="1200" dirty="0">
                          <a:solidFill>
                            <a:srgbClr val="003755"/>
                          </a:solidFill>
                          <a:effectLst/>
                          <a:latin typeface="+mn-lt"/>
                          <a:ea typeface="+mn-ea"/>
                          <a:cs typeface="+mn-cs"/>
                        </a:rPr>
                        <a:t> </a:t>
                      </a:r>
                      <a:r>
                        <a:rPr lang="en-GB" sz="1000" u="none" strike="noStrike" kern="1200" dirty="0" err="1">
                          <a:solidFill>
                            <a:srgbClr val="003755"/>
                          </a:solidFill>
                          <a:effectLst/>
                          <a:latin typeface="+mn-lt"/>
                          <a:ea typeface="+mn-ea"/>
                          <a:cs typeface="+mn-cs"/>
                        </a:rPr>
                        <a:t>Kety</a:t>
                      </a:r>
                      <a:r>
                        <a:rPr lang="en-GB" sz="1000" u="none" strike="noStrike" kern="1200" dirty="0">
                          <a:solidFill>
                            <a:srgbClr val="003755"/>
                          </a:solidFill>
                          <a:effectLst/>
                          <a:latin typeface="+mn-lt"/>
                          <a:ea typeface="+mn-ea"/>
                          <a:cs typeface="+mn-cs"/>
                        </a:rPr>
                        <a:t> S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K-fast Holding AB</a:t>
                      </a: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ker BioMarine AS</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Baxter International Inc</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Dometic Group AB</a:t>
                      </a:r>
                    </a:p>
                  </a:txBody>
                  <a:tcPr marL="0" marR="0" marT="0" marB="0" anchor="b"/>
                </a:tc>
                <a:tc>
                  <a:txBody>
                    <a:bodyPr/>
                    <a:lstStyle/>
                    <a:p>
                      <a:pPr algn="l" fontAlgn="b"/>
                      <a:r>
                        <a:rPr lang="en-GB" sz="1000" u="none" strike="noStrike" kern="1200" dirty="0">
                          <a:solidFill>
                            <a:srgbClr val="003755"/>
                          </a:solidFill>
                          <a:effectLst/>
                          <a:latin typeface="+mn-lt"/>
                          <a:ea typeface="+mn-ea"/>
                          <a:cs typeface="+mn-cs"/>
                        </a:rPr>
                        <a:t>H </a:t>
                      </a:r>
                      <a:r>
                        <a:rPr lang="en-GB" sz="1000" u="none" strike="noStrike" kern="1200" dirty="0" err="1">
                          <a:solidFill>
                            <a:srgbClr val="003755"/>
                          </a:solidFill>
                          <a:effectLst/>
                          <a:latin typeface="+mn-lt"/>
                          <a:ea typeface="+mn-ea"/>
                          <a:cs typeface="+mn-cs"/>
                        </a:rPr>
                        <a:t>Lundbeck</a:t>
                      </a:r>
                      <a:r>
                        <a:rPr lang="en-GB" sz="1000" u="none" strike="noStrike" kern="1200" dirty="0">
                          <a:solidFill>
                            <a:srgbClr val="003755"/>
                          </a:solidFill>
                          <a:effectLst/>
                          <a:latin typeface="+mn-lt"/>
                          <a:ea typeface="+mn-ea"/>
                          <a:cs typeface="+mn-cs"/>
                        </a:rPr>
                        <a:t> A/S</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Kinnevik AB</a:t>
                      </a: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kzo Nobel NV</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BHP Group Ltd</a:t>
                      </a:r>
                    </a:p>
                  </a:txBody>
                  <a:tcPr marL="0" marR="0" marT="0" marB="0" anchor="b"/>
                </a:tc>
                <a:tc>
                  <a:txBody>
                    <a:bodyPr/>
                    <a:lstStyle/>
                    <a:p>
                      <a:pPr algn="l" fontAlgn="b"/>
                      <a:r>
                        <a:rPr lang="en-US" sz="1000" u="none" strike="noStrike" kern="1200">
                          <a:solidFill>
                            <a:srgbClr val="003755"/>
                          </a:solidFill>
                          <a:effectLst/>
                          <a:latin typeface="+mn-lt"/>
                          <a:ea typeface="+mn-ea"/>
                          <a:cs typeface="+mn-cs"/>
                        </a:rPr>
                        <a:t>Drilling Co of 1972 A/S/The</a:t>
                      </a:r>
                    </a:p>
                  </a:txBody>
                  <a:tcPr marL="0" marR="0" marT="0" marB="0" anchor="b"/>
                </a:tc>
                <a:tc>
                  <a:txBody>
                    <a:bodyPr/>
                    <a:lstStyle/>
                    <a:p>
                      <a:pPr algn="l" fontAlgn="b"/>
                      <a:r>
                        <a:rPr lang="en-GB" sz="1000" u="none" strike="noStrike" kern="1200" dirty="0" err="1">
                          <a:solidFill>
                            <a:srgbClr val="003755"/>
                          </a:solidFill>
                          <a:effectLst/>
                          <a:latin typeface="+mn-lt"/>
                          <a:ea typeface="+mn-ea"/>
                          <a:cs typeface="+mn-cs"/>
                        </a:rPr>
                        <a:t>Haci</a:t>
                      </a:r>
                      <a:r>
                        <a:rPr lang="en-GB" sz="1000" u="none" strike="noStrike" kern="1200" dirty="0">
                          <a:solidFill>
                            <a:srgbClr val="003755"/>
                          </a:solidFill>
                          <a:effectLst/>
                          <a:latin typeface="+mn-lt"/>
                          <a:ea typeface="+mn-ea"/>
                          <a:cs typeface="+mn-cs"/>
                        </a:rPr>
                        <a:t> Omer </a:t>
                      </a:r>
                      <a:r>
                        <a:rPr lang="en-GB" sz="1000" u="none" strike="noStrike" kern="1200" dirty="0" err="1">
                          <a:solidFill>
                            <a:srgbClr val="003755"/>
                          </a:solidFill>
                          <a:effectLst/>
                          <a:latin typeface="+mn-lt"/>
                          <a:ea typeface="+mn-ea"/>
                          <a:cs typeface="+mn-cs"/>
                        </a:rPr>
                        <a:t>Sabanci</a:t>
                      </a:r>
                      <a:r>
                        <a:rPr lang="en-GB" sz="1000" u="none" strike="noStrike" kern="1200" dirty="0">
                          <a:solidFill>
                            <a:srgbClr val="003755"/>
                          </a:solidFill>
                          <a:effectLst/>
                          <a:latin typeface="+mn-lt"/>
                          <a:ea typeface="+mn-ea"/>
                          <a:cs typeface="+mn-cs"/>
                        </a:rPr>
                        <a:t> Holding AS</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Knorr-Bremse AG</a:t>
                      </a: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llegion plc</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BillerudKorsnas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DSV PANALPINA A/S</a:t>
                      </a:r>
                    </a:p>
                  </a:txBody>
                  <a:tcPr marL="0" marR="0" marT="0" marB="0" anchor="b"/>
                </a:tc>
                <a:tc>
                  <a:txBody>
                    <a:bodyPr/>
                    <a:lstStyle/>
                    <a:p>
                      <a:pPr algn="l" fontAlgn="b"/>
                      <a:r>
                        <a:rPr lang="en-GB" sz="1000" u="none" strike="noStrike" kern="1200" dirty="0" err="1">
                          <a:solidFill>
                            <a:srgbClr val="003755"/>
                          </a:solidFill>
                          <a:effectLst/>
                          <a:latin typeface="+mn-lt"/>
                          <a:ea typeface="+mn-ea"/>
                          <a:cs typeface="+mn-cs"/>
                        </a:rPr>
                        <a:t>Haldex</a:t>
                      </a:r>
                      <a:r>
                        <a:rPr lang="en-GB" sz="1000" u="none" strike="noStrike" kern="1200" dirty="0">
                          <a:solidFill>
                            <a:srgbClr val="003755"/>
                          </a:solidFill>
                          <a:effectLst/>
                          <a:latin typeface="+mn-lt"/>
                          <a:ea typeface="+mn-ea"/>
                          <a:cs typeface="+mn-cs"/>
                        </a:rPr>
                        <a:t> AB</a:t>
                      </a:r>
                    </a:p>
                  </a:txBody>
                  <a:tcPr marL="0" marR="0" marT="0" marB="0" anchor="b"/>
                </a:tc>
                <a:tc>
                  <a:txBody>
                    <a:bodyPr/>
                    <a:lstStyle/>
                    <a:p>
                      <a:pPr algn="l" fontAlgn="b"/>
                      <a:r>
                        <a:rPr lang="en-GB" sz="1000" u="none" strike="noStrike" kern="1200" dirty="0" err="1">
                          <a:solidFill>
                            <a:srgbClr val="003755"/>
                          </a:solidFill>
                          <a:effectLst/>
                          <a:latin typeface="+mn-lt"/>
                          <a:ea typeface="+mn-ea"/>
                          <a:cs typeface="+mn-cs"/>
                        </a:rPr>
                        <a:t>Kojamo</a:t>
                      </a:r>
                      <a:r>
                        <a:rPr lang="en-GB" sz="1000" u="none" strike="noStrike" kern="1200" dirty="0">
                          <a:solidFill>
                            <a:srgbClr val="003755"/>
                          </a:solidFill>
                          <a:effectLst/>
                          <a:latin typeface="+mn-lt"/>
                          <a:ea typeface="+mn-ea"/>
                          <a:cs typeface="+mn-cs"/>
                        </a:rPr>
                        <a:t> </a:t>
                      </a:r>
                      <a:r>
                        <a:rPr lang="en-GB" sz="1000" u="none" strike="noStrike" kern="1200" dirty="0" err="1">
                          <a:solidFill>
                            <a:srgbClr val="003755"/>
                          </a:solidFill>
                          <a:effectLst/>
                          <a:latin typeface="+mn-lt"/>
                          <a:ea typeface="+mn-ea"/>
                          <a:cs typeface="+mn-cs"/>
                        </a:rPr>
                        <a:t>Oyj</a:t>
                      </a:r>
                      <a:endParaRPr lang="en-GB" sz="1000" u="none" strike="noStrike" kern="1200" dirty="0">
                        <a:solidFill>
                          <a:srgbClr val="003755"/>
                        </a:solidFill>
                        <a:effectLst/>
                        <a:latin typeface="+mn-lt"/>
                        <a:ea typeface="+mn-ea"/>
                        <a:cs typeface="+mn-cs"/>
                      </a:endParaRP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Allianz SE</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Boston Scientific Corp</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E.ON SE</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Heimstaden AB</a:t>
                      </a:r>
                    </a:p>
                  </a:txBody>
                  <a:tcPr marL="0" marR="0" marT="0" marB="0" anchor="b"/>
                </a:tc>
                <a:tc>
                  <a:txBody>
                    <a:bodyPr/>
                    <a:lstStyle/>
                    <a:p>
                      <a:pPr algn="l" fontAlgn="b"/>
                      <a:r>
                        <a:rPr lang="en-GB" sz="1000" u="none" strike="noStrike" kern="1200" dirty="0" err="1">
                          <a:solidFill>
                            <a:srgbClr val="003755"/>
                          </a:solidFill>
                          <a:effectLst/>
                          <a:latin typeface="+mn-lt"/>
                          <a:ea typeface="+mn-ea"/>
                          <a:cs typeface="+mn-cs"/>
                        </a:rPr>
                        <a:t>Konecranes</a:t>
                      </a:r>
                      <a:r>
                        <a:rPr lang="en-GB" sz="1000" u="none" strike="noStrike" kern="1200" dirty="0">
                          <a:solidFill>
                            <a:srgbClr val="003755"/>
                          </a:solidFill>
                          <a:effectLst/>
                          <a:latin typeface="+mn-lt"/>
                          <a:ea typeface="+mn-ea"/>
                          <a:cs typeface="+mn-cs"/>
                        </a:rPr>
                        <a:t> </a:t>
                      </a:r>
                      <a:r>
                        <a:rPr lang="en-GB" sz="1000" u="none" strike="noStrike" kern="1200" dirty="0" err="1">
                          <a:solidFill>
                            <a:srgbClr val="003755"/>
                          </a:solidFill>
                          <a:effectLst/>
                          <a:latin typeface="+mn-lt"/>
                          <a:ea typeface="+mn-ea"/>
                          <a:cs typeface="+mn-cs"/>
                        </a:rPr>
                        <a:t>Oyj</a:t>
                      </a:r>
                      <a:endParaRPr lang="en-GB" sz="1000" u="none" strike="noStrike" kern="1200" dirty="0">
                        <a:solidFill>
                          <a:srgbClr val="003755"/>
                        </a:solidFill>
                        <a:effectLst/>
                        <a:latin typeface="+mn-lt"/>
                        <a:ea typeface="+mn-ea"/>
                        <a:cs typeface="+mn-cs"/>
                      </a:endParaRPr>
                    </a:p>
                  </a:txBody>
                  <a:tcPr marL="0" marR="0" marT="0" marB="0" anchor="b"/>
                </a:tc>
              </a:tr>
            </a:tbl>
          </a:graphicData>
        </a:graphic>
      </p:graphicFrame>
      <p:sp>
        <p:nvSpPr>
          <p:cNvPr id="2" name="Title 1"/>
          <p:cNvSpPr>
            <a:spLocks noGrp="1"/>
          </p:cNvSpPr>
          <p:nvPr>
            <p:ph type="title"/>
          </p:nvPr>
        </p:nvSpPr>
        <p:spPr/>
        <p:txBody>
          <a:bodyPr/>
          <a:lstStyle/>
          <a:p>
            <a:r>
              <a:rPr lang="en-GB" dirty="0"/>
              <a:t>Engagement</a:t>
            </a:r>
            <a:r>
              <a:rPr lang="lt-LT" dirty="0"/>
              <a:t> </a:t>
            </a:r>
            <a:r>
              <a:rPr lang="en-GB" dirty="0"/>
              <a:t>during </a:t>
            </a:r>
            <a:r>
              <a:rPr lang="en-GB" dirty="0" smtClean="0"/>
              <a:t>H1 2020, </a:t>
            </a:r>
            <a:r>
              <a:rPr lang="en-GB" dirty="0"/>
              <a:t>by </a:t>
            </a:r>
            <a:r>
              <a:rPr lang="en-GB" dirty="0" smtClean="0"/>
              <a:t>company</a:t>
            </a:r>
            <a:endParaRPr lang="en-GB" dirty="0"/>
          </a:p>
        </p:txBody>
      </p:sp>
    </p:spTree>
    <p:extLst>
      <p:ext uri="{BB962C8B-B14F-4D97-AF65-F5344CB8AC3E}">
        <p14:creationId xmlns:p14="http://schemas.microsoft.com/office/powerpoint/2010/main" val="20142457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787739482"/>
              </p:ext>
            </p:extLst>
          </p:nvPr>
        </p:nvGraphicFramePr>
        <p:xfrm>
          <a:off x="431800" y="1242038"/>
          <a:ext cx="11052000" cy="4572000"/>
        </p:xfrm>
        <a:graphic>
          <a:graphicData uri="http://schemas.openxmlformats.org/drawingml/2006/table">
            <a:tbl>
              <a:tblPr>
                <a:tableStyleId>{2D5ABB26-0587-4C30-8999-92F81FD0307C}</a:tableStyleId>
              </a:tblPr>
              <a:tblGrid>
                <a:gridCol w="2210400"/>
                <a:gridCol w="2210400"/>
                <a:gridCol w="2210400"/>
                <a:gridCol w="2210400"/>
                <a:gridCol w="2210400"/>
              </a:tblGrid>
              <a:tr h="126000">
                <a:tc>
                  <a:txBody>
                    <a:bodyPr/>
                    <a:lstStyle/>
                    <a:p>
                      <a:pPr algn="l" fontAlgn="b"/>
                      <a:r>
                        <a:rPr lang="en-GB" sz="1000" u="none" strike="noStrike" kern="1200" dirty="0">
                          <a:solidFill>
                            <a:srgbClr val="003755"/>
                          </a:solidFill>
                          <a:effectLst/>
                          <a:latin typeface="+mn-lt"/>
                          <a:ea typeface="+mn-ea"/>
                          <a:cs typeface="+mn-cs"/>
                        </a:rPr>
                        <a:t>Nestle S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Salmar AS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Tobii AB</a:t>
                      </a: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Nibe Industrier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Sandvik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TOMRA Systems ASA</a:t>
                      </a: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r>
                        <a:rPr lang="en-GB" sz="1000" u="none" strike="noStrike" kern="1200" dirty="0" err="1">
                          <a:solidFill>
                            <a:srgbClr val="003755"/>
                          </a:solidFill>
                          <a:effectLst/>
                          <a:latin typeface="+mn-lt"/>
                          <a:ea typeface="+mn-ea"/>
                          <a:cs typeface="+mn-cs"/>
                        </a:rPr>
                        <a:t>Nobina</a:t>
                      </a:r>
                      <a:r>
                        <a:rPr lang="en-GB" sz="1000" u="none" strike="noStrike" kern="1200" dirty="0">
                          <a:solidFill>
                            <a:srgbClr val="003755"/>
                          </a:solidFill>
                          <a:effectLst/>
                          <a:latin typeface="+mn-lt"/>
                          <a:ea typeface="+mn-ea"/>
                          <a:cs typeface="+mn-cs"/>
                        </a:rPr>
                        <a:t>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SAS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Topdanmark A/S</a:t>
                      </a: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r>
                        <a:rPr lang="en-GB" sz="1000" u="none" strike="noStrike" kern="1200" dirty="0">
                          <a:solidFill>
                            <a:srgbClr val="003755"/>
                          </a:solidFill>
                          <a:effectLst/>
                          <a:latin typeface="+mn-lt"/>
                          <a:ea typeface="+mn-ea"/>
                          <a:cs typeface="+mn-cs"/>
                        </a:rPr>
                        <a:t>Nokian </a:t>
                      </a:r>
                      <a:r>
                        <a:rPr lang="en-GB" sz="1000" u="none" strike="noStrike" kern="1200" dirty="0" err="1">
                          <a:solidFill>
                            <a:srgbClr val="003755"/>
                          </a:solidFill>
                          <a:effectLst/>
                          <a:latin typeface="+mn-lt"/>
                          <a:ea typeface="+mn-ea"/>
                          <a:cs typeface="+mn-cs"/>
                        </a:rPr>
                        <a:t>Renkaat</a:t>
                      </a:r>
                      <a:r>
                        <a:rPr lang="en-GB" sz="1000" u="none" strike="noStrike" kern="1200" dirty="0">
                          <a:solidFill>
                            <a:srgbClr val="003755"/>
                          </a:solidFill>
                          <a:effectLst/>
                          <a:latin typeface="+mn-lt"/>
                          <a:ea typeface="+mn-ea"/>
                          <a:cs typeface="+mn-cs"/>
                        </a:rPr>
                        <a:t> </a:t>
                      </a:r>
                      <a:r>
                        <a:rPr lang="en-GB" sz="1000" u="none" strike="noStrike" kern="1200" dirty="0" err="1">
                          <a:solidFill>
                            <a:srgbClr val="003755"/>
                          </a:solidFill>
                          <a:effectLst/>
                          <a:latin typeface="+mn-lt"/>
                          <a:ea typeface="+mn-ea"/>
                          <a:cs typeface="+mn-cs"/>
                        </a:rPr>
                        <a:t>Oyj</a:t>
                      </a:r>
                      <a:endParaRPr lang="en-GB" sz="1000" u="none" strike="noStrike" kern="1200" dirty="0">
                        <a:solidFill>
                          <a:srgbClr val="003755"/>
                        </a:solidFill>
                        <a:effectLst/>
                        <a:latin typeface="+mn-lt"/>
                        <a:ea typeface="+mn-ea"/>
                        <a:cs typeface="+mn-cs"/>
                      </a:endParaRPr>
                    </a:p>
                  </a:txBody>
                  <a:tcPr marL="0" marR="0" marT="0" marB="0" anchor="b"/>
                </a:tc>
                <a:tc>
                  <a:txBody>
                    <a:bodyPr/>
                    <a:lstStyle/>
                    <a:p>
                      <a:pPr algn="l" fontAlgn="b"/>
                      <a:r>
                        <a:rPr lang="en-GB" sz="1000" u="none" strike="noStrike" kern="1200">
                          <a:solidFill>
                            <a:srgbClr val="003755"/>
                          </a:solidFill>
                          <a:effectLst/>
                          <a:latin typeface="+mn-lt"/>
                          <a:ea typeface="+mn-ea"/>
                          <a:cs typeface="+mn-cs"/>
                        </a:rPr>
                        <a:t>SATS Ltd</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TOTAL SE</a:t>
                      </a: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Nordea Bank Abp</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Scandi Standard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Turk Telekomunikasyon AS</a:t>
                      </a: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Norsk Hydro AS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Schibsted AS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Unicaja Banco SA</a:t>
                      </a: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r>
                        <a:rPr lang="en-GB" sz="1000" u="none" strike="noStrike" kern="1200" dirty="0">
                          <a:solidFill>
                            <a:srgbClr val="003755"/>
                          </a:solidFill>
                          <a:effectLst/>
                          <a:latin typeface="+mn-lt"/>
                          <a:ea typeface="+mn-ea"/>
                          <a:cs typeface="+mn-cs"/>
                        </a:rPr>
                        <a:t>Norwegian Air Shuttle AS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Schneider Electric SE</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Unilever NV</a:t>
                      </a: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r>
                        <a:rPr lang="en-GB" sz="1000" u="none" strike="noStrike" kern="1200" dirty="0">
                          <a:solidFill>
                            <a:srgbClr val="003755"/>
                          </a:solidFill>
                          <a:effectLst/>
                          <a:latin typeface="+mn-lt"/>
                          <a:ea typeface="+mn-ea"/>
                          <a:cs typeface="+mn-cs"/>
                        </a:rPr>
                        <a:t>Nova </a:t>
                      </a:r>
                      <a:r>
                        <a:rPr lang="en-GB" sz="1000" u="none" strike="noStrike" kern="1200" dirty="0" err="1">
                          <a:solidFill>
                            <a:srgbClr val="003755"/>
                          </a:solidFill>
                          <a:effectLst/>
                          <a:latin typeface="+mn-lt"/>
                          <a:ea typeface="+mn-ea"/>
                          <a:cs typeface="+mn-cs"/>
                        </a:rPr>
                        <a:t>Ljubljanska</a:t>
                      </a:r>
                      <a:r>
                        <a:rPr lang="en-GB" sz="1000" u="none" strike="noStrike" kern="1200" dirty="0">
                          <a:solidFill>
                            <a:srgbClr val="003755"/>
                          </a:solidFill>
                          <a:effectLst/>
                          <a:latin typeface="+mn-lt"/>
                          <a:ea typeface="+mn-ea"/>
                          <a:cs typeface="+mn-cs"/>
                        </a:rPr>
                        <a:t> Banka </a:t>
                      </a:r>
                      <a:r>
                        <a:rPr lang="en-GB" sz="1000" u="none" strike="noStrike" kern="1200" dirty="0" err="1">
                          <a:solidFill>
                            <a:srgbClr val="003755"/>
                          </a:solidFill>
                          <a:effectLst/>
                          <a:latin typeface="+mn-lt"/>
                          <a:ea typeface="+mn-ea"/>
                          <a:cs typeface="+mn-cs"/>
                        </a:rPr>
                        <a:t>dd</a:t>
                      </a:r>
                      <a:endParaRPr lang="en-GB" sz="1000" u="none" strike="noStrike" kern="1200" dirty="0">
                        <a:solidFill>
                          <a:srgbClr val="003755"/>
                        </a:solidFill>
                        <a:effectLst/>
                        <a:latin typeface="+mn-lt"/>
                        <a:ea typeface="+mn-ea"/>
                        <a:cs typeface="+mn-cs"/>
                      </a:endParaRPr>
                    </a:p>
                  </a:txBody>
                  <a:tcPr marL="0" marR="0" marT="0" marB="0" anchor="b"/>
                </a:tc>
                <a:tc>
                  <a:txBody>
                    <a:bodyPr/>
                    <a:lstStyle/>
                    <a:p>
                      <a:pPr algn="l" fontAlgn="b"/>
                      <a:r>
                        <a:rPr lang="en-GB" sz="1000" u="none" strike="noStrike" kern="1200">
                          <a:solidFill>
                            <a:srgbClr val="003755"/>
                          </a:solidFill>
                          <a:effectLst/>
                          <a:latin typeface="+mn-lt"/>
                          <a:ea typeface="+mn-ea"/>
                          <a:cs typeface="+mn-cs"/>
                        </a:rPr>
                        <a:t>Security Bank Corp</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UNIQA Insurance Group AG</a:t>
                      </a: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Novartis AG</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Serneke Group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UPM-Kymmene Oyj</a:t>
                      </a: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r>
                        <a:rPr lang="en-GB" sz="1000" u="none" strike="noStrike" kern="1200" dirty="0">
                          <a:solidFill>
                            <a:srgbClr val="003755"/>
                          </a:solidFill>
                          <a:effectLst/>
                          <a:latin typeface="+mn-lt"/>
                          <a:ea typeface="+mn-ea"/>
                          <a:cs typeface="+mn-cs"/>
                        </a:rPr>
                        <a:t>Novo Nordisk A/S</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Severstal PAO</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Veidekke ASA</a:t>
                      </a: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r>
                        <a:rPr lang="en-GB" sz="1000" u="none" strike="noStrike" kern="1200" dirty="0">
                          <a:solidFill>
                            <a:srgbClr val="003755"/>
                          </a:solidFill>
                          <a:effectLst/>
                          <a:latin typeface="+mn-lt"/>
                          <a:ea typeface="+mn-ea"/>
                          <a:cs typeface="+mn-cs"/>
                        </a:rPr>
                        <a:t>NP3 </a:t>
                      </a:r>
                      <a:r>
                        <a:rPr lang="en-GB" sz="1000" u="none" strike="noStrike" kern="1200" dirty="0" err="1">
                          <a:solidFill>
                            <a:srgbClr val="003755"/>
                          </a:solidFill>
                          <a:effectLst/>
                          <a:latin typeface="+mn-lt"/>
                          <a:ea typeface="+mn-ea"/>
                          <a:cs typeface="+mn-cs"/>
                        </a:rPr>
                        <a:t>Fastigheter</a:t>
                      </a:r>
                      <a:r>
                        <a:rPr lang="en-GB" sz="1000" u="none" strike="noStrike" kern="1200" dirty="0">
                          <a:solidFill>
                            <a:srgbClr val="003755"/>
                          </a:solidFill>
                          <a:effectLst/>
                          <a:latin typeface="+mn-lt"/>
                          <a:ea typeface="+mn-ea"/>
                          <a:cs typeface="+mn-cs"/>
                        </a:rPr>
                        <a:t>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SGS S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Vestas Wind Systems A/S</a:t>
                      </a: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Nykredit Realkredit A/S</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Siemens AG</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Visa Inc</a:t>
                      </a: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sv-SE"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r>
                        <a:rPr lang="en-GB" sz="1000" u="none" strike="noStrike" kern="1200" dirty="0">
                          <a:solidFill>
                            <a:srgbClr val="003755"/>
                          </a:solidFill>
                          <a:effectLst/>
                          <a:latin typeface="+mn-lt"/>
                          <a:ea typeface="+mn-ea"/>
                          <a:cs typeface="+mn-cs"/>
                        </a:rPr>
                        <a:t>Olav Thon </a:t>
                      </a:r>
                      <a:r>
                        <a:rPr lang="en-GB" sz="1000" u="none" strike="noStrike" kern="1200" dirty="0" err="1">
                          <a:solidFill>
                            <a:srgbClr val="003755"/>
                          </a:solidFill>
                          <a:effectLst/>
                          <a:latin typeface="+mn-lt"/>
                          <a:ea typeface="+mn-ea"/>
                          <a:cs typeface="+mn-cs"/>
                        </a:rPr>
                        <a:t>Eiendomsselskap</a:t>
                      </a:r>
                      <a:r>
                        <a:rPr lang="en-GB" sz="1000" u="none" strike="noStrike" kern="1200" dirty="0">
                          <a:solidFill>
                            <a:srgbClr val="003755"/>
                          </a:solidFill>
                          <a:effectLst/>
                          <a:latin typeface="+mn-lt"/>
                          <a:ea typeface="+mn-ea"/>
                          <a:cs typeface="+mn-cs"/>
                        </a:rPr>
                        <a:t> AS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Siemens Healthineers AG</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Volkswagen AG</a:t>
                      </a:r>
                    </a:p>
                  </a:txBody>
                  <a:tcPr marL="0" marR="0" marT="0" marB="0" anchor="b"/>
                </a:tc>
                <a:tc>
                  <a:txBody>
                    <a:bodyPr/>
                    <a:lstStyle/>
                    <a:p>
                      <a:pPr algn="l" fontAlgn="b"/>
                      <a:endParaRPr lang="en-US"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Orkla ASA</a:t>
                      </a:r>
                    </a:p>
                  </a:txBody>
                  <a:tcPr marL="0" marR="0" marT="0" marB="0" anchor="b"/>
                </a:tc>
                <a:tc>
                  <a:txBody>
                    <a:bodyPr/>
                    <a:lstStyle/>
                    <a:p>
                      <a:pPr algn="l" fontAlgn="b"/>
                      <a:r>
                        <a:rPr lang="en-GB" sz="1000" u="none" strike="noStrike" kern="1200" dirty="0">
                          <a:solidFill>
                            <a:srgbClr val="003755"/>
                          </a:solidFill>
                          <a:effectLst/>
                          <a:latin typeface="+mn-lt"/>
                          <a:ea typeface="+mn-ea"/>
                          <a:cs typeface="+mn-cs"/>
                        </a:rPr>
                        <a:t>Signify NV</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Volvo AB</a:t>
                      </a: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Orsted A/S</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Sika AG</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Wallenius Wilhelmsen ASA</a:t>
                      </a:r>
                    </a:p>
                  </a:txBody>
                  <a:tcPr marL="0" marR="0" marT="0" marB="0" anchor="b"/>
                </a:tc>
                <a:tc>
                  <a:txBody>
                    <a:bodyPr/>
                    <a:lstStyle/>
                    <a:p>
                      <a:pPr algn="l" fontAlgn="b"/>
                      <a:endParaRPr lang="en-GB" sz="1000" u="none" strike="noStrike" kern="1200" dirty="0">
                        <a:solidFill>
                          <a:srgbClr val="003755"/>
                        </a:solidFill>
                        <a:effectLst/>
                        <a:latin typeface="+mn-lt"/>
                        <a:ea typeface="+mn-ea"/>
                        <a:cs typeface="+mn-cs"/>
                      </a:endParaRPr>
                    </a:p>
                  </a:txBody>
                  <a:tcPr marL="0" marR="0" marT="0" marB="0" anchor="ctr"/>
                </a:tc>
                <a:tc>
                  <a:txBody>
                    <a:bodyPr/>
                    <a:lstStyle/>
                    <a:p>
                      <a:pPr algn="l" fontAlgn="b"/>
                      <a:endParaRPr lang="en-GB" sz="1000" u="none" strike="noStrike" kern="1200" dirty="0">
                        <a:solidFill>
                          <a:srgbClr val="003755"/>
                        </a:solidFill>
                        <a:effectLst/>
                        <a:latin typeface="+mn-lt"/>
                        <a:ea typeface="+mn-ea"/>
                        <a:cs typeface="+mn-cs"/>
                      </a:endParaRPr>
                    </a:p>
                  </a:txBody>
                  <a:tcPr marL="0" marR="0" marT="0" marB="0" anchor="ctr"/>
                </a:tc>
              </a:tr>
              <a:tr h="126000">
                <a:tc>
                  <a:txBody>
                    <a:bodyPr/>
                    <a:lstStyle/>
                    <a:p>
                      <a:pPr algn="l" fontAlgn="b"/>
                      <a:r>
                        <a:rPr lang="en-GB" sz="1000" u="none" strike="noStrike" kern="1200">
                          <a:solidFill>
                            <a:srgbClr val="003755"/>
                          </a:solidFill>
                          <a:effectLst/>
                          <a:latin typeface="+mn-lt"/>
                          <a:ea typeface="+mn-ea"/>
                          <a:cs typeface="+mn-cs"/>
                        </a:rPr>
                        <a:t>Owens Corning</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Sirius International Group Ltd</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Wallenstam AB</a:t>
                      </a:r>
                    </a:p>
                  </a:txBody>
                  <a:tcPr marL="0" marR="0" marT="0" marB="0" anchor="b"/>
                </a:tc>
                <a:tc>
                  <a:txBody>
                    <a:bodyPr/>
                    <a:lstStyle/>
                    <a:p>
                      <a:pPr algn="l" fontAlgn="b"/>
                      <a:endParaRPr lang="en-GB" sz="1000" u="none" strike="noStrike" kern="1200" dirty="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Pandora A/S</a:t>
                      </a:r>
                    </a:p>
                  </a:txBody>
                  <a:tcPr marL="0" marR="0" marT="0" marB="0" anchor="b"/>
                </a:tc>
                <a:tc>
                  <a:txBody>
                    <a:bodyPr/>
                    <a:lstStyle/>
                    <a:p>
                      <a:pPr algn="l" fontAlgn="b"/>
                      <a:r>
                        <a:rPr lang="en-GB" sz="1000" u="none" strike="noStrike" kern="1200" dirty="0" err="1">
                          <a:solidFill>
                            <a:srgbClr val="003755"/>
                          </a:solidFill>
                          <a:effectLst/>
                          <a:latin typeface="+mn-lt"/>
                          <a:ea typeface="+mn-ea"/>
                          <a:cs typeface="+mn-cs"/>
                        </a:rPr>
                        <a:t>Skandinaviska</a:t>
                      </a:r>
                      <a:r>
                        <a:rPr lang="en-GB" sz="1000" u="none" strike="noStrike" kern="1200" dirty="0">
                          <a:solidFill>
                            <a:srgbClr val="003755"/>
                          </a:solidFill>
                          <a:effectLst/>
                          <a:latin typeface="+mn-lt"/>
                          <a:ea typeface="+mn-ea"/>
                          <a:cs typeface="+mn-cs"/>
                        </a:rPr>
                        <a:t> </a:t>
                      </a:r>
                      <a:r>
                        <a:rPr lang="en-GB" sz="1000" u="none" strike="noStrike" kern="1200" dirty="0" err="1">
                          <a:solidFill>
                            <a:srgbClr val="003755"/>
                          </a:solidFill>
                          <a:effectLst/>
                          <a:latin typeface="+mn-lt"/>
                          <a:ea typeface="+mn-ea"/>
                          <a:cs typeface="+mn-cs"/>
                        </a:rPr>
                        <a:t>Enskilda</a:t>
                      </a:r>
                      <a:r>
                        <a:rPr lang="en-GB" sz="1000" u="none" strike="noStrike" kern="1200" dirty="0">
                          <a:solidFill>
                            <a:srgbClr val="003755"/>
                          </a:solidFill>
                          <a:effectLst/>
                          <a:latin typeface="+mn-lt"/>
                          <a:ea typeface="+mn-ea"/>
                          <a:cs typeface="+mn-cs"/>
                        </a:rPr>
                        <a:t> </a:t>
                      </a:r>
                      <a:r>
                        <a:rPr lang="en-GB" sz="1000" u="none" strike="noStrike" kern="1200" dirty="0" err="1">
                          <a:solidFill>
                            <a:srgbClr val="003755"/>
                          </a:solidFill>
                          <a:effectLst/>
                          <a:latin typeface="+mn-lt"/>
                          <a:ea typeface="+mn-ea"/>
                          <a:cs typeface="+mn-cs"/>
                        </a:rPr>
                        <a:t>Banken</a:t>
                      </a:r>
                      <a:r>
                        <a:rPr lang="en-GB" sz="1000" u="none" strike="noStrike" kern="1200" dirty="0">
                          <a:solidFill>
                            <a:srgbClr val="003755"/>
                          </a:solidFill>
                          <a:effectLst/>
                          <a:latin typeface="+mn-lt"/>
                          <a:ea typeface="+mn-ea"/>
                          <a:cs typeface="+mn-cs"/>
                        </a:rPr>
                        <a:t> AB</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Weir Group PLC/The</a:t>
                      </a: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Philippine National Bank</a:t>
                      </a:r>
                    </a:p>
                  </a:txBody>
                  <a:tcPr marL="0" marR="0" marT="0" marB="0" anchor="b"/>
                </a:tc>
                <a:tc>
                  <a:txBody>
                    <a:bodyPr/>
                    <a:lstStyle/>
                    <a:p>
                      <a:pPr algn="l" fontAlgn="b"/>
                      <a:r>
                        <a:rPr lang="en-GB" sz="1000" u="none" strike="noStrike" kern="1200" dirty="0" err="1">
                          <a:solidFill>
                            <a:srgbClr val="003755"/>
                          </a:solidFill>
                          <a:effectLst/>
                          <a:latin typeface="+mn-lt"/>
                          <a:ea typeface="+mn-ea"/>
                          <a:cs typeface="+mn-cs"/>
                        </a:rPr>
                        <a:t>Sparebank</a:t>
                      </a:r>
                      <a:r>
                        <a:rPr lang="en-GB" sz="1000" u="none" strike="noStrike" kern="1200" dirty="0">
                          <a:solidFill>
                            <a:srgbClr val="003755"/>
                          </a:solidFill>
                          <a:effectLst/>
                          <a:latin typeface="+mn-lt"/>
                          <a:ea typeface="+mn-ea"/>
                          <a:cs typeface="+mn-cs"/>
                        </a:rPr>
                        <a:t> 1 </a:t>
                      </a:r>
                      <a:r>
                        <a:rPr lang="en-GB" sz="1000" u="none" strike="noStrike" kern="1200" dirty="0" err="1">
                          <a:solidFill>
                            <a:srgbClr val="003755"/>
                          </a:solidFill>
                          <a:effectLst/>
                          <a:latin typeface="+mn-lt"/>
                          <a:ea typeface="+mn-ea"/>
                          <a:cs typeface="+mn-cs"/>
                        </a:rPr>
                        <a:t>Oestlandet</a:t>
                      </a:r>
                      <a:endParaRPr lang="en-GB" sz="1000" u="none" strike="noStrike" kern="1200" dirty="0">
                        <a:solidFill>
                          <a:srgbClr val="003755"/>
                        </a:solidFill>
                        <a:effectLst/>
                        <a:latin typeface="+mn-lt"/>
                        <a:ea typeface="+mn-ea"/>
                        <a:cs typeface="+mn-cs"/>
                      </a:endParaRPr>
                    </a:p>
                  </a:txBody>
                  <a:tcPr marL="0" marR="0" marT="0" marB="0" anchor="b"/>
                </a:tc>
                <a:tc>
                  <a:txBody>
                    <a:bodyPr/>
                    <a:lstStyle/>
                    <a:p>
                      <a:pPr algn="l" fontAlgn="b"/>
                      <a:r>
                        <a:rPr lang="en-GB" sz="1000" u="none" strike="noStrike" kern="1200">
                          <a:solidFill>
                            <a:srgbClr val="003755"/>
                          </a:solidFill>
                          <a:effectLst/>
                          <a:latin typeface="+mn-lt"/>
                          <a:ea typeface="+mn-ea"/>
                          <a:cs typeface="+mn-cs"/>
                        </a:rPr>
                        <a:t>X5 Retail Group NV</a:t>
                      </a:r>
                    </a:p>
                  </a:txBody>
                  <a:tcPr marL="0" marR="0" marT="0" marB="0" anchor="b"/>
                </a:tc>
                <a:tc>
                  <a:txBody>
                    <a:bodyPr/>
                    <a:lstStyle/>
                    <a:p>
                      <a:pPr algn="l" fontAlgn="b"/>
                      <a:endParaRPr lang="en-GB" sz="1000" u="none" strike="noStrike" kern="1200" dirty="0">
                        <a:solidFill>
                          <a:srgbClr val="003755"/>
                        </a:solidFill>
                        <a:effectLst/>
                        <a:latin typeface="+mn-lt"/>
                        <a:ea typeface="+mn-ea"/>
                        <a:cs typeface="+mn-cs"/>
                      </a:endParaRPr>
                    </a:p>
                  </a:txBody>
                  <a:tcPr marL="0" marR="0" marT="0" marB="0" anchor="ctr"/>
                </a:tc>
                <a:tc>
                  <a:txBody>
                    <a:bodyPr/>
                    <a:lstStyle/>
                    <a:p>
                      <a:pPr algn="l" fontAlgn="b"/>
                      <a:endParaRPr lang="en-GB" sz="1000" u="none" strike="noStrike" kern="1200" dirty="0">
                        <a:solidFill>
                          <a:srgbClr val="003755"/>
                        </a:solidFill>
                        <a:effectLst/>
                        <a:latin typeface="+mn-lt"/>
                        <a:ea typeface="+mn-ea"/>
                        <a:cs typeface="+mn-cs"/>
                      </a:endParaRPr>
                    </a:p>
                  </a:txBody>
                  <a:tcPr marL="0" marR="0" marT="0" marB="0" anchor="ctr"/>
                </a:tc>
              </a:tr>
              <a:tr h="126000">
                <a:tc>
                  <a:txBody>
                    <a:bodyPr/>
                    <a:lstStyle/>
                    <a:p>
                      <a:pPr algn="l" fontAlgn="b"/>
                      <a:r>
                        <a:rPr lang="en-GB" sz="1000" u="none" strike="noStrike" kern="1200">
                          <a:solidFill>
                            <a:srgbClr val="003755"/>
                          </a:solidFill>
                          <a:effectLst/>
                          <a:latin typeface="+mn-lt"/>
                          <a:ea typeface="+mn-ea"/>
                          <a:cs typeface="+mn-cs"/>
                        </a:rPr>
                        <a:t>Procter &amp; Gamble Co/The</a:t>
                      </a:r>
                    </a:p>
                  </a:txBody>
                  <a:tcPr marL="0" marR="0" marT="0" marB="0" anchor="b"/>
                </a:tc>
                <a:tc>
                  <a:txBody>
                    <a:bodyPr/>
                    <a:lstStyle/>
                    <a:p>
                      <a:pPr algn="l" fontAlgn="b"/>
                      <a:r>
                        <a:rPr lang="en-GB" sz="1000" u="none" strike="noStrike" kern="1200" dirty="0" err="1">
                          <a:solidFill>
                            <a:srgbClr val="003755"/>
                          </a:solidFill>
                          <a:effectLst/>
                          <a:latin typeface="+mn-lt"/>
                          <a:ea typeface="+mn-ea"/>
                          <a:cs typeface="+mn-cs"/>
                        </a:rPr>
                        <a:t>SpareBank</a:t>
                      </a:r>
                      <a:r>
                        <a:rPr lang="en-GB" sz="1000" u="none" strike="noStrike" kern="1200" dirty="0">
                          <a:solidFill>
                            <a:srgbClr val="003755"/>
                          </a:solidFill>
                          <a:effectLst/>
                          <a:latin typeface="+mn-lt"/>
                          <a:ea typeface="+mn-ea"/>
                          <a:cs typeface="+mn-cs"/>
                        </a:rPr>
                        <a:t> 1 SMN</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Zealand Pharma A/S</a:t>
                      </a: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Puma SE</a:t>
                      </a:r>
                    </a:p>
                  </a:txBody>
                  <a:tcPr marL="0" marR="0" marT="0" marB="0" anchor="b"/>
                </a:tc>
                <a:tc>
                  <a:txBody>
                    <a:bodyPr/>
                    <a:lstStyle/>
                    <a:p>
                      <a:pPr algn="l" fontAlgn="b"/>
                      <a:r>
                        <a:rPr lang="en-GB" sz="1000" u="none" strike="noStrike" kern="1200" dirty="0" err="1">
                          <a:solidFill>
                            <a:srgbClr val="003755"/>
                          </a:solidFill>
                          <a:effectLst/>
                          <a:latin typeface="+mn-lt"/>
                          <a:ea typeface="+mn-ea"/>
                          <a:cs typeface="+mn-cs"/>
                        </a:rPr>
                        <a:t>SpareBank</a:t>
                      </a:r>
                      <a:r>
                        <a:rPr lang="en-GB" sz="1000" u="none" strike="noStrike" kern="1200" dirty="0">
                          <a:solidFill>
                            <a:srgbClr val="003755"/>
                          </a:solidFill>
                          <a:effectLst/>
                          <a:latin typeface="+mn-lt"/>
                          <a:ea typeface="+mn-ea"/>
                          <a:cs typeface="+mn-cs"/>
                        </a:rPr>
                        <a:t> 1 SR-Bank AS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Zee Entertainment Enterprises Ltd</a:t>
                      </a: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Realkredit Danmark A/S</a:t>
                      </a:r>
                    </a:p>
                  </a:txBody>
                  <a:tcPr marL="0" marR="0" marT="0" marB="0" anchor="b"/>
                </a:tc>
                <a:tc>
                  <a:txBody>
                    <a:bodyPr/>
                    <a:lstStyle/>
                    <a:p>
                      <a:pPr algn="l" fontAlgn="b"/>
                      <a:r>
                        <a:rPr lang="en-GB" sz="1000" u="none" strike="noStrike" kern="1200" dirty="0">
                          <a:solidFill>
                            <a:srgbClr val="003755"/>
                          </a:solidFill>
                          <a:effectLst/>
                          <a:latin typeface="+mn-lt"/>
                          <a:ea typeface="+mn-ea"/>
                          <a:cs typeface="+mn-cs"/>
                        </a:rPr>
                        <a:t>SSE PLC</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Zurich Insurance Group AG</a:t>
                      </a: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Renault SA</a:t>
                      </a:r>
                    </a:p>
                  </a:txBody>
                  <a:tcPr marL="0" marR="0" marT="0" marB="0" anchor="b"/>
                </a:tc>
                <a:tc>
                  <a:txBody>
                    <a:bodyPr/>
                    <a:lstStyle/>
                    <a:p>
                      <a:pPr algn="l" fontAlgn="b"/>
                      <a:r>
                        <a:rPr lang="en-GB" sz="1000" u="none" strike="noStrike" kern="1200" dirty="0" err="1">
                          <a:solidFill>
                            <a:srgbClr val="003755"/>
                          </a:solidFill>
                          <a:effectLst/>
                          <a:latin typeface="+mn-lt"/>
                          <a:ea typeface="+mn-ea"/>
                          <a:cs typeface="+mn-cs"/>
                        </a:rPr>
                        <a:t>Stora</a:t>
                      </a:r>
                      <a:r>
                        <a:rPr lang="en-GB" sz="1000" u="none" strike="noStrike" kern="1200" dirty="0">
                          <a:solidFill>
                            <a:srgbClr val="003755"/>
                          </a:solidFill>
                          <a:effectLst/>
                          <a:latin typeface="+mn-lt"/>
                          <a:ea typeface="+mn-ea"/>
                          <a:cs typeface="+mn-cs"/>
                        </a:rPr>
                        <a:t> Enso </a:t>
                      </a:r>
                      <a:r>
                        <a:rPr lang="en-GB" sz="1000" u="none" strike="noStrike" kern="1200" dirty="0" err="1">
                          <a:solidFill>
                            <a:srgbClr val="003755"/>
                          </a:solidFill>
                          <a:effectLst/>
                          <a:latin typeface="+mn-lt"/>
                          <a:ea typeface="+mn-ea"/>
                          <a:cs typeface="+mn-cs"/>
                        </a:rPr>
                        <a:t>Oyj</a:t>
                      </a:r>
                      <a:endParaRPr lang="en-GB" sz="1000" u="none" strike="noStrike" kern="1200" dirty="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Rexel SA</a:t>
                      </a:r>
                    </a:p>
                  </a:txBody>
                  <a:tcPr marL="0" marR="0" marT="0" marB="0" anchor="b"/>
                </a:tc>
                <a:tc>
                  <a:txBody>
                    <a:bodyPr/>
                    <a:lstStyle/>
                    <a:p>
                      <a:pPr algn="l" fontAlgn="b"/>
                      <a:r>
                        <a:rPr lang="en-GB" sz="1000" u="none" strike="noStrike" kern="1200">
                          <a:solidFill>
                            <a:srgbClr val="003755"/>
                          </a:solidFill>
                          <a:effectLst/>
                          <a:latin typeface="+mn-lt"/>
                          <a:ea typeface="+mn-ea"/>
                          <a:cs typeface="+mn-cs"/>
                        </a:rPr>
                        <a:t>Storebrand ASA</a:t>
                      </a:r>
                    </a:p>
                  </a:txBody>
                  <a:tcPr marL="0" marR="0" marT="0" marB="0" anchor="b"/>
                </a:tc>
                <a:tc>
                  <a:txBody>
                    <a:bodyPr/>
                    <a:lstStyle/>
                    <a:p>
                      <a:pPr algn="l" fontAlgn="b"/>
                      <a:endParaRPr lang="en-GB" sz="1000" u="none" strike="noStrike" kern="1200" dirty="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r>
                        <a:rPr lang="en-GB" sz="1000" u="none" strike="noStrike" kern="1200">
                          <a:solidFill>
                            <a:srgbClr val="003755"/>
                          </a:solidFill>
                          <a:effectLst/>
                          <a:latin typeface="+mn-lt"/>
                          <a:ea typeface="+mn-ea"/>
                          <a:cs typeface="+mn-cs"/>
                        </a:rPr>
                        <a:t>Rio Tinto PLC</a:t>
                      </a:r>
                    </a:p>
                  </a:txBody>
                  <a:tcPr marL="0" marR="0" marT="0" marB="0" anchor="b"/>
                </a:tc>
                <a:tc gridSpan="2">
                  <a:txBody>
                    <a:bodyPr/>
                    <a:lstStyle/>
                    <a:p>
                      <a:pPr algn="l" fontAlgn="b"/>
                      <a:r>
                        <a:rPr lang="en-GB" sz="1000" u="none" strike="noStrike" kern="1200" dirty="0" err="1">
                          <a:solidFill>
                            <a:srgbClr val="003755"/>
                          </a:solidFill>
                          <a:effectLst/>
                          <a:latin typeface="+mn-lt"/>
                          <a:ea typeface="+mn-ea"/>
                          <a:cs typeface="+mn-cs"/>
                        </a:rPr>
                        <a:t>Stromma</a:t>
                      </a:r>
                      <a:r>
                        <a:rPr lang="en-GB" sz="1000" u="none" strike="noStrike" kern="1200" dirty="0">
                          <a:solidFill>
                            <a:srgbClr val="003755"/>
                          </a:solidFill>
                          <a:effectLst/>
                          <a:latin typeface="+mn-lt"/>
                          <a:ea typeface="+mn-ea"/>
                          <a:cs typeface="+mn-cs"/>
                        </a:rPr>
                        <a:t> </a:t>
                      </a:r>
                      <a:r>
                        <a:rPr lang="en-GB" sz="1000" u="none" strike="noStrike" kern="1200" dirty="0" err="1">
                          <a:solidFill>
                            <a:srgbClr val="003755"/>
                          </a:solidFill>
                          <a:effectLst/>
                          <a:latin typeface="+mn-lt"/>
                          <a:ea typeface="+mn-ea"/>
                          <a:cs typeface="+mn-cs"/>
                        </a:rPr>
                        <a:t>Turism</a:t>
                      </a:r>
                      <a:r>
                        <a:rPr lang="en-GB" sz="1000" u="none" strike="noStrike" kern="1200" dirty="0">
                          <a:solidFill>
                            <a:srgbClr val="003755"/>
                          </a:solidFill>
                          <a:effectLst/>
                          <a:latin typeface="+mn-lt"/>
                          <a:ea typeface="+mn-ea"/>
                          <a:cs typeface="+mn-cs"/>
                        </a:rPr>
                        <a:t> &amp; </a:t>
                      </a:r>
                      <a:r>
                        <a:rPr lang="en-GB" sz="1000" u="none" strike="noStrike" kern="1200" dirty="0" err="1">
                          <a:solidFill>
                            <a:srgbClr val="003755"/>
                          </a:solidFill>
                          <a:effectLst/>
                          <a:latin typeface="+mn-lt"/>
                          <a:ea typeface="+mn-ea"/>
                          <a:cs typeface="+mn-cs"/>
                        </a:rPr>
                        <a:t>Sjofart</a:t>
                      </a:r>
                      <a:r>
                        <a:rPr lang="en-GB" sz="1000" u="none" strike="noStrike" kern="1200" dirty="0">
                          <a:solidFill>
                            <a:srgbClr val="003755"/>
                          </a:solidFill>
                          <a:effectLst/>
                          <a:latin typeface="+mn-lt"/>
                          <a:ea typeface="+mn-ea"/>
                          <a:cs typeface="+mn-cs"/>
                        </a:rPr>
                        <a:t> AB</a:t>
                      </a:r>
                    </a:p>
                  </a:txBody>
                  <a:tcPr marL="0" marR="0" marT="0" marB="0" anchor="b"/>
                </a:tc>
                <a:tc hMerge="1">
                  <a:txBody>
                    <a:bodyPr/>
                    <a:lstStyle/>
                    <a:p>
                      <a:endParaRPr lang="en-GB"/>
                    </a:p>
                  </a:txBody>
                  <a:tcPr/>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US" sz="1000" u="none" strike="noStrike" kern="1200" dirty="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dirty="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dirty="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dirty="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dirty="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dirty="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endParaRPr lang="en-GB" sz="1000" u="none" strike="noStrike" kern="1200" dirty="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dirty="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r>
              <a:tr h="126000">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dirty="0">
                        <a:solidFill>
                          <a:srgbClr val="003755"/>
                        </a:solidFill>
                        <a:effectLst/>
                        <a:latin typeface="+mn-lt"/>
                        <a:ea typeface="+mn-ea"/>
                        <a:cs typeface="+mn-cs"/>
                      </a:endParaRPr>
                    </a:p>
                  </a:txBody>
                  <a:tcPr marL="0" marR="0" marT="0" marB="0" anchor="b"/>
                </a:tc>
                <a:tc>
                  <a:txBody>
                    <a:bodyPr/>
                    <a:lstStyle/>
                    <a:p>
                      <a:pPr algn="l" fontAlgn="b"/>
                      <a:endParaRPr lang="en-GB" sz="1000" u="none" strike="noStrike" kern="1200" dirty="0">
                        <a:solidFill>
                          <a:srgbClr val="003755"/>
                        </a:solidFill>
                        <a:effectLst/>
                        <a:latin typeface="+mn-lt"/>
                        <a:ea typeface="+mn-ea"/>
                        <a:cs typeface="+mn-cs"/>
                      </a:endParaRPr>
                    </a:p>
                  </a:txBody>
                  <a:tcPr marL="0" marR="0" marT="0" marB="0" anchor="b"/>
                </a:tc>
              </a:tr>
            </a:tbl>
          </a:graphicData>
        </a:graphic>
      </p:graphicFrame>
      <p:sp>
        <p:nvSpPr>
          <p:cNvPr id="2" name="Title 1"/>
          <p:cNvSpPr>
            <a:spLocks noGrp="1"/>
          </p:cNvSpPr>
          <p:nvPr>
            <p:ph type="title"/>
          </p:nvPr>
        </p:nvSpPr>
        <p:spPr/>
        <p:txBody>
          <a:bodyPr/>
          <a:lstStyle/>
          <a:p>
            <a:r>
              <a:rPr lang="en-GB" dirty="0"/>
              <a:t>Engagement</a:t>
            </a:r>
            <a:r>
              <a:rPr lang="lt-LT" dirty="0"/>
              <a:t> </a:t>
            </a:r>
            <a:r>
              <a:rPr lang="en-GB" dirty="0"/>
              <a:t>during </a:t>
            </a:r>
            <a:r>
              <a:rPr lang="en-GB" dirty="0" smtClean="0"/>
              <a:t>H1 2020, </a:t>
            </a:r>
            <a:r>
              <a:rPr lang="en-GB" dirty="0"/>
              <a:t>by </a:t>
            </a:r>
            <a:r>
              <a:rPr lang="en-GB" dirty="0" smtClean="0"/>
              <a:t>company</a:t>
            </a:r>
            <a:endParaRPr lang="en-GB" dirty="0"/>
          </a:p>
        </p:txBody>
      </p:sp>
    </p:spTree>
    <p:extLst>
      <p:ext uri="{BB962C8B-B14F-4D97-AF65-F5344CB8AC3E}">
        <p14:creationId xmlns:p14="http://schemas.microsoft.com/office/powerpoint/2010/main" val="12297201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368"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62144" y="0"/>
            <a:ext cx="12254144" cy="6885121"/>
          </a:xfrm>
          <a:prstGeom prst="rect">
            <a:avLst/>
          </a:prstGeom>
          <a:solidFill>
            <a:srgbClr val="F0F7FA">
              <a:alpha val="66000"/>
            </a:srgbClr>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smtClean="0">
              <a:solidFill>
                <a:schemeClr val="tx1"/>
              </a:solidFill>
            </a:endParaRPr>
          </a:p>
        </p:txBody>
      </p:sp>
      <p:sp>
        <p:nvSpPr>
          <p:cNvPr id="2" name="Title 1"/>
          <p:cNvSpPr>
            <a:spLocks noGrp="1"/>
          </p:cNvSpPr>
          <p:nvPr>
            <p:ph type="ctrTitle"/>
          </p:nvPr>
        </p:nvSpPr>
        <p:spPr>
          <a:xfrm>
            <a:off x="431801" y="4074530"/>
            <a:ext cx="7366000" cy="997196"/>
          </a:xfrm>
        </p:spPr>
        <p:txBody>
          <a:bodyPr/>
          <a:lstStyle/>
          <a:p>
            <a:r>
              <a:rPr lang="en-US" sz="3600" dirty="0" smtClean="0">
                <a:solidFill>
                  <a:schemeClr val="dk2"/>
                </a:solidFill>
              </a:rPr>
              <a:t>Active Ownership Report</a:t>
            </a:r>
            <a:r>
              <a:rPr lang="en-US" sz="3600" smtClean="0">
                <a:solidFill>
                  <a:schemeClr val="dk2"/>
                </a:solidFill>
              </a:rPr>
              <a:t>: H1 2020</a:t>
            </a:r>
            <a:r>
              <a:rPr lang="en-US" sz="3600" dirty="0" smtClean="0">
                <a:solidFill>
                  <a:schemeClr val="dk2"/>
                </a:solidFill>
              </a:rPr>
              <a:t/>
            </a:r>
            <a:br>
              <a:rPr lang="en-US" sz="3600" dirty="0" smtClean="0">
                <a:solidFill>
                  <a:schemeClr val="dk2"/>
                </a:solidFill>
              </a:rPr>
            </a:br>
            <a:r>
              <a:rPr lang="en-US" sz="3600" dirty="0" smtClean="0">
                <a:solidFill>
                  <a:schemeClr val="dk2"/>
                </a:solidFill>
              </a:rPr>
              <a:t>Part 1: Engagement Report</a:t>
            </a:r>
            <a:endParaRPr lang="en-US" sz="3600" dirty="0">
              <a:solidFill>
                <a:schemeClr val="dk2"/>
              </a:solidFill>
            </a:endParaRPr>
          </a:p>
        </p:txBody>
      </p:sp>
      <p:sp>
        <p:nvSpPr>
          <p:cNvPr id="9" name="Rectangle 8"/>
          <p:cNvSpPr/>
          <p:nvPr/>
        </p:nvSpPr>
        <p:spPr>
          <a:xfrm>
            <a:off x="338471" y="6053526"/>
            <a:ext cx="11415270" cy="400110"/>
          </a:xfrm>
          <a:prstGeom prst="rect">
            <a:avLst/>
          </a:prstGeom>
        </p:spPr>
        <p:txBody>
          <a:bodyPr wrap="square">
            <a:spAutoFit/>
          </a:bodyPr>
          <a:lstStyle/>
          <a:p>
            <a:pPr lvl="0">
              <a:defRPr/>
            </a:pPr>
            <a:r>
              <a:rPr lang="en-US" sz="1000" dirty="0">
                <a:solidFill>
                  <a:schemeClr val="dk2"/>
                </a:solidFill>
              </a:rPr>
              <a:t>This presentation is intended to be used as marketing </a:t>
            </a:r>
            <a:r>
              <a:rPr lang="en-US" sz="1000" dirty="0" smtClean="0">
                <a:solidFill>
                  <a:schemeClr val="dk2"/>
                </a:solidFill>
              </a:rPr>
              <a:t>material </a:t>
            </a:r>
            <a:r>
              <a:rPr lang="en-US" sz="1000" dirty="0">
                <a:solidFill>
                  <a:schemeClr val="dk2"/>
                </a:solidFill>
              </a:rPr>
              <a:t>as defined by the European Directive 2014/65/EU dated 15 May 2014 (MiFID II) in Austria, Belgium, Denmark, Finland, France, Germany, Luxembourg, the Netherlands, Norway, Sweden, Switzerland and the United </a:t>
            </a:r>
            <a:r>
              <a:rPr lang="en-US" sz="1000" dirty="0" smtClean="0">
                <a:solidFill>
                  <a:schemeClr val="dk2"/>
                </a:solidFill>
              </a:rPr>
              <a:t>Kingdom.</a:t>
            </a:r>
            <a:endParaRPr lang="en-US" sz="1000" dirty="0">
              <a:solidFill>
                <a:schemeClr val="dk2"/>
              </a:solidFill>
            </a:endParaRPr>
          </a:p>
        </p:txBody>
      </p:sp>
      <p:sp>
        <p:nvSpPr>
          <p:cNvPr id="10" name="Develop team"/>
          <p:cNvSpPr>
            <a:spLocks noChangeAspect="1"/>
          </p:cNvSpPr>
          <p:nvPr>
            <p:custDataLst>
              <p:tags r:id="rId3"/>
            </p:custDataLst>
          </p:nvPr>
        </p:nvSpPr>
        <p:spPr bwMode="auto">
          <a:xfrm>
            <a:off x="9180000" y="3247200"/>
            <a:ext cx="2435381" cy="2095200"/>
          </a:xfrm>
          <a:custGeom>
            <a:avLst/>
            <a:gdLst>
              <a:gd name="connsiteX0" fmla="*/ 6610350 w 7978774"/>
              <a:gd name="connsiteY0" fmla="*/ 4841874 h 6864349"/>
              <a:gd name="connsiteX1" fmla="*/ 5850062 w 7978774"/>
              <a:gd name="connsiteY1" fmla="*/ 5008885 h 6864349"/>
              <a:gd name="connsiteX2" fmla="*/ 5430837 w 7978774"/>
              <a:gd name="connsiteY2" fmla="*/ 5534790 h 6864349"/>
              <a:gd name="connsiteX3" fmla="*/ 5430837 w 7978774"/>
              <a:gd name="connsiteY3" fmla="*/ 6675437 h 6864349"/>
              <a:gd name="connsiteX4" fmla="*/ 5779007 w 7978774"/>
              <a:gd name="connsiteY4" fmla="*/ 6675437 h 6864349"/>
              <a:gd name="connsiteX5" fmla="*/ 5779007 w 7978774"/>
              <a:gd name="connsiteY5" fmla="*/ 5883025 h 6864349"/>
              <a:gd name="connsiteX6" fmla="*/ 5871378 w 7978774"/>
              <a:gd name="connsiteY6" fmla="*/ 5790636 h 6864349"/>
              <a:gd name="connsiteX7" fmla="*/ 5963749 w 7978774"/>
              <a:gd name="connsiteY7" fmla="*/ 5883025 h 6864349"/>
              <a:gd name="connsiteX8" fmla="*/ 5963749 w 7978774"/>
              <a:gd name="connsiteY8" fmla="*/ 6675437 h 6864349"/>
              <a:gd name="connsiteX9" fmla="*/ 7253397 w 7978774"/>
              <a:gd name="connsiteY9" fmla="*/ 6675437 h 6864349"/>
              <a:gd name="connsiteX10" fmla="*/ 7253397 w 7978774"/>
              <a:gd name="connsiteY10" fmla="*/ 5883025 h 6864349"/>
              <a:gd name="connsiteX11" fmla="*/ 7349321 w 7978774"/>
              <a:gd name="connsiteY11" fmla="*/ 5790636 h 6864349"/>
              <a:gd name="connsiteX12" fmla="*/ 7441693 w 7978774"/>
              <a:gd name="connsiteY12" fmla="*/ 5883025 h 6864349"/>
              <a:gd name="connsiteX13" fmla="*/ 7441693 w 7978774"/>
              <a:gd name="connsiteY13" fmla="*/ 6675437 h 6864349"/>
              <a:gd name="connsiteX14" fmla="*/ 7789862 w 7978774"/>
              <a:gd name="connsiteY14" fmla="*/ 6675437 h 6864349"/>
              <a:gd name="connsiteX15" fmla="*/ 7789862 w 7978774"/>
              <a:gd name="connsiteY15" fmla="*/ 5541897 h 6864349"/>
              <a:gd name="connsiteX16" fmla="*/ 7367085 w 7978774"/>
              <a:gd name="connsiteY16" fmla="*/ 5008885 h 6864349"/>
              <a:gd name="connsiteX17" fmla="*/ 6610350 w 7978774"/>
              <a:gd name="connsiteY17" fmla="*/ 4841874 h 6864349"/>
              <a:gd name="connsiteX18" fmla="*/ 1368425 w 7978774"/>
              <a:gd name="connsiteY18" fmla="*/ 4841874 h 6864349"/>
              <a:gd name="connsiteX19" fmla="*/ 608137 w 7978774"/>
              <a:gd name="connsiteY19" fmla="*/ 5008885 h 6864349"/>
              <a:gd name="connsiteX20" fmla="*/ 188912 w 7978774"/>
              <a:gd name="connsiteY20" fmla="*/ 5534790 h 6864349"/>
              <a:gd name="connsiteX21" fmla="*/ 188912 w 7978774"/>
              <a:gd name="connsiteY21" fmla="*/ 6675437 h 6864349"/>
              <a:gd name="connsiteX22" fmla="*/ 537082 w 7978774"/>
              <a:gd name="connsiteY22" fmla="*/ 6675437 h 6864349"/>
              <a:gd name="connsiteX23" fmla="*/ 537082 w 7978774"/>
              <a:gd name="connsiteY23" fmla="*/ 5883025 h 6864349"/>
              <a:gd name="connsiteX24" fmla="*/ 629453 w 7978774"/>
              <a:gd name="connsiteY24" fmla="*/ 5790636 h 6864349"/>
              <a:gd name="connsiteX25" fmla="*/ 721825 w 7978774"/>
              <a:gd name="connsiteY25" fmla="*/ 5883025 h 6864349"/>
              <a:gd name="connsiteX26" fmla="*/ 721825 w 7978774"/>
              <a:gd name="connsiteY26" fmla="*/ 6675437 h 6864349"/>
              <a:gd name="connsiteX27" fmla="*/ 2011472 w 7978774"/>
              <a:gd name="connsiteY27" fmla="*/ 6675437 h 6864349"/>
              <a:gd name="connsiteX28" fmla="*/ 2011472 w 7978774"/>
              <a:gd name="connsiteY28" fmla="*/ 5883025 h 6864349"/>
              <a:gd name="connsiteX29" fmla="*/ 2107397 w 7978774"/>
              <a:gd name="connsiteY29" fmla="*/ 5790636 h 6864349"/>
              <a:gd name="connsiteX30" fmla="*/ 2199768 w 7978774"/>
              <a:gd name="connsiteY30" fmla="*/ 5883025 h 6864349"/>
              <a:gd name="connsiteX31" fmla="*/ 2199768 w 7978774"/>
              <a:gd name="connsiteY31" fmla="*/ 6675437 h 6864349"/>
              <a:gd name="connsiteX32" fmla="*/ 2547937 w 7978774"/>
              <a:gd name="connsiteY32" fmla="*/ 6675437 h 6864349"/>
              <a:gd name="connsiteX33" fmla="*/ 2547937 w 7978774"/>
              <a:gd name="connsiteY33" fmla="*/ 5541897 h 6864349"/>
              <a:gd name="connsiteX34" fmla="*/ 2125160 w 7978774"/>
              <a:gd name="connsiteY34" fmla="*/ 5008885 h 6864349"/>
              <a:gd name="connsiteX35" fmla="*/ 1368425 w 7978774"/>
              <a:gd name="connsiteY35" fmla="*/ 4841874 h 6864349"/>
              <a:gd name="connsiteX36" fmla="*/ 3983831 w 7978774"/>
              <a:gd name="connsiteY36" fmla="*/ 4006849 h 6864349"/>
              <a:gd name="connsiteX37" fmla="*/ 4076255 w 7978774"/>
              <a:gd name="connsiteY37" fmla="*/ 4099212 h 6864349"/>
              <a:gd name="connsiteX38" fmla="*/ 4076255 w 7978774"/>
              <a:gd name="connsiteY38" fmla="*/ 4873640 h 6864349"/>
              <a:gd name="connsiteX39" fmla="*/ 4748106 w 7978774"/>
              <a:gd name="connsiteY39" fmla="*/ 5282169 h 6864349"/>
              <a:gd name="connsiteX40" fmla="*/ 4780099 w 7978774"/>
              <a:gd name="connsiteY40" fmla="*/ 5410056 h 6864349"/>
              <a:gd name="connsiteX41" fmla="*/ 4698339 w 7978774"/>
              <a:gd name="connsiteY41" fmla="*/ 5456237 h 6864349"/>
              <a:gd name="connsiteX42" fmla="*/ 4652127 w 7978774"/>
              <a:gd name="connsiteY42" fmla="*/ 5442028 h 6864349"/>
              <a:gd name="connsiteX43" fmla="*/ 3983831 w 7978774"/>
              <a:gd name="connsiteY43" fmla="*/ 5033499 h 6864349"/>
              <a:gd name="connsiteX44" fmla="*/ 3311980 w 7978774"/>
              <a:gd name="connsiteY44" fmla="*/ 5431370 h 6864349"/>
              <a:gd name="connsiteX45" fmla="*/ 3265767 w 7978774"/>
              <a:gd name="connsiteY45" fmla="*/ 5442028 h 6864349"/>
              <a:gd name="connsiteX46" fmla="*/ 3184008 w 7978774"/>
              <a:gd name="connsiteY46" fmla="*/ 5395846 h 6864349"/>
              <a:gd name="connsiteX47" fmla="*/ 3216001 w 7978774"/>
              <a:gd name="connsiteY47" fmla="*/ 5267959 h 6864349"/>
              <a:gd name="connsiteX48" fmla="*/ 3887852 w 7978774"/>
              <a:gd name="connsiteY48" fmla="*/ 4873640 h 6864349"/>
              <a:gd name="connsiteX49" fmla="*/ 3887852 w 7978774"/>
              <a:gd name="connsiteY49" fmla="*/ 4099212 h 6864349"/>
              <a:gd name="connsiteX50" fmla="*/ 3983831 w 7978774"/>
              <a:gd name="connsiteY50" fmla="*/ 4006849 h 6864349"/>
              <a:gd name="connsiteX51" fmla="*/ 6326450 w 7978774"/>
              <a:gd name="connsiteY51" fmla="*/ 3686174 h 6864349"/>
              <a:gd name="connsiteX52" fmla="*/ 5981993 w 7978774"/>
              <a:gd name="connsiteY52" fmla="*/ 3871001 h 6864349"/>
              <a:gd name="connsiteX53" fmla="*/ 5964237 w 7978774"/>
              <a:gd name="connsiteY53" fmla="*/ 4009622 h 6864349"/>
              <a:gd name="connsiteX54" fmla="*/ 6610538 w 7978774"/>
              <a:gd name="connsiteY54" fmla="*/ 4652962 h 6864349"/>
              <a:gd name="connsiteX55" fmla="*/ 7253287 w 7978774"/>
              <a:gd name="connsiteY55" fmla="*/ 4009622 h 6864349"/>
              <a:gd name="connsiteX56" fmla="*/ 7228429 w 7978774"/>
              <a:gd name="connsiteY56" fmla="*/ 3842566 h 6864349"/>
              <a:gd name="connsiteX57" fmla="*/ 6326450 w 7978774"/>
              <a:gd name="connsiteY57" fmla="*/ 3686174 h 6864349"/>
              <a:gd name="connsiteX58" fmla="*/ 1083383 w 7978774"/>
              <a:gd name="connsiteY58" fmla="*/ 3686174 h 6864349"/>
              <a:gd name="connsiteX59" fmla="*/ 738502 w 7978774"/>
              <a:gd name="connsiteY59" fmla="*/ 3871001 h 6864349"/>
              <a:gd name="connsiteX60" fmla="*/ 720724 w 7978774"/>
              <a:gd name="connsiteY60" fmla="*/ 4009622 h 6864349"/>
              <a:gd name="connsiteX61" fmla="*/ 1367821 w 7978774"/>
              <a:gd name="connsiteY61" fmla="*/ 4652962 h 6864349"/>
              <a:gd name="connsiteX62" fmla="*/ 2011362 w 7978774"/>
              <a:gd name="connsiteY62" fmla="*/ 4009622 h 6864349"/>
              <a:gd name="connsiteX63" fmla="*/ 1986474 w 7978774"/>
              <a:gd name="connsiteY63" fmla="*/ 3842566 h 6864349"/>
              <a:gd name="connsiteX64" fmla="*/ 1083383 w 7978774"/>
              <a:gd name="connsiteY64" fmla="*/ 3686174 h 6864349"/>
              <a:gd name="connsiteX65" fmla="*/ 1368425 w 7978774"/>
              <a:gd name="connsiteY65" fmla="*/ 3178174 h 6864349"/>
              <a:gd name="connsiteX66" fmla="*/ 1517707 w 7978774"/>
              <a:gd name="connsiteY66" fmla="*/ 3192393 h 6864349"/>
              <a:gd name="connsiteX67" fmla="*/ 1563914 w 7978774"/>
              <a:gd name="connsiteY67" fmla="*/ 3203057 h 6864349"/>
              <a:gd name="connsiteX68" fmla="*/ 1656327 w 7978774"/>
              <a:gd name="connsiteY68" fmla="*/ 3231494 h 6864349"/>
              <a:gd name="connsiteX69" fmla="*/ 1709642 w 7978774"/>
              <a:gd name="connsiteY69" fmla="*/ 3252822 h 6864349"/>
              <a:gd name="connsiteX70" fmla="*/ 1777175 w 7978774"/>
              <a:gd name="connsiteY70" fmla="*/ 3291924 h 6864349"/>
              <a:gd name="connsiteX71" fmla="*/ 2143273 w 7978774"/>
              <a:gd name="connsiteY71" fmla="*/ 3714926 h 6864349"/>
              <a:gd name="connsiteX72" fmla="*/ 2153936 w 7978774"/>
              <a:gd name="connsiteY72" fmla="*/ 3746918 h 6864349"/>
              <a:gd name="connsiteX73" fmla="*/ 2200143 w 7978774"/>
              <a:gd name="connsiteY73" fmla="*/ 4009963 h 6864349"/>
              <a:gd name="connsiteX74" fmla="*/ 1830490 w 7978774"/>
              <a:gd name="connsiteY74" fmla="*/ 4699566 h 6864349"/>
              <a:gd name="connsiteX75" fmla="*/ 2214360 w 7978774"/>
              <a:gd name="connsiteY75" fmla="*/ 4845306 h 6864349"/>
              <a:gd name="connsiteX76" fmla="*/ 2736849 w 7978774"/>
              <a:gd name="connsiteY76" fmla="*/ 5542018 h 6864349"/>
              <a:gd name="connsiteX77" fmla="*/ 2736849 w 7978774"/>
              <a:gd name="connsiteY77" fmla="*/ 6768373 h 6864349"/>
              <a:gd name="connsiteX78" fmla="*/ 2640882 w 7978774"/>
              <a:gd name="connsiteY78" fmla="*/ 6864349 h 6864349"/>
              <a:gd name="connsiteX79" fmla="*/ 92413 w 7978774"/>
              <a:gd name="connsiteY79" fmla="*/ 6864349 h 6864349"/>
              <a:gd name="connsiteX80" fmla="*/ 0 w 7978774"/>
              <a:gd name="connsiteY80" fmla="*/ 6768373 h 6864349"/>
              <a:gd name="connsiteX81" fmla="*/ 0 w 7978774"/>
              <a:gd name="connsiteY81" fmla="*/ 5534909 h 6864349"/>
              <a:gd name="connsiteX82" fmla="*/ 518935 w 7978774"/>
              <a:gd name="connsiteY82" fmla="*/ 4845306 h 6864349"/>
              <a:gd name="connsiteX83" fmla="*/ 902805 w 7978774"/>
              <a:gd name="connsiteY83" fmla="*/ 4699566 h 6864349"/>
              <a:gd name="connsiteX84" fmla="*/ 536706 w 7978774"/>
              <a:gd name="connsiteY84" fmla="*/ 4009963 h 6864349"/>
              <a:gd name="connsiteX85" fmla="*/ 863707 w 7978774"/>
              <a:gd name="connsiteY85" fmla="*/ 3352352 h 6864349"/>
              <a:gd name="connsiteX86" fmla="*/ 877924 w 7978774"/>
              <a:gd name="connsiteY86" fmla="*/ 3341688 h 6864349"/>
              <a:gd name="connsiteX87" fmla="*/ 952565 w 7978774"/>
              <a:gd name="connsiteY87" fmla="*/ 3291924 h 6864349"/>
              <a:gd name="connsiteX88" fmla="*/ 1009435 w 7978774"/>
              <a:gd name="connsiteY88" fmla="*/ 3263486 h 6864349"/>
              <a:gd name="connsiteX89" fmla="*/ 1076968 w 7978774"/>
              <a:gd name="connsiteY89" fmla="*/ 3231494 h 6864349"/>
              <a:gd name="connsiteX90" fmla="*/ 1162272 w 7978774"/>
              <a:gd name="connsiteY90" fmla="*/ 3206611 h 6864349"/>
              <a:gd name="connsiteX91" fmla="*/ 1215587 w 7978774"/>
              <a:gd name="connsiteY91" fmla="*/ 3192393 h 6864349"/>
              <a:gd name="connsiteX92" fmla="*/ 1368425 w 7978774"/>
              <a:gd name="connsiteY92" fmla="*/ 3178174 h 6864349"/>
              <a:gd name="connsiteX93" fmla="*/ 6610349 w 7978774"/>
              <a:gd name="connsiteY93" fmla="*/ 3178174 h 6864349"/>
              <a:gd name="connsiteX94" fmla="*/ 6759632 w 7978774"/>
              <a:gd name="connsiteY94" fmla="*/ 3192393 h 6864349"/>
              <a:gd name="connsiteX95" fmla="*/ 6805838 w 7978774"/>
              <a:gd name="connsiteY95" fmla="*/ 3203057 h 6864349"/>
              <a:gd name="connsiteX96" fmla="*/ 6898252 w 7978774"/>
              <a:gd name="connsiteY96" fmla="*/ 3231494 h 6864349"/>
              <a:gd name="connsiteX97" fmla="*/ 6951567 w 7978774"/>
              <a:gd name="connsiteY97" fmla="*/ 3252822 h 6864349"/>
              <a:gd name="connsiteX98" fmla="*/ 7019100 w 7978774"/>
              <a:gd name="connsiteY98" fmla="*/ 3291924 h 6864349"/>
              <a:gd name="connsiteX99" fmla="*/ 7385198 w 7978774"/>
              <a:gd name="connsiteY99" fmla="*/ 3714926 h 6864349"/>
              <a:gd name="connsiteX100" fmla="*/ 7395861 w 7978774"/>
              <a:gd name="connsiteY100" fmla="*/ 3746918 h 6864349"/>
              <a:gd name="connsiteX101" fmla="*/ 7442067 w 7978774"/>
              <a:gd name="connsiteY101" fmla="*/ 4009963 h 6864349"/>
              <a:gd name="connsiteX102" fmla="*/ 7072415 w 7978774"/>
              <a:gd name="connsiteY102" fmla="*/ 4699566 h 6864349"/>
              <a:gd name="connsiteX103" fmla="*/ 7456285 w 7978774"/>
              <a:gd name="connsiteY103" fmla="*/ 4845306 h 6864349"/>
              <a:gd name="connsiteX104" fmla="*/ 7978774 w 7978774"/>
              <a:gd name="connsiteY104" fmla="*/ 5542018 h 6864349"/>
              <a:gd name="connsiteX105" fmla="*/ 7978774 w 7978774"/>
              <a:gd name="connsiteY105" fmla="*/ 6768373 h 6864349"/>
              <a:gd name="connsiteX106" fmla="*/ 7882807 w 7978774"/>
              <a:gd name="connsiteY106" fmla="*/ 6864349 h 6864349"/>
              <a:gd name="connsiteX107" fmla="*/ 5334337 w 7978774"/>
              <a:gd name="connsiteY107" fmla="*/ 6864349 h 6864349"/>
              <a:gd name="connsiteX108" fmla="*/ 5241924 w 7978774"/>
              <a:gd name="connsiteY108" fmla="*/ 6768373 h 6864349"/>
              <a:gd name="connsiteX109" fmla="*/ 5241924 w 7978774"/>
              <a:gd name="connsiteY109" fmla="*/ 5534909 h 6864349"/>
              <a:gd name="connsiteX110" fmla="*/ 5760859 w 7978774"/>
              <a:gd name="connsiteY110" fmla="*/ 4845306 h 6864349"/>
              <a:gd name="connsiteX111" fmla="*/ 6144729 w 7978774"/>
              <a:gd name="connsiteY111" fmla="*/ 4699566 h 6864349"/>
              <a:gd name="connsiteX112" fmla="*/ 5778631 w 7978774"/>
              <a:gd name="connsiteY112" fmla="*/ 4009963 h 6864349"/>
              <a:gd name="connsiteX113" fmla="*/ 6105631 w 7978774"/>
              <a:gd name="connsiteY113" fmla="*/ 3352352 h 6864349"/>
              <a:gd name="connsiteX114" fmla="*/ 6119849 w 7978774"/>
              <a:gd name="connsiteY114" fmla="*/ 3341688 h 6864349"/>
              <a:gd name="connsiteX115" fmla="*/ 6194490 w 7978774"/>
              <a:gd name="connsiteY115" fmla="*/ 3291924 h 6864349"/>
              <a:gd name="connsiteX116" fmla="*/ 6251360 w 7978774"/>
              <a:gd name="connsiteY116" fmla="*/ 3263486 h 6864349"/>
              <a:gd name="connsiteX117" fmla="*/ 6318892 w 7978774"/>
              <a:gd name="connsiteY117" fmla="*/ 3231494 h 6864349"/>
              <a:gd name="connsiteX118" fmla="*/ 6404197 w 7978774"/>
              <a:gd name="connsiteY118" fmla="*/ 3206611 h 6864349"/>
              <a:gd name="connsiteX119" fmla="*/ 6457512 w 7978774"/>
              <a:gd name="connsiteY119" fmla="*/ 3192393 h 6864349"/>
              <a:gd name="connsiteX120" fmla="*/ 6610349 w 7978774"/>
              <a:gd name="connsiteY120" fmla="*/ 3178174 h 6864349"/>
              <a:gd name="connsiteX121" fmla="*/ 4009231 w 7978774"/>
              <a:gd name="connsiteY121" fmla="*/ 1663700 h 6864349"/>
              <a:gd name="connsiteX122" fmla="*/ 3248431 w 7978774"/>
              <a:gd name="connsiteY122" fmla="*/ 1830745 h 6864349"/>
              <a:gd name="connsiteX123" fmla="*/ 2828924 w 7978774"/>
              <a:gd name="connsiteY123" fmla="*/ 2356759 h 6864349"/>
              <a:gd name="connsiteX124" fmla="*/ 2828924 w 7978774"/>
              <a:gd name="connsiteY124" fmla="*/ 3494087 h 6864349"/>
              <a:gd name="connsiteX125" fmla="*/ 3177328 w 7978774"/>
              <a:gd name="connsiteY125" fmla="*/ 3494087 h 6864349"/>
              <a:gd name="connsiteX126" fmla="*/ 3177328 w 7978774"/>
              <a:gd name="connsiteY126" fmla="*/ 2705066 h 6864349"/>
              <a:gd name="connsiteX127" fmla="*/ 3269762 w 7978774"/>
              <a:gd name="connsiteY127" fmla="*/ 2612658 h 6864349"/>
              <a:gd name="connsiteX128" fmla="*/ 3362196 w 7978774"/>
              <a:gd name="connsiteY128" fmla="*/ 2705066 h 6864349"/>
              <a:gd name="connsiteX129" fmla="*/ 3362196 w 7978774"/>
              <a:gd name="connsiteY129" fmla="*/ 3494087 h 6864349"/>
              <a:gd name="connsiteX130" fmla="*/ 4652711 w 7978774"/>
              <a:gd name="connsiteY130" fmla="*/ 3494087 h 6864349"/>
              <a:gd name="connsiteX131" fmla="*/ 4652711 w 7978774"/>
              <a:gd name="connsiteY131" fmla="*/ 2705066 h 6864349"/>
              <a:gd name="connsiteX132" fmla="*/ 4748700 w 7978774"/>
              <a:gd name="connsiteY132" fmla="*/ 2612658 h 6864349"/>
              <a:gd name="connsiteX133" fmla="*/ 4841133 w 7978774"/>
              <a:gd name="connsiteY133" fmla="*/ 2705066 h 6864349"/>
              <a:gd name="connsiteX134" fmla="*/ 4841133 w 7978774"/>
              <a:gd name="connsiteY134" fmla="*/ 3494087 h 6864349"/>
              <a:gd name="connsiteX135" fmla="*/ 5189537 w 7978774"/>
              <a:gd name="connsiteY135" fmla="*/ 3494087 h 6864349"/>
              <a:gd name="connsiteX136" fmla="*/ 5189537 w 7978774"/>
              <a:gd name="connsiteY136" fmla="*/ 2363867 h 6864349"/>
              <a:gd name="connsiteX137" fmla="*/ 4766476 w 7978774"/>
              <a:gd name="connsiteY137" fmla="*/ 1830745 h 6864349"/>
              <a:gd name="connsiteX138" fmla="*/ 4009231 w 7978774"/>
              <a:gd name="connsiteY138" fmla="*/ 1663700 h 6864349"/>
              <a:gd name="connsiteX139" fmla="*/ 3724983 w 7978774"/>
              <a:gd name="connsiteY139" fmla="*/ 507999 h 6864349"/>
              <a:gd name="connsiteX140" fmla="*/ 3380102 w 7978774"/>
              <a:gd name="connsiteY140" fmla="*/ 692827 h 6864349"/>
              <a:gd name="connsiteX141" fmla="*/ 3362325 w 7978774"/>
              <a:gd name="connsiteY141" fmla="*/ 831447 h 6864349"/>
              <a:gd name="connsiteX142" fmla="*/ 4009421 w 7978774"/>
              <a:gd name="connsiteY142" fmla="*/ 1474788 h 6864349"/>
              <a:gd name="connsiteX143" fmla="*/ 4652962 w 7978774"/>
              <a:gd name="connsiteY143" fmla="*/ 831447 h 6864349"/>
              <a:gd name="connsiteX144" fmla="*/ 4628074 w 7978774"/>
              <a:gd name="connsiteY144" fmla="*/ 660837 h 6864349"/>
              <a:gd name="connsiteX145" fmla="*/ 3724983 w 7978774"/>
              <a:gd name="connsiteY145" fmla="*/ 507999 h 6864349"/>
              <a:gd name="connsiteX146" fmla="*/ 4008437 w 7978774"/>
              <a:gd name="connsiteY146" fmla="*/ 0 h 6864349"/>
              <a:gd name="connsiteX147" fmla="*/ 4157720 w 7978774"/>
              <a:gd name="connsiteY147" fmla="*/ 14220 h 6864349"/>
              <a:gd name="connsiteX148" fmla="*/ 4203926 w 7978774"/>
              <a:gd name="connsiteY148" fmla="*/ 24885 h 6864349"/>
              <a:gd name="connsiteX149" fmla="*/ 4296340 w 7978774"/>
              <a:gd name="connsiteY149" fmla="*/ 53325 h 6864349"/>
              <a:gd name="connsiteX150" fmla="*/ 4349655 w 7978774"/>
              <a:gd name="connsiteY150" fmla="*/ 74655 h 6864349"/>
              <a:gd name="connsiteX151" fmla="*/ 4417188 w 7978774"/>
              <a:gd name="connsiteY151" fmla="*/ 110205 h 6864349"/>
              <a:gd name="connsiteX152" fmla="*/ 4783286 w 7978774"/>
              <a:gd name="connsiteY152" fmla="*/ 536808 h 6864349"/>
              <a:gd name="connsiteX153" fmla="*/ 4793949 w 7978774"/>
              <a:gd name="connsiteY153" fmla="*/ 565248 h 6864349"/>
              <a:gd name="connsiteX154" fmla="*/ 4840155 w 7978774"/>
              <a:gd name="connsiteY154" fmla="*/ 831874 h 6864349"/>
              <a:gd name="connsiteX155" fmla="*/ 4470503 w 7978774"/>
              <a:gd name="connsiteY155" fmla="*/ 1521548 h 6864349"/>
              <a:gd name="connsiteX156" fmla="*/ 4854373 w 7978774"/>
              <a:gd name="connsiteY156" fmla="*/ 1663749 h 6864349"/>
              <a:gd name="connsiteX157" fmla="*/ 5376862 w 7978774"/>
              <a:gd name="connsiteY157" fmla="*/ 2364087 h 6864349"/>
              <a:gd name="connsiteX158" fmla="*/ 5376862 w 7978774"/>
              <a:gd name="connsiteY158" fmla="*/ 3590568 h 6864349"/>
              <a:gd name="connsiteX159" fmla="*/ 5280895 w 7978774"/>
              <a:gd name="connsiteY159" fmla="*/ 3682999 h 6864349"/>
              <a:gd name="connsiteX160" fmla="*/ 2732425 w 7978774"/>
              <a:gd name="connsiteY160" fmla="*/ 3682999 h 6864349"/>
              <a:gd name="connsiteX161" fmla="*/ 2640012 w 7978774"/>
              <a:gd name="connsiteY161" fmla="*/ 3590568 h 6864349"/>
              <a:gd name="connsiteX162" fmla="*/ 2640012 w 7978774"/>
              <a:gd name="connsiteY162" fmla="*/ 2356977 h 6864349"/>
              <a:gd name="connsiteX163" fmla="*/ 3158947 w 7978774"/>
              <a:gd name="connsiteY163" fmla="*/ 1663749 h 6864349"/>
              <a:gd name="connsiteX164" fmla="*/ 3542818 w 7978774"/>
              <a:gd name="connsiteY164" fmla="*/ 1521548 h 6864349"/>
              <a:gd name="connsiteX165" fmla="*/ 3176719 w 7978774"/>
              <a:gd name="connsiteY165" fmla="*/ 831874 h 6864349"/>
              <a:gd name="connsiteX166" fmla="*/ 3503719 w 7978774"/>
              <a:gd name="connsiteY166" fmla="*/ 174196 h 6864349"/>
              <a:gd name="connsiteX167" fmla="*/ 3517937 w 7978774"/>
              <a:gd name="connsiteY167" fmla="*/ 163531 h 6864349"/>
              <a:gd name="connsiteX168" fmla="*/ 3592579 w 7978774"/>
              <a:gd name="connsiteY168" fmla="*/ 113760 h 6864349"/>
              <a:gd name="connsiteX169" fmla="*/ 3649448 w 7978774"/>
              <a:gd name="connsiteY169" fmla="*/ 81765 h 6864349"/>
              <a:gd name="connsiteX170" fmla="*/ 3716980 w 7978774"/>
              <a:gd name="connsiteY170" fmla="*/ 53325 h 6864349"/>
              <a:gd name="connsiteX171" fmla="*/ 3802285 w 7978774"/>
              <a:gd name="connsiteY171" fmla="*/ 28440 h 6864349"/>
              <a:gd name="connsiteX172" fmla="*/ 3855600 w 7978774"/>
              <a:gd name="connsiteY172" fmla="*/ 14220 h 6864349"/>
              <a:gd name="connsiteX173" fmla="*/ 4008437 w 7978774"/>
              <a:gd name="connsiteY173" fmla="*/ 0 h 6864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Lst>
            <a:rect l="l" t="t" r="r" b="b"/>
            <a:pathLst>
              <a:path w="7978774" h="6864349">
                <a:moveTo>
                  <a:pt x="6610350" y="4841874"/>
                </a:moveTo>
                <a:cubicBezTo>
                  <a:pt x="6297708" y="4841874"/>
                  <a:pt x="6070332" y="4891622"/>
                  <a:pt x="5850062" y="5008885"/>
                </a:cubicBezTo>
                <a:cubicBezTo>
                  <a:pt x="5693741" y="5094167"/>
                  <a:pt x="5430837" y="5275391"/>
                  <a:pt x="5430837" y="5534790"/>
                </a:cubicBezTo>
                <a:cubicBezTo>
                  <a:pt x="5430837" y="5534790"/>
                  <a:pt x="5430837" y="5534790"/>
                  <a:pt x="5430837" y="6675437"/>
                </a:cubicBezTo>
                <a:cubicBezTo>
                  <a:pt x="5430837" y="6675437"/>
                  <a:pt x="5430837" y="6675437"/>
                  <a:pt x="5779007" y="6675437"/>
                </a:cubicBezTo>
                <a:cubicBezTo>
                  <a:pt x="5779007" y="6675437"/>
                  <a:pt x="5779007" y="6675437"/>
                  <a:pt x="5779007" y="5883025"/>
                </a:cubicBezTo>
                <a:cubicBezTo>
                  <a:pt x="5779007" y="5833277"/>
                  <a:pt x="5818087" y="5790636"/>
                  <a:pt x="5871378" y="5790636"/>
                </a:cubicBezTo>
                <a:cubicBezTo>
                  <a:pt x="5924669" y="5790636"/>
                  <a:pt x="5963749" y="5833277"/>
                  <a:pt x="5963749" y="5883025"/>
                </a:cubicBezTo>
                <a:cubicBezTo>
                  <a:pt x="5963749" y="5883025"/>
                  <a:pt x="5963749" y="5883025"/>
                  <a:pt x="5963749" y="6675437"/>
                </a:cubicBezTo>
                <a:cubicBezTo>
                  <a:pt x="5963749" y="6675437"/>
                  <a:pt x="5963749" y="6675437"/>
                  <a:pt x="7253397" y="6675437"/>
                </a:cubicBezTo>
                <a:cubicBezTo>
                  <a:pt x="7253397" y="6675437"/>
                  <a:pt x="7253397" y="6675437"/>
                  <a:pt x="7253397" y="5883025"/>
                </a:cubicBezTo>
                <a:cubicBezTo>
                  <a:pt x="7253397" y="5833277"/>
                  <a:pt x="7296030" y="5790636"/>
                  <a:pt x="7349321" y="5790636"/>
                </a:cubicBezTo>
                <a:cubicBezTo>
                  <a:pt x="7399060" y="5790636"/>
                  <a:pt x="7441693" y="5833277"/>
                  <a:pt x="7441693" y="5883025"/>
                </a:cubicBezTo>
                <a:cubicBezTo>
                  <a:pt x="7441693" y="5883025"/>
                  <a:pt x="7441693" y="5883025"/>
                  <a:pt x="7441693" y="6675437"/>
                </a:cubicBezTo>
                <a:cubicBezTo>
                  <a:pt x="7441693" y="6675437"/>
                  <a:pt x="7441693" y="6675437"/>
                  <a:pt x="7789862" y="6675437"/>
                </a:cubicBezTo>
                <a:lnTo>
                  <a:pt x="7789862" y="5541897"/>
                </a:lnTo>
                <a:cubicBezTo>
                  <a:pt x="7789862" y="5257624"/>
                  <a:pt x="7466562" y="5062186"/>
                  <a:pt x="7367085" y="5008885"/>
                </a:cubicBezTo>
                <a:cubicBezTo>
                  <a:pt x="7146815" y="4891622"/>
                  <a:pt x="6922992" y="4841874"/>
                  <a:pt x="6610350" y="4841874"/>
                </a:cubicBezTo>
                <a:close/>
                <a:moveTo>
                  <a:pt x="1368425" y="4841874"/>
                </a:moveTo>
                <a:cubicBezTo>
                  <a:pt x="1055783" y="4841874"/>
                  <a:pt x="828407" y="4891622"/>
                  <a:pt x="608137" y="5008885"/>
                </a:cubicBezTo>
                <a:cubicBezTo>
                  <a:pt x="451816" y="5094167"/>
                  <a:pt x="188912" y="5275391"/>
                  <a:pt x="188912" y="5534790"/>
                </a:cubicBezTo>
                <a:cubicBezTo>
                  <a:pt x="188912" y="5534790"/>
                  <a:pt x="188912" y="5534790"/>
                  <a:pt x="188912" y="6675437"/>
                </a:cubicBezTo>
                <a:cubicBezTo>
                  <a:pt x="188912" y="6675437"/>
                  <a:pt x="188912" y="6675437"/>
                  <a:pt x="537082" y="6675437"/>
                </a:cubicBezTo>
                <a:cubicBezTo>
                  <a:pt x="537082" y="6675437"/>
                  <a:pt x="537082" y="6675437"/>
                  <a:pt x="537082" y="5883025"/>
                </a:cubicBezTo>
                <a:cubicBezTo>
                  <a:pt x="537082" y="5833277"/>
                  <a:pt x="576162" y="5790636"/>
                  <a:pt x="629453" y="5790636"/>
                </a:cubicBezTo>
                <a:cubicBezTo>
                  <a:pt x="682744" y="5790636"/>
                  <a:pt x="721825" y="5833277"/>
                  <a:pt x="721825" y="5883025"/>
                </a:cubicBezTo>
                <a:cubicBezTo>
                  <a:pt x="721825" y="5883025"/>
                  <a:pt x="721825" y="5883025"/>
                  <a:pt x="721825" y="6675437"/>
                </a:cubicBezTo>
                <a:cubicBezTo>
                  <a:pt x="721825" y="6675437"/>
                  <a:pt x="721825" y="6675437"/>
                  <a:pt x="2011472" y="6675437"/>
                </a:cubicBezTo>
                <a:cubicBezTo>
                  <a:pt x="2011472" y="6675437"/>
                  <a:pt x="2011472" y="6675437"/>
                  <a:pt x="2011472" y="5883025"/>
                </a:cubicBezTo>
                <a:cubicBezTo>
                  <a:pt x="2011472" y="5833277"/>
                  <a:pt x="2054106" y="5790636"/>
                  <a:pt x="2107397" y="5790636"/>
                </a:cubicBezTo>
                <a:cubicBezTo>
                  <a:pt x="2157135" y="5790636"/>
                  <a:pt x="2199768" y="5833277"/>
                  <a:pt x="2199768" y="5883025"/>
                </a:cubicBezTo>
                <a:cubicBezTo>
                  <a:pt x="2199768" y="5883025"/>
                  <a:pt x="2199768" y="5883025"/>
                  <a:pt x="2199768" y="6675437"/>
                </a:cubicBezTo>
                <a:cubicBezTo>
                  <a:pt x="2199768" y="6675437"/>
                  <a:pt x="2199768" y="6675437"/>
                  <a:pt x="2547937" y="6675437"/>
                </a:cubicBezTo>
                <a:lnTo>
                  <a:pt x="2547937" y="5541897"/>
                </a:lnTo>
                <a:cubicBezTo>
                  <a:pt x="2547937" y="5257624"/>
                  <a:pt x="2224637" y="5062186"/>
                  <a:pt x="2125160" y="5008885"/>
                </a:cubicBezTo>
                <a:cubicBezTo>
                  <a:pt x="1908443" y="4891622"/>
                  <a:pt x="1681067" y="4841874"/>
                  <a:pt x="1368425" y="4841874"/>
                </a:cubicBezTo>
                <a:close/>
                <a:moveTo>
                  <a:pt x="3983831" y="4006849"/>
                </a:moveTo>
                <a:cubicBezTo>
                  <a:pt x="4033597" y="4006849"/>
                  <a:pt x="4076255" y="4049478"/>
                  <a:pt x="4076255" y="4099212"/>
                </a:cubicBezTo>
                <a:cubicBezTo>
                  <a:pt x="4076255" y="4099212"/>
                  <a:pt x="4076255" y="4099212"/>
                  <a:pt x="4076255" y="4873640"/>
                </a:cubicBezTo>
                <a:cubicBezTo>
                  <a:pt x="4076255" y="4873640"/>
                  <a:pt x="4076255" y="4873640"/>
                  <a:pt x="4748106" y="5282169"/>
                </a:cubicBezTo>
                <a:cubicBezTo>
                  <a:pt x="4794318" y="5310588"/>
                  <a:pt x="4808537" y="5367427"/>
                  <a:pt x="4780099" y="5410056"/>
                </a:cubicBezTo>
                <a:cubicBezTo>
                  <a:pt x="4762325" y="5442028"/>
                  <a:pt x="4730332" y="5456237"/>
                  <a:pt x="4698339" y="5456237"/>
                </a:cubicBezTo>
                <a:cubicBezTo>
                  <a:pt x="4684120" y="5456237"/>
                  <a:pt x="4666346" y="5452685"/>
                  <a:pt x="4652127" y="5442028"/>
                </a:cubicBezTo>
                <a:cubicBezTo>
                  <a:pt x="4652127" y="5442028"/>
                  <a:pt x="4652127" y="5442028"/>
                  <a:pt x="3983831" y="5033499"/>
                </a:cubicBezTo>
                <a:cubicBezTo>
                  <a:pt x="3983831" y="5033499"/>
                  <a:pt x="3983831" y="5033499"/>
                  <a:pt x="3311980" y="5431370"/>
                </a:cubicBezTo>
                <a:cubicBezTo>
                  <a:pt x="3297761" y="5438475"/>
                  <a:pt x="3279987" y="5442028"/>
                  <a:pt x="3265767" y="5442028"/>
                </a:cubicBezTo>
                <a:cubicBezTo>
                  <a:pt x="3233775" y="5442028"/>
                  <a:pt x="3201782" y="5427818"/>
                  <a:pt x="3184008" y="5395846"/>
                </a:cubicBezTo>
                <a:cubicBezTo>
                  <a:pt x="3159124" y="5353217"/>
                  <a:pt x="3173343" y="5292826"/>
                  <a:pt x="3216001" y="5267959"/>
                </a:cubicBezTo>
                <a:cubicBezTo>
                  <a:pt x="3216001" y="5267959"/>
                  <a:pt x="3216001" y="5267959"/>
                  <a:pt x="3887852" y="4873640"/>
                </a:cubicBezTo>
                <a:cubicBezTo>
                  <a:pt x="3887852" y="4873640"/>
                  <a:pt x="3887852" y="4873640"/>
                  <a:pt x="3887852" y="4099212"/>
                </a:cubicBezTo>
                <a:cubicBezTo>
                  <a:pt x="3887852" y="4049478"/>
                  <a:pt x="3930509" y="4006849"/>
                  <a:pt x="3983831" y="4006849"/>
                </a:cubicBezTo>
                <a:close/>
                <a:moveTo>
                  <a:pt x="6326450" y="3686174"/>
                </a:moveTo>
                <a:cubicBezTo>
                  <a:pt x="6326450" y="3686174"/>
                  <a:pt x="6326450" y="3686174"/>
                  <a:pt x="5981993" y="3871001"/>
                </a:cubicBezTo>
                <a:cubicBezTo>
                  <a:pt x="5971339" y="3917208"/>
                  <a:pt x="5964237" y="3963415"/>
                  <a:pt x="5964237" y="4009622"/>
                </a:cubicBezTo>
                <a:cubicBezTo>
                  <a:pt x="5964237" y="4365058"/>
                  <a:pt x="6255428" y="4652962"/>
                  <a:pt x="6610538" y="4652962"/>
                </a:cubicBezTo>
                <a:cubicBezTo>
                  <a:pt x="6965648" y="4652962"/>
                  <a:pt x="7253287" y="4365058"/>
                  <a:pt x="7253287" y="4009622"/>
                </a:cubicBezTo>
                <a:cubicBezTo>
                  <a:pt x="7253287" y="3949197"/>
                  <a:pt x="7242634" y="3895882"/>
                  <a:pt x="7228429" y="3842566"/>
                </a:cubicBezTo>
                <a:cubicBezTo>
                  <a:pt x="7228429" y="3842566"/>
                  <a:pt x="7228429" y="3842566"/>
                  <a:pt x="6326450" y="3686174"/>
                </a:cubicBezTo>
                <a:close/>
                <a:moveTo>
                  <a:pt x="1083383" y="3686174"/>
                </a:moveTo>
                <a:cubicBezTo>
                  <a:pt x="1083383" y="3686174"/>
                  <a:pt x="1083383" y="3686174"/>
                  <a:pt x="738502" y="3871001"/>
                </a:cubicBezTo>
                <a:cubicBezTo>
                  <a:pt x="727835" y="3917208"/>
                  <a:pt x="720724" y="3963415"/>
                  <a:pt x="720724" y="4009622"/>
                </a:cubicBezTo>
                <a:cubicBezTo>
                  <a:pt x="720724" y="4365058"/>
                  <a:pt x="1012273" y="4652962"/>
                  <a:pt x="1367821" y="4652962"/>
                </a:cubicBezTo>
                <a:cubicBezTo>
                  <a:pt x="1723369" y="4652962"/>
                  <a:pt x="2011362" y="4365058"/>
                  <a:pt x="2011362" y="4009622"/>
                </a:cubicBezTo>
                <a:cubicBezTo>
                  <a:pt x="2011362" y="3949197"/>
                  <a:pt x="2000696" y="3895882"/>
                  <a:pt x="1986474" y="3842566"/>
                </a:cubicBezTo>
                <a:cubicBezTo>
                  <a:pt x="1986474" y="3842566"/>
                  <a:pt x="1986474" y="3842566"/>
                  <a:pt x="1083383" y="3686174"/>
                </a:cubicBezTo>
                <a:close/>
                <a:moveTo>
                  <a:pt x="1368425" y="3178174"/>
                </a:moveTo>
                <a:cubicBezTo>
                  <a:pt x="1418185" y="3178174"/>
                  <a:pt x="1467946" y="3185284"/>
                  <a:pt x="1517707" y="3192393"/>
                </a:cubicBezTo>
                <a:cubicBezTo>
                  <a:pt x="1531925" y="3195948"/>
                  <a:pt x="1549697" y="3199502"/>
                  <a:pt x="1563914" y="3203057"/>
                </a:cubicBezTo>
                <a:cubicBezTo>
                  <a:pt x="1595903" y="3210167"/>
                  <a:pt x="1627892" y="3220830"/>
                  <a:pt x="1656327" y="3231494"/>
                </a:cubicBezTo>
                <a:cubicBezTo>
                  <a:pt x="1674099" y="3238604"/>
                  <a:pt x="1691871" y="3245713"/>
                  <a:pt x="1709642" y="3252822"/>
                </a:cubicBezTo>
                <a:cubicBezTo>
                  <a:pt x="1734523" y="3263486"/>
                  <a:pt x="1755849" y="3277704"/>
                  <a:pt x="1777175" y="3291924"/>
                </a:cubicBezTo>
                <a:cubicBezTo>
                  <a:pt x="1944229" y="3384344"/>
                  <a:pt x="2075740" y="3533639"/>
                  <a:pt x="2143273" y="3714926"/>
                </a:cubicBezTo>
                <a:cubicBezTo>
                  <a:pt x="2146827" y="3725590"/>
                  <a:pt x="2150382" y="3736254"/>
                  <a:pt x="2153936" y="3746918"/>
                </a:cubicBezTo>
                <a:cubicBezTo>
                  <a:pt x="2182371" y="3828675"/>
                  <a:pt x="2200143" y="3917542"/>
                  <a:pt x="2200143" y="4009963"/>
                </a:cubicBezTo>
                <a:cubicBezTo>
                  <a:pt x="2200143" y="4297890"/>
                  <a:pt x="2054414" y="4550270"/>
                  <a:pt x="1830490" y="4699566"/>
                </a:cubicBezTo>
                <a:cubicBezTo>
                  <a:pt x="1969110" y="4731557"/>
                  <a:pt x="2093512" y="4777768"/>
                  <a:pt x="2214360" y="4845306"/>
                </a:cubicBezTo>
                <a:cubicBezTo>
                  <a:pt x="2370751" y="4927063"/>
                  <a:pt x="2736849" y="5161670"/>
                  <a:pt x="2736849" y="5542018"/>
                </a:cubicBezTo>
                <a:cubicBezTo>
                  <a:pt x="2736849" y="5542018"/>
                  <a:pt x="2736849" y="5542018"/>
                  <a:pt x="2736849" y="6768373"/>
                </a:cubicBezTo>
                <a:cubicBezTo>
                  <a:pt x="2736849" y="6821693"/>
                  <a:pt x="2694197" y="6864349"/>
                  <a:pt x="2640882" y="6864349"/>
                </a:cubicBezTo>
                <a:cubicBezTo>
                  <a:pt x="2640882" y="6864349"/>
                  <a:pt x="2640882" y="6864349"/>
                  <a:pt x="92413" y="6864349"/>
                </a:cubicBezTo>
                <a:cubicBezTo>
                  <a:pt x="42652" y="6864349"/>
                  <a:pt x="0" y="6821693"/>
                  <a:pt x="0" y="6768373"/>
                </a:cubicBezTo>
                <a:cubicBezTo>
                  <a:pt x="0" y="6768373"/>
                  <a:pt x="0" y="6768373"/>
                  <a:pt x="0" y="5534909"/>
                </a:cubicBezTo>
                <a:cubicBezTo>
                  <a:pt x="0" y="5175889"/>
                  <a:pt x="327000" y="4948391"/>
                  <a:pt x="518935" y="4845306"/>
                </a:cubicBezTo>
                <a:cubicBezTo>
                  <a:pt x="643337" y="4777768"/>
                  <a:pt x="767739" y="4731557"/>
                  <a:pt x="902805" y="4699566"/>
                </a:cubicBezTo>
                <a:cubicBezTo>
                  <a:pt x="682435" y="4550270"/>
                  <a:pt x="536706" y="4297890"/>
                  <a:pt x="536706" y="4009963"/>
                </a:cubicBezTo>
                <a:cubicBezTo>
                  <a:pt x="536706" y="3743364"/>
                  <a:pt x="664663" y="3505202"/>
                  <a:pt x="863707" y="3352352"/>
                </a:cubicBezTo>
                <a:cubicBezTo>
                  <a:pt x="867261" y="3348798"/>
                  <a:pt x="870815" y="3345244"/>
                  <a:pt x="877924" y="3341688"/>
                </a:cubicBezTo>
                <a:cubicBezTo>
                  <a:pt x="902805" y="3323915"/>
                  <a:pt x="927685" y="3306142"/>
                  <a:pt x="952565" y="3291924"/>
                </a:cubicBezTo>
                <a:cubicBezTo>
                  <a:pt x="970337" y="3281260"/>
                  <a:pt x="991663" y="3270595"/>
                  <a:pt x="1009435" y="3263486"/>
                </a:cubicBezTo>
                <a:cubicBezTo>
                  <a:pt x="1030761" y="3252822"/>
                  <a:pt x="1052087" y="3242158"/>
                  <a:pt x="1076968" y="3231494"/>
                </a:cubicBezTo>
                <a:cubicBezTo>
                  <a:pt x="1101848" y="3220830"/>
                  <a:pt x="1133837" y="3213721"/>
                  <a:pt x="1162272" y="3206611"/>
                </a:cubicBezTo>
                <a:cubicBezTo>
                  <a:pt x="1180044" y="3203057"/>
                  <a:pt x="1197816" y="3195948"/>
                  <a:pt x="1215587" y="3192393"/>
                </a:cubicBezTo>
                <a:cubicBezTo>
                  <a:pt x="1265348" y="3185284"/>
                  <a:pt x="1315109" y="3178174"/>
                  <a:pt x="1368425" y="3178174"/>
                </a:cubicBezTo>
                <a:close/>
                <a:moveTo>
                  <a:pt x="6610349" y="3178174"/>
                </a:moveTo>
                <a:cubicBezTo>
                  <a:pt x="6660110" y="3178174"/>
                  <a:pt x="6709871" y="3185283"/>
                  <a:pt x="6759632" y="3192393"/>
                </a:cubicBezTo>
                <a:cubicBezTo>
                  <a:pt x="6773849" y="3195947"/>
                  <a:pt x="6791621" y="3199502"/>
                  <a:pt x="6805838" y="3203057"/>
                </a:cubicBezTo>
                <a:cubicBezTo>
                  <a:pt x="6837828" y="3210167"/>
                  <a:pt x="6869817" y="3220830"/>
                  <a:pt x="6898252" y="3231494"/>
                </a:cubicBezTo>
                <a:cubicBezTo>
                  <a:pt x="6916023" y="3238603"/>
                  <a:pt x="6933795" y="3245713"/>
                  <a:pt x="6951567" y="3252822"/>
                </a:cubicBezTo>
                <a:cubicBezTo>
                  <a:pt x="6976447" y="3263486"/>
                  <a:pt x="6997773" y="3277704"/>
                  <a:pt x="7019100" y="3291924"/>
                </a:cubicBezTo>
                <a:cubicBezTo>
                  <a:pt x="7186154" y="3384344"/>
                  <a:pt x="7317665" y="3533639"/>
                  <a:pt x="7385198" y="3714926"/>
                </a:cubicBezTo>
                <a:cubicBezTo>
                  <a:pt x="7388752" y="3725590"/>
                  <a:pt x="7392306" y="3736254"/>
                  <a:pt x="7395861" y="3746918"/>
                </a:cubicBezTo>
                <a:cubicBezTo>
                  <a:pt x="7424295" y="3828675"/>
                  <a:pt x="7442067" y="3917542"/>
                  <a:pt x="7442067" y="4009963"/>
                </a:cubicBezTo>
                <a:cubicBezTo>
                  <a:pt x="7442067" y="4297890"/>
                  <a:pt x="7296339" y="4550270"/>
                  <a:pt x="7072415" y="4699566"/>
                </a:cubicBezTo>
                <a:cubicBezTo>
                  <a:pt x="7211034" y="4731557"/>
                  <a:pt x="7335437" y="4777768"/>
                  <a:pt x="7456285" y="4845306"/>
                </a:cubicBezTo>
                <a:cubicBezTo>
                  <a:pt x="7612676" y="4927063"/>
                  <a:pt x="7978774" y="5161670"/>
                  <a:pt x="7978774" y="5542018"/>
                </a:cubicBezTo>
                <a:cubicBezTo>
                  <a:pt x="7978774" y="5542018"/>
                  <a:pt x="7978774" y="5542018"/>
                  <a:pt x="7978774" y="6768373"/>
                </a:cubicBezTo>
                <a:cubicBezTo>
                  <a:pt x="7978774" y="6821693"/>
                  <a:pt x="7936122" y="6864349"/>
                  <a:pt x="7882807" y="6864349"/>
                </a:cubicBezTo>
                <a:cubicBezTo>
                  <a:pt x="7882807" y="6864349"/>
                  <a:pt x="7882807" y="6864349"/>
                  <a:pt x="5334337" y="6864349"/>
                </a:cubicBezTo>
                <a:cubicBezTo>
                  <a:pt x="5284576" y="6864349"/>
                  <a:pt x="5241924" y="6821693"/>
                  <a:pt x="5241924" y="6768373"/>
                </a:cubicBezTo>
                <a:cubicBezTo>
                  <a:pt x="5241924" y="6768373"/>
                  <a:pt x="5241924" y="6768373"/>
                  <a:pt x="5241924" y="5534909"/>
                </a:cubicBezTo>
                <a:cubicBezTo>
                  <a:pt x="5241924" y="5175889"/>
                  <a:pt x="5568924" y="4948391"/>
                  <a:pt x="5760859" y="4845306"/>
                </a:cubicBezTo>
                <a:cubicBezTo>
                  <a:pt x="5885262" y="4777768"/>
                  <a:pt x="6009664" y="4731557"/>
                  <a:pt x="6144729" y="4699566"/>
                </a:cubicBezTo>
                <a:cubicBezTo>
                  <a:pt x="5924360" y="4550270"/>
                  <a:pt x="5778631" y="4297890"/>
                  <a:pt x="5778631" y="4009963"/>
                </a:cubicBezTo>
                <a:cubicBezTo>
                  <a:pt x="5778631" y="3743364"/>
                  <a:pt x="5906588" y="3505202"/>
                  <a:pt x="6105631" y="3352352"/>
                </a:cubicBezTo>
                <a:cubicBezTo>
                  <a:pt x="6109186" y="3348797"/>
                  <a:pt x="6112740" y="3345243"/>
                  <a:pt x="6119849" y="3341688"/>
                </a:cubicBezTo>
                <a:cubicBezTo>
                  <a:pt x="6144729" y="3323915"/>
                  <a:pt x="6169610" y="3306141"/>
                  <a:pt x="6194490" y="3291924"/>
                </a:cubicBezTo>
                <a:cubicBezTo>
                  <a:pt x="6212262" y="3281260"/>
                  <a:pt x="6233588" y="3270595"/>
                  <a:pt x="6251360" y="3263486"/>
                </a:cubicBezTo>
                <a:cubicBezTo>
                  <a:pt x="6272686" y="3252822"/>
                  <a:pt x="6294012" y="3242158"/>
                  <a:pt x="6318892" y="3231494"/>
                </a:cubicBezTo>
                <a:cubicBezTo>
                  <a:pt x="6343773" y="3220830"/>
                  <a:pt x="6375762" y="3213721"/>
                  <a:pt x="6404197" y="3206611"/>
                </a:cubicBezTo>
                <a:cubicBezTo>
                  <a:pt x="6421969" y="3203057"/>
                  <a:pt x="6439740" y="3195947"/>
                  <a:pt x="6457512" y="3192393"/>
                </a:cubicBezTo>
                <a:cubicBezTo>
                  <a:pt x="6507273" y="3185283"/>
                  <a:pt x="6557034" y="3178174"/>
                  <a:pt x="6610349" y="3178174"/>
                </a:cubicBezTo>
                <a:close/>
                <a:moveTo>
                  <a:pt x="4009231" y="1663700"/>
                </a:moveTo>
                <a:cubicBezTo>
                  <a:pt x="3696379" y="1663700"/>
                  <a:pt x="3468850" y="1713458"/>
                  <a:pt x="3248431" y="1830745"/>
                </a:cubicBezTo>
                <a:cubicBezTo>
                  <a:pt x="3092005" y="1916044"/>
                  <a:pt x="2828924" y="2093752"/>
                  <a:pt x="2828924" y="2356759"/>
                </a:cubicBezTo>
                <a:lnTo>
                  <a:pt x="2828924" y="3494087"/>
                </a:lnTo>
                <a:cubicBezTo>
                  <a:pt x="2828924" y="3494087"/>
                  <a:pt x="2828924" y="3494087"/>
                  <a:pt x="3177328" y="3494087"/>
                </a:cubicBezTo>
                <a:cubicBezTo>
                  <a:pt x="3177328" y="3494087"/>
                  <a:pt x="3177328" y="3494087"/>
                  <a:pt x="3177328" y="2705066"/>
                </a:cubicBezTo>
                <a:cubicBezTo>
                  <a:pt x="3177328" y="2651753"/>
                  <a:pt x="3216435" y="2612658"/>
                  <a:pt x="3269762" y="2612658"/>
                </a:cubicBezTo>
                <a:cubicBezTo>
                  <a:pt x="3323089" y="2612658"/>
                  <a:pt x="3362196" y="2651753"/>
                  <a:pt x="3362196" y="2705066"/>
                </a:cubicBezTo>
                <a:cubicBezTo>
                  <a:pt x="3362196" y="2705066"/>
                  <a:pt x="3362196" y="2705066"/>
                  <a:pt x="3362196" y="3494087"/>
                </a:cubicBezTo>
                <a:cubicBezTo>
                  <a:pt x="3362196" y="3494087"/>
                  <a:pt x="3362196" y="3494087"/>
                  <a:pt x="4652711" y="3494087"/>
                </a:cubicBezTo>
                <a:cubicBezTo>
                  <a:pt x="4652711" y="3494087"/>
                  <a:pt x="4652711" y="3494087"/>
                  <a:pt x="4652711" y="2705066"/>
                </a:cubicBezTo>
                <a:cubicBezTo>
                  <a:pt x="4652711" y="2651753"/>
                  <a:pt x="4695373" y="2612658"/>
                  <a:pt x="4748700" y="2612658"/>
                </a:cubicBezTo>
                <a:cubicBezTo>
                  <a:pt x="4798472" y="2612658"/>
                  <a:pt x="4841133" y="2651753"/>
                  <a:pt x="4841133" y="2705066"/>
                </a:cubicBezTo>
                <a:cubicBezTo>
                  <a:pt x="4841133" y="2705066"/>
                  <a:pt x="4841133" y="2705066"/>
                  <a:pt x="4841133" y="3494087"/>
                </a:cubicBezTo>
                <a:cubicBezTo>
                  <a:pt x="4841133" y="3494087"/>
                  <a:pt x="4841133" y="3494087"/>
                  <a:pt x="5189537" y="3494087"/>
                </a:cubicBezTo>
                <a:cubicBezTo>
                  <a:pt x="5189537" y="3494087"/>
                  <a:pt x="5189537" y="3494087"/>
                  <a:pt x="5189537" y="2363867"/>
                </a:cubicBezTo>
                <a:cubicBezTo>
                  <a:pt x="5189537" y="2075981"/>
                  <a:pt x="4866019" y="1884057"/>
                  <a:pt x="4766476" y="1830745"/>
                </a:cubicBezTo>
                <a:cubicBezTo>
                  <a:pt x="4546057" y="1713458"/>
                  <a:pt x="4322083" y="1663700"/>
                  <a:pt x="4009231" y="1663700"/>
                </a:cubicBezTo>
                <a:close/>
                <a:moveTo>
                  <a:pt x="3724983" y="507999"/>
                </a:moveTo>
                <a:cubicBezTo>
                  <a:pt x="3724983" y="507999"/>
                  <a:pt x="3724983" y="507999"/>
                  <a:pt x="3380102" y="692827"/>
                </a:cubicBezTo>
                <a:cubicBezTo>
                  <a:pt x="3369436" y="735479"/>
                  <a:pt x="3362325" y="781686"/>
                  <a:pt x="3362325" y="831447"/>
                </a:cubicBezTo>
                <a:cubicBezTo>
                  <a:pt x="3362325" y="1186884"/>
                  <a:pt x="3653873" y="1474788"/>
                  <a:pt x="4009421" y="1474788"/>
                </a:cubicBezTo>
                <a:cubicBezTo>
                  <a:pt x="4364969" y="1474788"/>
                  <a:pt x="4652962" y="1186884"/>
                  <a:pt x="4652962" y="831447"/>
                </a:cubicBezTo>
                <a:cubicBezTo>
                  <a:pt x="4652962" y="771023"/>
                  <a:pt x="4642296" y="717707"/>
                  <a:pt x="4628074" y="660837"/>
                </a:cubicBezTo>
                <a:cubicBezTo>
                  <a:pt x="4628074" y="660837"/>
                  <a:pt x="4628074" y="660837"/>
                  <a:pt x="3724983" y="507999"/>
                </a:cubicBezTo>
                <a:close/>
                <a:moveTo>
                  <a:pt x="4008437" y="0"/>
                </a:moveTo>
                <a:cubicBezTo>
                  <a:pt x="4058198" y="0"/>
                  <a:pt x="4107959" y="3555"/>
                  <a:pt x="4157720" y="14220"/>
                </a:cubicBezTo>
                <a:cubicBezTo>
                  <a:pt x="4171937" y="17775"/>
                  <a:pt x="4189709" y="21330"/>
                  <a:pt x="4203926" y="24885"/>
                </a:cubicBezTo>
                <a:cubicBezTo>
                  <a:pt x="4235916" y="31995"/>
                  <a:pt x="4267905" y="42660"/>
                  <a:pt x="4296340" y="53325"/>
                </a:cubicBezTo>
                <a:cubicBezTo>
                  <a:pt x="4314111" y="60435"/>
                  <a:pt x="4331883" y="67545"/>
                  <a:pt x="4349655" y="74655"/>
                </a:cubicBezTo>
                <a:cubicBezTo>
                  <a:pt x="4374535" y="85320"/>
                  <a:pt x="4395861" y="99540"/>
                  <a:pt x="4417188" y="110205"/>
                </a:cubicBezTo>
                <a:cubicBezTo>
                  <a:pt x="4584242" y="206191"/>
                  <a:pt x="4715753" y="355502"/>
                  <a:pt x="4783286" y="536808"/>
                </a:cubicBezTo>
                <a:cubicBezTo>
                  <a:pt x="4786840" y="547473"/>
                  <a:pt x="4790394" y="554583"/>
                  <a:pt x="4793949" y="565248"/>
                </a:cubicBezTo>
                <a:cubicBezTo>
                  <a:pt x="4822383" y="650568"/>
                  <a:pt x="4840155" y="739444"/>
                  <a:pt x="4840155" y="831874"/>
                </a:cubicBezTo>
                <a:cubicBezTo>
                  <a:pt x="4840155" y="1119831"/>
                  <a:pt x="4694427" y="1372237"/>
                  <a:pt x="4470503" y="1521548"/>
                </a:cubicBezTo>
                <a:cubicBezTo>
                  <a:pt x="4609122" y="1553543"/>
                  <a:pt x="4733525" y="1599758"/>
                  <a:pt x="4854373" y="1663749"/>
                </a:cubicBezTo>
                <a:cubicBezTo>
                  <a:pt x="5010764" y="1749069"/>
                  <a:pt x="5376862" y="1983701"/>
                  <a:pt x="5376862" y="2364087"/>
                </a:cubicBezTo>
                <a:cubicBezTo>
                  <a:pt x="5376862" y="2364087"/>
                  <a:pt x="5376862" y="2364087"/>
                  <a:pt x="5376862" y="3590568"/>
                </a:cubicBezTo>
                <a:cubicBezTo>
                  <a:pt x="5376862" y="3640339"/>
                  <a:pt x="5334210" y="3682999"/>
                  <a:pt x="5280895" y="3682999"/>
                </a:cubicBezTo>
                <a:cubicBezTo>
                  <a:pt x="5280895" y="3682999"/>
                  <a:pt x="5280895" y="3682999"/>
                  <a:pt x="2732425" y="3682999"/>
                </a:cubicBezTo>
                <a:cubicBezTo>
                  <a:pt x="2682664" y="3682999"/>
                  <a:pt x="2640012" y="3640339"/>
                  <a:pt x="2640012" y="3590568"/>
                </a:cubicBezTo>
                <a:cubicBezTo>
                  <a:pt x="2640012" y="3590568"/>
                  <a:pt x="2640012" y="3590568"/>
                  <a:pt x="2640012" y="2356977"/>
                </a:cubicBezTo>
                <a:cubicBezTo>
                  <a:pt x="2640012" y="1997921"/>
                  <a:pt x="2967013" y="1770399"/>
                  <a:pt x="3158947" y="1663749"/>
                </a:cubicBezTo>
                <a:cubicBezTo>
                  <a:pt x="3283350" y="1599758"/>
                  <a:pt x="3407752" y="1553543"/>
                  <a:pt x="3542818" y="1521548"/>
                </a:cubicBezTo>
                <a:cubicBezTo>
                  <a:pt x="3322447" y="1372237"/>
                  <a:pt x="3176719" y="1119831"/>
                  <a:pt x="3176719" y="831874"/>
                </a:cubicBezTo>
                <a:cubicBezTo>
                  <a:pt x="3176719" y="561693"/>
                  <a:pt x="3304676" y="327061"/>
                  <a:pt x="3503719" y="174196"/>
                </a:cubicBezTo>
                <a:cubicBezTo>
                  <a:pt x="3507274" y="170641"/>
                  <a:pt x="3510829" y="167086"/>
                  <a:pt x="3517937" y="163531"/>
                </a:cubicBezTo>
                <a:cubicBezTo>
                  <a:pt x="3542818" y="145755"/>
                  <a:pt x="3567698" y="127980"/>
                  <a:pt x="3592579" y="113760"/>
                </a:cubicBezTo>
                <a:cubicBezTo>
                  <a:pt x="3610350" y="103095"/>
                  <a:pt x="3631676" y="92430"/>
                  <a:pt x="3649448" y="81765"/>
                </a:cubicBezTo>
                <a:cubicBezTo>
                  <a:pt x="3670774" y="71100"/>
                  <a:pt x="3692100" y="63990"/>
                  <a:pt x="3716980" y="53325"/>
                </a:cubicBezTo>
                <a:cubicBezTo>
                  <a:pt x="3741861" y="42660"/>
                  <a:pt x="3773850" y="35550"/>
                  <a:pt x="3802285" y="28440"/>
                </a:cubicBezTo>
                <a:cubicBezTo>
                  <a:pt x="3820057" y="21330"/>
                  <a:pt x="3837829" y="17775"/>
                  <a:pt x="3855600" y="14220"/>
                </a:cubicBezTo>
                <a:cubicBezTo>
                  <a:pt x="3905361" y="3555"/>
                  <a:pt x="3955122" y="0"/>
                  <a:pt x="4008437" y="0"/>
                </a:cubicBezTo>
                <a:close/>
              </a:path>
            </a:pathLst>
          </a:custGeom>
          <a:solidFill>
            <a:srgbClr val="003755"/>
          </a:solidFill>
          <a:ln>
            <a:noFill/>
          </a:ln>
          <a:extLst/>
        </p:spPr>
        <p:txBody>
          <a:bodyPr vert="horz" wrap="square" lIns="91440" tIns="45720" rIns="91440" bIns="45720" numCol="1" anchor="t" anchorCtr="0" compatLnSpc="1">
            <a:prstTxWarp prst="textNoShape">
              <a:avLst/>
            </a:prstTxWarp>
            <a:noAutofit/>
          </a:bodyPr>
          <a:lstStyle/>
          <a:p>
            <a:endParaRPr lang="en-GB" sz="1600" dirty="0">
              <a:latin typeface="Danske Text v2" panose="020B0503040502040204" pitchFamily="34" charset="0"/>
            </a:endParaRPr>
          </a:p>
        </p:txBody>
      </p:sp>
    </p:spTree>
    <p:extLst>
      <p:ext uri="{BB962C8B-B14F-4D97-AF65-F5344CB8AC3E}">
        <p14:creationId xmlns:p14="http://schemas.microsoft.com/office/powerpoint/2010/main" val="85355279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val 25"/>
          <p:cNvSpPr/>
          <p:nvPr/>
        </p:nvSpPr>
        <p:spPr>
          <a:xfrm>
            <a:off x="465083" y="4683444"/>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chemeClr val="tx1"/>
              </a:solidFill>
            </a:endParaRPr>
          </a:p>
        </p:txBody>
      </p:sp>
      <p:sp>
        <p:nvSpPr>
          <p:cNvPr id="5" name="Title 4"/>
          <p:cNvSpPr>
            <a:spLocks noGrp="1"/>
          </p:cNvSpPr>
          <p:nvPr>
            <p:ph type="title"/>
          </p:nvPr>
        </p:nvSpPr>
        <p:spPr/>
        <p:txBody>
          <a:bodyPr/>
          <a:lstStyle/>
          <a:p>
            <a:r>
              <a:rPr lang="en-US" dirty="0"/>
              <a:t>Engagement Report introduction</a:t>
            </a:r>
          </a:p>
        </p:txBody>
      </p:sp>
      <p:sp>
        <p:nvSpPr>
          <p:cNvPr id="17" name="Rectangle 16"/>
          <p:cNvSpPr/>
          <p:nvPr/>
        </p:nvSpPr>
        <p:spPr>
          <a:xfrm>
            <a:off x="1526540" y="1745453"/>
            <a:ext cx="7103110" cy="923330"/>
          </a:xfrm>
          <a:prstGeom prst="rect">
            <a:avLst/>
          </a:prstGeom>
        </p:spPr>
        <p:txBody>
          <a:bodyPr wrap="square">
            <a:spAutoFit/>
          </a:bodyPr>
          <a:lstStyle/>
          <a:p>
            <a:r>
              <a:rPr lang="en-US" dirty="0">
                <a:solidFill>
                  <a:srgbClr val="003755"/>
                </a:solidFill>
                <a:latin typeface="Danske Human Medium Italic" panose="02000603050000020003" pitchFamily="2" charset="0"/>
              </a:rPr>
              <a:t>We believe that fund-manager-driven dialogue with companies is the most effective as the investment teams are the experts of their respective strategies and portfolios, and tasked with the buy/sell decision. </a:t>
            </a:r>
          </a:p>
        </p:txBody>
      </p:sp>
      <p:sp>
        <p:nvSpPr>
          <p:cNvPr id="18" name="Rectangle 17"/>
          <p:cNvSpPr/>
          <p:nvPr/>
        </p:nvSpPr>
        <p:spPr>
          <a:xfrm>
            <a:off x="1526540" y="3143274"/>
            <a:ext cx="6982460" cy="923330"/>
          </a:xfrm>
          <a:prstGeom prst="rect">
            <a:avLst/>
          </a:prstGeom>
        </p:spPr>
        <p:txBody>
          <a:bodyPr wrap="square">
            <a:spAutoFit/>
          </a:bodyPr>
          <a:lstStyle/>
          <a:p>
            <a:r>
              <a:rPr lang="en-US" dirty="0">
                <a:solidFill>
                  <a:srgbClr val="003755"/>
                </a:solidFill>
                <a:latin typeface="Danske Human Medium Italic" panose="02000603050000020003" pitchFamily="2" charset="0"/>
              </a:rPr>
              <a:t>Our investment teams engage on a regular basis with companies on material ESG matters to understand their risks and opportunities, </a:t>
            </a:r>
            <a:r>
              <a:rPr lang="en-US" dirty="0" smtClean="0">
                <a:solidFill>
                  <a:srgbClr val="003755"/>
                </a:solidFill>
                <a:latin typeface="Danske Human Medium Italic" panose="02000603050000020003" pitchFamily="2" charset="0"/>
              </a:rPr>
              <a:t/>
            </a:r>
            <a:br>
              <a:rPr lang="en-US" dirty="0" smtClean="0">
                <a:solidFill>
                  <a:srgbClr val="003755"/>
                </a:solidFill>
                <a:latin typeface="Danske Human Medium Italic" panose="02000603050000020003" pitchFamily="2" charset="0"/>
              </a:rPr>
            </a:br>
            <a:r>
              <a:rPr lang="en-US" dirty="0" smtClean="0">
                <a:solidFill>
                  <a:srgbClr val="003755"/>
                </a:solidFill>
                <a:latin typeface="Danske Human Medium Italic" panose="02000603050000020003" pitchFamily="2" charset="0"/>
              </a:rPr>
              <a:t>and </a:t>
            </a:r>
            <a:r>
              <a:rPr lang="en-US" dirty="0">
                <a:solidFill>
                  <a:srgbClr val="003755"/>
                </a:solidFill>
                <a:latin typeface="Danske Human Medium Italic" panose="02000603050000020003" pitchFamily="2" charset="0"/>
              </a:rPr>
              <a:t>to support their growth and development. </a:t>
            </a:r>
          </a:p>
        </p:txBody>
      </p:sp>
      <p:sp>
        <p:nvSpPr>
          <p:cNvPr id="19" name="Rectangle 18"/>
          <p:cNvSpPr/>
          <p:nvPr/>
        </p:nvSpPr>
        <p:spPr>
          <a:xfrm>
            <a:off x="1526540" y="4696930"/>
            <a:ext cx="6982460" cy="646331"/>
          </a:xfrm>
          <a:prstGeom prst="rect">
            <a:avLst/>
          </a:prstGeom>
        </p:spPr>
        <p:txBody>
          <a:bodyPr wrap="square">
            <a:spAutoFit/>
          </a:bodyPr>
          <a:lstStyle/>
          <a:p>
            <a:r>
              <a:rPr lang="en-US" dirty="0">
                <a:solidFill>
                  <a:srgbClr val="003755"/>
                </a:solidFill>
                <a:latin typeface="Danske Human Medium Italic" panose="02000603050000020003" pitchFamily="2" charset="0"/>
              </a:rPr>
              <a:t>We log and monitor company dialogue and progress to ensure a structured engagement process.</a:t>
            </a:r>
          </a:p>
        </p:txBody>
      </p:sp>
      <p:sp>
        <p:nvSpPr>
          <p:cNvPr id="22" name="Oval 21"/>
          <p:cNvSpPr/>
          <p:nvPr/>
        </p:nvSpPr>
        <p:spPr>
          <a:xfrm>
            <a:off x="465083" y="1860001"/>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chemeClr val="bg1"/>
              </a:solidFill>
            </a:endParaRPr>
          </a:p>
        </p:txBody>
      </p:sp>
      <p:sp>
        <p:nvSpPr>
          <p:cNvPr id="23" name="Rectangle 22"/>
          <p:cNvSpPr/>
          <p:nvPr/>
        </p:nvSpPr>
        <p:spPr>
          <a:xfrm>
            <a:off x="1315842" y="1957113"/>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chemeClr val="bg1"/>
              </a:solidFill>
            </a:endParaRPr>
          </a:p>
        </p:txBody>
      </p:sp>
      <p:sp>
        <p:nvSpPr>
          <p:cNvPr id="27" name="Rectangle 26"/>
          <p:cNvSpPr/>
          <p:nvPr/>
        </p:nvSpPr>
        <p:spPr>
          <a:xfrm>
            <a:off x="1315842" y="4780556"/>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rgbClr val="000000"/>
              </a:solidFill>
            </a:endParaRPr>
          </a:p>
        </p:txBody>
      </p:sp>
      <p:sp>
        <p:nvSpPr>
          <p:cNvPr id="30" name="Oval 29"/>
          <p:cNvSpPr/>
          <p:nvPr/>
        </p:nvSpPr>
        <p:spPr>
          <a:xfrm>
            <a:off x="465083" y="3284435"/>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chemeClr val="tx1"/>
              </a:solidFill>
            </a:endParaRPr>
          </a:p>
        </p:txBody>
      </p:sp>
      <p:sp>
        <p:nvSpPr>
          <p:cNvPr id="31" name="Rectangle 30"/>
          <p:cNvSpPr/>
          <p:nvPr/>
        </p:nvSpPr>
        <p:spPr>
          <a:xfrm>
            <a:off x="1315842" y="3381547"/>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dirty="0" smtClean="0">
              <a:solidFill>
                <a:srgbClr val="000000"/>
              </a:solidFill>
            </a:endParaRPr>
          </a:p>
        </p:txBody>
      </p:sp>
      <p:sp>
        <p:nvSpPr>
          <p:cNvPr id="32" name="Weekly meeting"/>
          <p:cNvSpPr>
            <a:spLocks noChangeAspect="1"/>
          </p:cNvSpPr>
          <p:nvPr>
            <p:custDataLst>
              <p:tags r:id="rId1"/>
            </p:custDataLst>
          </p:nvPr>
        </p:nvSpPr>
        <p:spPr bwMode="auto">
          <a:xfrm>
            <a:off x="591134" y="2021719"/>
            <a:ext cx="463436" cy="317257"/>
          </a:xfrm>
          <a:custGeom>
            <a:avLst/>
            <a:gdLst>
              <a:gd name="connsiteX0" fmla="*/ 1433513 w 2747963"/>
              <a:gd name="connsiteY0" fmla="*/ 927100 h 1881187"/>
              <a:gd name="connsiteX1" fmla="*/ 1433513 w 2747963"/>
              <a:gd name="connsiteY1" fmla="*/ 1017587 h 1881187"/>
              <a:gd name="connsiteX2" fmla="*/ 1520826 w 2747963"/>
              <a:gd name="connsiteY2" fmla="*/ 927100 h 1881187"/>
              <a:gd name="connsiteX3" fmla="*/ 977900 w 2747963"/>
              <a:gd name="connsiteY3" fmla="*/ 927100 h 1881187"/>
              <a:gd name="connsiteX4" fmla="*/ 977900 w 2747963"/>
              <a:gd name="connsiteY4" fmla="*/ 1209675 h 1881187"/>
              <a:gd name="connsiteX5" fmla="*/ 1362075 w 2747963"/>
              <a:gd name="connsiteY5" fmla="*/ 1209675 h 1881187"/>
              <a:gd name="connsiteX6" fmla="*/ 1362075 w 2747963"/>
              <a:gd name="connsiteY6" fmla="*/ 927100 h 1881187"/>
              <a:gd name="connsiteX7" fmla="*/ 522288 w 2747963"/>
              <a:gd name="connsiteY7" fmla="*/ 927100 h 1881187"/>
              <a:gd name="connsiteX8" fmla="*/ 522288 w 2747963"/>
              <a:gd name="connsiteY8" fmla="*/ 1209675 h 1881187"/>
              <a:gd name="connsiteX9" fmla="*/ 911226 w 2747963"/>
              <a:gd name="connsiteY9" fmla="*/ 1209675 h 1881187"/>
              <a:gd name="connsiteX10" fmla="*/ 911226 w 2747963"/>
              <a:gd name="connsiteY10" fmla="*/ 927100 h 1881187"/>
              <a:gd name="connsiteX11" fmla="*/ 1987283 w 2747963"/>
              <a:gd name="connsiteY11" fmla="*/ 836612 h 1881187"/>
              <a:gd name="connsiteX12" fmla="*/ 1656127 w 2747963"/>
              <a:gd name="connsiteY12" fmla="*/ 923365 h 1881187"/>
              <a:gd name="connsiteX13" fmla="*/ 1430338 w 2747963"/>
              <a:gd name="connsiteY13" fmla="*/ 1206253 h 1881187"/>
              <a:gd name="connsiteX14" fmla="*/ 1430338 w 2747963"/>
              <a:gd name="connsiteY14" fmla="*/ 1809749 h 1881187"/>
              <a:gd name="connsiteX15" fmla="*/ 1641074 w 2747963"/>
              <a:gd name="connsiteY15" fmla="*/ 1809749 h 1881187"/>
              <a:gd name="connsiteX16" fmla="*/ 1641074 w 2747963"/>
              <a:gd name="connsiteY16" fmla="*/ 1387302 h 1881187"/>
              <a:gd name="connsiteX17" fmla="*/ 1674942 w 2747963"/>
              <a:gd name="connsiteY17" fmla="*/ 1353356 h 1881187"/>
              <a:gd name="connsiteX18" fmla="*/ 1708810 w 2747963"/>
              <a:gd name="connsiteY18" fmla="*/ 1387302 h 1881187"/>
              <a:gd name="connsiteX19" fmla="*/ 1708810 w 2747963"/>
              <a:gd name="connsiteY19" fmla="*/ 1809749 h 1881187"/>
              <a:gd name="connsiteX20" fmla="*/ 2401229 w 2747963"/>
              <a:gd name="connsiteY20" fmla="*/ 1809749 h 1881187"/>
              <a:gd name="connsiteX21" fmla="*/ 2401229 w 2747963"/>
              <a:gd name="connsiteY21" fmla="*/ 1387302 h 1881187"/>
              <a:gd name="connsiteX22" fmla="*/ 2438860 w 2747963"/>
              <a:gd name="connsiteY22" fmla="*/ 1353356 h 1881187"/>
              <a:gd name="connsiteX23" fmla="*/ 2472728 w 2747963"/>
              <a:gd name="connsiteY23" fmla="*/ 1387302 h 1881187"/>
              <a:gd name="connsiteX24" fmla="*/ 2472728 w 2747963"/>
              <a:gd name="connsiteY24" fmla="*/ 1809749 h 1881187"/>
              <a:gd name="connsiteX25" fmla="*/ 2679701 w 2747963"/>
              <a:gd name="connsiteY25" fmla="*/ 1809749 h 1881187"/>
              <a:gd name="connsiteX26" fmla="*/ 2679701 w 2747963"/>
              <a:gd name="connsiteY26" fmla="*/ 1210025 h 1881187"/>
              <a:gd name="connsiteX27" fmla="*/ 2453913 w 2747963"/>
              <a:gd name="connsiteY27" fmla="*/ 923365 h 1881187"/>
              <a:gd name="connsiteX28" fmla="*/ 2122756 w 2747963"/>
              <a:gd name="connsiteY28" fmla="*/ 836612 h 1881187"/>
              <a:gd name="connsiteX29" fmla="*/ 2179203 w 2747963"/>
              <a:gd name="connsiteY29" fmla="*/ 1568351 h 1881187"/>
              <a:gd name="connsiteX30" fmla="*/ 2167914 w 2747963"/>
              <a:gd name="connsiteY30" fmla="*/ 1598526 h 1881187"/>
              <a:gd name="connsiteX31" fmla="*/ 2081361 w 2747963"/>
              <a:gd name="connsiteY31" fmla="*/ 1685278 h 1881187"/>
              <a:gd name="connsiteX32" fmla="*/ 2055019 w 2747963"/>
              <a:gd name="connsiteY32" fmla="*/ 1696594 h 1881187"/>
              <a:gd name="connsiteX33" fmla="*/ 2032441 w 2747963"/>
              <a:gd name="connsiteY33" fmla="*/ 1685278 h 1881187"/>
              <a:gd name="connsiteX34" fmla="*/ 1942125 w 2747963"/>
              <a:gd name="connsiteY34" fmla="*/ 1598526 h 1881187"/>
              <a:gd name="connsiteX35" fmla="*/ 1934599 w 2747963"/>
              <a:gd name="connsiteY35" fmla="*/ 1568351 h 1881187"/>
              <a:gd name="connsiteX36" fmla="*/ 1987283 w 2747963"/>
              <a:gd name="connsiteY36" fmla="*/ 836612 h 1881187"/>
              <a:gd name="connsiteX37" fmla="*/ 66675 w 2747963"/>
              <a:gd name="connsiteY37" fmla="*/ 561975 h 1881187"/>
              <a:gd name="connsiteX38" fmla="*/ 66675 w 2747963"/>
              <a:gd name="connsiteY38" fmla="*/ 1514765 h 1881187"/>
              <a:gd name="connsiteX39" fmla="*/ 149539 w 2747963"/>
              <a:gd name="connsiteY39" fmla="*/ 1593850 h 1881187"/>
              <a:gd name="connsiteX40" fmla="*/ 1362369 w 2747963"/>
              <a:gd name="connsiteY40" fmla="*/ 1593850 h 1881187"/>
              <a:gd name="connsiteX41" fmla="*/ 1362369 w 2747963"/>
              <a:gd name="connsiteY41" fmla="*/ 1281275 h 1881187"/>
              <a:gd name="connsiteX42" fmla="*/ 978181 w 2747963"/>
              <a:gd name="connsiteY42" fmla="*/ 1281275 h 1881187"/>
              <a:gd name="connsiteX43" fmla="*/ 978181 w 2747963"/>
              <a:gd name="connsiteY43" fmla="*/ 1462041 h 1881187"/>
              <a:gd name="connsiteX44" fmla="*/ 944282 w 2747963"/>
              <a:gd name="connsiteY44" fmla="*/ 1499701 h 1881187"/>
              <a:gd name="connsiteX45" fmla="*/ 910383 w 2747963"/>
              <a:gd name="connsiteY45" fmla="*/ 1462041 h 1881187"/>
              <a:gd name="connsiteX46" fmla="*/ 910383 w 2747963"/>
              <a:gd name="connsiteY46" fmla="*/ 1281275 h 1881187"/>
              <a:gd name="connsiteX47" fmla="*/ 522428 w 2747963"/>
              <a:gd name="connsiteY47" fmla="*/ 1281275 h 1881187"/>
              <a:gd name="connsiteX48" fmla="*/ 522428 w 2747963"/>
              <a:gd name="connsiteY48" fmla="*/ 1462041 h 1881187"/>
              <a:gd name="connsiteX49" fmla="*/ 488529 w 2747963"/>
              <a:gd name="connsiteY49" fmla="*/ 1499701 h 1881187"/>
              <a:gd name="connsiteX50" fmla="*/ 450863 w 2747963"/>
              <a:gd name="connsiteY50" fmla="*/ 1462041 h 1881187"/>
              <a:gd name="connsiteX51" fmla="*/ 450863 w 2747963"/>
              <a:gd name="connsiteY51" fmla="*/ 1281275 h 1881187"/>
              <a:gd name="connsiteX52" fmla="*/ 224870 w 2747963"/>
              <a:gd name="connsiteY52" fmla="*/ 1281275 h 1881187"/>
              <a:gd name="connsiteX53" fmla="*/ 190971 w 2747963"/>
              <a:gd name="connsiteY53" fmla="*/ 1243615 h 1881187"/>
              <a:gd name="connsiteX54" fmla="*/ 224870 w 2747963"/>
              <a:gd name="connsiteY54" fmla="*/ 1209722 h 1881187"/>
              <a:gd name="connsiteX55" fmla="*/ 450863 w 2747963"/>
              <a:gd name="connsiteY55" fmla="*/ 1209722 h 1881187"/>
              <a:gd name="connsiteX56" fmla="*/ 450863 w 2747963"/>
              <a:gd name="connsiteY56" fmla="*/ 927274 h 1881187"/>
              <a:gd name="connsiteX57" fmla="*/ 224870 w 2747963"/>
              <a:gd name="connsiteY57" fmla="*/ 927274 h 1881187"/>
              <a:gd name="connsiteX58" fmla="*/ 190971 w 2747963"/>
              <a:gd name="connsiteY58" fmla="*/ 893380 h 1881187"/>
              <a:gd name="connsiteX59" fmla="*/ 224870 w 2747963"/>
              <a:gd name="connsiteY59" fmla="*/ 859487 h 1881187"/>
              <a:gd name="connsiteX60" fmla="*/ 450863 w 2747963"/>
              <a:gd name="connsiteY60" fmla="*/ 859487 h 1881187"/>
              <a:gd name="connsiteX61" fmla="*/ 450863 w 2747963"/>
              <a:gd name="connsiteY61" fmla="*/ 693784 h 1881187"/>
              <a:gd name="connsiteX62" fmla="*/ 488529 w 2747963"/>
              <a:gd name="connsiteY62" fmla="*/ 659890 h 1881187"/>
              <a:gd name="connsiteX63" fmla="*/ 522428 w 2747963"/>
              <a:gd name="connsiteY63" fmla="*/ 693784 h 1881187"/>
              <a:gd name="connsiteX64" fmla="*/ 522428 w 2747963"/>
              <a:gd name="connsiteY64" fmla="*/ 859487 h 1881187"/>
              <a:gd name="connsiteX65" fmla="*/ 910383 w 2747963"/>
              <a:gd name="connsiteY65" fmla="*/ 859487 h 1881187"/>
              <a:gd name="connsiteX66" fmla="*/ 910383 w 2747963"/>
              <a:gd name="connsiteY66" fmla="*/ 693784 h 1881187"/>
              <a:gd name="connsiteX67" fmla="*/ 944282 w 2747963"/>
              <a:gd name="connsiteY67" fmla="*/ 659890 h 1881187"/>
              <a:gd name="connsiteX68" fmla="*/ 978181 w 2747963"/>
              <a:gd name="connsiteY68" fmla="*/ 693784 h 1881187"/>
              <a:gd name="connsiteX69" fmla="*/ 978181 w 2747963"/>
              <a:gd name="connsiteY69" fmla="*/ 859487 h 1881187"/>
              <a:gd name="connsiteX70" fmla="*/ 1362369 w 2747963"/>
              <a:gd name="connsiteY70" fmla="*/ 859487 h 1881187"/>
              <a:gd name="connsiteX71" fmla="*/ 1362369 w 2747963"/>
              <a:gd name="connsiteY71" fmla="*/ 701316 h 1881187"/>
              <a:gd name="connsiteX72" fmla="*/ 1396269 w 2747963"/>
              <a:gd name="connsiteY72" fmla="*/ 663656 h 1881187"/>
              <a:gd name="connsiteX73" fmla="*/ 1433934 w 2747963"/>
              <a:gd name="connsiteY73" fmla="*/ 701316 h 1881187"/>
              <a:gd name="connsiteX74" fmla="*/ 1433934 w 2747963"/>
              <a:gd name="connsiteY74" fmla="*/ 859487 h 1881187"/>
              <a:gd name="connsiteX75" fmla="*/ 1629795 w 2747963"/>
              <a:gd name="connsiteY75" fmla="*/ 859487 h 1881187"/>
              <a:gd name="connsiteX76" fmla="*/ 1855788 w 2747963"/>
              <a:gd name="connsiteY76" fmla="*/ 780401 h 1881187"/>
              <a:gd name="connsiteX77" fmla="*/ 1667460 w 2747963"/>
              <a:gd name="connsiteY77" fmla="*/ 561975 h 1881187"/>
              <a:gd name="connsiteX78" fmla="*/ 66675 w 2747963"/>
              <a:gd name="connsiteY78" fmla="*/ 561975 h 1881187"/>
              <a:gd name="connsiteX79" fmla="*/ 1904206 w 2747963"/>
              <a:gd name="connsiteY79" fmla="*/ 233362 h 1881187"/>
              <a:gd name="connsiteX80" fmla="*/ 1719461 w 2747963"/>
              <a:gd name="connsiteY80" fmla="*/ 335198 h 1881187"/>
              <a:gd name="connsiteX81" fmla="*/ 1708150 w 2747963"/>
              <a:gd name="connsiteY81" fmla="*/ 418176 h 1881187"/>
              <a:gd name="connsiteX82" fmla="*/ 2055019 w 2747963"/>
              <a:gd name="connsiteY82" fmla="*/ 765174 h 1881187"/>
              <a:gd name="connsiteX83" fmla="*/ 2401888 w 2747963"/>
              <a:gd name="connsiteY83" fmla="*/ 418176 h 1881187"/>
              <a:gd name="connsiteX84" fmla="*/ 2386807 w 2747963"/>
              <a:gd name="connsiteY84" fmla="*/ 316340 h 1881187"/>
              <a:gd name="connsiteX85" fmla="*/ 1904206 w 2747963"/>
              <a:gd name="connsiteY85" fmla="*/ 233362 h 1881187"/>
              <a:gd name="connsiteX86" fmla="*/ 2055326 w 2747963"/>
              <a:gd name="connsiteY86" fmla="*/ 0 h 1881187"/>
              <a:gd name="connsiteX87" fmla="*/ 2473167 w 2747963"/>
              <a:gd name="connsiteY87" fmla="*/ 418460 h 1881187"/>
              <a:gd name="connsiteX88" fmla="*/ 2254835 w 2747963"/>
              <a:gd name="connsiteY88" fmla="*/ 780372 h 1881187"/>
              <a:gd name="connsiteX89" fmla="*/ 2488224 w 2747963"/>
              <a:gd name="connsiteY89" fmla="*/ 859541 h 1881187"/>
              <a:gd name="connsiteX90" fmla="*/ 2747963 w 2747963"/>
              <a:gd name="connsiteY90" fmla="*/ 1210143 h 1881187"/>
              <a:gd name="connsiteX91" fmla="*/ 2747963 w 2747963"/>
              <a:gd name="connsiteY91" fmla="*/ 1847258 h 1881187"/>
              <a:gd name="connsiteX92" fmla="*/ 2714084 w 2747963"/>
              <a:gd name="connsiteY92" fmla="*/ 1881187 h 1881187"/>
              <a:gd name="connsiteX93" fmla="*/ 1396567 w 2747963"/>
              <a:gd name="connsiteY93" fmla="*/ 1881187 h 1881187"/>
              <a:gd name="connsiteX94" fmla="*/ 1362689 w 2747963"/>
              <a:gd name="connsiteY94" fmla="*/ 1847258 h 1881187"/>
              <a:gd name="connsiteX95" fmla="*/ 1362689 w 2747963"/>
              <a:gd name="connsiteY95" fmla="*/ 1662532 h 1881187"/>
              <a:gd name="connsiteX96" fmla="*/ 150573 w 2747963"/>
              <a:gd name="connsiteY96" fmla="*/ 1662532 h 1881187"/>
              <a:gd name="connsiteX97" fmla="*/ 0 w 2747963"/>
              <a:gd name="connsiteY97" fmla="*/ 1515506 h 1881187"/>
              <a:gd name="connsiteX98" fmla="*/ 0 w 2747963"/>
              <a:gd name="connsiteY98" fmla="*/ 275203 h 1881187"/>
              <a:gd name="connsiteX99" fmla="*/ 33879 w 2747963"/>
              <a:gd name="connsiteY99" fmla="*/ 241274 h 1881187"/>
              <a:gd name="connsiteX100" fmla="*/ 511949 w 2747963"/>
              <a:gd name="connsiteY100" fmla="*/ 241274 h 1881187"/>
              <a:gd name="connsiteX101" fmla="*/ 511949 w 2747963"/>
              <a:gd name="connsiteY101" fmla="*/ 90478 h 1881187"/>
              <a:gd name="connsiteX102" fmla="*/ 545828 w 2747963"/>
              <a:gd name="connsiteY102" fmla="*/ 56548 h 1881187"/>
              <a:gd name="connsiteX103" fmla="*/ 579707 w 2747963"/>
              <a:gd name="connsiteY103" fmla="*/ 90478 h 1881187"/>
              <a:gd name="connsiteX104" fmla="*/ 579707 w 2747963"/>
              <a:gd name="connsiteY104" fmla="*/ 241274 h 1881187"/>
              <a:gd name="connsiteX105" fmla="*/ 1309988 w 2747963"/>
              <a:gd name="connsiteY105" fmla="*/ 241274 h 1881187"/>
              <a:gd name="connsiteX106" fmla="*/ 1309988 w 2747963"/>
              <a:gd name="connsiteY106" fmla="*/ 90478 h 1881187"/>
              <a:gd name="connsiteX107" fmla="*/ 1343867 w 2747963"/>
              <a:gd name="connsiteY107" fmla="*/ 56548 h 1881187"/>
              <a:gd name="connsiteX108" fmla="*/ 1377746 w 2747963"/>
              <a:gd name="connsiteY108" fmla="*/ 90478 h 1881187"/>
              <a:gd name="connsiteX109" fmla="*/ 1377746 w 2747963"/>
              <a:gd name="connsiteY109" fmla="*/ 241274 h 1881187"/>
              <a:gd name="connsiteX110" fmla="*/ 1678893 w 2747963"/>
              <a:gd name="connsiteY110" fmla="*/ 241274 h 1881187"/>
              <a:gd name="connsiteX111" fmla="*/ 2055326 w 2747963"/>
              <a:gd name="connsiteY111" fmla="*/ 0 h 18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2747963" h="1881187">
                <a:moveTo>
                  <a:pt x="1433513" y="927100"/>
                </a:moveTo>
                <a:cubicBezTo>
                  <a:pt x="1433513" y="927100"/>
                  <a:pt x="1433513" y="927100"/>
                  <a:pt x="1433513" y="1017587"/>
                </a:cubicBezTo>
                <a:cubicBezTo>
                  <a:pt x="1460087" y="979884"/>
                  <a:pt x="1490456" y="953492"/>
                  <a:pt x="1520826" y="927100"/>
                </a:cubicBezTo>
                <a:close/>
                <a:moveTo>
                  <a:pt x="977900" y="927100"/>
                </a:moveTo>
                <a:lnTo>
                  <a:pt x="977900" y="1209675"/>
                </a:lnTo>
                <a:lnTo>
                  <a:pt x="1362075" y="1209675"/>
                </a:lnTo>
                <a:lnTo>
                  <a:pt x="1362075" y="927100"/>
                </a:lnTo>
                <a:close/>
                <a:moveTo>
                  <a:pt x="522288" y="927100"/>
                </a:moveTo>
                <a:lnTo>
                  <a:pt x="522288" y="1209675"/>
                </a:lnTo>
                <a:lnTo>
                  <a:pt x="911226" y="1209675"/>
                </a:lnTo>
                <a:lnTo>
                  <a:pt x="911226" y="927100"/>
                </a:lnTo>
                <a:close/>
                <a:moveTo>
                  <a:pt x="1987283" y="836612"/>
                </a:moveTo>
                <a:cubicBezTo>
                  <a:pt x="1859336" y="840384"/>
                  <a:pt x="1757731" y="870559"/>
                  <a:pt x="1656127" y="923365"/>
                </a:cubicBezTo>
                <a:cubicBezTo>
                  <a:pt x="1573337" y="968627"/>
                  <a:pt x="1430338" y="1062923"/>
                  <a:pt x="1430338" y="1206253"/>
                </a:cubicBezTo>
                <a:cubicBezTo>
                  <a:pt x="1430338" y="1206253"/>
                  <a:pt x="1430338" y="1206253"/>
                  <a:pt x="1430338" y="1809749"/>
                </a:cubicBezTo>
                <a:cubicBezTo>
                  <a:pt x="1430338" y="1809749"/>
                  <a:pt x="1430338" y="1809749"/>
                  <a:pt x="1641074" y="1809749"/>
                </a:cubicBezTo>
                <a:cubicBezTo>
                  <a:pt x="1641074" y="1809749"/>
                  <a:pt x="1641074" y="1809749"/>
                  <a:pt x="1641074" y="1387302"/>
                </a:cubicBezTo>
                <a:cubicBezTo>
                  <a:pt x="1641074" y="1368443"/>
                  <a:pt x="1656127" y="1353356"/>
                  <a:pt x="1674942" y="1353356"/>
                </a:cubicBezTo>
                <a:cubicBezTo>
                  <a:pt x="1693758" y="1353356"/>
                  <a:pt x="1708810" y="1368443"/>
                  <a:pt x="1708810" y="1387302"/>
                </a:cubicBezTo>
                <a:cubicBezTo>
                  <a:pt x="1708810" y="1387302"/>
                  <a:pt x="1708810" y="1387302"/>
                  <a:pt x="1708810" y="1809749"/>
                </a:cubicBezTo>
                <a:cubicBezTo>
                  <a:pt x="1708810" y="1809749"/>
                  <a:pt x="1708810" y="1809749"/>
                  <a:pt x="2401229" y="1809749"/>
                </a:cubicBezTo>
                <a:cubicBezTo>
                  <a:pt x="2401229" y="1809749"/>
                  <a:pt x="2401229" y="1809749"/>
                  <a:pt x="2401229" y="1387302"/>
                </a:cubicBezTo>
                <a:cubicBezTo>
                  <a:pt x="2401229" y="1368443"/>
                  <a:pt x="2416281" y="1353356"/>
                  <a:pt x="2438860" y="1353356"/>
                </a:cubicBezTo>
                <a:cubicBezTo>
                  <a:pt x="2457676" y="1353356"/>
                  <a:pt x="2472728" y="1368443"/>
                  <a:pt x="2472728" y="1387302"/>
                </a:cubicBezTo>
                <a:cubicBezTo>
                  <a:pt x="2472728" y="1387302"/>
                  <a:pt x="2472728" y="1387302"/>
                  <a:pt x="2472728" y="1809749"/>
                </a:cubicBezTo>
                <a:cubicBezTo>
                  <a:pt x="2472728" y="1809749"/>
                  <a:pt x="2472728" y="1809749"/>
                  <a:pt x="2679701" y="1809749"/>
                </a:cubicBezTo>
                <a:lnTo>
                  <a:pt x="2679701" y="1210025"/>
                </a:lnTo>
                <a:cubicBezTo>
                  <a:pt x="2679701" y="1055379"/>
                  <a:pt x="2506597" y="949768"/>
                  <a:pt x="2453913" y="923365"/>
                </a:cubicBezTo>
                <a:cubicBezTo>
                  <a:pt x="2356071" y="870559"/>
                  <a:pt x="2254466" y="840384"/>
                  <a:pt x="2122756" y="836612"/>
                </a:cubicBezTo>
                <a:cubicBezTo>
                  <a:pt x="2122756" y="836612"/>
                  <a:pt x="2122756" y="836612"/>
                  <a:pt x="2179203" y="1568351"/>
                </a:cubicBezTo>
                <a:cubicBezTo>
                  <a:pt x="2179203" y="1579666"/>
                  <a:pt x="2175440" y="1590982"/>
                  <a:pt x="2167914" y="1598526"/>
                </a:cubicBezTo>
                <a:cubicBezTo>
                  <a:pt x="2167914" y="1598526"/>
                  <a:pt x="2167914" y="1598526"/>
                  <a:pt x="2081361" y="1685278"/>
                </a:cubicBezTo>
                <a:cubicBezTo>
                  <a:pt x="2073835" y="1692822"/>
                  <a:pt x="2066309" y="1696594"/>
                  <a:pt x="2055019" y="1696594"/>
                </a:cubicBezTo>
                <a:cubicBezTo>
                  <a:pt x="2047493" y="1696594"/>
                  <a:pt x="2036204" y="1692822"/>
                  <a:pt x="2032441" y="1685278"/>
                </a:cubicBezTo>
                <a:cubicBezTo>
                  <a:pt x="2032441" y="1685278"/>
                  <a:pt x="2032441" y="1685278"/>
                  <a:pt x="1942125" y="1598526"/>
                </a:cubicBezTo>
                <a:cubicBezTo>
                  <a:pt x="1934599" y="1590982"/>
                  <a:pt x="1930836" y="1579666"/>
                  <a:pt x="1934599" y="1568351"/>
                </a:cubicBezTo>
                <a:cubicBezTo>
                  <a:pt x="1934599" y="1568351"/>
                  <a:pt x="1934599" y="1568351"/>
                  <a:pt x="1987283" y="836612"/>
                </a:cubicBezTo>
                <a:close/>
                <a:moveTo>
                  <a:pt x="66675" y="561975"/>
                </a:moveTo>
                <a:cubicBezTo>
                  <a:pt x="66675" y="561975"/>
                  <a:pt x="66675" y="561975"/>
                  <a:pt x="66675" y="1514765"/>
                </a:cubicBezTo>
                <a:cubicBezTo>
                  <a:pt x="66675" y="1556191"/>
                  <a:pt x="104341" y="1593850"/>
                  <a:pt x="149539" y="1593850"/>
                </a:cubicBezTo>
                <a:lnTo>
                  <a:pt x="1362369" y="1593850"/>
                </a:lnTo>
                <a:cubicBezTo>
                  <a:pt x="1362369" y="1593850"/>
                  <a:pt x="1362369" y="1593850"/>
                  <a:pt x="1362369" y="1281275"/>
                </a:cubicBezTo>
                <a:cubicBezTo>
                  <a:pt x="1362369" y="1281275"/>
                  <a:pt x="1362369" y="1281275"/>
                  <a:pt x="978181" y="1281275"/>
                </a:cubicBezTo>
                <a:cubicBezTo>
                  <a:pt x="978181" y="1281275"/>
                  <a:pt x="978181" y="1281275"/>
                  <a:pt x="978181" y="1462041"/>
                </a:cubicBezTo>
                <a:cubicBezTo>
                  <a:pt x="978181" y="1480871"/>
                  <a:pt x="963115" y="1499701"/>
                  <a:pt x="944282" y="1499701"/>
                </a:cubicBezTo>
                <a:cubicBezTo>
                  <a:pt x="925449" y="1499701"/>
                  <a:pt x="910383" y="1480871"/>
                  <a:pt x="910383" y="1462041"/>
                </a:cubicBezTo>
                <a:cubicBezTo>
                  <a:pt x="910383" y="1462041"/>
                  <a:pt x="910383" y="1462041"/>
                  <a:pt x="910383" y="1281275"/>
                </a:cubicBezTo>
                <a:cubicBezTo>
                  <a:pt x="910383" y="1281275"/>
                  <a:pt x="910383" y="1281275"/>
                  <a:pt x="522428" y="1281275"/>
                </a:cubicBezTo>
                <a:cubicBezTo>
                  <a:pt x="522428" y="1281275"/>
                  <a:pt x="522428" y="1281275"/>
                  <a:pt x="522428" y="1462041"/>
                </a:cubicBezTo>
                <a:cubicBezTo>
                  <a:pt x="522428" y="1480871"/>
                  <a:pt x="507362" y="1499701"/>
                  <a:pt x="488529" y="1499701"/>
                </a:cubicBezTo>
                <a:cubicBezTo>
                  <a:pt x="469696" y="1499701"/>
                  <a:pt x="450863" y="1480871"/>
                  <a:pt x="450863" y="1462041"/>
                </a:cubicBezTo>
                <a:cubicBezTo>
                  <a:pt x="450863" y="1462041"/>
                  <a:pt x="450863" y="1462041"/>
                  <a:pt x="450863" y="1281275"/>
                </a:cubicBezTo>
                <a:cubicBezTo>
                  <a:pt x="450863" y="1281275"/>
                  <a:pt x="450863" y="1281275"/>
                  <a:pt x="224870" y="1281275"/>
                </a:cubicBezTo>
                <a:cubicBezTo>
                  <a:pt x="206037" y="1281275"/>
                  <a:pt x="190971" y="1266211"/>
                  <a:pt x="190971" y="1243615"/>
                </a:cubicBezTo>
                <a:cubicBezTo>
                  <a:pt x="190971" y="1224785"/>
                  <a:pt x="206037" y="1209722"/>
                  <a:pt x="224870" y="1209722"/>
                </a:cubicBezTo>
                <a:cubicBezTo>
                  <a:pt x="224870" y="1209722"/>
                  <a:pt x="224870" y="1209722"/>
                  <a:pt x="450863" y="1209722"/>
                </a:cubicBezTo>
                <a:cubicBezTo>
                  <a:pt x="450863" y="1209722"/>
                  <a:pt x="450863" y="1209722"/>
                  <a:pt x="450863" y="927274"/>
                </a:cubicBezTo>
                <a:cubicBezTo>
                  <a:pt x="450863" y="927274"/>
                  <a:pt x="450863" y="927274"/>
                  <a:pt x="224870" y="927274"/>
                </a:cubicBezTo>
                <a:cubicBezTo>
                  <a:pt x="206037" y="927274"/>
                  <a:pt x="190971" y="912210"/>
                  <a:pt x="190971" y="893380"/>
                </a:cubicBezTo>
                <a:cubicBezTo>
                  <a:pt x="190971" y="874551"/>
                  <a:pt x="206037" y="859487"/>
                  <a:pt x="224870" y="859487"/>
                </a:cubicBezTo>
                <a:cubicBezTo>
                  <a:pt x="224870" y="859487"/>
                  <a:pt x="224870" y="859487"/>
                  <a:pt x="450863" y="859487"/>
                </a:cubicBezTo>
                <a:cubicBezTo>
                  <a:pt x="450863" y="859487"/>
                  <a:pt x="450863" y="859487"/>
                  <a:pt x="450863" y="693784"/>
                </a:cubicBezTo>
                <a:cubicBezTo>
                  <a:pt x="450863" y="674954"/>
                  <a:pt x="469696" y="659890"/>
                  <a:pt x="488529" y="659890"/>
                </a:cubicBezTo>
                <a:cubicBezTo>
                  <a:pt x="507362" y="659890"/>
                  <a:pt x="522428" y="674954"/>
                  <a:pt x="522428" y="693784"/>
                </a:cubicBezTo>
                <a:cubicBezTo>
                  <a:pt x="522428" y="693784"/>
                  <a:pt x="522428" y="693784"/>
                  <a:pt x="522428" y="859487"/>
                </a:cubicBezTo>
                <a:cubicBezTo>
                  <a:pt x="522428" y="859487"/>
                  <a:pt x="522428" y="859487"/>
                  <a:pt x="910383" y="859487"/>
                </a:cubicBezTo>
                <a:cubicBezTo>
                  <a:pt x="910383" y="859487"/>
                  <a:pt x="910383" y="859487"/>
                  <a:pt x="910383" y="693784"/>
                </a:cubicBezTo>
                <a:cubicBezTo>
                  <a:pt x="910383" y="674954"/>
                  <a:pt x="925449" y="659890"/>
                  <a:pt x="944282" y="659890"/>
                </a:cubicBezTo>
                <a:cubicBezTo>
                  <a:pt x="963115" y="659890"/>
                  <a:pt x="978181" y="674954"/>
                  <a:pt x="978181" y="693784"/>
                </a:cubicBezTo>
                <a:cubicBezTo>
                  <a:pt x="978181" y="693784"/>
                  <a:pt x="978181" y="693784"/>
                  <a:pt x="978181" y="859487"/>
                </a:cubicBezTo>
                <a:cubicBezTo>
                  <a:pt x="978181" y="859487"/>
                  <a:pt x="978181" y="859487"/>
                  <a:pt x="1362369" y="859487"/>
                </a:cubicBezTo>
                <a:cubicBezTo>
                  <a:pt x="1362369" y="859487"/>
                  <a:pt x="1362369" y="859487"/>
                  <a:pt x="1362369" y="701316"/>
                </a:cubicBezTo>
                <a:cubicBezTo>
                  <a:pt x="1362369" y="678720"/>
                  <a:pt x="1377436" y="663656"/>
                  <a:pt x="1396269" y="663656"/>
                </a:cubicBezTo>
                <a:cubicBezTo>
                  <a:pt x="1418868" y="663656"/>
                  <a:pt x="1433934" y="678720"/>
                  <a:pt x="1433934" y="701316"/>
                </a:cubicBezTo>
                <a:cubicBezTo>
                  <a:pt x="1433934" y="701316"/>
                  <a:pt x="1433934" y="701316"/>
                  <a:pt x="1433934" y="859487"/>
                </a:cubicBezTo>
                <a:cubicBezTo>
                  <a:pt x="1433934" y="859487"/>
                  <a:pt x="1433934" y="859487"/>
                  <a:pt x="1629795" y="859487"/>
                </a:cubicBezTo>
                <a:cubicBezTo>
                  <a:pt x="1701359" y="821826"/>
                  <a:pt x="1772924" y="795465"/>
                  <a:pt x="1855788" y="780401"/>
                </a:cubicBezTo>
                <a:cubicBezTo>
                  <a:pt x="1769157" y="735209"/>
                  <a:pt x="1701359" y="656124"/>
                  <a:pt x="1667460" y="561975"/>
                </a:cubicBezTo>
                <a:cubicBezTo>
                  <a:pt x="1667460" y="561975"/>
                  <a:pt x="1667460" y="561975"/>
                  <a:pt x="66675" y="561975"/>
                </a:cubicBezTo>
                <a:close/>
                <a:moveTo>
                  <a:pt x="1904206" y="233362"/>
                </a:moveTo>
                <a:cubicBezTo>
                  <a:pt x="1904206" y="233362"/>
                  <a:pt x="1904206" y="233362"/>
                  <a:pt x="1719461" y="335198"/>
                </a:cubicBezTo>
                <a:cubicBezTo>
                  <a:pt x="1711920" y="361600"/>
                  <a:pt x="1708150" y="388002"/>
                  <a:pt x="1708150" y="418176"/>
                </a:cubicBezTo>
                <a:cubicBezTo>
                  <a:pt x="1708150" y="606762"/>
                  <a:pt x="1862733" y="765174"/>
                  <a:pt x="2055019" y="765174"/>
                </a:cubicBezTo>
                <a:cubicBezTo>
                  <a:pt x="2247305" y="765174"/>
                  <a:pt x="2401888" y="606762"/>
                  <a:pt x="2401888" y="418176"/>
                </a:cubicBezTo>
                <a:cubicBezTo>
                  <a:pt x="2401888" y="380459"/>
                  <a:pt x="2398118" y="350285"/>
                  <a:pt x="2386807" y="316340"/>
                </a:cubicBezTo>
                <a:cubicBezTo>
                  <a:pt x="2386807" y="316340"/>
                  <a:pt x="2386807" y="316340"/>
                  <a:pt x="1904206" y="233362"/>
                </a:cubicBezTo>
                <a:close/>
                <a:moveTo>
                  <a:pt x="2055326" y="0"/>
                </a:moveTo>
                <a:cubicBezTo>
                  <a:pt x="2284950" y="0"/>
                  <a:pt x="2473167" y="188495"/>
                  <a:pt x="2473167" y="418460"/>
                </a:cubicBezTo>
                <a:cubicBezTo>
                  <a:pt x="2473167" y="573027"/>
                  <a:pt x="2386587" y="708744"/>
                  <a:pt x="2254835" y="780372"/>
                </a:cubicBezTo>
                <a:cubicBezTo>
                  <a:pt x="2341415" y="795452"/>
                  <a:pt x="2412937" y="821841"/>
                  <a:pt x="2488224" y="859541"/>
                </a:cubicBezTo>
                <a:cubicBezTo>
                  <a:pt x="2567275" y="904780"/>
                  <a:pt x="2747963" y="1021647"/>
                  <a:pt x="2747963" y="1210143"/>
                </a:cubicBezTo>
                <a:cubicBezTo>
                  <a:pt x="2747963" y="1210143"/>
                  <a:pt x="2747963" y="1210143"/>
                  <a:pt x="2747963" y="1847258"/>
                </a:cubicBezTo>
                <a:cubicBezTo>
                  <a:pt x="2747963" y="1866108"/>
                  <a:pt x="2732906" y="1881187"/>
                  <a:pt x="2714084" y="1881187"/>
                </a:cubicBezTo>
                <a:cubicBezTo>
                  <a:pt x="2714084" y="1881187"/>
                  <a:pt x="2714084" y="1881187"/>
                  <a:pt x="1396567" y="1881187"/>
                </a:cubicBezTo>
                <a:cubicBezTo>
                  <a:pt x="1377746" y="1881187"/>
                  <a:pt x="1362689" y="1866108"/>
                  <a:pt x="1362689" y="1847258"/>
                </a:cubicBezTo>
                <a:cubicBezTo>
                  <a:pt x="1362689" y="1847258"/>
                  <a:pt x="1362689" y="1847258"/>
                  <a:pt x="1362689" y="1662532"/>
                </a:cubicBezTo>
                <a:cubicBezTo>
                  <a:pt x="1362689" y="1662532"/>
                  <a:pt x="1362689" y="1662532"/>
                  <a:pt x="150573" y="1662532"/>
                </a:cubicBezTo>
                <a:cubicBezTo>
                  <a:pt x="67758" y="1662532"/>
                  <a:pt x="0" y="1594674"/>
                  <a:pt x="0" y="1515506"/>
                </a:cubicBezTo>
                <a:cubicBezTo>
                  <a:pt x="0" y="1515506"/>
                  <a:pt x="0" y="1515506"/>
                  <a:pt x="0" y="275203"/>
                </a:cubicBezTo>
                <a:cubicBezTo>
                  <a:pt x="0" y="256354"/>
                  <a:pt x="15057" y="241274"/>
                  <a:pt x="33879" y="241274"/>
                </a:cubicBezTo>
                <a:cubicBezTo>
                  <a:pt x="33879" y="241274"/>
                  <a:pt x="33879" y="241274"/>
                  <a:pt x="511949" y="241274"/>
                </a:cubicBezTo>
                <a:cubicBezTo>
                  <a:pt x="511949" y="241274"/>
                  <a:pt x="511949" y="241274"/>
                  <a:pt x="511949" y="90478"/>
                </a:cubicBezTo>
                <a:cubicBezTo>
                  <a:pt x="511949" y="71628"/>
                  <a:pt x="527007" y="56548"/>
                  <a:pt x="545828" y="56548"/>
                </a:cubicBezTo>
                <a:cubicBezTo>
                  <a:pt x="564650" y="56548"/>
                  <a:pt x="579707" y="71628"/>
                  <a:pt x="579707" y="90478"/>
                </a:cubicBezTo>
                <a:cubicBezTo>
                  <a:pt x="579707" y="90478"/>
                  <a:pt x="579707" y="90478"/>
                  <a:pt x="579707" y="241274"/>
                </a:cubicBezTo>
                <a:cubicBezTo>
                  <a:pt x="579707" y="241274"/>
                  <a:pt x="579707" y="241274"/>
                  <a:pt x="1309988" y="241274"/>
                </a:cubicBezTo>
                <a:cubicBezTo>
                  <a:pt x="1309988" y="241274"/>
                  <a:pt x="1309988" y="241274"/>
                  <a:pt x="1309988" y="90478"/>
                </a:cubicBezTo>
                <a:cubicBezTo>
                  <a:pt x="1309988" y="71628"/>
                  <a:pt x="1325045" y="56548"/>
                  <a:pt x="1343867" y="56548"/>
                </a:cubicBezTo>
                <a:cubicBezTo>
                  <a:pt x="1362689" y="56548"/>
                  <a:pt x="1377746" y="71628"/>
                  <a:pt x="1377746" y="90478"/>
                </a:cubicBezTo>
                <a:cubicBezTo>
                  <a:pt x="1377746" y="90478"/>
                  <a:pt x="1377746" y="90478"/>
                  <a:pt x="1377746" y="241274"/>
                </a:cubicBezTo>
                <a:cubicBezTo>
                  <a:pt x="1377746" y="241274"/>
                  <a:pt x="1377746" y="241274"/>
                  <a:pt x="1678893" y="241274"/>
                </a:cubicBezTo>
                <a:cubicBezTo>
                  <a:pt x="1746651" y="98018"/>
                  <a:pt x="1889695" y="0"/>
                  <a:pt x="2055326"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da-DK" dirty="0"/>
          </a:p>
        </p:txBody>
      </p:sp>
      <p:sp>
        <p:nvSpPr>
          <p:cNvPr id="33" name="Awareness"/>
          <p:cNvSpPr>
            <a:spLocks noChangeAspect="1"/>
          </p:cNvSpPr>
          <p:nvPr>
            <p:custDataLst>
              <p:tags r:id="rId2"/>
            </p:custDataLst>
          </p:nvPr>
        </p:nvSpPr>
        <p:spPr bwMode="auto">
          <a:xfrm>
            <a:off x="607346" y="3453631"/>
            <a:ext cx="431012" cy="291514"/>
          </a:xfrm>
          <a:custGeom>
            <a:avLst/>
            <a:gdLst>
              <a:gd name="connsiteX0" fmla="*/ 2107434 w 10141492"/>
              <a:gd name="connsiteY0" fmla="*/ 4469943 h 6859130"/>
              <a:gd name="connsiteX1" fmla="*/ 1930188 w 10141492"/>
              <a:gd name="connsiteY1" fmla="*/ 4981118 h 6859130"/>
              <a:gd name="connsiteX2" fmla="*/ 2839826 w 10141492"/>
              <a:gd name="connsiteY2" fmla="*/ 4469943 h 6859130"/>
              <a:gd name="connsiteX3" fmla="*/ 2107434 w 10141492"/>
              <a:gd name="connsiteY3" fmla="*/ 4469943 h 6859130"/>
              <a:gd name="connsiteX4" fmla="*/ 1073732 w 10141492"/>
              <a:gd name="connsiteY4" fmla="*/ 4469943 h 6859130"/>
              <a:gd name="connsiteX5" fmla="*/ 307764 w 10141492"/>
              <a:gd name="connsiteY5" fmla="*/ 6608306 h 6859130"/>
              <a:gd name="connsiteX6" fmla="*/ 1087112 w 10141492"/>
              <a:gd name="connsiteY6" fmla="*/ 6608306 h 6859130"/>
              <a:gd name="connsiteX7" fmla="*/ 1632320 w 10141492"/>
              <a:gd name="connsiteY7" fmla="*/ 5055567 h 6859130"/>
              <a:gd name="connsiteX8" fmla="*/ 1639010 w 10141492"/>
              <a:gd name="connsiteY8" fmla="*/ 5042181 h 6859130"/>
              <a:gd name="connsiteX9" fmla="*/ 1652390 w 10141492"/>
              <a:gd name="connsiteY9" fmla="*/ 5002024 h 6859130"/>
              <a:gd name="connsiteX10" fmla="*/ 1839700 w 10141492"/>
              <a:gd name="connsiteY10" fmla="*/ 4469943 h 6859130"/>
              <a:gd name="connsiteX11" fmla="*/ 1113870 w 10141492"/>
              <a:gd name="connsiteY11" fmla="*/ 4469943 h 6859130"/>
              <a:gd name="connsiteX12" fmla="*/ 1073732 w 10141492"/>
              <a:gd name="connsiteY12" fmla="*/ 4469943 h 6859130"/>
              <a:gd name="connsiteX13" fmla="*/ 253788 w 10141492"/>
              <a:gd name="connsiteY13" fmla="*/ 1698168 h 6859130"/>
              <a:gd name="connsiteX14" fmla="*/ 253788 w 10141492"/>
              <a:gd name="connsiteY14" fmla="*/ 4219118 h 6859130"/>
              <a:gd name="connsiteX15" fmla="*/ 3385926 w 10141492"/>
              <a:gd name="connsiteY15" fmla="*/ 4219118 h 6859130"/>
              <a:gd name="connsiteX16" fmla="*/ 3385926 w 10141492"/>
              <a:gd name="connsiteY16" fmla="*/ 1698168 h 6859130"/>
              <a:gd name="connsiteX17" fmla="*/ 8048216 w 10141492"/>
              <a:gd name="connsiteY17" fmla="*/ 1132259 h 6859130"/>
              <a:gd name="connsiteX18" fmla="*/ 8087116 w 10141492"/>
              <a:gd name="connsiteY18" fmla="*/ 1133645 h 6859130"/>
              <a:gd name="connsiteX19" fmla="*/ 8220392 w 10141492"/>
              <a:gd name="connsiteY19" fmla="*/ 1209793 h 6859130"/>
              <a:gd name="connsiteX20" fmla="*/ 8220392 w 10141492"/>
              <a:gd name="connsiteY20" fmla="*/ 4667423 h 6859130"/>
              <a:gd name="connsiteX21" fmla="*/ 8059960 w 10141492"/>
              <a:gd name="connsiteY21" fmla="*/ 4747755 h 6859130"/>
              <a:gd name="connsiteX22" fmla="*/ 7932950 w 10141492"/>
              <a:gd name="connsiteY22" fmla="*/ 4707589 h 6859130"/>
              <a:gd name="connsiteX23" fmla="*/ 7896184 w 10141492"/>
              <a:gd name="connsiteY23" fmla="*/ 4419732 h 6859130"/>
              <a:gd name="connsiteX24" fmla="*/ 7899528 w 10141492"/>
              <a:gd name="connsiteY24" fmla="*/ 1457484 h 6859130"/>
              <a:gd name="connsiteX25" fmla="*/ 7936294 w 10141492"/>
              <a:gd name="connsiteY25" fmla="*/ 1172974 h 6859130"/>
              <a:gd name="connsiteX26" fmla="*/ 8048216 w 10141492"/>
              <a:gd name="connsiteY26" fmla="*/ 1132259 h 6859130"/>
              <a:gd name="connsiteX27" fmla="*/ 9309194 w 10141492"/>
              <a:gd name="connsiteY27" fmla="*/ 635258 h 6859130"/>
              <a:gd name="connsiteX28" fmla="*/ 9347883 w 10141492"/>
              <a:gd name="connsiteY28" fmla="*/ 638513 h 6859130"/>
              <a:gd name="connsiteX29" fmla="*/ 9478336 w 10141492"/>
              <a:gd name="connsiteY29" fmla="*/ 721346 h 6859130"/>
              <a:gd name="connsiteX30" fmla="*/ 9495061 w 10141492"/>
              <a:gd name="connsiteY30" fmla="*/ 5001880 h 6859130"/>
              <a:gd name="connsiteX31" fmla="*/ 9324469 w 10141492"/>
              <a:gd name="connsiteY31" fmla="*/ 5092243 h 6859130"/>
              <a:gd name="connsiteX32" fmla="*/ 9210741 w 10141492"/>
              <a:gd name="connsiteY32" fmla="*/ 5058775 h 6859130"/>
              <a:gd name="connsiteX33" fmla="*/ 9157222 w 10141492"/>
              <a:gd name="connsiteY33" fmla="*/ 4774299 h 6859130"/>
              <a:gd name="connsiteX34" fmla="*/ 9143842 w 10141492"/>
              <a:gd name="connsiteY34" fmla="*/ 952274 h 6859130"/>
              <a:gd name="connsiteX35" fmla="*/ 9197361 w 10141492"/>
              <a:gd name="connsiteY35" fmla="*/ 671144 h 6859130"/>
              <a:gd name="connsiteX36" fmla="*/ 9309194 w 10141492"/>
              <a:gd name="connsiteY36" fmla="*/ 635258 h 6859130"/>
              <a:gd name="connsiteX37" fmla="*/ 6745076 w 10141492"/>
              <a:gd name="connsiteY37" fmla="*/ 321805 h 6859130"/>
              <a:gd name="connsiteX38" fmla="*/ 3927264 w 10141492"/>
              <a:gd name="connsiteY38" fmla="*/ 1617205 h 6859130"/>
              <a:gd name="connsiteX39" fmla="*/ 3927264 w 10141492"/>
              <a:gd name="connsiteY39" fmla="*/ 4298493 h 6859130"/>
              <a:gd name="connsiteX40" fmla="*/ 6745076 w 10141492"/>
              <a:gd name="connsiteY40" fmla="*/ 5593893 h 6859130"/>
              <a:gd name="connsiteX41" fmla="*/ 6881980 w 10141492"/>
              <a:gd name="connsiteY41" fmla="*/ 219 h 6859130"/>
              <a:gd name="connsiteX42" fmla="*/ 6942200 w 10141492"/>
              <a:gd name="connsiteY42" fmla="*/ 21555 h 6859130"/>
              <a:gd name="connsiteX43" fmla="*/ 6999076 w 10141492"/>
              <a:gd name="connsiteY43" fmla="*/ 125307 h 6859130"/>
              <a:gd name="connsiteX44" fmla="*/ 6999076 w 10141492"/>
              <a:gd name="connsiteY44" fmla="*/ 5788144 h 6859130"/>
              <a:gd name="connsiteX45" fmla="*/ 6942200 w 10141492"/>
              <a:gd name="connsiteY45" fmla="*/ 5895243 h 6859130"/>
              <a:gd name="connsiteX46" fmla="*/ 6871944 w 10141492"/>
              <a:gd name="connsiteY46" fmla="*/ 5915324 h 6859130"/>
              <a:gd name="connsiteX47" fmla="*/ 6821760 w 10141492"/>
              <a:gd name="connsiteY47" fmla="*/ 5905283 h 6859130"/>
              <a:gd name="connsiteX48" fmla="*/ 3830814 w 10141492"/>
              <a:gd name="connsiteY48" fmla="*/ 4533083 h 6859130"/>
              <a:gd name="connsiteX49" fmla="*/ 3656844 w 10141492"/>
              <a:gd name="connsiteY49" fmla="*/ 4603366 h 6859130"/>
              <a:gd name="connsiteX50" fmla="*/ 3429346 w 10141492"/>
              <a:gd name="connsiteY50" fmla="*/ 4469493 h 6859130"/>
              <a:gd name="connsiteX51" fmla="*/ 3111516 w 10141492"/>
              <a:gd name="connsiteY51" fmla="*/ 4469493 h 6859130"/>
              <a:gd name="connsiteX52" fmla="*/ 1866960 w 10141492"/>
              <a:gd name="connsiteY52" fmla="*/ 5235917 h 6859130"/>
              <a:gd name="connsiteX53" fmla="*/ 1836850 w 10141492"/>
              <a:gd name="connsiteY53" fmla="*/ 5235917 h 6859130"/>
              <a:gd name="connsiteX54" fmla="*/ 1298212 w 10141492"/>
              <a:gd name="connsiteY54" fmla="*/ 6775459 h 6859130"/>
              <a:gd name="connsiteX55" fmla="*/ 1177772 w 10141492"/>
              <a:gd name="connsiteY55" fmla="*/ 6859130 h 6859130"/>
              <a:gd name="connsiteX56" fmla="*/ 127262 w 10141492"/>
              <a:gd name="connsiteY56" fmla="*/ 6859130 h 6859130"/>
              <a:gd name="connsiteX57" fmla="*/ 23548 w 10141492"/>
              <a:gd name="connsiteY57" fmla="*/ 6805581 h 6859130"/>
              <a:gd name="connsiteX58" fmla="*/ 6820 w 10141492"/>
              <a:gd name="connsiteY58" fmla="*/ 6688442 h 6859130"/>
              <a:gd name="connsiteX59" fmla="*/ 806414 w 10141492"/>
              <a:gd name="connsiteY59" fmla="*/ 4469493 h 6859130"/>
              <a:gd name="connsiteX60" fmla="*/ 127262 w 10141492"/>
              <a:gd name="connsiteY60" fmla="*/ 4469493 h 6859130"/>
              <a:gd name="connsiteX61" fmla="*/ 130 w 10141492"/>
              <a:gd name="connsiteY61" fmla="*/ 4342313 h 6859130"/>
              <a:gd name="connsiteX62" fmla="*/ 130 w 10141492"/>
              <a:gd name="connsiteY62" fmla="*/ 1571138 h 6859130"/>
              <a:gd name="connsiteX63" fmla="*/ 127262 w 10141492"/>
              <a:gd name="connsiteY63" fmla="*/ 1447305 h 6859130"/>
              <a:gd name="connsiteX64" fmla="*/ 3419308 w 10141492"/>
              <a:gd name="connsiteY64" fmla="*/ 1447305 h 6859130"/>
              <a:gd name="connsiteX65" fmla="*/ 3656844 w 10141492"/>
              <a:gd name="connsiteY65" fmla="*/ 1300045 h 6859130"/>
              <a:gd name="connsiteX66" fmla="*/ 3844196 w 10141492"/>
              <a:gd name="connsiteY66" fmla="*/ 1377022 h 6859130"/>
              <a:gd name="connsiteX67" fmla="*/ 6821760 w 10141492"/>
              <a:gd name="connsiteY67" fmla="*/ 11515 h 6859130"/>
              <a:gd name="connsiteX68" fmla="*/ 6881980 w 10141492"/>
              <a:gd name="connsiteY68" fmla="*/ 219 h 6859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0141492" h="6859130">
                <a:moveTo>
                  <a:pt x="2107434" y="4469943"/>
                </a:moveTo>
                <a:cubicBezTo>
                  <a:pt x="2107434" y="4469943"/>
                  <a:pt x="2107434" y="4469943"/>
                  <a:pt x="1930188" y="4981118"/>
                </a:cubicBezTo>
                <a:cubicBezTo>
                  <a:pt x="2274646" y="4957731"/>
                  <a:pt x="2696022" y="4737224"/>
                  <a:pt x="2839826" y="4469943"/>
                </a:cubicBezTo>
                <a:cubicBezTo>
                  <a:pt x="2839826" y="4469943"/>
                  <a:pt x="2839826" y="4469943"/>
                  <a:pt x="2107434" y="4469943"/>
                </a:cubicBezTo>
                <a:close/>
                <a:moveTo>
                  <a:pt x="1073732" y="4469943"/>
                </a:moveTo>
                <a:cubicBezTo>
                  <a:pt x="1073732" y="4469943"/>
                  <a:pt x="1073732" y="4469943"/>
                  <a:pt x="307764" y="6608306"/>
                </a:cubicBezTo>
                <a:lnTo>
                  <a:pt x="1087112" y="6608306"/>
                </a:lnTo>
                <a:cubicBezTo>
                  <a:pt x="1087112" y="6608306"/>
                  <a:pt x="1087112" y="6608306"/>
                  <a:pt x="1632320" y="5055567"/>
                </a:cubicBezTo>
                <a:cubicBezTo>
                  <a:pt x="1632320" y="5052220"/>
                  <a:pt x="1635666" y="5048874"/>
                  <a:pt x="1639010" y="5042181"/>
                </a:cubicBezTo>
                <a:cubicBezTo>
                  <a:pt x="1639010" y="5042181"/>
                  <a:pt x="1639010" y="5042181"/>
                  <a:pt x="1652390" y="5002024"/>
                </a:cubicBezTo>
                <a:cubicBezTo>
                  <a:pt x="1652390" y="5002024"/>
                  <a:pt x="1652390" y="5002024"/>
                  <a:pt x="1839700" y="4469943"/>
                </a:cubicBezTo>
                <a:cubicBezTo>
                  <a:pt x="1839700" y="4469943"/>
                  <a:pt x="1839700" y="4469943"/>
                  <a:pt x="1113870" y="4469943"/>
                </a:cubicBezTo>
                <a:cubicBezTo>
                  <a:pt x="1113870" y="4469943"/>
                  <a:pt x="1113870" y="4469943"/>
                  <a:pt x="1073732" y="4469943"/>
                </a:cubicBezTo>
                <a:close/>
                <a:moveTo>
                  <a:pt x="253788" y="1698168"/>
                </a:moveTo>
                <a:lnTo>
                  <a:pt x="253788" y="4219118"/>
                </a:lnTo>
                <a:lnTo>
                  <a:pt x="3385926" y="4219118"/>
                </a:lnTo>
                <a:lnTo>
                  <a:pt x="3385926" y="1698168"/>
                </a:lnTo>
                <a:close/>
                <a:moveTo>
                  <a:pt x="8048216" y="1132259"/>
                </a:moveTo>
                <a:cubicBezTo>
                  <a:pt x="8061240" y="1131501"/>
                  <a:pt x="8074268" y="1131971"/>
                  <a:pt x="8087116" y="1133645"/>
                </a:cubicBezTo>
                <a:cubicBezTo>
                  <a:pt x="8138505" y="1140339"/>
                  <a:pt x="8186969" y="1166280"/>
                  <a:pt x="8220392" y="1209793"/>
                </a:cubicBezTo>
                <a:cubicBezTo>
                  <a:pt x="9002501" y="2230681"/>
                  <a:pt x="9002501" y="3649882"/>
                  <a:pt x="8220392" y="4667423"/>
                </a:cubicBezTo>
                <a:cubicBezTo>
                  <a:pt x="8180284" y="4720978"/>
                  <a:pt x="8120122" y="4747755"/>
                  <a:pt x="8059960" y="4747755"/>
                </a:cubicBezTo>
                <a:cubicBezTo>
                  <a:pt x="8016510" y="4747755"/>
                  <a:pt x="7973058" y="4734366"/>
                  <a:pt x="7932950" y="4707589"/>
                </a:cubicBezTo>
                <a:cubicBezTo>
                  <a:pt x="7846050" y="4637298"/>
                  <a:pt x="7829338" y="4510106"/>
                  <a:pt x="7896184" y="4419732"/>
                </a:cubicBezTo>
                <a:cubicBezTo>
                  <a:pt x="8567996" y="3549467"/>
                  <a:pt x="8567996" y="2331096"/>
                  <a:pt x="7899528" y="1457484"/>
                </a:cubicBezTo>
                <a:cubicBezTo>
                  <a:pt x="7829338" y="1370457"/>
                  <a:pt x="7846050" y="1243265"/>
                  <a:pt x="7936294" y="1172974"/>
                </a:cubicBezTo>
                <a:cubicBezTo>
                  <a:pt x="7970136" y="1147870"/>
                  <a:pt x="8009146" y="1134534"/>
                  <a:pt x="8048216" y="1132259"/>
                </a:cubicBezTo>
                <a:close/>
                <a:moveTo>
                  <a:pt x="9309194" y="635258"/>
                </a:moveTo>
                <a:cubicBezTo>
                  <a:pt x="9322169" y="635114"/>
                  <a:pt x="9335131" y="636212"/>
                  <a:pt x="9347883" y="638513"/>
                </a:cubicBezTo>
                <a:cubicBezTo>
                  <a:pt x="9398893" y="647717"/>
                  <a:pt x="9446559" y="676165"/>
                  <a:pt x="9478336" y="721346"/>
                </a:cubicBezTo>
                <a:cubicBezTo>
                  <a:pt x="10358056" y="1999817"/>
                  <a:pt x="10361401" y="3720062"/>
                  <a:pt x="9495061" y="5001880"/>
                </a:cubicBezTo>
                <a:cubicBezTo>
                  <a:pt x="9454922" y="5062122"/>
                  <a:pt x="9391368" y="5092243"/>
                  <a:pt x="9324469" y="5092243"/>
                </a:cubicBezTo>
                <a:cubicBezTo>
                  <a:pt x="9287674" y="5092243"/>
                  <a:pt x="9247535" y="5082203"/>
                  <a:pt x="9210741" y="5058775"/>
                </a:cubicBezTo>
                <a:cubicBezTo>
                  <a:pt x="9120427" y="4995187"/>
                  <a:pt x="9093668" y="4868009"/>
                  <a:pt x="9157222" y="4774299"/>
                </a:cubicBezTo>
                <a:cubicBezTo>
                  <a:pt x="9933248" y="3629699"/>
                  <a:pt x="9926558" y="2093527"/>
                  <a:pt x="9143842" y="952274"/>
                </a:cubicBezTo>
                <a:cubicBezTo>
                  <a:pt x="9080288" y="861911"/>
                  <a:pt x="9103703" y="734733"/>
                  <a:pt x="9197361" y="671144"/>
                </a:cubicBezTo>
                <a:cubicBezTo>
                  <a:pt x="9231229" y="647299"/>
                  <a:pt x="9270270" y="635689"/>
                  <a:pt x="9309194" y="635258"/>
                </a:cubicBezTo>
                <a:close/>
                <a:moveTo>
                  <a:pt x="6745076" y="321805"/>
                </a:moveTo>
                <a:lnTo>
                  <a:pt x="3927264" y="1617205"/>
                </a:lnTo>
                <a:lnTo>
                  <a:pt x="3927264" y="4298493"/>
                </a:lnTo>
                <a:lnTo>
                  <a:pt x="6745076" y="5593893"/>
                </a:lnTo>
                <a:close/>
                <a:moveTo>
                  <a:pt x="6881980" y="219"/>
                </a:moveTo>
                <a:cubicBezTo>
                  <a:pt x="6902890" y="1474"/>
                  <a:pt x="6923800" y="8168"/>
                  <a:pt x="6942200" y="21555"/>
                </a:cubicBezTo>
                <a:cubicBezTo>
                  <a:pt x="6975656" y="41636"/>
                  <a:pt x="6999076" y="81798"/>
                  <a:pt x="6999076" y="125307"/>
                </a:cubicBezTo>
                <a:cubicBezTo>
                  <a:pt x="6999076" y="125307"/>
                  <a:pt x="6999076" y="125307"/>
                  <a:pt x="6999076" y="5788144"/>
                </a:cubicBezTo>
                <a:cubicBezTo>
                  <a:pt x="6999076" y="5831653"/>
                  <a:pt x="6975656" y="5871815"/>
                  <a:pt x="6942200" y="5895243"/>
                </a:cubicBezTo>
                <a:cubicBezTo>
                  <a:pt x="6918782" y="5908630"/>
                  <a:pt x="6895364" y="5915324"/>
                  <a:pt x="6871944" y="5915324"/>
                </a:cubicBezTo>
                <a:cubicBezTo>
                  <a:pt x="6855216" y="5915324"/>
                  <a:pt x="6838488" y="5911977"/>
                  <a:pt x="6821760" y="5905283"/>
                </a:cubicBezTo>
                <a:cubicBezTo>
                  <a:pt x="6821760" y="5905283"/>
                  <a:pt x="6821760" y="5905283"/>
                  <a:pt x="3830814" y="4533083"/>
                </a:cubicBezTo>
                <a:cubicBezTo>
                  <a:pt x="3783976" y="4576592"/>
                  <a:pt x="3723756" y="4603366"/>
                  <a:pt x="3656844" y="4603366"/>
                </a:cubicBezTo>
                <a:cubicBezTo>
                  <a:pt x="3556478" y="4603366"/>
                  <a:pt x="3476184" y="4549817"/>
                  <a:pt x="3429346" y="4469493"/>
                </a:cubicBezTo>
                <a:cubicBezTo>
                  <a:pt x="3429346" y="4469493"/>
                  <a:pt x="3429346" y="4469493"/>
                  <a:pt x="3111516" y="4469493"/>
                </a:cubicBezTo>
                <a:cubicBezTo>
                  <a:pt x="2964310" y="4934703"/>
                  <a:pt x="2295196" y="5235917"/>
                  <a:pt x="1866960" y="5235917"/>
                </a:cubicBezTo>
                <a:cubicBezTo>
                  <a:pt x="1866960" y="5235917"/>
                  <a:pt x="1866960" y="5235917"/>
                  <a:pt x="1836850" y="5235917"/>
                </a:cubicBezTo>
                <a:cubicBezTo>
                  <a:pt x="1836850" y="5235917"/>
                  <a:pt x="1836850" y="5235917"/>
                  <a:pt x="1298212" y="6775459"/>
                </a:cubicBezTo>
                <a:cubicBezTo>
                  <a:pt x="1278140" y="6825662"/>
                  <a:pt x="1231302" y="6859130"/>
                  <a:pt x="1177772" y="6859130"/>
                </a:cubicBezTo>
                <a:cubicBezTo>
                  <a:pt x="1177772" y="6859130"/>
                  <a:pt x="1177772" y="6859130"/>
                  <a:pt x="127262" y="6859130"/>
                </a:cubicBezTo>
                <a:cubicBezTo>
                  <a:pt x="87114" y="6859130"/>
                  <a:pt x="46968" y="6839049"/>
                  <a:pt x="23548" y="6805581"/>
                </a:cubicBezTo>
                <a:cubicBezTo>
                  <a:pt x="130" y="6772113"/>
                  <a:pt x="-6562" y="6728604"/>
                  <a:pt x="6820" y="6688442"/>
                </a:cubicBezTo>
                <a:cubicBezTo>
                  <a:pt x="6820" y="6688442"/>
                  <a:pt x="6820" y="6688442"/>
                  <a:pt x="806414" y="4469493"/>
                </a:cubicBezTo>
                <a:cubicBezTo>
                  <a:pt x="806414" y="4469493"/>
                  <a:pt x="806414" y="4469493"/>
                  <a:pt x="127262" y="4469493"/>
                </a:cubicBezTo>
                <a:cubicBezTo>
                  <a:pt x="57004" y="4469493"/>
                  <a:pt x="130" y="4412597"/>
                  <a:pt x="130" y="4342313"/>
                </a:cubicBezTo>
                <a:cubicBezTo>
                  <a:pt x="130" y="4342313"/>
                  <a:pt x="130" y="4342313"/>
                  <a:pt x="130" y="1571138"/>
                </a:cubicBezTo>
                <a:cubicBezTo>
                  <a:pt x="130" y="1500855"/>
                  <a:pt x="57004" y="1447305"/>
                  <a:pt x="127262" y="1447305"/>
                </a:cubicBezTo>
                <a:cubicBezTo>
                  <a:pt x="127262" y="1447305"/>
                  <a:pt x="127262" y="1447305"/>
                  <a:pt x="3419308" y="1447305"/>
                </a:cubicBezTo>
                <a:cubicBezTo>
                  <a:pt x="3466146" y="1360288"/>
                  <a:pt x="3553132" y="1300045"/>
                  <a:pt x="3656844" y="1300045"/>
                </a:cubicBezTo>
                <a:cubicBezTo>
                  <a:pt x="3727102" y="1300045"/>
                  <a:pt x="3794014" y="1330166"/>
                  <a:pt x="3844196" y="1377022"/>
                </a:cubicBezTo>
                <a:cubicBezTo>
                  <a:pt x="3844196" y="1377022"/>
                  <a:pt x="3844196" y="1377022"/>
                  <a:pt x="6821760" y="11515"/>
                </a:cubicBezTo>
                <a:cubicBezTo>
                  <a:pt x="6840162" y="3147"/>
                  <a:pt x="6861072" y="-1036"/>
                  <a:pt x="6881980" y="219"/>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da-DK" dirty="0">
              <a:latin typeface="Danske Text v2" panose="020B0503040502040204" pitchFamily="34" charset="0"/>
            </a:endParaRPr>
          </a:p>
        </p:txBody>
      </p:sp>
      <p:sp>
        <p:nvSpPr>
          <p:cNvPr id="35" name="Shares"/>
          <p:cNvSpPr>
            <a:spLocks noChangeAspect="1"/>
          </p:cNvSpPr>
          <p:nvPr>
            <p:custDataLst>
              <p:tags r:id="rId3"/>
            </p:custDataLst>
          </p:nvPr>
        </p:nvSpPr>
        <p:spPr bwMode="auto">
          <a:xfrm>
            <a:off x="590551" y="4813156"/>
            <a:ext cx="432000" cy="396094"/>
          </a:xfrm>
          <a:custGeom>
            <a:avLst/>
            <a:gdLst>
              <a:gd name="connsiteX0" fmla="*/ 4322957 w 6073775"/>
              <a:gd name="connsiteY0" fmla="*/ 4411663 h 5568950"/>
              <a:gd name="connsiteX1" fmla="*/ 4116388 w 6073775"/>
              <a:gd name="connsiteY1" fmla="*/ 5119003 h 5568950"/>
              <a:gd name="connsiteX2" fmla="*/ 4356759 w 6073775"/>
              <a:gd name="connsiteY2" fmla="*/ 5017417 h 5568950"/>
              <a:gd name="connsiteX3" fmla="*/ 4390561 w 6073775"/>
              <a:gd name="connsiteY3" fmla="*/ 5009892 h 5568950"/>
              <a:gd name="connsiteX4" fmla="*/ 4469433 w 6073775"/>
              <a:gd name="connsiteY4" fmla="*/ 5051279 h 5568950"/>
              <a:gd name="connsiteX5" fmla="*/ 4615909 w 6073775"/>
              <a:gd name="connsiteY5" fmla="*/ 5265738 h 5568950"/>
              <a:gd name="connsiteX6" fmla="*/ 4732338 w 6073775"/>
              <a:gd name="connsiteY6" fmla="*/ 4863157 h 5568950"/>
              <a:gd name="connsiteX7" fmla="*/ 4638443 w 6073775"/>
              <a:gd name="connsiteY7" fmla="*/ 4543349 h 5568950"/>
              <a:gd name="connsiteX8" fmla="*/ 4409340 w 6073775"/>
              <a:gd name="connsiteY8" fmla="*/ 4411663 h 5568950"/>
              <a:gd name="connsiteX9" fmla="*/ 4322957 w 6073775"/>
              <a:gd name="connsiteY9" fmla="*/ 4411663 h 5568950"/>
              <a:gd name="connsiteX10" fmla="*/ 4860926 w 6073775"/>
              <a:gd name="connsiteY10" fmla="*/ 3394075 h 5568950"/>
              <a:gd name="connsiteX11" fmla="*/ 4357688 w 6073775"/>
              <a:gd name="connsiteY11" fmla="*/ 3878535 h 5568950"/>
              <a:gd name="connsiteX12" fmla="*/ 4357688 w 6073775"/>
              <a:gd name="connsiteY12" fmla="*/ 3897313 h 5568950"/>
              <a:gd name="connsiteX13" fmla="*/ 4410265 w 6073775"/>
              <a:gd name="connsiteY13" fmla="*/ 4115132 h 5568950"/>
              <a:gd name="connsiteX14" fmla="*/ 4485375 w 6073775"/>
              <a:gd name="connsiteY14" fmla="*/ 4227797 h 5568950"/>
              <a:gd name="connsiteX15" fmla="*/ 4571752 w 6073775"/>
              <a:gd name="connsiteY15" fmla="*/ 4306663 h 5568950"/>
              <a:gd name="connsiteX16" fmla="*/ 4860926 w 6073775"/>
              <a:gd name="connsiteY16" fmla="*/ 4400550 h 5568950"/>
              <a:gd name="connsiteX17" fmla="*/ 4864681 w 6073775"/>
              <a:gd name="connsiteY17" fmla="*/ 4400550 h 5568950"/>
              <a:gd name="connsiteX18" fmla="*/ 5071234 w 6073775"/>
              <a:gd name="connsiteY18" fmla="*/ 4351729 h 5568950"/>
              <a:gd name="connsiteX19" fmla="*/ 5236476 w 6073775"/>
              <a:gd name="connsiteY19" fmla="*/ 4227797 h 5568950"/>
              <a:gd name="connsiteX20" fmla="*/ 5364163 w 6073775"/>
              <a:gd name="connsiteY20" fmla="*/ 3901068 h 5568950"/>
              <a:gd name="connsiteX21" fmla="*/ 5364163 w 6073775"/>
              <a:gd name="connsiteY21" fmla="*/ 3897313 h 5568950"/>
              <a:gd name="connsiteX22" fmla="*/ 4860926 w 6073775"/>
              <a:gd name="connsiteY22" fmla="*/ 3394075 h 5568950"/>
              <a:gd name="connsiteX23" fmla="*/ 5070326 w 6073775"/>
              <a:gd name="connsiteY23" fmla="*/ 1124051 h 5568950"/>
              <a:gd name="connsiteX24" fmla="*/ 5150092 w 6073775"/>
              <a:gd name="connsiteY24" fmla="*/ 1187984 h 5568950"/>
              <a:gd name="connsiteX25" fmla="*/ 5307862 w 6073775"/>
              <a:gd name="connsiteY25" fmla="*/ 1725280 h 5568950"/>
              <a:gd name="connsiteX26" fmla="*/ 5244003 w 6073775"/>
              <a:gd name="connsiteY26" fmla="*/ 1841757 h 5568950"/>
              <a:gd name="connsiteX27" fmla="*/ 5217708 w 6073775"/>
              <a:gd name="connsiteY27" fmla="*/ 1845514 h 5568950"/>
              <a:gd name="connsiteX28" fmla="*/ 5131310 w 6073775"/>
              <a:gd name="connsiteY28" fmla="*/ 1777883 h 5568950"/>
              <a:gd name="connsiteX29" fmla="*/ 5033642 w 6073775"/>
              <a:gd name="connsiteY29" fmla="*/ 1450996 h 5568950"/>
              <a:gd name="connsiteX30" fmla="*/ 4034427 w 6073775"/>
              <a:gd name="connsiteY30" fmla="*/ 2923864 h 5568950"/>
              <a:gd name="connsiteX31" fmla="*/ 3959298 w 6073775"/>
              <a:gd name="connsiteY31" fmla="*/ 2965194 h 5568950"/>
              <a:gd name="connsiteX32" fmla="*/ 3884169 w 6073775"/>
              <a:gd name="connsiteY32" fmla="*/ 2927621 h 5568950"/>
              <a:gd name="connsiteX33" fmla="*/ 3501012 w 6073775"/>
              <a:gd name="connsiteY33" fmla="*/ 2405354 h 5568950"/>
              <a:gd name="connsiteX34" fmla="*/ 2667081 w 6073775"/>
              <a:gd name="connsiteY34" fmla="*/ 3652783 h 5568950"/>
              <a:gd name="connsiteX35" fmla="*/ 2591952 w 6073775"/>
              <a:gd name="connsiteY35" fmla="*/ 3694113 h 5568950"/>
              <a:gd name="connsiteX36" fmla="*/ 2588196 w 6073775"/>
              <a:gd name="connsiteY36" fmla="*/ 3694113 h 5568950"/>
              <a:gd name="connsiteX37" fmla="*/ 2509310 w 6073775"/>
              <a:gd name="connsiteY37" fmla="*/ 3645268 h 5568950"/>
              <a:gd name="connsiteX38" fmla="*/ 1592738 w 6073775"/>
              <a:gd name="connsiteY38" fmla="*/ 1946962 h 5568950"/>
              <a:gd name="connsiteX39" fmla="*/ 822666 w 6073775"/>
              <a:gd name="connsiteY39" fmla="*/ 3006525 h 5568950"/>
              <a:gd name="connsiteX40" fmla="*/ 694947 w 6073775"/>
              <a:gd name="connsiteY40" fmla="*/ 3025311 h 5568950"/>
              <a:gd name="connsiteX41" fmla="*/ 676165 w 6073775"/>
              <a:gd name="connsiteY41" fmla="*/ 2897563 h 5568950"/>
              <a:gd name="connsiteX42" fmla="*/ 1528878 w 6073775"/>
              <a:gd name="connsiteY42" fmla="*/ 1717766 h 5568950"/>
              <a:gd name="connsiteX43" fmla="*/ 1611520 w 6073775"/>
              <a:gd name="connsiteY43" fmla="*/ 1680193 h 5568950"/>
              <a:gd name="connsiteX44" fmla="*/ 1686649 w 6073775"/>
              <a:gd name="connsiteY44" fmla="*/ 1729038 h 5568950"/>
              <a:gd name="connsiteX45" fmla="*/ 2599465 w 6073775"/>
              <a:gd name="connsiteY45" fmla="*/ 3423586 h 5568950"/>
              <a:gd name="connsiteX46" fmla="*/ 3422127 w 6073775"/>
              <a:gd name="connsiteY46" fmla="*/ 2194945 h 5568950"/>
              <a:gd name="connsiteX47" fmla="*/ 3497255 w 6073775"/>
              <a:gd name="connsiteY47" fmla="*/ 2153614 h 5568950"/>
              <a:gd name="connsiteX48" fmla="*/ 3572384 w 6073775"/>
              <a:gd name="connsiteY48" fmla="*/ 2191187 h 5568950"/>
              <a:gd name="connsiteX49" fmla="*/ 3955542 w 6073775"/>
              <a:gd name="connsiteY49" fmla="*/ 2713454 h 5568950"/>
              <a:gd name="connsiteX50" fmla="*/ 4868358 w 6073775"/>
              <a:gd name="connsiteY50" fmla="*/ 1364578 h 5568950"/>
              <a:gd name="connsiteX51" fmla="*/ 4534035 w 6073775"/>
              <a:gd name="connsiteY51" fmla="*/ 1462268 h 5568950"/>
              <a:gd name="connsiteX52" fmla="*/ 4421341 w 6073775"/>
              <a:gd name="connsiteY52" fmla="*/ 1398394 h 5568950"/>
              <a:gd name="connsiteX53" fmla="*/ 4485201 w 6073775"/>
              <a:gd name="connsiteY53" fmla="*/ 1285675 h 5568950"/>
              <a:gd name="connsiteX54" fmla="*/ 5033642 w 6073775"/>
              <a:gd name="connsiteY54" fmla="*/ 1127867 h 5568950"/>
              <a:gd name="connsiteX55" fmla="*/ 5070326 w 6073775"/>
              <a:gd name="connsiteY55" fmla="*/ 1124051 h 5568950"/>
              <a:gd name="connsiteX56" fmla="*/ 1059315 w 6073775"/>
              <a:gd name="connsiteY56" fmla="*/ 184150 h 5568950"/>
              <a:gd name="connsiteX57" fmla="*/ 1059315 w 6073775"/>
              <a:gd name="connsiteY57" fmla="*/ 1014618 h 5568950"/>
              <a:gd name="connsiteX58" fmla="*/ 969169 w 6073775"/>
              <a:gd name="connsiteY58" fmla="*/ 1104804 h 5568950"/>
              <a:gd name="connsiteX59" fmla="*/ 184150 w 6073775"/>
              <a:gd name="connsiteY59" fmla="*/ 1104804 h 5568950"/>
              <a:gd name="connsiteX60" fmla="*/ 184150 w 6073775"/>
              <a:gd name="connsiteY60" fmla="*/ 4227513 h 5568950"/>
              <a:gd name="connsiteX61" fmla="*/ 4184368 w 6073775"/>
              <a:gd name="connsiteY61" fmla="*/ 4227513 h 5568950"/>
              <a:gd name="connsiteX62" fmla="*/ 4214417 w 6073775"/>
              <a:gd name="connsiteY62" fmla="*/ 4126053 h 5568950"/>
              <a:gd name="connsiteX63" fmla="*/ 4173100 w 6073775"/>
              <a:gd name="connsiteY63" fmla="*/ 3896829 h 5568950"/>
              <a:gd name="connsiteX64" fmla="*/ 4860461 w 6073775"/>
              <a:gd name="connsiteY64" fmla="*/ 3209157 h 5568950"/>
              <a:gd name="connsiteX65" fmla="*/ 5547823 w 6073775"/>
              <a:gd name="connsiteY65" fmla="*/ 3896829 h 5568950"/>
              <a:gd name="connsiteX66" fmla="*/ 5465189 w 6073775"/>
              <a:gd name="connsiteY66" fmla="*/ 4212482 h 5568950"/>
              <a:gd name="connsiteX67" fmla="*/ 5472701 w 6073775"/>
              <a:gd name="connsiteY67" fmla="*/ 4227513 h 5568950"/>
              <a:gd name="connsiteX68" fmla="*/ 5889625 w 6073775"/>
              <a:gd name="connsiteY68" fmla="*/ 4227513 h 5568950"/>
              <a:gd name="connsiteX69" fmla="*/ 5889625 w 6073775"/>
              <a:gd name="connsiteY69" fmla="*/ 184150 h 5568950"/>
              <a:gd name="connsiteX70" fmla="*/ 1059315 w 6073775"/>
              <a:gd name="connsiteY70" fmla="*/ 184150 h 5568950"/>
              <a:gd name="connsiteX71" fmla="*/ 995393 w 6073775"/>
              <a:gd name="connsiteY71" fmla="*/ 0 h 5568950"/>
              <a:gd name="connsiteX72" fmla="*/ 5979870 w 6073775"/>
              <a:gd name="connsiteY72" fmla="*/ 0 h 5568950"/>
              <a:gd name="connsiteX73" fmla="*/ 6073775 w 6073775"/>
              <a:gd name="connsiteY73" fmla="*/ 93943 h 5568950"/>
              <a:gd name="connsiteX74" fmla="*/ 6073775 w 6073775"/>
              <a:gd name="connsiteY74" fmla="*/ 4317627 h 5568950"/>
              <a:gd name="connsiteX75" fmla="*/ 5979870 w 6073775"/>
              <a:gd name="connsiteY75" fmla="*/ 4411571 h 5568950"/>
              <a:gd name="connsiteX76" fmla="*/ 5525370 w 6073775"/>
              <a:gd name="connsiteY76" fmla="*/ 4411571 h 5568950"/>
              <a:gd name="connsiteX77" fmla="*/ 5762011 w 6073775"/>
              <a:gd name="connsiteY77" fmla="*/ 5230755 h 5568950"/>
              <a:gd name="connsiteX78" fmla="*/ 5777035 w 6073775"/>
              <a:gd name="connsiteY78" fmla="*/ 5279605 h 5568950"/>
              <a:gd name="connsiteX79" fmla="*/ 5683130 w 6073775"/>
              <a:gd name="connsiteY79" fmla="*/ 5373548 h 5568950"/>
              <a:gd name="connsiteX80" fmla="*/ 5645568 w 6073775"/>
              <a:gd name="connsiteY80" fmla="*/ 5366033 h 5568950"/>
              <a:gd name="connsiteX81" fmla="*/ 5296242 w 6073775"/>
              <a:gd name="connsiteY81" fmla="*/ 5215724 h 5568950"/>
              <a:gd name="connsiteX82" fmla="*/ 5082139 w 6073775"/>
              <a:gd name="connsiteY82" fmla="*/ 5527615 h 5568950"/>
              <a:gd name="connsiteX83" fmla="*/ 5007015 w 6073775"/>
              <a:gd name="connsiteY83" fmla="*/ 5568950 h 5568950"/>
              <a:gd name="connsiteX84" fmla="*/ 4991990 w 6073775"/>
              <a:gd name="connsiteY84" fmla="*/ 5565193 h 5568950"/>
              <a:gd name="connsiteX85" fmla="*/ 4916866 w 6073775"/>
              <a:gd name="connsiteY85" fmla="*/ 5501311 h 5568950"/>
              <a:gd name="connsiteX86" fmla="*/ 4826717 w 6073775"/>
              <a:gd name="connsiteY86" fmla="*/ 5193178 h 5568950"/>
              <a:gd name="connsiteX87" fmla="*/ 4736568 w 6073775"/>
              <a:gd name="connsiteY87" fmla="*/ 5501311 h 5568950"/>
              <a:gd name="connsiteX88" fmla="*/ 4665200 w 6073775"/>
              <a:gd name="connsiteY88" fmla="*/ 5565193 h 5568950"/>
              <a:gd name="connsiteX89" fmla="*/ 4650176 w 6073775"/>
              <a:gd name="connsiteY89" fmla="*/ 5568950 h 5568950"/>
              <a:gd name="connsiteX90" fmla="*/ 4575052 w 6073775"/>
              <a:gd name="connsiteY90" fmla="*/ 5527615 h 5568950"/>
              <a:gd name="connsiteX91" fmla="*/ 4357192 w 6073775"/>
              <a:gd name="connsiteY91" fmla="*/ 5215724 h 5568950"/>
              <a:gd name="connsiteX92" fmla="*/ 4011621 w 6073775"/>
              <a:gd name="connsiteY92" fmla="*/ 5366033 h 5568950"/>
              <a:gd name="connsiteX93" fmla="*/ 3913960 w 6073775"/>
              <a:gd name="connsiteY93" fmla="*/ 5347244 h 5568950"/>
              <a:gd name="connsiteX94" fmla="*/ 3887667 w 6073775"/>
              <a:gd name="connsiteY94" fmla="*/ 5253301 h 5568950"/>
              <a:gd name="connsiteX95" fmla="*/ 4131820 w 6073775"/>
              <a:gd name="connsiteY95" fmla="*/ 4411571 h 5568950"/>
              <a:gd name="connsiteX96" fmla="*/ 93905 w 6073775"/>
              <a:gd name="connsiteY96" fmla="*/ 4411571 h 5568950"/>
              <a:gd name="connsiteX97" fmla="*/ 0 w 6073775"/>
              <a:gd name="connsiteY97" fmla="*/ 4317627 h 5568950"/>
              <a:gd name="connsiteX98" fmla="*/ 0 w 6073775"/>
              <a:gd name="connsiteY98" fmla="*/ 1040891 h 5568950"/>
              <a:gd name="connsiteX99" fmla="*/ 26294 w 6073775"/>
              <a:gd name="connsiteY99" fmla="*/ 977009 h 5568950"/>
              <a:gd name="connsiteX100" fmla="*/ 931538 w 6073775"/>
              <a:gd name="connsiteY100" fmla="*/ 30062 h 5568950"/>
              <a:gd name="connsiteX101" fmla="*/ 995393 w 6073775"/>
              <a:gd name="connsiteY101" fmla="*/ 0 h 556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6073775" h="5568950">
                <a:moveTo>
                  <a:pt x="4322957" y="4411663"/>
                </a:moveTo>
                <a:cubicBezTo>
                  <a:pt x="4322957" y="4411663"/>
                  <a:pt x="4322957" y="4411663"/>
                  <a:pt x="4116388" y="5119003"/>
                </a:cubicBezTo>
                <a:cubicBezTo>
                  <a:pt x="4116388" y="5119003"/>
                  <a:pt x="4116388" y="5119003"/>
                  <a:pt x="4356759" y="5017417"/>
                </a:cubicBezTo>
                <a:cubicBezTo>
                  <a:pt x="4368026" y="5013654"/>
                  <a:pt x="4379294" y="5009892"/>
                  <a:pt x="4390561" y="5009892"/>
                </a:cubicBezTo>
                <a:cubicBezTo>
                  <a:pt x="4420607" y="5009892"/>
                  <a:pt x="4450654" y="5024942"/>
                  <a:pt x="4469433" y="5051279"/>
                </a:cubicBezTo>
                <a:cubicBezTo>
                  <a:pt x="4469433" y="5051279"/>
                  <a:pt x="4469433" y="5051279"/>
                  <a:pt x="4615909" y="5265738"/>
                </a:cubicBezTo>
                <a:lnTo>
                  <a:pt x="4732338" y="4863157"/>
                </a:lnTo>
                <a:cubicBezTo>
                  <a:pt x="4732338" y="4863157"/>
                  <a:pt x="4732338" y="4863157"/>
                  <a:pt x="4638443" y="4543349"/>
                </a:cubicBezTo>
                <a:cubicBezTo>
                  <a:pt x="4552060" y="4517012"/>
                  <a:pt x="4476944" y="4468100"/>
                  <a:pt x="4409340" y="4411663"/>
                </a:cubicBezTo>
                <a:cubicBezTo>
                  <a:pt x="4409340" y="4411663"/>
                  <a:pt x="4409340" y="4411663"/>
                  <a:pt x="4322957" y="4411663"/>
                </a:cubicBezTo>
                <a:close/>
                <a:moveTo>
                  <a:pt x="4860926" y="3394075"/>
                </a:moveTo>
                <a:cubicBezTo>
                  <a:pt x="4590529" y="3394075"/>
                  <a:pt x="4368955" y="3608139"/>
                  <a:pt x="4357688" y="3878535"/>
                </a:cubicBezTo>
                <a:cubicBezTo>
                  <a:pt x="4357688" y="3882291"/>
                  <a:pt x="4357688" y="3889802"/>
                  <a:pt x="4357688" y="3897313"/>
                </a:cubicBezTo>
                <a:cubicBezTo>
                  <a:pt x="4357688" y="3976178"/>
                  <a:pt x="4376466" y="4047533"/>
                  <a:pt x="4410265" y="4115132"/>
                </a:cubicBezTo>
                <a:cubicBezTo>
                  <a:pt x="4429043" y="4156442"/>
                  <a:pt x="4455331" y="4193998"/>
                  <a:pt x="4485375" y="4227797"/>
                </a:cubicBezTo>
                <a:cubicBezTo>
                  <a:pt x="4511664" y="4257841"/>
                  <a:pt x="4537952" y="4284130"/>
                  <a:pt x="4571752" y="4306663"/>
                </a:cubicBezTo>
                <a:cubicBezTo>
                  <a:pt x="4654373" y="4366751"/>
                  <a:pt x="4752016" y="4400550"/>
                  <a:pt x="4860926" y="4400550"/>
                </a:cubicBezTo>
                <a:cubicBezTo>
                  <a:pt x="4860926" y="4400550"/>
                  <a:pt x="4864681" y="4400550"/>
                  <a:pt x="4864681" y="4400550"/>
                </a:cubicBezTo>
                <a:cubicBezTo>
                  <a:pt x="4939791" y="4396795"/>
                  <a:pt x="5007390" y="4381773"/>
                  <a:pt x="5071234" y="4351729"/>
                </a:cubicBezTo>
                <a:cubicBezTo>
                  <a:pt x="5135077" y="4321685"/>
                  <a:pt x="5191410" y="4280374"/>
                  <a:pt x="5236476" y="4227797"/>
                </a:cubicBezTo>
                <a:cubicBezTo>
                  <a:pt x="5315342" y="4141420"/>
                  <a:pt x="5360407" y="4025000"/>
                  <a:pt x="5364163" y="3901068"/>
                </a:cubicBezTo>
                <a:cubicBezTo>
                  <a:pt x="5364163" y="3901068"/>
                  <a:pt x="5364163" y="3897313"/>
                  <a:pt x="5364163" y="3897313"/>
                </a:cubicBezTo>
                <a:cubicBezTo>
                  <a:pt x="5364163" y="3619405"/>
                  <a:pt x="5138833" y="3394075"/>
                  <a:pt x="4860926" y="3394075"/>
                </a:cubicBezTo>
                <a:close/>
                <a:moveTo>
                  <a:pt x="5070326" y="1124051"/>
                </a:moveTo>
                <a:cubicBezTo>
                  <a:pt x="5106423" y="1127398"/>
                  <a:pt x="5138822" y="1151351"/>
                  <a:pt x="5150092" y="1187984"/>
                </a:cubicBezTo>
                <a:cubicBezTo>
                  <a:pt x="5150092" y="1187984"/>
                  <a:pt x="5150092" y="1187984"/>
                  <a:pt x="5307862" y="1725280"/>
                </a:cubicBezTo>
                <a:cubicBezTo>
                  <a:pt x="5322888" y="1774125"/>
                  <a:pt x="5292837" y="1826728"/>
                  <a:pt x="5244003" y="1841757"/>
                </a:cubicBezTo>
                <a:cubicBezTo>
                  <a:pt x="5236490" y="1841757"/>
                  <a:pt x="5228977" y="1845514"/>
                  <a:pt x="5217708" y="1845514"/>
                </a:cubicBezTo>
                <a:cubicBezTo>
                  <a:pt x="5180143" y="1845514"/>
                  <a:pt x="5142579" y="1819213"/>
                  <a:pt x="5131310" y="1777883"/>
                </a:cubicBezTo>
                <a:cubicBezTo>
                  <a:pt x="5131310" y="1777883"/>
                  <a:pt x="5131310" y="1777883"/>
                  <a:pt x="5033642" y="1450996"/>
                </a:cubicBezTo>
                <a:cubicBezTo>
                  <a:pt x="5033642" y="1450996"/>
                  <a:pt x="5033642" y="1450996"/>
                  <a:pt x="4034427" y="2923864"/>
                </a:cubicBezTo>
                <a:cubicBezTo>
                  <a:pt x="4015645" y="2950165"/>
                  <a:pt x="3989350" y="2965194"/>
                  <a:pt x="3959298" y="2965194"/>
                </a:cubicBezTo>
                <a:cubicBezTo>
                  <a:pt x="3925490" y="2961437"/>
                  <a:pt x="3899195" y="2950165"/>
                  <a:pt x="3884169" y="2927621"/>
                </a:cubicBezTo>
                <a:cubicBezTo>
                  <a:pt x="3884169" y="2927621"/>
                  <a:pt x="3884169" y="2927621"/>
                  <a:pt x="3501012" y="2405354"/>
                </a:cubicBezTo>
                <a:cubicBezTo>
                  <a:pt x="3501012" y="2405354"/>
                  <a:pt x="3501012" y="2405354"/>
                  <a:pt x="2667081" y="3652783"/>
                </a:cubicBezTo>
                <a:cubicBezTo>
                  <a:pt x="2652055" y="3679084"/>
                  <a:pt x="2622004" y="3694113"/>
                  <a:pt x="2591952" y="3694113"/>
                </a:cubicBezTo>
                <a:cubicBezTo>
                  <a:pt x="2588196" y="3694113"/>
                  <a:pt x="2588196" y="3694113"/>
                  <a:pt x="2588196" y="3694113"/>
                </a:cubicBezTo>
                <a:cubicBezTo>
                  <a:pt x="2554388" y="3690356"/>
                  <a:pt x="2524336" y="3671569"/>
                  <a:pt x="2509310" y="3645268"/>
                </a:cubicBezTo>
                <a:cubicBezTo>
                  <a:pt x="2509310" y="3645268"/>
                  <a:pt x="2509310" y="3645268"/>
                  <a:pt x="1592738" y="1946962"/>
                </a:cubicBezTo>
                <a:cubicBezTo>
                  <a:pt x="1592738" y="1946962"/>
                  <a:pt x="1592738" y="1946962"/>
                  <a:pt x="822666" y="3006525"/>
                </a:cubicBezTo>
                <a:cubicBezTo>
                  <a:pt x="792615" y="3047855"/>
                  <a:pt x="736268" y="3055370"/>
                  <a:pt x="694947" y="3025311"/>
                </a:cubicBezTo>
                <a:cubicBezTo>
                  <a:pt x="653626" y="2995253"/>
                  <a:pt x="646113" y="2938893"/>
                  <a:pt x="676165" y="2897563"/>
                </a:cubicBezTo>
                <a:lnTo>
                  <a:pt x="1528878" y="1717766"/>
                </a:lnTo>
                <a:cubicBezTo>
                  <a:pt x="1547660" y="1695222"/>
                  <a:pt x="1577712" y="1680193"/>
                  <a:pt x="1611520" y="1680193"/>
                </a:cubicBezTo>
                <a:cubicBezTo>
                  <a:pt x="1641571" y="1683950"/>
                  <a:pt x="1671623" y="1702737"/>
                  <a:pt x="1686649" y="1729038"/>
                </a:cubicBezTo>
                <a:cubicBezTo>
                  <a:pt x="1686649" y="1729038"/>
                  <a:pt x="1686649" y="1729038"/>
                  <a:pt x="2599465" y="3423586"/>
                </a:cubicBezTo>
                <a:cubicBezTo>
                  <a:pt x="2599465" y="3423586"/>
                  <a:pt x="2599465" y="3423586"/>
                  <a:pt x="3422127" y="2194945"/>
                </a:cubicBezTo>
                <a:cubicBezTo>
                  <a:pt x="3437152" y="2172401"/>
                  <a:pt x="3467204" y="2153614"/>
                  <a:pt x="3497255" y="2153614"/>
                </a:cubicBezTo>
                <a:cubicBezTo>
                  <a:pt x="3523551" y="2153614"/>
                  <a:pt x="3553602" y="2168644"/>
                  <a:pt x="3572384" y="2191187"/>
                </a:cubicBezTo>
                <a:cubicBezTo>
                  <a:pt x="3572384" y="2191187"/>
                  <a:pt x="3572384" y="2191187"/>
                  <a:pt x="3955542" y="2713454"/>
                </a:cubicBezTo>
                <a:cubicBezTo>
                  <a:pt x="3955542" y="2713454"/>
                  <a:pt x="3955542" y="2713454"/>
                  <a:pt x="4868358" y="1364578"/>
                </a:cubicBezTo>
                <a:cubicBezTo>
                  <a:pt x="4868358" y="1364578"/>
                  <a:pt x="4868358" y="1364578"/>
                  <a:pt x="4534035" y="1462268"/>
                </a:cubicBezTo>
                <a:cubicBezTo>
                  <a:pt x="4485201" y="1473540"/>
                  <a:pt x="4436367" y="1447239"/>
                  <a:pt x="4421341" y="1398394"/>
                </a:cubicBezTo>
                <a:cubicBezTo>
                  <a:pt x="4406315" y="1349549"/>
                  <a:pt x="4436367" y="1296946"/>
                  <a:pt x="4485201" y="1285675"/>
                </a:cubicBezTo>
                <a:cubicBezTo>
                  <a:pt x="4485201" y="1285675"/>
                  <a:pt x="4485201" y="1285675"/>
                  <a:pt x="5033642" y="1127867"/>
                </a:cubicBezTo>
                <a:cubicBezTo>
                  <a:pt x="5045850" y="1124110"/>
                  <a:pt x="5058293" y="1122936"/>
                  <a:pt x="5070326" y="1124051"/>
                </a:cubicBezTo>
                <a:close/>
                <a:moveTo>
                  <a:pt x="1059315" y="184150"/>
                </a:moveTo>
                <a:cubicBezTo>
                  <a:pt x="1059315" y="184150"/>
                  <a:pt x="1059315" y="184150"/>
                  <a:pt x="1059315" y="1014618"/>
                </a:cubicBezTo>
                <a:cubicBezTo>
                  <a:pt x="1059315" y="1063469"/>
                  <a:pt x="1017998" y="1104804"/>
                  <a:pt x="969169" y="1104804"/>
                </a:cubicBezTo>
                <a:cubicBezTo>
                  <a:pt x="969169" y="1104804"/>
                  <a:pt x="969169" y="1104804"/>
                  <a:pt x="184150" y="1104804"/>
                </a:cubicBezTo>
                <a:cubicBezTo>
                  <a:pt x="184150" y="1104804"/>
                  <a:pt x="184150" y="1104804"/>
                  <a:pt x="184150" y="4227513"/>
                </a:cubicBezTo>
                <a:cubicBezTo>
                  <a:pt x="184150" y="4227513"/>
                  <a:pt x="184150" y="4227513"/>
                  <a:pt x="4184368" y="4227513"/>
                </a:cubicBezTo>
                <a:cubicBezTo>
                  <a:pt x="4184368" y="4227513"/>
                  <a:pt x="4184368" y="4227513"/>
                  <a:pt x="4214417" y="4126053"/>
                </a:cubicBezTo>
                <a:cubicBezTo>
                  <a:pt x="4188124" y="4054656"/>
                  <a:pt x="4173100" y="3975742"/>
                  <a:pt x="4173100" y="3896829"/>
                </a:cubicBezTo>
                <a:cubicBezTo>
                  <a:pt x="4173100" y="3517294"/>
                  <a:pt x="4481098" y="3209157"/>
                  <a:pt x="4860461" y="3209157"/>
                </a:cubicBezTo>
                <a:cubicBezTo>
                  <a:pt x="5239825" y="3209157"/>
                  <a:pt x="5547823" y="3517294"/>
                  <a:pt x="5547823" y="3896829"/>
                </a:cubicBezTo>
                <a:cubicBezTo>
                  <a:pt x="5547823" y="4009562"/>
                  <a:pt x="5517774" y="4114780"/>
                  <a:pt x="5465189" y="4212482"/>
                </a:cubicBezTo>
                <a:cubicBezTo>
                  <a:pt x="5465189" y="4212482"/>
                  <a:pt x="5465189" y="4212482"/>
                  <a:pt x="5472701" y="4227513"/>
                </a:cubicBezTo>
                <a:cubicBezTo>
                  <a:pt x="5472701" y="4227513"/>
                  <a:pt x="5472701" y="4227513"/>
                  <a:pt x="5889625" y="4227513"/>
                </a:cubicBezTo>
                <a:lnTo>
                  <a:pt x="5889625" y="184150"/>
                </a:lnTo>
                <a:cubicBezTo>
                  <a:pt x="5889625" y="184150"/>
                  <a:pt x="5889625" y="184150"/>
                  <a:pt x="1059315" y="184150"/>
                </a:cubicBezTo>
                <a:close/>
                <a:moveTo>
                  <a:pt x="995393" y="0"/>
                </a:moveTo>
                <a:cubicBezTo>
                  <a:pt x="995393" y="0"/>
                  <a:pt x="995393" y="0"/>
                  <a:pt x="5979870" y="0"/>
                </a:cubicBezTo>
                <a:cubicBezTo>
                  <a:pt x="6032457" y="0"/>
                  <a:pt x="6073775" y="41335"/>
                  <a:pt x="6073775" y="93943"/>
                </a:cubicBezTo>
                <a:cubicBezTo>
                  <a:pt x="6073775" y="93943"/>
                  <a:pt x="6073775" y="93943"/>
                  <a:pt x="6073775" y="4317627"/>
                </a:cubicBezTo>
                <a:cubicBezTo>
                  <a:pt x="6073775" y="4370236"/>
                  <a:pt x="6032457" y="4411571"/>
                  <a:pt x="5979870" y="4411571"/>
                </a:cubicBezTo>
                <a:cubicBezTo>
                  <a:pt x="5979870" y="4411571"/>
                  <a:pt x="5979870" y="4411571"/>
                  <a:pt x="5525370" y="4411571"/>
                </a:cubicBezTo>
                <a:cubicBezTo>
                  <a:pt x="5525370" y="4411571"/>
                  <a:pt x="5525370" y="4411571"/>
                  <a:pt x="5762011" y="5230755"/>
                </a:cubicBezTo>
                <a:cubicBezTo>
                  <a:pt x="5769523" y="5245786"/>
                  <a:pt x="5777035" y="5260817"/>
                  <a:pt x="5777035" y="5279605"/>
                </a:cubicBezTo>
                <a:cubicBezTo>
                  <a:pt x="5777035" y="5332214"/>
                  <a:pt x="5728205" y="5377306"/>
                  <a:pt x="5683130" y="5373548"/>
                </a:cubicBezTo>
                <a:cubicBezTo>
                  <a:pt x="5668105" y="5373548"/>
                  <a:pt x="5656837" y="5369791"/>
                  <a:pt x="5645568" y="5366033"/>
                </a:cubicBezTo>
                <a:cubicBezTo>
                  <a:pt x="5645568" y="5366033"/>
                  <a:pt x="5645568" y="5366033"/>
                  <a:pt x="5296242" y="5215724"/>
                </a:cubicBezTo>
                <a:cubicBezTo>
                  <a:pt x="5296242" y="5215724"/>
                  <a:pt x="5296242" y="5215724"/>
                  <a:pt x="5082139" y="5527615"/>
                </a:cubicBezTo>
                <a:cubicBezTo>
                  <a:pt x="5063358" y="5553919"/>
                  <a:pt x="5037064" y="5568950"/>
                  <a:pt x="5007015" y="5568950"/>
                </a:cubicBezTo>
                <a:cubicBezTo>
                  <a:pt x="4999502" y="5568950"/>
                  <a:pt x="4995746" y="5568950"/>
                  <a:pt x="4991990" y="5565193"/>
                </a:cubicBezTo>
                <a:cubicBezTo>
                  <a:pt x="4954428" y="5561435"/>
                  <a:pt x="4928134" y="5535131"/>
                  <a:pt x="4916866" y="5501311"/>
                </a:cubicBezTo>
                <a:cubicBezTo>
                  <a:pt x="4916866" y="5501311"/>
                  <a:pt x="4916866" y="5501311"/>
                  <a:pt x="4826717" y="5193178"/>
                </a:cubicBezTo>
                <a:cubicBezTo>
                  <a:pt x="4826717" y="5193178"/>
                  <a:pt x="4826717" y="5193178"/>
                  <a:pt x="4736568" y="5501311"/>
                </a:cubicBezTo>
                <a:cubicBezTo>
                  <a:pt x="4729056" y="5535131"/>
                  <a:pt x="4699006" y="5561435"/>
                  <a:pt x="4665200" y="5565193"/>
                </a:cubicBezTo>
                <a:cubicBezTo>
                  <a:pt x="4657688" y="5568950"/>
                  <a:pt x="4653932" y="5568950"/>
                  <a:pt x="4650176" y="5568950"/>
                </a:cubicBezTo>
                <a:cubicBezTo>
                  <a:pt x="4620126" y="5568950"/>
                  <a:pt x="4590076" y="5553919"/>
                  <a:pt x="4575052" y="5527615"/>
                </a:cubicBezTo>
                <a:cubicBezTo>
                  <a:pt x="4575052" y="5527615"/>
                  <a:pt x="4575052" y="5527615"/>
                  <a:pt x="4357192" y="5215724"/>
                </a:cubicBezTo>
                <a:cubicBezTo>
                  <a:pt x="4357192" y="5215724"/>
                  <a:pt x="4357192" y="5215724"/>
                  <a:pt x="4011621" y="5366033"/>
                </a:cubicBezTo>
                <a:cubicBezTo>
                  <a:pt x="3977816" y="5377306"/>
                  <a:pt x="3940254" y="5373548"/>
                  <a:pt x="3913960" y="5347244"/>
                </a:cubicBezTo>
                <a:cubicBezTo>
                  <a:pt x="3887667" y="5324698"/>
                  <a:pt x="3876398" y="5287121"/>
                  <a:pt x="3887667" y="5253301"/>
                </a:cubicBezTo>
                <a:cubicBezTo>
                  <a:pt x="3887667" y="5253301"/>
                  <a:pt x="3887667" y="5253301"/>
                  <a:pt x="4131820" y="4411571"/>
                </a:cubicBezTo>
                <a:cubicBezTo>
                  <a:pt x="4131820" y="4411571"/>
                  <a:pt x="4131820" y="4411571"/>
                  <a:pt x="93905" y="4411571"/>
                </a:cubicBezTo>
                <a:cubicBezTo>
                  <a:pt x="41318" y="4411571"/>
                  <a:pt x="0" y="4370236"/>
                  <a:pt x="0" y="4317627"/>
                </a:cubicBezTo>
                <a:cubicBezTo>
                  <a:pt x="0" y="4317627"/>
                  <a:pt x="0" y="4317627"/>
                  <a:pt x="0" y="1040891"/>
                </a:cubicBezTo>
                <a:cubicBezTo>
                  <a:pt x="0" y="1018344"/>
                  <a:pt x="7513" y="995798"/>
                  <a:pt x="26294" y="977009"/>
                </a:cubicBezTo>
                <a:cubicBezTo>
                  <a:pt x="26294" y="977009"/>
                  <a:pt x="26294" y="977009"/>
                  <a:pt x="931538" y="30062"/>
                </a:cubicBezTo>
                <a:cubicBezTo>
                  <a:pt x="946562" y="11274"/>
                  <a:pt x="972856" y="0"/>
                  <a:pt x="995393" y="0"/>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pic>
        <p:nvPicPr>
          <p:cNvPr id="37" name="Picture 3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50909" y="250748"/>
            <a:ext cx="1313691" cy="198120"/>
          </a:xfrm>
          <a:prstGeom prst="rect">
            <a:avLst/>
          </a:prstGeom>
        </p:spPr>
      </p:pic>
      <p:pic>
        <p:nvPicPr>
          <p:cNvPr id="21" name="Danske-Bank-Branch-Trondheim-HIGH-RES"/>
          <p:cNvPicPr>
            <a:picLocks noChangeAspect="1"/>
          </p:cNvPicPr>
          <p:nvPr>
            <p:custDataLst>
              <p:tags r:id="rId4"/>
            </p:custDataLst>
          </p:nvPr>
        </p:nvPicPr>
        <p:blipFill rotWithShape="1">
          <a:blip r:embed="rId7" cstate="screen">
            <a:extLst>
              <a:ext uri="{28A0092B-C50C-407E-A947-70E740481C1C}">
                <a14:useLocalDpi xmlns:a14="http://schemas.microsoft.com/office/drawing/2010/main"/>
              </a:ext>
            </a:extLst>
          </a:blip>
          <a:srcRect/>
          <a:stretch/>
        </p:blipFill>
        <p:spPr>
          <a:xfrm>
            <a:off x="8245503" y="0"/>
            <a:ext cx="3946495" cy="6859200"/>
          </a:xfrm>
          <a:prstGeom prst="parallelogram">
            <a:avLst/>
          </a:prstGeom>
        </p:spPr>
      </p:pic>
    </p:spTree>
    <p:extLst>
      <p:ext uri="{BB962C8B-B14F-4D97-AF65-F5344CB8AC3E}">
        <p14:creationId xmlns:p14="http://schemas.microsoft.com/office/powerpoint/2010/main" val="400789927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402"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9" name="Title 98"/>
          <p:cNvSpPr>
            <a:spLocks noGrp="1"/>
          </p:cNvSpPr>
          <p:nvPr>
            <p:ph type="title"/>
          </p:nvPr>
        </p:nvSpPr>
        <p:spPr>
          <a:xfrm>
            <a:off x="431900" y="728663"/>
            <a:ext cx="8703633" cy="332399"/>
          </a:xfrm>
        </p:spPr>
        <p:txBody>
          <a:bodyPr/>
          <a:lstStyle/>
          <a:p>
            <a:r>
              <a:rPr lang="en-US" dirty="0" smtClean="0"/>
              <a:t>In H1 2020, we have had </a:t>
            </a:r>
            <a:r>
              <a:rPr lang="en-US" dirty="0"/>
              <a:t>the following </a:t>
            </a:r>
            <a:r>
              <a:rPr lang="en-US" dirty="0" smtClean="0"/>
              <a:t>engagement activities</a:t>
            </a:r>
            <a:endParaRPr lang="en-US" dirty="0"/>
          </a:p>
        </p:txBody>
      </p:sp>
      <p:grpSp>
        <p:nvGrpSpPr>
          <p:cNvPr id="2" name="Group 1"/>
          <p:cNvGrpSpPr/>
          <p:nvPr/>
        </p:nvGrpSpPr>
        <p:grpSpPr>
          <a:xfrm>
            <a:off x="487322" y="1867899"/>
            <a:ext cx="7651443" cy="1004907"/>
            <a:chOff x="487322" y="1920651"/>
            <a:chExt cx="7651443" cy="1004907"/>
          </a:xfrm>
        </p:grpSpPr>
        <p:sp>
          <p:nvSpPr>
            <p:cNvPr id="39" name="Rectangle 38"/>
            <p:cNvSpPr/>
            <p:nvPr/>
          </p:nvSpPr>
          <p:spPr>
            <a:xfrm>
              <a:off x="487322" y="1920651"/>
              <a:ext cx="7651443" cy="1004907"/>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191" name="TextBox 190"/>
            <p:cNvSpPr txBox="1"/>
            <p:nvPr/>
          </p:nvSpPr>
          <p:spPr>
            <a:xfrm>
              <a:off x="1520991" y="2269215"/>
              <a:ext cx="2885810" cy="307777"/>
            </a:xfrm>
            <a:prstGeom prst="rect">
              <a:avLst/>
            </a:prstGeom>
            <a:noFill/>
          </p:spPr>
          <p:txBody>
            <a:bodyPr wrap="square" lIns="0" tIns="0" rIns="0" bIns="0" rtlCol="0" anchor="ctr" anchorCtr="0">
              <a:spAutoFit/>
            </a:bodyPr>
            <a:lstStyle/>
            <a:p>
              <a:r>
                <a:rPr lang="en-US" sz="2000" b="1" dirty="0">
                  <a:solidFill>
                    <a:srgbClr val="003755"/>
                  </a:solidFill>
                </a:rPr>
                <a:t>Companies</a:t>
              </a:r>
            </a:p>
          </p:txBody>
        </p:sp>
        <p:sp>
          <p:nvSpPr>
            <p:cNvPr id="118" name="Oval 117"/>
            <p:cNvSpPr/>
            <p:nvPr/>
          </p:nvSpPr>
          <p:spPr>
            <a:xfrm>
              <a:off x="507634" y="2089887"/>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chemeClr val="tx1"/>
                </a:solidFill>
              </a:endParaRPr>
            </a:p>
          </p:txBody>
        </p:sp>
        <p:sp>
          <p:nvSpPr>
            <p:cNvPr id="119" name="Rectangle 118"/>
            <p:cNvSpPr/>
            <p:nvPr/>
          </p:nvSpPr>
          <p:spPr>
            <a:xfrm>
              <a:off x="1371079" y="2183564"/>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rgbClr val="000000"/>
                </a:solidFill>
              </a:endParaRPr>
            </a:p>
          </p:txBody>
        </p:sp>
        <p:sp>
          <p:nvSpPr>
            <p:cNvPr id="121" name="Business"/>
            <p:cNvSpPr>
              <a:spLocks noChangeAspect="1"/>
            </p:cNvSpPr>
            <p:nvPr>
              <p:custDataLst>
                <p:tags r:id="rId6"/>
              </p:custDataLst>
            </p:nvPr>
          </p:nvSpPr>
          <p:spPr bwMode="auto">
            <a:xfrm>
              <a:off x="583504" y="2243104"/>
              <a:ext cx="505250" cy="360000"/>
            </a:xfrm>
            <a:custGeom>
              <a:avLst/>
              <a:gdLst>
                <a:gd name="connsiteX0" fmla="*/ 820964 w 1154113"/>
                <a:gd name="connsiteY0" fmla="*/ 561975 h 822325"/>
                <a:gd name="connsiteX1" fmla="*/ 873881 w 1154113"/>
                <a:gd name="connsiteY1" fmla="*/ 561975 h 822325"/>
                <a:gd name="connsiteX2" fmla="*/ 889000 w 1154113"/>
                <a:gd name="connsiteY2" fmla="*/ 577397 h 822325"/>
                <a:gd name="connsiteX3" fmla="*/ 889000 w 1154113"/>
                <a:gd name="connsiteY3" fmla="*/ 631372 h 822325"/>
                <a:gd name="connsiteX4" fmla="*/ 873881 w 1154113"/>
                <a:gd name="connsiteY4" fmla="*/ 642938 h 822325"/>
                <a:gd name="connsiteX5" fmla="*/ 820964 w 1154113"/>
                <a:gd name="connsiteY5" fmla="*/ 642938 h 822325"/>
                <a:gd name="connsiteX6" fmla="*/ 809625 w 1154113"/>
                <a:gd name="connsiteY6" fmla="*/ 631372 h 822325"/>
                <a:gd name="connsiteX7" fmla="*/ 809625 w 1154113"/>
                <a:gd name="connsiteY7" fmla="*/ 577397 h 822325"/>
                <a:gd name="connsiteX8" fmla="*/ 820964 w 1154113"/>
                <a:gd name="connsiteY8" fmla="*/ 561975 h 822325"/>
                <a:gd name="connsiteX9" fmla="*/ 704094 w 1154113"/>
                <a:gd name="connsiteY9" fmla="*/ 561975 h 822325"/>
                <a:gd name="connsiteX10" fmla="*/ 757011 w 1154113"/>
                <a:gd name="connsiteY10" fmla="*/ 561975 h 822325"/>
                <a:gd name="connsiteX11" fmla="*/ 768350 w 1154113"/>
                <a:gd name="connsiteY11" fmla="*/ 577397 h 822325"/>
                <a:gd name="connsiteX12" fmla="*/ 768350 w 1154113"/>
                <a:gd name="connsiteY12" fmla="*/ 631372 h 822325"/>
                <a:gd name="connsiteX13" fmla="*/ 757011 w 1154113"/>
                <a:gd name="connsiteY13" fmla="*/ 642938 h 822325"/>
                <a:gd name="connsiteX14" fmla="*/ 704094 w 1154113"/>
                <a:gd name="connsiteY14" fmla="*/ 642938 h 822325"/>
                <a:gd name="connsiteX15" fmla="*/ 688975 w 1154113"/>
                <a:gd name="connsiteY15" fmla="*/ 631372 h 822325"/>
                <a:gd name="connsiteX16" fmla="*/ 688975 w 1154113"/>
                <a:gd name="connsiteY16" fmla="*/ 577397 h 822325"/>
                <a:gd name="connsiteX17" fmla="*/ 704094 w 1154113"/>
                <a:gd name="connsiteY17" fmla="*/ 561975 h 822325"/>
                <a:gd name="connsiteX18" fmla="*/ 582839 w 1154113"/>
                <a:gd name="connsiteY18" fmla="*/ 561975 h 822325"/>
                <a:gd name="connsiteX19" fmla="*/ 635756 w 1154113"/>
                <a:gd name="connsiteY19" fmla="*/ 561975 h 822325"/>
                <a:gd name="connsiteX20" fmla="*/ 650875 w 1154113"/>
                <a:gd name="connsiteY20" fmla="*/ 577397 h 822325"/>
                <a:gd name="connsiteX21" fmla="*/ 650875 w 1154113"/>
                <a:gd name="connsiteY21" fmla="*/ 631372 h 822325"/>
                <a:gd name="connsiteX22" fmla="*/ 635756 w 1154113"/>
                <a:gd name="connsiteY22" fmla="*/ 642938 h 822325"/>
                <a:gd name="connsiteX23" fmla="*/ 582839 w 1154113"/>
                <a:gd name="connsiteY23" fmla="*/ 642938 h 822325"/>
                <a:gd name="connsiteX24" fmla="*/ 571500 w 1154113"/>
                <a:gd name="connsiteY24" fmla="*/ 631372 h 822325"/>
                <a:gd name="connsiteX25" fmla="*/ 571500 w 1154113"/>
                <a:gd name="connsiteY25" fmla="*/ 577397 h 822325"/>
                <a:gd name="connsiteX26" fmla="*/ 582839 w 1154113"/>
                <a:gd name="connsiteY26" fmla="*/ 561975 h 822325"/>
                <a:gd name="connsiteX27" fmla="*/ 378052 w 1154113"/>
                <a:gd name="connsiteY27" fmla="*/ 561975 h 822325"/>
                <a:gd name="connsiteX28" fmla="*/ 430969 w 1154113"/>
                <a:gd name="connsiteY28" fmla="*/ 561975 h 822325"/>
                <a:gd name="connsiteX29" fmla="*/ 446088 w 1154113"/>
                <a:gd name="connsiteY29" fmla="*/ 577397 h 822325"/>
                <a:gd name="connsiteX30" fmla="*/ 446088 w 1154113"/>
                <a:gd name="connsiteY30" fmla="*/ 631372 h 822325"/>
                <a:gd name="connsiteX31" fmla="*/ 430969 w 1154113"/>
                <a:gd name="connsiteY31" fmla="*/ 642938 h 822325"/>
                <a:gd name="connsiteX32" fmla="*/ 378052 w 1154113"/>
                <a:gd name="connsiteY32" fmla="*/ 642938 h 822325"/>
                <a:gd name="connsiteX33" fmla="*/ 366713 w 1154113"/>
                <a:gd name="connsiteY33" fmla="*/ 631372 h 822325"/>
                <a:gd name="connsiteX34" fmla="*/ 366713 w 1154113"/>
                <a:gd name="connsiteY34" fmla="*/ 577397 h 822325"/>
                <a:gd name="connsiteX35" fmla="*/ 378052 w 1154113"/>
                <a:gd name="connsiteY35" fmla="*/ 561975 h 822325"/>
                <a:gd name="connsiteX36" fmla="*/ 261182 w 1154113"/>
                <a:gd name="connsiteY36" fmla="*/ 561975 h 822325"/>
                <a:gd name="connsiteX37" fmla="*/ 314099 w 1154113"/>
                <a:gd name="connsiteY37" fmla="*/ 561975 h 822325"/>
                <a:gd name="connsiteX38" fmla="*/ 325438 w 1154113"/>
                <a:gd name="connsiteY38" fmla="*/ 577397 h 822325"/>
                <a:gd name="connsiteX39" fmla="*/ 325438 w 1154113"/>
                <a:gd name="connsiteY39" fmla="*/ 631372 h 822325"/>
                <a:gd name="connsiteX40" fmla="*/ 314099 w 1154113"/>
                <a:gd name="connsiteY40" fmla="*/ 642938 h 822325"/>
                <a:gd name="connsiteX41" fmla="*/ 261182 w 1154113"/>
                <a:gd name="connsiteY41" fmla="*/ 642938 h 822325"/>
                <a:gd name="connsiteX42" fmla="*/ 246063 w 1154113"/>
                <a:gd name="connsiteY42" fmla="*/ 631372 h 822325"/>
                <a:gd name="connsiteX43" fmla="*/ 246063 w 1154113"/>
                <a:gd name="connsiteY43" fmla="*/ 577397 h 822325"/>
                <a:gd name="connsiteX44" fmla="*/ 261182 w 1154113"/>
                <a:gd name="connsiteY44" fmla="*/ 561975 h 822325"/>
                <a:gd name="connsiteX45" fmla="*/ 820964 w 1154113"/>
                <a:gd name="connsiteY45" fmla="*/ 444500 h 822325"/>
                <a:gd name="connsiteX46" fmla="*/ 873881 w 1154113"/>
                <a:gd name="connsiteY46" fmla="*/ 444500 h 822325"/>
                <a:gd name="connsiteX47" fmla="*/ 889000 w 1154113"/>
                <a:gd name="connsiteY47" fmla="*/ 459619 h 822325"/>
                <a:gd name="connsiteX48" fmla="*/ 889000 w 1154113"/>
                <a:gd name="connsiteY48" fmla="*/ 508756 h 822325"/>
                <a:gd name="connsiteX49" fmla="*/ 873881 w 1154113"/>
                <a:gd name="connsiteY49" fmla="*/ 523875 h 822325"/>
                <a:gd name="connsiteX50" fmla="*/ 820964 w 1154113"/>
                <a:gd name="connsiteY50" fmla="*/ 523875 h 822325"/>
                <a:gd name="connsiteX51" fmla="*/ 809625 w 1154113"/>
                <a:gd name="connsiteY51" fmla="*/ 508756 h 822325"/>
                <a:gd name="connsiteX52" fmla="*/ 809625 w 1154113"/>
                <a:gd name="connsiteY52" fmla="*/ 459619 h 822325"/>
                <a:gd name="connsiteX53" fmla="*/ 820964 w 1154113"/>
                <a:gd name="connsiteY53" fmla="*/ 444500 h 822325"/>
                <a:gd name="connsiteX54" fmla="*/ 704094 w 1154113"/>
                <a:gd name="connsiteY54" fmla="*/ 444500 h 822325"/>
                <a:gd name="connsiteX55" fmla="*/ 757011 w 1154113"/>
                <a:gd name="connsiteY55" fmla="*/ 444500 h 822325"/>
                <a:gd name="connsiteX56" fmla="*/ 768350 w 1154113"/>
                <a:gd name="connsiteY56" fmla="*/ 459619 h 822325"/>
                <a:gd name="connsiteX57" fmla="*/ 768350 w 1154113"/>
                <a:gd name="connsiteY57" fmla="*/ 508756 h 822325"/>
                <a:gd name="connsiteX58" fmla="*/ 757011 w 1154113"/>
                <a:gd name="connsiteY58" fmla="*/ 523875 h 822325"/>
                <a:gd name="connsiteX59" fmla="*/ 704094 w 1154113"/>
                <a:gd name="connsiteY59" fmla="*/ 523875 h 822325"/>
                <a:gd name="connsiteX60" fmla="*/ 688975 w 1154113"/>
                <a:gd name="connsiteY60" fmla="*/ 508756 h 822325"/>
                <a:gd name="connsiteX61" fmla="*/ 688975 w 1154113"/>
                <a:gd name="connsiteY61" fmla="*/ 459619 h 822325"/>
                <a:gd name="connsiteX62" fmla="*/ 704094 w 1154113"/>
                <a:gd name="connsiteY62" fmla="*/ 444500 h 822325"/>
                <a:gd name="connsiteX63" fmla="*/ 582839 w 1154113"/>
                <a:gd name="connsiteY63" fmla="*/ 444500 h 822325"/>
                <a:gd name="connsiteX64" fmla="*/ 635756 w 1154113"/>
                <a:gd name="connsiteY64" fmla="*/ 444500 h 822325"/>
                <a:gd name="connsiteX65" fmla="*/ 650875 w 1154113"/>
                <a:gd name="connsiteY65" fmla="*/ 459619 h 822325"/>
                <a:gd name="connsiteX66" fmla="*/ 650875 w 1154113"/>
                <a:gd name="connsiteY66" fmla="*/ 508756 h 822325"/>
                <a:gd name="connsiteX67" fmla="*/ 635756 w 1154113"/>
                <a:gd name="connsiteY67" fmla="*/ 523875 h 822325"/>
                <a:gd name="connsiteX68" fmla="*/ 582839 w 1154113"/>
                <a:gd name="connsiteY68" fmla="*/ 523875 h 822325"/>
                <a:gd name="connsiteX69" fmla="*/ 571500 w 1154113"/>
                <a:gd name="connsiteY69" fmla="*/ 508756 h 822325"/>
                <a:gd name="connsiteX70" fmla="*/ 571500 w 1154113"/>
                <a:gd name="connsiteY70" fmla="*/ 459619 h 822325"/>
                <a:gd name="connsiteX71" fmla="*/ 582839 w 1154113"/>
                <a:gd name="connsiteY71" fmla="*/ 444500 h 822325"/>
                <a:gd name="connsiteX72" fmla="*/ 378052 w 1154113"/>
                <a:gd name="connsiteY72" fmla="*/ 444500 h 822325"/>
                <a:gd name="connsiteX73" fmla="*/ 430969 w 1154113"/>
                <a:gd name="connsiteY73" fmla="*/ 444500 h 822325"/>
                <a:gd name="connsiteX74" fmla="*/ 446088 w 1154113"/>
                <a:gd name="connsiteY74" fmla="*/ 459619 h 822325"/>
                <a:gd name="connsiteX75" fmla="*/ 446088 w 1154113"/>
                <a:gd name="connsiteY75" fmla="*/ 508756 h 822325"/>
                <a:gd name="connsiteX76" fmla="*/ 430969 w 1154113"/>
                <a:gd name="connsiteY76" fmla="*/ 523875 h 822325"/>
                <a:gd name="connsiteX77" fmla="*/ 378052 w 1154113"/>
                <a:gd name="connsiteY77" fmla="*/ 523875 h 822325"/>
                <a:gd name="connsiteX78" fmla="*/ 366713 w 1154113"/>
                <a:gd name="connsiteY78" fmla="*/ 508756 h 822325"/>
                <a:gd name="connsiteX79" fmla="*/ 366713 w 1154113"/>
                <a:gd name="connsiteY79" fmla="*/ 459619 h 822325"/>
                <a:gd name="connsiteX80" fmla="*/ 378052 w 1154113"/>
                <a:gd name="connsiteY80" fmla="*/ 444500 h 822325"/>
                <a:gd name="connsiteX81" fmla="*/ 261182 w 1154113"/>
                <a:gd name="connsiteY81" fmla="*/ 444500 h 822325"/>
                <a:gd name="connsiteX82" fmla="*/ 314099 w 1154113"/>
                <a:gd name="connsiteY82" fmla="*/ 444500 h 822325"/>
                <a:gd name="connsiteX83" fmla="*/ 321658 w 1154113"/>
                <a:gd name="connsiteY83" fmla="*/ 448280 h 822325"/>
                <a:gd name="connsiteX84" fmla="*/ 325438 w 1154113"/>
                <a:gd name="connsiteY84" fmla="*/ 459619 h 822325"/>
                <a:gd name="connsiteX85" fmla="*/ 325438 w 1154113"/>
                <a:gd name="connsiteY85" fmla="*/ 508756 h 822325"/>
                <a:gd name="connsiteX86" fmla="*/ 314099 w 1154113"/>
                <a:gd name="connsiteY86" fmla="*/ 523875 h 822325"/>
                <a:gd name="connsiteX87" fmla="*/ 261182 w 1154113"/>
                <a:gd name="connsiteY87" fmla="*/ 523875 h 822325"/>
                <a:gd name="connsiteX88" fmla="*/ 246063 w 1154113"/>
                <a:gd name="connsiteY88" fmla="*/ 508756 h 822325"/>
                <a:gd name="connsiteX89" fmla="*/ 246063 w 1154113"/>
                <a:gd name="connsiteY89" fmla="*/ 459619 h 822325"/>
                <a:gd name="connsiteX90" fmla="*/ 261182 w 1154113"/>
                <a:gd name="connsiteY90" fmla="*/ 444500 h 822325"/>
                <a:gd name="connsiteX91" fmla="*/ 820964 w 1154113"/>
                <a:gd name="connsiteY91" fmla="*/ 322262 h 822325"/>
                <a:gd name="connsiteX92" fmla="*/ 873881 w 1154113"/>
                <a:gd name="connsiteY92" fmla="*/ 322262 h 822325"/>
                <a:gd name="connsiteX93" fmla="*/ 889000 w 1154113"/>
                <a:gd name="connsiteY93" fmla="*/ 337683 h 822325"/>
                <a:gd name="connsiteX94" fmla="*/ 889000 w 1154113"/>
                <a:gd name="connsiteY94" fmla="*/ 391659 h 822325"/>
                <a:gd name="connsiteX95" fmla="*/ 873881 w 1154113"/>
                <a:gd name="connsiteY95" fmla="*/ 403225 h 822325"/>
                <a:gd name="connsiteX96" fmla="*/ 820964 w 1154113"/>
                <a:gd name="connsiteY96" fmla="*/ 403225 h 822325"/>
                <a:gd name="connsiteX97" fmla="*/ 809625 w 1154113"/>
                <a:gd name="connsiteY97" fmla="*/ 391659 h 822325"/>
                <a:gd name="connsiteX98" fmla="*/ 809625 w 1154113"/>
                <a:gd name="connsiteY98" fmla="*/ 337683 h 822325"/>
                <a:gd name="connsiteX99" fmla="*/ 820964 w 1154113"/>
                <a:gd name="connsiteY99" fmla="*/ 322262 h 822325"/>
                <a:gd name="connsiteX100" fmla="*/ 704094 w 1154113"/>
                <a:gd name="connsiteY100" fmla="*/ 322262 h 822325"/>
                <a:gd name="connsiteX101" fmla="*/ 757011 w 1154113"/>
                <a:gd name="connsiteY101" fmla="*/ 322262 h 822325"/>
                <a:gd name="connsiteX102" fmla="*/ 768350 w 1154113"/>
                <a:gd name="connsiteY102" fmla="*/ 337683 h 822325"/>
                <a:gd name="connsiteX103" fmla="*/ 768350 w 1154113"/>
                <a:gd name="connsiteY103" fmla="*/ 391659 h 822325"/>
                <a:gd name="connsiteX104" fmla="*/ 757011 w 1154113"/>
                <a:gd name="connsiteY104" fmla="*/ 403225 h 822325"/>
                <a:gd name="connsiteX105" fmla="*/ 704094 w 1154113"/>
                <a:gd name="connsiteY105" fmla="*/ 403225 h 822325"/>
                <a:gd name="connsiteX106" fmla="*/ 688975 w 1154113"/>
                <a:gd name="connsiteY106" fmla="*/ 391659 h 822325"/>
                <a:gd name="connsiteX107" fmla="*/ 688975 w 1154113"/>
                <a:gd name="connsiteY107" fmla="*/ 337683 h 822325"/>
                <a:gd name="connsiteX108" fmla="*/ 704094 w 1154113"/>
                <a:gd name="connsiteY108" fmla="*/ 322262 h 822325"/>
                <a:gd name="connsiteX109" fmla="*/ 582839 w 1154113"/>
                <a:gd name="connsiteY109" fmla="*/ 322262 h 822325"/>
                <a:gd name="connsiteX110" fmla="*/ 635756 w 1154113"/>
                <a:gd name="connsiteY110" fmla="*/ 322262 h 822325"/>
                <a:gd name="connsiteX111" fmla="*/ 650875 w 1154113"/>
                <a:gd name="connsiteY111" fmla="*/ 337683 h 822325"/>
                <a:gd name="connsiteX112" fmla="*/ 650875 w 1154113"/>
                <a:gd name="connsiteY112" fmla="*/ 391659 h 822325"/>
                <a:gd name="connsiteX113" fmla="*/ 635756 w 1154113"/>
                <a:gd name="connsiteY113" fmla="*/ 403225 h 822325"/>
                <a:gd name="connsiteX114" fmla="*/ 582839 w 1154113"/>
                <a:gd name="connsiteY114" fmla="*/ 403225 h 822325"/>
                <a:gd name="connsiteX115" fmla="*/ 571500 w 1154113"/>
                <a:gd name="connsiteY115" fmla="*/ 391659 h 822325"/>
                <a:gd name="connsiteX116" fmla="*/ 571500 w 1154113"/>
                <a:gd name="connsiteY116" fmla="*/ 337683 h 822325"/>
                <a:gd name="connsiteX117" fmla="*/ 582839 w 1154113"/>
                <a:gd name="connsiteY117" fmla="*/ 322262 h 822325"/>
                <a:gd name="connsiteX118" fmla="*/ 378052 w 1154113"/>
                <a:gd name="connsiteY118" fmla="*/ 322262 h 822325"/>
                <a:gd name="connsiteX119" fmla="*/ 430969 w 1154113"/>
                <a:gd name="connsiteY119" fmla="*/ 322262 h 822325"/>
                <a:gd name="connsiteX120" fmla="*/ 446088 w 1154113"/>
                <a:gd name="connsiteY120" fmla="*/ 337683 h 822325"/>
                <a:gd name="connsiteX121" fmla="*/ 446088 w 1154113"/>
                <a:gd name="connsiteY121" fmla="*/ 391659 h 822325"/>
                <a:gd name="connsiteX122" fmla="*/ 430969 w 1154113"/>
                <a:gd name="connsiteY122" fmla="*/ 403225 h 822325"/>
                <a:gd name="connsiteX123" fmla="*/ 378052 w 1154113"/>
                <a:gd name="connsiteY123" fmla="*/ 403225 h 822325"/>
                <a:gd name="connsiteX124" fmla="*/ 366713 w 1154113"/>
                <a:gd name="connsiteY124" fmla="*/ 391659 h 822325"/>
                <a:gd name="connsiteX125" fmla="*/ 366713 w 1154113"/>
                <a:gd name="connsiteY125" fmla="*/ 337683 h 822325"/>
                <a:gd name="connsiteX126" fmla="*/ 378052 w 1154113"/>
                <a:gd name="connsiteY126" fmla="*/ 322262 h 822325"/>
                <a:gd name="connsiteX127" fmla="*/ 261182 w 1154113"/>
                <a:gd name="connsiteY127" fmla="*/ 322262 h 822325"/>
                <a:gd name="connsiteX128" fmla="*/ 314099 w 1154113"/>
                <a:gd name="connsiteY128" fmla="*/ 322262 h 822325"/>
                <a:gd name="connsiteX129" fmla="*/ 325438 w 1154113"/>
                <a:gd name="connsiteY129" fmla="*/ 337683 h 822325"/>
                <a:gd name="connsiteX130" fmla="*/ 325438 w 1154113"/>
                <a:gd name="connsiteY130" fmla="*/ 391659 h 822325"/>
                <a:gd name="connsiteX131" fmla="*/ 314099 w 1154113"/>
                <a:gd name="connsiteY131" fmla="*/ 403225 h 822325"/>
                <a:gd name="connsiteX132" fmla="*/ 261182 w 1154113"/>
                <a:gd name="connsiteY132" fmla="*/ 403225 h 822325"/>
                <a:gd name="connsiteX133" fmla="*/ 246063 w 1154113"/>
                <a:gd name="connsiteY133" fmla="*/ 391659 h 822325"/>
                <a:gd name="connsiteX134" fmla="*/ 246063 w 1154113"/>
                <a:gd name="connsiteY134" fmla="*/ 337683 h 822325"/>
                <a:gd name="connsiteX135" fmla="*/ 261182 w 1154113"/>
                <a:gd name="connsiteY135" fmla="*/ 322262 h 822325"/>
                <a:gd name="connsiteX136" fmla="*/ 514350 w 1154113"/>
                <a:gd name="connsiteY136" fmla="*/ 265112 h 822325"/>
                <a:gd name="connsiteX137" fmla="*/ 514350 w 1154113"/>
                <a:gd name="connsiteY137" fmla="*/ 790575 h 822325"/>
                <a:gd name="connsiteX138" fmla="*/ 946150 w 1154113"/>
                <a:gd name="connsiteY138" fmla="*/ 790575 h 822325"/>
                <a:gd name="connsiteX139" fmla="*/ 946150 w 1154113"/>
                <a:gd name="connsiteY139" fmla="*/ 265112 h 822325"/>
                <a:gd name="connsiteX140" fmla="*/ 378052 w 1154113"/>
                <a:gd name="connsiteY140" fmla="*/ 204787 h 822325"/>
                <a:gd name="connsiteX141" fmla="*/ 430969 w 1154113"/>
                <a:gd name="connsiteY141" fmla="*/ 204787 h 822325"/>
                <a:gd name="connsiteX142" fmla="*/ 446088 w 1154113"/>
                <a:gd name="connsiteY142" fmla="*/ 219906 h 822325"/>
                <a:gd name="connsiteX143" fmla="*/ 446088 w 1154113"/>
                <a:gd name="connsiteY143" fmla="*/ 269043 h 822325"/>
                <a:gd name="connsiteX144" fmla="*/ 430969 w 1154113"/>
                <a:gd name="connsiteY144" fmla="*/ 284162 h 822325"/>
                <a:gd name="connsiteX145" fmla="*/ 378052 w 1154113"/>
                <a:gd name="connsiteY145" fmla="*/ 284162 h 822325"/>
                <a:gd name="connsiteX146" fmla="*/ 366713 w 1154113"/>
                <a:gd name="connsiteY146" fmla="*/ 269043 h 822325"/>
                <a:gd name="connsiteX147" fmla="*/ 366713 w 1154113"/>
                <a:gd name="connsiteY147" fmla="*/ 219906 h 822325"/>
                <a:gd name="connsiteX148" fmla="*/ 378052 w 1154113"/>
                <a:gd name="connsiteY148" fmla="*/ 204787 h 822325"/>
                <a:gd name="connsiteX149" fmla="*/ 261182 w 1154113"/>
                <a:gd name="connsiteY149" fmla="*/ 204787 h 822325"/>
                <a:gd name="connsiteX150" fmla="*/ 314099 w 1154113"/>
                <a:gd name="connsiteY150" fmla="*/ 204787 h 822325"/>
                <a:gd name="connsiteX151" fmla="*/ 325438 w 1154113"/>
                <a:gd name="connsiteY151" fmla="*/ 219906 h 822325"/>
                <a:gd name="connsiteX152" fmla="*/ 325438 w 1154113"/>
                <a:gd name="connsiteY152" fmla="*/ 269043 h 822325"/>
                <a:gd name="connsiteX153" fmla="*/ 314099 w 1154113"/>
                <a:gd name="connsiteY153" fmla="*/ 284162 h 822325"/>
                <a:gd name="connsiteX154" fmla="*/ 261182 w 1154113"/>
                <a:gd name="connsiteY154" fmla="*/ 284162 h 822325"/>
                <a:gd name="connsiteX155" fmla="*/ 246063 w 1154113"/>
                <a:gd name="connsiteY155" fmla="*/ 269043 h 822325"/>
                <a:gd name="connsiteX156" fmla="*/ 246063 w 1154113"/>
                <a:gd name="connsiteY156" fmla="*/ 219906 h 822325"/>
                <a:gd name="connsiteX157" fmla="*/ 261182 w 1154113"/>
                <a:gd name="connsiteY157" fmla="*/ 204787 h 822325"/>
                <a:gd name="connsiteX158" fmla="*/ 378052 w 1154113"/>
                <a:gd name="connsiteY158" fmla="*/ 82550 h 822325"/>
                <a:gd name="connsiteX159" fmla="*/ 430969 w 1154113"/>
                <a:gd name="connsiteY159" fmla="*/ 82550 h 822325"/>
                <a:gd name="connsiteX160" fmla="*/ 446088 w 1154113"/>
                <a:gd name="connsiteY160" fmla="*/ 97971 h 822325"/>
                <a:gd name="connsiteX161" fmla="*/ 446088 w 1154113"/>
                <a:gd name="connsiteY161" fmla="*/ 151947 h 822325"/>
                <a:gd name="connsiteX162" fmla="*/ 430969 w 1154113"/>
                <a:gd name="connsiteY162" fmla="*/ 163513 h 822325"/>
                <a:gd name="connsiteX163" fmla="*/ 378052 w 1154113"/>
                <a:gd name="connsiteY163" fmla="*/ 163513 h 822325"/>
                <a:gd name="connsiteX164" fmla="*/ 366713 w 1154113"/>
                <a:gd name="connsiteY164" fmla="*/ 151947 h 822325"/>
                <a:gd name="connsiteX165" fmla="*/ 366713 w 1154113"/>
                <a:gd name="connsiteY165" fmla="*/ 97971 h 822325"/>
                <a:gd name="connsiteX166" fmla="*/ 378052 w 1154113"/>
                <a:gd name="connsiteY166" fmla="*/ 82550 h 822325"/>
                <a:gd name="connsiteX167" fmla="*/ 261182 w 1154113"/>
                <a:gd name="connsiteY167" fmla="*/ 82550 h 822325"/>
                <a:gd name="connsiteX168" fmla="*/ 314099 w 1154113"/>
                <a:gd name="connsiteY168" fmla="*/ 82550 h 822325"/>
                <a:gd name="connsiteX169" fmla="*/ 325438 w 1154113"/>
                <a:gd name="connsiteY169" fmla="*/ 97971 h 822325"/>
                <a:gd name="connsiteX170" fmla="*/ 325438 w 1154113"/>
                <a:gd name="connsiteY170" fmla="*/ 151947 h 822325"/>
                <a:gd name="connsiteX171" fmla="*/ 314099 w 1154113"/>
                <a:gd name="connsiteY171" fmla="*/ 163513 h 822325"/>
                <a:gd name="connsiteX172" fmla="*/ 261182 w 1154113"/>
                <a:gd name="connsiteY172" fmla="*/ 163513 h 822325"/>
                <a:gd name="connsiteX173" fmla="*/ 246063 w 1154113"/>
                <a:gd name="connsiteY173" fmla="*/ 151947 h 822325"/>
                <a:gd name="connsiteX174" fmla="*/ 246063 w 1154113"/>
                <a:gd name="connsiteY174" fmla="*/ 97971 h 822325"/>
                <a:gd name="connsiteX175" fmla="*/ 261182 w 1154113"/>
                <a:gd name="connsiteY175" fmla="*/ 82550 h 822325"/>
                <a:gd name="connsiteX176" fmla="*/ 207963 w 1154113"/>
                <a:gd name="connsiteY176" fmla="*/ 25400 h 822325"/>
                <a:gd name="connsiteX177" fmla="*/ 207963 w 1154113"/>
                <a:gd name="connsiteY177" fmla="*/ 790575 h 822325"/>
                <a:gd name="connsiteX178" fmla="*/ 484188 w 1154113"/>
                <a:gd name="connsiteY178" fmla="*/ 790575 h 822325"/>
                <a:gd name="connsiteX179" fmla="*/ 484188 w 1154113"/>
                <a:gd name="connsiteY179" fmla="*/ 25400 h 822325"/>
                <a:gd name="connsiteX180" fmla="*/ 192983 w 1154113"/>
                <a:gd name="connsiteY180" fmla="*/ 0 h 822325"/>
                <a:gd name="connsiteX181" fmla="*/ 499485 w 1154113"/>
                <a:gd name="connsiteY181" fmla="*/ 0 h 822325"/>
                <a:gd name="connsiteX182" fmla="*/ 514621 w 1154113"/>
                <a:gd name="connsiteY182" fmla="*/ 15228 h 822325"/>
                <a:gd name="connsiteX183" fmla="*/ 514621 w 1154113"/>
                <a:gd name="connsiteY183" fmla="*/ 239845 h 822325"/>
                <a:gd name="connsiteX184" fmla="*/ 957346 w 1154113"/>
                <a:gd name="connsiteY184" fmla="*/ 239845 h 822325"/>
                <a:gd name="connsiteX185" fmla="*/ 972482 w 1154113"/>
                <a:gd name="connsiteY185" fmla="*/ 255073 h 822325"/>
                <a:gd name="connsiteX186" fmla="*/ 972482 w 1154113"/>
                <a:gd name="connsiteY186" fmla="*/ 791869 h 822325"/>
                <a:gd name="connsiteX187" fmla="*/ 1138977 w 1154113"/>
                <a:gd name="connsiteY187" fmla="*/ 791869 h 822325"/>
                <a:gd name="connsiteX188" fmla="*/ 1154113 w 1154113"/>
                <a:gd name="connsiteY188" fmla="*/ 807097 h 822325"/>
                <a:gd name="connsiteX189" fmla="*/ 1138977 w 1154113"/>
                <a:gd name="connsiteY189" fmla="*/ 822325 h 822325"/>
                <a:gd name="connsiteX190" fmla="*/ 11352 w 1154113"/>
                <a:gd name="connsiteY190" fmla="*/ 822325 h 822325"/>
                <a:gd name="connsiteX191" fmla="*/ 0 w 1154113"/>
                <a:gd name="connsiteY191" fmla="*/ 807097 h 822325"/>
                <a:gd name="connsiteX192" fmla="*/ 11352 w 1154113"/>
                <a:gd name="connsiteY192" fmla="*/ 791869 h 822325"/>
                <a:gd name="connsiteX193" fmla="*/ 181631 w 1154113"/>
                <a:gd name="connsiteY193" fmla="*/ 791869 h 822325"/>
                <a:gd name="connsiteX194" fmla="*/ 181631 w 1154113"/>
                <a:gd name="connsiteY194" fmla="*/ 15228 h 822325"/>
                <a:gd name="connsiteX195" fmla="*/ 192983 w 1154113"/>
                <a:gd name="connsiteY195" fmla="*/ 0 h 82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154113" h="822325">
                  <a:moveTo>
                    <a:pt x="820964" y="561975"/>
                  </a:moveTo>
                  <a:cubicBezTo>
                    <a:pt x="820964" y="561975"/>
                    <a:pt x="820964" y="561975"/>
                    <a:pt x="873881" y="561975"/>
                  </a:cubicBezTo>
                  <a:cubicBezTo>
                    <a:pt x="881441" y="561975"/>
                    <a:pt x="889000" y="569686"/>
                    <a:pt x="889000" y="577397"/>
                  </a:cubicBezTo>
                  <a:cubicBezTo>
                    <a:pt x="889000" y="577397"/>
                    <a:pt x="889000" y="577397"/>
                    <a:pt x="889000" y="631372"/>
                  </a:cubicBezTo>
                  <a:cubicBezTo>
                    <a:pt x="889000" y="639083"/>
                    <a:pt x="881441" y="642938"/>
                    <a:pt x="873881" y="642938"/>
                  </a:cubicBezTo>
                  <a:cubicBezTo>
                    <a:pt x="873881" y="642938"/>
                    <a:pt x="873881" y="642938"/>
                    <a:pt x="820964" y="642938"/>
                  </a:cubicBezTo>
                  <a:cubicBezTo>
                    <a:pt x="813405" y="642938"/>
                    <a:pt x="809625" y="639083"/>
                    <a:pt x="809625" y="631372"/>
                  </a:cubicBezTo>
                  <a:cubicBezTo>
                    <a:pt x="809625" y="631372"/>
                    <a:pt x="809625" y="631372"/>
                    <a:pt x="809625" y="577397"/>
                  </a:cubicBezTo>
                  <a:cubicBezTo>
                    <a:pt x="809625" y="569686"/>
                    <a:pt x="813405" y="561975"/>
                    <a:pt x="820964" y="561975"/>
                  </a:cubicBezTo>
                  <a:close/>
                  <a:moveTo>
                    <a:pt x="704094" y="561975"/>
                  </a:moveTo>
                  <a:cubicBezTo>
                    <a:pt x="704094" y="561975"/>
                    <a:pt x="704094" y="561975"/>
                    <a:pt x="757011" y="561975"/>
                  </a:cubicBezTo>
                  <a:cubicBezTo>
                    <a:pt x="764570" y="561975"/>
                    <a:pt x="768350" y="569686"/>
                    <a:pt x="768350" y="577397"/>
                  </a:cubicBezTo>
                  <a:cubicBezTo>
                    <a:pt x="768350" y="577397"/>
                    <a:pt x="768350" y="577397"/>
                    <a:pt x="768350" y="631372"/>
                  </a:cubicBezTo>
                  <a:cubicBezTo>
                    <a:pt x="768350" y="639083"/>
                    <a:pt x="764570" y="642938"/>
                    <a:pt x="757011" y="642938"/>
                  </a:cubicBezTo>
                  <a:cubicBezTo>
                    <a:pt x="757011" y="642938"/>
                    <a:pt x="757011" y="642938"/>
                    <a:pt x="704094" y="642938"/>
                  </a:cubicBezTo>
                  <a:cubicBezTo>
                    <a:pt x="696534" y="642938"/>
                    <a:pt x="688975" y="639083"/>
                    <a:pt x="688975" y="631372"/>
                  </a:cubicBezTo>
                  <a:cubicBezTo>
                    <a:pt x="688975" y="631372"/>
                    <a:pt x="688975" y="631372"/>
                    <a:pt x="688975" y="577397"/>
                  </a:cubicBezTo>
                  <a:cubicBezTo>
                    <a:pt x="688975" y="569686"/>
                    <a:pt x="696534" y="561975"/>
                    <a:pt x="704094" y="561975"/>
                  </a:cubicBezTo>
                  <a:close/>
                  <a:moveTo>
                    <a:pt x="582839" y="561975"/>
                  </a:moveTo>
                  <a:cubicBezTo>
                    <a:pt x="582839" y="561975"/>
                    <a:pt x="582839" y="561975"/>
                    <a:pt x="635756" y="561975"/>
                  </a:cubicBezTo>
                  <a:cubicBezTo>
                    <a:pt x="643315" y="561975"/>
                    <a:pt x="650875" y="569686"/>
                    <a:pt x="650875" y="577397"/>
                  </a:cubicBezTo>
                  <a:cubicBezTo>
                    <a:pt x="650875" y="577397"/>
                    <a:pt x="650875" y="577397"/>
                    <a:pt x="650875" y="631372"/>
                  </a:cubicBezTo>
                  <a:cubicBezTo>
                    <a:pt x="650875" y="639083"/>
                    <a:pt x="643315" y="642938"/>
                    <a:pt x="635756" y="642938"/>
                  </a:cubicBezTo>
                  <a:cubicBezTo>
                    <a:pt x="635756" y="642938"/>
                    <a:pt x="635756" y="642938"/>
                    <a:pt x="582839" y="642938"/>
                  </a:cubicBezTo>
                  <a:cubicBezTo>
                    <a:pt x="575280" y="642938"/>
                    <a:pt x="571500" y="639083"/>
                    <a:pt x="571500" y="631372"/>
                  </a:cubicBezTo>
                  <a:cubicBezTo>
                    <a:pt x="571500" y="631372"/>
                    <a:pt x="571500" y="631372"/>
                    <a:pt x="571500" y="577397"/>
                  </a:cubicBezTo>
                  <a:cubicBezTo>
                    <a:pt x="571500" y="569686"/>
                    <a:pt x="575280" y="561975"/>
                    <a:pt x="582839" y="561975"/>
                  </a:cubicBezTo>
                  <a:close/>
                  <a:moveTo>
                    <a:pt x="378052" y="561975"/>
                  </a:moveTo>
                  <a:cubicBezTo>
                    <a:pt x="378052" y="561975"/>
                    <a:pt x="378052" y="561975"/>
                    <a:pt x="430969" y="561975"/>
                  </a:cubicBezTo>
                  <a:cubicBezTo>
                    <a:pt x="438528" y="561975"/>
                    <a:pt x="446088" y="569686"/>
                    <a:pt x="446088" y="577397"/>
                  </a:cubicBezTo>
                  <a:cubicBezTo>
                    <a:pt x="446088" y="577397"/>
                    <a:pt x="446088" y="577397"/>
                    <a:pt x="446088" y="631372"/>
                  </a:cubicBezTo>
                  <a:cubicBezTo>
                    <a:pt x="446088" y="639083"/>
                    <a:pt x="438528" y="642938"/>
                    <a:pt x="430969" y="642938"/>
                  </a:cubicBezTo>
                  <a:cubicBezTo>
                    <a:pt x="430969" y="642938"/>
                    <a:pt x="430969" y="642938"/>
                    <a:pt x="378052" y="642938"/>
                  </a:cubicBezTo>
                  <a:cubicBezTo>
                    <a:pt x="374272" y="642938"/>
                    <a:pt x="366713" y="639083"/>
                    <a:pt x="366713" y="631372"/>
                  </a:cubicBezTo>
                  <a:cubicBezTo>
                    <a:pt x="366713" y="631372"/>
                    <a:pt x="366713" y="631372"/>
                    <a:pt x="366713" y="577397"/>
                  </a:cubicBezTo>
                  <a:cubicBezTo>
                    <a:pt x="366713" y="569686"/>
                    <a:pt x="374272" y="561975"/>
                    <a:pt x="378052" y="561975"/>
                  </a:cubicBezTo>
                  <a:close/>
                  <a:moveTo>
                    <a:pt x="261182" y="561975"/>
                  </a:moveTo>
                  <a:cubicBezTo>
                    <a:pt x="261182" y="561975"/>
                    <a:pt x="261182" y="561975"/>
                    <a:pt x="314099" y="561975"/>
                  </a:cubicBezTo>
                  <a:cubicBezTo>
                    <a:pt x="321658" y="561975"/>
                    <a:pt x="325438" y="569686"/>
                    <a:pt x="325438" y="577397"/>
                  </a:cubicBezTo>
                  <a:cubicBezTo>
                    <a:pt x="325438" y="577397"/>
                    <a:pt x="325438" y="577397"/>
                    <a:pt x="325438" y="631372"/>
                  </a:cubicBezTo>
                  <a:cubicBezTo>
                    <a:pt x="325438" y="639083"/>
                    <a:pt x="321658" y="642938"/>
                    <a:pt x="314099" y="642938"/>
                  </a:cubicBezTo>
                  <a:cubicBezTo>
                    <a:pt x="314099" y="642938"/>
                    <a:pt x="314099" y="642938"/>
                    <a:pt x="261182" y="642938"/>
                  </a:cubicBezTo>
                  <a:cubicBezTo>
                    <a:pt x="253622" y="642938"/>
                    <a:pt x="246063" y="639083"/>
                    <a:pt x="246063" y="631372"/>
                  </a:cubicBezTo>
                  <a:cubicBezTo>
                    <a:pt x="246063" y="631372"/>
                    <a:pt x="246063" y="631372"/>
                    <a:pt x="246063" y="577397"/>
                  </a:cubicBezTo>
                  <a:cubicBezTo>
                    <a:pt x="246063" y="569686"/>
                    <a:pt x="253622" y="561975"/>
                    <a:pt x="261182" y="561975"/>
                  </a:cubicBezTo>
                  <a:close/>
                  <a:moveTo>
                    <a:pt x="820964" y="444500"/>
                  </a:moveTo>
                  <a:cubicBezTo>
                    <a:pt x="820964" y="444500"/>
                    <a:pt x="820964" y="444500"/>
                    <a:pt x="873881" y="444500"/>
                  </a:cubicBezTo>
                  <a:cubicBezTo>
                    <a:pt x="881441" y="444500"/>
                    <a:pt x="889000" y="452060"/>
                    <a:pt x="889000" y="459619"/>
                  </a:cubicBezTo>
                  <a:cubicBezTo>
                    <a:pt x="889000" y="459619"/>
                    <a:pt x="889000" y="459619"/>
                    <a:pt x="889000" y="508756"/>
                  </a:cubicBezTo>
                  <a:cubicBezTo>
                    <a:pt x="889000" y="516316"/>
                    <a:pt x="881441" y="523875"/>
                    <a:pt x="873881" y="523875"/>
                  </a:cubicBezTo>
                  <a:cubicBezTo>
                    <a:pt x="873881" y="523875"/>
                    <a:pt x="873881" y="523875"/>
                    <a:pt x="820964" y="523875"/>
                  </a:cubicBezTo>
                  <a:cubicBezTo>
                    <a:pt x="813405" y="523875"/>
                    <a:pt x="809625" y="516316"/>
                    <a:pt x="809625" y="508756"/>
                  </a:cubicBezTo>
                  <a:cubicBezTo>
                    <a:pt x="809625" y="508756"/>
                    <a:pt x="809625" y="508756"/>
                    <a:pt x="809625" y="459619"/>
                  </a:cubicBezTo>
                  <a:cubicBezTo>
                    <a:pt x="809625" y="452060"/>
                    <a:pt x="813405" y="444500"/>
                    <a:pt x="820964" y="444500"/>
                  </a:cubicBezTo>
                  <a:close/>
                  <a:moveTo>
                    <a:pt x="704094" y="444500"/>
                  </a:moveTo>
                  <a:cubicBezTo>
                    <a:pt x="704094" y="444500"/>
                    <a:pt x="704094" y="444500"/>
                    <a:pt x="757011" y="444500"/>
                  </a:cubicBezTo>
                  <a:cubicBezTo>
                    <a:pt x="764570" y="444500"/>
                    <a:pt x="768350" y="452060"/>
                    <a:pt x="768350" y="459619"/>
                  </a:cubicBezTo>
                  <a:cubicBezTo>
                    <a:pt x="768350" y="459619"/>
                    <a:pt x="768350" y="459619"/>
                    <a:pt x="768350" y="508756"/>
                  </a:cubicBezTo>
                  <a:cubicBezTo>
                    <a:pt x="768350" y="516316"/>
                    <a:pt x="764570" y="523875"/>
                    <a:pt x="757011" y="523875"/>
                  </a:cubicBezTo>
                  <a:cubicBezTo>
                    <a:pt x="757011" y="523875"/>
                    <a:pt x="757011" y="523875"/>
                    <a:pt x="704094" y="523875"/>
                  </a:cubicBezTo>
                  <a:cubicBezTo>
                    <a:pt x="696534" y="523875"/>
                    <a:pt x="688975" y="516316"/>
                    <a:pt x="688975" y="508756"/>
                  </a:cubicBezTo>
                  <a:cubicBezTo>
                    <a:pt x="688975" y="508756"/>
                    <a:pt x="688975" y="508756"/>
                    <a:pt x="688975" y="459619"/>
                  </a:cubicBezTo>
                  <a:cubicBezTo>
                    <a:pt x="688975" y="452060"/>
                    <a:pt x="696534" y="444500"/>
                    <a:pt x="704094" y="444500"/>
                  </a:cubicBezTo>
                  <a:close/>
                  <a:moveTo>
                    <a:pt x="582839" y="444500"/>
                  </a:moveTo>
                  <a:cubicBezTo>
                    <a:pt x="582839" y="444500"/>
                    <a:pt x="582839" y="444500"/>
                    <a:pt x="635756" y="444500"/>
                  </a:cubicBezTo>
                  <a:cubicBezTo>
                    <a:pt x="643315" y="444500"/>
                    <a:pt x="650875" y="452060"/>
                    <a:pt x="650875" y="459619"/>
                  </a:cubicBezTo>
                  <a:cubicBezTo>
                    <a:pt x="650875" y="459619"/>
                    <a:pt x="650875" y="459619"/>
                    <a:pt x="650875" y="508756"/>
                  </a:cubicBezTo>
                  <a:cubicBezTo>
                    <a:pt x="650875" y="516316"/>
                    <a:pt x="643315" y="523875"/>
                    <a:pt x="635756" y="523875"/>
                  </a:cubicBezTo>
                  <a:cubicBezTo>
                    <a:pt x="635756" y="523875"/>
                    <a:pt x="635756" y="523875"/>
                    <a:pt x="582839" y="523875"/>
                  </a:cubicBezTo>
                  <a:cubicBezTo>
                    <a:pt x="575280" y="523875"/>
                    <a:pt x="571500" y="516316"/>
                    <a:pt x="571500" y="508756"/>
                  </a:cubicBezTo>
                  <a:cubicBezTo>
                    <a:pt x="571500" y="508756"/>
                    <a:pt x="571500" y="508756"/>
                    <a:pt x="571500" y="459619"/>
                  </a:cubicBezTo>
                  <a:cubicBezTo>
                    <a:pt x="571500" y="452060"/>
                    <a:pt x="575280" y="444500"/>
                    <a:pt x="582839" y="444500"/>
                  </a:cubicBezTo>
                  <a:close/>
                  <a:moveTo>
                    <a:pt x="378052" y="444500"/>
                  </a:moveTo>
                  <a:cubicBezTo>
                    <a:pt x="378052" y="444500"/>
                    <a:pt x="378052" y="444500"/>
                    <a:pt x="430969" y="444500"/>
                  </a:cubicBezTo>
                  <a:cubicBezTo>
                    <a:pt x="438528" y="444500"/>
                    <a:pt x="446088" y="452060"/>
                    <a:pt x="446088" y="459619"/>
                  </a:cubicBezTo>
                  <a:cubicBezTo>
                    <a:pt x="446088" y="459619"/>
                    <a:pt x="446088" y="459619"/>
                    <a:pt x="446088" y="508756"/>
                  </a:cubicBezTo>
                  <a:cubicBezTo>
                    <a:pt x="446088" y="516316"/>
                    <a:pt x="438528" y="523875"/>
                    <a:pt x="430969" y="523875"/>
                  </a:cubicBezTo>
                  <a:cubicBezTo>
                    <a:pt x="430969" y="523875"/>
                    <a:pt x="430969" y="523875"/>
                    <a:pt x="378052" y="523875"/>
                  </a:cubicBezTo>
                  <a:cubicBezTo>
                    <a:pt x="374272" y="523875"/>
                    <a:pt x="366713" y="516316"/>
                    <a:pt x="366713" y="508756"/>
                  </a:cubicBezTo>
                  <a:cubicBezTo>
                    <a:pt x="366713" y="508756"/>
                    <a:pt x="366713" y="508756"/>
                    <a:pt x="366713" y="459619"/>
                  </a:cubicBezTo>
                  <a:cubicBezTo>
                    <a:pt x="366713" y="452060"/>
                    <a:pt x="374272" y="444500"/>
                    <a:pt x="378052" y="444500"/>
                  </a:cubicBezTo>
                  <a:close/>
                  <a:moveTo>
                    <a:pt x="261182" y="444500"/>
                  </a:moveTo>
                  <a:cubicBezTo>
                    <a:pt x="261182" y="444500"/>
                    <a:pt x="261182" y="444500"/>
                    <a:pt x="314099" y="444500"/>
                  </a:cubicBezTo>
                  <a:cubicBezTo>
                    <a:pt x="317878" y="444500"/>
                    <a:pt x="321658" y="444500"/>
                    <a:pt x="321658" y="448280"/>
                  </a:cubicBezTo>
                  <a:cubicBezTo>
                    <a:pt x="325438" y="452060"/>
                    <a:pt x="325438" y="455839"/>
                    <a:pt x="325438" y="459619"/>
                  </a:cubicBezTo>
                  <a:cubicBezTo>
                    <a:pt x="325438" y="459619"/>
                    <a:pt x="325438" y="459619"/>
                    <a:pt x="325438" y="508756"/>
                  </a:cubicBezTo>
                  <a:cubicBezTo>
                    <a:pt x="325438" y="516316"/>
                    <a:pt x="321658" y="523875"/>
                    <a:pt x="314099" y="523875"/>
                  </a:cubicBezTo>
                  <a:cubicBezTo>
                    <a:pt x="314099" y="523875"/>
                    <a:pt x="314099" y="523875"/>
                    <a:pt x="261182" y="523875"/>
                  </a:cubicBezTo>
                  <a:cubicBezTo>
                    <a:pt x="253622" y="523875"/>
                    <a:pt x="246063" y="516316"/>
                    <a:pt x="246063" y="508756"/>
                  </a:cubicBezTo>
                  <a:cubicBezTo>
                    <a:pt x="246063" y="508756"/>
                    <a:pt x="246063" y="508756"/>
                    <a:pt x="246063" y="459619"/>
                  </a:cubicBezTo>
                  <a:cubicBezTo>
                    <a:pt x="246063" y="452060"/>
                    <a:pt x="253622" y="444500"/>
                    <a:pt x="261182" y="444500"/>
                  </a:cubicBezTo>
                  <a:close/>
                  <a:moveTo>
                    <a:pt x="820964" y="322262"/>
                  </a:moveTo>
                  <a:cubicBezTo>
                    <a:pt x="820964" y="322262"/>
                    <a:pt x="820964" y="322262"/>
                    <a:pt x="873881" y="322262"/>
                  </a:cubicBezTo>
                  <a:cubicBezTo>
                    <a:pt x="881441" y="322262"/>
                    <a:pt x="889000" y="329973"/>
                    <a:pt x="889000" y="337683"/>
                  </a:cubicBezTo>
                  <a:cubicBezTo>
                    <a:pt x="889000" y="337683"/>
                    <a:pt x="889000" y="337683"/>
                    <a:pt x="889000" y="391659"/>
                  </a:cubicBezTo>
                  <a:cubicBezTo>
                    <a:pt x="889000" y="399370"/>
                    <a:pt x="881441" y="403225"/>
                    <a:pt x="873881" y="403225"/>
                  </a:cubicBezTo>
                  <a:cubicBezTo>
                    <a:pt x="873881" y="403225"/>
                    <a:pt x="873881" y="403225"/>
                    <a:pt x="820964" y="403225"/>
                  </a:cubicBezTo>
                  <a:cubicBezTo>
                    <a:pt x="813405" y="403225"/>
                    <a:pt x="809625" y="399370"/>
                    <a:pt x="809625" y="391659"/>
                  </a:cubicBezTo>
                  <a:cubicBezTo>
                    <a:pt x="809625" y="391659"/>
                    <a:pt x="809625" y="391659"/>
                    <a:pt x="809625" y="337683"/>
                  </a:cubicBezTo>
                  <a:cubicBezTo>
                    <a:pt x="809625" y="329973"/>
                    <a:pt x="813405" y="322262"/>
                    <a:pt x="820964" y="322262"/>
                  </a:cubicBezTo>
                  <a:close/>
                  <a:moveTo>
                    <a:pt x="704094" y="322262"/>
                  </a:moveTo>
                  <a:cubicBezTo>
                    <a:pt x="704094" y="322262"/>
                    <a:pt x="704094" y="322262"/>
                    <a:pt x="757011" y="322262"/>
                  </a:cubicBezTo>
                  <a:cubicBezTo>
                    <a:pt x="764570" y="322262"/>
                    <a:pt x="768350" y="329973"/>
                    <a:pt x="768350" y="337683"/>
                  </a:cubicBezTo>
                  <a:cubicBezTo>
                    <a:pt x="768350" y="337683"/>
                    <a:pt x="768350" y="337683"/>
                    <a:pt x="768350" y="391659"/>
                  </a:cubicBezTo>
                  <a:cubicBezTo>
                    <a:pt x="768350" y="399370"/>
                    <a:pt x="764570" y="403225"/>
                    <a:pt x="757011" y="403225"/>
                  </a:cubicBezTo>
                  <a:cubicBezTo>
                    <a:pt x="757011" y="403225"/>
                    <a:pt x="757011" y="403225"/>
                    <a:pt x="704094" y="403225"/>
                  </a:cubicBezTo>
                  <a:cubicBezTo>
                    <a:pt x="696534" y="403225"/>
                    <a:pt x="688975" y="399370"/>
                    <a:pt x="688975" y="391659"/>
                  </a:cubicBezTo>
                  <a:cubicBezTo>
                    <a:pt x="688975" y="391659"/>
                    <a:pt x="688975" y="391659"/>
                    <a:pt x="688975" y="337683"/>
                  </a:cubicBezTo>
                  <a:cubicBezTo>
                    <a:pt x="688975" y="329973"/>
                    <a:pt x="696534" y="322262"/>
                    <a:pt x="704094" y="322262"/>
                  </a:cubicBezTo>
                  <a:close/>
                  <a:moveTo>
                    <a:pt x="582839" y="322262"/>
                  </a:moveTo>
                  <a:cubicBezTo>
                    <a:pt x="582839" y="322262"/>
                    <a:pt x="582839" y="322262"/>
                    <a:pt x="635756" y="322262"/>
                  </a:cubicBezTo>
                  <a:cubicBezTo>
                    <a:pt x="643315" y="322262"/>
                    <a:pt x="650875" y="329973"/>
                    <a:pt x="650875" y="337683"/>
                  </a:cubicBezTo>
                  <a:cubicBezTo>
                    <a:pt x="650875" y="337683"/>
                    <a:pt x="650875" y="337683"/>
                    <a:pt x="650875" y="391659"/>
                  </a:cubicBezTo>
                  <a:cubicBezTo>
                    <a:pt x="650875" y="399370"/>
                    <a:pt x="643315" y="403225"/>
                    <a:pt x="635756" y="403225"/>
                  </a:cubicBezTo>
                  <a:cubicBezTo>
                    <a:pt x="635756" y="403225"/>
                    <a:pt x="635756" y="403225"/>
                    <a:pt x="582839" y="403225"/>
                  </a:cubicBezTo>
                  <a:cubicBezTo>
                    <a:pt x="575280" y="403225"/>
                    <a:pt x="571500" y="399370"/>
                    <a:pt x="571500" y="391659"/>
                  </a:cubicBezTo>
                  <a:cubicBezTo>
                    <a:pt x="571500" y="391659"/>
                    <a:pt x="571500" y="391659"/>
                    <a:pt x="571500" y="337683"/>
                  </a:cubicBezTo>
                  <a:cubicBezTo>
                    <a:pt x="571500" y="329973"/>
                    <a:pt x="575280" y="322262"/>
                    <a:pt x="582839" y="322262"/>
                  </a:cubicBezTo>
                  <a:close/>
                  <a:moveTo>
                    <a:pt x="378052" y="322262"/>
                  </a:moveTo>
                  <a:cubicBezTo>
                    <a:pt x="378052" y="322262"/>
                    <a:pt x="378052" y="322262"/>
                    <a:pt x="430969" y="322262"/>
                  </a:cubicBezTo>
                  <a:cubicBezTo>
                    <a:pt x="438528" y="322262"/>
                    <a:pt x="446088" y="329973"/>
                    <a:pt x="446088" y="337683"/>
                  </a:cubicBezTo>
                  <a:cubicBezTo>
                    <a:pt x="446088" y="337683"/>
                    <a:pt x="446088" y="337683"/>
                    <a:pt x="446088" y="391659"/>
                  </a:cubicBezTo>
                  <a:cubicBezTo>
                    <a:pt x="446088" y="399370"/>
                    <a:pt x="438528" y="403225"/>
                    <a:pt x="430969" y="403225"/>
                  </a:cubicBezTo>
                  <a:cubicBezTo>
                    <a:pt x="430969" y="403225"/>
                    <a:pt x="430969" y="403225"/>
                    <a:pt x="378052" y="403225"/>
                  </a:cubicBezTo>
                  <a:cubicBezTo>
                    <a:pt x="374272" y="403225"/>
                    <a:pt x="366713" y="399370"/>
                    <a:pt x="366713" y="391659"/>
                  </a:cubicBezTo>
                  <a:cubicBezTo>
                    <a:pt x="366713" y="391659"/>
                    <a:pt x="366713" y="391659"/>
                    <a:pt x="366713" y="337683"/>
                  </a:cubicBezTo>
                  <a:cubicBezTo>
                    <a:pt x="366713" y="329973"/>
                    <a:pt x="374272" y="322262"/>
                    <a:pt x="378052" y="322262"/>
                  </a:cubicBezTo>
                  <a:close/>
                  <a:moveTo>
                    <a:pt x="261182" y="322262"/>
                  </a:moveTo>
                  <a:cubicBezTo>
                    <a:pt x="261182" y="322262"/>
                    <a:pt x="261182" y="322262"/>
                    <a:pt x="314099" y="322262"/>
                  </a:cubicBezTo>
                  <a:cubicBezTo>
                    <a:pt x="321658" y="322262"/>
                    <a:pt x="325438" y="329973"/>
                    <a:pt x="325438" y="337683"/>
                  </a:cubicBezTo>
                  <a:cubicBezTo>
                    <a:pt x="325438" y="337683"/>
                    <a:pt x="325438" y="337683"/>
                    <a:pt x="325438" y="391659"/>
                  </a:cubicBezTo>
                  <a:cubicBezTo>
                    <a:pt x="325438" y="399370"/>
                    <a:pt x="321658" y="403225"/>
                    <a:pt x="314099" y="403225"/>
                  </a:cubicBezTo>
                  <a:cubicBezTo>
                    <a:pt x="314099" y="403225"/>
                    <a:pt x="314099" y="403225"/>
                    <a:pt x="261182" y="403225"/>
                  </a:cubicBezTo>
                  <a:cubicBezTo>
                    <a:pt x="253622" y="403225"/>
                    <a:pt x="246063" y="399370"/>
                    <a:pt x="246063" y="391659"/>
                  </a:cubicBezTo>
                  <a:cubicBezTo>
                    <a:pt x="246063" y="391659"/>
                    <a:pt x="246063" y="391659"/>
                    <a:pt x="246063" y="337683"/>
                  </a:cubicBezTo>
                  <a:cubicBezTo>
                    <a:pt x="246063" y="329973"/>
                    <a:pt x="253622" y="322262"/>
                    <a:pt x="261182" y="322262"/>
                  </a:cubicBezTo>
                  <a:close/>
                  <a:moveTo>
                    <a:pt x="514350" y="265112"/>
                  </a:moveTo>
                  <a:lnTo>
                    <a:pt x="514350" y="790575"/>
                  </a:lnTo>
                  <a:lnTo>
                    <a:pt x="946150" y="790575"/>
                  </a:lnTo>
                  <a:lnTo>
                    <a:pt x="946150" y="265112"/>
                  </a:lnTo>
                  <a:close/>
                  <a:moveTo>
                    <a:pt x="378052" y="204787"/>
                  </a:moveTo>
                  <a:cubicBezTo>
                    <a:pt x="378052" y="204787"/>
                    <a:pt x="378052" y="204787"/>
                    <a:pt x="430969" y="204787"/>
                  </a:cubicBezTo>
                  <a:cubicBezTo>
                    <a:pt x="438528" y="204787"/>
                    <a:pt x="446088" y="212346"/>
                    <a:pt x="446088" y="219906"/>
                  </a:cubicBezTo>
                  <a:cubicBezTo>
                    <a:pt x="446088" y="219906"/>
                    <a:pt x="446088" y="219906"/>
                    <a:pt x="446088" y="269043"/>
                  </a:cubicBezTo>
                  <a:cubicBezTo>
                    <a:pt x="446088" y="276602"/>
                    <a:pt x="438528" y="284162"/>
                    <a:pt x="430969" y="284162"/>
                  </a:cubicBezTo>
                  <a:cubicBezTo>
                    <a:pt x="430969" y="284162"/>
                    <a:pt x="430969" y="284162"/>
                    <a:pt x="378052" y="284162"/>
                  </a:cubicBezTo>
                  <a:cubicBezTo>
                    <a:pt x="374272" y="284162"/>
                    <a:pt x="366713" y="276602"/>
                    <a:pt x="366713" y="269043"/>
                  </a:cubicBezTo>
                  <a:cubicBezTo>
                    <a:pt x="366713" y="269043"/>
                    <a:pt x="366713" y="269043"/>
                    <a:pt x="366713" y="219906"/>
                  </a:cubicBezTo>
                  <a:cubicBezTo>
                    <a:pt x="366713" y="212346"/>
                    <a:pt x="374272" y="204787"/>
                    <a:pt x="378052" y="204787"/>
                  </a:cubicBezTo>
                  <a:close/>
                  <a:moveTo>
                    <a:pt x="261182" y="204787"/>
                  </a:moveTo>
                  <a:cubicBezTo>
                    <a:pt x="261182" y="204787"/>
                    <a:pt x="261182" y="204787"/>
                    <a:pt x="314099" y="204787"/>
                  </a:cubicBezTo>
                  <a:cubicBezTo>
                    <a:pt x="321658" y="204787"/>
                    <a:pt x="325438" y="212346"/>
                    <a:pt x="325438" y="219906"/>
                  </a:cubicBezTo>
                  <a:cubicBezTo>
                    <a:pt x="325438" y="219906"/>
                    <a:pt x="325438" y="219906"/>
                    <a:pt x="325438" y="269043"/>
                  </a:cubicBezTo>
                  <a:cubicBezTo>
                    <a:pt x="325438" y="276602"/>
                    <a:pt x="321658" y="284162"/>
                    <a:pt x="314099" y="284162"/>
                  </a:cubicBezTo>
                  <a:cubicBezTo>
                    <a:pt x="314099" y="284162"/>
                    <a:pt x="314099" y="284162"/>
                    <a:pt x="261182" y="284162"/>
                  </a:cubicBezTo>
                  <a:cubicBezTo>
                    <a:pt x="253622" y="284162"/>
                    <a:pt x="246063" y="276602"/>
                    <a:pt x="246063" y="269043"/>
                  </a:cubicBezTo>
                  <a:cubicBezTo>
                    <a:pt x="246063" y="269043"/>
                    <a:pt x="246063" y="269043"/>
                    <a:pt x="246063" y="219906"/>
                  </a:cubicBezTo>
                  <a:cubicBezTo>
                    <a:pt x="246063" y="212346"/>
                    <a:pt x="253622" y="204787"/>
                    <a:pt x="261182" y="204787"/>
                  </a:cubicBezTo>
                  <a:close/>
                  <a:moveTo>
                    <a:pt x="378052" y="82550"/>
                  </a:moveTo>
                  <a:lnTo>
                    <a:pt x="430969" y="82550"/>
                  </a:lnTo>
                  <a:cubicBezTo>
                    <a:pt x="438528" y="82550"/>
                    <a:pt x="446088" y="90261"/>
                    <a:pt x="446088" y="97971"/>
                  </a:cubicBezTo>
                  <a:cubicBezTo>
                    <a:pt x="446088" y="151947"/>
                    <a:pt x="446088" y="151947"/>
                    <a:pt x="446088" y="151947"/>
                  </a:cubicBezTo>
                  <a:cubicBezTo>
                    <a:pt x="446088" y="159658"/>
                    <a:pt x="438528" y="163513"/>
                    <a:pt x="430969" y="163513"/>
                  </a:cubicBezTo>
                  <a:cubicBezTo>
                    <a:pt x="378052" y="163513"/>
                    <a:pt x="378052" y="163513"/>
                    <a:pt x="378052" y="163513"/>
                  </a:cubicBezTo>
                  <a:cubicBezTo>
                    <a:pt x="374272" y="163513"/>
                    <a:pt x="366713" y="159658"/>
                    <a:pt x="366713" y="151947"/>
                  </a:cubicBezTo>
                  <a:cubicBezTo>
                    <a:pt x="366713" y="97971"/>
                    <a:pt x="366713" y="97971"/>
                    <a:pt x="366713" y="97971"/>
                  </a:cubicBezTo>
                  <a:cubicBezTo>
                    <a:pt x="366713" y="90261"/>
                    <a:pt x="374272" y="82550"/>
                    <a:pt x="378052" y="82550"/>
                  </a:cubicBezTo>
                  <a:close/>
                  <a:moveTo>
                    <a:pt x="261182" y="82550"/>
                  </a:moveTo>
                  <a:cubicBezTo>
                    <a:pt x="261182" y="82550"/>
                    <a:pt x="261182" y="82550"/>
                    <a:pt x="314099" y="82550"/>
                  </a:cubicBezTo>
                  <a:cubicBezTo>
                    <a:pt x="321658" y="82550"/>
                    <a:pt x="325438" y="90261"/>
                    <a:pt x="325438" y="97971"/>
                  </a:cubicBezTo>
                  <a:cubicBezTo>
                    <a:pt x="325438" y="97971"/>
                    <a:pt x="325438" y="97971"/>
                    <a:pt x="325438" y="151947"/>
                  </a:cubicBezTo>
                  <a:cubicBezTo>
                    <a:pt x="325438" y="159658"/>
                    <a:pt x="321658" y="163513"/>
                    <a:pt x="314099" y="163513"/>
                  </a:cubicBezTo>
                  <a:cubicBezTo>
                    <a:pt x="314099" y="163513"/>
                    <a:pt x="314099" y="163513"/>
                    <a:pt x="261182" y="163513"/>
                  </a:cubicBezTo>
                  <a:cubicBezTo>
                    <a:pt x="253622" y="163513"/>
                    <a:pt x="246063" y="159658"/>
                    <a:pt x="246063" y="151947"/>
                  </a:cubicBezTo>
                  <a:cubicBezTo>
                    <a:pt x="246063" y="151947"/>
                    <a:pt x="246063" y="151947"/>
                    <a:pt x="246063" y="97971"/>
                  </a:cubicBezTo>
                  <a:cubicBezTo>
                    <a:pt x="246063" y="90261"/>
                    <a:pt x="253622" y="82550"/>
                    <a:pt x="261182" y="82550"/>
                  </a:cubicBezTo>
                  <a:close/>
                  <a:moveTo>
                    <a:pt x="207963" y="25400"/>
                  </a:moveTo>
                  <a:lnTo>
                    <a:pt x="207963" y="790575"/>
                  </a:lnTo>
                  <a:lnTo>
                    <a:pt x="484188" y="790575"/>
                  </a:lnTo>
                  <a:lnTo>
                    <a:pt x="484188" y="25400"/>
                  </a:lnTo>
                  <a:close/>
                  <a:moveTo>
                    <a:pt x="192983" y="0"/>
                  </a:moveTo>
                  <a:cubicBezTo>
                    <a:pt x="192983" y="0"/>
                    <a:pt x="192983" y="0"/>
                    <a:pt x="499485" y="0"/>
                  </a:cubicBezTo>
                  <a:cubicBezTo>
                    <a:pt x="507053" y="0"/>
                    <a:pt x="514621" y="7614"/>
                    <a:pt x="514621" y="15228"/>
                  </a:cubicBezTo>
                  <a:cubicBezTo>
                    <a:pt x="514621" y="15228"/>
                    <a:pt x="514621" y="15228"/>
                    <a:pt x="514621" y="239845"/>
                  </a:cubicBezTo>
                  <a:cubicBezTo>
                    <a:pt x="514621" y="239845"/>
                    <a:pt x="514621" y="239845"/>
                    <a:pt x="957346" y="239845"/>
                  </a:cubicBezTo>
                  <a:cubicBezTo>
                    <a:pt x="964914" y="239845"/>
                    <a:pt x="972482" y="247459"/>
                    <a:pt x="972482" y="255073"/>
                  </a:cubicBezTo>
                  <a:cubicBezTo>
                    <a:pt x="972482" y="255073"/>
                    <a:pt x="972482" y="255073"/>
                    <a:pt x="972482" y="791869"/>
                  </a:cubicBezTo>
                  <a:cubicBezTo>
                    <a:pt x="972482" y="791869"/>
                    <a:pt x="972482" y="791869"/>
                    <a:pt x="1138977" y="791869"/>
                  </a:cubicBezTo>
                  <a:cubicBezTo>
                    <a:pt x="1146545" y="791869"/>
                    <a:pt x="1154113" y="799483"/>
                    <a:pt x="1154113" y="807097"/>
                  </a:cubicBezTo>
                  <a:cubicBezTo>
                    <a:pt x="1154113" y="814711"/>
                    <a:pt x="1146545" y="822325"/>
                    <a:pt x="1138977" y="822325"/>
                  </a:cubicBezTo>
                  <a:lnTo>
                    <a:pt x="11352" y="822325"/>
                  </a:lnTo>
                  <a:cubicBezTo>
                    <a:pt x="3784" y="822325"/>
                    <a:pt x="0" y="814711"/>
                    <a:pt x="0" y="807097"/>
                  </a:cubicBezTo>
                  <a:cubicBezTo>
                    <a:pt x="0" y="799483"/>
                    <a:pt x="3784" y="791869"/>
                    <a:pt x="11352" y="791869"/>
                  </a:cubicBezTo>
                  <a:cubicBezTo>
                    <a:pt x="11352" y="791869"/>
                    <a:pt x="11352" y="791869"/>
                    <a:pt x="181631" y="791869"/>
                  </a:cubicBezTo>
                  <a:cubicBezTo>
                    <a:pt x="181631" y="791869"/>
                    <a:pt x="181631" y="791869"/>
                    <a:pt x="181631" y="15228"/>
                  </a:cubicBezTo>
                  <a:cubicBezTo>
                    <a:pt x="181631" y="7614"/>
                    <a:pt x="185415" y="0"/>
                    <a:pt x="192983" y="0"/>
                  </a:cubicBezTo>
                  <a:close/>
                </a:path>
              </a:pathLst>
            </a:custGeom>
            <a:solidFill>
              <a:schemeClr val="bg1"/>
            </a:solidFill>
            <a:ln>
              <a:noFill/>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t" anchorCtr="0" compatLnSpc="1">
              <a:prstTxWarp prst="textNoShape">
                <a:avLst/>
              </a:prstTxWarp>
              <a:noAutofit/>
            </a:bodyPr>
            <a:lstStyle/>
            <a:p>
              <a:endParaRPr lang="en-GB" sz="1600" dirty="0">
                <a:solidFill>
                  <a:srgbClr val="000000"/>
                </a:solidFill>
              </a:endParaRPr>
            </a:p>
          </p:txBody>
        </p:sp>
        <p:sp>
          <p:nvSpPr>
            <p:cNvPr id="32" name="TextBox 31"/>
            <p:cNvSpPr txBox="1"/>
            <p:nvPr/>
          </p:nvSpPr>
          <p:spPr>
            <a:xfrm>
              <a:off x="5673461" y="2157807"/>
              <a:ext cx="2006951" cy="530594"/>
            </a:xfrm>
            <a:prstGeom prst="rect">
              <a:avLst/>
            </a:prstGeom>
            <a:noFill/>
          </p:spPr>
          <p:txBody>
            <a:bodyPr wrap="square" rtlCol="0" anchor="ctr" anchorCtr="0">
              <a:spAutoFit/>
            </a:bodyPr>
            <a:lstStyle/>
            <a:p>
              <a:pPr algn="ctr">
                <a:lnSpc>
                  <a:spcPct val="89000"/>
                </a:lnSpc>
              </a:pPr>
              <a:r>
                <a:rPr lang="en-GB" sz="3200" b="1" dirty="0" smtClean="0">
                  <a:solidFill>
                    <a:schemeClr val="tx2"/>
                  </a:solidFill>
                  <a:ea typeface="Open Sans" panose="020B0606030504020204" pitchFamily="34" charset="0"/>
                  <a:cs typeface="Open Sans" panose="020B0606030504020204" pitchFamily="34" charset="0"/>
                </a:rPr>
                <a:t>237</a:t>
              </a:r>
              <a:endParaRPr lang="en-US" sz="3200" b="1" dirty="0">
                <a:solidFill>
                  <a:srgbClr val="003755"/>
                </a:solidFill>
                <a:ea typeface="Open Sans" panose="020B0606030504020204" pitchFamily="34" charset="0"/>
                <a:cs typeface="Open Sans" panose="020B0606030504020204" pitchFamily="34" charset="0"/>
              </a:endParaRPr>
            </a:p>
          </p:txBody>
        </p:sp>
      </p:grpSp>
      <p:grpSp>
        <p:nvGrpSpPr>
          <p:cNvPr id="3" name="Group 2"/>
          <p:cNvGrpSpPr/>
          <p:nvPr/>
        </p:nvGrpSpPr>
        <p:grpSpPr>
          <a:xfrm>
            <a:off x="487321" y="2942457"/>
            <a:ext cx="7651443" cy="1004907"/>
            <a:chOff x="487322" y="2968380"/>
            <a:chExt cx="7651443" cy="1004907"/>
          </a:xfrm>
        </p:grpSpPr>
        <p:sp>
          <p:nvSpPr>
            <p:cNvPr id="40" name="Rectangle 39"/>
            <p:cNvSpPr/>
            <p:nvPr/>
          </p:nvSpPr>
          <p:spPr>
            <a:xfrm>
              <a:off x="487322" y="2968380"/>
              <a:ext cx="7651443" cy="1004907"/>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122" name="Oval 121"/>
            <p:cNvSpPr/>
            <p:nvPr/>
          </p:nvSpPr>
          <p:spPr>
            <a:xfrm>
              <a:off x="502545" y="3137616"/>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chemeClr val="tx1"/>
                </a:solidFill>
              </a:endParaRPr>
            </a:p>
          </p:txBody>
        </p:sp>
        <p:sp>
          <p:nvSpPr>
            <p:cNvPr id="60" name="TextBox 59"/>
            <p:cNvSpPr txBox="1"/>
            <p:nvPr/>
          </p:nvSpPr>
          <p:spPr>
            <a:xfrm>
              <a:off x="1524997" y="3316945"/>
              <a:ext cx="2885810" cy="307777"/>
            </a:xfrm>
            <a:prstGeom prst="rect">
              <a:avLst/>
            </a:prstGeom>
            <a:noFill/>
          </p:spPr>
          <p:txBody>
            <a:bodyPr wrap="square" lIns="0" tIns="0" rIns="0" bIns="0" rtlCol="0">
              <a:spAutoFit/>
            </a:bodyPr>
            <a:lstStyle/>
            <a:p>
              <a:r>
                <a:rPr lang="en-US" sz="2000" b="1" dirty="0">
                  <a:solidFill>
                    <a:srgbClr val="003755"/>
                  </a:solidFill>
                </a:rPr>
                <a:t>Country domiciles</a:t>
              </a:r>
            </a:p>
          </p:txBody>
        </p:sp>
        <p:sp>
          <p:nvSpPr>
            <p:cNvPr id="74" name="International"/>
            <p:cNvSpPr>
              <a:spLocks noChangeAspect="1"/>
            </p:cNvSpPr>
            <p:nvPr>
              <p:custDataLst>
                <p:tags r:id="rId5"/>
              </p:custDataLst>
            </p:nvPr>
          </p:nvSpPr>
          <p:spPr bwMode="auto">
            <a:xfrm>
              <a:off x="647508" y="3290833"/>
              <a:ext cx="360970" cy="360000"/>
            </a:xfrm>
            <a:custGeom>
              <a:avLst/>
              <a:gdLst>
                <a:gd name="connsiteX0" fmla="*/ 844615 w 1184276"/>
                <a:gd name="connsiteY0" fmla="*/ 915988 h 1181100"/>
                <a:gd name="connsiteX1" fmla="*/ 715963 w 1184276"/>
                <a:gd name="connsiteY1" fmla="*/ 1127126 h 1181100"/>
                <a:gd name="connsiteX2" fmla="*/ 992188 w 1184276"/>
                <a:gd name="connsiteY2" fmla="*/ 968773 h 1181100"/>
                <a:gd name="connsiteX3" fmla="*/ 844615 w 1184276"/>
                <a:gd name="connsiteY3" fmla="*/ 915988 h 1181100"/>
                <a:gd name="connsiteX4" fmla="*/ 340508 w 1184276"/>
                <a:gd name="connsiteY4" fmla="*/ 915988 h 1181100"/>
                <a:gd name="connsiteX5" fmla="*/ 192088 w 1184276"/>
                <a:gd name="connsiteY5" fmla="*/ 968773 h 1181100"/>
                <a:gd name="connsiteX6" fmla="*/ 469901 w 1184276"/>
                <a:gd name="connsiteY6" fmla="*/ 1127126 h 1181100"/>
                <a:gd name="connsiteX7" fmla="*/ 340508 w 1184276"/>
                <a:gd name="connsiteY7" fmla="*/ 915988 h 1181100"/>
                <a:gd name="connsiteX8" fmla="*/ 612775 w 1184276"/>
                <a:gd name="connsiteY8" fmla="*/ 885825 h 1181100"/>
                <a:gd name="connsiteX9" fmla="*/ 612775 w 1184276"/>
                <a:gd name="connsiteY9" fmla="*/ 1138238 h 1181100"/>
                <a:gd name="connsiteX10" fmla="*/ 806450 w 1184276"/>
                <a:gd name="connsiteY10" fmla="*/ 904662 h 1181100"/>
                <a:gd name="connsiteX11" fmla="*/ 612775 w 1184276"/>
                <a:gd name="connsiteY11" fmla="*/ 885825 h 1181100"/>
                <a:gd name="connsiteX12" fmla="*/ 571500 w 1184276"/>
                <a:gd name="connsiteY12" fmla="*/ 885825 h 1181100"/>
                <a:gd name="connsiteX13" fmla="*/ 377825 w 1184276"/>
                <a:gd name="connsiteY13" fmla="*/ 904662 h 1181100"/>
                <a:gd name="connsiteX14" fmla="*/ 571500 w 1184276"/>
                <a:gd name="connsiteY14" fmla="*/ 1138238 h 1181100"/>
                <a:gd name="connsiteX15" fmla="*/ 893471 w 1184276"/>
                <a:gd name="connsiteY15" fmla="*/ 609600 h 1181100"/>
                <a:gd name="connsiteX16" fmla="*/ 855663 w 1184276"/>
                <a:gd name="connsiteY16" fmla="*/ 877779 h 1181100"/>
                <a:gd name="connsiteX17" fmla="*/ 1018236 w 1184276"/>
                <a:gd name="connsiteY17" fmla="*/ 938213 h 1181100"/>
                <a:gd name="connsiteX18" fmla="*/ 1143001 w 1184276"/>
                <a:gd name="connsiteY18" fmla="*/ 609600 h 1181100"/>
                <a:gd name="connsiteX19" fmla="*/ 893471 w 1184276"/>
                <a:gd name="connsiteY19" fmla="*/ 609600 h 1181100"/>
                <a:gd name="connsiteX20" fmla="*/ 612775 w 1184276"/>
                <a:gd name="connsiteY20" fmla="*/ 609600 h 1181100"/>
                <a:gd name="connsiteX21" fmla="*/ 612775 w 1184276"/>
                <a:gd name="connsiteY21" fmla="*/ 844083 h 1181100"/>
                <a:gd name="connsiteX22" fmla="*/ 817712 w 1184276"/>
                <a:gd name="connsiteY22" fmla="*/ 866775 h 1181100"/>
                <a:gd name="connsiteX23" fmla="*/ 855663 w 1184276"/>
                <a:gd name="connsiteY23" fmla="*/ 609600 h 1181100"/>
                <a:gd name="connsiteX24" fmla="*/ 612775 w 1184276"/>
                <a:gd name="connsiteY24" fmla="*/ 609600 h 1181100"/>
                <a:gd name="connsiteX25" fmla="*/ 328613 w 1184276"/>
                <a:gd name="connsiteY25" fmla="*/ 609600 h 1181100"/>
                <a:gd name="connsiteX26" fmla="*/ 366564 w 1184276"/>
                <a:gd name="connsiteY26" fmla="*/ 866775 h 1181100"/>
                <a:gd name="connsiteX27" fmla="*/ 571501 w 1184276"/>
                <a:gd name="connsiteY27" fmla="*/ 844083 h 1181100"/>
                <a:gd name="connsiteX28" fmla="*/ 571501 w 1184276"/>
                <a:gd name="connsiteY28" fmla="*/ 609600 h 1181100"/>
                <a:gd name="connsiteX29" fmla="*/ 328613 w 1184276"/>
                <a:gd name="connsiteY29" fmla="*/ 609600 h 1181100"/>
                <a:gd name="connsiteX30" fmla="*/ 41275 w 1184276"/>
                <a:gd name="connsiteY30" fmla="*/ 609600 h 1181100"/>
                <a:gd name="connsiteX31" fmla="*/ 166040 w 1184276"/>
                <a:gd name="connsiteY31" fmla="*/ 938213 h 1181100"/>
                <a:gd name="connsiteX32" fmla="*/ 328613 w 1184276"/>
                <a:gd name="connsiteY32" fmla="*/ 874001 h 1181100"/>
                <a:gd name="connsiteX33" fmla="*/ 290805 w 1184276"/>
                <a:gd name="connsiteY33" fmla="*/ 609600 h 1181100"/>
                <a:gd name="connsiteX34" fmla="*/ 41275 w 1184276"/>
                <a:gd name="connsiteY34" fmla="*/ 609600 h 1181100"/>
                <a:gd name="connsiteX35" fmla="*/ 817712 w 1184276"/>
                <a:gd name="connsiteY35" fmla="*/ 314325 h 1181100"/>
                <a:gd name="connsiteX36" fmla="*/ 612775 w 1184276"/>
                <a:gd name="connsiteY36" fmla="*/ 337017 h 1181100"/>
                <a:gd name="connsiteX37" fmla="*/ 612775 w 1184276"/>
                <a:gd name="connsiteY37" fmla="*/ 571500 h 1181100"/>
                <a:gd name="connsiteX38" fmla="*/ 855663 w 1184276"/>
                <a:gd name="connsiteY38" fmla="*/ 571500 h 1181100"/>
                <a:gd name="connsiteX39" fmla="*/ 817712 w 1184276"/>
                <a:gd name="connsiteY39" fmla="*/ 314325 h 1181100"/>
                <a:gd name="connsiteX40" fmla="*/ 366564 w 1184276"/>
                <a:gd name="connsiteY40" fmla="*/ 314325 h 1181100"/>
                <a:gd name="connsiteX41" fmla="*/ 328613 w 1184276"/>
                <a:gd name="connsiteY41" fmla="*/ 571500 h 1181100"/>
                <a:gd name="connsiteX42" fmla="*/ 571501 w 1184276"/>
                <a:gd name="connsiteY42" fmla="*/ 571500 h 1181100"/>
                <a:gd name="connsiteX43" fmla="*/ 571501 w 1184276"/>
                <a:gd name="connsiteY43" fmla="*/ 337017 h 1181100"/>
                <a:gd name="connsiteX44" fmla="*/ 366564 w 1184276"/>
                <a:gd name="connsiteY44" fmla="*/ 314325 h 1181100"/>
                <a:gd name="connsiteX45" fmla="*/ 1018236 w 1184276"/>
                <a:gd name="connsiteY45" fmla="*/ 241300 h 1181100"/>
                <a:gd name="connsiteX46" fmla="*/ 855663 w 1184276"/>
                <a:gd name="connsiteY46" fmla="*/ 302026 h 1181100"/>
                <a:gd name="connsiteX47" fmla="*/ 893471 w 1184276"/>
                <a:gd name="connsiteY47" fmla="*/ 571500 h 1181100"/>
                <a:gd name="connsiteX48" fmla="*/ 1143001 w 1184276"/>
                <a:gd name="connsiteY48" fmla="*/ 571500 h 1181100"/>
                <a:gd name="connsiteX49" fmla="*/ 1018236 w 1184276"/>
                <a:gd name="connsiteY49" fmla="*/ 241300 h 1181100"/>
                <a:gd name="connsiteX50" fmla="*/ 166040 w 1184276"/>
                <a:gd name="connsiteY50" fmla="*/ 241300 h 1181100"/>
                <a:gd name="connsiteX51" fmla="*/ 41275 w 1184276"/>
                <a:gd name="connsiteY51" fmla="*/ 571500 h 1181100"/>
                <a:gd name="connsiteX52" fmla="*/ 290805 w 1184276"/>
                <a:gd name="connsiteY52" fmla="*/ 571500 h 1181100"/>
                <a:gd name="connsiteX53" fmla="*/ 328613 w 1184276"/>
                <a:gd name="connsiteY53" fmla="*/ 305822 h 1181100"/>
                <a:gd name="connsiteX54" fmla="*/ 166040 w 1184276"/>
                <a:gd name="connsiteY54" fmla="*/ 241300 h 1181100"/>
                <a:gd name="connsiteX55" fmla="*/ 715963 w 1184276"/>
                <a:gd name="connsiteY55" fmla="*/ 52388 h 1181100"/>
                <a:gd name="connsiteX56" fmla="*/ 844615 w 1184276"/>
                <a:gd name="connsiteY56" fmla="*/ 268288 h 1181100"/>
                <a:gd name="connsiteX57" fmla="*/ 992188 w 1184276"/>
                <a:gd name="connsiteY57" fmla="*/ 211472 h 1181100"/>
                <a:gd name="connsiteX58" fmla="*/ 715963 w 1184276"/>
                <a:gd name="connsiteY58" fmla="*/ 52388 h 1181100"/>
                <a:gd name="connsiteX59" fmla="*/ 469901 w 1184276"/>
                <a:gd name="connsiteY59" fmla="*/ 52388 h 1181100"/>
                <a:gd name="connsiteX60" fmla="*/ 192088 w 1184276"/>
                <a:gd name="connsiteY60" fmla="*/ 211932 h 1181100"/>
                <a:gd name="connsiteX61" fmla="*/ 340508 w 1184276"/>
                <a:gd name="connsiteY61" fmla="*/ 265113 h 1181100"/>
                <a:gd name="connsiteX62" fmla="*/ 469901 w 1184276"/>
                <a:gd name="connsiteY62" fmla="*/ 52388 h 1181100"/>
                <a:gd name="connsiteX63" fmla="*/ 612775 w 1184276"/>
                <a:gd name="connsiteY63" fmla="*/ 44450 h 1181100"/>
                <a:gd name="connsiteX64" fmla="*/ 612775 w 1184276"/>
                <a:gd name="connsiteY64" fmla="*/ 298450 h 1181100"/>
                <a:gd name="connsiteX65" fmla="*/ 806450 w 1184276"/>
                <a:gd name="connsiteY65" fmla="*/ 275704 h 1181100"/>
                <a:gd name="connsiteX66" fmla="*/ 612775 w 1184276"/>
                <a:gd name="connsiteY66" fmla="*/ 44450 h 1181100"/>
                <a:gd name="connsiteX67" fmla="*/ 571500 w 1184276"/>
                <a:gd name="connsiteY67" fmla="*/ 44450 h 1181100"/>
                <a:gd name="connsiteX68" fmla="*/ 377825 w 1184276"/>
                <a:gd name="connsiteY68" fmla="*/ 275704 h 1181100"/>
                <a:gd name="connsiteX69" fmla="*/ 571500 w 1184276"/>
                <a:gd name="connsiteY69" fmla="*/ 298450 h 1181100"/>
                <a:gd name="connsiteX70" fmla="*/ 592138 w 1184276"/>
                <a:gd name="connsiteY70" fmla="*/ 0 h 1181100"/>
                <a:gd name="connsiteX71" fmla="*/ 1184276 w 1184276"/>
                <a:gd name="connsiteY71" fmla="*/ 590550 h 1181100"/>
                <a:gd name="connsiteX72" fmla="*/ 592138 w 1184276"/>
                <a:gd name="connsiteY72" fmla="*/ 1181100 h 1181100"/>
                <a:gd name="connsiteX73" fmla="*/ 0 w 1184276"/>
                <a:gd name="connsiteY73" fmla="*/ 590550 h 1181100"/>
                <a:gd name="connsiteX74" fmla="*/ 592138 w 1184276"/>
                <a:gd name="connsiteY74" fmla="*/ 0 h 118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184276" h="1181100">
                  <a:moveTo>
                    <a:pt x="844615" y="915988"/>
                  </a:moveTo>
                  <a:cubicBezTo>
                    <a:pt x="814344" y="1006476"/>
                    <a:pt x="768937" y="1081882"/>
                    <a:pt x="715963" y="1127126"/>
                  </a:cubicBezTo>
                  <a:cubicBezTo>
                    <a:pt x="825696" y="1100734"/>
                    <a:pt x="920294" y="1047949"/>
                    <a:pt x="992188" y="968773"/>
                  </a:cubicBezTo>
                  <a:cubicBezTo>
                    <a:pt x="950565" y="946151"/>
                    <a:pt x="901375" y="927299"/>
                    <a:pt x="844615" y="915988"/>
                  </a:cubicBezTo>
                  <a:close/>
                  <a:moveTo>
                    <a:pt x="340508" y="915988"/>
                  </a:moveTo>
                  <a:cubicBezTo>
                    <a:pt x="283424" y="927299"/>
                    <a:pt x="233950" y="946151"/>
                    <a:pt x="192088" y="968773"/>
                  </a:cubicBezTo>
                  <a:cubicBezTo>
                    <a:pt x="264395" y="1047949"/>
                    <a:pt x="359537" y="1100734"/>
                    <a:pt x="469901" y="1127126"/>
                  </a:cubicBezTo>
                  <a:cubicBezTo>
                    <a:pt x="416622" y="1081882"/>
                    <a:pt x="370954" y="1006476"/>
                    <a:pt x="340508" y="915988"/>
                  </a:cubicBezTo>
                  <a:close/>
                  <a:moveTo>
                    <a:pt x="612775" y="885825"/>
                  </a:moveTo>
                  <a:cubicBezTo>
                    <a:pt x="612775" y="885825"/>
                    <a:pt x="612775" y="885825"/>
                    <a:pt x="612775" y="1138238"/>
                  </a:cubicBezTo>
                  <a:cubicBezTo>
                    <a:pt x="692523" y="1123169"/>
                    <a:pt x="760879" y="1032752"/>
                    <a:pt x="806450" y="904662"/>
                  </a:cubicBezTo>
                  <a:cubicBezTo>
                    <a:pt x="745689" y="893360"/>
                    <a:pt x="681131" y="885825"/>
                    <a:pt x="612775" y="885825"/>
                  </a:cubicBezTo>
                  <a:close/>
                  <a:moveTo>
                    <a:pt x="571500" y="885825"/>
                  </a:moveTo>
                  <a:cubicBezTo>
                    <a:pt x="503144" y="885825"/>
                    <a:pt x="438586" y="893360"/>
                    <a:pt x="377825" y="904662"/>
                  </a:cubicBezTo>
                  <a:cubicBezTo>
                    <a:pt x="423395" y="1032752"/>
                    <a:pt x="495549" y="1123169"/>
                    <a:pt x="571500" y="1138238"/>
                  </a:cubicBezTo>
                  <a:close/>
                  <a:moveTo>
                    <a:pt x="893471" y="609600"/>
                  </a:moveTo>
                  <a:cubicBezTo>
                    <a:pt x="893471" y="707806"/>
                    <a:pt x="878348" y="798458"/>
                    <a:pt x="855663" y="877779"/>
                  </a:cubicBezTo>
                  <a:cubicBezTo>
                    <a:pt x="916155" y="892887"/>
                    <a:pt x="972867" y="911773"/>
                    <a:pt x="1018236" y="938213"/>
                  </a:cubicBezTo>
                  <a:cubicBezTo>
                    <a:pt x="1093851" y="847561"/>
                    <a:pt x="1139220" y="734246"/>
                    <a:pt x="1143001" y="609600"/>
                  </a:cubicBezTo>
                  <a:cubicBezTo>
                    <a:pt x="1143001" y="609600"/>
                    <a:pt x="1143001" y="609600"/>
                    <a:pt x="893471" y="609600"/>
                  </a:cubicBezTo>
                  <a:close/>
                  <a:moveTo>
                    <a:pt x="612775" y="609600"/>
                  </a:moveTo>
                  <a:lnTo>
                    <a:pt x="612775" y="844083"/>
                  </a:lnTo>
                  <a:cubicBezTo>
                    <a:pt x="684882" y="847865"/>
                    <a:pt x="753194" y="855429"/>
                    <a:pt x="817712" y="866775"/>
                  </a:cubicBezTo>
                  <a:cubicBezTo>
                    <a:pt x="840482" y="791135"/>
                    <a:pt x="851868" y="704150"/>
                    <a:pt x="855663" y="609600"/>
                  </a:cubicBezTo>
                  <a:cubicBezTo>
                    <a:pt x="855663" y="609600"/>
                    <a:pt x="855663" y="609600"/>
                    <a:pt x="612775" y="609600"/>
                  </a:cubicBezTo>
                  <a:close/>
                  <a:moveTo>
                    <a:pt x="328613" y="609600"/>
                  </a:moveTo>
                  <a:cubicBezTo>
                    <a:pt x="332408" y="704150"/>
                    <a:pt x="343793" y="791135"/>
                    <a:pt x="366564" y="866775"/>
                  </a:cubicBezTo>
                  <a:cubicBezTo>
                    <a:pt x="431081" y="855429"/>
                    <a:pt x="499393" y="847865"/>
                    <a:pt x="571501" y="844083"/>
                  </a:cubicBezTo>
                  <a:lnTo>
                    <a:pt x="571501" y="609600"/>
                  </a:lnTo>
                  <a:cubicBezTo>
                    <a:pt x="571501" y="609600"/>
                    <a:pt x="571501" y="609600"/>
                    <a:pt x="328613" y="609600"/>
                  </a:cubicBezTo>
                  <a:close/>
                  <a:moveTo>
                    <a:pt x="41275" y="609600"/>
                  </a:moveTo>
                  <a:cubicBezTo>
                    <a:pt x="45056" y="734246"/>
                    <a:pt x="90425" y="847561"/>
                    <a:pt x="166040" y="938213"/>
                  </a:cubicBezTo>
                  <a:cubicBezTo>
                    <a:pt x="211409" y="911773"/>
                    <a:pt x="268121" y="892887"/>
                    <a:pt x="328613" y="874001"/>
                  </a:cubicBezTo>
                  <a:cubicBezTo>
                    <a:pt x="305928" y="798458"/>
                    <a:pt x="294586" y="707806"/>
                    <a:pt x="290805" y="609600"/>
                  </a:cubicBezTo>
                  <a:cubicBezTo>
                    <a:pt x="290805" y="609600"/>
                    <a:pt x="290805" y="609600"/>
                    <a:pt x="41275" y="609600"/>
                  </a:cubicBezTo>
                  <a:close/>
                  <a:moveTo>
                    <a:pt x="817712" y="314325"/>
                  </a:moveTo>
                  <a:cubicBezTo>
                    <a:pt x="753194" y="325671"/>
                    <a:pt x="684882" y="337017"/>
                    <a:pt x="612775" y="337017"/>
                  </a:cubicBezTo>
                  <a:lnTo>
                    <a:pt x="612775" y="571500"/>
                  </a:lnTo>
                  <a:cubicBezTo>
                    <a:pt x="612775" y="571500"/>
                    <a:pt x="612775" y="571500"/>
                    <a:pt x="855663" y="571500"/>
                  </a:cubicBezTo>
                  <a:cubicBezTo>
                    <a:pt x="851868" y="476950"/>
                    <a:pt x="840482" y="389965"/>
                    <a:pt x="817712" y="314325"/>
                  </a:cubicBezTo>
                  <a:close/>
                  <a:moveTo>
                    <a:pt x="366564" y="314325"/>
                  </a:moveTo>
                  <a:cubicBezTo>
                    <a:pt x="343793" y="389965"/>
                    <a:pt x="332408" y="476950"/>
                    <a:pt x="328613" y="571500"/>
                  </a:cubicBezTo>
                  <a:cubicBezTo>
                    <a:pt x="328613" y="571500"/>
                    <a:pt x="328613" y="571500"/>
                    <a:pt x="571501" y="571500"/>
                  </a:cubicBezTo>
                  <a:lnTo>
                    <a:pt x="571501" y="337017"/>
                  </a:lnTo>
                  <a:cubicBezTo>
                    <a:pt x="499393" y="337017"/>
                    <a:pt x="431081" y="329453"/>
                    <a:pt x="366564" y="314325"/>
                  </a:cubicBezTo>
                  <a:close/>
                  <a:moveTo>
                    <a:pt x="1018236" y="241300"/>
                  </a:moveTo>
                  <a:cubicBezTo>
                    <a:pt x="972867" y="267868"/>
                    <a:pt x="916155" y="286845"/>
                    <a:pt x="855663" y="302026"/>
                  </a:cubicBezTo>
                  <a:cubicBezTo>
                    <a:pt x="878348" y="381730"/>
                    <a:pt x="893471" y="472819"/>
                    <a:pt x="893471" y="571500"/>
                  </a:cubicBezTo>
                  <a:cubicBezTo>
                    <a:pt x="893471" y="571500"/>
                    <a:pt x="893471" y="571500"/>
                    <a:pt x="1143001" y="571500"/>
                  </a:cubicBezTo>
                  <a:cubicBezTo>
                    <a:pt x="1139220" y="446252"/>
                    <a:pt x="1093851" y="332390"/>
                    <a:pt x="1018236" y="241300"/>
                  </a:cubicBezTo>
                  <a:close/>
                  <a:moveTo>
                    <a:pt x="166040" y="241300"/>
                  </a:moveTo>
                  <a:cubicBezTo>
                    <a:pt x="90425" y="332390"/>
                    <a:pt x="45056" y="446252"/>
                    <a:pt x="41275" y="571500"/>
                  </a:cubicBezTo>
                  <a:cubicBezTo>
                    <a:pt x="41275" y="571500"/>
                    <a:pt x="41275" y="571500"/>
                    <a:pt x="290805" y="571500"/>
                  </a:cubicBezTo>
                  <a:cubicBezTo>
                    <a:pt x="294586" y="472819"/>
                    <a:pt x="305928" y="381730"/>
                    <a:pt x="328613" y="305822"/>
                  </a:cubicBezTo>
                  <a:cubicBezTo>
                    <a:pt x="268121" y="286845"/>
                    <a:pt x="211409" y="267868"/>
                    <a:pt x="166040" y="241300"/>
                  </a:cubicBezTo>
                  <a:close/>
                  <a:moveTo>
                    <a:pt x="715963" y="52388"/>
                  </a:moveTo>
                  <a:cubicBezTo>
                    <a:pt x="768937" y="97841"/>
                    <a:pt x="814344" y="173595"/>
                    <a:pt x="844615" y="268288"/>
                  </a:cubicBezTo>
                  <a:cubicBezTo>
                    <a:pt x="901375" y="253137"/>
                    <a:pt x="950565" y="234198"/>
                    <a:pt x="992188" y="211472"/>
                  </a:cubicBezTo>
                  <a:cubicBezTo>
                    <a:pt x="920294" y="135718"/>
                    <a:pt x="825696" y="78902"/>
                    <a:pt x="715963" y="52388"/>
                  </a:cubicBezTo>
                  <a:close/>
                  <a:moveTo>
                    <a:pt x="469901" y="52388"/>
                  </a:moveTo>
                  <a:cubicBezTo>
                    <a:pt x="359537" y="78978"/>
                    <a:pt x="264395" y="132160"/>
                    <a:pt x="192088" y="211932"/>
                  </a:cubicBezTo>
                  <a:cubicBezTo>
                    <a:pt x="233950" y="234724"/>
                    <a:pt x="283424" y="253717"/>
                    <a:pt x="340508" y="265113"/>
                  </a:cubicBezTo>
                  <a:cubicBezTo>
                    <a:pt x="370954" y="173945"/>
                    <a:pt x="416622" y="97972"/>
                    <a:pt x="469901" y="52388"/>
                  </a:cubicBezTo>
                  <a:close/>
                  <a:moveTo>
                    <a:pt x="612775" y="44450"/>
                  </a:moveTo>
                  <a:lnTo>
                    <a:pt x="612775" y="298450"/>
                  </a:lnTo>
                  <a:cubicBezTo>
                    <a:pt x="681131" y="294659"/>
                    <a:pt x="745689" y="287077"/>
                    <a:pt x="806450" y="275704"/>
                  </a:cubicBezTo>
                  <a:cubicBezTo>
                    <a:pt x="760879" y="146808"/>
                    <a:pt x="692523" y="55823"/>
                    <a:pt x="612775" y="44450"/>
                  </a:cubicBezTo>
                  <a:close/>
                  <a:moveTo>
                    <a:pt x="571500" y="44450"/>
                  </a:moveTo>
                  <a:cubicBezTo>
                    <a:pt x="495549" y="55823"/>
                    <a:pt x="423395" y="146808"/>
                    <a:pt x="377825" y="275704"/>
                  </a:cubicBezTo>
                  <a:cubicBezTo>
                    <a:pt x="438586" y="287077"/>
                    <a:pt x="503144" y="294659"/>
                    <a:pt x="571500" y="298450"/>
                  </a:cubicBezTo>
                  <a:close/>
                  <a:moveTo>
                    <a:pt x="592138" y="0"/>
                  </a:moveTo>
                  <a:cubicBezTo>
                    <a:pt x="919167" y="0"/>
                    <a:pt x="1184276" y="264398"/>
                    <a:pt x="1184276" y="590550"/>
                  </a:cubicBezTo>
                  <a:cubicBezTo>
                    <a:pt x="1184276" y="916702"/>
                    <a:pt x="919167" y="1181100"/>
                    <a:pt x="592138" y="1181100"/>
                  </a:cubicBezTo>
                  <a:cubicBezTo>
                    <a:pt x="265109" y="1181100"/>
                    <a:pt x="0" y="916702"/>
                    <a:pt x="0" y="590550"/>
                  </a:cubicBezTo>
                  <a:cubicBezTo>
                    <a:pt x="0" y="264398"/>
                    <a:pt x="265109" y="0"/>
                    <a:pt x="592138" y="0"/>
                  </a:cubicBezTo>
                  <a:close/>
                </a:path>
              </a:pathLst>
            </a:custGeom>
            <a:solidFill>
              <a:schemeClr val="bg1"/>
            </a:solidFill>
            <a:ln>
              <a:noFill/>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t" anchorCtr="0" compatLnSpc="1">
              <a:prstTxWarp prst="textNoShape">
                <a:avLst/>
              </a:prstTxWarp>
              <a:noAutofit/>
            </a:bodyPr>
            <a:lstStyle/>
            <a:p>
              <a:endParaRPr lang="en-GB" sz="1600" dirty="0">
                <a:solidFill>
                  <a:srgbClr val="000000"/>
                </a:solidFill>
              </a:endParaRPr>
            </a:p>
          </p:txBody>
        </p:sp>
        <p:sp>
          <p:nvSpPr>
            <p:cNvPr id="123" name="Rectangle 122"/>
            <p:cNvSpPr/>
            <p:nvPr/>
          </p:nvSpPr>
          <p:spPr>
            <a:xfrm>
              <a:off x="1365990" y="3231293"/>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rgbClr val="000000"/>
                </a:solidFill>
              </a:endParaRPr>
            </a:p>
          </p:txBody>
        </p:sp>
        <p:sp>
          <p:nvSpPr>
            <p:cNvPr id="33" name="TextBox 32"/>
            <p:cNvSpPr txBox="1"/>
            <p:nvPr/>
          </p:nvSpPr>
          <p:spPr>
            <a:xfrm>
              <a:off x="5673461" y="3205536"/>
              <a:ext cx="2006951" cy="530594"/>
            </a:xfrm>
            <a:prstGeom prst="rect">
              <a:avLst/>
            </a:prstGeom>
            <a:noFill/>
          </p:spPr>
          <p:txBody>
            <a:bodyPr wrap="square" rtlCol="0">
              <a:spAutoFit/>
            </a:bodyPr>
            <a:lstStyle/>
            <a:p>
              <a:pPr algn="ctr">
                <a:lnSpc>
                  <a:spcPct val="89000"/>
                </a:lnSpc>
              </a:pPr>
              <a:r>
                <a:rPr lang="lt-LT" sz="3200" b="1" dirty="0" smtClean="0">
                  <a:solidFill>
                    <a:schemeClr val="tx2"/>
                  </a:solidFill>
                  <a:ea typeface="Open Sans" panose="020B0606030504020204" pitchFamily="34" charset="0"/>
                  <a:cs typeface="Open Sans" panose="020B0606030504020204" pitchFamily="34" charset="0"/>
                </a:rPr>
                <a:t>3</a:t>
              </a:r>
              <a:r>
                <a:rPr lang="en-GB" sz="3200" b="1" dirty="0" smtClean="0">
                  <a:solidFill>
                    <a:schemeClr val="tx2"/>
                  </a:solidFill>
                  <a:ea typeface="Open Sans" panose="020B0606030504020204" pitchFamily="34" charset="0"/>
                  <a:cs typeface="Open Sans" panose="020B0606030504020204" pitchFamily="34" charset="0"/>
                </a:rPr>
                <a:t>2</a:t>
              </a:r>
              <a:endParaRPr lang="en-US" sz="3200" b="1" dirty="0">
                <a:solidFill>
                  <a:schemeClr val="tx2"/>
                </a:solidFill>
                <a:ea typeface="Open Sans" panose="020B0606030504020204" pitchFamily="34" charset="0"/>
                <a:cs typeface="Open Sans" panose="020B0606030504020204" pitchFamily="34" charset="0"/>
              </a:endParaRPr>
            </a:p>
          </p:txBody>
        </p:sp>
      </p:grpSp>
      <p:grpSp>
        <p:nvGrpSpPr>
          <p:cNvPr id="5" name="Group 4"/>
          <p:cNvGrpSpPr/>
          <p:nvPr/>
        </p:nvGrpSpPr>
        <p:grpSpPr>
          <a:xfrm>
            <a:off x="487321" y="3980721"/>
            <a:ext cx="7651443" cy="1080000"/>
            <a:chOff x="487322" y="3890814"/>
            <a:chExt cx="7651443" cy="1080000"/>
          </a:xfrm>
        </p:grpSpPr>
        <p:sp>
          <p:nvSpPr>
            <p:cNvPr id="41" name="Rectangle 40"/>
            <p:cNvSpPr/>
            <p:nvPr/>
          </p:nvSpPr>
          <p:spPr>
            <a:xfrm>
              <a:off x="487322" y="3928361"/>
              <a:ext cx="7651443" cy="1004907"/>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69" name="Rectangle 68"/>
            <p:cNvSpPr/>
            <p:nvPr/>
          </p:nvSpPr>
          <p:spPr>
            <a:xfrm>
              <a:off x="977532" y="3890814"/>
              <a:ext cx="6373676" cy="10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a:solidFill>
                  <a:srgbClr val="000000"/>
                </a:solidFill>
              </a:endParaRPr>
            </a:p>
          </p:txBody>
        </p:sp>
        <p:sp>
          <p:nvSpPr>
            <p:cNvPr id="126" name="Oval 125"/>
            <p:cNvSpPr/>
            <p:nvPr/>
          </p:nvSpPr>
          <p:spPr>
            <a:xfrm>
              <a:off x="518506" y="4097597"/>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chemeClr val="tx1"/>
                </a:solidFill>
              </a:endParaRPr>
            </a:p>
          </p:txBody>
        </p:sp>
        <p:sp>
          <p:nvSpPr>
            <p:cNvPr id="70" name="TextBox 69"/>
            <p:cNvSpPr txBox="1"/>
            <p:nvPr/>
          </p:nvSpPr>
          <p:spPr>
            <a:xfrm>
              <a:off x="1520992" y="4276925"/>
              <a:ext cx="3557258" cy="307777"/>
            </a:xfrm>
            <a:prstGeom prst="rect">
              <a:avLst/>
            </a:prstGeom>
            <a:noFill/>
          </p:spPr>
          <p:txBody>
            <a:bodyPr wrap="square" lIns="0" tIns="0" rIns="0" bIns="0" rtlCol="0">
              <a:spAutoFit/>
            </a:bodyPr>
            <a:lstStyle/>
            <a:p>
              <a:r>
                <a:rPr lang="en-US" sz="2000" b="1" dirty="0">
                  <a:solidFill>
                    <a:srgbClr val="003755"/>
                  </a:solidFill>
                </a:rPr>
                <a:t>ESG engagement topics</a:t>
              </a:r>
            </a:p>
          </p:txBody>
        </p:sp>
        <p:sp>
          <p:nvSpPr>
            <p:cNvPr id="79" name="Magnifiying glass"/>
            <p:cNvSpPr>
              <a:spLocks noChangeAspect="1"/>
            </p:cNvSpPr>
            <p:nvPr>
              <p:custDataLst>
                <p:tags r:id="rId4"/>
              </p:custDataLst>
            </p:nvPr>
          </p:nvSpPr>
          <p:spPr bwMode="auto">
            <a:xfrm>
              <a:off x="661290" y="4250814"/>
              <a:ext cx="360630" cy="360000"/>
            </a:xfrm>
            <a:custGeom>
              <a:avLst/>
              <a:gdLst>
                <a:gd name="connsiteX0" fmla="*/ 464226 w 1478978"/>
                <a:gd name="connsiteY0" fmla="*/ 57150 h 1476375"/>
                <a:gd name="connsiteX1" fmla="*/ 176915 w 1478978"/>
                <a:gd name="connsiteY1" fmla="*/ 177916 h 1476375"/>
                <a:gd name="connsiteX2" fmla="*/ 176915 w 1478978"/>
                <a:gd name="connsiteY2" fmla="*/ 751552 h 1476375"/>
                <a:gd name="connsiteX3" fmla="*/ 237402 w 1478978"/>
                <a:gd name="connsiteY3" fmla="*/ 800613 h 1476375"/>
                <a:gd name="connsiteX4" fmla="*/ 305449 w 1478978"/>
                <a:gd name="connsiteY4" fmla="*/ 838352 h 1476375"/>
                <a:gd name="connsiteX5" fmla="*/ 626783 w 1478978"/>
                <a:gd name="connsiteY5" fmla="*/ 842126 h 1476375"/>
                <a:gd name="connsiteX6" fmla="*/ 694830 w 1478978"/>
                <a:gd name="connsiteY6" fmla="*/ 800613 h 1476375"/>
                <a:gd name="connsiteX7" fmla="*/ 777999 w 1478978"/>
                <a:gd name="connsiteY7" fmla="*/ 725134 h 1476375"/>
                <a:gd name="connsiteX8" fmla="*/ 751536 w 1478978"/>
                <a:gd name="connsiteY8" fmla="*/ 177916 h 1476375"/>
                <a:gd name="connsiteX9" fmla="*/ 464226 w 1478978"/>
                <a:gd name="connsiteY9" fmla="*/ 57150 h 1476375"/>
                <a:gd name="connsiteX10" fmla="*/ 464957 w 1478978"/>
                <a:gd name="connsiteY10" fmla="*/ 0 h 1476375"/>
                <a:gd name="connsiteX11" fmla="*/ 793828 w 1478978"/>
                <a:gd name="connsiteY11" fmla="*/ 135932 h 1476375"/>
                <a:gd name="connsiteX12" fmla="*/ 835410 w 1478978"/>
                <a:gd name="connsiteY12" fmla="*/ 743851 h 1476375"/>
                <a:gd name="connsiteX13" fmla="*/ 884552 w 1478978"/>
                <a:gd name="connsiteY13" fmla="*/ 792938 h 1476375"/>
                <a:gd name="connsiteX14" fmla="*/ 911013 w 1478978"/>
                <a:gd name="connsiteY14" fmla="*/ 766507 h 1476375"/>
                <a:gd name="connsiteX15" fmla="*/ 929913 w 1478978"/>
                <a:gd name="connsiteY15" fmla="*/ 758955 h 1476375"/>
                <a:gd name="connsiteX16" fmla="*/ 948814 w 1478978"/>
                <a:gd name="connsiteY16" fmla="*/ 766507 h 1476375"/>
                <a:gd name="connsiteX17" fmla="*/ 1470473 w 1478978"/>
                <a:gd name="connsiteY17" fmla="*/ 1291356 h 1476375"/>
                <a:gd name="connsiteX18" fmla="*/ 1470473 w 1478978"/>
                <a:gd name="connsiteY18" fmla="*/ 1325339 h 1476375"/>
                <a:gd name="connsiteX19" fmla="*/ 1326828 w 1478978"/>
                <a:gd name="connsiteY19" fmla="*/ 1468823 h 1476375"/>
                <a:gd name="connsiteX20" fmla="*/ 1311707 w 1478978"/>
                <a:gd name="connsiteY20" fmla="*/ 1476375 h 1476375"/>
                <a:gd name="connsiteX21" fmla="*/ 1292806 w 1478978"/>
                <a:gd name="connsiteY21" fmla="*/ 1468823 h 1476375"/>
                <a:gd name="connsiteX22" fmla="*/ 767367 w 1478978"/>
                <a:gd name="connsiteY22" fmla="*/ 947750 h 1476375"/>
                <a:gd name="connsiteX23" fmla="*/ 759807 w 1478978"/>
                <a:gd name="connsiteY23" fmla="*/ 928870 h 1476375"/>
                <a:gd name="connsiteX24" fmla="*/ 767367 w 1478978"/>
                <a:gd name="connsiteY24" fmla="*/ 909991 h 1476375"/>
                <a:gd name="connsiteX25" fmla="*/ 793828 w 1478978"/>
                <a:gd name="connsiteY25" fmla="*/ 883560 h 1476375"/>
                <a:gd name="connsiteX26" fmla="*/ 744687 w 1478978"/>
                <a:gd name="connsiteY26" fmla="*/ 834473 h 1476375"/>
                <a:gd name="connsiteX27" fmla="*/ 729566 w 1478978"/>
                <a:gd name="connsiteY27" fmla="*/ 845801 h 1476375"/>
                <a:gd name="connsiteX28" fmla="*/ 650183 w 1478978"/>
                <a:gd name="connsiteY28" fmla="*/ 891111 h 1476375"/>
                <a:gd name="connsiteX29" fmla="*/ 283510 w 1478978"/>
                <a:gd name="connsiteY29" fmla="*/ 891111 h 1476375"/>
                <a:gd name="connsiteX30" fmla="*/ 204127 w 1478978"/>
                <a:gd name="connsiteY30" fmla="*/ 849577 h 1476375"/>
                <a:gd name="connsiteX31" fmla="*/ 136085 w 1478978"/>
                <a:gd name="connsiteY31" fmla="*/ 792938 h 1476375"/>
                <a:gd name="connsiteX32" fmla="*/ 136085 w 1478978"/>
                <a:gd name="connsiteY32" fmla="*/ 135932 h 1476375"/>
                <a:gd name="connsiteX33" fmla="*/ 464957 w 1478978"/>
                <a:gd name="connsiteY33" fmla="*/ 0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78978" h="1476375">
                  <a:moveTo>
                    <a:pt x="464226" y="57150"/>
                  </a:moveTo>
                  <a:cubicBezTo>
                    <a:pt x="354594" y="57150"/>
                    <a:pt x="252523" y="98663"/>
                    <a:pt x="176915" y="177916"/>
                  </a:cubicBezTo>
                  <a:cubicBezTo>
                    <a:pt x="18138" y="336420"/>
                    <a:pt x="18138" y="593047"/>
                    <a:pt x="176915" y="751552"/>
                  </a:cubicBezTo>
                  <a:cubicBezTo>
                    <a:pt x="195817" y="770422"/>
                    <a:pt x="214719" y="785517"/>
                    <a:pt x="237402" y="800613"/>
                  </a:cubicBezTo>
                  <a:cubicBezTo>
                    <a:pt x="256304" y="815709"/>
                    <a:pt x="278986" y="827030"/>
                    <a:pt x="305449" y="838352"/>
                  </a:cubicBezTo>
                  <a:cubicBezTo>
                    <a:pt x="407520" y="883639"/>
                    <a:pt x="524712" y="887413"/>
                    <a:pt x="626783" y="842126"/>
                  </a:cubicBezTo>
                  <a:cubicBezTo>
                    <a:pt x="653246" y="830804"/>
                    <a:pt x="672148" y="815709"/>
                    <a:pt x="694830" y="800613"/>
                  </a:cubicBezTo>
                  <a:cubicBezTo>
                    <a:pt x="747756" y="766648"/>
                    <a:pt x="777999" y="725134"/>
                    <a:pt x="777999" y="725134"/>
                  </a:cubicBezTo>
                  <a:cubicBezTo>
                    <a:pt x="910313" y="566630"/>
                    <a:pt x="902752" y="325099"/>
                    <a:pt x="751536" y="177916"/>
                  </a:cubicBezTo>
                  <a:cubicBezTo>
                    <a:pt x="675928" y="98663"/>
                    <a:pt x="573857" y="57150"/>
                    <a:pt x="464226" y="57150"/>
                  </a:cubicBezTo>
                  <a:close/>
                  <a:moveTo>
                    <a:pt x="464957" y="0"/>
                  </a:moveTo>
                  <a:cubicBezTo>
                    <a:pt x="589701" y="0"/>
                    <a:pt x="706885" y="49087"/>
                    <a:pt x="793828" y="135932"/>
                  </a:cubicBezTo>
                  <a:cubicBezTo>
                    <a:pt x="956374" y="298296"/>
                    <a:pt x="975275" y="562609"/>
                    <a:pt x="835410" y="743851"/>
                  </a:cubicBezTo>
                  <a:cubicBezTo>
                    <a:pt x="884552" y="792938"/>
                    <a:pt x="884552" y="792938"/>
                    <a:pt x="884552" y="792938"/>
                  </a:cubicBezTo>
                  <a:cubicBezTo>
                    <a:pt x="911013" y="766507"/>
                    <a:pt x="911013" y="766507"/>
                    <a:pt x="911013" y="766507"/>
                  </a:cubicBezTo>
                  <a:cubicBezTo>
                    <a:pt x="914793" y="762731"/>
                    <a:pt x="922353" y="758955"/>
                    <a:pt x="929913" y="758955"/>
                  </a:cubicBezTo>
                  <a:cubicBezTo>
                    <a:pt x="937474" y="758955"/>
                    <a:pt x="941254" y="762731"/>
                    <a:pt x="948814" y="766507"/>
                  </a:cubicBezTo>
                  <a:cubicBezTo>
                    <a:pt x="1470473" y="1291356"/>
                    <a:pt x="1470473" y="1291356"/>
                    <a:pt x="1470473" y="1291356"/>
                  </a:cubicBezTo>
                  <a:cubicBezTo>
                    <a:pt x="1481813" y="1298908"/>
                    <a:pt x="1481813" y="1317788"/>
                    <a:pt x="1470473" y="1325339"/>
                  </a:cubicBezTo>
                  <a:cubicBezTo>
                    <a:pt x="1326828" y="1468823"/>
                    <a:pt x="1326828" y="1468823"/>
                    <a:pt x="1326828" y="1468823"/>
                  </a:cubicBezTo>
                  <a:cubicBezTo>
                    <a:pt x="1323047" y="1472599"/>
                    <a:pt x="1315487" y="1476375"/>
                    <a:pt x="1311707" y="1476375"/>
                  </a:cubicBezTo>
                  <a:cubicBezTo>
                    <a:pt x="1304147" y="1476375"/>
                    <a:pt x="1296587" y="1472599"/>
                    <a:pt x="1292806" y="1468823"/>
                  </a:cubicBezTo>
                  <a:cubicBezTo>
                    <a:pt x="767367" y="947750"/>
                    <a:pt x="767367" y="947750"/>
                    <a:pt x="767367" y="947750"/>
                  </a:cubicBezTo>
                  <a:cubicBezTo>
                    <a:pt x="763587" y="940198"/>
                    <a:pt x="759807" y="932646"/>
                    <a:pt x="759807" y="928870"/>
                  </a:cubicBezTo>
                  <a:cubicBezTo>
                    <a:pt x="759807" y="921319"/>
                    <a:pt x="763587" y="913767"/>
                    <a:pt x="767367" y="909991"/>
                  </a:cubicBezTo>
                  <a:cubicBezTo>
                    <a:pt x="793828" y="883560"/>
                    <a:pt x="793828" y="883560"/>
                    <a:pt x="793828" y="883560"/>
                  </a:cubicBezTo>
                  <a:cubicBezTo>
                    <a:pt x="744687" y="834473"/>
                    <a:pt x="744687" y="834473"/>
                    <a:pt x="744687" y="834473"/>
                  </a:cubicBezTo>
                  <a:cubicBezTo>
                    <a:pt x="740907" y="838249"/>
                    <a:pt x="733346" y="842025"/>
                    <a:pt x="729566" y="845801"/>
                  </a:cubicBezTo>
                  <a:cubicBezTo>
                    <a:pt x="703105" y="864680"/>
                    <a:pt x="676644" y="879784"/>
                    <a:pt x="650183" y="891111"/>
                  </a:cubicBezTo>
                  <a:cubicBezTo>
                    <a:pt x="532999" y="940198"/>
                    <a:pt x="400694" y="940198"/>
                    <a:pt x="283510" y="891111"/>
                  </a:cubicBezTo>
                  <a:cubicBezTo>
                    <a:pt x="257049" y="879784"/>
                    <a:pt x="230588" y="864680"/>
                    <a:pt x="204127" y="849577"/>
                  </a:cubicBezTo>
                  <a:cubicBezTo>
                    <a:pt x="181446" y="830697"/>
                    <a:pt x="158766" y="811818"/>
                    <a:pt x="136085" y="792938"/>
                  </a:cubicBezTo>
                  <a:cubicBezTo>
                    <a:pt x="-45362" y="611695"/>
                    <a:pt x="-45362" y="317175"/>
                    <a:pt x="136085" y="135932"/>
                  </a:cubicBezTo>
                  <a:cubicBezTo>
                    <a:pt x="226808" y="49087"/>
                    <a:pt x="340212" y="0"/>
                    <a:pt x="464957" y="0"/>
                  </a:cubicBezTo>
                  <a:close/>
                </a:path>
              </a:pathLst>
            </a:custGeom>
            <a:solidFill>
              <a:schemeClr val="bg1"/>
            </a:solidFill>
            <a:ln>
              <a:noFill/>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t" anchorCtr="0" compatLnSpc="1">
              <a:prstTxWarp prst="textNoShape">
                <a:avLst/>
              </a:prstTxWarp>
              <a:noAutofit/>
            </a:bodyPr>
            <a:lstStyle/>
            <a:p>
              <a:endParaRPr lang="en-GB" sz="1600" dirty="0">
                <a:solidFill>
                  <a:srgbClr val="000000"/>
                </a:solidFill>
              </a:endParaRPr>
            </a:p>
          </p:txBody>
        </p:sp>
        <p:sp>
          <p:nvSpPr>
            <p:cNvPr id="127" name="Rectangle 126"/>
            <p:cNvSpPr/>
            <p:nvPr/>
          </p:nvSpPr>
          <p:spPr>
            <a:xfrm>
              <a:off x="1381951" y="4191274"/>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rgbClr val="000000"/>
                </a:solidFill>
              </a:endParaRPr>
            </a:p>
          </p:txBody>
        </p:sp>
        <p:sp>
          <p:nvSpPr>
            <p:cNvPr id="34" name="TextBox 33"/>
            <p:cNvSpPr txBox="1"/>
            <p:nvPr/>
          </p:nvSpPr>
          <p:spPr>
            <a:xfrm>
              <a:off x="5673461" y="4165517"/>
              <a:ext cx="2006951" cy="530594"/>
            </a:xfrm>
            <a:prstGeom prst="rect">
              <a:avLst/>
            </a:prstGeom>
            <a:noFill/>
          </p:spPr>
          <p:txBody>
            <a:bodyPr wrap="square" rtlCol="0">
              <a:spAutoFit/>
            </a:bodyPr>
            <a:lstStyle/>
            <a:p>
              <a:pPr algn="ctr">
                <a:lnSpc>
                  <a:spcPct val="89000"/>
                </a:lnSpc>
              </a:pPr>
              <a:r>
                <a:rPr lang="lt-LT" sz="3200" b="1" dirty="0" smtClean="0">
                  <a:solidFill>
                    <a:schemeClr val="tx2"/>
                  </a:solidFill>
                  <a:ea typeface="Open Sans" panose="020B0606030504020204" pitchFamily="34" charset="0"/>
                  <a:cs typeface="Open Sans" panose="020B0606030504020204" pitchFamily="34" charset="0"/>
                </a:rPr>
                <a:t>9</a:t>
              </a:r>
              <a:r>
                <a:rPr lang="en-US" sz="3200" b="1" dirty="0" smtClean="0">
                  <a:solidFill>
                    <a:schemeClr val="tx2"/>
                  </a:solidFill>
                  <a:ea typeface="Open Sans" panose="020B0606030504020204" pitchFamily="34" charset="0"/>
                  <a:cs typeface="Open Sans" panose="020B0606030504020204" pitchFamily="34" charset="0"/>
                </a:rPr>
                <a:t>0</a:t>
              </a:r>
              <a:endParaRPr lang="en-US" sz="3200" b="1" dirty="0">
                <a:solidFill>
                  <a:schemeClr val="tx2"/>
                </a:solidFill>
                <a:ea typeface="Open Sans" panose="020B0606030504020204" pitchFamily="34" charset="0"/>
                <a:cs typeface="Open Sans" panose="020B0606030504020204" pitchFamily="34" charset="0"/>
              </a:endParaRPr>
            </a:p>
          </p:txBody>
        </p:sp>
      </p:grpSp>
      <p:grpSp>
        <p:nvGrpSpPr>
          <p:cNvPr id="6" name="Group 5"/>
          <p:cNvGrpSpPr/>
          <p:nvPr/>
        </p:nvGrpSpPr>
        <p:grpSpPr>
          <a:xfrm>
            <a:off x="487320" y="5087782"/>
            <a:ext cx="7651443" cy="1004907"/>
            <a:chOff x="487321" y="5086833"/>
            <a:chExt cx="7651443" cy="1004907"/>
          </a:xfrm>
        </p:grpSpPr>
        <p:sp>
          <p:nvSpPr>
            <p:cNvPr id="43" name="Rectangle 42"/>
            <p:cNvSpPr/>
            <p:nvPr/>
          </p:nvSpPr>
          <p:spPr>
            <a:xfrm>
              <a:off x="487321" y="5086833"/>
              <a:ext cx="7651443" cy="1004907"/>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130" name="Oval 129"/>
            <p:cNvSpPr/>
            <p:nvPr/>
          </p:nvSpPr>
          <p:spPr>
            <a:xfrm>
              <a:off x="529819" y="5256069"/>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chemeClr val="tx1"/>
                </a:solidFill>
              </a:endParaRPr>
            </a:p>
          </p:txBody>
        </p:sp>
        <p:sp>
          <p:nvSpPr>
            <p:cNvPr id="65" name="TextBox 64"/>
            <p:cNvSpPr txBox="1"/>
            <p:nvPr/>
          </p:nvSpPr>
          <p:spPr>
            <a:xfrm>
              <a:off x="1526416" y="5435397"/>
              <a:ext cx="2885810" cy="307777"/>
            </a:xfrm>
            <a:prstGeom prst="rect">
              <a:avLst/>
            </a:prstGeom>
            <a:noFill/>
          </p:spPr>
          <p:txBody>
            <a:bodyPr wrap="square" lIns="0" tIns="0" rIns="0" bIns="0" rtlCol="0">
              <a:spAutoFit/>
            </a:bodyPr>
            <a:lstStyle/>
            <a:p>
              <a:r>
                <a:rPr lang="en-US" sz="2000" b="1" dirty="0">
                  <a:solidFill>
                    <a:srgbClr val="003755"/>
                  </a:solidFill>
                </a:rPr>
                <a:t>Interactions</a:t>
              </a:r>
            </a:p>
          </p:txBody>
        </p:sp>
        <p:sp>
          <p:nvSpPr>
            <p:cNvPr id="75" name="Advisory service"/>
            <p:cNvSpPr>
              <a:spLocks noChangeAspect="1"/>
            </p:cNvSpPr>
            <p:nvPr>
              <p:custDataLst>
                <p:tags r:id="rId3"/>
              </p:custDataLst>
            </p:nvPr>
          </p:nvSpPr>
          <p:spPr bwMode="auto">
            <a:xfrm>
              <a:off x="617072" y="5409286"/>
              <a:ext cx="486420" cy="360000"/>
            </a:xfrm>
            <a:custGeom>
              <a:avLst/>
              <a:gdLst>
                <a:gd name="connsiteX0" fmla="*/ 395288 w 1282700"/>
                <a:gd name="connsiteY0" fmla="*/ 706437 h 949325"/>
                <a:gd name="connsiteX1" fmla="*/ 434976 w 1282700"/>
                <a:gd name="connsiteY1" fmla="*/ 746125 h 949325"/>
                <a:gd name="connsiteX2" fmla="*/ 395288 w 1282700"/>
                <a:gd name="connsiteY2" fmla="*/ 785813 h 949325"/>
                <a:gd name="connsiteX3" fmla="*/ 355600 w 1282700"/>
                <a:gd name="connsiteY3" fmla="*/ 746125 h 949325"/>
                <a:gd name="connsiteX4" fmla="*/ 395288 w 1282700"/>
                <a:gd name="connsiteY4" fmla="*/ 706437 h 949325"/>
                <a:gd name="connsiteX5" fmla="*/ 395288 w 1282700"/>
                <a:gd name="connsiteY5" fmla="*/ 606425 h 949325"/>
                <a:gd name="connsiteX6" fmla="*/ 434976 w 1282700"/>
                <a:gd name="connsiteY6" fmla="*/ 644525 h 949325"/>
                <a:gd name="connsiteX7" fmla="*/ 395288 w 1282700"/>
                <a:gd name="connsiteY7" fmla="*/ 682625 h 949325"/>
                <a:gd name="connsiteX8" fmla="*/ 355600 w 1282700"/>
                <a:gd name="connsiteY8" fmla="*/ 644525 h 949325"/>
                <a:gd name="connsiteX9" fmla="*/ 395288 w 1282700"/>
                <a:gd name="connsiteY9" fmla="*/ 606425 h 949325"/>
                <a:gd name="connsiteX10" fmla="*/ 395288 w 1282700"/>
                <a:gd name="connsiteY10" fmla="*/ 508000 h 949325"/>
                <a:gd name="connsiteX11" fmla="*/ 434976 w 1282700"/>
                <a:gd name="connsiteY11" fmla="*/ 546100 h 949325"/>
                <a:gd name="connsiteX12" fmla="*/ 395288 w 1282700"/>
                <a:gd name="connsiteY12" fmla="*/ 584200 h 949325"/>
                <a:gd name="connsiteX13" fmla="*/ 355600 w 1282700"/>
                <a:gd name="connsiteY13" fmla="*/ 546100 h 949325"/>
                <a:gd name="connsiteX14" fmla="*/ 395288 w 1282700"/>
                <a:gd name="connsiteY14" fmla="*/ 508000 h 949325"/>
                <a:gd name="connsiteX15" fmla="*/ 865676 w 1282700"/>
                <a:gd name="connsiteY15" fmla="*/ 496887 h 949325"/>
                <a:gd name="connsiteX16" fmla="*/ 695325 w 1282700"/>
                <a:gd name="connsiteY16" fmla="*/ 534787 h 949325"/>
                <a:gd name="connsiteX17" fmla="*/ 596900 w 1282700"/>
                <a:gd name="connsiteY17" fmla="*/ 656066 h 949325"/>
                <a:gd name="connsiteX18" fmla="*/ 596900 w 1282700"/>
                <a:gd name="connsiteY18" fmla="*/ 917574 h 949325"/>
                <a:gd name="connsiteX19" fmla="*/ 687754 w 1282700"/>
                <a:gd name="connsiteY19" fmla="*/ 917574 h 949325"/>
                <a:gd name="connsiteX20" fmla="*/ 687754 w 1282700"/>
                <a:gd name="connsiteY20" fmla="*/ 735655 h 949325"/>
                <a:gd name="connsiteX21" fmla="*/ 702896 w 1282700"/>
                <a:gd name="connsiteY21" fmla="*/ 720495 h 949325"/>
                <a:gd name="connsiteX22" fmla="*/ 718039 w 1282700"/>
                <a:gd name="connsiteY22" fmla="*/ 735655 h 949325"/>
                <a:gd name="connsiteX23" fmla="*/ 718039 w 1282700"/>
                <a:gd name="connsiteY23" fmla="*/ 917574 h 949325"/>
                <a:gd name="connsiteX24" fmla="*/ 1017100 w 1282700"/>
                <a:gd name="connsiteY24" fmla="*/ 917574 h 949325"/>
                <a:gd name="connsiteX25" fmla="*/ 1017100 w 1282700"/>
                <a:gd name="connsiteY25" fmla="*/ 735655 h 949325"/>
                <a:gd name="connsiteX26" fmla="*/ 1032242 w 1282700"/>
                <a:gd name="connsiteY26" fmla="*/ 720495 h 949325"/>
                <a:gd name="connsiteX27" fmla="*/ 1047384 w 1282700"/>
                <a:gd name="connsiteY27" fmla="*/ 735655 h 949325"/>
                <a:gd name="connsiteX28" fmla="*/ 1047384 w 1282700"/>
                <a:gd name="connsiteY28" fmla="*/ 917574 h 949325"/>
                <a:gd name="connsiteX29" fmla="*/ 1138238 w 1282700"/>
                <a:gd name="connsiteY29" fmla="*/ 917574 h 949325"/>
                <a:gd name="connsiteX30" fmla="*/ 1138238 w 1282700"/>
                <a:gd name="connsiteY30" fmla="*/ 659856 h 949325"/>
                <a:gd name="connsiteX31" fmla="*/ 1039813 w 1282700"/>
                <a:gd name="connsiteY31" fmla="*/ 534787 h 949325"/>
                <a:gd name="connsiteX32" fmla="*/ 865676 w 1282700"/>
                <a:gd name="connsiteY32" fmla="*/ 496887 h 949325"/>
                <a:gd name="connsiteX33" fmla="*/ 248807 w 1282700"/>
                <a:gd name="connsiteY33" fmla="*/ 428625 h 949325"/>
                <a:gd name="connsiteX34" fmla="*/ 210933 w 1282700"/>
                <a:gd name="connsiteY34" fmla="*/ 447599 h 949325"/>
                <a:gd name="connsiteX35" fmla="*/ 123825 w 1282700"/>
                <a:gd name="connsiteY35" fmla="*/ 565241 h 949325"/>
                <a:gd name="connsiteX36" fmla="*/ 123825 w 1282700"/>
                <a:gd name="connsiteY36" fmla="*/ 827087 h 949325"/>
                <a:gd name="connsiteX37" fmla="*/ 214721 w 1282700"/>
                <a:gd name="connsiteY37" fmla="*/ 827087 h 949325"/>
                <a:gd name="connsiteX38" fmla="*/ 214721 w 1282700"/>
                <a:gd name="connsiteY38" fmla="*/ 641138 h 949325"/>
                <a:gd name="connsiteX39" fmla="*/ 229870 w 1282700"/>
                <a:gd name="connsiteY39" fmla="*/ 625959 h 949325"/>
                <a:gd name="connsiteX40" fmla="*/ 245019 w 1282700"/>
                <a:gd name="connsiteY40" fmla="*/ 641138 h 949325"/>
                <a:gd name="connsiteX41" fmla="*/ 245019 w 1282700"/>
                <a:gd name="connsiteY41" fmla="*/ 827087 h 949325"/>
                <a:gd name="connsiteX42" fmla="*/ 566942 w 1282700"/>
                <a:gd name="connsiteY42" fmla="*/ 827087 h 949325"/>
                <a:gd name="connsiteX43" fmla="*/ 566942 w 1282700"/>
                <a:gd name="connsiteY43" fmla="*/ 656318 h 949325"/>
                <a:gd name="connsiteX44" fmla="*/ 654050 w 1282700"/>
                <a:gd name="connsiteY44" fmla="*/ 523497 h 949325"/>
                <a:gd name="connsiteX45" fmla="*/ 578304 w 1282700"/>
                <a:gd name="connsiteY45" fmla="*/ 447599 h 949325"/>
                <a:gd name="connsiteX46" fmla="*/ 540430 w 1282700"/>
                <a:gd name="connsiteY46" fmla="*/ 428625 h 949325"/>
                <a:gd name="connsiteX47" fmla="*/ 248807 w 1282700"/>
                <a:gd name="connsiteY47" fmla="*/ 428625 h 949325"/>
                <a:gd name="connsiteX48" fmla="*/ 725488 w 1282700"/>
                <a:gd name="connsiteY48" fmla="*/ 368300 h 949325"/>
                <a:gd name="connsiteX49" fmla="*/ 865982 w 1282700"/>
                <a:gd name="connsiteY49" fmla="*/ 466725 h 949325"/>
                <a:gd name="connsiteX50" fmla="*/ 1006476 w 1282700"/>
                <a:gd name="connsiteY50" fmla="*/ 368300 h 949325"/>
                <a:gd name="connsiteX51" fmla="*/ 865982 w 1282700"/>
                <a:gd name="connsiteY51" fmla="*/ 425084 h 949325"/>
                <a:gd name="connsiteX52" fmla="*/ 725488 w 1282700"/>
                <a:gd name="connsiteY52" fmla="*/ 368300 h 949325"/>
                <a:gd name="connsiteX53" fmla="*/ 866485 w 1282700"/>
                <a:gd name="connsiteY53" fmla="*/ 136525 h 949325"/>
                <a:gd name="connsiteX54" fmla="*/ 1048106 w 1282700"/>
                <a:gd name="connsiteY54" fmla="*/ 315037 h 949325"/>
                <a:gd name="connsiteX55" fmla="*/ 953512 w 1282700"/>
                <a:gd name="connsiteY55" fmla="*/ 474559 h 949325"/>
                <a:gd name="connsiteX56" fmla="*/ 1055674 w 1282700"/>
                <a:gd name="connsiteY56" fmla="*/ 508742 h 949325"/>
                <a:gd name="connsiteX57" fmla="*/ 1169187 w 1282700"/>
                <a:gd name="connsiteY57" fmla="*/ 660667 h 949325"/>
                <a:gd name="connsiteX58" fmla="*/ 1169187 w 1282700"/>
                <a:gd name="connsiteY58" fmla="*/ 827785 h 949325"/>
                <a:gd name="connsiteX59" fmla="*/ 1267565 w 1282700"/>
                <a:gd name="connsiteY59" fmla="*/ 827785 h 949325"/>
                <a:gd name="connsiteX60" fmla="*/ 1282700 w 1282700"/>
                <a:gd name="connsiteY60" fmla="*/ 839179 h 949325"/>
                <a:gd name="connsiteX61" fmla="*/ 1267565 w 1282700"/>
                <a:gd name="connsiteY61" fmla="*/ 854372 h 949325"/>
                <a:gd name="connsiteX62" fmla="*/ 1169187 w 1282700"/>
                <a:gd name="connsiteY62" fmla="*/ 854372 h 949325"/>
                <a:gd name="connsiteX63" fmla="*/ 1169187 w 1282700"/>
                <a:gd name="connsiteY63" fmla="*/ 934133 h 949325"/>
                <a:gd name="connsiteX64" fmla="*/ 1154052 w 1282700"/>
                <a:gd name="connsiteY64" fmla="*/ 949325 h 949325"/>
                <a:gd name="connsiteX65" fmla="*/ 582701 w 1282700"/>
                <a:gd name="connsiteY65" fmla="*/ 949325 h 949325"/>
                <a:gd name="connsiteX66" fmla="*/ 567566 w 1282700"/>
                <a:gd name="connsiteY66" fmla="*/ 934133 h 949325"/>
                <a:gd name="connsiteX67" fmla="*/ 567566 w 1282700"/>
                <a:gd name="connsiteY67" fmla="*/ 854372 h 949325"/>
                <a:gd name="connsiteX68" fmla="*/ 15135 w 1282700"/>
                <a:gd name="connsiteY68" fmla="*/ 854372 h 949325"/>
                <a:gd name="connsiteX69" fmla="*/ 0 w 1282700"/>
                <a:gd name="connsiteY69" fmla="*/ 839179 h 949325"/>
                <a:gd name="connsiteX70" fmla="*/ 15135 w 1282700"/>
                <a:gd name="connsiteY70" fmla="*/ 827785 h 949325"/>
                <a:gd name="connsiteX71" fmla="*/ 94594 w 1282700"/>
                <a:gd name="connsiteY71" fmla="*/ 827785 h 949325"/>
                <a:gd name="connsiteX72" fmla="*/ 94594 w 1282700"/>
                <a:gd name="connsiteY72" fmla="*/ 565714 h 949325"/>
                <a:gd name="connsiteX73" fmla="*/ 200540 w 1282700"/>
                <a:gd name="connsiteY73" fmla="*/ 421385 h 949325"/>
                <a:gd name="connsiteX74" fmla="*/ 245945 w 1282700"/>
                <a:gd name="connsiteY74" fmla="*/ 398596 h 949325"/>
                <a:gd name="connsiteX75" fmla="*/ 261080 w 1282700"/>
                <a:gd name="connsiteY75" fmla="*/ 402394 h 949325"/>
                <a:gd name="connsiteX76" fmla="*/ 397296 w 1282700"/>
                <a:gd name="connsiteY76" fmla="*/ 447972 h 949325"/>
                <a:gd name="connsiteX77" fmla="*/ 533512 w 1282700"/>
                <a:gd name="connsiteY77" fmla="*/ 402394 h 949325"/>
                <a:gd name="connsiteX78" fmla="*/ 544864 w 1282700"/>
                <a:gd name="connsiteY78" fmla="*/ 398596 h 949325"/>
                <a:gd name="connsiteX79" fmla="*/ 594053 w 1282700"/>
                <a:gd name="connsiteY79" fmla="*/ 421385 h 949325"/>
                <a:gd name="connsiteX80" fmla="*/ 681080 w 1282700"/>
                <a:gd name="connsiteY80" fmla="*/ 508742 h 949325"/>
                <a:gd name="connsiteX81" fmla="*/ 779458 w 1282700"/>
                <a:gd name="connsiteY81" fmla="*/ 474559 h 949325"/>
                <a:gd name="connsiteX82" fmla="*/ 688647 w 1282700"/>
                <a:gd name="connsiteY82" fmla="*/ 315037 h 949325"/>
                <a:gd name="connsiteX83" fmla="*/ 866485 w 1282700"/>
                <a:gd name="connsiteY83" fmla="*/ 136525 h 949325"/>
                <a:gd name="connsiteX84" fmla="*/ 394494 w 1282700"/>
                <a:gd name="connsiteY84" fmla="*/ 73025 h 949325"/>
                <a:gd name="connsiteX85" fmla="*/ 244475 w 1282700"/>
                <a:gd name="connsiteY85" fmla="*/ 222250 h 949325"/>
                <a:gd name="connsiteX86" fmla="*/ 394494 w 1282700"/>
                <a:gd name="connsiteY86" fmla="*/ 371475 h 949325"/>
                <a:gd name="connsiteX87" fmla="*/ 544513 w 1282700"/>
                <a:gd name="connsiteY87" fmla="*/ 222250 h 949325"/>
                <a:gd name="connsiteX88" fmla="*/ 394494 w 1282700"/>
                <a:gd name="connsiteY88" fmla="*/ 73025 h 949325"/>
                <a:gd name="connsiteX89" fmla="*/ 324559 w 1282700"/>
                <a:gd name="connsiteY89" fmla="*/ 0 h 949325"/>
                <a:gd name="connsiteX90" fmla="*/ 396385 w 1282700"/>
                <a:gd name="connsiteY90" fmla="*/ 18945 h 949325"/>
                <a:gd name="connsiteX91" fmla="*/ 464430 w 1282700"/>
                <a:gd name="connsiteY91" fmla="*/ 0 h 949325"/>
                <a:gd name="connsiteX92" fmla="*/ 592961 w 1282700"/>
                <a:gd name="connsiteY92" fmla="*/ 128827 h 949325"/>
                <a:gd name="connsiteX93" fmla="*/ 592961 w 1282700"/>
                <a:gd name="connsiteY93" fmla="*/ 257654 h 949325"/>
                <a:gd name="connsiteX94" fmla="*/ 642105 w 1282700"/>
                <a:gd name="connsiteY94" fmla="*/ 306911 h 949325"/>
                <a:gd name="connsiteX95" fmla="*/ 657226 w 1282700"/>
                <a:gd name="connsiteY95" fmla="*/ 322067 h 949325"/>
                <a:gd name="connsiteX96" fmla="*/ 642105 w 1282700"/>
                <a:gd name="connsiteY96" fmla="*/ 337223 h 949325"/>
                <a:gd name="connsiteX97" fmla="*/ 532476 w 1282700"/>
                <a:gd name="connsiteY97" fmla="*/ 337223 h 949325"/>
                <a:gd name="connsiteX98" fmla="*/ 396385 w 1282700"/>
                <a:gd name="connsiteY98" fmla="*/ 401637 h 949325"/>
                <a:gd name="connsiteX99" fmla="*/ 256513 w 1282700"/>
                <a:gd name="connsiteY99" fmla="*/ 337223 h 949325"/>
                <a:gd name="connsiteX100" fmla="*/ 146884 w 1282700"/>
                <a:gd name="connsiteY100" fmla="*/ 337223 h 949325"/>
                <a:gd name="connsiteX101" fmla="*/ 131763 w 1282700"/>
                <a:gd name="connsiteY101" fmla="*/ 322067 h 949325"/>
                <a:gd name="connsiteX102" fmla="*/ 146884 w 1282700"/>
                <a:gd name="connsiteY102" fmla="*/ 306911 h 949325"/>
                <a:gd name="connsiteX103" fmla="*/ 196028 w 1282700"/>
                <a:gd name="connsiteY103" fmla="*/ 257654 h 949325"/>
                <a:gd name="connsiteX104" fmla="*/ 196028 w 1282700"/>
                <a:gd name="connsiteY104" fmla="*/ 128827 h 949325"/>
                <a:gd name="connsiteX105" fmla="*/ 324559 w 1282700"/>
                <a:gd name="connsiteY105" fmla="*/ 0 h 94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282700" h="949325">
                  <a:moveTo>
                    <a:pt x="395288" y="706437"/>
                  </a:moveTo>
                  <a:cubicBezTo>
                    <a:pt x="417207" y="706437"/>
                    <a:pt x="434976" y="724206"/>
                    <a:pt x="434976" y="746125"/>
                  </a:cubicBezTo>
                  <a:cubicBezTo>
                    <a:pt x="434976" y="768044"/>
                    <a:pt x="417207" y="785813"/>
                    <a:pt x="395288" y="785813"/>
                  </a:cubicBezTo>
                  <a:cubicBezTo>
                    <a:pt x="373369" y="785813"/>
                    <a:pt x="355600" y="768044"/>
                    <a:pt x="355600" y="746125"/>
                  </a:cubicBezTo>
                  <a:cubicBezTo>
                    <a:pt x="355600" y="724206"/>
                    <a:pt x="373369" y="706437"/>
                    <a:pt x="395288" y="706437"/>
                  </a:cubicBezTo>
                  <a:close/>
                  <a:moveTo>
                    <a:pt x="395288" y="606425"/>
                  </a:moveTo>
                  <a:cubicBezTo>
                    <a:pt x="417207" y="606425"/>
                    <a:pt x="434976" y="623483"/>
                    <a:pt x="434976" y="644525"/>
                  </a:cubicBezTo>
                  <a:cubicBezTo>
                    <a:pt x="434976" y="665567"/>
                    <a:pt x="417207" y="682625"/>
                    <a:pt x="395288" y="682625"/>
                  </a:cubicBezTo>
                  <a:cubicBezTo>
                    <a:pt x="373369" y="682625"/>
                    <a:pt x="355600" y="665567"/>
                    <a:pt x="355600" y="644525"/>
                  </a:cubicBezTo>
                  <a:cubicBezTo>
                    <a:pt x="355600" y="623483"/>
                    <a:pt x="373369" y="606425"/>
                    <a:pt x="395288" y="606425"/>
                  </a:cubicBezTo>
                  <a:close/>
                  <a:moveTo>
                    <a:pt x="395288" y="508000"/>
                  </a:moveTo>
                  <a:cubicBezTo>
                    <a:pt x="417207" y="508000"/>
                    <a:pt x="434976" y="525058"/>
                    <a:pt x="434976" y="546100"/>
                  </a:cubicBezTo>
                  <a:cubicBezTo>
                    <a:pt x="434976" y="567142"/>
                    <a:pt x="417207" y="584200"/>
                    <a:pt x="395288" y="584200"/>
                  </a:cubicBezTo>
                  <a:cubicBezTo>
                    <a:pt x="373369" y="584200"/>
                    <a:pt x="355600" y="567142"/>
                    <a:pt x="355600" y="546100"/>
                  </a:cubicBezTo>
                  <a:cubicBezTo>
                    <a:pt x="355600" y="525058"/>
                    <a:pt x="373369" y="508000"/>
                    <a:pt x="395288" y="508000"/>
                  </a:cubicBezTo>
                  <a:close/>
                  <a:moveTo>
                    <a:pt x="865676" y="496887"/>
                  </a:moveTo>
                  <a:cubicBezTo>
                    <a:pt x="797536" y="496887"/>
                    <a:pt x="744538" y="508257"/>
                    <a:pt x="695325" y="534787"/>
                  </a:cubicBezTo>
                  <a:cubicBezTo>
                    <a:pt x="657469" y="553737"/>
                    <a:pt x="596900" y="595426"/>
                    <a:pt x="596900" y="656066"/>
                  </a:cubicBezTo>
                  <a:cubicBezTo>
                    <a:pt x="596900" y="656066"/>
                    <a:pt x="596900" y="656066"/>
                    <a:pt x="596900" y="917574"/>
                  </a:cubicBezTo>
                  <a:cubicBezTo>
                    <a:pt x="596900" y="917574"/>
                    <a:pt x="596900" y="917574"/>
                    <a:pt x="687754" y="917574"/>
                  </a:cubicBezTo>
                  <a:cubicBezTo>
                    <a:pt x="687754" y="917574"/>
                    <a:pt x="687754" y="917574"/>
                    <a:pt x="687754" y="735655"/>
                  </a:cubicBezTo>
                  <a:cubicBezTo>
                    <a:pt x="687754" y="728075"/>
                    <a:pt x="691540" y="720495"/>
                    <a:pt x="702896" y="720495"/>
                  </a:cubicBezTo>
                  <a:cubicBezTo>
                    <a:pt x="710467" y="720495"/>
                    <a:pt x="718039" y="728075"/>
                    <a:pt x="718039" y="735655"/>
                  </a:cubicBezTo>
                  <a:cubicBezTo>
                    <a:pt x="718039" y="735655"/>
                    <a:pt x="718039" y="735655"/>
                    <a:pt x="718039" y="917574"/>
                  </a:cubicBezTo>
                  <a:cubicBezTo>
                    <a:pt x="718039" y="917574"/>
                    <a:pt x="718039" y="917574"/>
                    <a:pt x="1017100" y="917574"/>
                  </a:cubicBezTo>
                  <a:cubicBezTo>
                    <a:pt x="1017100" y="917574"/>
                    <a:pt x="1017100" y="917574"/>
                    <a:pt x="1017100" y="735655"/>
                  </a:cubicBezTo>
                  <a:cubicBezTo>
                    <a:pt x="1017100" y="728075"/>
                    <a:pt x="1024671" y="720495"/>
                    <a:pt x="1032242" y="720495"/>
                  </a:cubicBezTo>
                  <a:cubicBezTo>
                    <a:pt x="1039813" y="720495"/>
                    <a:pt x="1047384" y="728075"/>
                    <a:pt x="1047384" y="735655"/>
                  </a:cubicBezTo>
                  <a:cubicBezTo>
                    <a:pt x="1047384" y="735655"/>
                    <a:pt x="1047384" y="735655"/>
                    <a:pt x="1047384" y="917574"/>
                  </a:cubicBezTo>
                  <a:cubicBezTo>
                    <a:pt x="1047384" y="917574"/>
                    <a:pt x="1047384" y="917574"/>
                    <a:pt x="1138238" y="917574"/>
                  </a:cubicBezTo>
                  <a:lnTo>
                    <a:pt x="1138238" y="659856"/>
                  </a:lnTo>
                  <a:cubicBezTo>
                    <a:pt x="1138238" y="591636"/>
                    <a:pt x="1062526" y="546157"/>
                    <a:pt x="1039813" y="534787"/>
                  </a:cubicBezTo>
                  <a:cubicBezTo>
                    <a:pt x="990600" y="508257"/>
                    <a:pt x="937602" y="496887"/>
                    <a:pt x="865676" y="496887"/>
                  </a:cubicBezTo>
                  <a:close/>
                  <a:moveTo>
                    <a:pt x="248807" y="428625"/>
                  </a:moveTo>
                  <a:cubicBezTo>
                    <a:pt x="237445" y="432420"/>
                    <a:pt x="222295" y="440010"/>
                    <a:pt x="210933" y="447599"/>
                  </a:cubicBezTo>
                  <a:cubicBezTo>
                    <a:pt x="191997" y="458984"/>
                    <a:pt x="123825" y="496933"/>
                    <a:pt x="123825" y="565241"/>
                  </a:cubicBezTo>
                  <a:cubicBezTo>
                    <a:pt x="123825" y="565241"/>
                    <a:pt x="123825" y="565241"/>
                    <a:pt x="123825" y="827087"/>
                  </a:cubicBezTo>
                  <a:cubicBezTo>
                    <a:pt x="123825" y="827087"/>
                    <a:pt x="123825" y="827087"/>
                    <a:pt x="214721" y="827087"/>
                  </a:cubicBezTo>
                  <a:cubicBezTo>
                    <a:pt x="214721" y="827087"/>
                    <a:pt x="214721" y="827087"/>
                    <a:pt x="214721" y="641138"/>
                  </a:cubicBezTo>
                  <a:cubicBezTo>
                    <a:pt x="214721" y="633548"/>
                    <a:pt x="222295" y="625959"/>
                    <a:pt x="229870" y="625959"/>
                  </a:cubicBezTo>
                  <a:cubicBezTo>
                    <a:pt x="237445" y="625959"/>
                    <a:pt x="245019" y="633548"/>
                    <a:pt x="245019" y="641138"/>
                  </a:cubicBezTo>
                  <a:cubicBezTo>
                    <a:pt x="245019" y="641138"/>
                    <a:pt x="245019" y="641138"/>
                    <a:pt x="245019" y="827087"/>
                  </a:cubicBezTo>
                  <a:cubicBezTo>
                    <a:pt x="245019" y="827087"/>
                    <a:pt x="245019" y="827087"/>
                    <a:pt x="566942" y="827087"/>
                  </a:cubicBezTo>
                  <a:cubicBezTo>
                    <a:pt x="566942" y="827087"/>
                    <a:pt x="566942" y="827087"/>
                    <a:pt x="566942" y="656318"/>
                  </a:cubicBezTo>
                  <a:cubicBezTo>
                    <a:pt x="566942" y="595600"/>
                    <a:pt x="616177" y="550061"/>
                    <a:pt x="654050" y="523497"/>
                  </a:cubicBezTo>
                  <a:cubicBezTo>
                    <a:pt x="635113" y="481753"/>
                    <a:pt x="593453" y="455189"/>
                    <a:pt x="578304" y="447599"/>
                  </a:cubicBezTo>
                  <a:cubicBezTo>
                    <a:pt x="566942" y="440010"/>
                    <a:pt x="551792" y="432420"/>
                    <a:pt x="540430" y="428625"/>
                  </a:cubicBezTo>
                  <a:cubicBezTo>
                    <a:pt x="453322" y="489343"/>
                    <a:pt x="335915" y="489343"/>
                    <a:pt x="248807" y="428625"/>
                  </a:cubicBezTo>
                  <a:close/>
                  <a:moveTo>
                    <a:pt x="725488" y="368300"/>
                  </a:moveTo>
                  <a:cubicBezTo>
                    <a:pt x="748271" y="425084"/>
                    <a:pt x="801431" y="466725"/>
                    <a:pt x="865982" y="466725"/>
                  </a:cubicBezTo>
                  <a:cubicBezTo>
                    <a:pt x="930533" y="466725"/>
                    <a:pt x="987490" y="425084"/>
                    <a:pt x="1006476" y="368300"/>
                  </a:cubicBezTo>
                  <a:cubicBezTo>
                    <a:pt x="972302" y="402370"/>
                    <a:pt x="915345" y="425084"/>
                    <a:pt x="865982" y="425084"/>
                  </a:cubicBezTo>
                  <a:cubicBezTo>
                    <a:pt x="816619" y="425084"/>
                    <a:pt x="763459" y="402370"/>
                    <a:pt x="725488" y="368300"/>
                  </a:cubicBezTo>
                  <a:close/>
                  <a:moveTo>
                    <a:pt x="866485" y="136525"/>
                  </a:moveTo>
                  <a:cubicBezTo>
                    <a:pt x="968647" y="136525"/>
                    <a:pt x="1048106" y="216286"/>
                    <a:pt x="1048106" y="315037"/>
                  </a:cubicBezTo>
                  <a:cubicBezTo>
                    <a:pt x="1048106" y="383403"/>
                    <a:pt x="1010268" y="444174"/>
                    <a:pt x="953512" y="474559"/>
                  </a:cubicBezTo>
                  <a:cubicBezTo>
                    <a:pt x="991349" y="482155"/>
                    <a:pt x="1021620" y="493549"/>
                    <a:pt x="1055674" y="508742"/>
                  </a:cubicBezTo>
                  <a:cubicBezTo>
                    <a:pt x="1089727" y="527733"/>
                    <a:pt x="1169187" y="577108"/>
                    <a:pt x="1169187" y="660667"/>
                  </a:cubicBezTo>
                  <a:cubicBezTo>
                    <a:pt x="1169187" y="660667"/>
                    <a:pt x="1169187" y="660667"/>
                    <a:pt x="1169187" y="827785"/>
                  </a:cubicBezTo>
                  <a:cubicBezTo>
                    <a:pt x="1169187" y="827785"/>
                    <a:pt x="1169187" y="827785"/>
                    <a:pt x="1267565" y="827785"/>
                  </a:cubicBezTo>
                  <a:cubicBezTo>
                    <a:pt x="1275133" y="827785"/>
                    <a:pt x="1282700" y="831583"/>
                    <a:pt x="1282700" y="839179"/>
                  </a:cubicBezTo>
                  <a:cubicBezTo>
                    <a:pt x="1282700" y="850574"/>
                    <a:pt x="1275133" y="854372"/>
                    <a:pt x="1267565" y="854372"/>
                  </a:cubicBezTo>
                  <a:cubicBezTo>
                    <a:pt x="1267565" y="854372"/>
                    <a:pt x="1267565" y="854372"/>
                    <a:pt x="1169187" y="854372"/>
                  </a:cubicBezTo>
                  <a:cubicBezTo>
                    <a:pt x="1169187" y="854372"/>
                    <a:pt x="1169187" y="854372"/>
                    <a:pt x="1169187" y="934133"/>
                  </a:cubicBezTo>
                  <a:cubicBezTo>
                    <a:pt x="1169187" y="945527"/>
                    <a:pt x="1161619" y="949325"/>
                    <a:pt x="1154052" y="949325"/>
                  </a:cubicBezTo>
                  <a:cubicBezTo>
                    <a:pt x="1154052" y="949325"/>
                    <a:pt x="1154052" y="949325"/>
                    <a:pt x="582701" y="949325"/>
                  </a:cubicBezTo>
                  <a:cubicBezTo>
                    <a:pt x="575134" y="949325"/>
                    <a:pt x="567566" y="945527"/>
                    <a:pt x="567566" y="934133"/>
                  </a:cubicBezTo>
                  <a:cubicBezTo>
                    <a:pt x="567566" y="934133"/>
                    <a:pt x="567566" y="934133"/>
                    <a:pt x="567566" y="854372"/>
                  </a:cubicBezTo>
                  <a:cubicBezTo>
                    <a:pt x="567566" y="854372"/>
                    <a:pt x="567566" y="854372"/>
                    <a:pt x="15135" y="854372"/>
                  </a:cubicBezTo>
                  <a:cubicBezTo>
                    <a:pt x="7568" y="854372"/>
                    <a:pt x="0" y="850574"/>
                    <a:pt x="0" y="839179"/>
                  </a:cubicBezTo>
                  <a:cubicBezTo>
                    <a:pt x="0" y="831583"/>
                    <a:pt x="7568" y="827785"/>
                    <a:pt x="15135" y="827785"/>
                  </a:cubicBezTo>
                  <a:cubicBezTo>
                    <a:pt x="15135" y="827785"/>
                    <a:pt x="15135" y="827785"/>
                    <a:pt x="94594" y="827785"/>
                  </a:cubicBezTo>
                  <a:cubicBezTo>
                    <a:pt x="94594" y="827785"/>
                    <a:pt x="94594" y="827785"/>
                    <a:pt x="94594" y="565714"/>
                  </a:cubicBezTo>
                  <a:cubicBezTo>
                    <a:pt x="94594" y="482155"/>
                    <a:pt x="174054" y="432779"/>
                    <a:pt x="200540" y="421385"/>
                  </a:cubicBezTo>
                  <a:cubicBezTo>
                    <a:pt x="215675" y="413789"/>
                    <a:pt x="230810" y="406192"/>
                    <a:pt x="245945" y="398596"/>
                  </a:cubicBezTo>
                  <a:cubicBezTo>
                    <a:pt x="249729" y="398596"/>
                    <a:pt x="253513" y="398596"/>
                    <a:pt x="261080" y="402394"/>
                  </a:cubicBezTo>
                  <a:cubicBezTo>
                    <a:pt x="298918" y="428981"/>
                    <a:pt x="348107" y="447972"/>
                    <a:pt x="397296" y="447972"/>
                  </a:cubicBezTo>
                  <a:cubicBezTo>
                    <a:pt x="442702" y="447972"/>
                    <a:pt x="491891" y="428981"/>
                    <a:pt x="533512" y="402394"/>
                  </a:cubicBezTo>
                  <a:cubicBezTo>
                    <a:pt x="537296" y="398596"/>
                    <a:pt x="541080" y="398596"/>
                    <a:pt x="544864" y="398596"/>
                  </a:cubicBezTo>
                  <a:cubicBezTo>
                    <a:pt x="559999" y="406192"/>
                    <a:pt x="575134" y="413789"/>
                    <a:pt x="594053" y="421385"/>
                  </a:cubicBezTo>
                  <a:cubicBezTo>
                    <a:pt x="609188" y="428981"/>
                    <a:pt x="658377" y="459366"/>
                    <a:pt x="681080" y="508742"/>
                  </a:cubicBezTo>
                  <a:cubicBezTo>
                    <a:pt x="711350" y="489751"/>
                    <a:pt x="745404" y="482155"/>
                    <a:pt x="779458" y="474559"/>
                  </a:cubicBezTo>
                  <a:cubicBezTo>
                    <a:pt x="726485" y="444174"/>
                    <a:pt x="688647" y="383403"/>
                    <a:pt x="688647" y="315037"/>
                  </a:cubicBezTo>
                  <a:cubicBezTo>
                    <a:pt x="688647" y="216286"/>
                    <a:pt x="768107" y="136525"/>
                    <a:pt x="866485" y="136525"/>
                  </a:cubicBezTo>
                  <a:close/>
                  <a:moveTo>
                    <a:pt x="394494" y="73025"/>
                  </a:moveTo>
                  <a:cubicBezTo>
                    <a:pt x="311641" y="73025"/>
                    <a:pt x="244475" y="139835"/>
                    <a:pt x="244475" y="222250"/>
                  </a:cubicBezTo>
                  <a:cubicBezTo>
                    <a:pt x="244475" y="304665"/>
                    <a:pt x="311641" y="371475"/>
                    <a:pt x="394494" y="371475"/>
                  </a:cubicBezTo>
                  <a:cubicBezTo>
                    <a:pt x="477347" y="371475"/>
                    <a:pt x="544513" y="304665"/>
                    <a:pt x="544513" y="222250"/>
                  </a:cubicBezTo>
                  <a:cubicBezTo>
                    <a:pt x="544513" y="139835"/>
                    <a:pt x="477347" y="73025"/>
                    <a:pt x="394494" y="73025"/>
                  </a:cubicBezTo>
                  <a:close/>
                  <a:moveTo>
                    <a:pt x="324559" y="0"/>
                  </a:moveTo>
                  <a:cubicBezTo>
                    <a:pt x="351021" y="0"/>
                    <a:pt x="373703" y="7578"/>
                    <a:pt x="396385" y="18945"/>
                  </a:cubicBezTo>
                  <a:cubicBezTo>
                    <a:pt x="415286" y="7578"/>
                    <a:pt x="437968" y="0"/>
                    <a:pt x="464430" y="0"/>
                  </a:cubicBezTo>
                  <a:cubicBezTo>
                    <a:pt x="536256" y="0"/>
                    <a:pt x="592961" y="56835"/>
                    <a:pt x="592961" y="128827"/>
                  </a:cubicBezTo>
                  <a:cubicBezTo>
                    <a:pt x="592961" y="128827"/>
                    <a:pt x="592961" y="128827"/>
                    <a:pt x="592961" y="257654"/>
                  </a:cubicBezTo>
                  <a:cubicBezTo>
                    <a:pt x="592961" y="284177"/>
                    <a:pt x="615643" y="306911"/>
                    <a:pt x="642105" y="306911"/>
                  </a:cubicBezTo>
                  <a:cubicBezTo>
                    <a:pt x="649665" y="306911"/>
                    <a:pt x="657226" y="314489"/>
                    <a:pt x="657226" y="322067"/>
                  </a:cubicBezTo>
                  <a:cubicBezTo>
                    <a:pt x="657226" y="329645"/>
                    <a:pt x="649665" y="337223"/>
                    <a:pt x="642105" y="337223"/>
                  </a:cubicBezTo>
                  <a:cubicBezTo>
                    <a:pt x="642105" y="337223"/>
                    <a:pt x="642105" y="337223"/>
                    <a:pt x="532476" y="337223"/>
                  </a:cubicBezTo>
                  <a:cubicBezTo>
                    <a:pt x="498453" y="375114"/>
                    <a:pt x="449309" y="401637"/>
                    <a:pt x="396385" y="401637"/>
                  </a:cubicBezTo>
                  <a:cubicBezTo>
                    <a:pt x="339680" y="401637"/>
                    <a:pt x="290536" y="375114"/>
                    <a:pt x="256513" y="337223"/>
                  </a:cubicBezTo>
                  <a:cubicBezTo>
                    <a:pt x="256513" y="337223"/>
                    <a:pt x="256513" y="337223"/>
                    <a:pt x="146884" y="337223"/>
                  </a:cubicBezTo>
                  <a:cubicBezTo>
                    <a:pt x="139324" y="337223"/>
                    <a:pt x="131763" y="329645"/>
                    <a:pt x="131763" y="322067"/>
                  </a:cubicBezTo>
                  <a:cubicBezTo>
                    <a:pt x="131763" y="314489"/>
                    <a:pt x="139324" y="306911"/>
                    <a:pt x="146884" y="306911"/>
                  </a:cubicBezTo>
                  <a:cubicBezTo>
                    <a:pt x="173346" y="306911"/>
                    <a:pt x="196028" y="284177"/>
                    <a:pt x="196028" y="257654"/>
                  </a:cubicBezTo>
                  <a:cubicBezTo>
                    <a:pt x="196028" y="257654"/>
                    <a:pt x="196028" y="257654"/>
                    <a:pt x="196028" y="128827"/>
                  </a:cubicBezTo>
                  <a:cubicBezTo>
                    <a:pt x="196028" y="56835"/>
                    <a:pt x="252733" y="0"/>
                    <a:pt x="324559" y="0"/>
                  </a:cubicBezTo>
                  <a:close/>
                </a:path>
              </a:pathLst>
            </a:custGeom>
            <a:solidFill>
              <a:schemeClr val="bg1"/>
            </a:solidFill>
            <a:ln>
              <a:noFill/>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t" anchorCtr="0" compatLnSpc="1">
              <a:prstTxWarp prst="textNoShape">
                <a:avLst/>
              </a:prstTxWarp>
              <a:noAutofit/>
            </a:bodyPr>
            <a:lstStyle/>
            <a:p>
              <a:endParaRPr lang="en-GB" sz="1600" dirty="0">
                <a:solidFill>
                  <a:srgbClr val="000000"/>
                </a:solidFill>
              </a:endParaRPr>
            </a:p>
          </p:txBody>
        </p:sp>
        <p:sp>
          <p:nvSpPr>
            <p:cNvPr id="131" name="Rectangle 130"/>
            <p:cNvSpPr/>
            <p:nvPr/>
          </p:nvSpPr>
          <p:spPr>
            <a:xfrm>
              <a:off x="1393264" y="5349746"/>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rgbClr val="000000"/>
                </a:solidFill>
              </a:endParaRPr>
            </a:p>
          </p:txBody>
        </p:sp>
        <p:sp>
          <p:nvSpPr>
            <p:cNvPr id="35" name="TextBox 34"/>
            <p:cNvSpPr txBox="1"/>
            <p:nvPr/>
          </p:nvSpPr>
          <p:spPr>
            <a:xfrm>
              <a:off x="5673461" y="5323989"/>
              <a:ext cx="2006951" cy="530594"/>
            </a:xfrm>
            <a:prstGeom prst="rect">
              <a:avLst/>
            </a:prstGeom>
            <a:noFill/>
          </p:spPr>
          <p:txBody>
            <a:bodyPr wrap="square" rtlCol="0">
              <a:spAutoFit/>
            </a:bodyPr>
            <a:lstStyle/>
            <a:p>
              <a:pPr algn="ctr">
                <a:lnSpc>
                  <a:spcPct val="89000"/>
                </a:lnSpc>
              </a:pPr>
              <a:r>
                <a:rPr lang="en-GB" sz="3200" b="1" dirty="0" smtClean="0">
                  <a:solidFill>
                    <a:schemeClr val="tx2"/>
                  </a:solidFill>
                  <a:ea typeface="Open Sans" panose="020B0606030504020204" pitchFamily="34" charset="0"/>
                  <a:cs typeface="Open Sans" panose="020B0606030504020204" pitchFamily="34" charset="0"/>
                </a:rPr>
                <a:t>348</a:t>
              </a:r>
              <a:endParaRPr lang="en-US" sz="3200" b="1" dirty="0">
                <a:solidFill>
                  <a:schemeClr val="tx2"/>
                </a:solidFill>
                <a:ea typeface="Open Sans" panose="020B0606030504020204" pitchFamily="34" charset="0"/>
                <a:cs typeface="Open Sans" panose="020B0606030504020204" pitchFamily="34" charset="0"/>
              </a:endParaRPr>
            </a:p>
          </p:txBody>
        </p:sp>
      </p:grpSp>
      <p:pic>
        <p:nvPicPr>
          <p:cNvPr id="36" name="Content Placeholder 6"/>
          <p:cNvPicPr>
            <a:picLocks noGrp="1" noChangeAspect="1"/>
          </p:cNvPicPr>
          <p:nvPr>
            <p:ph sz="quarter" idx="4294967295"/>
          </p:nvPr>
        </p:nvPicPr>
        <p:blipFill rotWithShape="1">
          <a:blip r:embed="rId11" cstate="screen">
            <a:extLst>
              <a:ext uri="{28A0092B-C50C-407E-A947-70E740481C1C}">
                <a14:useLocalDpi xmlns:a14="http://schemas.microsoft.com/office/drawing/2010/main"/>
              </a:ext>
            </a:extLst>
          </a:blip>
          <a:srcRect t="-250"/>
          <a:stretch/>
        </p:blipFill>
        <p:spPr>
          <a:xfrm>
            <a:off x="8223376" y="-18000"/>
            <a:ext cx="3968624" cy="6876000"/>
          </a:xfrm>
          <a:prstGeom prst="parallelogram">
            <a:avLst/>
          </a:prstGeom>
        </p:spPr>
      </p:pic>
    </p:spTree>
    <p:extLst>
      <p:ext uri="{BB962C8B-B14F-4D97-AF65-F5344CB8AC3E}">
        <p14:creationId xmlns:p14="http://schemas.microsoft.com/office/powerpoint/2010/main" val="13488782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p:cNvGraphicFramePr/>
          <p:nvPr>
            <p:extLst>
              <p:ext uri="{D42A27DB-BD31-4B8C-83A1-F6EECF244321}">
                <p14:modId xmlns:p14="http://schemas.microsoft.com/office/powerpoint/2010/main" val="793601578"/>
              </p:ext>
            </p:extLst>
          </p:nvPr>
        </p:nvGraphicFramePr>
        <p:xfrm>
          <a:off x="330201" y="1520824"/>
          <a:ext cx="11545123" cy="4934737"/>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a:xfrm>
            <a:off x="432182" y="728663"/>
            <a:ext cx="10357738" cy="581698"/>
          </a:xfrm>
        </p:spPr>
        <p:txBody>
          <a:bodyPr/>
          <a:lstStyle/>
          <a:p>
            <a:r>
              <a:rPr lang="en-US" dirty="0" smtClean="0"/>
              <a:t>Top 10 industries most engaged with during H1 2020</a:t>
            </a:r>
            <a:br>
              <a:rPr lang="en-US" dirty="0" smtClean="0"/>
            </a:br>
            <a:r>
              <a:rPr lang="en-US" sz="1800" dirty="0" smtClean="0"/>
              <a:t>Number of companies per industry (Sector in bracket)</a:t>
            </a:r>
            <a:endParaRPr lang="en-US" sz="1800" dirty="0"/>
          </a:p>
        </p:txBody>
      </p:sp>
      <p:sp>
        <p:nvSpPr>
          <p:cNvPr id="5" name="TextBox 4"/>
          <p:cNvSpPr txBox="1"/>
          <p:nvPr/>
        </p:nvSpPr>
        <p:spPr>
          <a:xfrm>
            <a:off x="431900" y="6560825"/>
            <a:ext cx="5580099" cy="138499"/>
          </a:xfrm>
          <a:prstGeom prst="rect">
            <a:avLst/>
          </a:prstGeom>
          <a:noFill/>
        </p:spPr>
        <p:txBody>
          <a:bodyPr wrap="square" lIns="0" tIns="0" rIns="0" bIns="0" rtlCol="0">
            <a:spAutoFit/>
          </a:bodyPr>
          <a:lstStyle/>
          <a:p>
            <a:r>
              <a:rPr lang="en-GB" sz="900" dirty="0" smtClean="0">
                <a:solidFill>
                  <a:srgbClr val="003755"/>
                </a:solidFill>
              </a:rPr>
              <a:t>Note</a:t>
            </a:r>
            <a:r>
              <a:rPr lang="en-GB" sz="900" dirty="0">
                <a:solidFill>
                  <a:srgbClr val="003755"/>
                </a:solidFill>
              </a:rPr>
              <a:t>: </a:t>
            </a:r>
            <a:r>
              <a:rPr lang="en-US" sz="900" dirty="0">
                <a:solidFill>
                  <a:srgbClr val="003755"/>
                </a:solidFill>
              </a:rPr>
              <a:t>The Bloomberg Industry Classification Systems </a:t>
            </a:r>
            <a:r>
              <a:rPr lang="en-GB" sz="900" dirty="0" smtClean="0">
                <a:solidFill>
                  <a:srgbClr val="003755"/>
                </a:solidFill>
              </a:rPr>
              <a:t>(BICS) is used for sector classification</a:t>
            </a:r>
            <a:endParaRPr lang="en-GB" sz="900" dirty="0">
              <a:solidFill>
                <a:srgbClr val="003755"/>
              </a:solidFill>
            </a:endParaRPr>
          </a:p>
        </p:txBody>
      </p:sp>
      <p:grpSp>
        <p:nvGrpSpPr>
          <p:cNvPr id="15" name="Group 14"/>
          <p:cNvGrpSpPr/>
          <p:nvPr/>
        </p:nvGrpSpPr>
        <p:grpSpPr>
          <a:xfrm>
            <a:off x="431900" y="195203"/>
            <a:ext cx="3011814" cy="428196"/>
            <a:chOff x="487322" y="1920651"/>
            <a:chExt cx="7651443" cy="1004907"/>
          </a:xfrm>
        </p:grpSpPr>
        <p:sp>
          <p:nvSpPr>
            <p:cNvPr id="16" name="Rectangle 15"/>
            <p:cNvSpPr/>
            <p:nvPr/>
          </p:nvSpPr>
          <p:spPr>
            <a:xfrm>
              <a:off x="487322" y="1920651"/>
              <a:ext cx="7651443" cy="1004907"/>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17" name="TextBox 16"/>
            <p:cNvSpPr txBox="1"/>
            <p:nvPr/>
          </p:nvSpPr>
          <p:spPr>
            <a:xfrm>
              <a:off x="1524997" y="2195482"/>
              <a:ext cx="2885811" cy="455236"/>
            </a:xfrm>
            <a:prstGeom prst="rect">
              <a:avLst/>
            </a:prstGeom>
            <a:noFill/>
          </p:spPr>
          <p:txBody>
            <a:bodyPr wrap="square" lIns="0" tIns="0" rIns="0" bIns="0" rtlCol="0" anchor="ctr" anchorCtr="0">
              <a:spAutoFit/>
            </a:bodyPr>
            <a:lstStyle/>
            <a:p>
              <a:r>
                <a:rPr lang="en-US" sz="1000" b="1" dirty="0">
                  <a:solidFill>
                    <a:srgbClr val="003755"/>
                  </a:solidFill>
                </a:rPr>
                <a:t>Companies</a:t>
              </a:r>
            </a:p>
          </p:txBody>
        </p:sp>
        <p:sp>
          <p:nvSpPr>
            <p:cNvPr id="18" name="Oval 17"/>
            <p:cNvSpPr>
              <a:spLocks noChangeAspect="1"/>
            </p:cNvSpPr>
            <p:nvPr/>
          </p:nvSpPr>
          <p:spPr>
            <a:xfrm>
              <a:off x="515763" y="2089882"/>
              <a:ext cx="666433"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chemeClr val="tx1"/>
                </a:solidFill>
              </a:endParaRPr>
            </a:p>
          </p:txBody>
        </p:sp>
        <p:sp>
          <p:nvSpPr>
            <p:cNvPr id="19" name="Rectangle 18"/>
            <p:cNvSpPr/>
            <p:nvPr/>
          </p:nvSpPr>
          <p:spPr>
            <a:xfrm>
              <a:off x="1371080" y="2183565"/>
              <a:ext cx="38326"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rgbClr val="000000"/>
                </a:solidFill>
              </a:endParaRPr>
            </a:p>
          </p:txBody>
        </p:sp>
        <p:sp>
          <p:nvSpPr>
            <p:cNvPr id="20" name="Business"/>
            <p:cNvSpPr>
              <a:spLocks noChangeAspect="1"/>
            </p:cNvSpPr>
            <p:nvPr>
              <p:custDataLst>
                <p:tags r:id="rId1"/>
              </p:custDataLst>
            </p:nvPr>
          </p:nvSpPr>
          <p:spPr bwMode="auto">
            <a:xfrm>
              <a:off x="583504" y="2243104"/>
              <a:ext cx="505250" cy="360000"/>
            </a:xfrm>
            <a:custGeom>
              <a:avLst/>
              <a:gdLst>
                <a:gd name="connsiteX0" fmla="*/ 820964 w 1154113"/>
                <a:gd name="connsiteY0" fmla="*/ 561975 h 822325"/>
                <a:gd name="connsiteX1" fmla="*/ 873881 w 1154113"/>
                <a:gd name="connsiteY1" fmla="*/ 561975 h 822325"/>
                <a:gd name="connsiteX2" fmla="*/ 889000 w 1154113"/>
                <a:gd name="connsiteY2" fmla="*/ 577397 h 822325"/>
                <a:gd name="connsiteX3" fmla="*/ 889000 w 1154113"/>
                <a:gd name="connsiteY3" fmla="*/ 631372 h 822325"/>
                <a:gd name="connsiteX4" fmla="*/ 873881 w 1154113"/>
                <a:gd name="connsiteY4" fmla="*/ 642938 h 822325"/>
                <a:gd name="connsiteX5" fmla="*/ 820964 w 1154113"/>
                <a:gd name="connsiteY5" fmla="*/ 642938 h 822325"/>
                <a:gd name="connsiteX6" fmla="*/ 809625 w 1154113"/>
                <a:gd name="connsiteY6" fmla="*/ 631372 h 822325"/>
                <a:gd name="connsiteX7" fmla="*/ 809625 w 1154113"/>
                <a:gd name="connsiteY7" fmla="*/ 577397 h 822325"/>
                <a:gd name="connsiteX8" fmla="*/ 820964 w 1154113"/>
                <a:gd name="connsiteY8" fmla="*/ 561975 h 822325"/>
                <a:gd name="connsiteX9" fmla="*/ 704094 w 1154113"/>
                <a:gd name="connsiteY9" fmla="*/ 561975 h 822325"/>
                <a:gd name="connsiteX10" fmla="*/ 757011 w 1154113"/>
                <a:gd name="connsiteY10" fmla="*/ 561975 h 822325"/>
                <a:gd name="connsiteX11" fmla="*/ 768350 w 1154113"/>
                <a:gd name="connsiteY11" fmla="*/ 577397 h 822325"/>
                <a:gd name="connsiteX12" fmla="*/ 768350 w 1154113"/>
                <a:gd name="connsiteY12" fmla="*/ 631372 h 822325"/>
                <a:gd name="connsiteX13" fmla="*/ 757011 w 1154113"/>
                <a:gd name="connsiteY13" fmla="*/ 642938 h 822325"/>
                <a:gd name="connsiteX14" fmla="*/ 704094 w 1154113"/>
                <a:gd name="connsiteY14" fmla="*/ 642938 h 822325"/>
                <a:gd name="connsiteX15" fmla="*/ 688975 w 1154113"/>
                <a:gd name="connsiteY15" fmla="*/ 631372 h 822325"/>
                <a:gd name="connsiteX16" fmla="*/ 688975 w 1154113"/>
                <a:gd name="connsiteY16" fmla="*/ 577397 h 822325"/>
                <a:gd name="connsiteX17" fmla="*/ 704094 w 1154113"/>
                <a:gd name="connsiteY17" fmla="*/ 561975 h 822325"/>
                <a:gd name="connsiteX18" fmla="*/ 582839 w 1154113"/>
                <a:gd name="connsiteY18" fmla="*/ 561975 h 822325"/>
                <a:gd name="connsiteX19" fmla="*/ 635756 w 1154113"/>
                <a:gd name="connsiteY19" fmla="*/ 561975 h 822325"/>
                <a:gd name="connsiteX20" fmla="*/ 650875 w 1154113"/>
                <a:gd name="connsiteY20" fmla="*/ 577397 h 822325"/>
                <a:gd name="connsiteX21" fmla="*/ 650875 w 1154113"/>
                <a:gd name="connsiteY21" fmla="*/ 631372 h 822325"/>
                <a:gd name="connsiteX22" fmla="*/ 635756 w 1154113"/>
                <a:gd name="connsiteY22" fmla="*/ 642938 h 822325"/>
                <a:gd name="connsiteX23" fmla="*/ 582839 w 1154113"/>
                <a:gd name="connsiteY23" fmla="*/ 642938 h 822325"/>
                <a:gd name="connsiteX24" fmla="*/ 571500 w 1154113"/>
                <a:gd name="connsiteY24" fmla="*/ 631372 h 822325"/>
                <a:gd name="connsiteX25" fmla="*/ 571500 w 1154113"/>
                <a:gd name="connsiteY25" fmla="*/ 577397 h 822325"/>
                <a:gd name="connsiteX26" fmla="*/ 582839 w 1154113"/>
                <a:gd name="connsiteY26" fmla="*/ 561975 h 822325"/>
                <a:gd name="connsiteX27" fmla="*/ 378052 w 1154113"/>
                <a:gd name="connsiteY27" fmla="*/ 561975 h 822325"/>
                <a:gd name="connsiteX28" fmla="*/ 430969 w 1154113"/>
                <a:gd name="connsiteY28" fmla="*/ 561975 h 822325"/>
                <a:gd name="connsiteX29" fmla="*/ 446088 w 1154113"/>
                <a:gd name="connsiteY29" fmla="*/ 577397 h 822325"/>
                <a:gd name="connsiteX30" fmla="*/ 446088 w 1154113"/>
                <a:gd name="connsiteY30" fmla="*/ 631372 h 822325"/>
                <a:gd name="connsiteX31" fmla="*/ 430969 w 1154113"/>
                <a:gd name="connsiteY31" fmla="*/ 642938 h 822325"/>
                <a:gd name="connsiteX32" fmla="*/ 378052 w 1154113"/>
                <a:gd name="connsiteY32" fmla="*/ 642938 h 822325"/>
                <a:gd name="connsiteX33" fmla="*/ 366713 w 1154113"/>
                <a:gd name="connsiteY33" fmla="*/ 631372 h 822325"/>
                <a:gd name="connsiteX34" fmla="*/ 366713 w 1154113"/>
                <a:gd name="connsiteY34" fmla="*/ 577397 h 822325"/>
                <a:gd name="connsiteX35" fmla="*/ 378052 w 1154113"/>
                <a:gd name="connsiteY35" fmla="*/ 561975 h 822325"/>
                <a:gd name="connsiteX36" fmla="*/ 261182 w 1154113"/>
                <a:gd name="connsiteY36" fmla="*/ 561975 h 822325"/>
                <a:gd name="connsiteX37" fmla="*/ 314099 w 1154113"/>
                <a:gd name="connsiteY37" fmla="*/ 561975 h 822325"/>
                <a:gd name="connsiteX38" fmla="*/ 325438 w 1154113"/>
                <a:gd name="connsiteY38" fmla="*/ 577397 h 822325"/>
                <a:gd name="connsiteX39" fmla="*/ 325438 w 1154113"/>
                <a:gd name="connsiteY39" fmla="*/ 631372 h 822325"/>
                <a:gd name="connsiteX40" fmla="*/ 314099 w 1154113"/>
                <a:gd name="connsiteY40" fmla="*/ 642938 h 822325"/>
                <a:gd name="connsiteX41" fmla="*/ 261182 w 1154113"/>
                <a:gd name="connsiteY41" fmla="*/ 642938 h 822325"/>
                <a:gd name="connsiteX42" fmla="*/ 246063 w 1154113"/>
                <a:gd name="connsiteY42" fmla="*/ 631372 h 822325"/>
                <a:gd name="connsiteX43" fmla="*/ 246063 w 1154113"/>
                <a:gd name="connsiteY43" fmla="*/ 577397 h 822325"/>
                <a:gd name="connsiteX44" fmla="*/ 261182 w 1154113"/>
                <a:gd name="connsiteY44" fmla="*/ 561975 h 822325"/>
                <a:gd name="connsiteX45" fmla="*/ 820964 w 1154113"/>
                <a:gd name="connsiteY45" fmla="*/ 444500 h 822325"/>
                <a:gd name="connsiteX46" fmla="*/ 873881 w 1154113"/>
                <a:gd name="connsiteY46" fmla="*/ 444500 h 822325"/>
                <a:gd name="connsiteX47" fmla="*/ 889000 w 1154113"/>
                <a:gd name="connsiteY47" fmla="*/ 459619 h 822325"/>
                <a:gd name="connsiteX48" fmla="*/ 889000 w 1154113"/>
                <a:gd name="connsiteY48" fmla="*/ 508756 h 822325"/>
                <a:gd name="connsiteX49" fmla="*/ 873881 w 1154113"/>
                <a:gd name="connsiteY49" fmla="*/ 523875 h 822325"/>
                <a:gd name="connsiteX50" fmla="*/ 820964 w 1154113"/>
                <a:gd name="connsiteY50" fmla="*/ 523875 h 822325"/>
                <a:gd name="connsiteX51" fmla="*/ 809625 w 1154113"/>
                <a:gd name="connsiteY51" fmla="*/ 508756 h 822325"/>
                <a:gd name="connsiteX52" fmla="*/ 809625 w 1154113"/>
                <a:gd name="connsiteY52" fmla="*/ 459619 h 822325"/>
                <a:gd name="connsiteX53" fmla="*/ 820964 w 1154113"/>
                <a:gd name="connsiteY53" fmla="*/ 444500 h 822325"/>
                <a:gd name="connsiteX54" fmla="*/ 704094 w 1154113"/>
                <a:gd name="connsiteY54" fmla="*/ 444500 h 822325"/>
                <a:gd name="connsiteX55" fmla="*/ 757011 w 1154113"/>
                <a:gd name="connsiteY55" fmla="*/ 444500 h 822325"/>
                <a:gd name="connsiteX56" fmla="*/ 768350 w 1154113"/>
                <a:gd name="connsiteY56" fmla="*/ 459619 h 822325"/>
                <a:gd name="connsiteX57" fmla="*/ 768350 w 1154113"/>
                <a:gd name="connsiteY57" fmla="*/ 508756 h 822325"/>
                <a:gd name="connsiteX58" fmla="*/ 757011 w 1154113"/>
                <a:gd name="connsiteY58" fmla="*/ 523875 h 822325"/>
                <a:gd name="connsiteX59" fmla="*/ 704094 w 1154113"/>
                <a:gd name="connsiteY59" fmla="*/ 523875 h 822325"/>
                <a:gd name="connsiteX60" fmla="*/ 688975 w 1154113"/>
                <a:gd name="connsiteY60" fmla="*/ 508756 h 822325"/>
                <a:gd name="connsiteX61" fmla="*/ 688975 w 1154113"/>
                <a:gd name="connsiteY61" fmla="*/ 459619 h 822325"/>
                <a:gd name="connsiteX62" fmla="*/ 704094 w 1154113"/>
                <a:gd name="connsiteY62" fmla="*/ 444500 h 822325"/>
                <a:gd name="connsiteX63" fmla="*/ 582839 w 1154113"/>
                <a:gd name="connsiteY63" fmla="*/ 444500 h 822325"/>
                <a:gd name="connsiteX64" fmla="*/ 635756 w 1154113"/>
                <a:gd name="connsiteY64" fmla="*/ 444500 h 822325"/>
                <a:gd name="connsiteX65" fmla="*/ 650875 w 1154113"/>
                <a:gd name="connsiteY65" fmla="*/ 459619 h 822325"/>
                <a:gd name="connsiteX66" fmla="*/ 650875 w 1154113"/>
                <a:gd name="connsiteY66" fmla="*/ 508756 h 822325"/>
                <a:gd name="connsiteX67" fmla="*/ 635756 w 1154113"/>
                <a:gd name="connsiteY67" fmla="*/ 523875 h 822325"/>
                <a:gd name="connsiteX68" fmla="*/ 582839 w 1154113"/>
                <a:gd name="connsiteY68" fmla="*/ 523875 h 822325"/>
                <a:gd name="connsiteX69" fmla="*/ 571500 w 1154113"/>
                <a:gd name="connsiteY69" fmla="*/ 508756 h 822325"/>
                <a:gd name="connsiteX70" fmla="*/ 571500 w 1154113"/>
                <a:gd name="connsiteY70" fmla="*/ 459619 h 822325"/>
                <a:gd name="connsiteX71" fmla="*/ 582839 w 1154113"/>
                <a:gd name="connsiteY71" fmla="*/ 444500 h 822325"/>
                <a:gd name="connsiteX72" fmla="*/ 378052 w 1154113"/>
                <a:gd name="connsiteY72" fmla="*/ 444500 h 822325"/>
                <a:gd name="connsiteX73" fmla="*/ 430969 w 1154113"/>
                <a:gd name="connsiteY73" fmla="*/ 444500 h 822325"/>
                <a:gd name="connsiteX74" fmla="*/ 446088 w 1154113"/>
                <a:gd name="connsiteY74" fmla="*/ 459619 h 822325"/>
                <a:gd name="connsiteX75" fmla="*/ 446088 w 1154113"/>
                <a:gd name="connsiteY75" fmla="*/ 508756 h 822325"/>
                <a:gd name="connsiteX76" fmla="*/ 430969 w 1154113"/>
                <a:gd name="connsiteY76" fmla="*/ 523875 h 822325"/>
                <a:gd name="connsiteX77" fmla="*/ 378052 w 1154113"/>
                <a:gd name="connsiteY77" fmla="*/ 523875 h 822325"/>
                <a:gd name="connsiteX78" fmla="*/ 366713 w 1154113"/>
                <a:gd name="connsiteY78" fmla="*/ 508756 h 822325"/>
                <a:gd name="connsiteX79" fmla="*/ 366713 w 1154113"/>
                <a:gd name="connsiteY79" fmla="*/ 459619 h 822325"/>
                <a:gd name="connsiteX80" fmla="*/ 378052 w 1154113"/>
                <a:gd name="connsiteY80" fmla="*/ 444500 h 822325"/>
                <a:gd name="connsiteX81" fmla="*/ 261182 w 1154113"/>
                <a:gd name="connsiteY81" fmla="*/ 444500 h 822325"/>
                <a:gd name="connsiteX82" fmla="*/ 314099 w 1154113"/>
                <a:gd name="connsiteY82" fmla="*/ 444500 h 822325"/>
                <a:gd name="connsiteX83" fmla="*/ 321658 w 1154113"/>
                <a:gd name="connsiteY83" fmla="*/ 448280 h 822325"/>
                <a:gd name="connsiteX84" fmla="*/ 325438 w 1154113"/>
                <a:gd name="connsiteY84" fmla="*/ 459619 h 822325"/>
                <a:gd name="connsiteX85" fmla="*/ 325438 w 1154113"/>
                <a:gd name="connsiteY85" fmla="*/ 508756 h 822325"/>
                <a:gd name="connsiteX86" fmla="*/ 314099 w 1154113"/>
                <a:gd name="connsiteY86" fmla="*/ 523875 h 822325"/>
                <a:gd name="connsiteX87" fmla="*/ 261182 w 1154113"/>
                <a:gd name="connsiteY87" fmla="*/ 523875 h 822325"/>
                <a:gd name="connsiteX88" fmla="*/ 246063 w 1154113"/>
                <a:gd name="connsiteY88" fmla="*/ 508756 h 822325"/>
                <a:gd name="connsiteX89" fmla="*/ 246063 w 1154113"/>
                <a:gd name="connsiteY89" fmla="*/ 459619 h 822325"/>
                <a:gd name="connsiteX90" fmla="*/ 261182 w 1154113"/>
                <a:gd name="connsiteY90" fmla="*/ 444500 h 822325"/>
                <a:gd name="connsiteX91" fmla="*/ 820964 w 1154113"/>
                <a:gd name="connsiteY91" fmla="*/ 322262 h 822325"/>
                <a:gd name="connsiteX92" fmla="*/ 873881 w 1154113"/>
                <a:gd name="connsiteY92" fmla="*/ 322262 h 822325"/>
                <a:gd name="connsiteX93" fmla="*/ 889000 w 1154113"/>
                <a:gd name="connsiteY93" fmla="*/ 337683 h 822325"/>
                <a:gd name="connsiteX94" fmla="*/ 889000 w 1154113"/>
                <a:gd name="connsiteY94" fmla="*/ 391659 h 822325"/>
                <a:gd name="connsiteX95" fmla="*/ 873881 w 1154113"/>
                <a:gd name="connsiteY95" fmla="*/ 403225 h 822325"/>
                <a:gd name="connsiteX96" fmla="*/ 820964 w 1154113"/>
                <a:gd name="connsiteY96" fmla="*/ 403225 h 822325"/>
                <a:gd name="connsiteX97" fmla="*/ 809625 w 1154113"/>
                <a:gd name="connsiteY97" fmla="*/ 391659 h 822325"/>
                <a:gd name="connsiteX98" fmla="*/ 809625 w 1154113"/>
                <a:gd name="connsiteY98" fmla="*/ 337683 h 822325"/>
                <a:gd name="connsiteX99" fmla="*/ 820964 w 1154113"/>
                <a:gd name="connsiteY99" fmla="*/ 322262 h 822325"/>
                <a:gd name="connsiteX100" fmla="*/ 704094 w 1154113"/>
                <a:gd name="connsiteY100" fmla="*/ 322262 h 822325"/>
                <a:gd name="connsiteX101" fmla="*/ 757011 w 1154113"/>
                <a:gd name="connsiteY101" fmla="*/ 322262 h 822325"/>
                <a:gd name="connsiteX102" fmla="*/ 768350 w 1154113"/>
                <a:gd name="connsiteY102" fmla="*/ 337683 h 822325"/>
                <a:gd name="connsiteX103" fmla="*/ 768350 w 1154113"/>
                <a:gd name="connsiteY103" fmla="*/ 391659 h 822325"/>
                <a:gd name="connsiteX104" fmla="*/ 757011 w 1154113"/>
                <a:gd name="connsiteY104" fmla="*/ 403225 h 822325"/>
                <a:gd name="connsiteX105" fmla="*/ 704094 w 1154113"/>
                <a:gd name="connsiteY105" fmla="*/ 403225 h 822325"/>
                <a:gd name="connsiteX106" fmla="*/ 688975 w 1154113"/>
                <a:gd name="connsiteY106" fmla="*/ 391659 h 822325"/>
                <a:gd name="connsiteX107" fmla="*/ 688975 w 1154113"/>
                <a:gd name="connsiteY107" fmla="*/ 337683 h 822325"/>
                <a:gd name="connsiteX108" fmla="*/ 704094 w 1154113"/>
                <a:gd name="connsiteY108" fmla="*/ 322262 h 822325"/>
                <a:gd name="connsiteX109" fmla="*/ 582839 w 1154113"/>
                <a:gd name="connsiteY109" fmla="*/ 322262 h 822325"/>
                <a:gd name="connsiteX110" fmla="*/ 635756 w 1154113"/>
                <a:gd name="connsiteY110" fmla="*/ 322262 h 822325"/>
                <a:gd name="connsiteX111" fmla="*/ 650875 w 1154113"/>
                <a:gd name="connsiteY111" fmla="*/ 337683 h 822325"/>
                <a:gd name="connsiteX112" fmla="*/ 650875 w 1154113"/>
                <a:gd name="connsiteY112" fmla="*/ 391659 h 822325"/>
                <a:gd name="connsiteX113" fmla="*/ 635756 w 1154113"/>
                <a:gd name="connsiteY113" fmla="*/ 403225 h 822325"/>
                <a:gd name="connsiteX114" fmla="*/ 582839 w 1154113"/>
                <a:gd name="connsiteY114" fmla="*/ 403225 h 822325"/>
                <a:gd name="connsiteX115" fmla="*/ 571500 w 1154113"/>
                <a:gd name="connsiteY115" fmla="*/ 391659 h 822325"/>
                <a:gd name="connsiteX116" fmla="*/ 571500 w 1154113"/>
                <a:gd name="connsiteY116" fmla="*/ 337683 h 822325"/>
                <a:gd name="connsiteX117" fmla="*/ 582839 w 1154113"/>
                <a:gd name="connsiteY117" fmla="*/ 322262 h 822325"/>
                <a:gd name="connsiteX118" fmla="*/ 378052 w 1154113"/>
                <a:gd name="connsiteY118" fmla="*/ 322262 h 822325"/>
                <a:gd name="connsiteX119" fmla="*/ 430969 w 1154113"/>
                <a:gd name="connsiteY119" fmla="*/ 322262 h 822325"/>
                <a:gd name="connsiteX120" fmla="*/ 446088 w 1154113"/>
                <a:gd name="connsiteY120" fmla="*/ 337683 h 822325"/>
                <a:gd name="connsiteX121" fmla="*/ 446088 w 1154113"/>
                <a:gd name="connsiteY121" fmla="*/ 391659 h 822325"/>
                <a:gd name="connsiteX122" fmla="*/ 430969 w 1154113"/>
                <a:gd name="connsiteY122" fmla="*/ 403225 h 822325"/>
                <a:gd name="connsiteX123" fmla="*/ 378052 w 1154113"/>
                <a:gd name="connsiteY123" fmla="*/ 403225 h 822325"/>
                <a:gd name="connsiteX124" fmla="*/ 366713 w 1154113"/>
                <a:gd name="connsiteY124" fmla="*/ 391659 h 822325"/>
                <a:gd name="connsiteX125" fmla="*/ 366713 w 1154113"/>
                <a:gd name="connsiteY125" fmla="*/ 337683 h 822325"/>
                <a:gd name="connsiteX126" fmla="*/ 378052 w 1154113"/>
                <a:gd name="connsiteY126" fmla="*/ 322262 h 822325"/>
                <a:gd name="connsiteX127" fmla="*/ 261182 w 1154113"/>
                <a:gd name="connsiteY127" fmla="*/ 322262 h 822325"/>
                <a:gd name="connsiteX128" fmla="*/ 314099 w 1154113"/>
                <a:gd name="connsiteY128" fmla="*/ 322262 h 822325"/>
                <a:gd name="connsiteX129" fmla="*/ 325438 w 1154113"/>
                <a:gd name="connsiteY129" fmla="*/ 337683 h 822325"/>
                <a:gd name="connsiteX130" fmla="*/ 325438 w 1154113"/>
                <a:gd name="connsiteY130" fmla="*/ 391659 h 822325"/>
                <a:gd name="connsiteX131" fmla="*/ 314099 w 1154113"/>
                <a:gd name="connsiteY131" fmla="*/ 403225 h 822325"/>
                <a:gd name="connsiteX132" fmla="*/ 261182 w 1154113"/>
                <a:gd name="connsiteY132" fmla="*/ 403225 h 822325"/>
                <a:gd name="connsiteX133" fmla="*/ 246063 w 1154113"/>
                <a:gd name="connsiteY133" fmla="*/ 391659 h 822325"/>
                <a:gd name="connsiteX134" fmla="*/ 246063 w 1154113"/>
                <a:gd name="connsiteY134" fmla="*/ 337683 h 822325"/>
                <a:gd name="connsiteX135" fmla="*/ 261182 w 1154113"/>
                <a:gd name="connsiteY135" fmla="*/ 322262 h 822325"/>
                <a:gd name="connsiteX136" fmla="*/ 514350 w 1154113"/>
                <a:gd name="connsiteY136" fmla="*/ 265112 h 822325"/>
                <a:gd name="connsiteX137" fmla="*/ 514350 w 1154113"/>
                <a:gd name="connsiteY137" fmla="*/ 790575 h 822325"/>
                <a:gd name="connsiteX138" fmla="*/ 946150 w 1154113"/>
                <a:gd name="connsiteY138" fmla="*/ 790575 h 822325"/>
                <a:gd name="connsiteX139" fmla="*/ 946150 w 1154113"/>
                <a:gd name="connsiteY139" fmla="*/ 265112 h 822325"/>
                <a:gd name="connsiteX140" fmla="*/ 378052 w 1154113"/>
                <a:gd name="connsiteY140" fmla="*/ 204787 h 822325"/>
                <a:gd name="connsiteX141" fmla="*/ 430969 w 1154113"/>
                <a:gd name="connsiteY141" fmla="*/ 204787 h 822325"/>
                <a:gd name="connsiteX142" fmla="*/ 446088 w 1154113"/>
                <a:gd name="connsiteY142" fmla="*/ 219906 h 822325"/>
                <a:gd name="connsiteX143" fmla="*/ 446088 w 1154113"/>
                <a:gd name="connsiteY143" fmla="*/ 269043 h 822325"/>
                <a:gd name="connsiteX144" fmla="*/ 430969 w 1154113"/>
                <a:gd name="connsiteY144" fmla="*/ 284162 h 822325"/>
                <a:gd name="connsiteX145" fmla="*/ 378052 w 1154113"/>
                <a:gd name="connsiteY145" fmla="*/ 284162 h 822325"/>
                <a:gd name="connsiteX146" fmla="*/ 366713 w 1154113"/>
                <a:gd name="connsiteY146" fmla="*/ 269043 h 822325"/>
                <a:gd name="connsiteX147" fmla="*/ 366713 w 1154113"/>
                <a:gd name="connsiteY147" fmla="*/ 219906 h 822325"/>
                <a:gd name="connsiteX148" fmla="*/ 378052 w 1154113"/>
                <a:gd name="connsiteY148" fmla="*/ 204787 h 822325"/>
                <a:gd name="connsiteX149" fmla="*/ 261182 w 1154113"/>
                <a:gd name="connsiteY149" fmla="*/ 204787 h 822325"/>
                <a:gd name="connsiteX150" fmla="*/ 314099 w 1154113"/>
                <a:gd name="connsiteY150" fmla="*/ 204787 h 822325"/>
                <a:gd name="connsiteX151" fmla="*/ 325438 w 1154113"/>
                <a:gd name="connsiteY151" fmla="*/ 219906 h 822325"/>
                <a:gd name="connsiteX152" fmla="*/ 325438 w 1154113"/>
                <a:gd name="connsiteY152" fmla="*/ 269043 h 822325"/>
                <a:gd name="connsiteX153" fmla="*/ 314099 w 1154113"/>
                <a:gd name="connsiteY153" fmla="*/ 284162 h 822325"/>
                <a:gd name="connsiteX154" fmla="*/ 261182 w 1154113"/>
                <a:gd name="connsiteY154" fmla="*/ 284162 h 822325"/>
                <a:gd name="connsiteX155" fmla="*/ 246063 w 1154113"/>
                <a:gd name="connsiteY155" fmla="*/ 269043 h 822325"/>
                <a:gd name="connsiteX156" fmla="*/ 246063 w 1154113"/>
                <a:gd name="connsiteY156" fmla="*/ 219906 h 822325"/>
                <a:gd name="connsiteX157" fmla="*/ 261182 w 1154113"/>
                <a:gd name="connsiteY157" fmla="*/ 204787 h 822325"/>
                <a:gd name="connsiteX158" fmla="*/ 378052 w 1154113"/>
                <a:gd name="connsiteY158" fmla="*/ 82550 h 822325"/>
                <a:gd name="connsiteX159" fmla="*/ 430969 w 1154113"/>
                <a:gd name="connsiteY159" fmla="*/ 82550 h 822325"/>
                <a:gd name="connsiteX160" fmla="*/ 446088 w 1154113"/>
                <a:gd name="connsiteY160" fmla="*/ 97971 h 822325"/>
                <a:gd name="connsiteX161" fmla="*/ 446088 w 1154113"/>
                <a:gd name="connsiteY161" fmla="*/ 151947 h 822325"/>
                <a:gd name="connsiteX162" fmla="*/ 430969 w 1154113"/>
                <a:gd name="connsiteY162" fmla="*/ 163513 h 822325"/>
                <a:gd name="connsiteX163" fmla="*/ 378052 w 1154113"/>
                <a:gd name="connsiteY163" fmla="*/ 163513 h 822325"/>
                <a:gd name="connsiteX164" fmla="*/ 366713 w 1154113"/>
                <a:gd name="connsiteY164" fmla="*/ 151947 h 822325"/>
                <a:gd name="connsiteX165" fmla="*/ 366713 w 1154113"/>
                <a:gd name="connsiteY165" fmla="*/ 97971 h 822325"/>
                <a:gd name="connsiteX166" fmla="*/ 378052 w 1154113"/>
                <a:gd name="connsiteY166" fmla="*/ 82550 h 822325"/>
                <a:gd name="connsiteX167" fmla="*/ 261182 w 1154113"/>
                <a:gd name="connsiteY167" fmla="*/ 82550 h 822325"/>
                <a:gd name="connsiteX168" fmla="*/ 314099 w 1154113"/>
                <a:gd name="connsiteY168" fmla="*/ 82550 h 822325"/>
                <a:gd name="connsiteX169" fmla="*/ 325438 w 1154113"/>
                <a:gd name="connsiteY169" fmla="*/ 97971 h 822325"/>
                <a:gd name="connsiteX170" fmla="*/ 325438 w 1154113"/>
                <a:gd name="connsiteY170" fmla="*/ 151947 h 822325"/>
                <a:gd name="connsiteX171" fmla="*/ 314099 w 1154113"/>
                <a:gd name="connsiteY171" fmla="*/ 163513 h 822325"/>
                <a:gd name="connsiteX172" fmla="*/ 261182 w 1154113"/>
                <a:gd name="connsiteY172" fmla="*/ 163513 h 822325"/>
                <a:gd name="connsiteX173" fmla="*/ 246063 w 1154113"/>
                <a:gd name="connsiteY173" fmla="*/ 151947 h 822325"/>
                <a:gd name="connsiteX174" fmla="*/ 246063 w 1154113"/>
                <a:gd name="connsiteY174" fmla="*/ 97971 h 822325"/>
                <a:gd name="connsiteX175" fmla="*/ 261182 w 1154113"/>
                <a:gd name="connsiteY175" fmla="*/ 82550 h 822325"/>
                <a:gd name="connsiteX176" fmla="*/ 207963 w 1154113"/>
                <a:gd name="connsiteY176" fmla="*/ 25400 h 822325"/>
                <a:gd name="connsiteX177" fmla="*/ 207963 w 1154113"/>
                <a:gd name="connsiteY177" fmla="*/ 790575 h 822325"/>
                <a:gd name="connsiteX178" fmla="*/ 484188 w 1154113"/>
                <a:gd name="connsiteY178" fmla="*/ 790575 h 822325"/>
                <a:gd name="connsiteX179" fmla="*/ 484188 w 1154113"/>
                <a:gd name="connsiteY179" fmla="*/ 25400 h 822325"/>
                <a:gd name="connsiteX180" fmla="*/ 192983 w 1154113"/>
                <a:gd name="connsiteY180" fmla="*/ 0 h 822325"/>
                <a:gd name="connsiteX181" fmla="*/ 499485 w 1154113"/>
                <a:gd name="connsiteY181" fmla="*/ 0 h 822325"/>
                <a:gd name="connsiteX182" fmla="*/ 514621 w 1154113"/>
                <a:gd name="connsiteY182" fmla="*/ 15228 h 822325"/>
                <a:gd name="connsiteX183" fmla="*/ 514621 w 1154113"/>
                <a:gd name="connsiteY183" fmla="*/ 239845 h 822325"/>
                <a:gd name="connsiteX184" fmla="*/ 957346 w 1154113"/>
                <a:gd name="connsiteY184" fmla="*/ 239845 h 822325"/>
                <a:gd name="connsiteX185" fmla="*/ 972482 w 1154113"/>
                <a:gd name="connsiteY185" fmla="*/ 255073 h 822325"/>
                <a:gd name="connsiteX186" fmla="*/ 972482 w 1154113"/>
                <a:gd name="connsiteY186" fmla="*/ 791869 h 822325"/>
                <a:gd name="connsiteX187" fmla="*/ 1138977 w 1154113"/>
                <a:gd name="connsiteY187" fmla="*/ 791869 h 822325"/>
                <a:gd name="connsiteX188" fmla="*/ 1154113 w 1154113"/>
                <a:gd name="connsiteY188" fmla="*/ 807097 h 822325"/>
                <a:gd name="connsiteX189" fmla="*/ 1138977 w 1154113"/>
                <a:gd name="connsiteY189" fmla="*/ 822325 h 822325"/>
                <a:gd name="connsiteX190" fmla="*/ 11352 w 1154113"/>
                <a:gd name="connsiteY190" fmla="*/ 822325 h 822325"/>
                <a:gd name="connsiteX191" fmla="*/ 0 w 1154113"/>
                <a:gd name="connsiteY191" fmla="*/ 807097 h 822325"/>
                <a:gd name="connsiteX192" fmla="*/ 11352 w 1154113"/>
                <a:gd name="connsiteY192" fmla="*/ 791869 h 822325"/>
                <a:gd name="connsiteX193" fmla="*/ 181631 w 1154113"/>
                <a:gd name="connsiteY193" fmla="*/ 791869 h 822325"/>
                <a:gd name="connsiteX194" fmla="*/ 181631 w 1154113"/>
                <a:gd name="connsiteY194" fmla="*/ 15228 h 822325"/>
                <a:gd name="connsiteX195" fmla="*/ 192983 w 1154113"/>
                <a:gd name="connsiteY195" fmla="*/ 0 h 82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1154113" h="822325">
                  <a:moveTo>
                    <a:pt x="820964" y="561975"/>
                  </a:moveTo>
                  <a:cubicBezTo>
                    <a:pt x="820964" y="561975"/>
                    <a:pt x="820964" y="561975"/>
                    <a:pt x="873881" y="561975"/>
                  </a:cubicBezTo>
                  <a:cubicBezTo>
                    <a:pt x="881441" y="561975"/>
                    <a:pt x="889000" y="569686"/>
                    <a:pt x="889000" y="577397"/>
                  </a:cubicBezTo>
                  <a:cubicBezTo>
                    <a:pt x="889000" y="577397"/>
                    <a:pt x="889000" y="577397"/>
                    <a:pt x="889000" y="631372"/>
                  </a:cubicBezTo>
                  <a:cubicBezTo>
                    <a:pt x="889000" y="639083"/>
                    <a:pt x="881441" y="642938"/>
                    <a:pt x="873881" y="642938"/>
                  </a:cubicBezTo>
                  <a:cubicBezTo>
                    <a:pt x="873881" y="642938"/>
                    <a:pt x="873881" y="642938"/>
                    <a:pt x="820964" y="642938"/>
                  </a:cubicBezTo>
                  <a:cubicBezTo>
                    <a:pt x="813405" y="642938"/>
                    <a:pt x="809625" y="639083"/>
                    <a:pt x="809625" y="631372"/>
                  </a:cubicBezTo>
                  <a:cubicBezTo>
                    <a:pt x="809625" y="631372"/>
                    <a:pt x="809625" y="631372"/>
                    <a:pt x="809625" y="577397"/>
                  </a:cubicBezTo>
                  <a:cubicBezTo>
                    <a:pt x="809625" y="569686"/>
                    <a:pt x="813405" y="561975"/>
                    <a:pt x="820964" y="561975"/>
                  </a:cubicBezTo>
                  <a:close/>
                  <a:moveTo>
                    <a:pt x="704094" y="561975"/>
                  </a:moveTo>
                  <a:cubicBezTo>
                    <a:pt x="704094" y="561975"/>
                    <a:pt x="704094" y="561975"/>
                    <a:pt x="757011" y="561975"/>
                  </a:cubicBezTo>
                  <a:cubicBezTo>
                    <a:pt x="764570" y="561975"/>
                    <a:pt x="768350" y="569686"/>
                    <a:pt x="768350" y="577397"/>
                  </a:cubicBezTo>
                  <a:cubicBezTo>
                    <a:pt x="768350" y="577397"/>
                    <a:pt x="768350" y="577397"/>
                    <a:pt x="768350" y="631372"/>
                  </a:cubicBezTo>
                  <a:cubicBezTo>
                    <a:pt x="768350" y="639083"/>
                    <a:pt x="764570" y="642938"/>
                    <a:pt x="757011" y="642938"/>
                  </a:cubicBezTo>
                  <a:cubicBezTo>
                    <a:pt x="757011" y="642938"/>
                    <a:pt x="757011" y="642938"/>
                    <a:pt x="704094" y="642938"/>
                  </a:cubicBezTo>
                  <a:cubicBezTo>
                    <a:pt x="696534" y="642938"/>
                    <a:pt x="688975" y="639083"/>
                    <a:pt x="688975" y="631372"/>
                  </a:cubicBezTo>
                  <a:cubicBezTo>
                    <a:pt x="688975" y="631372"/>
                    <a:pt x="688975" y="631372"/>
                    <a:pt x="688975" y="577397"/>
                  </a:cubicBezTo>
                  <a:cubicBezTo>
                    <a:pt x="688975" y="569686"/>
                    <a:pt x="696534" y="561975"/>
                    <a:pt x="704094" y="561975"/>
                  </a:cubicBezTo>
                  <a:close/>
                  <a:moveTo>
                    <a:pt x="582839" y="561975"/>
                  </a:moveTo>
                  <a:cubicBezTo>
                    <a:pt x="582839" y="561975"/>
                    <a:pt x="582839" y="561975"/>
                    <a:pt x="635756" y="561975"/>
                  </a:cubicBezTo>
                  <a:cubicBezTo>
                    <a:pt x="643315" y="561975"/>
                    <a:pt x="650875" y="569686"/>
                    <a:pt x="650875" y="577397"/>
                  </a:cubicBezTo>
                  <a:cubicBezTo>
                    <a:pt x="650875" y="577397"/>
                    <a:pt x="650875" y="577397"/>
                    <a:pt x="650875" y="631372"/>
                  </a:cubicBezTo>
                  <a:cubicBezTo>
                    <a:pt x="650875" y="639083"/>
                    <a:pt x="643315" y="642938"/>
                    <a:pt x="635756" y="642938"/>
                  </a:cubicBezTo>
                  <a:cubicBezTo>
                    <a:pt x="635756" y="642938"/>
                    <a:pt x="635756" y="642938"/>
                    <a:pt x="582839" y="642938"/>
                  </a:cubicBezTo>
                  <a:cubicBezTo>
                    <a:pt x="575280" y="642938"/>
                    <a:pt x="571500" y="639083"/>
                    <a:pt x="571500" y="631372"/>
                  </a:cubicBezTo>
                  <a:cubicBezTo>
                    <a:pt x="571500" y="631372"/>
                    <a:pt x="571500" y="631372"/>
                    <a:pt x="571500" y="577397"/>
                  </a:cubicBezTo>
                  <a:cubicBezTo>
                    <a:pt x="571500" y="569686"/>
                    <a:pt x="575280" y="561975"/>
                    <a:pt x="582839" y="561975"/>
                  </a:cubicBezTo>
                  <a:close/>
                  <a:moveTo>
                    <a:pt x="378052" y="561975"/>
                  </a:moveTo>
                  <a:cubicBezTo>
                    <a:pt x="378052" y="561975"/>
                    <a:pt x="378052" y="561975"/>
                    <a:pt x="430969" y="561975"/>
                  </a:cubicBezTo>
                  <a:cubicBezTo>
                    <a:pt x="438528" y="561975"/>
                    <a:pt x="446088" y="569686"/>
                    <a:pt x="446088" y="577397"/>
                  </a:cubicBezTo>
                  <a:cubicBezTo>
                    <a:pt x="446088" y="577397"/>
                    <a:pt x="446088" y="577397"/>
                    <a:pt x="446088" y="631372"/>
                  </a:cubicBezTo>
                  <a:cubicBezTo>
                    <a:pt x="446088" y="639083"/>
                    <a:pt x="438528" y="642938"/>
                    <a:pt x="430969" y="642938"/>
                  </a:cubicBezTo>
                  <a:cubicBezTo>
                    <a:pt x="430969" y="642938"/>
                    <a:pt x="430969" y="642938"/>
                    <a:pt x="378052" y="642938"/>
                  </a:cubicBezTo>
                  <a:cubicBezTo>
                    <a:pt x="374272" y="642938"/>
                    <a:pt x="366713" y="639083"/>
                    <a:pt x="366713" y="631372"/>
                  </a:cubicBezTo>
                  <a:cubicBezTo>
                    <a:pt x="366713" y="631372"/>
                    <a:pt x="366713" y="631372"/>
                    <a:pt x="366713" y="577397"/>
                  </a:cubicBezTo>
                  <a:cubicBezTo>
                    <a:pt x="366713" y="569686"/>
                    <a:pt x="374272" y="561975"/>
                    <a:pt x="378052" y="561975"/>
                  </a:cubicBezTo>
                  <a:close/>
                  <a:moveTo>
                    <a:pt x="261182" y="561975"/>
                  </a:moveTo>
                  <a:cubicBezTo>
                    <a:pt x="261182" y="561975"/>
                    <a:pt x="261182" y="561975"/>
                    <a:pt x="314099" y="561975"/>
                  </a:cubicBezTo>
                  <a:cubicBezTo>
                    <a:pt x="321658" y="561975"/>
                    <a:pt x="325438" y="569686"/>
                    <a:pt x="325438" y="577397"/>
                  </a:cubicBezTo>
                  <a:cubicBezTo>
                    <a:pt x="325438" y="577397"/>
                    <a:pt x="325438" y="577397"/>
                    <a:pt x="325438" y="631372"/>
                  </a:cubicBezTo>
                  <a:cubicBezTo>
                    <a:pt x="325438" y="639083"/>
                    <a:pt x="321658" y="642938"/>
                    <a:pt x="314099" y="642938"/>
                  </a:cubicBezTo>
                  <a:cubicBezTo>
                    <a:pt x="314099" y="642938"/>
                    <a:pt x="314099" y="642938"/>
                    <a:pt x="261182" y="642938"/>
                  </a:cubicBezTo>
                  <a:cubicBezTo>
                    <a:pt x="253622" y="642938"/>
                    <a:pt x="246063" y="639083"/>
                    <a:pt x="246063" y="631372"/>
                  </a:cubicBezTo>
                  <a:cubicBezTo>
                    <a:pt x="246063" y="631372"/>
                    <a:pt x="246063" y="631372"/>
                    <a:pt x="246063" y="577397"/>
                  </a:cubicBezTo>
                  <a:cubicBezTo>
                    <a:pt x="246063" y="569686"/>
                    <a:pt x="253622" y="561975"/>
                    <a:pt x="261182" y="561975"/>
                  </a:cubicBezTo>
                  <a:close/>
                  <a:moveTo>
                    <a:pt x="820964" y="444500"/>
                  </a:moveTo>
                  <a:cubicBezTo>
                    <a:pt x="820964" y="444500"/>
                    <a:pt x="820964" y="444500"/>
                    <a:pt x="873881" y="444500"/>
                  </a:cubicBezTo>
                  <a:cubicBezTo>
                    <a:pt x="881441" y="444500"/>
                    <a:pt x="889000" y="452060"/>
                    <a:pt x="889000" y="459619"/>
                  </a:cubicBezTo>
                  <a:cubicBezTo>
                    <a:pt x="889000" y="459619"/>
                    <a:pt x="889000" y="459619"/>
                    <a:pt x="889000" y="508756"/>
                  </a:cubicBezTo>
                  <a:cubicBezTo>
                    <a:pt x="889000" y="516316"/>
                    <a:pt x="881441" y="523875"/>
                    <a:pt x="873881" y="523875"/>
                  </a:cubicBezTo>
                  <a:cubicBezTo>
                    <a:pt x="873881" y="523875"/>
                    <a:pt x="873881" y="523875"/>
                    <a:pt x="820964" y="523875"/>
                  </a:cubicBezTo>
                  <a:cubicBezTo>
                    <a:pt x="813405" y="523875"/>
                    <a:pt x="809625" y="516316"/>
                    <a:pt x="809625" y="508756"/>
                  </a:cubicBezTo>
                  <a:cubicBezTo>
                    <a:pt x="809625" y="508756"/>
                    <a:pt x="809625" y="508756"/>
                    <a:pt x="809625" y="459619"/>
                  </a:cubicBezTo>
                  <a:cubicBezTo>
                    <a:pt x="809625" y="452060"/>
                    <a:pt x="813405" y="444500"/>
                    <a:pt x="820964" y="444500"/>
                  </a:cubicBezTo>
                  <a:close/>
                  <a:moveTo>
                    <a:pt x="704094" y="444500"/>
                  </a:moveTo>
                  <a:cubicBezTo>
                    <a:pt x="704094" y="444500"/>
                    <a:pt x="704094" y="444500"/>
                    <a:pt x="757011" y="444500"/>
                  </a:cubicBezTo>
                  <a:cubicBezTo>
                    <a:pt x="764570" y="444500"/>
                    <a:pt x="768350" y="452060"/>
                    <a:pt x="768350" y="459619"/>
                  </a:cubicBezTo>
                  <a:cubicBezTo>
                    <a:pt x="768350" y="459619"/>
                    <a:pt x="768350" y="459619"/>
                    <a:pt x="768350" y="508756"/>
                  </a:cubicBezTo>
                  <a:cubicBezTo>
                    <a:pt x="768350" y="516316"/>
                    <a:pt x="764570" y="523875"/>
                    <a:pt x="757011" y="523875"/>
                  </a:cubicBezTo>
                  <a:cubicBezTo>
                    <a:pt x="757011" y="523875"/>
                    <a:pt x="757011" y="523875"/>
                    <a:pt x="704094" y="523875"/>
                  </a:cubicBezTo>
                  <a:cubicBezTo>
                    <a:pt x="696534" y="523875"/>
                    <a:pt x="688975" y="516316"/>
                    <a:pt x="688975" y="508756"/>
                  </a:cubicBezTo>
                  <a:cubicBezTo>
                    <a:pt x="688975" y="508756"/>
                    <a:pt x="688975" y="508756"/>
                    <a:pt x="688975" y="459619"/>
                  </a:cubicBezTo>
                  <a:cubicBezTo>
                    <a:pt x="688975" y="452060"/>
                    <a:pt x="696534" y="444500"/>
                    <a:pt x="704094" y="444500"/>
                  </a:cubicBezTo>
                  <a:close/>
                  <a:moveTo>
                    <a:pt x="582839" y="444500"/>
                  </a:moveTo>
                  <a:cubicBezTo>
                    <a:pt x="582839" y="444500"/>
                    <a:pt x="582839" y="444500"/>
                    <a:pt x="635756" y="444500"/>
                  </a:cubicBezTo>
                  <a:cubicBezTo>
                    <a:pt x="643315" y="444500"/>
                    <a:pt x="650875" y="452060"/>
                    <a:pt x="650875" y="459619"/>
                  </a:cubicBezTo>
                  <a:cubicBezTo>
                    <a:pt x="650875" y="459619"/>
                    <a:pt x="650875" y="459619"/>
                    <a:pt x="650875" y="508756"/>
                  </a:cubicBezTo>
                  <a:cubicBezTo>
                    <a:pt x="650875" y="516316"/>
                    <a:pt x="643315" y="523875"/>
                    <a:pt x="635756" y="523875"/>
                  </a:cubicBezTo>
                  <a:cubicBezTo>
                    <a:pt x="635756" y="523875"/>
                    <a:pt x="635756" y="523875"/>
                    <a:pt x="582839" y="523875"/>
                  </a:cubicBezTo>
                  <a:cubicBezTo>
                    <a:pt x="575280" y="523875"/>
                    <a:pt x="571500" y="516316"/>
                    <a:pt x="571500" y="508756"/>
                  </a:cubicBezTo>
                  <a:cubicBezTo>
                    <a:pt x="571500" y="508756"/>
                    <a:pt x="571500" y="508756"/>
                    <a:pt x="571500" y="459619"/>
                  </a:cubicBezTo>
                  <a:cubicBezTo>
                    <a:pt x="571500" y="452060"/>
                    <a:pt x="575280" y="444500"/>
                    <a:pt x="582839" y="444500"/>
                  </a:cubicBezTo>
                  <a:close/>
                  <a:moveTo>
                    <a:pt x="378052" y="444500"/>
                  </a:moveTo>
                  <a:cubicBezTo>
                    <a:pt x="378052" y="444500"/>
                    <a:pt x="378052" y="444500"/>
                    <a:pt x="430969" y="444500"/>
                  </a:cubicBezTo>
                  <a:cubicBezTo>
                    <a:pt x="438528" y="444500"/>
                    <a:pt x="446088" y="452060"/>
                    <a:pt x="446088" y="459619"/>
                  </a:cubicBezTo>
                  <a:cubicBezTo>
                    <a:pt x="446088" y="459619"/>
                    <a:pt x="446088" y="459619"/>
                    <a:pt x="446088" y="508756"/>
                  </a:cubicBezTo>
                  <a:cubicBezTo>
                    <a:pt x="446088" y="516316"/>
                    <a:pt x="438528" y="523875"/>
                    <a:pt x="430969" y="523875"/>
                  </a:cubicBezTo>
                  <a:cubicBezTo>
                    <a:pt x="430969" y="523875"/>
                    <a:pt x="430969" y="523875"/>
                    <a:pt x="378052" y="523875"/>
                  </a:cubicBezTo>
                  <a:cubicBezTo>
                    <a:pt x="374272" y="523875"/>
                    <a:pt x="366713" y="516316"/>
                    <a:pt x="366713" y="508756"/>
                  </a:cubicBezTo>
                  <a:cubicBezTo>
                    <a:pt x="366713" y="508756"/>
                    <a:pt x="366713" y="508756"/>
                    <a:pt x="366713" y="459619"/>
                  </a:cubicBezTo>
                  <a:cubicBezTo>
                    <a:pt x="366713" y="452060"/>
                    <a:pt x="374272" y="444500"/>
                    <a:pt x="378052" y="444500"/>
                  </a:cubicBezTo>
                  <a:close/>
                  <a:moveTo>
                    <a:pt x="261182" y="444500"/>
                  </a:moveTo>
                  <a:cubicBezTo>
                    <a:pt x="261182" y="444500"/>
                    <a:pt x="261182" y="444500"/>
                    <a:pt x="314099" y="444500"/>
                  </a:cubicBezTo>
                  <a:cubicBezTo>
                    <a:pt x="317878" y="444500"/>
                    <a:pt x="321658" y="444500"/>
                    <a:pt x="321658" y="448280"/>
                  </a:cubicBezTo>
                  <a:cubicBezTo>
                    <a:pt x="325438" y="452060"/>
                    <a:pt x="325438" y="455839"/>
                    <a:pt x="325438" y="459619"/>
                  </a:cubicBezTo>
                  <a:cubicBezTo>
                    <a:pt x="325438" y="459619"/>
                    <a:pt x="325438" y="459619"/>
                    <a:pt x="325438" y="508756"/>
                  </a:cubicBezTo>
                  <a:cubicBezTo>
                    <a:pt x="325438" y="516316"/>
                    <a:pt x="321658" y="523875"/>
                    <a:pt x="314099" y="523875"/>
                  </a:cubicBezTo>
                  <a:cubicBezTo>
                    <a:pt x="314099" y="523875"/>
                    <a:pt x="314099" y="523875"/>
                    <a:pt x="261182" y="523875"/>
                  </a:cubicBezTo>
                  <a:cubicBezTo>
                    <a:pt x="253622" y="523875"/>
                    <a:pt x="246063" y="516316"/>
                    <a:pt x="246063" y="508756"/>
                  </a:cubicBezTo>
                  <a:cubicBezTo>
                    <a:pt x="246063" y="508756"/>
                    <a:pt x="246063" y="508756"/>
                    <a:pt x="246063" y="459619"/>
                  </a:cubicBezTo>
                  <a:cubicBezTo>
                    <a:pt x="246063" y="452060"/>
                    <a:pt x="253622" y="444500"/>
                    <a:pt x="261182" y="444500"/>
                  </a:cubicBezTo>
                  <a:close/>
                  <a:moveTo>
                    <a:pt x="820964" y="322262"/>
                  </a:moveTo>
                  <a:cubicBezTo>
                    <a:pt x="820964" y="322262"/>
                    <a:pt x="820964" y="322262"/>
                    <a:pt x="873881" y="322262"/>
                  </a:cubicBezTo>
                  <a:cubicBezTo>
                    <a:pt x="881441" y="322262"/>
                    <a:pt x="889000" y="329973"/>
                    <a:pt x="889000" y="337683"/>
                  </a:cubicBezTo>
                  <a:cubicBezTo>
                    <a:pt x="889000" y="337683"/>
                    <a:pt x="889000" y="337683"/>
                    <a:pt x="889000" y="391659"/>
                  </a:cubicBezTo>
                  <a:cubicBezTo>
                    <a:pt x="889000" y="399370"/>
                    <a:pt x="881441" y="403225"/>
                    <a:pt x="873881" y="403225"/>
                  </a:cubicBezTo>
                  <a:cubicBezTo>
                    <a:pt x="873881" y="403225"/>
                    <a:pt x="873881" y="403225"/>
                    <a:pt x="820964" y="403225"/>
                  </a:cubicBezTo>
                  <a:cubicBezTo>
                    <a:pt x="813405" y="403225"/>
                    <a:pt x="809625" y="399370"/>
                    <a:pt x="809625" y="391659"/>
                  </a:cubicBezTo>
                  <a:cubicBezTo>
                    <a:pt x="809625" y="391659"/>
                    <a:pt x="809625" y="391659"/>
                    <a:pt x="809625" y="337683"/>
                  </a:cubicBezTo>
                  <a:cubicBezTo>
                    <a:pt x="809625" y="329973"/>
                    <a:pt x="813405" y="322262"/>
                    <a:pt x="820964" y="322262"/>
                  </a:cubicBezTo>
                  <a:close/>
                  <a:moveTo>
                    <a:pt x="704094" y="322262"/>
                  </a:moveTo>
                  <a:cubicBezTo>
                    <a:pt x="704094" y="322262"/>
                    <a:pt x="704094" y="322262"/>
                    <a:pt x="757011" y="322262"/>
                  </a:cubicBezTo>
                  <a:cubicBezTo>
                    <a:pt x="764570" y="322262"/>
                    <a:pt x="768350" y="329973"/>
                    <a:pt x="768350" y="337683"/>
                  </a:cubicBezTo>
                  <a:cubicBezTo>
                    <a:pt x="768350" y="337683"/>
                    <a:pt x="768350" y="337683"/>
                    <a:pt x="768350" y="391659"/>
                  </a:cubicBezTo>
                  <a:cubicBezTo>
                    <a:pt x="768350" y="399370"/>
                    <a:pt x="764570" y="403225"/>
                    <a:pt x="757011" y="403225"/>
                  </a:cubicBezTo>
                  <a:cubicBezTo>
                    <a:pt x="757011" y="403225"/>
                    <a:pt x="757011" y="403225"/>
                    <a:pt x="704094" y="403225"/>
                  </a:cubicBezTo>
                  <a:cubicBezTo>
                    <a:pt x="696534" y="403225"/>
                    <a:pt x="688975" y="399370"/>
                    <a:pt x="688975" y="391659"/>
                  </a:cubicBezTo>
                  <a:cubicBezTo>
                    <a:pt x="688975" y="391659"/>
                    <a:pt x="688975" y="391659"/>
                    <a:pt x="688975" y="337683"/>
                  </a:cubicBezTo>
                  <a:cubicBezTo>
                    <a:pt x="688975" y="329973"/>
                    <a:pt x="696534" y="322262"/>
                    <a:pt x="704094" y="322262"/>
                  </a:cubicBezTo>
                  <a:close/>
                  <a:moveTo>
                    <a:pt x="582839" y="322262"/>
                  </a:moveTo>
                  <a:cubicBezTo>
                    <a:pt x="582839" y="322262"/>
                    <a:pt x="582839" y="322262"/>
                    <a:pt x="635756" y="322262"/>
                  </a:cubicBezTo>
                  <a:cubicBezTo>
                    <a:pt x="643315" y="322262"/>
                    <a:pt x="650875" y="329973"/>
                    <a:pt x="650875" y="337683"/>
                  </a:cubicBezTo>
                  <a:cubicBezTo>
                    <a:pt x="650875" y="337683"/>
                    <a:pt x="650875" y="337683"/>
                    <a:pt x="650875" y="391659"/>
                  </a:cubicBezTo>
                  <a:cubicBezTo>
                    <a:pt x="650875" y="399370"/>
                    <a:pt x="643315" y="403225"/>
                    <a:pt x="635756" y="403225"/>
                  </a:cubicBezTo>
                  <a:cubicBezTo>
                    <a:pt x="635756" y="403225"/>
                    <a:pt x="635756" y="403225"/>
                    <a:pt x="582839" y="403225"/>
                  </a:cubicBezTo>
                  <a:cubicBezTo>
                    <a:pt x="575280" y="403225"/>
                    <a:pt x="571500" y="399370"/>
                    <a:pt x="571500" y="391659"/>
                  </a:cubicBezTo>
                  <a:cubicBezTo>
                    <a:pt x="571500" y="391659"/>
                    <a:pt x="571500" y="391659"/>
                    <a:pt x="571500" y="337683"/>
                  </a:cubicBezTo>
                  <a:cubicBezTo>
                    <a:pt x="571500" y="329973"/>
                    <a:pt x="575280" y="322262"/>
                    <a:pt x="582839" y="322262"/>
                  </a:cubicBezTo>
                  <a:close/>
                  <a:moveTo>
                    <a:pt x="378052" y="322262"/>
                  </a:moveTo>
                  <a:cubicBezTo>
                    <a:pt x="378052" y="322262"/>
                    <a:pt x="378052" y="322262"/>
                    <a:pt x="430969" y="322262"/>
                  </a:cubicBezTo>
                  <a:cubicBezTo>
                    <a:pt x="438528" y="322262"/>
                    <a:pt x="446088" y="329973"/>
                    <a:pt x="446088" y="337683"/>
                  </a:cubicBezTo>
                  <a:cubicBezTo>
                    <a:pt x="446088" y="337683"/>
                    <a:pt x="446088" y="337683"/>
                    <a:pt x="446088" y="391659"/>
                  </a:cubicBezTo>
                  <a:cubicBezTo>
                    <a:pt x="446088" y="399370"/>
                    <a:pt x="438528" y="403225"/>
                    <a:pt x="430969" y="403225"/>
                  </a:cubicBezTo>
                  <a:cubicBezTo>
                    <a:pt x="430969" y="403225"/>
                    <a:pt x="430969" y="403225"/>
                    <a:pt x="378052" y="403225"/>
                  </a:cubicBezTo>
                  <a:cubicBezTo>
                    <a:pt x="374272" y="403225"/>
                    <a:pt x="366713" y="399370"/>
                    <a:pt x="366713" y="391659"/>
                  </a:cubicBezTo>
                  <a:cubicBezTo>
                    <a:pt x="366713" y="391659"/>
                    <a:pt x="366713" y="391659"/>
                    <a:pt x="366713" y="337683"/>
                  </a:cubicBezTo>
                  <a:cubicBezTo>
                    <a:pt x="366713" y="329973"/>
                    <a:pt x="374272" y="322262"/>
                    <a:pt x="378052" y="322262"/>
                  </a:cubicBezTo>
                  <a:close/>
                  <a:moveTo>
                    <a:pt x="261182" y="322262"/>
                  </a:moveTo>
                  <a:cubicBezTo>
                    <a:pt x="261182" y="322262"/>
                    <a:pt x="261182" y="322262"/>
                    <a:pt x="314099" y="322262"/>
                  </a:cubicBezTo>
                  <a:cubicBezTo>
                    <a:pt x="321658" y="322262"/>
                    <a:pt x="325438" y="329973"/>
                    <a:pt x="325438" y="337683"/>
                  </a:cubicBezTo>
                  <a:cubicBezTo>
                    <a:pt x="325438" y="337683"/>
                    <a:pt x="325438" y="337683"/>
                    <a:pt x="325438" y="391659"/>
                  </a:cubicBezTo>
                  <a:cubicBezTo>
                    <a:pt x="325438" y="399370"/>
                    <a:pt x="321658" y="403225"/>
                    <a:pt x="314099" y="403225"/>
                  </a:cubicBezTo>
                  <a:cubicBezTo>
                    <a:pt x="314099" y="403225"/>
                    <a:pt x="314099" y="403225"/>
                    <a:pt x="261182" y="403225"/>
                  </a:cubicBezTo>
                  <a:cubicBezTo>
                    <a:pt x="253622" y="403225"/>
                    <a:pt x="246063" y="399370"/>
                    <a:pt x="246063" y="391659"/>
                  </a:cubicBezTo>
                  <a:cubicBezTo>
                    <a:pt x="246063" y="391659"/>
                    <a:pt x="246063" y="391659"/>
                    <a:pt x="246063" y="337683"/>
                  </a:cubicBezTo>
                  <a:cubicBezTo>
                    <a:pt x="246063" y="329973"/>
                    <a:pt x="253622" y="322262"/>
                    <a:pt x="261182" y="322262"/>
                  </a:cubicBezTo>
                  <a:close/>
                  <a:moveTo>
                    <a:pt x="514350" y="265112"/>
                  </a:moveTo>
                  <a:lnTo>
                    <a:pt x="514350" y="790575"/>
                  </a:lnTo>
                  <a:lnTo>
                    <a:pt x="946150" y="790575"/>
                  </a:lnTo>
                  <a:lnTo>
                    <a:pt x="946150" y="265112"/>
                  </a:lnTo>
                  <a:close/>
                  <a:moveTo>
                    <a:pt x="378052" y="204787"/>
                  </a:moveTo>
                  <a:cubicBezTo>
                    <a:pt x="378052" y="204787"/>
                    <a:pt x="378052" y="204787"/>
                    <a:pt x="430969" y="204787"/>
                  </a:cubicBezTo>
                  <a:cubicBezTo>
                    <a:pt x="438528" y="204787"/>
                    <a:pt x="446088" y="212346"/>
                    <a:pt x="446088" y="219906"/>
                  </a:cubicBezTo>
                  <a:cubicBezTo>
                    <a:pt x="446088" y="219906"/>
                    <a:pt x="446088" y="219906"/>
                    <a:pt x="446088" y="269043"/>
                  </a:cubicBezTo>
                  <a:cubicBezTo>
                    <a:pt x="446088" y="276602"/>
                    <a:pt x="438528" y="284162"/>
                    <a:pt x="430969" y="284162"/>
                  </a:cubicBezTo>
                  <a:cubicBezTo>
                    <a:pt x="430969" y="284162"/>
                    <a:pt x="430969" y="284162"/>
                    <a:pt x="378052" y="284162"/>
                  </a:cubicBezTo>
                  <a:cubicBezTo>
                    <a:pt x="374272" y="284162"/>
                    <a:pt x="366713" y="276602"/>
                    <a:pt x="366713" y="269043"/>
                  </a:cubicBezTo>
                  <a:cubicBezTo>
                    <a:pt x="366713" y="269043"/>
                    <a:pt x="366713" y="269043"/>
                    <a:pt x="366713" y="219906"/>
                  </a:cubicBezTo>
                  <a:cubicBezTo>
                    <a:pt x="366713" y="212346"/>
                    <a:pt x="374272" y="204787"/>
                    <a:pt x="378052" y="204787"/>
                  </a:cubicBezTo>
                  <a:close/>
                  <a:moveTo>
                    <a:pt x="261182" y="204787"/>
                  </a:moveTo>
                  <a:cubicBezTo>
                    <a:pt x="261182" y="204787"/>
                    <a:pt x="261182" y="204787"/>
                    <a:pt x="314099" y="204787"/>
                  </a:cubicBezTo>
                  <a:cubicBezTo>
                    <a:pt x="321658" y="204787"/>
                    <a:pt x="325438" y="212346"/>
                    <a:pt x="325438" y="219906"/>
                  </a:cubicBezTo>
                  <a:cubicBezTo>
                    <a:pt x="325438" y="219906"/>
                    <a:pt x="325438" y="219906"/>
                    <a:pt x="325438" y="269043"/>
                  </a:cubicBezTo>
                  <a:cubicBezTo>
                    <a:pt x="325438" y="276602"/>
                    <a:pt x="321658" y="284162"/>
                    <a:pt x="314099" y="284162"/>
                  </a:cubicBezTo>
                  <a:cubicBezTo>
                    <a:pt x="314099" y="284162"/>
                    <a:pt x="314099" y="284162"/>
                    <a:pt x="261182" y="284162"/>
                  </a:cubicBezTo>
                  <a:cubicBezTo>
                    <a:pt x="253622" y="284162"/>
                    <a:pt x="246063" y="276602"/>
                    <a:pt x="246063" y="269043"/>
                  </a:cubicBezTo>
                  <a:cubicBezTo>
                    <a:pt x="246063" y="269043"/>
                    <a:pt x="246063" y="269043"/>
                    <a:pt x="246063" y="219906"/>
                  </a:cubicBezTo>
                  <a:cubicBezTo>
                    <a:pt x="246063" y="212346"/>
                    <a:pt x="253622" y="204787"/>
                    <a:pt x="261182" y="204787"/>
                  </a:cubicBezTo>
                  <a:close/>
                  <a:moveTo>
                    <a:pt x="378052" y="82550"/>
                  </a:moveTo>
                  <a:lnTo>
                    <a:pt x="430969" y="82550"/>
                  </a:lnTo>
                  <a:cubicBezTo>
                    <a:pt x="438528" y="82550"/>
                    <a:pt x="446088" y="90261"/>
                    <a:pt x="446088" y="97971"/>
                  </a:cubicBezTo>
                  <a:cubicBezTo>
                    <a:pt x="446088" y="151947"/>
                    <a:pt x="446088" y="151947"/>
                    <a:pt x="446088" y="151947"/>
                  </a:cubicBezTo>
                  <a:cubicBezTo>
                    <a:pt x="446088" y="159658"/>
                    <a:pt x="438528" y="163513"/>
                    <a:pt x="430969" y="163513"/>
                  </a:cubicBezTo>
                  <a:cubicBezTo>
                    <a:pt x="378052" y="163513"/>
                    <a:pt x="378052" y="163513"/>
                    <a:pt x="378052" y="163513"/>
                  </a:cubicBezTo>
                  <a:cubicBezTo>
                    <a:pt x="374272" y="163513"/>
                    <a:pt x="366713" y="159658"/>
                    <a:pt x="366713" y="151947"/>
                  </a:cubicBezTo>
                  <a:cubicBezTo>
                    <a:pt x="366713" y="97971"/>
                    <a:pt x="366713" y="97971"/>
                    <a:pt x="366713" y="97971"/>
                  </a:cubicBezTo>
                  <a:cubicBezTo>
                    <a:pt x="366713" y="90261"/>
                    <a:pt x="374272" y="82550"/>
                    <a:pt x="378052" y="82550"/>
                  </a:cubicBezTo>
                  <a:close/>
                  <a:moveTo>
                    <a:pt x="261182" y="82550"/>
                  </a:moveTo>
                  <a:cubicBezTo>
                    <a:pt x="261182" y="82550"/>
                    <a:pt x="261182" y="82550"/>
                    <a:pt x="314099" y="82550"/>
                  </a:cubicBezTo>
                  <a:cubicBezTo>
                    <a:pt x="321658" y="82550"/>
                    <a:pt x="325438" y="90261"/>
                    <a:pt x="325438" y="97971"/>
                  </a:cubicBezTo>
                  <a:cubicBezTo>
                    <a:pt x="325438" y="97971"/>
                    <a:pt x="325438" y="97971"/>
                    <a:pt x="325438" y="151947"/>
                  </a:cubicBezTo>
                  <a:cubicBezTo>
                    <a:pt x="325438" y="159658"/>
                    <a:pt x="321658" y="163513"/>
                    <a:pt x="314099" y="163513"/>
                  </a:cubicBezTo>
                  <a:cubicBezTo>
                    <a:pt x="314099" y="163513"/>
                    <a:pt x="314099" y="163513"/>
                    <a:pt x="261182" y="163513"/>
                  </a:cubicBezTo>
                  <a:cubicBezTo>
                    <a:pt x="253622" y="163513"/>
                    <a:pt x="246063" y="159658"/>
                    <a:pt x="246063" y="151947"/>
                  </a:cubicBezTo>
                  <a:cubicBezTo>
                    <a:pt x="246063" y="151947"/>
                    <a:pt x="246063" y="151947"/>
                    <a:pt x="246063" y="97971"/>
                  </a:cubicBezTo>
                  <a:cubicBezTo>
                    <a:pt x="246063" y="90261"/>
                    <a:pt x="253622" y="82550"/>
                    <a:pt x="261182" y="82550"/>
                  </a:cubicBezTo>
                  <a:close/>
                  <a:moveTo>
                    <a:pt x="207963" y="25400"/>
                  </a:moveTo>
                  <a:lnTo>
                    <a:pt x="207963" y="790575"/>
                  </a:lnTo>
                  <a:lnTo>
                    <a:pt x="484188" y="790575"/>
                  </a:lnTo>
                  <a:lnTo>
                    <a:pt x="484188" y="25400"/>
                  </a:lnTo>
                  <a:close/>
                  <a:moveTo>
                    <a:pt x="192983" y="0"/>
                  </a:moveTo>
                  <a:cubicBezTo>
                    <a:pt x="192983" y="0"/>
                    <a:pt x="192983" y="0"/>
                    <a:pt x="499485" y="0"/>
                  </a:cubicBezTo>
                  <a:cubicBezTo>
                    <a:pt x="507053" y="0"/>
                    <a:pt x="514621" y="7614"/>
                    <a:pt x="514621" y="15228"/>
                  </a:cubicBezTo>
                  <a:cubicBezTo>
                    <a:pt x="514621" y="15228"/>
                    <a:pt x="514621" y="15228"/>
                    <a:pt x="514621" y="239845"/>
                  </a:cubicBezTo>
                  <a:cubicBezTo>
                    <a:pt x="514621" y="239845"/>
                    <a:pt x="514621" y="239845"/>
                    <a:pt x="957346" y="239845"/>
                  </a:cubicBezTo>
                  <a:cubicBezTo>
                    <a:pt x="964914" y="239845"/>
                    <a:pt x="972482" y="247459"/>
                    <a:pt x="972482" y="255073"/>
                  </a:cubicBezTo>
                  <a:cubicBezTo>
                    <a:pt x="972482" y="255073"/>
                    <a:pt x="972482" y="255073"/>
                    <a:pt x="972482" y="791869"/>
                  </a:cubicBezTo>
                  <a:cubicBezTo>
                    <a:pt x="972482" y="791869"/>
                    <a:pt x="972482" y="791869"/>
                    <a:pt x="1138977" y="791869"/>
                  </a:cubicBezTo>
                  <a:cubicBezTo>
                    <a:pt x="1146545" y="791869"/>
                    <a:pt x="1154113" y="799483"/>
                    <a:pt x="1154113" y="807097"/>
                  </a:cubicBezTo>
                  <a:cubicBezTo>
                    <a:pt x="1154113" y="814711"/>
                    <a:pt x="1146545" y="822325"/>
                    <a:pt x="1138977" y="822325"/>
                  </a:cubicBezTo>
                  <a:lnTo>
                    <a:pt x="11352" y="822325"/>
                  </a:lnTo>
                  <a:cubicBezTo>
                    <a:pt x="3784" y="822325"/>
                    <a:pt x="0" y="814711"/>
                    <a:pt x="0" y="807097"/>
                  </a:cubicBezTo>
                  <a:cubicBezTo>
                    <a:pt x="0" y="799483"/>
                    <a:pt x="3784" y="791869"/>
                    <a:pt x="11352" y="791869"/>
                  </a:cubicBezTo>
                  <a:cubicBezTo>
                    <a:pt x="11352" y="791869"/>
                    <a:pt x="11352" y="791869"/>
                    <a:pt x="181631" y="791869"/>
                  </a:cubicBezTo>
                  <a:cubicBezTo>
                    <a:pt x="181631" y="791869"/>
                    <a:pt x="181631" y="791869"/>
                    <a:pt x="181631" y="15228"/>
                  </a:cubicBezTo>
                  <a:cubicBezTo>
                    <a:pt x="181631" y="7614"/>
                    <a:pt x="185415" y="0"/>
                    <a:pt x="192983" y="0"/>
                  </a:cubicBezTo>
                  <a:close/>
                </a:path>
              </a:pathLst>
            </a:custGeom>
            <a:solidFill>
              <a:schemeClr val="bg1"/>
            </a:solidFill>
            <a:ln>
              <a:noFill/>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t" anchorCtr="0" compatLnSpc="1">
              <a:prstTxWarp prst="textNoShape">
                <a:avLst/>
              </a:prstTxWarp>
              <a:noAutofit/>
            </a:bodyPr>
            <a:lstStyle/>
            <a:p>
              <a:endParaRPr lang="en-GB" sz="1600" dirty="0">
                <a:solidFill>
                  <a:srgbClr val="000000"/>
                </a:solidFill>
              </a:endParaRPr>
            </a:p>
          </p:txBody>
        </p:sp>
        <p:sp>
          <p:nvSpPr>
            <p:cNvPr id="21" name="TextBox 20"/>
            <p:cNvSpPr txBox="1"/>
            <p:nvPr/>
          </p:nvSpPr>
          <p:spPr>
            <a:xfrm>
              <a:off x="5673461" y="2154044"/>
              <a:ext cx="2006951" cy="538116"/>
            </a:xfrm>
            <a:prstGeom prst="rect">
              <a:avLst/>
            </a:prstGeom>
            <a:noFill/>
          </p:spPr>
          <p:txBody>
            <a:bodyPr wrap="square" rtlCol="0" anchor="ctr" anchorCtr="0">
              <a:spAutoFit/>
            </a:bodyPr>
            <a:lstStyle/>
            <a:p>
              <a:pPr algn="ctr">
                <a:lnSpc>
                  <a:spcPct val="89000"/>
                </a:lnSpc>
              </a:pPr>
              <a:r>
                <a:rPr lang="en-US" sz="1000" b="1" dirty="0" smtClean="0">
                  <a:solidFill>
                    <a:schemeClr val="tx2"/>
                  </a:solidFill>
                  <a:ea typeface="Open Sans" panose="020B0606030504020204" pitchFamily="34" charset="0"/>
                  <a:cs typeface="Open Sans" panose="020B0606030504020204" pitchFamily="34" charset="0"/>
                </a:rPr>
                <a:t>237</a:t>
              </a:r>
              <a:endParaRPr lang="en-US" sz="1000" b="1" dirty="0">
                <a:solidFill>
                  <a:srgbClr val="003755"/>
                </a:solidFill>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321131050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0" name="World - regions"/>
          <p:cNvGrpSpPr>
            <a:grpSpLocks noChangeAspect="1"/>
          </p:cNvGrpSpPr>
          <p:nvPr>
            <p:custDataLst>
              <p:tags r:id="rId1"/>
            </p:custDataLst>
          </p:nvPr>
        </p:nvGrpSpPr>
        <p:grpSpPr>
          <a:xfrm>
            <a:off x="560925" y="1225635"/>
            <a:ext cx="11074750" cy="5527480"/>
            <a:chOff x="3743501" y="2500313"/>
            <a:chExt cx="6344893" cy="3166778"/>
          </a:xfrm>
          <a:solidFill>
            <a:srgbClr val="C3E0EB"/>
          </a:solidFill>
        </p:grpSpPr>
        <p:sp>
          <p:nvSpPr>
            <p:cNvPr id="531" name="Freeform 5645"/>
            <p:cNvSpPr>
              <a:spLocks/>
            </p:cNvSpPr>
            <p:nvPr>
              <p:custDataLst>
                <p:tags r:id="rId9"/>
              </p:custDataLst>
            </p:nvPr>
          </p:nvSpPr>
          <p:spPr bwMode="gray">
            <a:xfrm>
              <a:off x="9536736" y="4412715"/>
              <a:ext cx="193905" cy="190468"/>
            </a:xfrm>
            <a:custGeom>
              <a:avLst/>
              <a:gdLst/>
              <a:ahLst/>
              <a:cxnLst>
                <a:cxn ang="0">
                  <a:pos x="2" y="0"/>
                </a:cxn>
                <a:cxn ang="0">
                  <a:pos x="41" y="15"/>
                </a:cxn>
                <a:cxn ang="0">
                  <a:pos x="71" y="33"/>
                </a:cxn>
                <a:cxn ang="0">
                  <a:pos x="75" y="52"/>
                </a:cxn>
                <a:cxn ang="0">
                  <a:pos x="94" y="60"/>
                </a:cxn>
                <a:cxn ang="0">
                  <a:pos x="103" y="58"/>
                </a:cxn>
                <a:cxn ang="0">
                  <a:pos x="109" y="65"/>
                </a:cxn>
                <a:cxn ang="0">
                  <a:pos x="109" y="73"/>
                </a:cxn>
                <a:cxn ang="0">
                  <a:pos x="96" y="76"/>
                </a:cxn>
                <a:cxn ang="0">
                  <a:pos x="98" y="84"/>
                </a:cxn>
                <a:cxn ang="0">
                  <a:pos x="113" y="97"/>
                </a:cxn>
                <a:cxn ang="0">
                  <a:pos x="116" y="118"/>
                </a:cxn>
                <a:cxn ang="0">
                  <a:pos x="128" y="116"/>
                </a:cxn>
                <a:cxn ang="0">
                  <a:pos x="124" y="123"/>
                </a:cxn>
                <a:cxn ang="0">
                  <a:pos x="139" y="127"/>
                </a:cxn>
                <a:cxn ang="0">
                  <a:pos x="135" y="135"/>
                </a:cxn>
                <a:cxn ang="0">
                  <a:pos x="150" y="138"/>
                </a:cxn>
                <a:cxn ang="0">
                  <a:pos x="146" y="146"/>
                </a:cxn>
                <a:cxn ang="0">
                  <a:pos x="137" y="148"/>
                </a:cxn>
                <a:cxn ang="0">
                  <a:pos x="135" y="142"/>
                </a:cxn>
                <a:cxn ang="0">
                  <a:pos x="100" y="135"/>
                </a:cxn>
                <a:cxn ang="0">
                  <a:pos x="77" y="97"/>
                </a:cxn>
                <a:cxn ang="0">
                  <a:pos x="56" y="90"/>
                </a:cxn>
                <a:cxn ang="0">
                  <a:pos x="47" y="90"/>
                </a:cxn>
                <a:cxn ang="0">
                  <a:pos x="30" y="105"/>
                </a:cxn>
                <a:cxn ang="0">
                  <a:pos x="32" y="112"/>
                </a:cxn>
                <a:cxn ang="0">
                  <a:pos x="19" y="121"/>
                </a:cxn>
                <a:cxn ang="0">
                  <a:pos x="0" y="120"/>
                </a:cxn>
                <a:cxn ang="0">
                  <a:pos x="2" y="0"/>
                </a:cxn>
                <a:cxn ang="0">
                  <a:pos x="2" y="0"/>
                </a:cxn>
              </a:cxnLst>
              <a:rect l="0" t="0" r="r" b="b"/>
              <a:pathLst>
                <a:path w="150" h="148">
                  <a:moveTo>
                    <a:pt x="2" y="0"/>
                  </a:moveTo>
                  <a:lnTo>
                    <a:pt x="41" y="15"/>
                  </a:lnTo>
                  <a:lnTo>
                    <a:pt x="71" y="33"/>
                  </a:lnTo>
                  <a:lnTo>
                    <a:pt x="75" y="52"/>
                  </a:lnTo>
                  <a:lnTo>
                    <a:pt x="94" y="60"/>
                  </a:lnTo>
                  <a:lnTo>
                    <a:pt x="103" y="58"/>
                  </a:lnTo>
                  <a:lnTo>
                    <a:pt x="109" y="65"/>
                  </a:lnTo>
                  <a:lnTo>
                    <a:pt x="109" y="73"/>
                  </a:lnTo>
                  <a:lnTo>
                    <a:pt x="96" y="76"/>
                  </a:lnTo>
                  <a:lnTo>
                    <a:pt x="98" y="84"/>
                  </a:lnTo>
                  <a:lnTo>
                    <a:pt x="113" y="97"/>
                  </a:lnTo>
                  <a:lnTo>
                    <a:pt x="116" y="118"/>
                  </a:lnTo>
                  <a:lnTo>
                    <a:pt x="128" y="116"/>
                  </a:lnTo>
                  <a:lnTo>
                    <a:pt x="124" y="123"/>
                  </a:lnTo>
                  <a:lnTo>
                    <a:pt x="139" y="127"/>
                  </a:lnTo>
                  <a:lnTo>
                    <a:pt x="135" y="135"/>
                  </a:lnTo>
                  <a:lnTo>
                    <a:pt x="150" y="138"/>
                  </a:lnTo>
                  <a:lnTo>
                    <a:pt x="146" y="146"/>
                  </a:lnTo>
                  <a:lnTo>
                    <a:pt x="137" y="148"/>
                  </a:lnTo>
                  <a:lnTo>
                    <a:pt x="135" y="142"/>
                  </a:lnTo>
                  <a:lnTo>
                    <a:pt x="100" y="135"/>
                  </a:lnTo>
                  <a:lnTo>
                    <a:pt x="77" y="97"/>
                  </a:lnTo>
                  <a:lnTo>
                    <a:pt x="56" y="90"/>
                  </a:lnTo>
                  <a:lnTo>
                    <a:pt x="47" y="90"/>
                  </a:lnTo>
                  <a:lnTo>
                    <a:pt x="30" y="105"/>
                  </a:lnTo>
                  <a:lnTo>
                    <a:pt x="32" y="112"/>
                  </a:lnTo>
                  <a:lnTo>
                    <a:pt x="19" y="121"/>
                  </a:lnTo>
                  <a:lnTo>
                    <a:pt x="0" y="120"/>
                  </a:lnTo>
                  <a:lnTo>
                    <a:pt x="2" y="0"/>
                  </a:lnTo>
                  <a:lnTo>
                    <a:pt x="2"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32" name="Freeform 5646"/>
            <p:cNvSpPr>
              <a:spLocks/>
            </p:cNvSpPr>
            <p:nvPr>
              <p:custDataLst>
                <p:tags r:id="rId10"/>
              </p:custDataLst>
            </p:nvPr>
          </p:nvSpPr>
          <p:spPr bwMode="gray">
            <a:xfrm>
              <a:off x="8499688" y="3655539"/>
              <a:ext cx="180978" cy="438849"/>
            </a:xfrm>
            <a:custGeom>
              <a:avLst/>
              <a:gdLst/>
              <a:ahLst/>
              <a:cxnLst>
                <a:cxn ang="0">
                  <a:pos x="136" y="300"/>
                </a:cxn>
                <a:cxn ang="0">
                  <a:pos x="121" y="259"/>
                </a:cxn>
                <a:cxn ang="0">
                  <a:pos x="108" y="245"/>
                </a:cxn>
                <a:cxn ang="0">
                  <a:pos x="116" y="221"/>
                </a:cxn>
                <a:cxn ang="0">
                  <a:pos x="91" y="184"/>
                </a:cxn>
                <a:cxn ang="0">
                  <a:pos x="93" y="163"/>
                </a:cxn>
                <a:cxn ang="0">
                  <a:pos x="127" y="137"/>
                </a:cxn>
                <a:cxn ang="0">
                  <a:pos x="140" y="118"/>
                </a:cxn>
                <a:cxn ang="0">
                  <a:pos x="125" y="122"/>
                </a:cxn>
                <a:cxn ang="0">
                  <a:pos x="108" y="109"/>
                </a:cxn>
                <a:cxn ang="0">
                  <a:pos x="110" y="96"/>
                </a:cxn>
                <a:cxn ang="0">
                  <a:pos x="101" y="88"/>
                </a:cxn>
                <a:cxn ang="0">
                  <a:pos x="95" y="75"/>
                </a:cxn>
                <a:cxn ang="0">
                  <a:pos x="78" y="81"/>
                </a:cxn>
                <a:cxn ang="0">
                  <a:pos x="86" y="26"/>
                </a:cxn>
                <a:cxn ang="0">
                  <a:pos x="73" y="4"/>
                </a:cxn>
                <a:cxn ang="0">
                  <a:pos x="60" y="0"/>
                </a:cxn>
                <a:cxn ang="0">
                  <a:pos x="56" y="17"/>
                </a:cxn>
                <a:cxn ang="0">
                  <a:pos x="43" y="17"/>
                </a:cxn>
                <a:cxn ang="0">
                  <a:pos x="31" y="30"/>
                </a:cxn>
                <a:cxn ang="0">
                  <a:pos x="22" y="77"/>
                </a:cxn>
                <a:cxn ang="0">
                  <a:pos x="9" y="81"/>
                </a:cxn>
                <a:cxn ang="0">
                  <a:pos x="7" y="109"/>
                </a:cxn>
                <a:cxn ang="0">
                  <a:pos x="3" y="114"/>
                </a:cxn>
                <a:cxn ang="0">
                  <a:pos x="0" y="135"/>
                </a:cxn>
                <a:cxn ang="0">
                  <a:pos x="16" y="152"/>
                </a:cxn>
                <a:cxn ang="0">
                  <a:pos x="20" y="152"/>
                </a:cxn>
                <a:cxn ang="0">
                  <a:pos x="30" y="172"/>
                </a:cxn>
                <a:cxn ang="0">
                  <a:pos x="35" y="172"/>
                </a:cxn>
                <a:cxn ang="0">
                  <a:pos x="45" y="202"/>
                </a:cxn>
                <a:cxn ang="0">
                  <a:pos x="41" y="223"/>
                </a:cxn>
                <a:cxn ang="0">
                  <a:pos x="61" y="229"/>
                </a:cxn>
                <a:cxn ang="0">
                  <a:pos x="82" y="206"/>
                </a:cxn>
                <a:cxn ang="0">
                  <a:pos x="93" y="217"/>
                </a:cxn>
                <a:cxn ang="0">
                  <a:pos x="119" y="287"/>
                </a:cxn>
                <a:cxn ang="0">
                  <a:pos x="118" y="298"/>
                </a:cxn>
                <a:cxn ang="0">
                  <a:pos x="123" y="317"/>
                </a:cxn>
                <a:cxn ang="0">
                  <a:pos x="118" y="341"/>
                </a:cxn>
                <a:cxn ang="0">
                  <a:pos x="136" y="300"/>
                </a:cxn>
                <a:cxn ang="0">
                  <a:pos x="136" y="300"/>
                </a:cxn>
              </a:cxnLst>
              <a:rect l="0" t="0" r="r" b="b"/>
              <a:pathLst>
                <a:path w="140" h="341">
                  <a:moveTo>
                    <a:pt x="136" y="300"/>
                  </a:moveTo>
                  <a:lnTo>
                    <a:pt x="121" y="259"/>
                  </a:lnTo>
                  <a:lnTo>
                    <a:pt x="108" y="245"/>
                  </a:lnTo>
                  <a:lnTo>
                    <a:pt x="116" y="221"/>
                  </a:lnTo>
                  <a:lnTo>
                    <a:pt x="91" y="184"/>
                  </a:lnTo>
                  <a:lnTo>
                    <a:pt x="93" y="163"/>
                  </a:lnTo>
                  <a:lnTo>
                    <a:pt x="127" y="137"/>
                  </a:lnTo>
                  <a:lnTo>
                    <a:pt x="140" y="118"/>
                  </a:lnTo>
                  <a:lnTo>
                    <a:pt x="125" y="122"/>
                  </a:lnTo>
                  <a:lnTo>
                    <a:pt x="108" y="109"/>
                  </a:lnTo>
                  <a:lnTo>
                    <a:pt x="110" y="96"/>
                  </a:lnTo>
                  <a:lnTo>
                    <a:pt x="101" y="88"/>
                  </a:lnTo>
                  <a:lnTo>
                    <a:pt x="95" y="75"/>
                  </a:lnTo>
                  <a:lnTo>
                    <a:pt x="78" y="81"/>
                  </a:lnTo>
                  <a:lnTo>
                    <a:pt x="86" y="26"/>
                  </a:lnTo>
                  <a:lnTo>
                    <a:pt x="73" y="4"/>
                  </a:lnTo>
                  <a:lnTo>
                    <a:pt x="60" y="0"/>
                  </a:lnTo>
                  <a:lnTo>
                    <a:pt x="56" y="17"/>
                  </a:lnTo>
                  <a:lnTo>
                    <a:pt x="43" y="17"/>
                  </a:lnTo>
                  <a:lnTo>
                    <a:pt x="31" y="30"/>
                  </a:lnTo>
                  <a:lnTo>
                    <a:pt x="22" y="77"/>
                  </a:lnTo>
                  <a:lnTo>
                    <a:pt x="9" y="81"/>
                  </a:lnTo>
                  <a:lnTo>
                    <a:pt x="7" y="109"/>
                  </a:lnTo>
                  <a:lnTo>
                    <a:pt x="3" y="114"/>
                  </a:lnTo>
                  <a:lnTo>
                    <a:pt x="0" y="135"/>
                  </a:lnTo>
                  <a:lnTo>
                    <a:pt x="16" y="152"/>
                  </a:lnTo>
                  <a:lnTo>
                    <a:pt x="20" y="152"/>
                  </a:lnTo>
                  <a:lnTo>
                    <a:pt x="30" y="172"/>
                  </a:lnTo>
                  <a:lnTo>
                    <a:pt x="35" y="172"/>
                  </a:lnTo>
                  <a:lnTo>
                    <a:pt x="45" y="202"/>
                  </a:lnTo>
                  <a:lnTo>
                    <a:pt x="41" y="223"/>
                  </a:lnTo>
                  <a:lnTo>
                    <a:pt x="61" y="229"/>
                  </a:lnTo>
                  <a:lnTo>
                    <a:pt x="82" y="206"/>
                  </a:lnTo>
                  <a:lnTo>
                    <a:pt x="93" y="217"/>
                  </a:lnTo>
                  <a:lnTo>
                    <a:pt x="119" y="287"/>
                  </a:lnTo>
                  <a:lnTo>
                    <a:pt x="118" y="298"/>
                  </a:lnTo>
                  <a:lnTo>
                    <a:pt x="123" y="317"/>
                  </a:lnTo>
                  <a:lnTo>
                    <a:pt x="118" y="341"/>
                  </a:lnTo>
                  <a:lnTo>
                    <a:pt x="136" y="300"/>
                  </a:lnTo>
                  <a:lnTo>
                    <a:pt x="136" y="30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33" name="Freeform 5647"/>
            <p:cNvSpPr>
              <a:spLocks/>
            </p:cNvSpPr>
            <p:nvPr>
              <p:custDataLst>
                <p:tags r:id="rId11"/>
              </p:custDataLst>
            </p:nvPr>
          </p:nvSpPr>
          <p:spPr bwMode="gray">
            <a:xfrm>
              <a:off x="8746456" y="3999606"/>
              <a:ext cx="108587" cy="101669"/>
            </a:xfrm>
            <a:custGeom>
              <a:avLst/>
              <a:gdLst/>
              <a:ahLst/>
              <a:cxnLst>
                <a:cxn ang="0">
                  <a:pos x="0" y="28"/>
                </a:cxn>
                <a:cxn ang="0">
                  <a:pos x="7" y="10"/>
                </a:cxn>
                <a:cxn ang="0">
                  <a:pos x="44" y="8"/>
                </a:cxn>
                <a:cxn ang="0">
                  <a:pos x="58" y="12"/>
                </a:cxn>
                <a:cxn ang="0">
                  <a:pos x="59" y="6"/>
                </a:cxn>
                <a:cxn ang="0">
                  <a:pos x="78" y="0"/>
                </a:cxn>
                <a:cxn ang="0">
                  <a:pos x="84" y="43"/>
                </a:cxn>
                <a:cxn ang="0">
                  <a:pos x="59" y="56"/>
                </a:cxn>
                <a:cxn ang="0">
                  <a:pos x="58" y="70"/>
                </a:cxn>
                <a:cxn ang="0">
                  <a:pos x="39" y="79"/>
                </a:cxn>
                <a:cxn ang="0">
                  <a:pos x="18" y="70"/>
                </a:cxn>
                <a:cxn ang="0">
                  <a:pos x="5" y="49"/>
                </a:cxn>
                <a:cxn ang="0">
                  <a:pos x="0" y="28"/>
                </a:cxn>
                <a:cxn ang="0">
                  <a:pos x="0" y="28"/>
                </a:cxn>
              </a:cxnLst>
              <a:rect l="0" t="0" r="r" b="b"/>
              <a:pathLst>
                <a:path w="84" h="79">
                  <a:moveTo>
                    <a:pt x="0" y="28"/>
                  </a:moveTo>
                  <a:lnTo>
                    <a:pt x="7" y="10"/>
                  </a:lnTo>
                  <a:lnTo>
                    <a:pt x="44" y="8"/>
                  </a:lnTo>
                  <a:lnTo>
                    <a:pt x="58" y="12"/>
                  </a:lnTo>
                  <a:lnTo>
                    <a:pt x="59" y="6"/>
                  </a:lnTo>
                  <a:lnTo>
                    <a:pt x="78" y="0"/>
                  </a:lnTo>
                  <a:lnTo>
                    <a:pt x="84" y="43"/>
                  </a:lnTo>
                  <a:lnTo>
                    <a:pt x="59" y="56"/>
                  </a:lnTo>
                  <a:lnTo>
                    <a:pt x="58" y="70"/>
                  </a:lnTo>
                  <a:lnTo>
                    <a:pt x="39" y="79"/>
                  </a:lnTo>
                  <a:lnTo>
                    <a:pt x="18" y="70"/>
                  </a:lnTo>
                  <a:lnTo>
                    <a:pt x="5" y="49"/>
                  </a:lnTo>
                  <a:lnTo>
                    <a:pt x="0" y="28"/>
                  </a:lnTo>
                  <a:lnTo>
                    <a:pt x="0" y="2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34" name="Freeform 5648"/>
            <p:cNvSpPr>
              <a:spLocks/>
            </p:cNvSpPr>
            <p:nvPr>
              <p:custDataLst>
                <p:tags r:id="rId12"/>
              </p:custDataLst>
            </p:nvPr>
          </p:nvSpPr>
          <p:spPr bwMode="gray">
            <a:xfrm>
              <a:off x="8390217" y="3722912"/>
              <a:ext cx="108587" cy="132555"/>
            </a:xfrm>
            <a:custGeom>
              <a:avLst/>
              <a:gdLst/>
              <a:ahLst/>
              <a:cxnLst>
                <a:cxn ang="0">
                  <a:pos x="11" y="39"/>
                </a:cxn>
                <a:cxn ang="0">
                  <a:pos x="0" y="30"/>
                </a:cxn>
                <a:cxn ang="0">
                  <a:pos x="9" y="17"/>
                </a:cxn>
                <a:cxn ang="0">
                  <a:pos x="2" y="15"/>
                </a:cxn>
                <a:cxn ang="0">
                  <a:pos x="2" y="5"/>
                </a:cxn>
                <a:cxn ang="0">
                  <a:pos x="6" y="0"/>
                </a:cxn>
                <a:cxn ang="0">
                  <a:pos x="11" y="5"/>
                </a:cxn>
                <a:cxn ang="0">
                  <a:pos x="13" y="0"/>
                </a:cxn>
                <a:cxn ang="0">
                  <a:pos x="23" y="4"/>
                </a:cxn>
                <a:cxn ang="0">
                  <a:pos x="34" y="20"/>
                </a:cxn>
                <a:cxn ang="0">
                  <a:pos x="69" y="24"/>
                </a:cxn>
                <a:cxn ang="0">
                  <a:pos x="52" y="43"/>
                </a:cxn>
                <a:cxn ang="0">
                  <a:pos x="54" y="50"/>
                </a:cxn>
                <a:cxn ang="0">
                  <a:pos x="66" y="58"/>
                </a:cxn>
                <a:cxn ang="0">
                  <a:pos x="69" y="49"/>
                </a:cxn>
                <a:cxn ang="0">
                  <a:pos x="73" y="52"/>
                </a:cxn>
                <a:cxn ang="0">
                  <a:pos x="84" y="82"/>
                </a:cxn>
                <a:cxn ang="0">
                  <a:pos x="81" y="103"/>
                </a:cxn>
                <a:cxn ang="0">
                  <a:pos x="62" y="67"/>
                </a:cxn>
                <a:cxn ang="0">
                  <a:pos x="45" y="84"/>
                </a:cxn>
                <a:cxn ang="0">
                  <a:pos x="24" y="88"/>
                </a:cxn>
                <a:cxn ang="0">
                  <a:pos x="11" y="39"/>
                </a:cxn>
                <a:cxn ang="0">
                  <a:pos x="11" y="39"/>
                </a:cxn>
              </a:cxnLst>
              <a:rect l="0" t="0" r="r" b="b"/>
              <a:pathLst>
                <a:path w="84" h="103">
                  <a:moveTo>
                    <a:pt x="11" y="39"/>
                  </a:moveTo>
                  <a:lnTo>
                    <a:pt x="0" y="30"/>
                  </a:lnTo>
                  <a:lnTo>
                    <a:pt x="9" y="17"/>
                  </a:lnTo>
                  <a:lnTo>
                    <a:pt x="2" y="15"/>
                  </a:lnTo>
                  <a:lnTo>
                    <a:pt x="2" y="5"/>
                  </a:lnTo>
                  <a:lnTo>
                    <a:pt x="6" y="0"/>
                  </a:lnTo>
                  <a:lnTo>
                    <a:pt x="11" y="5"/>
                  </a:lnTo>
                  <a:lnTo>
                    <a:pt x="13" y="0"/>
                  </a:lnTo>
                  <a:lnTo>
                    <a:pt x="23" y="4"/>
                  </a:lnTo>
                  <a:lnTo>
                    <a:pt x="34" y="20"/>
                  </a:lnTo>
                  <a:lnTo>
                    <a:pt x="69" y="24"/>
                  </a:lnTo>
                  <a:lnTo>
                    <a:pt x="52" y="43"/>
                  </a:lnTo>
                  <a:lnTo>
                    <a:pt x="54" y="50"/>
                  </a:lnTo>
                  <a:lnTo>
                    <a:pt x="66" y="58"/>
                  </a:lnTo>
                  <a:lnTo>
                    <a:pt x="69" y="49"/>
                  </a:lnTo>
                  <a:lnTo>
                    <a:pt x="73" y="52"/>
                  </a:lnTo>
                  <a:lnTo>
                    <a:pt x="84" y="82"/>
                  </a:lnTo>
                  <a:lnTo>
                    <a:pt x="81" y="103"/>
                  </a:lnTo>
                  <a:lnTo>
                    <a:pt x="62" y="67"/>
                  </a:lnTo>
                  <a:lnTo>
                    <a:pt x="45" y="84"/>
                  </a:lnTo>
                  <a:lnTo>
                    <a:pt x="24" y="88"/>
                  </a:lnTo>
                  <a:lnTo>
                    <a:pt x="11" y="39"/>
                  </a:lnTo>
                  <a:lnTo>
                    <a:pt x="11" y="3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35" name="Freeform 5649"/>
            <p:cNvSpPr>
              <a:spLocks/>
            </p:cNvSpPr>
            <p:nvPr>
              <p:custDataLst>
                <p:tags r:id="rId13"/>
              </p:custDataLst>
            </p:nvPr>
          </p:nvSpPr>
          <p:spPr bwMode="gray">
            <a:xfrm>
              <a:off x="7482194" y="3402462"/>
              <a:ext cx="421421" cy="346189"/>
            </a:xfrm>
            <a:custGeom>
              <a:avLst/>
              <a:gdLst/>
              <a:ahLst/>
              <a:cxnLst>
                <a:cxn ang="0">
                  <a:pos x="234" y="260"/>
                </a:cxn>
                <a:cxn ang="0">
                  <a:pos x="223" y="238"/>
                </a:cxn>
                <a:cxn ang="0">
                  <a:pos x="193" y="249"/>
                </a:cxn>
                <a:cxn ang="0">
                  <a:pos x="178" y="245"/>
                </a:cxn>
                <a:cxn ang="0">
                  <a:pos x="138" y="223"/>
                </a:cxn>
                <a:cxn ang="0">
                  <a:pos x="116" y="185"/>
                </a:cxn>
                <a:cxn ang="0">
                  <a:pos x="93" y="174"/>
                </a:cxn>
                <a:cxn ang="0">
                  <a:pos x="90" y="181"/>
                </a:cxn>
                <a:cxn ang="0">
                  <a:pos x="73" y="163"/>
                </a:cxn>
                <a:cxn ang="0">
                  <a:pos x="63" y="136"/>
                </a:cxn>
                <a:cxn ang="0">
                  <a:pos x="43" y="125"/>
                </a:cxn>
                <a:cxn ang="0">
                  <a:pos x="32" y="108"/>
                </a:cxn>
                <a:cxn ang="0">
                  <a:pos x="41" y="84"/>
                </a:cxn>
                <a:cxn ang="0">
                  <a:pos x="15" y="48"/>
                </a:cxn>
                <a:cxn ang="0">
                  <a:pos x="0" y="9"/>
                </a:cxn>
                <a:cxn ang="0">
                  <a:pos x="5" y="0"/>
                </a:cxn>
                <a:cxn ang="0">
                  <a:pos x="5" y="0"/>
                </a:cxn>
                <a:cxn ang="0">
                  <a:pos x="20" y="17"/>
                </a:cxn>
                <a:cxn ang="0">
                  <a:pos x="30" y="17"/>
                </a:cxn>
                <a:cxn ang="0">
                  <a:pos x="35" y="17"/>
                </a:cxn>
                <a:cxn ang="0">
                  <a:pos x="39" y="17"/>
                </a:cxn>
                <a:cxn ang="0">
                  <a:pos x="56" y="3"/>
                </a:cxn>
                <a:cxn ang="0">
                  <a:pos x="60" y="5"/>
                </a:cxn>
                <a:cxn ang="0">
                  <a:pos x="60" y="17"/>
                </a:cxn>
                <a:cxn ang="0">
                  <a:pos x="73" y="26"/>
                </a:cxn>
                <a:cxn ang="0">
                  <a:pos x="73" y="26"/>
                </a:cxn>
                <a:cxn ang="0">
                  <a:pos x="78" y="43"/>
                </a:cxn>
                <a:cxn ang="0">
                  <a:pos x="120" y="62"/>
                </a:cxn>
                <a:cxn ang="0">
                  <a:pos x="155" y="56"/>
                </a:cxn>
                <a:cxn ang="0">
                  <a:pos x="153" y="45"/>
                </a:cxn>
                <a:cxn ang="0">
                  <a:pos x="153" y="45"/>
                </a:cxn>
                <a:cxn ang="0">
                  <a:pos x="174" y="32"/>
                </a:cxn>
                <a:cxn ang="0">
                  <a:pos x="198" y="30"/>
                </a:cxn>
                <a:cxn ang="0">
                  <a:pos x="269" y="63"/>
                </a:cxn>
                <a:cxn ang="0">
                  <a:pos x="271" y="75"/>
                </a:cxn>
                <a:cxn ang="0">
                  <a:pos x="271" y="75"/>
                </a:cxn>
                <a:cxn ang="0">
                  <a:pos x="271" y="91"/>
                </a:cxn>
                <a:cxn ang="0">
                  <a:pos x="264" y="106"/>
                </a:cxn>
                <a:cxn ang="0">
                  <a:pos x="264" y="108"/>
                </a:cxn>
                <a:cxn ang="0">
                  <a:pos x="275" y="150"/>
                </a:cxn>
                <a:cxn ang="0">
                  <a:pos x="288" y="155"/>
                </a:cxn>
                <a:cxn ang="0">
                  <a:pos x="292" y="165"/>
                </a:cxn>
                <a:cxn ang="0">
                  <a:pos x="283" y="185"/>
                </a:cxn>
                <a:cxn ang="0">
                  <a:pos x="299" y="210"/>
                </a:cxn>
                <a:cxn ang="0">
                  <a:pos x="313" y="215"/>
                </a:cxn>
                <a:cxn ang="0">
                  <a:pos x="326" y="234"/>
                </a:cxn>
                <a:cxn ang="0">
                  <a:pos x="324" y="241"/>
                </a:cxn>
                <a:cxn ang="0">
                  <a:pos x="305" y="254"/>
                </a:cxn>
                <a:cxn ang="0">
                  <a:pos x="303" y="269"/>
                </a:cxn>
                <a:cxn ang="0">
                  <a:pos x="234" y="260"/>
                </a:cxn>
                <a:cxn ang="0">
                  <a:pos x="234" y="260"/>
                </a:cxn>
              </a:cxnLst>
              <a:rect l="0" t="0" r="r" b="b"/>
              <a:pathLst>
                <a:path w="326" h="269">
                  <a:moveTo>
                    <a:pt x="234" y="260"/>
                  </a:moveTo>
                  <a:lnTo>
                    <a:pt x="223" y="238"/>
                  </a:lnTo>
                  <a:lnTo>
                    <a:pt x="193" y="249"/>
                  </a:lnTo>
                  <a:lnTo>
                    <a:pt x="178" y="245"/>
                  </a:lnTo>
                  <a:lnTo>
                    <a:pt x="138" y="223"/>
                  </a:lnTo>
                  <a:lnTo>
                    <a:pt x="116" y="185"/>
                  </a:lnTo>
                  <a:lnTo>
                    <a:pt x="93" y="174"/>
                  </a:lnTo>
                  <a:lnTo>
                    <a:pt x="90" y="181"/>
                  </a:lnTo>
                  <a:lnTo>
                    <a:pt x="73" y="163"/>
                  </a:lnTo>
                  <a:lnTo>
                    <a:pt x="63" y="136"/>
                  </a:lnTo>
                  <a:lnTo>
                    <a:pt x="43" y="125"/>
                  </a:lnTo>
                  <a:lnTo>
                    <a:pt x="32" y="108"/>
                  </a:lnTo>
                  <a:lnTo>
                    <a:pt x="41" y="84"/>
                  </a:lnTo>
                  <a:lnTo>
                    <a:pt x="15" y="48"/>
                  </a:lnTo>
                  <a:lnTo>
                    <a:pt x="0" y="9"/>
                  </a:lnTo>
                  <a:lnTo>
                    <a:pt x="5" y="0"/>
                  </a:lnTo>
                  <a:lnTo>
                    <a:pt x="5" y="0"/>
                  </a:lnTo>
                  <a:lnTo>
                    <a:pt x="20" y="17"/>
                  </a:lnTo>
                  <a:lnTo>
                    <a:pt x="30" y="17"/>
                  </a:lnTo>
                  <a:lnTo>
                    <a:pt x="35" y="17"/>
                  </a:lnTo>
                  <a:lnTo>
                    <a:pt x="39" y="17"/>
                  </a:lnTo>
                  <a:lnTo>
                    <a:pt x="56" y="3"/>
                  </a:lnTo>
                  <a:lnTo>
                    <a:pt x="60" y="5"/>
                  </a:lnTo>
                  <a:lnTo>
                    <a:pt x="60" y="17"/>
                  </a:lnTo>
                  <a:lnTo>
                    <a:pt x="73" y="26"/>
                  </a:lnTo>
                  <a:lnTo>
                    <a:pt x="73" y="26"/>
                  </a:lnTo>
                  <a:lnTo>
                    <a:pt x="78" y="43"/>
                  </a:lnTo>
                  <a:lnTo>
                    <a:pt x="120" y="62"/>
                  </a:lnTo>
                  <a:lnTo>
                    <a:pt x="155" y="56"/>
                  </a:lnTo>
                  <a:lnTo>
                    <a:pt x="153" y="45"/>
                  </a:lnTo>
                  <a:lnTo>
                    <a:pt x="153" y="45"/>
                  </a:lnTo>
                  <a:lnTo>
                    <a:pt x="174" y="32"/>
                  </a:lnTo>
                  <a:lnTo>
                    <a:pt x="198" y="30"/>
                  </a:lnTo>
                  <a:lnTo>
                    <a:pt x="269" y="63"/>
                  </a:lnTo>
                  <a:lnTo>
                    <a:pt x="271" y="75"/>
                  </a:lnTo>
                  <a:lnTo>
                    <a:pt x="271" y="75"/>
                  </a:lnTo>
                  <a:lnTo>
                    <a:pt x="271" y="91"/>
                  </a:lnTo>
                  <a:lnTo>
                    <a:pt x="264" y="106"/>
                  </a:lnTo>
                  <a:lnTo>
                    <a:pt x="264" y="108"/>
                  </a:lnTo>
                  <a:lnTo>
                    <a:pt x="275" y="150"/>
                  </a:lnTo>
                  <a:lnTo>
                    <a:pt x="288" y="155"/>
                  </a:lnTo>
                  <a:lnTo>
                    <a:pt x="292" y="165"/>
                  </a:lnTo>
                  <a:lnTo>
                    <a:pt x="283" y="185"/>
                  </a:lnTo>
                  <a:lnTo>
                    <a:pt x="299" y="210"/>
                  </a:lnTo>
                  <a:lnTo>
                    <a:pt x="313" y="215"/>
                  </a:lnTo>
                  <a:lnTo>
                    <a:pt x="326" y="234"/>
                  </a:lnTo>
                  <a:lnTo>
                    <a:pt x="324" y="241"/>
                  </a:lnTo>
                  <a:lnTo>
                    <a:pt x="305" y="254"/>
                  </a:lnTo>
                  <a:lnTo>
                    <a:pt x="303" y="269"/>
                  </a:lnTo>
                  <a:lnTo>
                    <a:pt x="234" y="260"/>
                  </a:lnTo>
                  <a:lnTo>
                    <a:pt x="234" y="26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36" name="Freeform 5650"/>
            <p:cNvSpPr>
              <a:spLocks/>
            </p:cNvSpPr>
            <p:nvPr>
              <p:custDataLst>
                <p:tags r:id="rId14"/>
              </p:custDataLst>
            </p:nvPr>
          </p:nvSpPr>
          <p:spPr bwMode="gray">
            <a:xfrm>
              <a:off x="7823467" y="3435923"/>
              <a:ext cx="268882" cy="214920"/>
            </a:xfrm>
            <a:custGeom>
              <a:avLst/>
              <a:gdLst/>
              <a:ahLst/>
              <a:cxnLst>
                <a:cxn ang="0">
                  <a:pos x="80" y="21"/>
                </a:cxn>
                <a:cxn ang="0">
                  <a:pos x="99" y="26"/>
                </a:cxn>
                <a:cxn ang="0">
                  <a:pos x="105" y="26"/>
                </a:cxn>
                <a:cxn ang="0">
                  <a:pos x="122" y="24"/>
                </a:cxn>
                <a:cxn ang="0">
                  <a:pos x="125" y="15"/>
                </a:cxn>
                <a:cxn ang="0">
                  <a:pos x="135" y="17"/>
                </a:cxn>
                <a:cxn ang="0">
                  <a:pos x="142" y="0"/>
                </a:cxn>
                <a:cxn ang="0">
                  <a:pos x="155" y="9"/>
                </a:cxn>
                <a:cxn ang="0">
                  <a:pos x="161" y="32"/>
                </a:cxn>
                <a:cxn ang="0">
                  <a:pos x="185" y="19"/>
                </a:cxn>
                <a:cxn ang="0">
                  <a:pos x="208" y="22"/>
                </a:cxn>
                <a:cxn ang="0">
                  <a:pos x="204" y="26"/>
                </a:cxn>
                <a:cxn ang="0">
                  <a:pos x="206" y="28"/>
                </a:cxn>
                <a:cxn ang="0">
                  <a:pos x="193" y="30"/>
                </a:cxn>
                <a:cxn ang="0">
                  <a:pos x="180" y="30"/>
                </a:cxn>
                <a:cxn ang="0">
                  <a:pos x="161" y="41"/>
                </a:cxn>
                <a:cxn ang="0">
                  <a:pos x="167" y="64"/>
                </a:cxn>
                <a:cxn ang="0">
                  <a:pos x="161" y="82"/>
                </a:cxn>
                <a:cxn ang="0">
                  <a:pos x="146" y="82"/>
                </a:cxn>
                <a:cxn ang="0">
                  <a:pos x="152" y="92"/>
                </a:cxn>
                <a:cxn ang="0">
                  <a:pos x="144" y="101"/>
                </a:cxn>
                <a:cxn ang="0">
                  <a:pos x="140" y="124"/>
                </a:cxn>
                <a:cxn ang="0">
                  <a:pos x="108" y="131"/>
                </a:cxn>
                <a:cxn ang="0">
                  <a:pos x="103" y="139"/>
                </a:cxn>
                <a:cxn ang="0">
                  <a:pos x="101" y="159"/>
                </a:cxn>
                <a:cxn ang="0">
                  <a:pos x="41" y="167"/>
                </a:cxn>
                <a:cxn ang="0">
                  <a:pos x="19" y="159"/>
                </a:cxn>
                <a:cxn ang="0">
                  <a:pos x="19" y="159"/>
                </a:cxn>
                <a:cxn ang="0">
                  <a:pos x="28" y="139"/>
                </a:cxn>
                <a:cxn ang="0">
                  <a:pos x="24" y="129"/>
                </a:cxn>
                <a:cxn ang="0">
                  <a:pos x="11" y="124"/>
                </a:cxn>
                <a:cxn ang="0">
                  <a:pos x="0" y="82"/>
                </a:cxn>
                <a:cxn ang="0">
                  <a:pos x="0" y="80"/>
                </a:cxn>
                <a:cxn ang="0">
                  <a:pos x="7" y="65"/>
                </a:cxn>
                <a:cxn ang="0">
                  <a:pos x="7" y="49"/>
                </a:cxn>
                <a:cxn ang="0">
                  <a:pos x="7" y="49"/>
                </a:cxn>
                <a:cxn ang="0">
                  <a:pos x="30" y="54"/>
                </a:cxn>
                <a:cxn ang="0">
                  <a:pos x="37" y="49"/>
                </a:cxn>
                <a:cxn ang="0">
                  <a:pos x="54" y="39"/>
                </a:cxn>
                <a:cxn ang="0">
                  <a:pos x="58" y="22"/>
                </a:cxn>
                <a:cxn ang="0">
                  <a:pos x="65" y="22"/>
                </a:cxn>
                <a:cxn ang="0">
                  <a:pos x="67" y="17"/>
                </a:cxn>
                <a:cxn ang="0">
                  <a:pos x="80" y="21"/>
                </a:cxn>
                <a:cxn ang="0">
                  <a:pos x="80" y="21"/>
                </a:cxn>
              </a:cxnLst>
              <a:rect l="0" t="0" r="r" b="b"/>
              <a:pathLst>
                <a:path w="208" h="167">
                  <a:moveTo>
                    <a:pt x="80" y="21"/>
                  </a:moveTo>
                  <a:lnTo>
                    <a:pt x="99" y="26"/>
                  </a:lnTo>
                  <a:lnTo>
                    <a:pt x="105" y="26"/>
                  </a:lnTo>
                  <a:lnTo>
                    <a:pt x="122" y="24"/>
                  </a:lnTo>
                  <a:lnTo>
                    <a:pt x="125" y="15"/>
                  </a:lnTo>
                  <a:lnTo>
                    <a:pt x="135" y="17"/>
                  </a:lnTo>
                  <a:lnTo>
                    <a:pt x="142" y="0"/>
                  </a:lnTo>
                  <a:lnTo>
                    <a:pt x="155" y="9"/>
                  </a:lnTo>
                  <a:lnTo>
                    <a:pt x="161" y="32"/>
                  </a:lnTo>
                  <a:lnTo>
                    <a:pt x="185" y="19"/>
                  </a:lnTo>
                  <a:lnTo>
                    <a:pt x="208" y="22"/>
                  </a:lnTo>
                  <a:lnTo>
                    <a:pt x="204" y="26"/>
                  </a:lnTo>
                  <a:lnTo>
                    <a:pt x="206" y="28"/>
                  </a:lnTo>
                  <a:lnTo>
                    <a:pt x="193" y="30"/>
                  </a:lnTo>
                  <a:lnTo>
                    <a:pt x="180" y="30"/>
                  </a:lnTo>
                  <a:lnTo>
                    <a:pt x="161" y="41"/>
                  </a:lnTo>
                  <a:lnTo>
                    <a:pt x="167" y="64"/>
                  </a:lnTo>
                  <a:lnTo>
                    <a:pt x="161" y="82"/>
                  </a:lnTo>
                  <a:lnTo>
                    <a:pt x="146" y="82"/>
                  </a:lnTo>
                  <a:lnTo>
                    <a:pt x="152" y="92"/>
                  </a:lnTo>
                  <a:lnTo>
                    <a:pt x="144" y="101"/>
                  </a:lnTo>
                  <a:lnTo>
                    <a:pt x="140" y="124"/>
                  </a:lnTo>
                  <a:lnTo>
                    <a:pt x="108" y="131"/>
                  </a:lnTo>
                  <a:lnTo>
                    <a:pt x="103" y="139"/>
                  </a:lnTo>
                  <a:lnTo>
                    <a:pt x="101" y="159"/>
                  </a:lnTo>
                  <a:lnTo>
                    <a:pt x="41" y="167"/>
                  </a:lnTo>
                  <a:lnTo>
                    <a:pt x="19" y="159"/>
                  </a:lnTo>
                  <a:lnTo>
                    <a:pt x="19" y="159"/>
                  </a:lnTo>
                  <a:lnTo>
                    <a:pt x="28" y="139"/>
                  </a:lnTo>
                  <a:lnTo>
                    <a:pt x="24" y="129"/>
                  </a:lnTo>
                  <a:lnTo>
                    <a:pt x="11" y="124"/>
                  </a:lnTo>
                  <a:lnTo>
                    <a:pt x="0" y="82"/>
                  </a:lnTo>
                  <a:lnTo>
                    <a:pt x="0" y="80"/>
                  </a:lnTo>
                  <a:lnTo>
                    <a:pt x="7" y="65"/>
                  </a:lnTo>
                  <a:lnTo>
                    <a:pt x="7" y="49"/>
                  </a:lnTo>
                  <a:lnTo>
                    <a:pt x="7" y="49"/>
                  </a:lnTo>
                  <a:lnTo>
                    <a:pt x="30" y="54"/>
                  </a:lnTo>
                  <a:lnTo>
                    <a:pt x="37" y="49"/>
                  </a:lnTo>
                  <a:lnTo>
                    <a:pt x="54" y="39"/>
                  </a:lnTo>
                  <a:lnTo>
                    <a:pt x="58" y="22"/>
                  </a:lnTo>
                  <a:lnTo>
                    <a:pt x="65" y="22"/>
                  </a:lnTo>
                  <a:lnTo>
                    <a:pt x="67" y="17"/>
                  </a:lnTo>
                  <a:lnTo>
                    <a:pt x="80" y="21"/>
                  </a:lnTo>
                  <a:lnTo>
                    <a:pt x="80" y="2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37" name="Freeform 5651"/>
            <p:cNvSpPr>
              <a:spLocks/>
            </p:cNvSpPr>
            <p:nvPr>
              <p:custDataLst>
                <p:tags r:id="rId15"/>
              </p:custDataLst>
            </p:nvPr>
          </p:nvSpPr>
          <p:spPr bwMode="gray">
            <a:xfrm>
              <a:off x="9033436" y="3334254"/>
              <a:ext cx="99538" cy="118399"/>
            </a:xfrm>
            <a:custGeom>
              <a:avLst/>
              <a:gdLst/>
              <a:ahLst/>
              <a:cxnLst>
                <a:cxn ang="0">
                  <a:pos x="58" y="0"/>
                </a:cxn>
                <a:cxn ang="0">
                  <a:pos x="55" y="15"/>
                </a:cxn>
                <a:cxn ang="0">
                  <a:pos x="44" y="15"/>
                </a:cxn>
                <a:cxn ang="0">
                  <a:pos x="44" y="26"/>
                </a:cxn>
                <a:cxn ang="0">
                  <a:pos x="27" y="23"/>
                </a:cxn>
                <a:cxn ang="0">
                  <a:pos x="0" y="58"/>
                </a:cxn>
                <a:cxn ang="0">
                  <a:pos x="23" y="62"/>
                </a:cxn>
                <a:cxn ang="0">
                  <a:pos x="25" y="86"/>
                </a:cxn>
                <a:cxn ang="0">
                  <a:pos x="55" y="92"/>
                </a:cxn>
                <a:cxn ang="0">
                  <a:pos x="60" y="85"/>
                </a:cxn>
                <a:cxn ang="0">
                  <a:pos x="77" y="79"/>
                </a:cxn>
                <a:cxn ang="0">
                  <a:pos x="53" y="64"/>
                </a:cxn>
                <a:cxn ang="0">
                  <a:pos x="49" y="55"/>
                </a:cxn>
                <a:cxn ang="0">
                  <a:pos x="75" y="36"/>
                </a:cxn>
                <a:cxn ang="0">
                  <a:pos x="66" y="23"/>
                </a:cxn>
                <a:cxn ang="0">
                  <a:pos x="75" y="4"/>
                </a:cxn>
                <a:cxn ang="0">
                  <a:pos x="58" y="0"/>
                </a:cxn>
                <a:cxn ang="0">
                  <a:pos x="58" y="0"/>
                </a:cxn>
              </a:cxnLst>
              <a:rect l="0" t="0" r="r" b="b"/>
              <a:pathLst>
                <a:path w="77" h="92">
                  <a:moveTo>
                    <a:pt x="58" y="0"/>
                  </a:moveTo>
                  <a:lnTo>
                    <a:pt x="55" y="15"/>
                  </a:lnTo>
                  <a:lnTo>
                    <a:pt x="44" y="15"/>
                  </a:lnTo>
                  <a:lnTo>
                    <a:pt x="44" y="26"/>
                  </a:lnTo>
                  <a:lnTo>
                    <a:pt x="27" y="23"/>
                  </a:lnTo>
                  <a:lnTo>
                    <a:pt x="0" y="58"/>
                  </a:lnTo>
                  <a:lnTo>
                    <a:pt x="23" y="62"/>
                  </a:lnTo>
                  <a:lnTo>
                    <a:pt x="25" y="86"/>
                  </a:lnTo>
                  <a:lnTo>
                    <a:pt x="55" y="92"/>
                  </a:lnTo>
                  <a:lnTo>
                    <a:pt x="60" y="85"/>
                  </a:lnTo>
                  <a:lnTo>
                    <a:pt x="77" y="79"/>
                  </a:lnTo>
                  <a:lnTo>
                    <a:pt x="53" y="64"/>
                  </a:lnTo>
                  <a:lnTo>
                    <a:pt x="49" y="55"/>
                  </a:lnTo>
                  <a:lnTo>
                    <a:pt x="75" y="36"/>
                  </a:lnTo>
                  <a:lnTo>
                    <a:pt x="66" y="23"/>
                  </a:lnTo>
                  <a:lnTo>
                    <a:pt x="75" y="4"/>
                  </a:lnTo>
                  <a:lnTo>
                    <a:pt x="58" y="0"/>
                  </a:lnTo>
                  <a:lnTo>
                    <a:pt x="58"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38" name="Freeform 5657"/>
            <p:cNvSpPr>
              <a:spLocks/>
            </p:cNvSpPr>
            <p:nvPr>
              <p:custDataLst>
                <p:tags r:id="rId16"/>
              </p:custDataLst>
            </p:nvPr>
          </p:nvSpPr>
          <p:spPr bwMode="gray">
            <a:xfrm>
              <a:off x="5119135" y="3879920"/>
              <a:ext cx="74977" cy="52765"/>
            </a:xfrm>
            <a:custGeom>
              <a:avLst/>
              <a:gdLst/>
              <a:ahLst/>
              <a:cxnLst>
                <a:cxn ang="0">
                  <a:pos x="5" y="0"/>
                </a:cxn>
                <a:cxn ang="0">
                  <a:pos x="33" y="1"/>
                </a:cxn>
                <a:cxn ang="0">
                  <a:pos x="35" y="7"/>
                </a:cxn>
                <a:cxn ang="0">
                  <a:pos x="45" y="7"/>
                </a:cxn>
                <a:cxn ang="0">
                  <a:pos x="37" y="13"/>
                </a:cxn>
                <a:cxn ang="0">
                  <a:pos x="52" y="16"/>
                </a:cxn>
                <a:cxn ang="0">
                  <a:pos x="58" y="24"/>
                </a:cxn>
                <a:cxn ang="0">
                  <a:pos x="50" y="31"/>
                </a:cxn>
                <a:cxn ang="0">
                  <a:pos x="46" y="24"/>
                </a:cxn>
                <a:cxn ang="0">
                  <a:pos x="20" y="30"/>
                </a:cxn>
                <a:cxn ang="0">
                  <a:pos x="20" y="24"/>
                </a:cxn>
                <a:cxn ang="0">
                  <a:pos x="13" y="28"/>
                </a:cxn>
                <a:cxn ang="0">
                  <a:pos x="5" y="41"/>
                </a:cxn>
                <a:cxn ang="0">
                  <a:pos x="0" y="31"/>
                </a:cxn>
                <a:cxn ang="0">
                  <a:pos x="5" y="0"/>
                </a:cxn>
                <a:cxn ang="0">
                  <a:pos x="5" y="0"/>
                </a:cxn>
              </a:cxnLst>
              <a:rect l="0" t="0" r="r" b="b"/>
              <a:pathLst>
                <a:path w="58" h="41">
                  <a:moveTo>
                    <a:pt x="5" y="0"/>
                  </a:moveTo>
                  <a:lnTo>
                    <a:pt x="33" y="1"/>
                  </a:lnTo>
                  <a:lnTo>
                    <a:pt x="35" y="7"/>
                  </a:lnTo>
                  <a:lnTo>
                    <a:pt x="45" y="7"/>
                  </a:lnTo>
                  <a:lnTo>
                    <a:pt x="37" y="13"/>
                  </a:lnTo>
                  <a:lnTo>
                    <a:pt x="52" y="16"/>
                  </a:lnTo>
                  <a:lnTo>
                    <a:pt x="58" y="24"/>
                  </a:lnTo>
                  <a:lnTo>
                    <a:pt x="50" y="31"/>
                  </a:lnTo>
                  <a:lnTo>
                    <a:pt x="46" y="24"/>
                  </a:lnTo>
                  <a:lnTo>
                    <a:pt x="20" y="30"/>
                  </a:lnTo>
                  <a:lnTo>
                    <a:pt x="20" y="24"/>
                  </a:lnTo>
                  <a:lnTo>
                    <a:pt x="13" y="28"/>
                  </a:lnTo>
                  <a:lnTo>
                    <a:pt x="5" y="41"/>
                  </a:lnTo>
                  <a:lnTo>
                    <a:pt x="0" y="31"/>
                  </a:lnTo>
                  <a:lnTo>
                    <a:pt x="5" y="0"/>
                  </a:lnTo>
                  <a:lnTo>
                    <a:pt x="5"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39" name="Freeform 5658"/>
            <p:cNvSpPr>
              <a:spLocks/>
            </p:cNvSpPr>
            <p:nvPr>
              <p:custDataLst>
                <p:tags r:id="rId17"/>
              </p:custDataLst>
            </p:nvPr>
          </p:nvSpPr>
          <p:spPr bwMode="gray">
            <a:xfrm>
              <a:off x="5460408" y="4217099"/>
              <a:ext cx="60757" cy="83652"/>
            </a:xfrm>
            <a:custGeom>
              <a:avLst/>
              <a:gdLst/>
              <a:ahLst/>
              <a:cxnLst>
                <a:cxn ang="0">
                  <a:pos x="47" y="28"/>
                </a:cxn>
                <a:cxn ang="0">
                  <a:pos x="24" y="60"/>
                </a:cxn>
                <a:cxn ang="0">
                  <a:pos x="9" y="65"/>
                </a:cxn>
                <a:cxn ang="0">
                  <a:pos x="0" y="60"/>
                </a:cxn>
                <a:cxn ang="0">
                  <a:pos x="9" y="35"/>
                </a:cxn>
                <a:cxn ang="0">
                  <a:pos x="3" y="11"/>
                </a:cxn>
                <a:cxn ang="0">
                  <a:pos x="9" y="0"/>
                </a:cxn>
                <a:cxn ang="0">
                  <a:pos x="47" y="28"/>
                </a:cxn>
                <a:cxn ang="0">
                  <a:pos x="47" y="28"/>
                </a:cxn>
              </a:cxnLst>
              <a:rect l="0" t="0" r="r" b="b"/>
              <a:pathLst>
                <a:path w="47" h="65">
                  <a:moveTo>
                    <a:pt x="47" y="28"/>
                  </a:moveTo>
                  <a:lnTo>
                    <a:pt x="24" y="60"/>
                  </a:lnTo>
                  <a:lnTo>
                    <a:pt x="9" y="65"/>
                  </a:lnTo>
                  <a:lnTo>
                    <a:pt x="0" y="60"/>
                  </a:lnTo>
                  <a:lnTo>
                    <a:pt x="9" y="35"/>
                  </a:lnTo>
                  <a:lnTo>
                    <a:pt x="3" y="11"/>
                  </a:lnTo>
                  <a:lnTo>
                    <a:pt x="9" y="0"/>
                  </a:lnTo>
                  <a:lnTo>
                    <a:pt x="47" y="28"/>
                  </a:lnTo>
                  <a:lnTo>
                    <a:pt x="47" y="2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40" name="Freeform 5659"/>
            <p:cNvSpPr>
              <a:spLocks/>
            </p:cNvSpPr>
            <p:nvPr>
              <p:custDataLst>
                <p:tags r:id="rId18"/>
              </p:custDataLst>
            </p:nvPr>
          </p:nvSpPr>
          <p:spPr bwMode="gray">
            <a:xfrm>
              <a:off x="5385432" y="4206804"/>
              <a:ext cx="86611" cy="99095"/>
            </a:xfrm>
            <a:custGeom>
              <a:avLst/>
              <a:gdLst/>
              <a:ahLst/>
              <a:cxnLst>
                <a:cxn ang="0">
                  <a:pos x="67" y="8"/>
                </a:cxn>
                <a:cxn ang="0">
                  <a:pos x="50" y="0"/>
                </a:cxn>
                <a:cxn ang="0">
                  <a:pos x="16" y="0"/>
                </a:cxn>
                <a:cxn ang="0">
                  <a:pos x="16" y="0"/>
                </a:cxn>
                <a:cxn ang="0">
                  <a:pos x="0" y="32"/>
                </a:cxn>
                <a:cxn ang="0">
                  <a:pos x="26" y="73"/>
                </a:cxn>
                <a:cxn ang="0">
                  <a:pos x="31" y="77"/>
                </a:cxn>
                <a:cxn ang="0">
                  <a:pos x="37" y="66"/>
                </a:cxn>
                <a:cxn ang="0">
                  <a:pos x="58" y="68"/>
                </a:cxn>
                <a:cxn ang="0">
                  <a:pos x="67" y="43"/>
                </a:cxn>
                <a:cxn ang="0">
                  <a:pos x="61" y="19"/>
                </a:cxn>
                <a:cxn ang="0">
                  <a:pos x="67" y="8"/>
                </a:cxn>
                <a:cxn ang="0">
                  <a:pos x="67" y="8"/>
                </a:cxn>
              </a:cxnLst>
              <a:rect l="0" t="0" r="r" b="b"/>
              <a:pathLst>
                <a:path w="67" h="77">
                  <a:moveTo>
                    <a:pt x="67" y="8"/>
                  </a:moveTo>
                  <a:lnTo>
                    <a:pt x="50" y="0"/>
                  </a:lnTo>
                  <a:lnTo>
                    <a:pt x="16" y="0"/>
                  </a:lnTo>
                  <a:lnTo>
                    <a:pt x="16" y="0"/>
                  </a:lnTo>
                  <a:lnTo>
                    <a:pt x="0" y="32"/>
                  </a:lnTo>
                  <a:lnTo>
                    <a:pt x="26" y="73"/>
                  </a:lnTo>
                  <a:lnTo>
                    <a:pt x="31" y="77"/>
                  </a:lnTo>
                  <a:lnTo>
                    <a:pt x="37" y="66"/>
                  </a:lnTo>
                  <a:lnTo>
                    <a:pt x="58" y="68"/>
                  </a:lnTo>
                  <a:lnTo>
                    <a:pt x="67" y="43"/>
                  </a:lnTo>
                  <a:lnTo>
                    <a:pt x="61" y="19"/>
                  </a:lnTo>
                  <a:lnTo>
                    <a:pt x="67" y="8"/>
                  </a:lnTo>
                  <a:lnTo>
                    <a:pt x="67" y="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41" name="Freeform 5660"/>
            <p:cNvSpPr>
              <a:spLocks/>
            </p:cNvSpPr>
            <p:nvPr>
              <p:custDataLst>
                <p:tags r:id="rId19"/>
              </p:custDataLst>
            </p:nvPr>
          </p:nvSpPr>
          <p:spPr bwMode="gray">
            <a:xfrm>
              <a:off x="5319504" y="4151465"/>
              <a:ext cx="99538" cy="167303"/>
            </a:xfrm>
            <a:custGeom>
              <a:avLst/>
              <a:gdLst/>
              <a:ahLst/>
              <a:cxnLst>
                <a:cxn ang="0">
                  <a:pos x="24" y="0"/>
                </a:cxn>
                <a:cxn ang="0">
                  <a:pos x="9" y="12"/>
                </a:cxn>
                <a:cxn ang="0">
                  <a:pos x="8" y="23"/>
                </a:cxn>
                <a:cxn ang="0">
                  <a:pos x="11" y="25"/>
                </a:cxn>
                <a:cxn ang="0">
                  <a:pos x="4" y="30"/>
                </a:cxn>
                <a:cxn ang="0">
                  <a:pos x="0" y="43"/>
                </a:cxn>
                <a:cxn ang="0">
                  <a:pos x="9" y="58"/>
                </a:cxn>
                <a:cxn ang="0">
                  <a:pos x="21" y="60"/>
                </a:cxn>
                <a:cxn ang="0">
                  <a:pos x="26" y="77"/>
                </a:cxn>
                <a:cxn ang="0">
                  <a:pos x="21" y="105"/>
                </a:cxn>
                <a:cxn ang="0">
                  <a:pos x="30" y="126"/>
                </a:cxn>
                <a:cxn ang="0">
                  <a:pos x="39" y="130"/>
                </a:cxn>
                <a:cxn ang="0">
                  <a:pos x="66" y="116"/>
                </a:cxn>
                <a:cxn ang="0">
                  <a:pos x="77" y="116"/>
                </a:cxn>
                <a:cxn ang="0">
                  <a:pos x="51" y="75"/>
                </a:cxn>
                <a:cxn ang="0">
                  <a:pos x="67" y="43"/>
                </a:cxn>
                <a:cxn ang="0">
                  <a:pos x="67" y="43"/>
                </a:cxn>
                <a:cxn ang="0">
                  <a:pos x="51" y="28"/>
                </a:cxn>
                <a:cxn ang="0">
                  <a:pos x="43" y="28"/>
                </a:cxn>
                <a:cxn ang="0">
                  <a:pos x="43" y="13"/>
                </a:cxn>
                <a:cxn ang="0">
                  <a:pos x="24" y="0"/>
                </a:cxn>
                <a:cxn ang="0">
                  <a:pos x="24" y="0"/>
                </a:cxn>
              </a:cxnLst>
              <a:rect l="0" t="0" r="r" b="b"/>
              <a:pathLst>
                <a:path w="77" h="130">
                  <a:moveTo>
                    <a:pt x="24" y="0"/>
                  </a:moveTo>
                  <a:lnTo>
                    <a:pt x="9" y="12"/>
                  </a:lnTo>
                  <a:lnTo>
                    <a:pt x="8" y="23"/>
                  </a:lnTo>
                  <a:lnTo>
                    <a:pt x="11" y="25"/>
                  </a:lnTo>
                  <a:lnTo>
                    <a:pt x="4" y="30"/>
                  </a:lnTo>
                  <a:lnTo>
                    <a:pt x="0" y="43"/>
                  </a:lnTo>
                  <a:lnTo>
                    <a:pt x="9" y="58"/>
                  </a:lnTo>
                  <a:lnTo>
                    <a:pt x="21" y="60"/>
                  </a:lnTo>
                  <a:lnTo>
                    <a:pt x="26" y="77"/>
                  </a:lnTo>
                  <a:lnTo>
                    <a:pt x="21" y="105"/>
                  </a:lnTo>
                  <a:lnTo>
                    <a:pt x="30" y="126"/>
                  </a:lnTo>
                  <a:lnTo>
                    <a:pt x="39" y="130"/>
                  </a:lnTo>
                  <a:lnTo>
                    <a:pt x="66" y="116"/>
                  </a:lnTo>
                  <a:lnTo>
                    <a:pt x="77" y="116"/>
                  </a:lnTo>
                  <a:lnTo>
                    <a:pt x="51" y="75"/>
                  </a:lnTo>
                  <a:lnTo>
                    <a:pt x="67" y="43"/>
                  </a:lnTo>
                  <a:lnTo>
                    <a:pt x="67" y="43"/>
                  </a:lnTo>
                  <a:lnTo>
                    <a:pt x="51" y="28"/>
                  </a:lnTo>
                  <a:lnTo>
                    <a:pt x="43" y="28"/>
                  </a:lnTo>
                  <a:lnTo>
                    <a:pt x="43" y="13"/>
                  </a:lnTo>
                  <a:lnTo>
                    <a:pt x="24" y="0"/>
                  </a:lnTo>
                  <a:lnTo>
                    <a:pt x="24"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42" name="Freeform 5664"/>
            <p:cNvSpPr>
              <a:spLocks/>
            </p:cNvSpPr>
            <p:nvPr>
              <p:custDataLst>
                <p:tags r:id="rId20"/>
              </p:custDataLst>
            </p:nvPr>
          </p:nvSpPr>
          <p:spPr bwMode="gray">
            <a:xfrm>
              <a:off x="4861888" y="3800129"/>
              <a:ext cx="215881" cy="79791"/>
            </a:xfrm>
            <a:custGeom>
              <a:avLst/>
              <a:gdLst/>
              <a:ahLst/>
              <a:cxnLst>
                <a:cxn ang="0">
                  <a:pos x="0" y="24"/>
                </a:cxn>
                <a:cxn ang="0">
                  <a:pos x="11" y="24"/>
                </a:cxn>
                <a:cxn ang="0">
                  <a:pos x="36" y="9"/>
                </a:cxn>
                <a:cxn ang="0">
                  <a:pos x="54" y="11"/>
                </a:cxn>
                <a:cxn ang="0">
                  <a:pos x="45" y="15"/>
                </a:cxn>
                <a:cxn ang="0">
                  <a:pos x="49" y="19"/>
                </a:cxn>
                <a:cxn ang="0">
                  <a:pos x="96" y="30"/>
                </a:cxn>
                <a:cxn ang="0">
                  <a:pos x="107" y="45"/>
                </a:cxn>
                <a:cxn ang="0">
                  <a:pos x="118" y="45"/>
                </a:cxn>
                <a:cxn ang="0">
                  <a:pos x="120" y="52"/>
                </a:cxn>
                <a:cxn ang="0">
                  <a:pos x="109" y="62"/>
                </a:cxn>
                <a:cxn ang="0">
                  <a:pos x="167" y="56"/>
                </a:cxn>
                <a:cxn ang="0">
                  <a:pos x="157" y="47"/>
                </a:cxn>
                <a:cxn ang="0">
                  <a:pos x="142" y="47"/>
                </a:cxn>
                <a:cxn ang="0">
                  <a:pos x="146" y="39"/>
                </a:cxn>
                <a:cxn ang="0">
                  <a:pos x="131" y="35"/>
                </a:cxn>
                <a:cxn ang="0">
                  <a:pos x="105" y="17"/>
                </a:cxn>
                <a:cxn ang="0">
                  <a:pos x="58" y="0"/>
                </a:cxn>
                <a:cxn ang="0">
                  <a:pos x="24" y="5"/>
                </a:cxn>
                <a:cxn ang="0">
                  <a:pos x="0" y="24"/>
                </a:cxn>
                <a:cxn ang="0">
                  <a:pos x="0" y="24"/>
                </a:cxn>
              </a:cxnLst>
              <a:rect l="0" t="0" r="r" b="b"/>
              <a:pathLst>
                <a:path w="167" h="62">
                  <a:moveTo>
                    <a:pt x="0" y="24"/>
                  </a:moveTo>
                  <a:lnTo>
                    <a:pt x="11" y="24"/>
                  </a:lnTo>
                  <a:lnTo>
                    <a:pt x="36" y="9"/>
                  </a:lnTo>
                  <a:lnTo>
                    <a:pt x="54" y="11"/>
                  </a:lnTo>
                  <a:lnTo>
                    <a:pt x="45" y="15"/>
                  </a:lnTo>
                  <a:lnTo>
                    <a:pt x="49" y="19"/>
                  </a:lnTo>
                  <a:lnTo>
                    <a:pt x="96" y="30"/>
                  </a:lnTo>
                  <a:lnTo>
                    <a:pt x="107" y="45"/>
                  </a:lnTo>
                  <a:lnTo>
                    <a:pt x="118" y="45"/>
                  </a:lnTo>
                  <a:lnTo>
                    <a:pt x="120" y="52"/>
                  </a:lnTo>
                  <a:lnTo>
                    <a:pt x="109" y="62"/>
                  </a:lnTo>
                  <a:lnTo>
                    <a:pt x="167" y="56"/>
                  </a:lnTo>
                  <a:lnTo>
                    <a:pt x="157" y="47"/>
                  </a:lnTo>
                  <a:lnTo>
                    <a:pt x="142" y="47"/>
                  </a:lnTo>
                  <a:lnTo>
                    <a:pt x="146" y="39"/>
                  </a:lnTo>
                  <a:lnTo>
                    <a:pt x="131" y="35"/>
                  </a:lnTo>
                  <a:lnTo>
                    <a:pt x="105" y="17"/>
                  </a:lnTo>
                  <a:lnTo>
                    <a:pt x="58" y="0"/>
                  </a:lnTo>
                  <a:lnTo>
                    <a:pt x="24" y="5"/>
                  </a:lnTo>
                  <a:lnTo>
                    <a:pt x="0" y="24"/>
                  </a:lnTo>
                  <a:lnTo>
                    <a:pt x="0" y="2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43" name="Freeform 5665"/>
            <p:cNvSpPr>
              <a:spLocks/>
            </p:cNvSpPr>
            <p:nvPr>
              <p:custDataLst>
                <p:tags r:id="rId21"/>
              </p:custDataLst>
            </p:nvPr>
          </p:nvSpPr>
          <p:spPr bwMode="gray">
            <a:xfrm>
              <a:off x="5355700" y="2601982"/>
              <a:ext cx="202954" cy="47617"/>
            </a:xfrm>
            <a:custGeom>
              <a:avLst/>
              <a:gdLst/>
              <a:ahLst/>
              <a:cxnLst>
                <a:cxn ang="0">
                  <a:pos x="6" y="0"/>
                </a:cxn>
                <a:cxn ang="0">
                  <a:pos x="0" y="5"/>
                </a:cxn>
                <a:cxn ang="0">
                  <a:pos x="4" y="11"/>
                </a:cxn>
                <a:cxn ang="0">
                  <a:pos x="32" y="13"/>
                </a:cxn>
                <a:cxn ang="0">
                  <a:pos x="13" y="33"/>
                </a:cxn>
                <a:cxn ang="0">
                  <a:pos x="32" y="35"/>
                </a:cxn>
                <a:cxn ang="0">
                  <a:pos x="88" y="37"/>
                </a:cxn>
                <a:cxn ang="0">
                  <a:pos x="105" y="33"/>
                </a:cxn>
                <a:cxn ang="0">
                  <a:pos x="118" y="35"/>
                </a:cxn>
                <a:cxn ang="0">
                  <a:pos x="139" y="33"/>
                </a:cxn>
                <a:cxn ang="0">
                  <a:pos x="157" y="22"/>
                </a:cxn>
                <a:cxn ang="0">
                  <a:pos x="64" y="18"/>
                </a:cxn>
                <a:cxn ang="0">
                  <a:pos x="53" y="15"/>
                </a:cxn>
                <a:cxn ang="0">
                  <a:pos x="62" y="13"/>
                </a:cxn>
                <a:cxn ang="0">
                  <a:pos x="53" y="5"/>
                </a:cxn>
                <a:cxn ang="0">
                  <a:pos x="6" y="0"/>
                </a:cxn>
                <a:cxn ang="0">
                  <a:pos x="6" y="0"/>
                </a:cxn>
              </a:cxnLst>
              <a:rect l="0" t="0" r="r" b="b"/>
              <a:pathLst>
                <a:path w="157" h="37">
                  <a:moveTo>
                    <a:pt x="6" y="0"/>
                  </a:moveTo>
                  <a:lnTo>
                    <a:pt x="0" y="5"/>
                  </a:lnTo>
                  <a:lnTo>
                    <a:pt x="4" y="11"/>
                  </a:lnTo>
                  <a:lnTo>
                    <a:pt x="32" y="13"/>
                  </a:lnTo>
                  <a:lnTo>
                    <a:pt x="13" y="33"/>
                  </a:lnTo>
                  <a:lnTo>
                    <a:pt x="32" y="35"/>
                  </a:lnTo>
                  <a:lnTo>
                    <a:pt x="88" y="37"/>
                  </a:lnTo>
                  <a:lnTo>
                    <a:pt x="105" y="33"/>
                  </a:lnTo>
                  <a:lnTo>
                    <a:pt x="118" y="35"/>
                  </a:lnTo>
                  <a:lnTo>
                    <a:pt x="139" y="33"/>
                  </a:lnTo>
                  <a:lnTo>
                    <a:pt x="157" y="22"/>
                  </a:lnTo>
                  <a:lnTo>
                    <a:pt x="64" y="18"/>
                  </a:lnTo>
                  <a:lnTo>
                    <a:pt x="53" y="15"/>
                  </a:lnTo>
                  <a:lnTo>
                    <a:pt x="62" y="13"/>
                  </a:lnTo>
                  <a:lnTo>
                    <a:pt x="53" y="5"/>
                  </a:lnTo>
                  <a:lnTo>
                    <a:pt x="6" y="0"/>
                  </a:lnTo>
                  <a:lnTo>
                    <a:pt x="6"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44" name="Freeform 5666"/>
            <p:cNvSpPr>
              <a:spLocks/>
            </p:cNvSpPr>
            <p:nvPr>
              <p:custDataLst>
                <p:tags r:id="rId22"/>
              </p:custDataLst>
            </p:nvPr>
          </p:nvSpPr>
          <p:spPr bwMode="gray">
            <a:xfrm>
              <a:off x="5438432" y="2531200"/>
              <a:ext cx="122807" cy="51478"/>
            </a:xfrm>
            <a:custGeom>
              <a:avLst/>
              <a:gdLst/>
              <a:ahLst/>
              <a:cxnLst>
                <a:cxn ang="0">
                  <a:pos x="9" y="15"/>
                </a:cxn>
                <a:cxn ang="0">
                  <a:pos x="15" y="25"/>
                </a:cxn>
                <a:cxn ang="0">
                  <a:pos x="0" y="34"/>
                </a:cxn>
                <a:cxn ang="0">
                  <a:pos x="7" y="40"/>
                </a:cxn>
                <a:cxn ang="0">
                  <a:pos x="35" y="40"/>
                </a:cxn>
                <a:cxn ang="0">
                  <a:pos x="95" y="21"/>
                </a:cxn>
                <a:cxn ang="0">
                  <a:pos x="79" y="19"/>
                </a:cxn>
                <a:cxn ang="0">
                  <a:pos x="92" y="13"/>
                </a:cxn>
                <a:cxn ang="0">
                  <a:pos x="65" y="10"/>
                </a:cxn>
                <a:cxn ang="0">
                  <a:pos x="62" y="0"/>
                </a:cxn>
                <a:cxn ang="0">
                  <a:pos x="47" y="0"/>
                </a:cxn>
                <a:cxn ang="0">
                  <a:pos x="9" y="15"/>
                </a:cxn>
                <a:cxn ang="0">
                  <a:pos x="9" y="15"/>
                </a:cxn>
              </a:cxnLst>
              <a:rect l="0" t="0" r="r" b="b"/>
              <a:pathLst>
                <a:path w="95" h="40">
                  <a:moveTo>
                    <a:pt x="9" y="15"/>
                  </a:moveTo>
                  <a:lnTo>
                    <a:pt x="15" y="25"/>
                  </a:lnTo>
                  <a:lnTo>
                    <a:pt x="0" y="34"/>
                  </a:lnTo>
                  <a:lnTo>
                    <a:pt x="7" y="40"/>
                  </a:lnTo>
                  <a:lnTo>
                    <a:pt x="35" y="40"/>
                  </a:lnTo>
                  <a:lnTo>
                    <a:pt x="95" y="21"/>
                  </a:lnTo>
                  <a:lnTo>
                    <a:pt x="79" y="19"/>
                  </a:lnTo>
                  <a:lnTo>
                    <a:pt x="92" y="13"/>
                  </a:lnTo>
                  <a:lnTo>
                    <a:pt x="65" y="10"/>
                  </a:lnTo>
                  <a:lnTo>
                    <a:pt x="62" y="0"/>
                  </a:lnTo>
                  <a:lnTo>
                    <a:pt x="47" y="0"/>
                  </a:lnTo>
                  <a:lnTo>
                    <a:pt x="9" y="15"/>
                  </a:lnTo>
                  <a:lnTo>
                    <a:pt x="9" y="1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45" name="Freeform 5667"/>
            <p:cNvSpPr>
              <a:spLocks/>
            </p:cNvSpPr>
            <p:nvPr>
              <p:custDataLst>
                <p:tags r:id="rId23"/>
              </p:custDataLst>
            </p:nvPr>
          </p:nvSpPr>
          <p:spPr bwMode="gray">
            <a:xfrm>
              <a:off x="5443603" y="2505461"/>
              <a:ext cx="486056" cy="113251"/>
            </a:xfrm>
            <a:custGeom>
              <a:avLst/>
              <a:gdLst/>
              <a:ahLst/>
              <a:cxnLst>
                <a:cxn ang="0">
                  <a:pos x="76" y="19"/>
                </a:cxn>
                <a:cxn ang="0">
                  <a:pos x="73" y="24"/>
                </a:cxn>
                <a:cxn ang="0">
                  <a:pos x="84" y="28"/>
                </a:cxn>
                <a:cxn ang="0">
                  <a:pos x="104" y="30"/>
                </a:cxn>
                <a:cxn ang="0">
                  <a:pos x="88" y="37"/>
                </a:cxn>
                <a:cxn ang="0">
                  <a:pos x="101" y="39"/>
                </a:cxn>
                <a:cxn ang="0">
                  <a:pos x="91" y="50"/>
                </a:cxn>
                <a:cxn ang="0">
                  <a:pos x="48" y="60"/>
                </a:cxn>
                <a:cxn ang="0">
                  <a:pos x="65" y="63"/>
                </a:cxn>
                <a:cxn ang="0">
                  <a:pos x="39" y="65"/>
                </a:cxn>
                <a:cxn ang="0">
                  <a:pos x="31" y="69"/>
                </a:cxn>
                <a:cxn ang="0">
                  <a:pos x="41" y="73"/>
                </a:cxn>
                <a:cxn ang="0">
                  <a:pos x="7" y="78"/>
                </a:cxn>
                <a:cxn ang="0">
                  <a:pos x="0" y="84"/>
                </a:cxn>
                <a:cxn ang="0">
                  <a:pos x="86" y="82"/>
                </a:cxn>
                <a:cxn ang="0">
                  <a:pos x="86" y="88"/>
                </a:cxn>
                <a:cxn ang="0">
                  <a:pos x="131" y="78"/>
                </a:cxn>
                <a:cxn ang="0">
                  <a:pos x="121" y="73"/>
                </a:cxn>
                <a:cxn ang="0">
                  <a:pos x="144" y="67"/>
                </a:cxn>
                <a:cxn ang="0">
                  <a:pos x="146" y="63"/>
                </a:cxn>
                <a:cxn ang="0">
                  <a:pos x="170" y="62"/>
                </a:cxn>
                <a:cxn ang="0">
                  <a:pos x="211" y="43"/>
                </a:cxn>
                <a:cxn ang="0">
                  <a:pos x="376" y="7"/>
                </a:cxn>
                <a:cxn ang="0">
                  <a:pos x="301" y="0"/>
                </a:cxn>
                <a:cxn ang="0">
                  <a:pos x="232" y="0"/>
                </a:cxn>
                <a:cxn ang="0">
                  <a:pos x="76" y="19"/>
                </a:cxn>
                <a:cxn ang="0">
                  <a:pos x="76" y="19"/>
                </a:cxn>
              </a:cxnLst>
              <a:rect l="0" t="0" r="r" b="b"/>
              <a:pathLst>
                <a:path w="376" h="88">
                  <a:moveTo>
                    <a:pt x="76" y="19"/>
                  </a:moveTo>
                  <a:lnTo>
                    <a:pt x="73" y="24"/>
                  </a:lnTo>
                  <a:lnTo>
                    <a:pt x="84" y="28"/>
                  </a:lnTo>
                  <a:lnTo>
                    <a:pt x="104" y="30"/>
                  </a:lnTo>
                  <a:lnTo>
                    <a:pt x="88" y="37"/>
                  </a:lnTo>
                  <a:lnTo>
                    <a:pt x="101" y="39"/>
                  </a:lnTo>
                  <a:lnTo>
                    <a:pt x="91" y="50"/>
                  </a:lnTo>
                  <a:lnTo>
                    <a:pt x="48" y="60"/>
                  </a:lnTo>
                  <a:lnTo>
                    <a:pt x="65" y="63"/>
                  </a:lnTo>
                  <a:lnTo>
                    <a:pt x="39" y="65"/>
                  </a:lnTo>
                  <a:lnTo>
                    <a:pt x="31" y="69"/>
                  </a:lnTo>
                  <a:lnTo>
                    <a:pt x="41" y="73"/>
                  </a:lnTo>
                  <a:lnTo>
                    <a:pt x="7" y="78"/>
                  </a:lnTo>
                  <a:lnTo>
                    <a:pt x="0" y="84"/>
                  </a:lnTo>
                  <a:lnTo>
                    <a:pt x="86" y="82"/>
                  </a:lnTo>
                  <a:lnTo>
                    <a:pt x="86" y="88"/>
                  </a:lnTo>
                  <a:lnTo>
                    <a:pt x="131" y="78"/>
                  </a:lnTo>
                  <a:lnTo>
                    <a:pt x="121" y="73"/>
                  </a:lnTo>
                  <a:lnTo>
                    <a:pt x="144" y="67"/>
                  </a:lnTo>
                  <a:lnTo>
                    <a:pt x="146" y="63"/>
                  </a:lnTo>
                  <a:lnTo>
                    <a:pt x="170" y="62"/>
                  </a:lnTo>
                  <a:lnTo>
                    <a:pt x="211" y="43"/>
                  </a:lnTo>
                  <a:lnTo>
                    <a:pt x="376" y="7"/>
                  </a:lnTo>
                  <a:lnTo>
                    <a:pt x="301" y="0"/>
                  </a:lnTo>
                  <a:lnTo>
                    <a:pt x="232" y="0"/>
                  </a:lnTo>
                  <a:lnTo>
                    <a:pt x="76" y="19"/>
                  </a:lnTo>
                  <a:lnTo>
                    <a:pt x="76" y="1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46" name="Freeform 5668"/>
            <p:cNvSpPr>
              <a:spLocks/>
            </p:cNvSpPr>
            <p:nvPr>
              <p:custDataLst>
                <p:tags r:id="rId24"/>
              </p:custDataLst>
            </p:nvPr>
          </p:nvSpPr>
          <p:spPr bwMode="gray">
            <a:xfrm>
              <a:off x="5389310" y="2547930"/>
              <a:ext cx="19391" cy="7722"/>
            </a:xfrm>
            <a:custGeom>
              <a:avLst/>
              <a:gdLst/>
              <a:ahLst/>
              <a:cxnLst>
                <a:cxn ang="0">
                  <a:pos x="0" y="4"/>
                </a:cxn>
                <a:cxn ang="0">
                  <a:pos x="15" y="6"/>
                </a:cxn>
                <a:cxn ang="0">
                  <a:pos x="12" y="0"/>
                </a:cxn>
                <a:cxn ang="0">
                  <a:pos x="0" y="4"/>
                </a:cxn>
                <a:cxn ang="0">
                  <a:pos x="0" y="4"/>
                </a:cxn>
              </a:cxnLst>
              <a:rect l="0" t="0" r="r" b="b"/>
              <a:pathLst>
                <a:path w="15" h="6">
                  <a:moveTo>
                    <a:pt x="0" y="4"/>
                  </a:moveTo>
                  <a:lnTo>
                    <a:pt x="15" y="6"/>
                  </a:lnTo>
                  <a:lnTo>
                    <a:pt x="12" y="0"/>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47" name="Freeform 5669"/>
            <p:cNvSpPr>
              <a:spLocks/>
            </p:cNvSpPr>
            <p:nvPr>
              <p:custDataLst>
                <p:tags r:id="rId25"/>
              </p:custDataLst>
            </p:nvPr>
          </p:nvSpPr>
          <p:spPr bwMode="gray">
            <a:xfrm>
              <a:off x="5280723" y="2565947"/>
              <a:ext cx="124099" cy="23165"/>
            </a:xfrm>
            <a:custGeom>
              <a:avLst/>
              <a:gdLst/>
              <a:ahLst/>
              <a:cxnLst>
                <a:cxn ang="0">
                  <a:pos x="0" y="0"/>
                </a:cxn>
                <a:cxn ang="0">
                  <a:pos x="15" y="3"/>
                </a:cxn>
                <a:cxn ang="0">
                  <a:pos x="0" y="7"/>
                </a:cxn>
                <a:cxn ang="0">
                  <a:pos x="4" y="11"/>
                </a:cxn>
                <a:cxn ang="0">
                  <a:pos x="36" y="13"/>
                </a:cxn>
                <a:cxn ang="0">
                  <a:pos x="38" y="18"/>
                </a:cxn>
                <a:cxn ang="0">
                  <a:pos x="96" y="11"/>
                </a:cxn>
                <a:cxn ang="0">
                  <a:pos x="81" y="3"/>
                </a:cxn>
                <a:cxn ang="0">
                  <a:pos x="58" y="15"/>
                </a:cxn>
                <a:cxn ang="0">
                  <a:pos x="49" y="13"/>
                </a:cxn>
                <a:cxn ang="0">
                  <a:pos x="58" y="3"/>
                </a:cxn>
                <a:cxn ang="0">
                  <a:pos x="51" y="0"/>
                </a:cxn>
                <a:cxn ang="0">
                  <a:pos x="0" y="0"/>
                </a:cxn>
                <a:cxn ang="0">
                  <a:pos x="0" y="0"/>
                </a:cxn>
              </a:cxnLst>
              <a:rect l="0" t="0" r="r" b="b"/>
              <a:pathLst>
                <a:path w="96" h="18">
                  <a:moveTo>
                    <a:pt x="0" y="0"/>
                  </a:moveTo>
                  <a:lnTo>
                    <a:pt x="15" y="3"/>
                  </a:lnTo>
                  <a:lnTo>
                    <a:pt x="0" y="7"/>
                  </a:lnTo>
                  <a:lnTo>
                    <a:pt x="4" y="11"/>
                  </a:lnTo>
                  <a:lnTo>
                    <a:pt x="36" y="13"/>
                  </a:lnTo>
                  <a:lnTo>
                    <a:pt x="38" y="18"/>
                  </a:lnTo>
                  <a:lnTo>
                    <a:pt x="96" y="11"/>
                  </a:lnTo>
                  <a:lnTo>
                    <a:pt x="81" y="3"/>
                  </a:lnTo>
                  <a:lnTo>
                    <a:pt x="58" y="15"/>
                  </a:lnTo>
                  <a:lnTo>
                    <a:pt x="49" y="13"/>
                  </a:lnTo>
                  <a:lnTo>
                    <a:pt x="58" y="3"/>
                  </a:lnTo>
                  <a:lnTo>
                    <a:pt x="51" y="0"/>
                  </a:lnTo>
                  <a:lnTo>
                    <a:pt x="0" y="0"/>
                  </a:lnTo>
                  <a:lnTo>
                    <a:pt x="0"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48" name="Freeform 5670"/>
            <p:cNvSpPr>
              <a:spLocks/>
            </p:cNvSpPr>
            <p:nvPr>
              <p:custDataLst>
                <p:tags r:id="rId26"/>
              </p:custDataLst>
            </p:nvPr>
          </p:nvSpPr>
          <p:spPr bwMode="gray">
            <a:xfrm>
              <a:off x="5368627" y="2589112"/>
              <a:ext cx="64635" cy="7722"/>
            </a:xfrm>
            <a:custGeom>
              <a:avLst/>
              <a:gdLst/>
              <a:ahLst/>
              <a:cxnLst>
                <a:cxn ang="0">
                  <a:pos x="0" y="2"/>
                </a:cxn>
                <a:cxn ang="0">
                  <a:pos x="35" y="6"/>
                </a:cxn>
                <a:cxn ang="0">
                  <a:pos x="50" y="0"/>
                </a:cxn>
                <a:cxn ang="0">
                  <a:pos x="0" y="2"/>
                </a:cxn>
                <a:cxn ang="0">
                  <a:pos x="0" y="2"/>
                </a:cxn>
              </a:cxnLst>
              <a:rect l="0" t="0" r="r" b="b"/>
              <a:pathLst>
                <a:path w="50" h="6">
                  <a:moveTo>
                    <a:pt x="0" y="2"/>
                  </a:moveTo>
                  <a:lnTo>
                    <a:pt x="35" y="6"/>
                  </a:lnTo>
                  <a:lnTo>
                    <a:pt x="50"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49" name="Freeform 5671"/>
            <p:cNvSpPr>
              <a:spLocks/>
            </p:cNvSpPr>
            <p:nvPr>
              <p:custDataLst>
                <p:tags r:id="rId27"/>
              </p:custDataLst>
            </p:nvPr>
          </p:nvSpPr>
          <p:spPr bwMode="gray">
            <a:xfrm>
              <a:off x="5704729" y="2500313"/>
              <a:ext cx="842841" cy="446570"/>
            </a:xfrm>
            <a:custGeom>
              <a:avLst/>
              <a:gdLst/>
              <a:ahLst/>
              <a:cxnLst>
                <a:cxn ang="0">
                  <a:pos x="24" y="67"/>
                </a:cxn>
                <a:cxn ang="0">
                  <a:pos x="35" y="75"/>
                </a:cxn>
                <a:cxn ang="0">
                  <a:pos x="22" y="84"/>
                </a:cxn>
                <a:cxn ang="0">
                  <a:pos x="19" y="92"/>
                </a:cxn>
                <a:cxn ang="0">
                  <a:pos x="124" y="97"/>
                </a:cxn>
                <a:cxn ang="0">
                  <a:pos x="131" y="114"/>
                </a:cxn>
                <a:cxn ang="0">
                  <a:pos x="131" y="127"/>
                </a:cxn>
                <a:cxn ang="0">
                  <a:pos x="120" y="150"/>
                </a:cxn>
                <a:cxn ang="0">
                  <a:pos x="129" y="161"/>
                </a:cxn>
                <a:cxn ang="0">
                  <a:pos x="140" y="165"/>
                </a:cxn>
                <a:cxn ang="0">
                  <a:pos x="152" y="174"/>
                </a:cxn>
                <a:cxn ang="0">
                  <a:pos x="103" y="187"/>
                </a:cxn>
                <a:cxn ang="0">
                  <a:pos x="146" y="184"/>
                </a:cxn>
                <a:cxn ang="0">
                  <a:pos x="138" y="204"/>
                </a:cxn>
                <a:cxn ang="0">
                  <a:pos x="109" y="212"/>
                </a:cxn>
                <a:cxn ang="0">
                  <a:pos x="95" y="253"/>
                </a:cxn>
                <a:cxn ang="0">
                  <a:pos x="97" y="277"/>
                </a:cxn>
                <a:cxn ang="0">
                  <a:pos x="107" y="320"/>
                </a:cxn>
                <a:cxn ang="0">
                  <a:pos x="142" y="335"/>
                </a:cxn>
                <a:cxn ang="0">
                  <a:pos x="170" y="345"/>
                </a:cxn>
                <a:cxn ang="0">
                  <a:pos x="198" y="300"/>
                </a:cxn>
                <a:cxn ang="0">
                  <a:pos x="238" y="270"/>
                </a:cxn>
                <a:cxn ang="0">
                  <a:pos x="245" y="260"/>
                </a:cxn>
                <a:cxn ang="0">
                  <a:pos x="305" y="245"/>
                </a:cxn>
                <a:cxn ang="0">
                  <a:pos x="434" y="200"/>
                </a:cxn>
                <a:cxn ang="0">
                  <a:pos x="485" y="180"/>
                </a:cxn>
                <a:cxn ang="0">
                  <a:pos x="440" y="180"/>
                </a:cxn>
                <a:cxn ang="0">
                  <a:pos x="455" y="165"/>
                </a:cxn>
                <a:cxn ang="0">
                  <a:pos x="468" y="172"/>
                </a:cxn>
                <a:cxn ang="0">
                  <a:pos x="500" y="161"/>
                </a:cxn>
                <a:cxn ang="0">
                  <a:pos x="500" y="150"/>
                </a:cxn>
                <a:cxn ang="0">
                  <a:pos x="493" y="137"/>
                </a:cxn>
                <a:cxn ang="0">
                  <a:pos x="528" y="124"/>
                </a:cxn>
                <a:cxn ang="0">
                  <a:pos x="541" y="118"/>
                </a:cxn>
                <a:cxn ang="0">
                  <a:pos x="534" y="112"/>
                </a:cxn>
                <a:cxn ang="0">
                  <a:pos x="541" y="92"/>
                </a:cxn>
                <a:cxn ang="0">
                  <a:pos x="530" y="84"/>
                </a:cxn>
                <a:cxn ang="0">
                  <a:pos x="566" y="79"/>
                </a:cxn>
                <a:cxn ang="0">
                  <a:pos x="562" y="60"/>
                </a:cxn>
                <a:cxn ang="0">
                  <a:pos x="607" y="34"/>
                </a:cxn>
                <a:cxn ang="0">
                  <a:pos x="607" y="19"/>
                </a:cxn>
                <a:cxn ang="0">
                  <a:pos x="558" y="19"/>
                </a:cxn>
                <a:cxn ang="0">
                  <a:pos x="519" y="21"/>
                </a:cxn>
                <a:cxn ang="0">
                  <a:pos x="575" y="9"/>
                </a:cxn>
                <a:cxn ang="0">
                  <a:pos x="348" y="4"/>
                </a:cxn>
                <a:cxn ang="0">
                  <a:pos x="238" y="11"/>
                </a:cxn>
                <a:cxn ang="0">
                  <a:pos x="163" y="23"/>
                </a:cxn>
                <a:cxn ang="0">
                  <a:pos x="135" y="26"/>
                </a:cxn>
                <a:cxn ang="0">
                  <a:pos x="109" y="39"/>
                </a:cxn>
                <a:cxn ang="0">
                  <a:pos x="90" y="51"/>
                </a:cxn>
                <a:cxn ang="0">
                  <a:pos x="0" y="64"/>
                </a:cxn>
              </a:cxnLst>
              <a:rect l="0" t="0" r="r" b="b"/>
              <a:pathLst>
                <a:path w="652" h="347">
                  <a:moveTo>
                    <a:pt x="0" y="64"/>
                  </a:moveTo>
                  <a:lnTo>
                    <a:pt x="24" y="67"/>
                  </a:lnTo>
                  <a:lnTo>
                    <a:pt x="22" y="71"/>
                  </a:lnTo>
                  <a:lnTo>
                    <a:pt x="35" y="75"/>
                  </a:lnTo>
                  <a:lnTo>
                    <a:pt x="2" y="79"/>
                  </a:lnTo>
                  <a:lnTo>
                    <a:pt x="22" y="84"/>
                  </a:lnTo>
                  <a:lnTo>
                    <a:pt x="11" y="88"/>
                  </a:lnTo>
                  <a:lnTo>
                    <a:pt x="19" y="92"/>
                  </a:lnTo>
                  <a:lnTo>
                    <a:pt x="94" y="92"/>
                  </a:lnTo>
                  <a:lnTo>
                    <a:pt x="124" y="97"/>
                  </a:lnTo>
                  <a:lnTo>
                    <a:pt x="120" y="103"/>
                  </a:lnTo>
                  <a:lnTo>
                    <a:pt x="131" y="114"/>
                  </a:lnTo>
                  <a:lnTo>
                    <a:pt x="125" y="122"/>
                  </a:lnTo>
                  <a:lnTo>
                    <a:pt x="131" y="127"/>
                  </a:lnTo>
                  <a:lnTo>
                    <a:pt x="120" y="142"/>
                  </a:lnTo>
                  <a:lnTo>
                    <a:pt x="120" y="150"/>
                  </a:lnTo>
                  <a:lnTo>
                    <a:pt x="110" y="156"/>
                  </a:lnTo>
                  <a:lnTo>
                    <a:pt x="129" y="161"/>
                  </a:lnTo>
                  <a:lnTo>
                    <a:pt x="140" y="156"/>
                  </a:lnTo>
                  <a:lnTo>
                    <a:pt x="140" y="165"/>
                  </a:lnTo>
                  <a:lnTo>
                    <a:pt x="152" y="167"/>
                  </a:lnTo>
                  <a:lnTo>
                    <a:pt x="152" y="174"/>
                  </a:lnTo>
                  <a:lnTo>
                    <a:pt x="120" y="169"/>
                  </a:lnTo>
                  <a:lnTo>
                    <a:pt x="103" y="187"/>
                  </a:lnTo>
                  <a:lnTo>
                    <a:pt x="114" y="193"/>
                  </a:lnTo>
                  <a:lnTo>
                    <a:pt x="146" y="184"/>
                  </a:lnTo>
                  <a:lnTo>
                    <a:pt x="148" y="193"/>
                  </a:lnTo>
                  <a:lnTo>
                    <a:pt x="138" y="204"/>
                  </a:lnTo>
                  <a:lnTo>
                    <a:pt x="120" y="204"/>
                  </a:lnTo>
                  <a:lnTo>
                    <a:pt x="109" y="212"/>
                  </a:lnTo>
                  <a:lnTo>
                    <a:pt x="86" y="245"/>
                  </a:lnTo>
                  <a:lnTo>
                    <a:pt x="95" y="253"/>
                  </a:lnTo>
                  <a:lnTo>
                    <a:pt x="92" y="272"/>
                  </a:lnTo>
                  <a:lnTo>
                    <a:pt x="97" y="277"/>
                  </a:lnTo>
                  <a:lnTo>
                    <a:pt x="95" y="285"/>
                  </a:lnTo>
                  <a:lnTo>
                    <a:pt x="107" y="320"/>
                  </a:lnTo>
                  <a:lnTo>
                    <a:pt x="114" y="330"/>
                  </a:lnTo>
                  <a:lnTo>
                    <a:pt x="142" y="335"/>
                  </a:lnTo>
                  <a:lnTo>
                    <a:pt x="161" y="347"/>
                  </a:lnTo>
                  <a:lnTo>
                    <a:pt x="170" y="345"/>
                  </a:lnTo>
                  <a:lnTo>
                    <a:pt x="200" y="311"/>
                  </a:lnTo>
                  <a:lnTo>
                    <a:pt x="198" y="300"/>
                  </a:lnTo>
                  <a:lnTo>
                    <a:pt x="225" y="287"/>
                  </a:lnTo>
                  <a:lnTo>
                    <a:pt x="238" y="270"/>
                  </a:lnTo>
                  <a:lnTo>
                    <a:pt x="234" y="259"/>
                  </a:lnTo>
                  <a:lnTo>
                    <a:pt x="245" y="260"/>
                  </a:lnTo>
                  <a:lnTo>
                    <a:pt x="253" y="253"/>
                  </a:lnTo>
                  <a:lnTo>
                    <a:pt x="305" y="245"/>
                  </a:lnTo>
                  <a:lnTo>
                    <a:pt x="360" y="215"/>
                  </a:lnTo>
                  <a:lnTo>
                    <a:pt x="434" y="200"/>
                  </a:lnTo>
                  <a:lnTo>
                    <a:pt x="476" y="185"/>
                  </a:lnTo>
                  <a:lnTo>
                    <a:pt x="485" y="180"/>
                  </a:lnTo>
                  <a:lnTo>
                    <a:pt x="457" y="176"/>
                  </a:lnTo>
                  <a:lnTo>
                    <a:pt x="440" y="180"/>
                  </a:lnTo>
                  <a:lnTo>
                    <a:pt x="455" y="172"/>
                  </a:lnTo>
                  <a:lnTo>
                    <a:pt x="455" y="165"/>
                  </a:lnTo>
                  <a:lnTo>
                    <a:pt x="466" y="163"/>
                  </a:lnTo>
                  <a:lnTo>
                    <a:pt x="468" y="172"/>
                  </a:lnTo>
                  <a:lnTo>
                    <a:pt x="494" y="174"/>
                  </a:lnTo>
                  <a:lnTo>
                    <a:pt x="500" y="161"/>
                  </a:lnTo>
                  <a:lnTo>
                    <a:pt x="474" y="144"/>
                  </a:lnTo>
                  <a:lnTo>
                    <a:pt x="500" y="150"/>
                  </a:lnTo>
                  <a:lnTo>
                    <a:pt x="504" y="139"/>
                  </a:lnTo>
                  <a:lnTo>
                    <a:pt x="493" y="137"/>
                  </a:lnTo>
                  <a:lnTo>
                    <a:pt x="526" y="129"/>
                  </a:lnTo>
                  <a:lnTo>
                    <a:pt x="528" y="124"/>
                  </a:lnTo>
                  <a:lnTo>
                    <a:pt x="515" y="122"/>
                  </a:lnTo>
                  <a:lnTo>
                    <a:pt x="541" y="118"/>
                  </a:lnTo>
                  <a:lnTo>
                    <a:pt x="549" y="112"/>
                  </a:lnTo>
                  <a:lnTo>
                    <a:pt x="534" y="112"/>
                  </a:lnTo>
                  <a:lnTo>
                    <a:pt x="547" y="97"/>
                  </a:lnTo>
                  <a:lnTo>
                    <a:pt x="541" y="92"/>
                  </a:lnTo>
                  <a:lnTo>
                    <a:pt x="526" y="90"/>
                  </a:lnTo>
                  <a:lnTo>
                    <a:pt x="530" y="84"/>
                  </a:lnTo>
                  <a:lnTo>
                    <a:pt x="562" y="82"/>
                  </a:lnTo>
                  <a:lnTo>
                    <a:pt x="566" y="79"/>
                  </a:lnTo>
                  <a:lnTo>
                    <a:pt x="554" y="67"/>
                  </a:lnTo>
                  <a:lnTo>
                    <a:pt x="562" y="60"/>
                  </a:lnTo>
                  <a:lnTo>
                    <a:pt x="562" y="54"/>
                  </a:lnTo>
                  <a:lnTo>
                    <a:pt x="607" y="34"/>
                  </a:lnTo>
                  <a:lnTo>
                    <a:pt x="652" y="24"/>
                  </a:lnTo>
                  <a:lnTo>
                    <a:pt x="607" y="19"/>
                  </a:lnTo>
                  <a:lnTo>
                    <a:pt x="519" y="28"/>
                  </a:lnTo>
                  <a:lnTo>
                    <a:pt x="558" y="19"/>
                  </a:lnTo>
                  <a:lnTo>
                    <a:pt x="556" y="15"/>
                  </a:lnTo>
                  <a:lnTo>
                    <a:pt x="519" y="21"/>
                  </a:lnTo>
                  <a:lnTo>
                    <a:pt x="521" y="15"/>
                  </a:lnTo>
                  <a:lnTo>
                    <a:pt x="575" y="9"/>
                  </a:lnTo>
                  <a:lnTo>
                    <a:pt x="509" y="0"/>
                  </a:lnTo>
                  <a:lnTo>
                    <a:pt x="348" y="4"/>
                  </a:lnTo>
                  <a:lnTo>
                    <a:pt x="266" y="17"/>
                  </a:lnTo>
                  <a:lnTo>
                    <a:pt x="238" y="11"/>
                  </a:lnTo>
                  <a:lnTo>
                    <a:pt x="159" y="19"/>
                  </a:lnTo>
                  <a:lnTo>
                    <a:pt x="163" y="23"/>
                  </a:lnTo>
                  <a:lnTo>
                    <a:pt x="152" y="26"/>
                  </a:lnTo>
                  <a:lnTo>
                    <a:pt x="135" y="26"/>
                  </a:lnTo>
                  <a:lnTo>
                    <a:pt x="82" y="39"/>
                  </a:lnTo>
                  <a:lnTo>
                    <a:pt x="109" y="39"/>
                  </a:lnTo>
                  <a:lnTo>
                    <a:pt x="109" y="43"/>
                  </a:lnTo>
                  <a:lnTo>
                    <a:pt x="90" y="51"/>
                  </a:lnTo>
                  <a:lnTo>
                    <a:pt x="13" y="58"/>
                  </a:lnTo>
                  <a:lnTo>
                    <a:pt x="0" y="64"/>
                  </a:lnTo>
                  <a:lnTo>
                    <a:pt x="0" y="6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50" name="Freeform 5638"/>
            <p:cNvSpPr>
              <a:spLocks/>
            </p:cNvSpPr>
            <p:nvPr>
              <p:custDataLst>
                <p:tags r:id="rId28"/>
              </p:custDataLst>
            </p:nvPr>
          </p:nvSpPr>
          <p:spPr bwMode="gray">
            <a:xfrm>
              <a:off x="6910820" y="4085539"/>
              <a:ext cx="275345" cy="191755"/>
            </a:xfrm>
            <a:custGeom>
              <a:avLst/>
              <a:gdLst/>
              <a:ahLst/>
              <a:cxnLst>
                <a:cxn ang="0">
                  <a:pos x="3" y="112"/>
                </a:cxn>
                <a:cxn ang="0">
                  <a:pos x="0" y="95"/>
                </a:cxn>
                <a:cxn ang="0">
                  <a:pos x="13" y="63"/>
                </a:cxn>
                <a:cxn ang="0">
                  <a:pos x="13" y="63"/>
                </a:cxn>
                <a:cxn ang="0">
                  <a:pos x="63" y="54"/>
                </a:cxn>
                <a:cxn ang="0">
                  <a:pos x="75" y="43"/>
                </a:cxn>
                <a:cxn ang="0">
                  <a:pos x="71" y="37"/>
                </a:cxn>
                <a:cxn ang="0">
                  <a:pos x="97" y="31"/>
                </a:cxn>
                <a:cxn ang="0">
                  <a:pos x="118" y="3"/>
                </a:cxn>
                <a:cxn ang="0">
                  <a:pos x="135" y="0"/>
                </a:cxn>
                <a:cxn ang="0">
                  <a:pos x="148" y="18"/>
                </a:cxn>
                <a:cxn ang="0">
                  <a:pos x="146" y="37"/>
                </a:cxn>
                <a:cxn ang="0">
                  <a:pos x="170" y="50"/>
                </a:cxn>
                <a:cxn ang="0">
                  <a:pos x="213" y="106"/>
                </a:cxn>
                <a:cxn ang="0">
                  <a:pos x="136" y="112"/>
                </a:cxn>
                <a:cxn ang="0">
                  <a:pos x="129" y="121"/>
                </a:cxn>
                <a:cxn ang="0">
                  <a:pos x="99" y="120"/>
                </a:cxn>
                <a:cxn ang="0">
                  <a:pos x="90" y="106"/>
                </a:cxn>
                <a:cxn ang="0">
                  <a:pos x="82" y="106"/>
                </a:cxn>
                <a:cxn ang="0">
                  <a:pos x="67" y="133"/>
                </a:cxn>
                <a:cxn ang="0">
                  <a:pos x="56" y="138"/>
                </a:cxn>
                <a:cxn ang="0">
                  <a:pos x="47" y="133"/>
                </a:cxn>
                <a:cxn ang="0">
                  <a:pos x="33" y="138"/>
                </a:cxn>
                <a:cxn ang="0">
                  <a:pos x="26" y="149"/>
                </a:cxn>
                <a:cxn ang="0">
                  <a:pos x="3" y="112"/>
                </a:cxn>
                <a:cxn ang="0">
                  <a:pos x="3" y="112"/>
                </a:cxn>
              </a:cxnLst>
              <a:rect l="0" t="0" r="r" b="b"/>
              <a:pathLst>
                <a:path w="213" h="149">
                  <a:moveTo>
                    <a:pt x="3" y="112"/>
                  </a:moveTo>
                  <a:lnTo>
                    <a:pt x="0" y="95"/>
                  </a:lnTo>
                  <a:lnTo>
                    <a:pt x="13" y="63"/>
                  </a:lnTo>
                  <a:lnTo>
                    <a:pt x="13" y="63"/>
                  </a:lnTo>
                  <a:lnTo>
                    <a:pt x="63" y="54"/>
                  </a:lnTo>
                  <a:lnTo>
                    <a:pt x="75" y="43"/>
                  </a:lnTo>
                  <a:lnTo>
                    <a:pt x="71" y="37"/>
                  </a:lnTo>
                  <a:lnTo>
                    <a:pt x="97" y="31"/>
                  </a:lnTo>
                  <a:lnTo>
                    <a:pt x="118" y="3"/>
                  </a:lnTo>
                  <a:lnTo>
                    <a:pt x="135" y="0"/>
                  </a:lnTo>
                  <a:lnTo>
                    <a:pt x="148" y="18"/>
                  </a:lnTo>
                  <a:lnTo>
                    <a:pt x="146" y="37"/>
                  </a:lnTo>
                  <a:lnTo>
                    <a:pt x="170" y="50"/>
                  </a:lnTo>
                  <a:lnTo>
                    <a:pt x="213" y="106"/>
                  </a:lnTo>
                  <a:lnTo>
                    <a:pt x="136" y="112"/>
                  </a:lnTo>
                  <a:lnTo>
                    <a:pt x="129" y="121"/>
                  </a:lnTo>
                  <a:lnTo>
                    <a:pt x="99" y="120"/>
                  </a:lnTo>
                  <a:lnTo>
                    <a:pt x="90" y="106"/>
                  </a:lnTo>
                  <a:lnTo>
                    <a:pt x="82" y="106"/>
                  </a:lnTo>
                  <a:lnTo>
                    <a:pt x="67" y="133"/>
                  </a:lnTo>
                  <a:lnTo>
                    <a:pt x="56" y="138"/>
                  </a:lnTo>
                  <a:lnTo>
                    <a:pt x="47" y="133"/>
                  </a:lnTo>
                  <a:lnTo>
                    <a:pt x="33" y="138"/>
                  </a:lnTo>
                  <a:lnTo>
                    <a:pt x="26" y="149"/>
                  </a:lnTo>
                  <a:lnTo>
                    <a:pt x="3" y="112"/>
                  </a:lnTo>
                  <a:lnTo>
                    <a:pt x="3" y="11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51" name="Freeform 5639"/>
            <p:cNvSpPr>
              <a:spLocks/>
            </p:cNvSpPr>
            <p:nvPr>
              <p:custDataLst>
                <p:tags r:id="rId29"/>
              </p:custDataLst>
            </p:nvPr>
          </p:nvSpPr>
          <p:spPr bwMode="gray">
            <a:xfrm>
              <a:off x="6498448" y="3989018"/>
              <a:ext cx="157710" cy="129982"/>
            </a:xfrm>
            <a:custGeom>
              <a:avLst/>
              <a:gdLst/>
              <a:ahLst/>
              <a:cxnLst>
                <a:cxn ang="0">
                  <a:pos x="116" y="41"/>
                </a:cxn>
                <a:cxn ang="0">
                  <a:pos x="107" y="43"/>
                </a:cxn>
                <a:cxn ang="0">
                  <a:pos x="90" y="17"/>
                </a:cxn>
                <a:cxn ang="0">
                  <a:pos x="88" y="0"/>
                </a:cxn>
                <a:cxn ang="0">
                  <a:pos x="73" y="2"/>
                </a:cxn>
                <a:cxn ang="0">
                  <a:pos x="43" y="26"/>
                </a:cxn>
                <a:cxn ang="0">
                  <a:pos x="25" y="32"/>
                </a:cxn>
                <a:cxn ang="0">
                  <a:pos x="4" y="63"/>
                </a:cxn>
                <a:cxn ang="0">
                  <a:pos x="0" y="86"/>
                </a:cxn>
                <a:cxn ang="0">
                  <a:pos x="6" y="93"/>
                </a:cxn>
                <a:cxn ang="0">
                  <a:pos x="26" y="91"/>
                </a:cxn>
                <a:cxn ang="0">
                  <a:pos x="41" y="101"/>
                </a:cxn>
                <a:cxn ang="0">
                  <a:pos x="38" y="76"/>
                </a:cxn>
                <a:cxn ang="0">
                  <a:pos x="41" y="73"/>
                </a:cxn>
                <a:cxn ang="0">
                  <a:pos x="81" y="71"/>
                </a:cxn>
                <a:cxn ang="0">
                  <a:pos x="98" y="73"/>
                </a:cxn>
                <a:cxn ang="0">
                  <a:pos x="98" y="73"/>
                </a:cxn>
                <a:cxn ang="0">
                  <a:pos x="107" y="63"/>
                </a:cxn>
                <a:cxn ang="0">
                  <a:pos x="116" y="65"/>
                </a:cxn>
                <a:cxn ang="0">
                  <a:pos x="122" y="56"/>
                </a:cxn>
                <a:cxn ang="0">
                  <a:pos x="116" y="41"/>
                </a:cxn>
                <a:cxn ang="0">
                  <a:pos x="116" y="41"/>
                </a:cxn>
              </a:cxnLst>
              <a:rect l="0" t="0" r="r" b="b"/>
              <a:pathLst>
                <a:path w="122" h="101">
                  <a:moveTo>
                    <a:pt x="116" y="41"/>
                  </a:moveTo>
                  <a:lnTo>
                    <a:pt x="107" y="43"/>
                  </a:lnTo>
                  <a:lnTo>
                    <a:pt x="90" y="17"/>
                  </a:lnTo>
                  <a:lnTo>
                    <a:pt x="88" y="0"/>
                  </a:lnTo>
                  <a:lnTo>
                    <a:pt x="73" y="2"/>
                  </a:lnTo>
                  <a:lnTo>
                    <a:pt x="43" y="26"/>
                  </a:lnTo>
                  <a:lnTo>
                    <a:pt x="25" y="32"/>
                  </a:lnTo>
                  <a:lnTo>
                    <a:pt x="4" y="63"/>
                  </a:lnTo>
                  <a:lnTo>
                    <a:pt x="0" y="86"/>
                  </a:lnTo>
                  <a:lnTo>
                    <a:pt x="6" y="93"/>
                  </a:lnTo>
                  <a:lnTo>
                    <a:pt x="26" y="91"/>
                  </a:lnTo>
                  <a:lnTo>
                    <a:pt x="41" y="101"/>
                  </a:lnTo>
                  <a:lnTo>
                    <a:pt x="38" y="76"/>
                  </a:lnTo>
                  <a:lnTo>
                    <a:pt x="41" y="73"/>
                  </a:lnTo>
                  <a:lnTo>
                    <a:pt x="81" y="71"/>
                  </a:lnTo>
                  <a:lnTo>
                    <a:pt x="98" y="73"/>
                  </a:lnTo>
                  <a:lnTo>
                    <a:pt x="98" y="73"/>
                  </a:lnTo>
                  <a:lnTo>
                    <a:pt x="107" y="63"/>
                  </a:lnTo>
                  <a:lnTo>
                    <a:pt x="116" y="65"/>
                  </a:lnTo>
                  <a:lnTo>
                    <a:pt x="122" y="56"/>
                  </a:lnTo>
                  <a:lnTo>
                    <a:pt x="116" y="41"/>
                  </a:lnTo>
                  <a:lnTo>
                    <a:pt x="116" y="4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52" name="Freeform 5640"/>
            <p:cNvSpPr>
              <a:spLocks/>
            </p:cNvSpPr>
            <p:nvPr>
              <p:custDataLst>
                <p:tags r:id="rId30"/>
              </p:custDataLst>
            </p:nvPr>
          </p:nvSpPr>
          <p:spPr bwMode="gray">
            <a:xfrm>
              <a:off x="6612206" y="3785680"/>
              <a:ext cx="327054" cy="280554"/>
            </a:xfrm>
            <a:custGeom>
              <a:avLst/>
              <a:gdLst/>
              <a:ahLst/>
              <a:cxnLst>
                <a:cxn ang="0">
                  <a:pos x="214" y="178"/>
                </a:cxn>
                <a:cxn ang="0">
                  <a:pos x="212" y="169"/>
                </a:cxn>
                <a:cxn ang="0">
                  <a:pos x="244" y="118"/>
                </a:cxn>
                <a:cxn ang="0">
                  <a:pos x="253" y="57"/>
                </a:cxn>
                <a:cxn ang="0">
                  <a:pos x="246" y="51"/>
                </a:cxn>
                <a:cxn ang="0">
                  <a:pos x="238" y="38"/>
                </a:cxn>
                <a:cxn ang="0">
                  <a:pos x="238" y="10"/>
                </a:cxn>
                <a:cxn ang="0">
                  <a:pos x="221" y="2"/>
                </a:cxn>
                <a:cxn ang="0">
                  <a:pos x="188" y="0"/>
                </a:cxn>
                <a:cxn ang="0">
                  <a:pos x="88" y="75"/>
                </a:cxn>
                <a:cxn ang="0">
                  <a:pos x="64" y="81"/>
                </a:cxn>
                <a:cxn ang="0">
                  <a:pos x="64" y="137"/>
                </a:cxn>
                <a:cxn ang="0">
                  <a:pos x="58" y="145"/>
                </a:cxn>
                <a:cxn ang="0">
                  <a:pos x="0" y="158"/>
                </a:cxn>
                <a:cxn ang="0">
                  <a:pos x="2" y="175"/>
                </a:cxn>
                <a:cxn ang="0">
                  <a:pos x="19" y="201"/>
                </a:cxn>
                <a:cxn ang="0">
                  <a:pos x="28" y="199"/>
                </a:cxn>
                <a:cxn ang="0">
                  <a:pos x="34" y="214"/>
                </a:cxn>
                <a:cxn ang="0">
                  <a:pos x="34" y="214"/>
                </a:cxn>
                <a:cxn ang="0">
                  <a:pos x="40" y="208"/>
                </a:cxn>
                <a:cxn ang="0">
                  <a:pos x="49" y="206"/>
                </a:cxn>
                <a:cxn ang="0">
                  <a:pos x="55" y="218"/>
                </a:cxn>
                <a:cxn ang="0">
                  <a:pos x="56" y="201"/>
                </a:cxn>
                <a:cxn ang="0">
                  <a:pos x="71" y="182"/>
                </a:cxn>
                <a:cxn ang="0">
                  <a:pos x="88" y="178"/>
                </a:cxn>
                <a:cxn ang="0">
                  <a:pos x="111" y="195"/>
                </a:cxn>
                <a:cxn ang="0">
                  <a:pos x="122" y="188"/>
                </a:cxn>
                <a:cxn ang="0">
                  <a:pos x="146" y="199"/>
                </a:cxn>
                <a:cxn ang="0">
                  <a:pos x="165" y="188"/>
                </a:cxn>
                <a:cxn ang="0">
                  <a:pos x="195" y="191"/>
                </a:cxn>
                <a:cxn ang="0">
                  <a:pos x="210" y="178"/>
                </a:cxn>
                <a:cxn ang="0">
                  <a:pos x="214" y="178"/>
                </a:cxn>
                <a:cxn ang="0">
                  <a:pos x="214" y="178"/>
                </a:cxn>
              </a:cxnLst>
              <a:rect l="0" t="0" r="r" b="b"/>
              <a:pathLst>
                <a:path w="253" h="218">
                  <a:moveTo>
                    <a:pt x="214" y="178"/>
                  </a:moveTo>
                  <a:lnTo>
                    <a:pt x="212" y="169"/>
                  </a:lnTo>
                  <a:lnTo>
                    <a:pt x="244" y="118"/>
                  </a:lnTo>
                  <a:lnTo>
                    <a:pt x="253" y="57"/>
                  </a:lnTo>
                  <a:lnTo>
                    <a:pt x="246" y="51"/>
                  </a:lnTo>
                  <a:lnTo>
                    <a:pt x="238" y="38"/>
                  </a:lnTo>
                  <a:lnTo>
                    <a:pt x="238" y="10"/>
                  </a:lnTo>
                  <a:lnTo>
                    <a:pt x="221" y="2"/>
                  </a:lnTo>
                  <a:lnTo>
                    <a:pt x="188" y="0"/>
                  </a:lnTo>
                  <a:lnTo>
                    <a:pt x="88" y="75"/>
                  </a:lnTo>
                  <a:lnTo>
                    <a:pt x="64" y="81"/>
                  </a:lnTo>
                  <a:lnTo>
                    <a:pt x="64" y="137"/>
                  </a:lnTo>
                  <a:lnTo>
                    <a:pt x="58" y="145"/>
                  </a:lnTo>
                  <a:lnTo>
                    <a:pt x="0" y="158"/>
                  </a:lnTo>
                  <a:lnTo>
                    <a:pt x="2" y="175"/>
                  </a:lnTo>
                  <a:lnTo>
                    <a:pt x="19" y="201"/>
                  </a:lnTo>
                  <a:lnTo>
                    <a:pt x="28" y="199"/>
                  </a:lnTo>
                  <a:lnTo>
                    <a:pt x="34" y="214"/>
                  </a:lnTo>
                  <a:lnTo>
                    <a:pt x="34" y="214"/>
                  </a:lnTo>
                  <a:lnTo>
                    <a:pt x="40" y="208"/>
                  </a:lnTo>
                  <a:lnTo>
                    <a:pt x="49" y="206"/>
                  </a:lnTo>
                  <a:lnTo>
                    <a:pt x="55" y="218"/>
                  </a:lnTo>
                  <a:lnTo>
                    <a:pt x="56" y="201"/>
                  </a:lnTo>
                  <a:lnTo>
                    <a:pt x="71" y="182"/>
                  </a:lnTo>
                  <a:lnTo>
                    <a:pt x="88" y="178"/>
                  </a:lnTo>
                  <a:lnTo>
                    <a:pt x="111" y="195"/>
                  </a:lnTo>
                  <a:lnTo>
                    <a:pt x="122" y="188"/>
                  </a:lnTo>
                  <a:lnTo>
                    <a:pt x="146" y="199"/>
                  </a:lnTo>
                  <a:lnTo>
                    <a:pt x="165" y="188"/>
                  </a:lnTo>
                  <a:lnTo>
                    <a:pt x="195" y="191"/>
                  </a:lnTo>
                  <a:lnTo>
                    <a:pt x="210" y="178"/>
                  </a:lnTo>
                  <a:lnTo>
                    <a:pt x="214" y="178"/>
                  </a:lnTo>
                  <a:lnTo>
                    <a:pt x="214" y="17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53" name="Freeform 5641"/>
            <p:cNvSpPr>
              <a:spLocks/>
            </p:cNvSpPr>
            <p:nvPr>
              <p:custDataLst>
                <p:tags r:id="rId31"/>
              </p:custDataLst>
            </p:nvPr>
          </p:nvSpPr>
          <p:spPr bwMode="gray">
            <a:xfrm>
              <a:off x="6356251" y="3749646"/>
              <a:ext cx="338688" cy="352623"/>
            </a:xfrm>
            <a:custGeom>
              <a:avLst/>
              <a:gdLst/>
              <a:ahLst/>
              <a:cxnLst>
                <a:cxn ang="0">
                  <a:pos x="198" y="186"/>
                </a:cxn>
                <a:cxn ang="0">
                  <a:pos x="256" y="173"/>
                </a:cxn>
                <a:cxn ang="0">
                  <a:pos x="262" y="165"/>
                </a:cxn>
                <a:cxn ang="0">
                  <a:pos x="262" y="109"/>
                </a:cxn>
                <a:cxn ang="0">
                  <a:pos x="247" y="111"/>
                </a:cxn>
                <a:cxn ang="0">
                  <a:pos x="245" y="94"/>
                </a:cxn>
                <a:cxn ang="0">
                  <a:pos x="225" y="85"/>
                </a:cxn>
                <a:cxn ang="0">
                  <a:pos x="213" y="70"/>
                </a:cxn>
                <a:cxn ang="0">
                  <a:pos x="121" y="0"/>
                </a:cxn>
                <a:cxn ang="0">
                  <a:pos x="93" y="0"/>
                </a:cxn>
                <a:cxn ang="0">
                  <a:pos x="107" y="174"/>
                </a:cxn>
                <a:cxn ang="0">
                  <a:pos x="35" y="174"/>
                </a:cxn>
                <a:cxn ang="0">
                  <a:pos x="22" y="182"/>
                </a:cxn>
                <a:cxn ang="0">
                  <a:pos x="13" y="169"/>
                </a:cxn>
                <a:cxn ang="0">
                  <a:pos x="0" y="189"/>
                </a:cxn>
                <a:cxn ang="0">
                  <a:pos x="11" y="233"/>
                </a:cxn>
                <a:cxn ang="0">
                  <a:pos x="20" y="240"/>
                </a:cxn>
                <a:cxn ang="0">
                  <a:pos x="47" y="231"/>
                </a:cxn>
                <a:cxn ang="0">
                  <a:pos x="65" y="274"/>
                </a:cxn>
                <a:cxn ang="0">
                  <a:pos x="69" y="270"/>
                </a:cxn>
                <a:cxn ang="0">
                  <a:pos x="78" y="274"/>
                </a:cxn>
                <a:cxn ang="0">
                  <a:pos x="92" y="264"/>
                </a:cxn>
                <a:cxn ang="0">
                  <a:pos x="97" y="272"/>
                </a:cxn>
                <a:cxn ang="0">
                  <a:pos x="110" y="272"/>
                </a:cxn>
                <a:cxn ang="0">
                  <a:pos x="114" y="249"/>
                </a:cxn>
                <a:cxn ang="0">
                  <a:pos x="135" y="218"/>
                </a:cxn>
                <a:cxn ang="0">
                  <a:pos x="153" y="212"/>
                </a:cxn>
                <a:cxn ang="0">
                  <a:pos x="183" y="188"/>
                </a:cxn>
                <a:cxn ang="0">
                  <a:pos x="198" y="186"/>
                </a:cxn>
                <a:cxn ang="0">
                  <a:pos x="198" y="186"/>
                </a:cxn>
              </a:cxnLst>
              <a:rect l="0" t="0" r="r" b="b"/>
              <a:pathLst>
                <a:path w="262" h="274">
                  <a:moveTo>
                    <a:pt x="198" y="186"/>
                  </a:moveTo>
                  <a:lnTo>
                    <a:pt x="256" y="173"/>
                  </a:lnTo>
                  <a:lnTo>
                    <a:pt x="262" y="165"/>
                  </a:lnTo>
                  <a:lnTo>
                    <a:pt x="262" y="109"/>
                  </a:lnTo>
                  <a:lnTo>
                    <a:pt x="247" y="111"/>
                  </a:lnTo>
                  <a:lnTo>
                    <a:pt x="245" y="94"/>
                  </a:lnTo>
                  <a:lnTo>
                    <a:pt x="225" y="85"/>
                  </a:lnTo>
                  <a:lnTo>
                    <a:pt x="213" y="70"/>
                  </a:lnTo>
                  <a:lnTo>
                    <a:pt x="121" y="0"/>
                  </a:lnTo>
                  <a:lnTo>
                    <a:pt x="93" y="0"/>
                  </a:lnTo>
                  <a:lnTo>
                    <a:pt x="107" y="174"/>
                  </a:lnTo>
                  <a:lnTo>
                    <a:pt x="35" y="174"/>
                  </a:lnTo>
                  <a:lnTo>
                    <a:pt x="22" y="182"/>
                  </a:lnTo>
                  <a:lnTo>
                    <a:pt x="13" y="169"/>
                  </a:lnTo>
                  <a:lnTo>
                    <a:pt x="0" y="189"/>
                  </a:lnTo>
                  <a:lnTo>
                    <a:pt x="11" y="233"/>
                  </a:lnTo>
                  <a:lnTo>
                    <a:pt x="20" y="240"/>
                  </a:lnTo>
                  <a:lnTo>
                    <a:pt x="47" y="231"/>
                  </a:lnTo>
                  <a:lnTo>
                    <a:pt x="65" y="274"/>
                  </a:lnTo>
                  <a:lnTo>
                    <a:pt x="69" y="270"/>
                  </a:lnTo>
                  <a:lnTo>
                    <a:pt x="78" y="274"/>
                  </a:lnTo>
                  <a:lnTo>
                    <a:pt x="92" y="264"/>
                  </a:lnTo>
                  <a:lnTo>
                    <a:pt x="97" y="272"/>
                  </a:lnTo>
                  <a:lnTo>
                    <a:pt x="110" y="272"/>
                  </a:lnTo>
                  <a:lnTo>
                    <a:pt x="114" y="249"/>
                  </a:lnTo>
                  <a:lnTo>
                    <a:pt x="135" y="218"/>
                  </a:lnTo>
                  <a:lnTo>
                    <a:pt x="153" y="212"/>
                  </a:lnTo>
                  <a:lnTo>
                    <a:pt x="183" y="188"/>
                  </a:lnTo>
                  <a:lnTo>
                    <a:pt x="198" y="186"/>
                  </a:lnTo>
                  <a:lnTo>
                    <a:pt x="198" y="186"/>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54" name="Freeform 5642"/>
            <p:cNvSpPr>
              <a:spLocks/>
            </p:cNvSpPr>
            <p:nvPr>
              <p:custDataLst>
                <p:tags r:id="rId32"/>
              </p:custDataLst>
            </p:nvPr>
          </p:nvSpPr>
          <p:spPr bwMode="gray">
            <a:xfrm>
              <a:off x="7065944" y="3795976"/>
              <a:ext cx="343859" cy="462014"/>
            </a:xfrm>
            <a:custGeom>
              <a:avLst/>
              <a:gdLst/>
              <a:ahLst/>
              <a:cxnLst>
                <a:cxn ang="0">
                  <a:pos x="228" y="328"/>
                </a:cxn>
                <a:cxn ang="0">
                  <a:pos x="215" y="324"/>
                </a:cxn>
                <a:cxn ang="0">
                  <a:pos x="198" y="290"/>
                </a:cxn>
                <a:cxn ang="0">
                  <a:pos x="181" y="281"/>
                </a:cxn>
                <a:cxn ang="0">
                  <a:pos x="187" y="271"/>
                </a:cxn>
                <a:cxn ang="0">
                  <a:pos x="200" y="268"/>
                </a:cxn>
                <a:cxn ang="0">
                  <a:pos x="202" y="234"/>
                </a:cxn>
                <a:cxn ang="0">
                  <a:pos x="230" y="187"/>
                </a:cxn>
                <a:cxn ang="0">
                  <a:pos x="241" y="114"/>
                </a:cxn>
                <a:cxn ang="0">
                  <a:pos x="260" y="103"/>
                </a:cxn>
                <a:cxn ang="0">
                  <a:pos x="266" y="93"/>
                </a:cxn>
                <a:cxn ang="0">
                  <a:pos x="251" y="82"/>
                </a:cxn>
                <a:cxn ang="0">
                  <a:pos x="236" y="19"/>
                </a:cxn>
                <a:cxn ang="0">
                  <a:pos x="219" y="7"/>
                </a:cxn>
                <a:cxn ang="0">
                  <a:pos x="215" y="0"/>
                </a:cxn>
                <a:cxn ang="0">
                  <a:pos x="191" y="22"/>
                </a:cxn>
                <a:cxn ang="0">
                  <a:pos x="178" y="19"/>
                </a:cxn>
                <a:cxn ang="0">
                  <a:pos x="46" y="19"/>
                </a:cxn>
                <a:cxn ang="0">
                  <a:pos x="46" y="19"/>
                </a:cxn>
                <a:cxn ang="0">
                  <a:pos x="46" y="54"/>
                </a:cxn>
                <a:cxn ang="0">
                  <a:pos x="33" y="56"/>
                </a:cxn>
                <a:cxn ang="0">
                  <a:pos x="31" y="67"/>
                </a:cxn>
                <a:cxn ang="0">
                  <a:pos x="33" y="131"/>
                </a:cxn>
                <a:cxn ang="0">
                  <a:pos x="31" y="137"/>
                </a:cxn>
                <a:cxn ang="0">
                  <a:pos x="16" y="137"/>
                </a:cxn>
                <a:cxn ang="0">
                  <a:pos x="0" y="187"/>
                </a:cxn>
                <a:cxn ang="0">
                  <a:pos x="15" y="215"/>
                </a:cxn>
                <a:cxn ang="0">
                  <a:pos x="15" y="225"/>
                </a:cxn>
                <a:cxn ang="0">
                  <a:pos x="28" y="243"/>
                </a:cxn>
                <a:cxn ang="0">
                  <a:pos x="26" y="262"/>
                </a:cxn>
                <a:cxn ang="0">
                  <a:pos x="50" y="275"/>
                </a:cxn>
                <a:cxn ang="0">
                  <a:pos x="93" y="331"/>
                </a:cxn>
                <a:cxn ang="0">
                  <a:pos x="104" y="345"/>
                </a:cxn>
                <a:cxn ang="0">
                  <a:pos x="131" y="343"/>
                </a:cxn>
                <a:cxn ang="0">
                  <a:pos x="148" y="359"/>
                </a:cxn>
                <a:cxn ang="0">
                  <a:pos x="164" y="359"/>
                </a:cxn>
                <a:cxn ang="0">
                  <a:pos x="198" y="352"/>
                </a:cxn>
                <a:cxn ang="0">
                  <a:pos x="206" y="341"/>
                </a:cxn>
                <a:cxn ang="0">
                  <a:pos x="228" y="341"/>
                </a:cxn>
                <a:cxn ang="0">
                  <a:pos x="228" y="328"/>
                </a:cxn>
                <a:cxn ang="0">
                  <a:pos x="228" y="328"/>
                </a:cxn>
              </a:cxnLst>
              <a:rect l="0" t="0" r="r" b="b"/>
              <a:pathLst>
                <a:path w="266" h="359">
                  <a:moveTo>
                    <a:pt x="228" y="328"/>
                  </a:moveTo>
                  <a:lnTo>
                    <a:pt x="215" y="324"/>
                  </a:lnTo>
                  <a:lnTo>
                    <a:pt x="198" y="290"/>
                  </a:lnTo>
                  <a:lnTo>
                    <a:pt x="181" y="281"/>
                  </a:lnTo>
                  <a:lnTo>
                    <a:pt x="187" y="271"/>
                  </a:lnTo>
                  <a:lnTo>
                    <a:pt x="200" y="268"/>
                  </a:lnTo>
                  <a:lnTo>
                    <a:pt x="202" y="234"/>
                  </a:lnTo>
                  <a:lnTo>
                    <a:pt x="230" y="187"/>
                  </a:lnTo>
                  <a:lnTo>
                    <a:pt x="241" y="114"/>
                  </a:lnTo>
                  <a:lnTo>
                    <a:pt x="260" y="103"/>
                  </a:lnTo>
                  <a:lnTo>
                    <a:pt x="266" y="93"/>
                  </a:lnTo>
                  <a:lnTo>
                    <a:pt x="251" y="82"/>
                  </a:lnTo>
                  <a:lnTo>
                    <a:pt x="236" y="19"/>
                  </a:lnTo>
                  <a:lnTo>
                    <a:pt x="219" y="7"/>
                  </a:lnTo>
                  <a:lnTo>
                    <a:pt x="215" y="0"/>
                  </a:lnTo>
                  <a:lnTo>
                    <a:pt x="191" y="22"/>
                  </a:lnTo>
                  <a:lnTo>
                    <a:pt x="178" y="19"/>
                  </a:lnTo>
                  <a:lnTo>
                    <a:pt x="46" y="19"/>
                  </a:lnTo>
                  <a:lnTo>
                    <a:pt x="46" y="19"/>
                  </a:lnTo>
                  <a:lnTo>
                    <a:pt x="46" y="54"/>
                  </a:lnTo>
                  <a:lnTo>
                    <a:pt x="33" y="56"/>
                  </a:lnTo>
                  <a:lnTo>
                    <a:pt x="31" y="67"/>
                  </a:lnTo>
                  <a:lnTo>
                    <a:pt x="33" y="131"/>
                  </a:lnTo>
                  <a:lnTo>
                    <a:pt x="31" y="137"/>
                  </a:lnTo>
                  <a:lnTo>
                    <a:pt x="16" y="137"/>
                  </a:lnTo>
                  <a:lnTo>
                    <a:pt x="0" y="187"/>
                  </a:lnTo>
                  <a:lnTo>
                    <a:pt x="15" y="215"/>
                  </a:lnTo>
                  <a:lnTo>
                    <a:pt x="15" y="225"/>
                  </a:lnTo>
                  <a:lnTo>
                    <a:pt x="28" y="243"/>
                  </a:lnTo>
                  <a:lnTo>
                    <a:pt x="26" y="262"/>
                  </a:lnTo>
                  <a:lnTo>
                    <a:pt x="50" y="275"/>
                  </a:lnTo>
                  <a:lnTo>
                    <a:pt x="93" y="331"/>
                  </a:lnTo>
                  <a:lnTo>
                    <a:pt x="104" y="345"/>
                  </a:lnTo>
                  <a:lnTo>
                    <a:pt x="131" y="343"/>
                  </a:lnTo>
                  <a:lnTo>
                    <a:pt x="148" y="359"/>
                  </a:lnTo>
                  <a:lnTo>
                    <a:pt x="164" y="359"/>
                  </a:lnTo>
                  <a:lnTo>
                    <a:pt x="198" y="352"/>
                  </a:lnTo>
                  <a:lnTo>
                    <a:pt x="206" y="341"/>
                  </a:lnTo>
                  <a:lnTo>
                    <a:pt x="228" y="341"/>
                  </a:lnTo>
                  <a:lnTo>
                    <a:pt x="228" y="328"/>
                  </a:lnTo>
                  <a:lnTo>
                    <a:pt x="228" y="32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55" name="Freeform 5643"/>
            <p:cNvSpPr>
              <a:spLocks/>
            </p:cNvSpPr>
            <p:nvPr>
              <p:custDataLst>
                <p:tags r:id="rId33"/>
              </p:custDataLst>
            </p:nvPr>
          </p:nvSpPr>
          <p:spPr bwMode="gray">
            <a:xfrm>
              <a:off x="6886258" y="3793402"/>
              <a:ext cx="222345" cy="373214"/>
            </a:xfrm>
            <a:custGeom>
              <a:avLst/>
              <a:gdLst/>
              <a:ahLst/>
              <a:cxnLst>
                <a:cxn ang="0">
                  <a:pos x="26" y="32"/>
                </a:cxn>
                <a:cxn ang="0">
                  <a:pos x="34" y="45"/>
                </a:cxn>
                <a:cxn ang="0">
                  <a:pos x="41" y="51"/>
                </a:cxn>
                <a:cxn ang="0">
                  <a:pos x="32" y="112"/>
                </a:cxn>
                <a:cxn ang="0">
                  <a:pos x="0" y="163"/>
                </a:cxn>
                <a:cxn ang="0">
                  <a:pos x="2" y="172"/>
                </a:cxn>
                <a:cxn ang="0">
                  <a:pos x="11" y="185"/>
                </a:cxn>
                <a:cxn ang="0">
                  <a:pos x="19" y="191"/>
                </a:cxn>
                <a:cxn ang="0">
                  <a:pos x="19" y="191"/>
                </a:cxn>
                <a:cxn ang="0">
                  <a:pos x="24" y="225"/>
                </a:cxn>
                <a:cxn ang="0">
                  <a:pos x="32" y="240"/>
                </a:cxn>
                <a:cxn ang="0">
                  <a:pos x="17" y="243"/>
                </a:cxn>
                <a:cxn ang="0">
                  <a:pos x="11" y="255"/>
                </a:cxn>
                <a:cxn ang="0">
                  <a:pos x="26" y="268"/>
                </a:cxn>
                <a:cxn ang="0">
                  <a:pos x="32" y="290"/>
                </a:cxn>
                <a:cxn ang="0">
                  <a:pos x="82" y="281"/>
                </a:cxn>
                <a:cxn ang="0">
                  <a:pos x="94" y="270"/>
                </a:cxn>
                <a:cxn ang="0">
                  <a:pos x="90" y="264"/>
                </a:cxn>
                <a:cxn ang="0">
                  <a:pos x="116" y="258"/>
                </a:cxn>
                <a:cxn ang="0">
                  <a:pos x="137" y="230"/>
                </a:cxn>
                <a:cxn ang="0">
                  <a:pos x="154" y="227"/>
                </a:cxn>
                <a:cxn ang="0">
                  <a:pos x="154" y="217"/>
                </a:cxn>
                <a:cxn ang="0">
                  <a:pos x="139" y="189"/>
                </a:cxn>
                <a:cxn ang="0">
                  <a:pos x="155" y="139"/>
                </a:cxn>
                <a:cxn ang="0">
                  <a:pos x="170" y="139"/>
                </a:cxn>
                <a:cxn ang="0">
                  <a:pos x="172" y="133"/>
                </a:cxn>
                <a:cxn ang="0">
                  <a:pos x="170" y="69"/>
                </a:cxn>
                <a:cxn ang="0">
                  <a:pos x="49" y="0"/>
                </a:cxn>
                <a:cxn ang="0">
                  <a:pos x="26" y="4"/>
                </a:cxn>
                <a:cxn ang="0">
                  <a:pos x="26" y="32"/>
                </a:cxn>
                <a:cxn ang="0">
                  <a:pos x="26" y="32"/>
                </a:cxn>
              </a:cxnLst>
              <a:rect l="0" t="0" r="r" b="b"/>
              <a:pathLst>
                <a:path w="172" h="290">
                  <a:moveTo>
                    <a:pt x="26" y="32"/>
                  </a:moveTo>
                  <a:lnTo>
                    <a:pt x="34" y="45"/>
                  </a:lnTo>
                  <a:lnTo>
                    <a:pt x="41" y="51"/>
                  </a:lnTo>
                  <a:lnTo>
                    <a:pt x="32" y="112"/>
                  </a:lnTo>
                  <a:lnTo>
                    <a:pt x="0" y="163"/>
                  </a:lnTo>
                  <a:lnTo>
                    <a:pt x="2" y="172"/>
                  </a:lnTo>
                  <a:lnTo>
                    <a:pt x="11" y="185"/>
                  </a:lnTo>
                  <a:lnTo>
                    <a:pt x="19" y="191"/>
                  </a:lnTo>
                  <a:lnTo>
                    <a:pt x="19" y="191"/>
                  </a:lnTo>
                  <a:lnTo>
                    <a:pt x="24" y="225"/>
                  </a:lnTo>
                  <a:lnTo>
                    <a:pt x="32" y="240"/>
                  </a:lnTo>
                  <a:lnTo>
                    <a:pt x="17" y="243"/>
                  </a:lnTo>
                  <a:lnTo>
                    <a:pt x="11" y="255"/>
                  </a:lnTo>
                  <a:lnTo>
                    <a:pt x="26" y="268"/>
                  </a:lnTo>
                  <a:lnTo>
                    <a:pt x="32" y="290"/>
                  </a:lnTo>
                  <a:lnTo>
                    <a:pt x="82" y="281"/>
                  </a:lnTo>
                  <a:lnTo>
                    <a:pt x="94" y="270"/>
                  </a:lnTo>
                  <a:lnTo>
                    <a:pt x="90" y="264"/>
                  </a:lnTo>
                  <a:lnTo>
                    <a:pt x="116" y="258"/>
                  </a:lnTo>
                  <a:lnTo>
                    <a:pt x="137" y="230"/>
                  </a:lnTo>
                  <a:lnTo>
                    <a:pt x="154" y="227"/>
                  </a:lnTo>
                  <a:lnTo>
                    <a:pt x="154" y="217"/>
                  </a:lnTo>
                  <a:lnTo>
                    <a:pt x="139" y="189"/>
                  </a:lnTo>
                  <a:lnTo>
                    <a:pt x="155" y="139"/>
                  </a:lnTo>
                  <a:lnTo>
                    <a:pt x="170" y="139"/>
                  </a:lnTo>
                  <a:lnTo>
                    <a:pt x="172" y="133"/>
                  </a:lnTo>
                  <a:lnTo>
                    <a:pt x="170" y="69"/>
                  </a:lnTo>
                  <a:lnTo>
                    <a:pt x="49" y="0"/>
                  </a:lnTo>
                  <a:lnTo>
                    <a:pt x="26" y="4"/>
                  </a:lnTo>
                  <a:lnTo>
                    <a:pt x="26" y="32"/>
                  </a:lnTo>
                  <a:lnTo>
                    <a:pt x="26" y="3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56" name="Freeform 5644"/>
            <p:cNvSpPr>
              <a:spLocks/>
            </p:cNvSpPr>
            <p:nvPr>
              <p:custDataLst>
                <p:tags r:id="rId34"/>
              </p:custDataLst>
            </p:nvPr>
          </p:nvSpPr>
          <p:spPr bwMode="gray">
            <a:xfrm>
              <a:off x="7493828" y="3925957"/>
              <a:ext cx="218467" cy="115825"/>
            </a:xfrm>
            <a:custGeom>
              <a:avLst/>
              <a:gdLst/>
              <a:ahLst/>
              <a:cxnLst>
                <a:cxn ang="0">
                  <a:pos x="2" y="22"/>
                </a:cxn>
                <a:cxn ang="0">
                  <a:pos x="17" y="11"/>
                </a:cxn>
                <a:cxn ang="0">
                  <a:pos x="51" y="51"/>
                </a:cxn>
                <a:cxn ang="0">
                  <a:pos x="107" y="9"/>
                </a:cxn>
                <a:cxn ang="0">
                  <a:pos x="159" y="0"/>
                </a:cxn>
                <a:cxn ang="0">
                  <a:pos x="169" y="19"/>
                </a:cxn>
                <a:cxn ang="0">
                  <a:pos x="167" y="21"/>
                </a:cxn>
                <a:cxn ang="0">
                  <a:pos x="159" y="26"/>
                </a:cxn>
                <a:cxn ang="0">
                  <a:pos x="156" y="37"/>
                </a:cxn>
                <a:cxn ang="0">
                  <a:pos x="116" y="54"/>
                </a:cxn>
                <a:cxn ang="0">
                  <a:pos x="75" y="81"/>
                </a:cxn>
                <a:cxn ang="0">
                  <a:pos x="53" y="81"/>
                </a:cxn>
                <a:cxn ang="0">
                  <a:pos x="41" y="88"/>
                </a:cxn>
                <a:cxn ang="0">
                  <a:pos x="17" y="90"/>
                </a:cxn>
                <a:cxn ang="0">
                  <a:pos x="0" y="24"/>
                </a:cxn>
                <a:cxn ang="0">
                  <a:pos x="2" y="22"/>
                </a:cxn>
                <a:cxn ang="0">
                  <a:pos x="2" y="22"/>
                </a:cxn>
              </a:cxnLst>
              <a:rect l="0" t="0" r="r" b="b"/>
              <a:pathLst>
                <a:path w="169" h="90">
                  <a:moveTo>
                    <a:pt x="2" y="22"/>
                  </a:moveTo>
                  <a:lnTo>
                    <a:pt x="17" y="11"/>
                  </a:lnTo>
                  <a:lnTo>
                    <a:pt x="51" y="51"/>
                  </a:lnTo>
                  <a:lnTo>
                    <a:pt x="107" y="9"/>
                  </a:lnTo>
                  <a:lnTo>
                    <a:pt x="159" y="0"/>
                  </a:lnTo>
                  <a:lnTo>
                    <a:pt x="169" y="19"/>
                  </a:lnTo>
                  <a:lnTo>
                    <a:pt x="167" y="21"/>
                  </a:lnTo>
                  <a:lnTo>
                    <a:pt x="159" y="26"/>
                  </a:lnTo>
                  <a:lnTo>
                    <a:pt x="156" y="37"/>
                  </a:lnTo>
                  <a:lnTo>
                    <a:pt x="116" y="54"/>
                  </a:lnTo>
                  <a:lnTo>
                    <a:pt x="75" y="81"/>
                  </a:lnTo>
                  <a:lnTo>
                    <a:pt x="53" y="81"/>
                  </a:lnTo>
                  <a:lnTo>
                    <a:pt x="41" y="88"/>
                  </a:lnTo>
                  <a:lnTo>
                    <a:pt x="17" y="90"/>
                  </a:lnTo>
                  <a:lnTo>
                    <a:pt x="0" y="24"/>
                  </a:lnTo>
                  <a:lnTo>
                    <a:pt x="2" y="22"/>
                  </a:lnTo>
                  <a:lnTo>
                    <a:pt x="2" y="2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57" name="Freeform 5652"/>
            <p:cNvSpPr>
              <a:spLocks/>
            </p:cNvSpPr>
            <p:nvPr>
              <p:custDataLst>
                <p:tags r:id="rId35"/>
              </p:custDataLst>
            </p:nvPr>
          </p:nvSpPr>
          <p:spPr bwMode="gray">
            <a:xfrm>
              <a:off x="6596807" y="4080391"/>
              <a:ext cx="43952" cy="118399"/>
            </a:xfrm>
            <a:custGeom>
              <a:avLst/>
              <a:gdLst/>
              <a:ahLst/>
              <a:cxnLst>
                <a:cxn ang="0">
                  <a:pos x="15" y="79"/>
                </a:cxn>
                <a:cxn ang="0">
                  <a:pos x="11" y="37"/>
                </a:cxn>
                <a:cxn ang="0">
                  <a:pos x="0" y="0"/>
                </a:cxn>
                <a:cxn ang="0">
                  <a:pos x="17" y="2"/>
                </a:cxn>
                <a:cxn ang="0">
                  <a:pos x="15" y="13"/>
                </a:cxn>
                <a:cxn ang="0">
                  <a:pos x="26" y="24"/>
                </a:cxn>
                <a:cxn ang="0">
                  <a:pos x="32" y="47"/>
                </a:cxn>
                <a:cxn ang="0">
                  <a:pos x="34" y="90"/>
                </a:cxn>
                <a:cxn ang="0">
                  <a:pos x="22" y="92"/>
                </a:cxn>
                <a:cxn ang="0">
                  <a:pos x="15" y="79"/>
                </a:cxn>
                <a:cxn ang="0">
                  <a:pos x="15" y="79"/>
                </a:cxn>
              </a:cxnLst>
              <a:rect l="0" t="0" r="r" b="b"/>
              <a:pathLst>
                <a:path w="34" h="92">
                  <a:moveTo>
                    <a:pt x="15" y="79"/>
                  </a:moveTo>
                  <a:lnTo>
                    <a:pt x="11" y="37"/>
                  </a:lnTo>
                  <a:lnTo>
                    <a:pt x="0" y="0"/>
                  </a:lnTo>
                  <a:lnTo>
                    <a:pt x="17" y="2"/>
                  </a:lnTo>
                  <a:lnTo>
                    <a:pt x="15" y="13"/>
                  </a:lnTo>
                  <a:lnTo>
                    <a:pt x="26" y="24"/>
                  </a:lnTo>
                  <a:lnTo>
                    <a:pt x="32" y="47"/>
                  </a:lnTo>
                  <a:lnTo>
                    <a:pt x="34" y="90"/>
                  </a:lnTo>
                  <a:lnTo>
                    <a:pt x="22" y="92"/>
                  </a:lnTo>
                  <a:lnTo>
                    <a:pt x="15" y="79"/>
                  </a:lnTo>
                  <a:lnTo>
                    <a:pt x="15" y="7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58" name="Freeform 5653"/>
            <p:cNvSpPr>
              <a:spLocks/>
            </p:cNvSpPr>
            <p:nvPr>
              <p:custDataLst>
                <p:tags r:id="rId36"/>
              </p:custDataLst>
            </p:nvPr>
          </p:nvSpPr>
          <p:spPr bwMode="gray">
            <a:xfrm>
              <a:off x="6622547" y="4050791"/>
              <a:ext cx="62050" cy="145425"/>
            </a:xfrm>
            <a:custGeom>
              <a:avLst/>
              <a:gdLst/>
              <a:ahLst/>
              <a:cxnLst>
                <a:cxn ang="0">
                  <a:pos x="17" y="70"/>
                </a:cxn>
                <a:cxn ang="0">
                  <a:pos x="11" y="47"/>
                </a:cxn>
                <a:cxn ang="0">
                  <a:pos x="0" y="36"/>
                </a:cxn>
                <a:cxn ang="0">
                  <a:pos x="2" y="25"/>
                </a:cxn>
                <a:cxn ang="0">
                  <a:pos x="11" y="15"/>
                </a:cxn>
                <a:cxn ang="0">
                  <a:pos x="20" y="17"/>
                </a:cxn>
                <a:cxn ang="0">
                  <a:pos x="26" y="8"/>
                </a:cxn>
                <a:cxn ang="0">
                  <a:pos x="32" y="2"/>
                </a:cxn>
                <a:cxn ang="0">
                  <a:pos x="41" y="0"/>
                </a:cxn>
                <a:cxn ang="0">
                  <a:pos x="47" y="12"/>
                </a:cxn>
                <a:cxn ang="0">
                  <a:pos x="48" y="32"/>
                </a:cxn>
                <a:cxn ang="0">
                  <a:pos x="34" y="72"/>
                </a:cxn>
                <a:cxn ang="0">
                  <a:pos x="32" y="111"/>
                </a:cxn>
                <a:cxn ang="0">
                  <a:pos x="19" y="113"/>
                </a:cxn>
                <a:cxn ang="0">
                  <a:pos x="17" y="70"/>
                </a:cxn>
                <a:cxn ang="0">
                  <a:pos x="17" y="70"/>
                </a:cxn>
              </a:cxnLst>
              <a:rect l="0" t="0" r="r" b="b"/>
              <a:pathLst>
                <a:path w="48" h="113">
                  <a:moveTo>
                    <a:pt x="17" y="70"/>
                  </a:moveTo>
                  <a:lnTo>
                    <a:pt x="11" y="47"/>
                  </a:lnTo>
                  <a:lnTo>
                    <a:pt x="0" y="36"/>
                  </a:lnTo>
                  <a:lnTo>
                    <a:pt x="2" y="25"/>
                  </a:lnTo>
                  <a:lnTo>
                    <a:pt x="11" y="15"/>
                  </a:lnTo>
                  <a:lnTo>
                    <a:pt x="20" y="17"/>
                  </a:lnTo>
                  <a:lnTo>
                    <a:pt x="26" y="8"/>
                  </a:lnTo>
                  <a:lnTo>
                    <a:pt x="32" y="2"/>
                  </a:lnTo>
                  <a:lnTo>
                    <a:pt x="41" y="0"/>
                  </a:lnTo>
                  <a:lnTo>
                    <a:pt x="47" y="12"/>
                  </a:lnTo>
                  <a:lnTo>
                    <a:pt x="48" y="32"/>
                  </a:lnTo>
                  <a:lnTo>
                    <a:pt x="34" y="72"/>
                  </a:lnTo>
                  <a:lnTo>
                    <a:pt x="32" y="111"/>
                  </a:lnTo>
                  <a:lnTo>
                    <a:pt x="19" y="113"/>
                  </a:lnTo>
                  <a:lnTo>
                    <a:pt x="17" y="70"/>
                  </a:lnTo>
                  <a:lnTo>
                    <a:pt x="17" y="7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59" name="Freeform 5654"/>
            <p:cNvSpPr>
              <a:spLocks/>
            </p:cNvSpPr>
            <p:nvPr>
              <p:custDataLst>
                <p:tags r:id="rId37"/>
              </p:custDataLst>
            </p:nvPr>
          </p:nvSpPr>
          <p:spPr bwMode="gray">
            <a:xfrm>
              <a:off x="6365300" y="4143451"/>
              <a:ext cx="85318" cy="97808"/>
            </a:xfrm>
            <a:custGeom>
              <a:avLst/>
              <a:gdLst/>
              <a:ahLst/>
              <a:cxnLst>
                <a:cxn ang="0">
                  <a:pos x="49" y="16"/>
                </a:cxn>
                <a:cxn ang="0">
                  <a:pos x="51" y="37"/>
                </a:cxn>
                <a:cxn ang="0">
                  <a:pos x="66" y="52"/>
                </a:cxn>
                <a:cxn ang="0">
                  <a:pos x="64" y="76"/>
                </a:cxn>
                <a:cxn ang="0">
                  <a:pos x="51" y="75"/>
                </a:cxn>
                <a:cxn ang="0">
                  <a:pos x="0" y="30"/>
                </a:cxn>
                <a:cxn ang="0">
                  <a:pos x="0" y="28"/>
                </a:cxn>
                <a:cxn ang="0">
                  <a:pos x="19" y="1"/>
                </a:cxn>
                <a:cxn ang="0">
                  <a:pos x="30" y="0"/>
                </a:cxn>
                <a:cxn ang="0">
                  <a:pos x="40" y="22"/>
                </a:cxn>
                <a:cxn ang="0">
                  <a:pos x="49" y="16"/>
                </a:cxn>
                <a:cxn ang="0">
                  <a:pos x="49" y="16"/>
                </a:cxn>
              </a:cxnLst>
              <a:rect l="0" t="0" r="r" b="b"/>
              <a:pathLst>
                <a:path w="66" h="76">
                  <a:moveTo>
                    <a:pt x="49" y="16"/>
                  </a:moveTo>
                  <a:lnTo>
                    <a:pt x="51" y="37"/>
                  </a:lnTo>
                  <a:lnTo>
                    <a:pt x="66" y="52"/>
                  </a:lnTo>
                  <a:lnTo>
                    <a:pt x="64" y="76"/>
                  </a:lnTo>
                  <a:lnTo>
                    <a:pt x="51" y="75"/>
                  </a:lnTo>
                  <a:lnTo>
                    <a:pt x="0" y="30"/>
                  </a:lnTo>
                  <a:lnTo>
                    <a:pt x="0" y="28"/>
                  </a:lnTo>
                  <a:lnTo>
                    <a:pt x="19" y="1"/>
                  </a:lnTo>
                  <a:lnTo>
                    <a:pt x="30" y="0"/>
                  </a:lnTo>
                  <a:lnTo>
                    <a:pt x="40" y="22"/>
                  </a:lnTo>
                  <a:lnTo>
                    <a:pt x="49" y="16"/>
                  </a:lnTo>
                  <a:lnTo>
                    <a:pt x="49" y="16"/>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60" name="Freeform 5655"/>
            <p:cNvSpPr>
              <a:spLocks/>
            </p:cNvSpPr>
            <p:nvPr>
              <p:custDataLst>
                <p:tags r:id="rId38"/>
              </p:custDataLst>
            </p:nvPr>
          </p:nvSpPr>
          <p:spPr bwMode="gray">
            <a:xfrm>
              <a:off x="6259298" y="3696881"/>
              <a:ext cx="253370" cy="295998"/>
            </a:xfrm>
            <a:custGeom>
              <a:avLst/>
              <a:gdLst/>
              <a:ahLst/>
              <a:cxnLst>
                <a:cxn ang="0">
                  <a:pos x="75" y="230"/>
                </a:cxn>
                <a:cxn ang="0">
                  <a:pos x="56" y="208"/>
                </a:cxn>
                <a:cxn ang="0">
                  <a:pos x="35" y="195"/>
                </a:cxn>
                <a:cxn ang="0">
                  <a:pos x="19" y="199"/>
                </a:cxn>
                <a:cxn ang="0">
                  <a:pos x="7" y="210"/>
                </a:cxn>
                <a:cxn ang="0">
                  <a:pos x="13" y="170"/>
                </a:cxn>
                <a:cxn ang="0">
                  <a:pos x="7" y="144"/>
                </a:cxn>
                <a:cxn ang="0">
                  <a:pos x="13" y="129"/>
                </a:cxn>
                <a:cxn ang="0">
                  <a:pos x="0" y="114"/>
                </a:cxn>
                <a:cxn ang="0">
                  <a:pos x="11" y="109"/>
                </a:cxn>
                <a:cxn ang="0">
                  <a:pos x="67" y="107"/>
                </a:cxn>
                <a:cxn ang="0">
                  <a:pos x="65" y="79"/>
                </a:cxn>
                <a:cxn ang="0">
                  <a:pos x="84" y="66"/>
                </a:cxn>
                <a:cxn ang="0">
                  <a:pos x="88" y="22"/>
                </a:cxn>
                <a:cxn ang="0">
                  <a:pos x="138" y="22"/>
                </a:cxn>
                <a:cxn ang="0">
                  <a:pos x="140" y="0"/>
                </a:cxn>
                <a:cxn ang="0">
                  <a:pos x="196" y="41"/>
                </a:cxn>
                <a:cxn ang="0">
                  <a:pos x="196" y="41"/>
                </a:cxn>
                <a:cxn ang="0">
                  <a:pos x="168" y="41"/>
                </a:cxn>
                <a:cxn ang="0">
                  <a:pos x="182" y="215"/>
                </a:cxn>
                <a:cxn ang="0">
                  <a:pos x="110" y="215"/>
                </a:cxn>
                <a:cxn ang="0">
                  <a:pos x="97" y="223"/>
                </a:cxn>
                <a:cxn ang="0">
                  <a:pos x="88" y="210"/>
                </a:cxn>
                <a:cxn ang="0">
                  <a:pos x="75" y="230"/>
                </a:cxn>
                <a:cxn ang="0">
                  <a:pos x="75" y="230"/>
                </a:cxn>
              </a:cxnLst>
              <a:rect l="0" t="0" r="r" b="b"/>
              <a:pathLst>
                <a:path w="196" h="230">
                  <a:moveTo>
                    <a:pt x="75" y="230"/>
                  </a:moveTo>
                  <a:lnTo>
                    <a:pt x="56" y="208"/>
                  </a:lnTo>
                  <a:lnTo>
                    <a:pt x="35" y="195"/>
                  </a:lnTo>
                  <a:lnTo>
                    <a:pt x="19" y="199"/>
                  </a:lnTo>
                  <a:lnTo>
                    <a:pt x="7" y="210"/>
                  </a:lnTo>
                  <a:lnTo>
                    <a:pt x="13" y="170"/>
                  </a:lnTo>
                  <a:lnTo>
                    <a:pt x="7" y="144"/>
                  </a:lnTo>
                  <a:lnTo>
                    <a:pt x="13" y="129"/>
                  </a:lnTo>
                  <a:lnTo>
                    <a:pt x="0" y="114"/>
                  </a:lnTo>
                  <a:lnTo>
                    <a:pt x="11" y="109"/>
                  </a:lnTo>
                  <a:lnTo>
                    <a:pt x="67" y="107"/>
                  </a:lnTo>
                  <a:lnTo>
                    <a:pt x="65" y="79"/>
                  </a:lnTo>
                  <a:lnTo>
                    <a:pt x="84" y="66"/>
                  </a:lnTo>
                  <a:lnTo>
                    <a:pt x="88" y="22"/>
                  </a:lnTo>
                  <a:lnTo>
                    <a:pt x="138" y="22"/>
                  </a:lnTo>
                  <a:lnTo>
                    <a:pt x="140" y="0"/>
                  </a:lnTo>
                  <a:lnTo>
                    <a:pt x="196" y="41"/>
                  </a:lnTo>
                  <a:lnTo>
                    <a:pt x="196" y="41"/>
                  </a:lnTo>
                  <a:lnTo>
                    <a:pt x="168" y="41"/>
                  </a:lnTo>
                  <a:lnTo>
                    <a:pt x="182" y="215"/>
                  </a:lnTo>
                  <a:lnTo>
                    <a:pt x="110" y="215"/>
                  </a:lnTo>
                  <a:lnTo>
                    <a:pt x="97" y="223"/>
                  </a:lnTo>
                  <a:lnTo>
                    <a:pt x="88" y="210"/>
                  </a:lnTo>
                  <a:lnTo>
                    <a:pt x="75" y="230"/>
                  </a:lnTo>
                  <a:lnTo>
                    <a:pt x="75" y="23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61" name="Freeform 5656"/>
            <p:cNvSpPr>
              <a:spLocks/>
            </p:cNvSpPr>
            <p:nvPr>
              <p:custDataLst>
                <p:tags r:id="rId39"/>
              </p:custDataLst>
            </p:nvPr>
          </p:nvSpPr>
          <p:spPr bwMode="gray">
            <a:xfrm>
              <a:off x="6259298" y="3686585"/>
              <a:ext cx="180978" cy="157007"/>
            </a:xfrm>
            <a:custGeom>
              <a:avLst/>
              <a:gdLst/>
              <a:ahLst/>
              <a:cxnLst>
                <a:cxn ang="0">
                  <a:pos x="140" y="0"/>
                </a:cxn>
                <a:cxn ang="0">
                  <a:pos x="140" y="8"/>
                </a:cxn>
                <a:cxn ang="0">
                  <a:pos x="140" y="8"/>
                </a:cxn>
                <a:cxn ang="0">
                  <a:pos x="138" y="30"/>
                </a:cxn>
                <a:cxn ang="0">
                  <a:pos x="88" y="30"/>
                </a:cxn>
                <a:cxn ang="0">
                  <a:pos x="84" y="74"/>
                </a:cxn>
                <a:cxn ang="0">
                  <a:pos x="65" y="87"/>
                </a:cxn>
                <a:cxn ang="0">
                  <a:pos x="67" y="115"/>
                </a:cxn>
                <a:cxn ang="0">
                  <a:pos x="11" y="117"/>
                </a:cxn>
                <a:cxn ang="0">
                  <a:pos x="0" y="122"/>
                </a:cxn>
                <a:cxn ang="0">
                  <a:pos x="4" y="104"/>
                </a:cxn>
                <a:cxn ang="0">
                  <a:pos x="35" y="57"/>
                </a:cxn>
                <a:cxn ang="0">
                  <a:pos x="47" y="29"/>
                </a:cxn>
                <a:cxn ang="0">
                  <a:pos x="58" y="19"/>
                </a:cxn>
                <a:cxn ang="0">
                  <a:pos x="71" y="0"/>
                </a:cxn>
                <a:cxn ang="0">
                  <a:pos x="140" y="0"/>
                </a:cxn>
                <a:cxn ang="0">
                  <a:pos x="140" y="0"/>
                </a:cxn>
              </a:cxnLst>
              <a:rect l="0" t="0" r="r" b="b"/>
              <a:pathLst>
                <a:path w="140" h="122">
                  <a:moveTo>
                    <a:pt x="140" y="0"/>
                  </a:moveTo>
                  <a:lnTo>
                    <a:pt x="140" y="8"/>
                  </a:lnTo>
                  <a:lnTo>
                    <a:pt x="140" y="8"/>
                  </a:lnTo>
                  <a:lnTo>
                    <a:pt x="138" y="30"/>
                  </a:lnTo>
                  <a:lnTo>
                    <a:pt x="88" y="30"/>
                  </a:lnTo>
                  <a:lnTo>
                    <a:pt x="84" y="74"/>
                  </a:lnTo>
                  <a:lnTo>
                    <a:pt x="65" y="87"/>
                  </a:lnTo>
                  <a:lnTo>
                    <a:pt x="67" y="115"/>
                  </a:lnTo>
                  <a:lnTo>
                    <a:pt x="11" y="117"/>
                  </a:lnTo>
                  <a:lnTo>
                    <a:pt x="0" y="122"/>
                  </a:lnTo>
                  <a:lnTo>
                    <a:pt x="4" y="104"/>
                  </a:lnTo>
                  <a:lnTo>
                    <a:pt x="35" y="57"/>
                  </a:lnTo>
                  <a:lnTo>
                    <a:pt x="47" y="29"/>
                  </a:lnTo>
                  <a:lnTo>
                    <a:pt x="58" y="19"/>
                  </a:lnTo>
                  <a:lnTo>
                    <a:pt x="71" y="0"/>
                  </a:lnTo>
                  <a:lnTo>
                    <a:pt x="140" y="0"/>
                  </a:lnTo>
                  <a:lnTo>
                    <a:pt x="140"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62" name="Freeform 5661"/>
            <p:cNvSpPr>
              <a:spLocks/>
            </p:cNvSpPr>
            <p:nvPr>
              <p:custDataLst>
                <p:tags r:id="rId40"/>
              </p:custDataLst>
            </p:nvPr>
          </p:nvSpPr>
          <p:spPr bwMode="gray">
            <a:xfrm>
              <a:off x="7440695" y="4058706"/>
              <a:ext cx="208125" cy="323024"/>
            </a:xfrm>
            <a:custGeom>
              <a:avLst/>
              <a:gdLst/>
              <a:ahLst/>
              <a:cxnLst>
                <a:cxn ang="0">
                  <a:pos x="13" y="148"/>
                </a:cxn>
                <a:cxn ang="0">
                  <a:pos x="0" y="170"/>
                </a:cxn>
                <a:cxn ang="0">
                  <a:pos x="0" y="234"/>
                </a:cxn>
                <a:cxn ang="0">
                  <a:pos x="10" y="251"/>
                </a:cxn>
                <a:cxn ang="0">
                  <a:pos x="10" y="251"/>
                </a:cxn>
                <a:cxn ang="0">
                  <a:pos x="36" y="213"/>
                </a:cxn>
                <a:cxn ang="0">
                  <a:pos x="85" y="172"/>
                </a:cxn>
                <a:cxn ang="0">
                  <a:pos x="107" y="144"/>
                </a:cxn>
                <a:cxn ang="0">
                  <a:pos x="128" y="114"/>
                </a:cxn>
                <a:cxn ang="0">
                  <a:pos x="160" y="28"/>
                </a:cxn>
                <a:cxn ang="0">
                  <a:pos x="161" y="4"/>
                </a:cxn>
                <a:cxn ang="0">
                  <a:pos x="152" y="0"/>
                </a:cxn>
                <a:cxn ang="0">
                  <a:pos x="145" y="7"/>
                </a:cxn>
                <a:cxn ang="0">
                  <a:pos x="126" y="15"/>
                </a:cxn>
                <a:cxn ang="0">
                  <a:pos x="102" y="17"/>
                </a:cxn>
                <a:cxn ang="0">
                  <a:pos x="58" y="30"/>
                </a:cxn>
                <a:cxn ang="0">
                  <a:pos x="49" y="28"/>
                </a:cxn>
                <a:cxn ang="0">
                  <a:pos x="34" y="9"/>
                </a:cxn>
                <a:cxn ang="0">
                  <a:pos x="34" y="9"/>
                </a:cxn>
                <a:cxn ang="0">
                  <a:pos x="28" y="20"/>
                </a:cxn>
                <a:cxn ang="0">
                  <a:pos x="28" y="30"/>
                </a:cxn>
                <a:cxn ang="0">
                  <a:pos x="47" y="52"/>
                </a:cxn>
                <a:cxn ang="0">
                  <a:pos x="98" y="73"/>
                </a:cxn>
                <a:cxn ang="0">
                  <a:pos x="111" y="73"/>
                </a:cxn>
                <a:cxn ang="0">
                  <a:pos x="66" y="127"/>
                </a:cxn>
                <a:cxn ang="0">
                  <a:pos x="43" y="129"/>
                </a:cxn>
                <a:cxn ang="0">
                  <a:pos x="13" y="148"/>
                </a:cxn>
                <a:cxn ang="0">
                  <a:pos x="13" y="148"/>
                </a:cxn>
                <a:cxn ang="0">
                  <a:pos x="13" y="148"/>
                </a:cxn>
              </a:cxnLst>
              <a:rect l="0" t="0" r="r" b="b"/>
              <a:pathLst>
                <a:path w="161" h="251">
                  <a:moveTo>
                    <a:pt x="13" y="148"/>
                  </a:moveTo>
                  <a:lnTo>
                    <a:pt x="0" y="170"/>
                  </a:lnTo>
                  <a:lnTo>
                    <a:pt x="0" y="234"/>
                  </a:lnTo>
                  <a:lnTo>
                    <a:pt x="10" y="251"/>
                  </a:lnTo>
                  <a:lnTo>
                    <a:pt x="10" y="251"/>
                  </a:lnTo>
                  <a:lnTo>
                    <a:pt x="36" y="213"/>
                  </a:lnTo>
                  <a:lnTo>
                    <a:pt x="85" y="172"/>
                  </a:lnTo>
                  <a:lnTo>
                    <a:pt x="107" y="144"/>
                  </a:lnTo>
                  <a:lnTo>
                    <a:pt x="128" y="114"/>
                  </a:lnTo>
                  <a:lnTo>
                    <a:pt x="160" y="28"/>
                  </a:lnTo>
                  <a:lnTo>
                    <a:pt x="161" y="4"/>
                  </a:lnTo>
                  <a:lnTo>
                    <a:pt x="152" y="0"/>
                  </a:lnTo>
                  <a:lnTo>
                    <a:pt x="145" y="7"/>
                  </a:lnTo>
                  <a:lnTo>
                    <a:pt x="126" y="15"/>
                  </a:lnTo>
                  <a:lnTo>
                    <a:pt x="102" y="17"/>
                  </a:lnTo>
                  <a:lnTo>
                    <a:pt x="58" y="30"/>
                  </a:lnTo>
                  <a:lnTo>
                    <a:pt x="49" y="28"/>
                  </a:lnTo>
                  <a:lnTo>
                    <a:pt x="34" y="9"/>
                  </a:lnTo>
                  <a:lnTo>
                    <a:pt x="34" y="9"/>
                  </a:lnTo>
                  <a:lnTo>
                    <a:pt x="28" y="20"/>
                  </a:lnTo>
                  <a:lnTo>
                    <a:pt x="28" y="30"/>
                  </a:lnTo>
                  <a:lnTo>
                    <a:pt x="47" y="52"/>
                  </a:lnTo>
                  <a:lnTo>
                    <a:pt x="98" y="73"/>
                  </a:lnTo>
                  <a:lnTo>
                    <a:pt x="111" y="73"/>
                  </a:lnTo>
                  <a:lnTo>
                    <a:pt x="66" y="127"/>
                  </a:lnTo>
                  <a:lnTo>
                    <a:pt x="43" y="129"/>
                  </a:lnTo>
                  <a:lnTo>
                    <a:pt x="13" y="148"/>
                  </a:lnTo>
                  <a:lnTo>
                    <a:pt x="13" y="148"/>
                  </a:lnTo>
                  <a:lnTo>
                    <a:pt x="13" y="14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63" name="Freeform 5662"/>
            <p:cNvSpPr>
              <a:spLocks/>
            </p:cNvSpPr>
            <p:nvPr>
              <p:custDataLst>
                <p:tags r:id="rId41"/>
              </p:custDataLst>
            </p:nvPr>
          </p:nvSpPr>
          <p:spPr bwMode="gray">
            <a:xfrm>
              <a:off x="6256713" y="4046545"/>
              <a:ext cx="65928" cy="43756"/>
            </a:xfrm>
            <a:custGeom>
              <a:avLst/>
              <a:gdLst/>
              <a:ahLst/>
              <a:cxnLst>
                <a:cxn ang="0">
                  <a:pos x="51" y="0"/>
                </a:cxn>
                <a:cxn ang="0">
                  <a:pos x="49" y="19"/>
                </a:cxn>
                <a:cxn ang="0">
                  <a:pos x="34" y="24"/>
                </a:cxn>
                <a:cxn ang="0">
                  <a:pos x="28" y="34"/>
                </a:cxn>
                <a:cxn ang="0">
                  <a:pos x="28" y="34"/>
                </a:cxn>
                <a:cxn ang="0">
                  <a:pos x="22" y="28"/>
                </a:cxn>
                <a:cxn ang="0">
                  <a:pos x="21" y="15"/>
                </a:cxn>
                <a:cxn ang="0">
                  <a:pos x="13" y="17"/>
                </a:cxn>
                <a:cxn ang="0">
                  <a:pos x="0" y="7"/>
                </a:cxn>
                <a:cxn ang="0">
                  <a:pos x="2" y="6"/>
                </a:cxn>
                <a:cxn ang="0">
                  <a:pos x="51" y="0"/>
                </a:cxn>
                <a:cxn ang="0">
                  <a:pos x="51" y="0"/>
                </a:cxn>
              </a:cxnLst>
              <a:rect l="0" t="0" r="r" b="b"/>
              <a:pathLst>
                <a:path w="51" h="34">
                  <a:moveTo>
                    <a:pt x="51" y="0"/>
                  </a:moveTo>
                  <a:lnTo>
                    <a:pt x="49" y="19"/>
                  </a:lnTo>
                  <a:lnTo>
                    <a:pt x="34" y="24"/>
                  </a:lnTo>
                  <a:lnTo>
                    <a:pt x="28" y="34"/>
                  </a:lnTo>
                  <a:lnTo>
                    <a:pt x="28" y="34"/>
                  </a:lnTo>
                  <a:lnTo>
                    <a:pt x="22" y="28"/>
                  </a:lnTo>
                  <a:lnTo>
                    <a:pt x="21" y="15"/>
                  </a:lnTo>
                  <a:lnTo>
                    <a:pt x="13" y="17"/>
                  </a:lnTo>
                  <a:lnTo>
                    <a:pt x="0" y="7"/>
                  </a:lnTo>
                  <a:lnTo>
                    <a:pt x="2" y="6"/>
                  </a:lnTo>
                  <a:lnTo>
                    <a:pt x="51" y="0"/>
                  </a:lnTo>
                  <a:lnTo>
                    <a:pt x="51"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64" name="Freeform 5663"/>
            <p:cNvSpPr>
              <a:spLocks/>
            </p:cNvSpPr>
            <p:nvPr>
              <p:custDataLst>
                <p:tags r:id="rId42"/>
              </p:custDataLst>
            </p:nvPr>
          </p:nvSpPr>
          <p:spPr bwMode="gray">
            <a:xfrm>
              <a:off x="6348152" y="4113273"/>
              <a:ext cx="60757" cy="75930"/>
            </a:xfrm>
            <a:custGeom>
              <a:avLst/>
              <a:gdLst/>
              <a:ahLst/>
              <a:cxnLst>
                <a:cxn ang="0">
                  <a:pos x="0" y="15"/>
                </a:cxn>
                <a:cxn ang="0">
                  <a:pos x="4" y="42"/>
                </a:cxn>
                <a:cxn ang="0">
                  <a:pos x="28" y="59"/>
                </a:cxn>
                <a:cxn ang="0">
                  <a:pos x="28" y="57"/>
                </a:cxn>
                <a:cxn ang="0">
                  <a:pos x="47" y="30"/>
                </a:cxn>
                <a:cxn ang="0">
                  <a:pos x="43" y="30"/>
                </a:cxn>
                <a:cxn ang="0">
                  <a:pos x="45" y="21"/>
                </a:cxn>
                <a:cxn ang="0">
                  <a:pos x="30" y="0"/>
                </a:cxn>
                <a:cxn ang="0">
                  <a:pos x="15" y="0"/>
                </a:cxn>
                <a:cxn ang="0">
                  <a:pos x="0" y="15"/>
                </a:cxn>
                <a:cxn ang="0">
                  <a:pos x="0" y="15"/>
                </a:cxn>
                <a:cxn ang="0">
                  <a:pos x="0" y="15"/>
                </a:cxn>
              </a:cxnLst>
              <a:rect l="0" t="0" r="r" b="b"/>
              <a:pathLst>
                <a:path w="47" h="59">
                  <a:moveTo>
                    <a:pt x="0" y="15"/>
                  </a:moveTo>
                  <a:lnTo>
                    <a:pt x="4" y="42"/>
                  </a:lnTo>
                  <a:lnTo>
                    <a:pt x="28" y="59"/>
                  </a:lnTo>
                  <a:lnTo>
                    <a:pt x="28" y="57"/>
                  </a:lnTo>
                  <a:lnTo>
                    <a:pt x="47" y="30"/>
                  </a:lnTo>
                  <a:lnTo>
                    <a:pt x="43" y="30"/>
                  </a:lnTo>
                  <a:lnTo>
                    <a:pt x="45" y="21"/>
                  </a:lnTo>
                  <a:lnTo>
                    <a:pt x="30" y="0"/>
                  </a:lnTo>
                  <a:lnTo>
                    <a:pt x="15" y="0"/>
                  </a:lnTo>
                  <a:lnTo>
                    <a:pt x="0" y="15"/>
                  </a:lnTo>
                  <a:lnTo>
                    <a:pt x="0" y="15"/>
                  </a:lnTo>
                  <a:lnTo>
                    <a:pt x="0" y="1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65" name="Freeform 5672"/>
            <p:cNvSpPr>
              <a:spLocks/>
            </p:cNvSpPr>
            <p:nvPr>
              <p:custDataLst>
                <p:tags r:id="rId43"/>
              </p:custDataLst>
            </p:nvPr>
          </p:nvSpPr>
          <p:spPr bwMode="gray">
            <a:xfrm>
              <a:off x="6866868" y="4221955"/>
              <a:ext cx="399445" cy="434988"/>
            </a:xfrm>
            <a:custGeom>
              <a:avLst/>
              <a:gdLst/>
              <a:ahLst/>
              <a:cxnLst>
                <a:cxn ang="0">
                  <a:pos x="262" y="313"/>
                </a:cxn>
                <a:cxn ang="0">
                  <a:pos x="266" y="263"/>
                </a:cxn>
                <a:cxn ang="0">
                  <a:pos x="270" y="253"/>
                </a:cxn>
                <a:cxn ang="0">
                  <a:pos x="292" y="248"/>
                </a:cxn>
                <a:cxn ang="0">
                  <a:pos x="290" y="233"/>
                </a:cxn>
                <a:cxn ang="0">
                  <a:pos x="273" y="206"/>
                </a:cxn>
                <a:cxn ang="0">
                  <a:pos x="272" y="169"/>
                </a:cxn>
                <a:cxn ang="0">
                  <a:pos x="275" y="158"/>
                </a:cxn>
                <a:cxn ang="0">
                  <a:pos x="277" y="167"/>
                </a:cxn>
                <a:cxn ang="0">
                  <a:pos x="275" y="158"/>
                </a:cxn>
                <a:cxn ang="0">
                  <a:pos x="273" y="145"/>
                </a:cxn>
                <a:cxn ang="0">
                  <a:pos x="272" y="139"/>
                </a:cxn>
                <a:cxn ang="0">
                  <a:pos x="283" y="118"/>
                </a:cxn>
                <a:cxn ang="0">
                  <a:pos x="287" y="87"/>
                </a:cxn>
                <a:cxn ang="0">
                  <a:pos x="296" y="72"/>
                </a:cxn>
                <a:cxn ang="0">
                  <a:pos x="309" y="55"/>
                </a:cxn>
                <a:cxn ang="0">
                  <a:pos x="300" y="45"/>
                </a:cxn>
                <a:cxn ang="0">
                  <a:pos x="302" y="28"/>
                </a:cxn>
                <a:cxn ang="0">
                  <a:pos x="285" y="12"/>
                </a:cxn>
                <a:cxn ang="0">
                  <a:pos x="258" y="14"/>
                </a:cxn>
                <a:cxn ang="0">
                  <a:pos x="247" y="0"/>
                </a:cxn>
                <a:cxn ang="0">
                  <a:pos x="170" y="6"/>
                </a:cxn>
                <a:cxn ang="0">
                  <a:pos x="163" y="15"/>
                </a:cxn>
                <a:cxn ang="0">
                  <a:pos x="133" y="14"/>
                </a:cxn>
                <a:cxn ang="0">
                  <a:pos x="124" y="0"/>
                </a:cxn>
                <a:cxn ang="0">
                  <a:pos x="116" y="0"/>
                </a:cxn>
                <a:cxn ang="0">
                  <a:pos x="101" y="27"/>
                </a:cxn>
                <a:cxn ang="0">
                  <a:pos x="92" y="58"/>
                </a:cxn>
                <a:cxn ang="0">
                  <a:pos x="86" y="109"/>
                </a:cxn>
                <a:cxn ang="0">
                  <a:pos x="64" y="133"/>
                </a:cxn>
                <a:cxn ang="0">
                  <a:pos x="56" y="167"/>
                </a:cxn>
                <a:cxn ang="0">
                  <a:pos x="36" y="184"/>
                </a:cxn>
                <a:cxn ang="0">
                  <a:pos x="30" y="176"/>
                </a:cxn>
                <a:cxn ang="0">
                  <a:pos x="19" y="184"/>
                </a:cxn>
                <a:cxn ang="0">
                  <a:pos x="9" y="182"/>
                </a:cxn>
                <a:cxn ang="0">
                  <a:pos x="2" y="188"/>
                </a:cxn>
                <a:cxn ang="0">
                  <a:pos x="0" y="203"/>
                </a:cxn>
                <a:cxn ang="0">
                  <a:pos x="2" y="212"/>
                </a:cxn>
                <a:cxn ang="0">
                  <a:pos x="19" y="203"/>
                </a:cxn>
                <a:cxn ang="0">
                  <a:pos x="58" y="201"/>
                </a:cxn>
                <a:cxn ang="0">
                  <a:pos x="67" y="208"/>
                </a:cxn>
                <a:cxn ang="0">
                  <a:pos x="73" y="231"/>
                </a:cxn>
                <a:cxn ang="0">
                  <a:pos x="90" y="246"/>
                </a:cxn>
                <a:cxn ang="0">
                  <a:pos x="110" y="242"/>
                </a:cxn>
                <a:cxn ang="0">
                  <a:pos x="116" y="225"/>
                </a:cxn>
                <a:cxn ang="0">
                  <a:pos x="137" y="221"/>
                </a:cxn>
                <a:cxn ang="0">
                  <a:pos x="137" y="227"/>
                </a:cxn>
                <a:cxn ang="0">
                  <a:pos x="150" y="231"/>
                </a:cxn>
                <a:cxn ang="0">
                  <a:pos x="152" y="235"/>
                </a:cxn>
                <a:cxn ang="0">
                  <a:pos x="152" y="272"/>
                </a:cxn>
                <a:cxn ang="0">
                  <a:pos x="159" y="289"/>
                </a:cxn>
                <a:cxn ang="0">
                  <a:pos x="154" y="298"/>
                </a:cxn>
                <a:cxn ang="0">
                  <a:pos x="157" y="304"/>
                </a:cxn>
                <a:cxn ang="0">
                  <a:pos x="189" y="295"/>
                </a:cxn>
                <a:cxn ang="0">
                  <a:pos x="221" y="313"/>
                </a:cxn>
                <a:cxn ang="0">
                  <a:pos x="236" y="311"/>
                </a:cxn>
                <a:cxn ang="0">
                  <a:pos x="262" y="334"/>
                </a:cxn>
                <a:cxn ang="0">
                  <a:pos x="275" y="338"/>
                </a:cxn>
                <a:cxn ang="0">
                  <a:pos x="279" y="319"/>
                </a:cxn>
                <a:cxn ang="0">
                  <a:pos x="268" y="321"/>
                </a:cxn>
                <a:cxn ang="0">
                  <a:pos x="262" y="313"/>
                </a:cxn>
              </a:cxnLst>
              <a:rect l="0" t="0" r="r" b="b"/>
              <a:pathLst>
                <a:path w="309" h="338">
                  <a:moveTo>
                    <a:pt x="262" y="313"/>
                  </a:moveTo>
                  <a:lnTo>
                    <a:pt x="266" y="263"/>
                  </a:lnTo>
                  <a:lnTo>
                    <a:pt x="270" y="253"/>
                  </a:lnTo>
                  <a:lnTo>
                    <a:pt x="292" y="248"/>
                  </a:lnTo>
                  <a:lnTo>
                    <a:pt x="290" y="233"/>
                  </a:lnTo>
                  <a:lnTo>
                    <a:pt x="273" y="206"/>
                  </a:lnTo>
                  <a:lnTo>
                    <a:pt x="272" y="169"/>
                  </a:lnTo>
                  <a:lnTo>
                    <a:pt x="275" y="158"/>
                  </a:lnTo>
                  <a:lnTo>
                    <a:pt x="277" y="167"/>
                  </a:lnTo>
                  <a:lnTo>
                    <a:pt x="275" y="158"/>
                  </a:lnTo>
                  <a:lnTo>
                    <a:pt x="273" y="145"/>
                  </a:lnTo>
                  <a:lnTo>
                    <a:pt x="272" y="139"/>
                  </a:lnTo>
                  <a:lnTo>
                    <a:pt x="283" y="118"/>
                  </a:lnTo>
                  <a:lnTo>
                    <a:pt x="287" y="87"/>
                  </a:lnTo>
                  <a:lnTo>
                    <a:pt x="296" y="72"/>
                  </a:lnTo>
                  <a:lnTo>
                    <a:pt x="309" y="55"/>
                  </a:lnTo>
                  <a:lnTo>
                    <a:pt x="300" y="45"/>
                  </a:lnTo>
                  <a:lnTo>
                    <a:pt x="302" y="28"/>
                  </a:lnTo>
                  <a:lnTo>
                    <a:pt x="285" y="12"/>
                  </a:lnTo>
                  <a:lnTo>
                    <a:pt x="258" y="14"/>
                  </a:lnTo>
                  <a:lnTo>
                    <a:pt x="247" y="0"/>
                  </a:lnTo>
                  <a:lnTo>
                    <a:pt x="170" y="6"/>
                  </a:lnTo>
                  <a:lnTo>
                    <a:pt x="163" y="15"/>
                  </a:lnTo>
                  <a:lnTo>
                    <a:pt x="133" y="14"/>
                  </a:lnTo>
                  <a:lnTo>
                    <a:pt x="124" y="0"/>
                  </a:lnTo>
                  <a:lnTo>
                    <a:pt x="116" y="0"/>
                  </a:lnTo>
                  <a:lnTo>
                    <a:pt x="101" y="27"/>
                  </a:lnTo>
                  <a:lnTo>
                    <a:pt x="92" y="58"/>
                  </a:lnTo>
                  <a:lnTo>
                    <a:pt x="86" y="109"/>
                  </a:lnTo>
                  <a:lnTo>
                    <a:pt x="64" y="133"/>
                  </a:lnTo>
                  <a:lnTo>
                    <a:pt x="56" y="167"/>
                  </a:lnTo>
                  <a:lnTo>
                    <a:pt x="36" y="184"/>
                  </a:lnTo>
                  <a:lnTo>
                    <a:pt x="30" y="176"/>
                  </a:lnTo>
                  <a:lnTo>
                    <a:pt x="19" y="184"/>
                  </a:lnTo>
                  <a:lnTo>
                    <a:pt x="9" y="182"/>
                  </a:lnTo>
                  <a:lnTo>
                    <a:pt x="2" y="188"/>
                  </a:lnTo>
                  <a:lnTo>
                    <a:pt x="0" y="203"/>
                  </a:lnTo>
                  <a:lnTo>
                    <a:pt x="2" y="212"/>
                  </a:lnTo>
                  <a:lnTo>
                    <a:pt x="19" y="203"/>
                  </a:lnTo>
                  <a:lnTo>
                    <a:pt x="58" y="201"/>
                  </a:lnTo>
                  <a:lnTo>
                    <a:pt x="67" y="208"/>
                  </a:lnTo>
                  <a:lnTo>
                    <a:pt x="73" y="231"/>
                  </a:lnTo>
                  <a:lnTo>
                    <a:pt x="90" y="246"/>
                  </a:lnTo>
                  <a:lnTo>
                    <a:pt x="110" y="242"/>
                  </a:lnTo>
                  <a:lnTo>
                    <a:pt x="116" y="225"/>
                  </a:lnTo>
                  <a:lnTo>
                    <a:pt x="137" y="221"/>
                  </a:lnTo>
                  <a:lnTo>
                    <a:pt x="137" y="227"/>
                  </a:lnTo>
                  <a:lnTo>
                    <a:pt x="150" y="231"/>
                  </a:lnTo>
                  <a:lnTo>
                    <a:pt x="152" y="235"/>
                  </a:lnTo>
                  <a:lnTo>
                    <a:pt x="152" y="272"/>
                  </a:lnTo>
                  <a:lnTo>
                    <a:pt x="159" y="289"/>
                  </a:lnTo>
                  <a:lnTo>
                    <a:pt x="154" y="298"/>
                  </a:lnTo>
                  <a:lnTo>
                    <a:pt x="157" y="304"/>
                  </a:lnTo>
                  <a:lnTo>
                    <a:pt x="189" y="295"/>
                  </a:lnTo>
                  <a:lnTo>
                    <a:pt x="221" y="313"/>
                  </a:lnTo>
                  <a:lnTo>
                    <a:pt x="236" y="311"/>
                  </a:lnTo>
                  <a:lnTo>
                    <a:pt x="262" y="334"/>
                  </a:lnTo>
                  <a:lnTo>
                    <a:pt x="275" y="338"/>
                  </a:lnTo>
                  <a:lnTo>
                    <a:pt x="279" y="319"/>
                  </a:lnTo>
                  <a:lnTo>
                    <a:pt x="268" y="321"/>
                  </a:lnTo>
                  <a:lnTo>
                    <a:pt x="262" y="31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66" name="Freeform 5673"/>
            <p:cNvSpPr>
              <a:spLocks/>
            </p:cNvSpPr>
            <p:nvPr>
              <p:custDataLst>
                <p:tags r:id="rId44"/>
              </p:custDataLst>
            </p:nvPr>
          </p:nvSpPr>
          <p:spPr bwMode="gray">
            <a:xfrm>
              <a:off x="4781740" y="3990597"/>
              <a:ext cx="90489" cy="99095"/>
            </a:xfrm>
            <a:custGeom>
              <a:avLst/>
              <a:gdLst/>
              <a:ahLst/>
              <a:cxnLst>
                <a:cxn ang="0">
                  <a:pos x="56" y="77"/>
                </a:cxn>
                <a:cxn ang="0">
                  <a:pos x="55" y="71"/>
                </a:cxn>
                <a:cxn ang="0">
                  <a:pos x="70" y="15"/>
                </a:cxn>
                <a:cxn ang="0">
                  <a:pos x="68" y="0"/>
                </a:cxn>
                <a:cxn ang="0">
                  <a:pos x="43" y="7"/>
                </a:cxn>
                <a:cxn ang="0">
                  <a:pos x="0" y="37"/>
                </a:cxn>
                <a:cxn ang="0">
                  <a:pos x="2" y="47"/>
                </a:cxn>
                <a:cxn ang="0">
                  <a:pos x="25" y="75"/>
                </a:cxn>
                <a:cxn ang="0">
                  <a:pos x="56" y="77"/>
                </a:cxn>
                <a:cxn ang="0">
                  <a:pos x="56" y="77"/>
                </a:cxn>
              </a:cxnLst>
              <a:rect l="0" t="0" r="r" b="b"/>
              <a:pathLst>
                <a:path w="70" h="77">
                  <a:moveTo>
                    <a:pt x="56" y="77"/>
                  </a:moveTo>
                  <a:lnTo>
                    <a:pt x="55" y="71"/>
                  </a:lnTo>
                  <a:lnTo>
                    <a:pt x="70" y="15"/>
                  </a:lnTo>
                  <a:lnTo>
                    <a:pt x="68" y="0"/>
                  </a:lnTo>
                  <a:lnTo>
                    <a:pt x="43" y="7"/>
                  </a:lnTo>
                  <a:lnTo>
                    <a:pt x="0" y="37"/>
                  </a:lnTo>
                  <a:lnTo>
                    <a:pt x="2" y="47"/>
                  </a:lnTo>
                  <a:lnTo>
                    <a:pt x="25" y="75"/>
                  </a:lnTo>
                  <a:lnTo>
                    <a:pt x="56" y="77"/>
                  </a:lnTo>
                  <a:lnTo>
                    <a:pt x="56" y="7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67" name="Freeform 5674"/>
            <p:cNvSpPr>
              <a:spLocks/>
            </p:cNvSpPr>
            <p:nvPr>
              <p:custDataLst>
                <p:tags r:id="rId45"/>
              </p:custDataLst>
            </p:nvPr>
          </p:nvSpPr>
          <p:spPr bwMode="gray">
            <a:xfrm>
              <a:off x="5064842" y="3877346"/>
              <a:ext cx="60757" cy="42469"/>
            </a:xfrm>
            <a:custGeom>
              <a:avLst/>
              <a:gdLst/>
              <a:ahLst/>
              <a:cxnLst>
                <a:cxn ang="0">
                  <a:pos x="47" y="2"/>
                </a:cxn>
                <a:cxn ang="0">
                  <a:pos x="25" y="0"/>
                </a:cxn>
                <a:cxn ang="0">
                  <a:pos x="19" y="3"/>
                </a:cxn>
                <a:cxn ang="0">
                  <a:pos x="27" y="3"/>
                </a:cxn>
                <a:cxn ang="0">
                  <a:pos x="34" y="24"/>
                </a:cxn>
                <a:cxn ang="0">
                  <a:pos x="19" y="28"/>
                </a:cxn>
                <a:cxn ang="0">
                  <a:pos x="6" y="24"/>
                </a:cxn>
                <a:cxn ang="0">
                  <a:pos x="0" y="28"/>
                </a:cxn>
                <a:cxn ang="0">
                  <a:pos x="10" y="33"/>
                </a:cxn>
                <a:cxn ang="0">
                  <a:pos x="42" y="33"/>
                </a:cxn>
                <a:cxn ang="0">
                  <a:pos x="47" y="2"/>
                </a:cxn>
                <a:cxn ang="0">
                  <a:pos x="47" y="2"/>
                </a:cxn>
              </a:cxnLst>
              <a:rect l="0" t="0" r="r" b="b"/>
              <a:pathLst>
                <a:path w="47" h="33">
                  <a:moveTo>
                    <a:pt x="47" y="2"/>
                  </a:moveTo>
                  <a:lnTo>
                    <a:pt x="25" y="0"/>
                  </a:lnTo>
                  <a:lnTo>
                    <a:pt x="19" y="3"/>
                  </a:lnTo>
                  <a:lnTo>
                    <a:pt x="27" y="3"/>
                  </a:lnTo>
                  <a:lnTo>
                    <a:pt x="34" y="24"/>
                  </a:lnTo>
                  <a:lnTo>
                    <a:pt x="19" y="28"/>
                  </a:lnTo>
                  <a:lnTo>
                    <a:pt x="6" y="24"/>
                  </a:lnTo>
                  <a:lnTo>
                    <a:pt x="0" y="28"/>
                  </a:lnTo>
                  <a:lnTo>
                    <a:pt x="10" y="33"/>
                  </a:lnTo>
                  <a:lnTo>
                    <a:pt x="42" y="33"/>
                  </a:lnTo>
                  <a:lnTo>
                    <a:pt x="47" y="2"/>
                  </a:lnTo>
                  <a:lnTo>
                    <a:pt x="47" y="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68" name="Freeform 5675"/>
            <p:cNvSpPr>
              <a:spLocks/>
            </p:cNvSpPr>
            <p:nvPr>
              <p:custDataLst>
                <p:tags r:id="rId46"/>
              </p:custDataLst>
            </p:nvPr>
          </p:nvSpPr>
          <p:spPr bwMode="gray">
            <a:xfrm>
              <a:off x="5311748" y="2627721"/>
              <a:ext cx="43952" cy="16730"/>
            </a:xfrm>
            <a:custGeom>
              <a:avLst/>
              <a:gdLst/>
              <a:ahLst/>
              <a:cxnLst>
                <a:cxn ang="0">
                  <a:pos x="0" y="8"/>
                </a:cxn>
                <a:cxn ang="0">
                  <a:pos x="27" y="13"/>
                </a:cxn>
                <a:cxn ang="0">
                  <a:pos x="34" y="6"/>
                </a:cxn>
                <a:cxn ang="0">
                  <a:pos x="32" y="0"/>
                </a:cxn>
                <a:cxn ang="0">
                  <a:pos x="21" y="0"/>
                </a:cxn>
                <a:cxn ang="0">
                  <a:pos x="0" y="8"/>
                </a:cxn>
                <a:cxn ang="0">
                  <a:pos x="0" y="8"/>
                </a:cxn>
              </a:cxnLst>
              <a:rect l="0" t="0" r="r" b="b"/>
              <a:pathLst>
                <a:path w="34" h="13">
                  <a:moveTo>
                    <a:pt x="0" y="8"/>
                  </a:moveTo>
                  <a:lnTo>
                    <a:pt x="27" y="13"/>
                  </a:lnTo>
                  <a:lnTo>
                    <a:pt x="34" y="6"/>
                  </a:lnTo>
                  <a:lnTo>
                    <a:pt x="32" y="0"/>
                  </a:lnTo>
                  <a:lnTo>
                    <a:pt x="21" y="0"/>
                  </a:lnTo>
                  <a:lnTo>
                    <a:pt x="0" y="8"/>
                  </a:lnTo>
                  <a:lnTo>
                    <a:pt x="0" y="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69" name="Freeform 5677"/>
            <p:cNvSpPr>
              <a:spLocks/>
            </p:cNvSpPr>
            <p:nvPr>
              <p:custDataLst>
                <p:tags r:id="rId47"/>
              </p:custDataLst>
            </p:nvPr>
          </p:nvSpPr>
          <p:spPr bwMode="gray">
            <a:xfrm>
              <a:off x="6289962" y="4044790"/>
              <a:ext cx="151405" cy="129740"/>
            </a:xfrm>
            <a:custGeom>
              <a:avLst/>
              <a:gdLst/>
              <a:ahLst/>
              <a:cxnLst>
                <a:cxn ang="0">
                  <a:pos x="105" y="95"/>
                </a:cxn>
                <a:cxn ang="0">
                  <a:pos x="111" y="92"/>
                </a:cxn>
                <a:cxn ang="0">
                  <a:pos x="109" y="82"/>
                </a:cxn>
                <a:cxn ang="0">
                  <a:pos x="118" y="77"/>
                </a:cxn>
                <a:cxn ang="0">
                  <a:pos x="111" y="58"/>
                </a:cxn>
                <a:cxn ang="0">
                  <a:pos x="114" y="47"/>
                </a:cxn>
                <a:cxn ang="0">
                  <a:pos x="96" y="4"/>
                </a:cxn>
                <a:cxn ang="0">
                  <a:pos x="69" y="13"/>
                </a:cxn>
                <a:cxn ang="0">
                  <a:pos x="60" y="6"/>
                </a:cxn>
                <a:cxn ang="0">
                  <a:pos x="23" y="0"/>
                </a:cxn>
                <a:cxn ang="0">
                  <a:pos x="21" y="19"/>
                </a:cxn>
                <a:cxn ang="0">
                  <a:pos x="6" y="24"/>
                </a:cxn>
                <a:cxn ang="0">
                  <a:pos x="0" y="34"/>
                </a:cxn>
                <a:cxn ang="0">
                  <a:pos x="0" y="34"/>
                </a:cxn>
                <a:cxn ang="0">
                  <a:pos x="28" y="65"/>
                </a:cxn>
                <a:cxn ang="0">
                  <a:pos x="28" y="65"/>
                </a:cxn>
                <a:cxn ang="0">
                  <a:pos x="43" y="50"/>
                </a:cxn>
                <a:cxn ang="0">
                  <a:pos x="58" y="50"/>
                </a:cxn>
                <a:cxn ang="0">
                  <a:pos x="73" y="71"/>
                </a:cxn>
                <a:cxn ang="0">
                  <a:pos x="71" y="80"/>
                </a:cxn>
                <a:cxn ang="0">
                  <a:pos x="75" y="80"/>
                </a:cxn>
                <a:cxn ang="0">
                  <a:pos x="86" y="79"/>
                </a:cxn>
                <a:cxn ang="0">
                  <a:pos x="96" y="101"/>
                </a:cxn>
                <a:cxn ang="0">
                  <a:pos x="105" y="95"/>
                </a:cxn>
                <a:cxn ang="0">
                  <a:pos x="105" y="95"/>
                </a:cxn>
              </a:cxnLst>
              <a:rect l="0" t="0" r="r" b="b"/>
              <a:pathLst>
                <a:path w="118" h="101">
                  <a:moveTo>
                    <a:pt x="105" y="95"/>
                  </a:moveTo>
                  <a:lnTo>
                    <a:pt x="111" y="92"/>
                  </a:lnTo>
                  <a:lnTo>
                    <a:pt x="109" y="82"/>
                  </a:lnTo>
                  <a:lnTo>
                    <a:pt x="118" y="77"/>
                  </a:lnTo>
                  <a:lnTo>
                    <a:pt x="111" y="58"/>
                  </a:lnTo>
                  <a:lnTo>
                    <a:pt x="114" y="47"/>
                  </a:lnTo>
                  <a:lnTo>
                    <a:pt x="96" y="4"/>
                  </a:lnTo>
                  <a:lnTo>
                    <a:pt x="69" y="13"/>
                  </a:lnTo>
                  <a:lnTo>
                    <a:pt x="60" y="6"/>
                  </a:lnTo>
                  <a:lnTo>
                    <a:pt x="23" y="0"/>
                  </a:lnTo>
                  <a:lnTo>
                    <a:pt x="21" y="19"/>
                  </a:lnTo>
                  <a:lnTo>
                    <a:pt x="6" y="24"/>
                  </a:lnTo>
                  <a:lnTo>
                    <a:pt x="0" y="34"/>
                  </a:lnTo>
                  <a:lnTo>
                    <a:pt x="0" y="34"/>
                  </a:lnTo>
                  <a:lnTo>
                    <a:pt x="28" y="65"/>
                  </a:lnTo>
                  <a:lnTo>
                    <a:pt x="28" y="65"/>
                  </a:lnTo>
                  <a:lnTo>
                    <a:pt x="43" y="50"/>
                  </a:lnTo>
                  <a:lnTo>
                    <a:pt x="58" y="50"/>
                  </a:lnTo>
                  <a:lnTo>
                    <a:pt x="73" y="71"/>
                  </a:lnTo>
                  <a:lnTo>
                    <a:pt x="71" y="80"/>
                  </a:lnTo>
                  <a:lnTo>
                    <a:pt x="75" y="80"/>
                  </a:lnTo>
                  <a:lnTo>
                    <a:pt x="86" y="79"/>
                  </a:lnTo>
                  <a:lnTo>
                    <a:pt x="96" y="101"/>
                  </a:lnTo>
                  <a:lnTo>
                    <a:pt x="105" y="95"/>
                  </a:lnTo>
                  <a:lnTo>
                    <a:pt x="105" y="9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70" name="Freeform 5678"/>
            <p:cNvSpPr>
              <a:spLocks/>
            </p:cNvSpPr>
            <p:nvPr>
              <p:custDataLst>
                <p:tags r:id="rId48"/>
              </p:custDataLst>
            </p:nvPr>
          </p:nvSpPr>
          <p:spPr bwMode="gray">
            <a:xfrm>
              <a:off x="6789563" y="3573259"/>
              <a:ext cx="323339" cy="324994"/>
            </a:xfrm>
            <a:custGeom>
              <a:avLst/>
              <a:gdLst/>
              <a:ahLst/>
              <a:cxnLst>
                <a:cxn ang="0">
                  <a:pos x="252" y="205"/>
                </a:cxn>
                <a:cxn ang="0">
                  <a:pos x="249" y="83"/>
                </a:cxn>
                <a:cxn ang="0">
                  <a:pos x="243" y="62"/>
                </a:cxn>
                <a:cxn ang="0">
                  <a:pos x="247" y="27"/>
                </a:cxn>
                <a:cxn ang="0">
                  <a:pos x="219" y="19"/>
                </a:cxn>
                <a:cxn ang="0">
                  <a:pos x="217" y="12"/>
                </a:cxn>
                <a:cxn ang="0">
                  <a:pos x="196" y="6"/>
                </a:cxn>
                <a:cxn ang="0">
                  <a:pos x="170" y="19"/>
                </a:cxn>
                <a:cxn ang="0">
                  <a:pos x="168" y="47"/>
                </a:cxn>
                <a:cxn ang="0">
                  <a:pos x="157" y="55"/>
                </a:cxn>
                <a:cxn ang="0">
                  <a:pos x="149" y="53"/>
                </a:cxn>
                <a:cxn ang="0">
                  <a:pos x="131" y="40"/>
                </a:cxn>
                <a:cxn ang="0">
                  <a:pos x="101" y="32"/>
                </a:cxn>
                <a:cxn ang="0">
                  <a:pos x="97" y="19"/>
                </a:cxn>
                <a:cxn ang="0">
                  <a:pos x="78" y="10"/>
                </a:cxn>
                <a:cxn ang="0">
                  <a:pos x="46" y="6"/>
                </a:cxn>
                <a:cxn ang="0">
                  <a:pos x="29" y="0"/>
                </a:cxn>
                <a:cxn ang="0">
                  <a:pos x="29" y="0"/>
                </a:cxn>
                <a:cxn ang="0">
                  <a:pos x="31" y="15"/>
                </a:cxn>
                <a:cxn ang="0">
                  <a:pos x="15" y="32"/>
                </a:cxn>
                <a:cxn ang="0">
                  <a:pos x="15" y="49"/>
                </a:cxn>
                <a:cxn ang="0">
                  <a:pos x="3" y="53"/>
                </a:cxn>
                <a:cxn ang="0">
                  <a:pos x="0" y="60"/>
                </a:cxn>
                <a:cxn ang="0">
                  <a:pos x="7" y="72"/>
                </a:cxn>
                <a:cxn ang="0">
                  <a:pos x="9" y="100"/>
                </a:cxn>
                <a:cxn ang="0">
                  <a:pos x="7" y="120"/>
                </a:cxn>
                <a:cxn ang="0">
                  <a:pos x="1" y="130"/>
                </a:cxn>
                <a:cxn ang="0">
                  <a:pos x="16" y="160"/>
                </a:cxn>
                <a:cxn ang="0">
                  <a:pos x="29" y="160"/>
                </a:cxn>
                <a:cxn ang="0">
                  <a:pos x="43" y="178"/>
                </a:cxn>
                <a:cxn ang="0">
                  <a:pos x="76" y="180"/>
                </a:cxn>
                <a:cxn ang="0">
                  <a:pos x="93" y="188"/>
                </a:cxn>
                <a:cxn ang="0">
                  <a:pos x="116" y="184"/>
                </a:cxn>
                <a:cxn ang="0">
                  <a:pos x="237" y="253"/>
                </a:cxn>
                <a:cxn ang="0">
                  <a:pos x="239" y="242"/>
                </a:cxn>
                <a:cxn ang="0">
                  <a:pos x="252" y="240"/>
                </a:cxn>
                <a:cxn ang="0">
                  <a:pos x="252" y="205"/>
                </a:cxn>
                <a:cxn ang="0">
                  <a:pos x="252" y="205"/>
                </a:cxn>
              </a:cxnLst>
              <a:rect l="0" t="0" r="r" b="b"/>
              <a:pathLst>
                <a:path w="252" h="253">
                  <a:moveTo>
                    <a:pt x="252" y="205"/>
                  </a:moveTo>
                  <a:lnTo>
                    <a:pt x="249" y="83"/>
                  </a:lnTo>
                  <a:lnTo>
                    <a:pt x="243" y="62"/>
                  </a:lnTo>
                  <a:lnTo>
                    <a:pt x="247" y="27"/>
                  </a:lnTo>
                  <a:lnTo>
                    <a:pt x="219" y="19"/>
                  </a:lnTo>
                  <a:lnTo>
                    <a:pt x="217" y="12"/>
                  </a:lnTo>
                  <a:lnTo>
                    <a:pt x="196" y="6"/>
                  </a:lnTo>
                  <a:lnTo>
                    <a:pt x="170" y="19"/>
                  </a:lnTo>
                  <a:lnTo>
                    <a:pt x="168" y="47"/>
                  </a:lnTo>
                  <a:lnTo>
                    <a:pt x="157" y="55"/>
                  </a:lnTo>
                  <a:lnTo>
                    <a:pt x="149" y="53"/>
                  </a:lnTo>
                  <a:lnTo>
                    <a:pt x="131" y="40"/>
                  </a:lnTo>
                  <a:lnTo>
                    <a:pt x="101" y="32"/>
                  </a:lnTo>
                  <a:lnTo>
                    <a:pt x="97" y="19"/>
                  </a:lnTo>
                  <a:lnTo>
                    <a:pt x="78" y="10"/>
                  </a:lnTo>
                  <a:lnTo>
                    <a:pt x="46" y="6"/>
                  </a:lnTo>
                  <a:lnTo>
                    <a:pt x="29" y="0"/>
                  </a:lnTo>
                  <a:lnTo>
                    <a:pt x="29" y="0"/>
                  </a:lnTo>
                  <a:lnTo>
                    <a:pt x="31" y="15"/>
                  </a:lnTo>
                  <a:lnTo>
                    <a:pt x="15" y="32"/>
                  </a:lnTo>
                  <a:lnTo>
                    <a:pt x="15" y="49"/>
                  </a:lnTo>
                  <a:lnTo>
                    <a:pt x="3" y="53"/>
                  </a:lnTo>
                  <a:lnTo>
                    <a:pt x="0" y="60"/>
                  </a:lnTo>
                  <a:lnTo>
                    <a:pt x="7" y="72"/>
                  </a:lnTo>
                  <a:lnTo>
                    <a:pt x="9" y="100"/>
                  </a:lnTo>
                  <a:lnTo>
                    <a:pt x="7" y="120"/>
                  </a:lnTo>
                  <a:lnTo>
                    <a:pt x="1" y="130"/>
                  </a:lnTo>
                  <a:lnTo>
                    <a:pt x="16" y="160"/>
                  </a:lnTo>
                  <a:lnTo>
                    <a:pt x="29" y="160"/>
                  </a:lnTo>
                  <a:lnTo>
                    <a:pt x="43" y="178"/>
                  </a:lnTo>
                  <a:lnTo>
                    <a:pt x="76" y="180"/>
                  </a:lnTo>
                  <a:lnTo>
                    <a:pt x="93" y="188"/>
                  </a:lnTo>
                  <a:lnTo>
                    <a:pt x="116" y="184"/>
                  </a:lnTo>
                  <a:lnTo>
                    <a:pt x="237" y="253"/>
                  </a:lnTo>
                  <a:lnTo>
                    <a:pt x="239" y="242"/>
                  </a:lnTo>
                  <a:lnTo>
                    <a:pt x="252" y="240"/>
                  </a:lnTo>
                  <a:lnTo>
                    <a:pt x="252" y="205"/>
                  </a:lnTo>
                  <a:lnTo>
                    <a:pt x="252" y="20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71" name="Freeform 5679"/>
            <p:cNvSpPr>
              <a:spLocks/>
            </p:cNvSpPr>
            <p:nvPr>
              <p:custDataLst>
                <p:tags r:id="rId49"/>
              </p:custDataLst>
            </p:nvPr>
          </p:nvSpPr>
          <p:spPr bwMode="gray">
            <a:xfrm>
              <a:off x="6432863" y="3484625"/>
              <a:ext cx="411873" cy="423905"/>
            </a:xfrm>
            <a:custGeom>
              <a:avLst/>
              <a:gdLst/>
              <a:ahLst/>
              <a:cxnLst>
                <a:cxn ang="0">
                  <a:pos x="264" y="2"/>
                </a:cxn>
                <a:cxn ang="0">
                  <a:pos x="234" y="0"/>
                </a:cxn>
                <a:cxn ang="0">
                  <a:pos x="221" y="6"/>
                </a:cxn>
                <a:cxn ang="0">
                  <a:pos x="199" y="0"/>
                </a:cxn>
                <a:cxn ang="0">
                  <a:pos x="154" y="8"/>
                </a:cxn>
                <a:cxn ang="0">
                  <a:pos x="107" y="32"/>
                </a:cxn>
                <a:cxn ang="0">
                  <a:pos x="113" y="39"/>
                </a:cxn>
                <a:cxn ang="0">
                  <a:pos x="118" y="84"/>
                </a:cxn>
                <a:cxn ang="0">
                  <a:pos x="79" y="96"/>
                </a:cxn>
                <a:cxn ang="0">
                  <a:pos x="79" y="107"/>
                </a:cxn>
                <a:cxn ang="0">
                  <a:pos x="51" y="127"/>
                </a:cxn>
                <a:cxn ang="0">
                  <a:pos x="10" y="142"/>
                </a:cxn>
                <a:cxn ang="0">
                  <a:pos x="2" y="148"/>
                </a:cxn>
                <a:cxn ang="0">
                  <a:pos x="0" y="170"/>
                </a:cxn>
                <a:cxn ang="0">
                  <a:pos x="0" y="178"/>
                </a:cxn>
                <a:cxn ang="0">
                  <a:pos x="0" y="178"/>
                </a:cxn>
                <a:cxn ang="0">
                  <a:pos x="56" y="219"/>
                </a:cxn>
                <a:cxn ang="0">
                  <a:pos x="148" y="289"/>
                </a:cxn>
                <a:cxn ang="0">
                  <a:pos x="160" y="304"/>
                </a:cxn>
                <a:cxn ang="0">
                  <a:pos x="180" y="313"/>
                </a:cxn>
                <a:cxn ang="0">
                  <a:pos x="182" y="330"/>
                </a:cxn>
                <a:cxn ang="0">
                  <a:pos x="197" y="328"/>
                </a:cxn>
                <a:cxn ang="0">
                  <a:pos x="221" y="322"/>
                </a:cxn>
                <a:cxn ang="0">
                  <a:pos x="321" y="247"/>
                </a:cxn>
                <a:cxn ang="0">
                  <a:pos x="307" y="229"/>
                </a:cxn>
                <a:cxn ang="0">
                  <a:pos x="294" y="229"/>
                </a:cxn>
                <a:cxn ang="0">
                  <a:pos x="279" y="199"/>
                </a:cxn>
                <a:cxn ang="0">
                  <a:pos x="285" y="189"/>
                </a:cxn>
                <a:cxn ang="0">
                  <a:pos x="287" y="169"/>
                </a:cxn>
                <a:cxn ang="0">
                  <a:pos x="285" y="141"/>
                </a:cxn>
                <a:cxn ang="0">
                  <a:pos x="278" y="129"/>
                </a:cxn>
                <a:cxn ang="0">
                  <a:pos x="281" y="122"/>
                </a:cxn>
                <a:cxn ang="0">
                  <a:pos x="278" y="94"/>
                </a:cxn>
                <a:cxn ang="0">
                  <a:pos x="263" y="82"/>
                </a:cxn>
                <a:cxn ang="0">
                  <a:pos x="253" y="60"/>
                </a:cxn>
                <a:cxn ang="0">
                  <a:pos x="266" y="39"/>
                </a:cxn>
                <a:cxn ang="0">
                  <a:pos x="266" y="8"/>
                </a:cxn>
                <a:cxn ang="0">
                  <a:pos x="274" y="0"/>
                </a:cxn>
                <a:cxn ang="0">
                  <a:pos x="264" y="2"/>
                </a:cxn>
                <a:cxn ang="0">
                  <a:pos x="264" y="2"/>
                </a:cxn>
              </a:cxnLst>
              <a:rect l="0" t="0" r="r" b="b"/>
              <a:pathLst>
                <a:path w="321" h="330">
                  <a:moveTo>
                    <a:pt x="264" y="2"/>
                  </a:moveTo>
                  <a:lnTo>
                    <a:pt x="234" y="0"/>
                  </a:lnTo>
                  <a:lnTo>
                    <a:pt x="221" y="6"/>
                  </a:lnTo>
                  <a:lnTo>
                    <a:pt x="199" y="0"/>
                  </a:lnTo>
                  <a:lnTo>
                    <a:pt x="154" y="8"/>
                  </a:lnTo>
                  <a:lnTo>
                    <a:pt x="107" y="32"/>
                  </a:lnTo>
                  <a:lnTo>
                    <a:pt x="113" y="39"/>
                  </a:lnTo>
                  <a:lnTo>
                    <a:pt x="118" y="84"/>
                  </a:lnTo>
                  <a:lnTo>
                    <a:pt x="79" y="96"/>
                  </a:lnTo>
                  <a:lnTo>
                    <a:pt x="79" y="107"/>
                  </a:lnTo>
                  <a:lnTo>
                    <a:pt x="51" y="127"/>
                  </a:lnTo>
                  <a:lnTo>
                    <a:pt x="10" y="142"/>
                  </a:lnTo>
                  <a:lnTo>
                    <a:pt x="2" y="148"/>
                  </a:lnTo>
                  <a:lnTo>
                    <a:pt x="0" y="170"/>
                  </a:lnTo>
                  <a:lnTo>
                    <a:pt x="0" y="178"/>
                  </a:lnTo>
                  <a:lnTo>
                    <a:pt x="0" y="178"/>
                  </a:lnTo>
                  <a:lnTo>
                    <a:pt x="56" y="219"/>
                  </a:lnTo>
                  <a:lnTo>
                    <a:pt x="148" y="289"/>
                  </a:lnTo>
                  <a:lnTo>
                    <a:pt x="160" y="304"/>
                  </a:lnTo>
                  <a:lnTo>
                    <a:pt x="180" y="313"/>
                  </a:lnTo>
                  <a:lnTo>
                    <a:pt x="182" y="330"/>
                  </a:lnTo>
                  <a:lnTo>
                    <a:pt x="197" y="328"/>
                  </a:lnTo>
                  <a:lnTo>
                    <a:pt x="221" y="322"/>
                  </a:lnTo>
                  <a:lnTo>
                    <a:pt x="321" y="247"/>
                  </a:lnTo>
                  <a:lnTo>
                    <a:pt x="307" y="229"/>
                  </a:lnTo>
                  <a:lnTo>
                    <a:pt x="294" y="229"/>
                  </a:lnTo>
                  <a:lnTo>
                    <a:pt x="279" y="199"/>
                  </a:lnTo>
                  <a:lnTo>
                    <a:pt x="285" y="189"/>
                  </a:lnTo>
                  <a:lnTo>
                    <a:pt x="287" y="169"/>
                  </a:lnTo>
                  <a:lnTo>
                    <a:pt x="285" y="141"/>
                  </a:lnTo>
                  <a:lnTo>
                    <a:pt x="278" y="129"/>
                  </a:lnTo>
                  <a:lnTo>
                    <a:pt x="281" y="122"/>
                  </a:lnTo>
                  <a:lnTo>
                    <a:pt x="278" y="94"/>
                  </a:lnTo>
                  <a:lnTo>
                    <a:pt x="263" y="82"/>
                  </a:lnTo>
                  <a:lnTo>
                    <a:pt x="253" y="60"/>
                  </a:lnTo>
                  <a:lnTo>
                    <a:pt x="266" y="39"/>
                  </a:lnTo>
                  <a:lnTo>
                    <a:pt x="266" y="8"/>
                  </a:lnTo>
                  <a:lnTo>
                    <a:pt x="274" y="0"/>
                  </a:lnTo>
                  <a:lnTo>
                    <a:pt x="264" y="2"/>
                  </a:lnTo>
                  <a:lnTo>
                    <a:pt x="264" y="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72" name="Freeform 5680"/>
            <p:cNvSpPr>
              <a:spLocks/>
            </p:cNvSpPr>
            <p:nvPr>
              <p:custDataLst>
                <p:tags r:id="rId50"/>
              </p:custDataLst>
            </p:nvPr>
          </p:nvSpPr>
          <p:spPr bwMode="gray">
            <a:xfrm>
              <a:off x="7682595" y="3773651"/>
              <a:ext cx="142423" cy="192684"/>
            </a:xfrm>
            <a:custGeom>
              <a:avLst/>
              <a:gdLst/>
              <a:ahLst/>
              <a:cxnLst>
                <a:cxn ang="0">
                  <a:pos x="23" y="144"/>
                </a:cxn>
                <a:cxn ang="0">
                  <a:pos x="38" y="144"/>
                </a:cxn>
                <a:cxn ang="0">
                  <a:pos x="45" y="131"/>
                </a:cxn>
                <a:cxn ang="0">
                  <a:pos x="60" y="125"/>
                </a:cxn>
                <a:cxn ang="0">
                  <a:pos x="72" y="110"/>
                </a:cxn>
                <a:cxn ang="0">
                  <a:pos x="85" y="105"/>
                </a:cxn>
                <a:cxn ang="0">
                  <a:pos x="83" y="88"/>
                </a:cxn>
                <a:cxn ang="0">
                  <a:pos x="105" y="62"/>
                </a:cxn>
                <a:cxn ang="0">
                  <a:pos x="111" y="43"/>
                </a:cxn>
                <a:cxn ang="0">
                  <a:pos x="94" y="22"/>
                </a:cxn>
                <a:cxn ang="0">
                  <a:pos x="68" y="15"/>
                </a:cxn>
                <a:cxn ang="0">
                  <a:pos x="55" y="0"/>
                </a:cxn>
                <a:cxn ang="0">
                  <a:pos x="43" y="13"/>
                </a:cxn>
                <a:cxn ang="0">
                  <a:pos x="43" y="22"/>
                </a:cxn>
                <a:cxn ang="0">
                  <a:pos x="40" y="24"/>
                </a:cxn>
                <a:cxn ang="0">
                  <a:pos x="40" y="24"/>
                </a:cxn>
                <a:cxn ang="0">
                  <a:pos x="45" y="28"/>
                </a:cxn>
                <a:cxn ang="0">
                  <a:pos x="51" y="41"/>
                </a:cxn>
                <a:cxn ang="0">
                  <a:pos x="55" y="62"/>
                </a:cxn>
                <a:cxn ang="0">
                  <a:pos x="38" y="93"/>
                </a:cxn>
                <a:cxn ang="0">
                  <a:pos x="0" y="131"/>
                </a:cxn>
                <a:cxn ang="0">
                  <a:pos x="10" y="150"/>
                </a:cxn>
                <a:cxn ang="0">
                  <a:pos x="23" y="144"/>
                </a:cxn>
                <a:cxn ang="0">
                  <a:pos x="23" y="144"/>
                </a:cxn>
              </a:cxnLst>
              <a:rect l="0" t="0" r="r" b="b"/>
              <a:pathLst>
                <a:path w="111" h="150">
                  <a:moveTo>
                    <a:pt x="23" y="144"/>
                  </a:moveTo>
                  <a:lnTo>
                    <a:pt x="38" y="144"/>
                  </a:lnTo>
                  <a:lnTo>
                    <a:pt x="45" y="131"/>
                  </a:lnTo>
                  <a:lnTo>
                    <a:pt x="60" y="125"/>
                  </a:lnTo>
                  <a:lnTo>
                    <a:pt x="72" y="110"/>
                  </a:lnTo>
                  <a:lnTo>
                    <a:pt x="85" y="105"/>
                  </a:lnTo>
                  <a:lnTo>
                    <a:pt x="83" y="88"/>
                  </a:lnTo>
                  <a:lnTo>
                    <a:pt x="105" y="62"/>
                  </a:lnTo>
                  <a:lnTo>
                    <a:pt x="111" y="43"/>
                  </a:lnTo>
                  <a:lnTo>
                    <a:pt x="94" y="22"/>
                  </a:lnTo>
                  <a:lnTo>
                    <a:pt x="68" y="15"/>
                  </a:lnTo>
                  <a:lnTo>
                    <a:pt x="55" y="0"/>
                  </a:lnTo>
                  <a:lnTo>
                    <a:pt x="43" y="13"/>
                  </a:lnTo>
                  <a:lnTo>
                    <a:pt x="43" y="22"/>
                  </a:lnTo>
                  <a:lnTo>
                    <a:pt x="40" y="24"/>
                  </a:lnTo>
                  <a:lnTo>
                    <a:pt x="40" y="24"/>
                  </a:lnTo>
                  <a:lnTo>
                    <a:pt x="45" y="28"/>
                  </a:lnTo>
                  <a:lnTo>
                    <a:pt x="51" y="41"/>
                  </a:lnTo>
                  <a:lnTo>
                    <a:pt x="55" y="62"/>
                  </a:lnTo>
                  <a:lnTo>
                    <a:pt x="38" y="93"/>
                  </a:lnTo>
                  <a:lnTo>
                    <a:pt x="0" y="131"/>
                  </a:lnTo>
                  <a:lnTo>
                    <a:pt x="10" y="150"/>
                  </a:lnTo>
                  <a:lnTo>
                    <a:pt x="23" y="144"/>
                  </a:lnTo>
                  <a:lnTo>
                    <a:pt x="23" y="14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73" name="Freeform 5681"/>
            <p:cNvSpPr>
              <a:spLocks/>
            </p:cNvSpPr>
            <p:nvPr>
              <p:custDataLst>
                <p:tags r:id="rId51"/>
              </p:custDataLst>
            </p:nvPr>
          </p:nvSpPr>
          <p:spPr bwMode="gray">
            <a:xfrm>
              <a:off x="7302800" y="3597666"/>
              <a:ext cx="450366" cy="409774"/>
            </a:xfrm>
            <a:custGeom>
              <a:avLst/>
              <a:gdLst/>
              <a:ahLst/>
              <a:cxnLst>
                <a:cxn ang="0">
                  <a:pos x="85" y="29"/>
                </a:cxn>
                <a:cxn ang="0">
                  <a:pos x="91" y="33"/>
                </a:cxn>
                <a:cxn ang="0">
                  <a:pos x="100" y="30"/>
                </a:cxn>
                <a:cxn ang="0">
                  <a:pos x="100" y="30"/>
                </a:cxn>
                <a:cxn ang="0">
                  <a:pos x="115" y="35"/>
                </a:cxn>
                <a:cxn ang="0">
                  <a:pos x="115" y="36"/>
                </a:cxn>
                <a:cxn ang="0">
                  <a:pos x="131" y="54"/>
                </a:cxn>
                <a:cxn ang="0">
                  <a:pos x="138" y="69"/>
                </a:cxn>
                <a:cxn ang="0">
                  <a:pos x="143" y="78"/>
                </a:cxn>
                <a:cxn ang="0">
                  <a:pos x="139" y="83"/>
                </a:cxn>
                <a:cxn ang="0">
                  <a:pos x="139" y="87"/>
                </a:cxn>
                <a:cxn ang="0">
                  <a:pos x="145" y="89"/>
                </a:cxn>
                <a:cxn ang="0">
                  <a:pos x="154" y="89"/>
                </a:cxn>
                <a:cxn ang="0">
                  <a:pos x="164" y="89"/>
                </a:cxn>
                <a:cxn ang="0">
                  <a:pos x="169" y="87"/>
                </a:cxn>
                <a:cxn ang="0">
                  <a:pos x="173" y="85"/>
                </a:cxn>
                <a:cxn ang="0">
                  <a:pos x="179" y="86"/>
                </a:cxn>
                <a:cxn ang="0">
                  <a:pos x="182" y="88"/>
                </a:cxn>
                <a:cxn ang="0">
                  <a:pos x="185" y="95"/>
                </a:cxn>
                <a:cxn ang="0">
                  <a:pos x="187" y="106"/>
                </a:cxn>
                <a:cxn ang="0">
                  <a:pos x="178" y="123"/>
                </a:cxn>
                <a:cxn ang="0">
                  <a:pos x="158" y="143"/>
                </a:cxn>
                <a:cxn ang="0">
                  <a:pos x="130" y="148"/>
                </a:cxn>
                <a:cxn ang="0">
                  <a:pos x="100" y="170"/>
                </a:cxn>
                <a:cxn ang="0">
                  <a:pos x="82" y="149"/>
                </a:cxn>
                <a:cxn ang="0">
                  <a:pos x="74" y="155"/>
                </a:cxn>
                <a:cxn ang="0">
                  <a:pos x="73" y="156"/>
                </a:cxn>
                <a:cxn ang="0">
                  <a:pos x="71" y="149"/>
                </a:cxn>
                <a:cxn ang="0">
                  <a:pos x="56" y="123"/>
                </a:cxn>
                <a:cxn ang="0">
                  <a:pos x="47" y="118"/>
                </a:cxn>
                <a:cxn ang="0">
                  <a:pos x="42" y="111"/>
                </a:cxn>
                <a:cxn ang="0">
                  <a:pos x="40" y="93"/>
                </a:cxn>
                <a:cxn ang="0">
                  <a:pos x="34" y="83"/>
                </a:cxn>
                <a:cxn ang="0">
                  <a:pos x="26" y="77"/>
                </a:cxn>
                <a:cxn ang="0">
                  <a:pos x="5" y="41"/>
                </a:cxn>
                <a:cxn ang="0">
                  <a:pos x="0" y="41"/>
                </a:cxn>
                <a:cxn ang="0">
                  <a:pos x="2" y="28"/>
                </a:cxn>
                <a:cxn ang="0">
                  <a:pos x="2" y="28"/>
                </a:cxn>
                <a:cxn ang="0">
                  <a:pos x="11" y="29"/>
                </a:cxn>
                <a:cxn ang="0">
                  <a:pos x="16" y="22"/>
                </a:cxn>
                <a:cxn ang="0">
                  <a:pos x="21" y="22"/>
                </a:cxn>
                <a:cxn ang="0">
                  <a:pos x="26" y="16"/>
                </a:cxn>
                <a:cxn ang="0">
                  <a:pos x="18" y="7"/>
                </a:cxn>
                <a:cxn ang="0">
                  <a:pos x="35" y="0"/>
                </a:cxn>
                <a:cxn ang="0">
                  <a:pos x="48" y="3"/>
                </a:cxn>
                <a:cxn ang="0">
                  <a:pos x="67" y="14"/>
                </a:cxn>
                <a:cxn ang="0">
                  <a:pos x="73" y="18"/>
                </a:cxn>
                <a:cxn ang="0">
                  <a:pos x="74" y="24"/>
                </a:cxn>
                <a:cxn ang="0">
                  <a:pos x="85" y="29"/>
                </a:cxn>
              </a:cxnLst>
              <a:rect l="0" t="0" r="r" b="b"/>
              <a:pathLst>
                <a:path w="187" h="170">
                  <a:moveTo>
                    <a:pt x="85" y="29"/>
                  </a:moveTo>
                  <a:cubicBezTo>
                    <a:pt x="91" y="33"/>
                    <a:pt x="91" y="33"/>
                    <a:pt x="91" y="33"/>
                  </a:cubicBezTo>
                  <a:cubicBezTo>
                    <a:pt x="100" y="30"/>
                    <a:pt x="100" y="30"/>
                    <a:pt x="100" y="30"/>
                  </a:cubicBezTo>
                  <a:cubicBezTo>
                    <a:pt x="100" y="30"/>
                    <a:pt x="100" y="30"/>
                    <a:pt x="100" y="30"/>
                  </a:cubicBezTo>
                  <a:cubicBezTo>
                    <a:pt x="115" y="35"/>
                    <a:pt x="115" y="35"/>
                    <a:pt x="115" y="35"/>
                  </a:cubicBezTo>
                  <a:cubicBezTo>
                    <a:pt x="115" y="36"/>
                    <a:pt x="115" y="36"/>
                    <a:pt x="115" y="36"/>
                  </a:cubicBezTo>
                  <a:cubicBezTo>
                    <a:pt x="131" y="54"/>
                    <a:pt x="131" y="54"/>
                    <a:pt x="131" y="54"/>
                  </a:cubicBezTo>
                  <a:cubicBezTo>
                    <a:pt x="138" y="69"/>
                    <a:pt x="138" y="69"/>
                    <a:pt x="138" y="69"/>
                  </a:cubicBezTo>
                  <a:cubicBezTo>
                    <a:pt x="143" y="78"/>
                    <a:pt x="143" y="78"/>
                    <a:pt x="143" y="78"/>
                  </a:cubicBezTo>
                  <a:cubicBezTo>
                    <a:pt x="139" y="83"/>
                    <a:pt x="139" y="83"/>
                    <a:pt x="139" y="83"/>
                  </a:cubicBezTo>
                  <a:cubicBezTo>
                    <a:pt x="139" y="87"/>
                    <a:pt x="139" y="87"/>
                    <a:pt x="139" y="87"/>
                  </a:cubicBezTo>
                  <a:cubicBezTo>
                    <a:pt x="145" y="89"/>
                    <a:pt x="145" y="89"/>
                    <a:pt x="145" y="89"/>
                  </a:cubicBezTo>
                  <a:cubicBezTo>
                    <a:pt x="145" y="89"/>
                    <a:pt x="154" y="89"/>
                    <a:pt x="154" y="89"/>
                  </a:cubicBezTo>
                  <a:cubicBezTo>
                    <a:pt x="154" y="89"/>
                    <a:pt x="164" y="89"/>
                    <a:pt x="164" y="89"/>
                  </a:cubicBezTo>
                  <a:cubicBezTo>
                    <a:pt x="165" y="89"/>
                    <a:pt x="169" y="87"/>
                    <a:pt x="169" y="87"/>
                  </a:cubicBezTo>
                  <a:cubicBezTo>
                    <a:pt x="170" y="87"/>
                    <a:pt x="173" y="85"/>
                    <a:pt x="173" y="85"/>
                  </a:cubicBezTo>
                  <a:cubicBezTo>
                    <a:pt x="179" y="86"/>
                    <a:pt x="179" y="86"/>
                    <a:pt x="179" y="86"/>
                  </a:cubicBezTo>
                  <a:cubicBezTo>
                    <a:pt x="182" y="88"/>
                    <a:pt x="182" y="88"/>
                    <a:pt x="182" y="88"/>
                  </a:cubicBezTo>
                  <a:cubicBezTo>
                    <a:pt x="185" y="95"/>
                    <a:pt x="185" y="95"/>
                    <a:pt x="185" y="95"/>
                  </a:cubicBezTo>
                  <a:cubicBezTo>
                    <a:pt x="187" y="106"/>
                    <a:pt x="187" y="106"/>
                    <a:pt x="187" y="106"/>
                  </a:cubicBezTo>
                  <a:cubicBezTo>
                    <a:pt x="178" y="123"/>
                    <a:pt x="178" y="123"/>
                    <a:pt x="178" y="123"/>
                  </a:cubicBezTo>
                  <a:cubicBezTo>
                    <a:pt x="158" y="143"/>
                    <a:pt x="158" y="143"/>
                    <a:pt x="158" y="143"/>
                  </a:cubicBezTo>
                  <a:cubicBezTo>
                    <a:pt x="130" y="148"/>
                    <a:pt x="130" y="148"/>
                    <a:pt x="130" y="148"/>
                  </a:cubicBezTo>
                  <a:cubicBezTo>
                    <a:pt x="100" y="170"/>
                    <a:pt x="100" y="170"/>
                    <a:pt x="100" y="170"/>
                  </a:cubicBezTo>
                  <a:cubicBezTo>
                    <a:pt x="82" y="149"/>
                    <a:pt x="82" y="149"/>
                    <a:pt x="82" y="149"/>
                  </a:cubicBezTo>
                  <a:cubicBezTo>
                    <a:pt x="74" y="155"/>
                    <a:pt x="74" y="155"/>
                    <a:pt x="74" y="155"/>
                  </a:cubicBezTo>
                  <a:cubicBezTo>
                    <a:pt x="73" y="156"/>
                    <a:pt x="73" y="156"/>
                    <a:pt x="73" y="156"/>
                  </a:cubicBezTo>
                  <a:cubicBezTo>
                    <a:pt x="71" y="149"/>
                    <a:pt x="71" y="149"/>
                    <a:pt x="71" y="149"/>
                  </a:cubicBezTo>
                  <a:cubicBezTo>
                    <a:pt x="56" y="123"/>
                    <a:pt x="56" y="123"/>
                    <a:pt x="56" y="123"/>
                  </a:cubicBezTo>
                  <a:cubicBezTo>
                    <a:pt x="47" y="118"/>
                    <a:pt x="47" y="118"/>
                    <a:pt x="47" y="118"/>
                  </a:cubicBezTo>
                  <a:cubicBezTo>
                    <a:pt x="42" y="111"/>
                    <a:pt x="42" y="111"/>
                    <a:pt x="42" y="111"/>
                  </a:cubicBezTo>
                  <a:cubicBezTo>
                    <a:pt x="40" y="93"/>
                    <a:pt x="40" y="93"/>
                    <a:pt x="40" y="93"/>
                  </a:cubicBezTo>
                  <a:cubicBezTo>
                    <a:pt x="34" y="83"/>
                    <a:pt x="34" y="83"/>
                    <a:pt x="34" y="83"/>
                  </a:cubicBezTo>
                  <a:cubicBezTo>
                    <a:pt x="26" y="77"/>
                    <a:pt x="26" y="77"/>
                    <a:pt x="26" y="77"/>
                  </a:cubicBezTo>
                  <a:cubicBezTo>
                    <a:pt x="5" y="41"/>
                    <a:pt x="5" y="41"/>
                    <a:pt x="5" y="41"/>
                  </a:cubicBezTo>
                  <a:cubicBezTo>
                    <a:pt x="0" y="41"/>
                    <a:pt x="0" y="41"/>
                    <a:pt x="0" y="41"/>
                  </a:cubicBezTo>
                  <a:cubicBezTo>
                    <a:pt x="2" y="28"/>
                    <a:pt x="2" y="28"/>
                    <a:pt x="2" y="28"/>
                  </a:cubicBezTo>
                  <a:cubicBezTo>
                    <a:pt x="2" y="28"/>
                    <a:pt x="2" y="28"/>
                    <a:pt x="2" y="28"/>
                  </a:cubicBezTo>
                  <a:cubicBezTo>
                    <a:pt x="11" y="29"/>
                    <a:pt x="11" y="29"/>
                    <a:pt x="11" y="29"/>
                  </a:cubicBezTo>
                  <a:cubicBezTo>
                    <a:pt x="16" y="22"/>
                    <a:pt x="16" y="22"/>
                    <a:pt x="16" y="22"/>
                  </a:cubicBezTo>
                  <a:cubicBezTo>
                    <a:pt x="21" y="22"/>
                    <a:pt x="21" y="22"/>
                    <a:pt x="21" y="22"/>
                  </a:cubicBezTo>
                  <a:cubicBezTo>
                    <a:pt x="26" y="16"/>
                    <a:pt x="26" y="16"/>
                    <a:pt x="26" y="16"/>
                  </a:cubicBezTo>
                  <a:cubicBezTo>
                    <a:pt x="18" y="7"/>
                    <a:pt x="18" y="7"/>
                    <a:pt x="18" y="7"/>
                  </a:cubicBezTo>
                  <a:cubicBezTo>
                    <a:pt x="35" y="0"/>
                    <a:pt x="35" y="0"/>
                    <a:pt x="35" y="0"/>
                  </a:cubicBezTo>
                  <a:cubicBezTo>
                    <a:pt x="48" y="3"/>
                    <a:pt x="48" y="3"/>
                    <a:pt x="48" y="3"/>
                  </a:cubicBezTo>
                  <a:cubicBezTo>
                    <a:pt x="67" y="14"/>
                    <a:pt x="67" y="14"/>
                    <a:pt x="67" y="14"/>
                  </a:cubicBezTo>
                  <a:cubicBezTo>
                    <a:pt x="73" y="18"/>
                    <a:pt x="73" y="18"/>
                    <a:pt x="73" y="18"/>
                  </a:cubicBezTo>
                  <a:cubicBezTo>
                    <a:pt x="74" y="24"/>
                    <a:pt x="74" y="24"/>
                    <a:pt x="74" y="24"/>
                  </a:cubicBezTo>
                  <a:cubicBezTo>
                    <a:pt x="85" y="29"/>
                    <a:pt x="85" y="29"/>
                    <a:pt x="85" y="29"/>
                  </a:cubicBez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74" name="Freeform 5682"/>
            <p:cNvSpPr>
              <a:spLocks/>
            </p:cNvSpPr>
            <p:nvPr>
              <p:custDataLst>
                <p:tags r:id="rId52"/>
              </p:custDataLst>
            </p:nvPr>
          </p:nvSpPr>
          <p:spPr bwMode="gray">
            <a:xfrm>
              <a:off x="7635121" y="3744106"/>
              <a:ext cx="19246" cy="41106"/>
            </a:xfrm>
            <a:custGeom>
              <a:avLst/>
              <a:gdLst/>
              <a:ahLst/>
              <a:cxnLst>
                <a:cxn ang="0">
                  <a:pos x="0" y="15"/>
                </a:cxn>
                <a:cxn ang="0">
                  <a:pos x="4" y="0"/>
                </a:cxn>
                <a:cxn ang="0">
                  <a:pos x="13" y="4"/>
                </a:cxn>
                <a:cxn ang="0">
                  <a:pos x="15" y="23"/>
                </a:cxn>
                <a:cxn ang="0">
                  <a:pos x="9" y="32"/>
                </a:cxn>
                <a:cxn ang="0">
                  <a:pos x="0" y="15"/>
                </a:cxn>
                <a:cxn ang="0">
                  <a:pos x="0" y="15"/>
                </a:cxn>
              </a:cxnLst>
              <a:rect l="0" t="0" r="r" b="b"/>
              <a:pathLst>
                <a:path w="15" h="32">
                  <a:moveTo>
                    <a:pt x="0" y="15"/>
                  </a:moveTo>
                  <a:lnTo>
                    <a:pt x="4" y="0"/>
                  </a:lnTo>
                  <a:lnTo>
                    <a:pt x="13" y="4"/>
                  </a:lnTo>
                  <a:lnTo>
                    <a:pt x="15" y="23"/>
                  </a:lnTo>
                  <a:lnTo>
                    <a:pt x="9" y="32"/>
                  </a:lnTo>
                  <a:lnTo>
                    <a:pt x="0" y="15"/>
                  </a:lnTo>
                  <a:lnTo>
                    <a:pt x="0" y="1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75" name="Freeform 5683"/>
            <p:cNvSpPr>
              <a:spLocks/>
            </p:cNvSpPr>
            <p:nvPr>
              <p:custDataLst>
                <p:tags r:id="rId53"/>
              </p:custDataLst>
            </p:nvPr>
          </p:nvSpPr>
          <p:spPr bwMode="gray">
            <a:xfrm>
              <a:off x="7637687" y="3746675"/>
              <a:ext cx="115478" cy="65513"/>
            </a:xfrm>
            <a:custGeom>
              <a:avLst/>
              <a:gdLst/>
              <a:ahLst/>
              <a:cxnLst>
                <a:cxn ang="0">
                  <a:pos x="47" y="7"/>
                </a:cxn>
                <a:cxn ang="0">
                  <a:pos x="48" y="11"/>
                </a:cxn>
                <a:cxn ang="0">
                  <a:pos x="42" y="18"/>
                </a:cxn>
                <a:cxn ang="0">
                  <a:pos x="42" y="23"/>
                </a:cxn>
                <a:cxn ang="0">
                  <a:pos x="40" y="24"/>
                </a:cxn>
                <a:cxn ang="0">
                  <a:pos x="40" y="24"/>
                </a:cxn>
                <a:cxn ang="0">
                  <a:pos x="34" y="23"/>
                </a:cxn>
                <a:cxn ang="0">
                  <a:pos x="30" y="25"/>
                </a:cxn>
                <a:cxn ang="0">
                  <a:pos x="25" y="27"/>
                </a:cxn>
                <a:cxn ang="0">
                  <a:pos x="15" y="27"/>
                </a:cxn>
                <a:cxn ang="0">
                  <a:pos x="6" y="27"/>
                </a:cxn>
                <a:cxn ang="0">
                  <a:pos x="0" y="25"/>
                </a:cxn>
                <a:cxn ang="0">
                  <a:pos x="0" y="21"/>
                </a:cxn>
                <a:cxn ang="0">
                  <a:pos x="4" y="16"/>
                </a:cxn>
                <a:cxn ang="0">
                  <a:pos x="14" y="19"/>
                </a:cxn>
                <a:cxn ang="0">
                  <a:pos x="16" y="17"/>
                </a:cxn>
                <a:cxn ang="0">
                  <a:pos x="29" y="17"/>
                </a:cxn>
                <a:cxn ang="0">
                  <a:pos x="42" y="0"/>
                </a:cxn>
                <a:cxn ang="0">
                  <a:pos x="47" y="7"/>
                </a:cxn>
              </a:cxnLst>
              <a:rect l="0" t="0" r="r" b="b"/>
              <a:pathLst>
                <a:path w="48" h="27">
                  <a:moveTo>
                    <a:pt x="47" y="7"/>
                  </a:moveTo>
                  <a:cubicBezTo>
                    <a:pt x="48" y="11"/>
                    <a:pt x="48" y="11"/>
                    <a:pt x="48" y="11"/>
                  </a:cubicBezTo>
                  <a:cubicBezTo>
                    <a:pt x="42" y="18"/>
                    <a:pt x="42" y="18"/>
                    <a:pt x="42" y="18"/>
                  </a:cubicBezTo>
                  <a:cubicBezTo>
                    <a:pt x="42" y="23"/>
                    <a:pt x="42" y="23"/>
                    <a:pt x="42" y="23"/>
                  </a:cubicBezTo>
                  <a:cubicBezTo>
                    <a:pt x="40" y="24"/>
                    <a:pt x="40" y="24"/>
                    <a:pt x="40" y="24"/>
                  </a:cubicBezTo>
                  <a:cubicBezTo>
                    <a:pt x="40" y="24"/>
                    <a:pt x="40" y="24"/>
                    <a:pt x="40" y="24"/>
                  </a:cubicBezTo>
                  <a:cubicBezTo>
                    <a:pt x="34" y="23"/>
                    <a:pt x="34" y="23"/>
                    <a:pt x="34" y="23"/>
                  </a:cubicBezTo>
                  <a:cubicBezTo>
                    <a:pt x="34" y="23"/>
                    <a:pt x="31" y="25"/>
                    <a:pt x="30" y="25"/>
                  </a:cubicBezTo>
                  <a:cubicBezTo>
                    <a:pt x="30" y="25"/>
                    <a:pt x="26" y="27"/>
                    <a:pt x="25" y="27"/>
                  </a:cubicBezTo>
                  <a:cubicBezTo>
                    <a:pt x="25" y="27"/>
                    <a:pt x="15" y="27"/>
                    <a:pt x="15" y="27"/>
                  </a:cubicBezTo>
                  <a:cubicBezTo>
                    <a:pt x="15" y="27"/>
                    <a:pt x="6" y="27"/>
                    <a:pt x="6" y="27"/>
                  </a:cubicBezTo>
                  <a:cubicBezTo>
                    <a:pt x="0" y="25"/>
                    <a:pt x="0" y="25"/>
                    <a:pt x="0" y="25"/>
                  </a:cubicBezTo>
                  <a:cubicBezTo>
                    <a:pt x="0" y="21"/>
                    <a:pt x="0" y="21"/>
                    <a:pt x="0" y="21"/>
                  </a:cubicBezTo>
                  <a:cubicBezTo>
                    <a:pt x="4" y="16"/>
                    <a:pt x="4" y="16"/>
                    <a:pt x="4" y="16"/>
                  </a:cubicBezTo>
                  <a:cubicBezTo>
                    <a:pt x="14" y="19"/>
                    <a:pt x="14" y="19"/>
                    <a:pt x="14" y="19"/>
                  </a:cubicBezTo>
                  <a:cubicBezTo>
                    <a:pt x="16" y="17"/>
                    <a:pt x="16" y="17"/>
                    <a:pt x="16" y="17"/>
                  </a:cubicBezTo>
                  <a:cubicBezTo>
                    <a:pt x="29" y="17"/>
                    <a:pt x="29" y="17"/>
                    <a:pt x="29" y="17"/>
                  </a:cubicBezTo>
                  <a:cubicBezTo>
                    <a:pt x="42" y="0"/>
                    <a:pt x="42" y="0"/>
                    <a:pt x="42" y="0"/>
                  </a:cubicBezTo>
                  <a:cubicBezTo>
                    <a:pt x="47" y="7"/>
                    <a:pt x="47" y="7"/>
                    <a:pt x="47" y="7"/>
                  </a:cubicBez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76" name="Freeform 5684"/>
            <p:cNvSpPr>
              <a:spLocks/>
            </p:cNvSpPr>
            <p:nvPr>
              <p:custDataLst>
                <p:tags r:id="rId54"/>
              </p:custDataLst>
            </p:nvPr>
          </p:nvSpPr>
          <p:spPr bwMode="gray">
            <a:xfrm>
              <a:off x="7737768" y="3740252"/>
              <a:ext cx="12831" cy="23122"/>
            </a:xfrm>
            <a:custGeom>
              <a:avLst/>
              <a:gdLst/>
              <a:ahLst/>
              <a:cxnLst>
                <a:cxn ang="0">
                  <a:pos x="10" y="18"/>
                </a:cxn>
                <a:cxn ang="0">
                  <a:pos x="10" y="1"/>
                </a:cxn>
                <a:cxn ang="0">
                  <a:pos x="6" y="0"/>
                </a:cxn>
                <a:cxn ang="0">
                  <a:pos x="0" y="5"/>
                </a:cxn>
                <a:cxn ang="0">
                  <a:pos x="10" y="18"/>
                </a:cxn>
                <a:cxn ang="0">
                  <a:pos x="10" y="18"/>
                </a:cxn>
              </a:cxnLst>
              <a:rect l="0" t="0" r="r" b="b"/>
              <a:pathLst>
                <a:path w="10" h="18">
                  <a:moveTo>
                    <a:pt x="10" y="18"/>
                  </a:moveTo>
                  <a:lnTo>
                    <a:pt x="10" y="1"/>
                  </a:lnTo>
                  <a:lnTo>
                    <a:pt x="6" y="0"/>
                  </a:lnTo>
                  <a:lnTo>
                    <a:pt x="0" y="5"/>
                  </a:lnTo>
                  <a:lnTo>
                    <a:pt x="10" y="18"/>
                  </a:lnTo>
                  <a:lnTo>
                    <a:pt x="10" y="1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77" name="Freeform 5685"/>
            <p:cNvSpPr>
              <a:spLocks/>
            </p:cNvSpPr>
            <p:nvPr>
              <p:custDataLst>
                <p:tags r:id="rId55"/>
              </p:custDataLst>
            </p:nvPr>
          </p:nvSpPr>
          <p:spPr bwMode="gray">
            <a:xfrm>
              <a:off x="9328803" y="4368402"/>
              <a:ext cx="214276" cy="209383"/>
            </a:xfrm>
            <a:custGeom>
              <a:avLst/>
              <a:gdLst/>
              <a:ahLst/>
              <a:cxnLst>
                <a:cxn ang="0">
                  <a:pos x="165" y="163"/>
                </a:cxn>
                <a:cxn ang="0">
                  <a:pos x="145" y="140"/>
                </a:cxn>
                <a:cxn ang="0">
                  <a:pos x="107" y="148"/>
                </a:cxn>
                <a:cxn ang="0">
                  <a:pos x="117" y="129"/>
                </a:cxn>
                <a:cxn ang="0">
                  <a:pos x="124" y="127"/>
                </a:cxn>
                <a:cxn ang="0">
                  <a:pos x="118" y="97"/>
                </a:cxn>
                <a:cxn ang="0">
                  <a:pos x="105" y="86"/>
                </a:cxn>
                <a:cxn ang="0">
                  <a:pos x="68" y="73"/>
                </a:cxn>
                <a:cxn ang="0">
                  <a:pos x="45" y="58"/>
                </a:cxn>
                <a:cxn ang="0">
                  <a:pos x="40" y="67"/>
                </a:cxn>
                <a:cxn ang="0">
                  <a:pos x="32" y="67"/>
                </a:cxn>
                <a:cxn ang="0">
                  <a:pos x="30" y="54"/>
                </a:cxn>
                <a:cxn ang="0">
                  <a:pos x="17" y="46"/>
                </a:cxn>
                <a:cxn ang="0">
                  <a:pos x="47" y="39"/>
                </a:cxn>
                <a:cxn ang="0">
                  <a:pos x="49" y="31"/>
                </a:cxn>
                <a:cxn ang="0">
                  <a:pos x="23" y="35"/>
                </a:cxn>
                <a:cxn ang="0">
                  <a:pos x="17" y="31"/>
                </a:cxn>
                <a:cxn ang="0">
                  <a:pos x="17" y="22"/>
                </a:cxn>
                <a:cxn ang="0">
                  <a:pos x="0" y="18"/>
                </a:cxn>
                <a:cxn ang="0">
                  <a:pos x="23" y="0"/>
                </a:cxn>
                <a:cxn ang="0">
                  <a:pos x="34" y="0"/>
                </a:cxn>
                <a:cxn ang="0">
                  <a:pos x="42" y="7"/>
                </a:cxn>
                <a:cxn ang="0">
                  <a:pos x="51" y="7"/>
                </a:cxn>
                <a:cxn ang="0">
                  <a:pos x="55" y="37"/>
                </a:cxn>
                <a:cxn ang="0">
                  <a:pos x="70" y="56"/>
                </a:cxn>
                <a:cxn ang="0">
                  <a:pos x="77" y="56"/>
                </a:cxn>
                <a:cxn ang="0">
                  <a:pos x="94" y="33"/>
                </a:cxn>
                <a:cxn ang="0">
                  <a:pos x="117" y="20"/>
                </a:cxn>
                <a:cxn ang="0">
                  <a:pos x="167" y="43"/>
                </a:cxn>
                <a:cxn ang="0">
                  <a:pos x="165" y="163"/>
                </a:cxn>
                <a:cxn ang="0">
                  <a:pos x="165" y="163"/>
                </a:cxn>
              </a:cxnLst>
              <a:rect l="0" t="0" r="r" b="b"/>
              <a:pathLst>
                <a:path w="167" h="163">
                  <a:moveTo>
                    <a:pt x="165" y="163"/>
                  </a:moveTo>
                  <a:lnTo>
                    <a:pt x="145" y="140"/>
                  </a:lnTo>
                  <a:lnTo>
                    <a:pt x="107" y="148"/>
                  </a:lnTo>
                  <a:lnTo>
                    <a:pt x="117" y="129"/>
                  </a:lnTo>
                  <a:lnTo>
                    <a:pt x="124" y="127"/>
                  </a:lnTo>
                  <a:lnTo>
                    <a:pt x="118" y="97"/>
                  </a:lnTo>
                  <a:lnTo>
                    <a:pt x="105" y="86"/>
                  </a:lnTo>
                  <a:lnTo>
                    <a:pt x="68" y="73"/>
                  </a:lnTo>
                  <a:lnTo>
                    <a:pt x="45" y="58"/>
                  </a:lnTo>
                  <a:lnTo>
                    <a:pt x="40" y="67"/>
                  </a:lnTo>
                  <a:lnTo>
                    <a:pt x="32" y="67"/>
                  </a:lnTo>
                  <a:lnTo>
                    <a:pt x="30" y="54"/>
                  </a:lnTo>
                  <a:lnTo>
                    <a:pt x="17" y="46"/>
                  </a:lnTo>
                  <a:lnTo>
                    <a:pt x="47" y="39"/>
                  </a:lnTo>
                  <a:lnTo>
                    <a:pt x="49" y="31"/>
                  </a:lnTo>
                  <a:lnTo>
                    <a:pt x="23" y="35"/>
                  </a:lnTo>
                  <a:lnTo>
                    <a:pt x="17" y="31"/>
                  </a:lnTo>
                  <a:lnTo>
                    <a:pt x="17" y="22"/>
                  </a:lnTo>
                  <a:lnTo>
                    <a:pt x="0" y="18"/>
                  </a:lnTo>
                  <a:lnTo>
                    <a:pt x="23" y="0"/>
                  </a:lnTo>
                  <a:lnTo>
                    <a:pt x="34" y="0"/>
                  </a:lnTo>
                  <a:lnTo>
                    <a:pt x="42" y="7"/>
                  </a:lnTo>
                  <a:lnTo>
                    <a:pt x="51" y="7"/>
                  </a:lnTo>
                  <a:lnTo>
                    <a:pt x="55" y="37"/>
                  </a:lnTo>
                  <a:lnTo>
                    <a:pt x="70" y="56"/>
                  </a:lnTo>
                  <a:lnTo>
                    <a:pt x="77" y="56"/>
                  </a:lnTo>
                  <a:lnTo>
                    <a:pt x="94" y="33"/>
                  </a:lnTo>
                  <a:lnTo>
                    <a:pt x="117" y="20"/>
                  </a:lnTo>
                  <a:lnTo>
                    <a:pt x="167" y="43"/>
                  </a:lnTo>
                  <a:lnTo>
                    <a:pt x="165" y="163"/>
                  </a:lnTo>
                  <a:lnTo>
                    <a:pt x="165" y="163"/>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78" name="Freeform 5686"/>
            <p:cNvSpPr>
              <a:spLocks/>
            </p:cNvSpPr>
            <p:nvPr>
              <p:custDataLst>
                <p:tags r:id="rId56"/>
              </p:custDataLst>
            </p:nvPr>
          </p:nvSpPr>
          <p:spPr bwMode="gray">
            <a:xfrm>
              <a:off x="8873305" y="4256645"/>
              <a:ext cx="210427" cy="200391"/>
            </a:xfrm>
            <a:custGeom>
              <a:avLst/>
              <a:gdLst/>
              <a:ahLst/>
              <a:cxnLst>
                <a:cxn ang="0">
                  <a:pos x="119" y="0"/>
                </a:cxn>
                <a:cxn ang="0">
                  <a:pos x="108" y="2"/>
                </a:cxn>
                <a:cxn ang="0">
                  <a:pos x="91" y="49"/>
                </a:cxn>
                <a:cxn ang="0">
                  <a:pos x="76" y="58"/>
                </a:cxn>
                <a:cxn ang="0">
                  <a:pos x="54" y="53"/>
                </a:cxn>
                <a:cxn ang="0">
                  <a:pos x="46" y="62"/>
                </a:cxn>
                <a:cxn ang="0">
                  <a:pos x="22" y="62"/>
                </a:cxn>
                <a:cxn ang="0">
                  <a:pos x="9" y="43"/>
                </a:cxn>
                <a:cxn ang="0">
                  <a:pos x="0" y="62"/>
                </a:cxn>
                <a:cxn ang="0">
                  <a:pos x="5" y="88"/>
                </a:cxn>
                <a:cxn ang="0">
                  <a:pos x="18" y="103"/>
                </a:cxn>
                <a:cxn ang="0">
                  <a:pos x="22" y="133"/>
                </a:cxn>
                <a:cxn ang="0">
                  <a:pos x="46" y="132"/>
                </a:cxn>
                <a:cxn ang="0">
                  <a:pos x="46" y="145"/>
                </a:cxn>
                <a:cxn ang="0">
                  <a:pos x="69" y="137"/>
                </a:cxn>
                <a:cxn ang="0">
                  <a:pos x="78" y="145"/>
                </a:cxn>
                <a:cxn ang="0">
                  <a:pos x="86" y="143"/>
                </a:cxn>
                <a:cxn ang="0">
                  <a:pos x="93" y="156"/>
                </a:cxn>
                <a:cxn ang="0">
                  <a:pos x="101" y="152"/>
                </a:cxn>
                <a:cxn ang="0">
                  <a:pos x="116" y="145"/>
                </a:cxn>
                <a:cxn ang="0">
                  <a:pos x="125" y="122"/>
                </a:cxn>
                <a:cxn ang="0">
                  <a:pos x="121" y="113"/>
                </a:cxn>
                <a:cxn ang="0">
                  <a:pos x="134" y="100"/>
                </a:cxn>
                <a:cxn ang="0">
                  <a:pos x="146" y="64"/>
                </a:cxn>
                <a:cxn ang="0">
                  <a:pos x="164" y="64"/>
                </a:cxn>
                <a:cxn ang="0">
                  <a:pos x="146" y="43"/>
                </a:cxn>
                <a:cxn ang="0">
                  <a:pos x="149" y="38"/>
                </a:cxn>
                <a:cxn ang="0">
                  <a:pos x="138" y="19"/>
                </a:cxn>
                <a:cxn ang="0">
                  <a:pos x="140" y="4"/>
                </a:cxn>
                <a:cxn ang="0">
                  <a:pos x="119" y="0"/>
                </a:cxn>
                <a:cxn ang="0">
                  <a:pos x="119" y="0"/>
                </a:cxn>
              </a:cxnLst>
              <a:rect l="0" t="0" r="r" b="b"/>
              <a:pathLst>
                <a:path w="164" h="156">
                  <a:moveTo>
                    <a:pt x="119" y="0"/>
                  </a:moveTo>
                  <a:lnTo>
                    <a:pt x="108" y="2"/>
                  </a:lnTo>
                  <a:lnTo>
                    <a:pt x="91" y="49"/>
                  </a:lnTo>
                  <a:lnTo>
                    <a:pt x="76" y="58"/>
                  </a:lnTo>
                  <a:lnTo>
                    <a:pt x="54" y="53"/>
                  </a:lnTo>
                  <a:lnTo>
                    <a:pt x="46" y="62"/>
                  </a:lnTo>
                  <a:lnTo>
                    <a:pt x="22" y="62"/>
                  </a:lnTo>
                  <a:lnTo>
                    <a:pt x="9" y="43"/>
                  </a:lnTo>
                  <a:lnTo>
                    <a:pt x="0" y="62"/>
                  </a:lnTo>
                  <a:lnTo>
                    <a:pt x="5" y="88"/>
                  </a:lnTo>
                  <a:lnTo>
                    <a:pt x="18" y="103"/>
                  </a:lnTo>
                  <a:lnTo>
                    <a:pt x="22" y="133"/>
                  </a:lnTo>
                  <a:lnTo>
                    <a:pt x="46" y="132"/>
                  </a:lnTo>
                  <a:lnTo>
                    <a:pt x="46" y="145"/>
                  </a:lnTo>
                  <a:lnTo>
                    <a:pt x="69" y="137"/>
                  </a:lnTo>
                  <a:lnTo>
                    <a:pt x="78" y="145"/>
                  </a:lnTo>
                  <a:lnTo>
                    <a:pt x="86" y="143"/>
                  </a:lnTo>
                  <a:lnTo>
                    <a:pt x="93" y="156"/>
                  </a:lnTo>
                  <a:lnTo>
                    <a:pt x="101" y="152"/>
                  </a:lnTo>
                  <a:lnTo>
                    <a:pt x="116" y="145"/>
                  </a:lnTo>
                  <a:lnTo>
                    <a:pt x="125" y="122"/>
                  </a:lnTo>
                  <a:lnTo>
                    <a:pt x="121" y="113"/>
                  </a:lnTo>
                  <a:lnTo>
                    <a:pt x="134" y="100"/>
                  </a:lnTo>
                  <a:lnTo>
                    <a:pt x="146" y="64"/>
                  </a:lnTo>
                  <a:lnTo>
                    <a:pt x="164" y="64"/>
                  </a:lnTo>
                  <a:lnTo>
                    <a:pt x="146" y="43"/>
                  </a:lnTo>
                  <a:lnTo>
                    <a:pt x="149" y="38"/>
                  </a:lnTo>
                  <a:lnTo>
                    <a:pt x="138" y="19"/>
                  </a:lnTo>
                  <a:lnTo>
                    <a:pt x="140" y="4"/>
                  </a:lnTo>
                  <a:lnTo>
                    <a:pt x="119" y="0"/>
                  </a:lnTo>
                  <a:lnTo>
                    <a:pt x="119"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79" name="Freeform 5687"/>
            <p:cNvSpPr>
              <a:spLocks/>
            </p:cNvSpPr>
            <p:nvPr>
              <p:custDataLst>
                <p:tags r:id="rId57"/>
              </p:custDataLst>
            </p:nvPr>
          </p:nvSpPr>
          <p:spPr bwMode="gray">
            <a:xfrm>
              <a:off x="8884853" y="4194986"/>
              <a:ext cx="198879" cy="141302"/>
            </a:xfrm>
            <a:custGeom>
              <a:avLst/>
              <a:gdLst/>
              <a:ahLst/>
              <a:cxnLst>
                <a:cxn ang="0">
                  <a:pos x="146" y="47"/>
                </a:cxn>
                <a:cxn ang="0">
                  <a:pos x="140" y="39"/>
                </a:cxn>
                <a:cxn ang="0">
                  <a:pos x="155" y="33"/>
                </a:cxn>
                <a:cxn ang="0">
                  <a:pos x="131" y="18"/>
                </a:cxn>
                <a:cxn ang="0">
                  <a:pos x="131" y="9"/>
                </a:cxn>
                <a:cxn ang="0">
                  <a:pos x="118" y="0"/>
                </a:cxn>
                <a:cxn ang="0">
                  <a:pos x="94" y="30"/>
                </a:cxn>
                <a:cxn ang="0">
                  <a:pos x="92" y="37"/>
                </a:cxn>
                <a:cxn ang="0">
                  <a:pos x="94" y="41"/>
                </a:cxn>
                <a:cxn ang="0">
                  <a:pos x="92" y="47"/>
                </a:cxn>
                <a:cxn ang="0">
                  <a:pos x="84" y="43"/>
                </a:cxn>
                <a:cxn ang="0">
                  <a:pos x="80" y="54"/>
                </a:cxn>
                <a:cxn ang="0">
                  <a:pos x="71" y="45"/>
                </a:cxn>
                <a:cxn ang="0">
                  <a:pos x="49" y="73"/>
                </a:cxn>
                <a:cxn ang="0">
                  <a:pos x="32" y="76"/>
                </a:cxn>
                <a:cxn ang="0">
                  <a:pos x="26" y="99"/>
                </a:cxn>
                <a:cxn ang="0">
                  <a:pos x="0" y="91"/>
                </a:cxn>
                <a:cxn ang="0">
                  <a:pos x="13" y="110"/>
                </a:cxn>
                <a:cxn ang="0">
                  <a:pos x="37" y="110"/>
                </a:cxn>
                <a:cxn ang="0">
                  <a:pos x="45" y="101"/>
                </a:cxn>
                <a:cxn ang="0">
                  <a:pos x="67" y="106"/>
                </a:cxn>
                <a:cxn ang="0">
                  <a:pos x="82" y="97"/>
                </a:cxn>
                <a:cxn ang="0">
                  <a:pos x="99" y="50"/>
                </a:cxn>
                <a:cxn ang="0">
                  <a:pos x="110" y="48"/>
                </a:cxn>
                <a:cxn ang="0">
                  <a:pos x="131" y="52"/>
                </a:cxn>
                <a:cxn ang="0">
                  <a:pos x="146" y="47"/>
                </a:cxn>
                <a:cxn ang="0">
                  <a:pos x="146" y="47"/>
                </a:cxn>
              </a:cxnLst>
              <a:rect l="0" t="0" r="r" b="b"/>
              <a:pathLst>
                <a:path w="155" h="110">
                  <a:moveTo>
                    <a:pt x="146" y="47"/>
                  </a:moveTo>
                  <a:lnTo>
                    <a:pt x="140" y="39"/>
                  </a:lnTo>
                  <a:lnTo>
                    <a:pt x="155" y="33"/>
                  </a:lnTo>
                  <a:lnTo>
                    <a:pt x="131" y="18"/>
                  </a:lnTo>
                  <a:lnTo>
                    <a:pt x="131" y="9"/>
                  </a:lnTo>
                  <a:lnTo>
                    <a:pt x="118" y="0"/>
                  </a:lnTo>
                  <a:lnTo>
                    <a:pt x="94" y="30"/>
                  </a:lnTo>
                  <a:lnTo>
                    <a:pt x="92" y="37"/>
                  </a:lnTo>
                  <a:lnTo>
                    <a:pt x="94" y="41"/>
                  </a:lnTo>
                  <a:lnTo>
                    <a:pt x="92" y="47"/>
                  </a:lnTo>
                  <a:lnTo>
                    <a:pt x="84" y="43"/>
                  </a:lnTo>
                  <a:lnTo>
                    <a:pt x="80" y="54"/>
                  </a:lnTo>
                  <a:lnTo>
                    <a:pt x="71" y="45"/>
                  </a:lnTo>
                  <a:lnTo>
                    <a:pt x="49" y="73"/>
                  </a:lnTo>
                  <a:lnTo>
                    <a:pt x="32" y="76"/>
                  </a:lnTo>
                  <a:lnTo>
                    <a:pt x="26" y="99"/>
                  </a:lnTo>
                  <a:lnTo>
                    <a:pt x="0" y="91"/>
                  </a:lnTo>
                  <a:lnTo>
                    <a:pt x="13" y="110"/>
                  </a:lnTo>
                  <a:lnTo>
                    <a:pt x="37" y="110"/>
                  </a:lnTo>
                  <a:lnTo>
                    <a:pt x="45" y="101"/>
                  </a:lnTo>
                  <a:lnTo>
                    <a:pt x="67" y="106"/>
                  </a:lnTo>
                  <a:lnTo>
                    <a:pt x="82" y="97"/>
                  </a:lnTo>
                  <a:lnTo>
                    <a:pt x="99" y="50"/>
                  </a:lnTo>
                  <a:lnTo>
                    <a:pt x="110" y="48"/>
                  </a:lnTo>
                  <a:lnTo>
                    <a:pt x="131" y="52"/>
                  </a:lnTo>
                  <a:lnTo>
                    <a:pt x="146" y="47"/>
                  </a:lnTo>
                  <a:lnTo>
                    <a:pt x="146" y="4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80" name="Freeform 5688"/>
            <p:cNvSpPr>
              <a:spLocks/>
            </p:cNvSpPr>
            <p:nvPr>
              <p:custDataLst>
                <p:tags r:id="rId58"/>
              </p:custDataLst>
            </p:nvPr>
          </p:nvSpPr>
          <p:spPr bwMode="gray">
            <a:xfrm>
              <a:off x="8975953" y="4242515"/>
              <a:ext cx="29511" cy="21838"/>
            </a:xfrm>
            <a:custGeom>
              <a:avLst/>
              <a:gdLst/>
              <a:ahLst/>
              <a:cxnLst>
                <a:cxn ang="0">
                  <a:pos x="23" y="4"/>
                </a:cxn>
                <a:cxn ang="0">
                  <a:pos x="21" y="10"/>
                </a:cxn>
                <a:cxn ang="0">
                  <a:pos x="13" y="6"/>
                </a:cxn>
                <a:cxn ang="0">
                  <a:pos x="9" y="17"/>
                </a:cxn>
                <a:cxn ang="0">
                  <a:pos x="0" y="8"/>
                </a:cxn>
                <a:cxn ang="0">
                  <a:pos x="21" y="0"/>
                </a:cxn>
                <a:cxn ang="0">
                  <a:pos x="23" y="4"/>
                </a:cxn>
                <a:cxn ang="0">
                  <a:pos x="23" y="4"/>
                </a:cxn>
              </a:cxnLst>
              <a:rect l="0" t="0" r="r" b="b"/>
              <a:pathLst>
                <a:path w="23" h="17">
                  <a:moveTo>
                    <a:pt x="23" y="4"/>
                  </a:moveTo>
                  <a:lnTo>
                    <a:pt x="21" y="10"/>
                  </a:lnTo>
                  <a:lnTo>
                    <a:pt x="13" y="6"/>
                  </a:lnTo>
                  <a:lnTo>
                    <a:pt x="9" y="17"/>
                  </a:lnTo>
                  <a:lnTo>
                    <a:pt x="0" y="8"/>
                  </a:lnTo>
                  <a:lnTo>
                    <a:pt x="21" y="0"/>
                  </a:lnTo>
                  <a:lnTo>
                    <a:pt x="23" y="4"/>
                  </a:lnTo>
                  <a:lnTo>
                    <a:pt x="23"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81" name="Freeform 5689"/>
            <p:cNvSpPr>
              <a:spLocks/>
            </p:cNvSpPr>
            <p:nvPr>
              <p:custDataLst>
                <p:tags r:id="rId59"/>
              </p:custDataLst>
            </p:nvPr>
          </p:nvSpPr>
          <p:spPr bwMode="gray">
            <a:xfrm>
              <a:off x="8610271" y="3869992"/>
              <a:ext cx="170651" cy="353254"/>
            </a:xfrm>
            <a:custGeom>
              <a:avLst/>
              <a:gdLst/>
              <a:ahLst/>
              <a:cxnLst>
                <a:cxn ang="0">
                  <a:pos x="62" y="258"/>
                </a:cxn>
                <a:cxn ang="0">
                  <a:pos x="73" y="262"/>
                </a:cxn>
                <a:cxn ang="0">
                  <a:pos x="75" y="271"/>
                </a:cxn>
                <a:cxn ang="0">
                  <a:pos x="83" y="275"/>
                </a:cxn>
                <a:cxn ang="0">
                  <a:pos x="92" y="268"/>
                </a:cxn>
                <a:cxn ang="0">
                  <a:pos x="81" y="256"/>
                </a:cxn>
                <a:cxn ang="0">
                  <a:pos x="66" y="249"/>
                </a:cxn>
                <a:cxn ang="0">
                  <a:pos x="51" y="211"/>
                </a:cxn>
                <a:cxn ang="0">
                  <a:pos x="43" y="211"/>
                </a:cxn>
                <a:cxn ang="0">
                  <a:pos x="40" y="193"/>
                </a:cxn>
                <a:cxn ang="0">
                  <a:pos x="49" y="159"/>
                </a:cxn>
                <a:cxn ang="0">
                  <a:pos x="47" y="137"/>
                </a:cxn>
                <a:cxn ang="0">
                  <a:pos x="62" y="137"/>
                </a:cxn>
                <a:cxn ang="0">
                  <a:pos x="64" y="146"/>
                </a:cxn>
                <a:cxn ang="0">
                  <a:pos x="79" y="148"/>
                </a:cxn>
                <a:cxn ang="0">
                  <a:pos x="92" y="159"/>
                </a:cxn>
                <a:cxn ang="0">
                  <a:pos x="87" y="138"/>
                </a:cxn>
                <a:cxn ang="0">
                  <a:pos x="94" y="120"/>
                </a:cxn>
                <a:cxn ang="0">
                  <a:pos x="131" y="118"/>
                </a:cxn>
                <a:cxn ang="0">
                  <a:pos x="133" y="97"/>
                </a:cxn>
                <a:cxn ang="0">
                  <a:pos x="118" y="80"/>
                </a:cxn>
                <a:cxn ang="0">
                  <a:pos x="113" y="58"/>
                </a:cxn>
                <a:cxn ang="0">
                  <a:pos x="94" y="43"/>
                </a:cxn>
                <a:cxn ang="0">
                  <a:pos x="81" y="50"/>
                </a:cxn>
                <a:cxn ang="0">
                  <a:pos x="72" y="45"/>
                </a:cxn>
                <a:cxn ang="0">
                  <a:pos x="55" y="54"/>
                </a:cxn>
                <a:cxn ang="0">
                  <a:pos x="53" y="22"/>
                </a:cxn>
                <a:cxn ang="0">
                  <a:pos x="43" y="17"/>
                </a:cxn>
                <a:cxn ang="0">
                  <a:pos x="36" y="0"/>
                </a:cxn>
                <a:cxn ang="0">
                  <a:pos x="2" y="26"/>
                </a:cxn>
                <a:cxn ang="0">
                  <a:pos x="0" y="47"/>
                </a:cxn>
                <a:cxn ang="0">
                  <a:pos x="25" y="84"/>
                </a:cxn>
                <a:cxn ang="0">
                  <a:pos x="17" y="108"/>
                </a:cxn>
                <a:cxn ang="0">
                  <a:pos x="30" y="122"/>
                </a:cxn>
                <a:cxn ang="0">
                  <a:pos x="45" y="163"/>
                </a:cxn>
                <a:cxn ang="0">
                  <a:pos x="27" y="204"/>
                </a:cxn>
                <a:cxn ang="0">
                  <a:pos x="25" y="215"/>
                </a:cxn>
                <a:cxn ang="0">
                  <a:pos x="28" y="232"/>
                </a:cxn>
                <a:cxn ang="0">
                  <a:pos x="34" y="230"/>
                </a:cxn>
                <a:cxn ang="0">
                  <a:pos x="62" y="264"/>
                </a:cxn>
                <a:cxn ang="0">
                  <a:pos x="62" y="258"/>
                </a:cxn>
                <a:cxn ang="0">
                  <a:pos x="62" y="258"/>
                </a:cxn>
              </a:cxnLst>
              <a:rect l="0" t="0" r="r" b="b"/>
              <a:pathLst>
                <a:path w="133" h="275">
                  <a:moveTo>
                    <a:pt x="62" y="258"/>
                  </a:moveTo>
                  <a:lnTo>
                    <a:pt x="73" y="262"/>
                  </a:lnTo>
                  <a:lnTo>
                    <a:pt x="75" y="271"/>
                  </a:lnTo>
                  <a:lnTo>
                    <a:pt x="83" y="275"/>
                  </a:lnTo>
                  <a:lnTo>
                    <a:pt x="92" y="268"/>
                  </a:lnTo>
                  <a:lnTo>
                    <a:pt x="81" y="256"/>
                  </a:lnTo>
                  <a:lnTo>
                    <a:pt x="66" y="249"/>
                  </a:lnTo>
                  <a:lnTo>
                    <a:pt x="51" y="211"/>
                  </a:lnTo>
                  <a:lnTo>
                    <a:pt x="43" y="211"/>
                  </a:lnTo>
                  <a:lnTo>
                    <a:pt x="40" y="193"/>
                  </a:lnTo>
                  <a:lnTo>
                    <a:pt x="49" y="159"/>
                  </a:lnTo>
                  <a:lnTo>
                    <a:pt x="47" y="137"/>
                  </a:lnTo>
                  <a:lnTo>
                    <a:pt x="62" y="137"/>
                  </a:lnTo>
                  <a:lnTo>
                    <a:pt x="64" y="146"/>
                  </a:lnTo>
                  <a:lnTo>
                    <a:pt x="79" y="148"/>
                  </a:lnTo>
                  <a:lnTo>
                    <a:pt x="92" y="159"/>
                  </a:lnTo>
                  <a:lnTo>
                    <a:pt x="87" y="138"/>
                  </a:lnTo>
                  <a:lnTo>
                    <a:pt x="94" y="120"/>
                  </a:lnTo>
                  <a:lnTo>
                    <a:pt x="131" y="118"/>
                  </a:lnTo>
                  <a:lnTo>
                    <a:pt x="133" y="97"/>
                  </a:lnTo>
                  <a:lnTo>
                    <a:pt x="118" y="80"/>
                  </a:lnTo>
                  <a:lnTo>
                    <a:pt x="113" y="58"/>
                  </a:lnTo>
                  <a:lnTo>
                    <a:pt x="94" y="43"/>
                  </a:lnTo>
                  <a:lnTo>
                    <a:pt x="81" y="50"/>
                  </a:lnTo>
                  <a:lnTo>
                    <a:pt x="72" y="45"/>
                  </a:lnTo>
                  <a:lnTo>
                    <a:pt x="55" y="54"/>
                  </a:lnTo>
                  <a:lnTo>
                    <a:pt x="53" y="22"/>
                  </a:lnTo>
                  <a:lnTo>
                    <a:pt x="43" y="17"/>
                  </a:lnTo>
                  <a:lnTo>
                    <a:pt x="36" y="0"/>
                  </a:lnTo>
                  <a:lnTo>
                    <a:pt x="2" y="26"/>
                  </a:lnTo>
                  <a:lnTo>
                    <a:pt x="0" y="47"/>
                  </a:lnTo>
                  <a:lnTo>
                    <a:pt x="25" y="84"/>
                  </a:lnTo>
                  <a:lnTo>
                    <a:pt x="17" y="108"/>
                  </a:lnTo>
                  <a:lnTo>
                    <a:pt x="30" y="122"/>
                  </a:lnTo>
                  <a:lnTo>
                    <a:pt x="45" y="163"/>
                  </a:lnTo>
                  <a:lnTo>
                    <a:pt x="27" y="204"/>
                  </a:lnTo>
                  <a:lnTo>
                    <a:pt x="25" y="215"/>
                  </a:lnTo>
                  <a:lnTo>
                    <a:pt x="28" y="232"/>
                  </a:lnTo>
                  <a:lnTo>
                    <a:pt x="34" y="230"/>
                  </a:lnTo>
                  <a:lnTo>
                    <a:pt x="62" y="264"/>
                  </a:lnTo>
                  <a:lnTo>
                    <a:pt x="62" y="258"/>
                  </a:lnTo>
                  <a:lnTo>
                    <a:pt x="62" y="25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82" name="Freeform 5690"/>
            <p:cNvSpPr>
              <a:spLocks/>
            </p:cNvSpPr>
            <p:nvPr>
              <p:custDataLst>
                <p:tags r:id="rId60"/>
              </p:custDataLst>
            </p:nvPr>
          </p:nvSpPr>
          <p:spPr bwMode="gray">
            <a:xfrm>
              <a:off x="8689823" y="4201409"/>
              <a:ext cx="87250" cy="125887"/>
            </a:xfrm>
            <a:custGeom>
              <a:avLst/>
              <a:gdLst/>
              <a:ahLst/>
              <a:cxnLst>
                <a:cxn ang="0">
                  <a:pos x="0" y="4"/>
                </a:cxn>
                <a:cxn ang="0">
                  <a:pos x="0" y="0"/>
                </a:cxn>
                <a:cxn ang="0">
                  <a:pos x="11" y="4"/>
                </a:cxn>
                <a:cxn ang="0">
                  <a:pos x="13" y="13"/>
                </a:cxn>
                <a:cxn ang="0">
                  <a:pos x="21" y="17"/>
                </a:cxn>
                <a:cxn ang="0">
                  <a:pos x="30" y="10"/>
                </a:cxn>
                <a:cxn ang="0">
                  <a:pos x="51" y="32"/>
                </a:cxn>
                <a:cxn ang="0">
                  <a:pos x="53" y="70"/>
                </a:cxn>
                <a:cxn ang="0">
                  <a:pos x="68" y="98"/>
                </a:cxn>
                <a:cxn ang="0">
                  <a:pos x="54" y="98"/>
                </a:cxn>
                <a:cxn ang="0">
                  <a:pos x="21" y="71"/>
                </a:cxn>
                <a:cxn ang="0">
                  <a:pos x="6" y="45"/>
                </a:cxn>
                <a:cxn ang="0">
                  <a:pos x="0" y="4"/>
                </a:cxn>
                <a:cxn ang="0">
                  <a:pos x="0" y="4"/>
                </a:cxn>
              </a:cxnLst>
              <a:rect l="0" t="0" r="r" b="b"/>
              <a:pathLst>
                <a:path w="68" h="98">
                  <a:moveTo>
                    <a:pt x="0" y="4"/>
                  </a:moveTo>
                  <a:lnTo>
                    <a:pt x="0" y="0"/>
                  </a:lnTo>
                  <a:lnTo>
                    <a:pt x="11" y="4"/>
                  </a:lnTo>
                  <a:lnTo>
                    <a:pt x="13" y="13"/>
                  </a:lnTo>
                  <a:lnTo>
                    <a:pt x="21" y="17"/>
                  </a:lnTo>
                  <a:lnTo>
                    <a:pt x="30" y="10"/>
                  </a:lnTo>
                  <a:lnTo>
                    <a:pt x="51" y="32"/>
                  </a:lnTo>
                  <a:lnTo>
                    <a:pt x="53" y="70"/>
                  </a:lnTo>
                  <a:lnTo>
                    <a:pt x="68" y="98"/>
                  </a:lnTo>
                  <a:lnTo>
                    <a:pt x="54" y="98"/>
                  </a:lnTo>
                  <a:lnTo>
                    <a:pt x="21" y="71"/>
                  </a:lnTo>
                  <a:lnTo>
                    <a:pt x="6" y="45"/>
                  </a:lnTo>
                  <a:lnTo>
                    <a:pt x="0" y="4"/>
                  </a:lnTo>
                  <a:lnTo>
                    <a:pt x="0" y="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83" name="Freeform 5691"/>
            <p:cNvSpPr>
              <a:spLocks/>
            </p:cNvSpPr>
            <p:nvPr>
              <p:custDataLst>
                <p:tags r:id="rId61"/>
              </p:custDataLst>
            </p:nvPr>
          </p:nvSpPr>
          <p:spPr bwMode="gray">
            <a:xfrm>
              <a:off x="8692389" y="3812187"/>
              <a:ext cx="170651" cy="341693"/>
            </a:xfrm>
            <a:custGeom>
              <a:avLst/>
              <a:gdLst/>
              <a:ahLst/>
              <a:cxnLst>
                <a:cxn ang="0">
                  <a:pos x="0" y="13"/>
                </a:cxn>
                <a:cxn ang="0">
                  <a:pos x="19" y="41"/>
                </a:cxn>
                <a:cxn ang="0">
                  <a:pos x="38" y="45"/>
                </a:cxn>
                <a:cxn ang="0">
                  <a:pos x="45" y="62"/>
                </a:cxn>
                <a:cxn ang="0">
                  <a:pos x="34" y="67"/>
                </a:cxn>
                <a:cxn ang="0">
                  <a:pos x="79" y="108"/>
                </a:cxn>
                <a:cxn ang="0">
                  <a:pos x="81" y="116"/>
                </a:cxn>
                <a:cxn ang="0">
                  <a:pos x="97" y="138"/>
                </a:cxn>
                <a:cxn ang="0">
                  <a:pos x="101" y="155"/>
                </a:cxn>
                <a:cxn ang="0">
                  <a:pos x="107" y="198"/>
                </a:cxn>
                <a:cxn ang="0">
                  <a:pos x="82" y="211"/>
                </a:cxn>
                <a:cxn ang="0">
                  <a:pos x="81" y="225"/>
                </a:cxn>
                <a:cxn ang="0">
                  <a:pos x="62" y="234"/>
                </a:cxn>
                <a:cxn ang="0">
                  <a:pos x="69" y="240"/>
                </a:cxn>
                <a:cxn ang="0">
                  <a:pos x="71" y="266"/>
                </a:cxn>
                <a:cxn ang="0">
                  <a:pos x="92" y="253"/>
                </a:cxn>
                <a:cxn ang="0">
                  <a:pos x="97" y="234"/>
                </a:cxn>
                <a:cxn ang="0">
                  <a:pos x="105" y="234"/>
                </a:cxn>
                <a:cxn ang="0">
                  <a:pos x="133" y="215"/>
                </a:cxn>
                <a:cxn ang="0">
                  <a:pos x="133" y="174"/>
                </a:cxn>
                <a:cxn ang="0">
                  <a:pos x="124" y="144"/>
                </a:cxn>
                <a:cxn ang="0">
                  <a:pos x="69" y="86"/>
                </a:cxn>
                <a:cxn ang="0">
                  <a:pos x="62" y="77"/>
                </a:cxn>
                <a:cxn ang="0">
                  <a:pos x="66" y="60"/>
                </a:cxn>
                <a:cxn ang="0">
                  <a:pos x="81" y="39"/>
                </a:cxn>
                <a:cxn ang="0">
                  <a:pos x="94" y="32"/>
                </a:cxn>
                <a:cxn ang="0">
                  <a:pos x="73" y="22"/>
                </a:cxn>
                <a:cxn ang="0">
                  <a:pos x="67" y="7"/>
                </a:cxn>
                <a:cxn ang="0">
                  <a:pos x="49" y="0"/>
                </a:cxn>
                <a:cxn ang="0">
                  <a:pos x="13" y="11"/>
                </a:cxn>
                <a:cxn ang="0">
                  <a:pos x="2" y="7"/>
                </a:cxn>
                <a:cxn ang="0">
                  <a:pos x="0" y="13"/>
                </a:cxn>
                <a:cxn ang="0">
                  <a:pos x="0" y="13"/>
                </a:cxn>
              </a:cxnLst>
              <a:rect l="0" t="0" r="r" b="b"/>
              <a:pathLst>
                <a:path w="133" h="266">
                  <a:moveTo>
                    <a:pt x="0" y="13"/>
                  </a:moveTo>
                  <a:lnTo>
                    <a:pt x="19" y="41"/>
                  </a:lnTo>
                  <a:lnTo>
                    <a:pt x="38" y="45"/>
                  </a:lnTo>
                  <a:lnTo>
                    <a:pt x="45" y="62"/>
                  </a:lnTo>
                  <a:lnTo>
                    <a:pt x="34" y="67"/>
                  </a:lnTo>
                  <a:lnTo>
                    <a:pt x="79" y="108"/>
                  </a:lnTo>
                  <a:lnTo>
                    <a:pt x="81" y="116"/>
                  </a:lnTo>
                  <a:lnTo>
                    <a:pt x="97" y="138"/>
                  </a:lnTo>
                  <a:lnTo>
                    <a:pt x="101" y="155"/>
                  </a:lnTo>
                  <a:lnTo>
                    <a:pt x="107" y="198"/>
                  </a:lnTo>
                  <a:lnTo>
                    <a:pt x="82" y="211"/>
                  </a:lnTo>
                  <a:lnTo>
                    <a:pt x="81" y="225"/>
                  </a:lnTo>
                  <a:lnTo>
                    <a:pt x="62" y="234"/>
                  </a:lnTo>
                  <a:lnTo>
                    <a:pt x="69" y="240"/>
                  </a:lnTo>
                  <a:lnTo>
                    <a:pt x="71" y="266"/>
                  </a:lnTo>
                  <a:lnTo>
                    <a:pt x="92" y="253"/>
                  </a:lnTo>
                  <a:lnTo>
                    <a:pt x="97" y="234"/>
                  </a:lnTo>
                  <a:lnTo>
                    <a:pt x="105" y="234"/>
                  </a:lnTo>
                  <a:lnTo>
                    <a:pt x="133" y="215"/>
                  </a:lnTo>
                  <a:lnTo>
                    <a:pt x="133" y="174"/>
                  </a:lnTo>
                  <a:lnTo>
                    <a:pt x="124" y="144"/>
                  </a:lnTo>
                  <a:lnTo>
                    <a:pt x="69" y="86"/>
                  </a:lnTo>
                  <a:lnTo>
                    <a:pt x="62" y="77"/>
                  </a:lnTo>
                  <a:lnTo>
                    <a:pt x="66" y="60"/>
                  </a:lnTo>
                  <a:lnTo>
                    <a:pt x="81" y="39"/>
                  </a:lnTo>
                  <a:lnTo>
                    <a:pt x="94" y="32"/>
                  </a:lnTo>
                  <a:lnTo>
                    <a:pt x="73" y="22"/>
                  </a:lnTo>
                  <a:lnTo>
                    <a:pt x="67" y="7"/>
                  </a:lnTo>
                  <a:lnTo>
                    <a:pt x="49" y="0"/>
                  </a:lnTo>
                  <a:lnTo>
                    <a:pt x="13" y="11"/>
                  </a:lnTo>
                  <a:lnTo>
                    <a:pt x="2" y="7"/>
                  </a:lnTo>
                  <a:lnTo>
                    <a:pt x="0" y="13"/>
                  </a:lnTo>
                  <a:lnTo>
                    <a:pt x="0" y="1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84" name="Freeform 5692"/>
            <p:cNvSpPr>
              <a:spLocks/>
            </p:cNvSpPr>
            <p:nvPr>
              <p:custDataLst>
                <p:tags r:id="rId62"/>
              </p:custDataLst>
            </p:nvPr>
          </p:nvSpPr>
          <p:spPr bwMode="gray">
            <a:xfrm>
              <a:off x="8656463" y="3826317"/>
              <a:ext cx="165519" cy="200391"/>
            </a:xfrm>
            <a:custGeom>
              <a:avLst/>
              <a:gdLst/>
              <a:ahLst/>
              <a:cxnLst>
                <a:cxn ang="0">
                  <a:pos x="129" y="144"/>
                </a:cxn>
                <a:cxn ang="0">
                  <a:pos x="125" y="127"/>
                </a:cxn>
                <a:cxn ang="0">
                  <a:pos x="109" y="105"/>
                </a:cxn>
                <a:cxn ang="0">
                  <a:pos x="107" y="97"/>
                </a:cxn>
                <a:cxn ang="0">
                  <a:pos x="62" y="56"/>
                </a:cxn>
                <a:cxn ang="0">
                  <a:pos x="73" y="51"/>
                </a:cxn>
                <a:cxn ang="0">
                  <a:pos x="66" y="34"/>
                </a:cxn>
                <a:cxn ang="0">
                  <a:pos x="47" y="30"/>
                </a:cxn>
                <a:cxn ang="0">
                  <a:pos x="28" y="2"/>
                </a:cxn>
                <a:cxn ang="0">
                  <a:pos x="21" y="0"/>
                </a:cxn>
                <a:cxn ang="0">
                  <a:pos x="21" y="23"/>
                </a:cxn>
                <a:cxn ang="0">
                  <a:pos x="15" y="24"/>
                </a:cxn>
                <a:cxn ang="0">
                  <a:pos x="13" y="15"/>
                </a:cxn>
                <a:cxn ang="0">
                  <a:pos x="0" y="34"/>
                </a:cxn>
                <a:cxn ang="0">
                  <a:pos x="7" y="51"/>
                </a:cxn>
                <a:cxn ang="0">
                  <a:pos x="17" y="56"/>
                </a:cxn>
                <a:cxn ang="0">
                  <a:pos x="19" y="88"/>
                </a:cxn>
                <a:cxn ang="0">
                  <a:pos x="36" y="79"/>
                </a:cxn>
                <a:cxn ang="0">
                  <a:pos x="45" y="84"/>
                </a:cxn>
                <a:cxn ang="0">
                  <a:pos x="58" y="77"/>
                </a:cxn>
                <a:cxn ang="0">
                  <a:pos x="77" y="92"/>
                </a:cxn>
                <a:cxn ang="0">
                  <a:pos x="82" y="114"/>
                </a:cxn>
                <a:cxn ang="0">
                  <a:pos x="97" y="131"/>
                </a:cxn>
                <a:cxn ang="0">
                  <a:pos x="95" y="152"/>
                </a:cxn>
                <a:cxn ang="0">
                  <a:pos x="109" y="156"/>
                </a:cxn>
                <a:cxn ang="0">
                  <a:pos x="110" y="150"/>
                </a:cxn>
                <a:cxn ang="0">
                  <a:pos x="129" y="144"/>
                </a:cxn>
                <a:cxn ang="0">
                  <a:pos x="129" y="144"/>
                </a:cxn>
              </a:cxnLst>
              <a:rect l="0" t="0" r="r" b="b"/>
              <a:pathLst>
                <a:path w="129" h="156">
                  <a:moveTo>
                    <a:pt x="129" y="144"/>
                  </a:moveTo>
                  <a:lnTo>
                    <a:pt x="125" y="127"/>
                  </a:lnTo>
                  <a:lnTo>
                    <a:pt x="109" y="105"/>
                  </a:lnTo>
                  <a:lnTo>
                    <a:pt x="107" y="97"/>
                  </a:lnTo>
                  <a:lnTo>
                    <a:pt x="62" y="56"/>
                  </a:lnTo>
                  <a:lnTo>
                    <a:pt x="73" y="51"/>
                  </a:lnTo>
                  <a:lnTo>
                    <a:pt x="66" y="34"/>
                  </a:lnTo>
                  <a:lnTo>
                    <a:pt x="47" y="30"/>
                  </a:lnTo>
                  <a:lnTo>
                    <a:pt x="28" y="2"/>
                  </a:lnTo>
                  <a:lnTo>
                    <a:pt x="21" y="0"/>
                  </a:lnTo>
                  <a:lnTo>
                    <a:pt x="21" y="23"/>
                  </a:lnTo>
                  <a:lnTo>
                    <a:pt x="15" y="24"/>
                  </a:lnTo>
                  <a:lnTo>
                    <a:pt x="13" y="15"/>
                  </a:lnTo>
                  <a:lnTo>
                    <a:pt x="0" y="34"/>
                  </a:lnTo>
                  <a:lnTo>
                    <a:pt x="7" y="51"/>
                  </a:lnTo>
                  <a:lnTo>
                    <a:pt x="17" y="56"/>
                  </a:lnTo>
                  <a:lnTo>
                    <a:pt x="19" y="88"/>
                  </a:lnTo>
                  <a:lnTo>
                    <a:pt x="36" y="79"/>
                  </a:lnTo>
                  <a:lnTo>
                    <a:pt x="45" y="84"/>
                  </a:lnTo>
                  <a:lnTo>
                    <a:pt x="58" y="77"/>
                  </a:lnTo>
                  <a:lnTo>
                    <a:pt x="77" y="92"/>
                  </a:lnTo>
                  <a:lnTo>
                    <a:pt x="82" y="114"/>
                  </a:lnTo>
                  <a:lnTo>
                    <a:pt x="97" y="131"/>
                  </a:lnTo>
                  <a:lnTo>
                    <a:pt x="95" y="152"/>
                  </a:lnTo>
                  <a:lnTo>
                    <a:pt x="109" y="156"/>
                  </a:lnTo>
                  <a:lnTo>
                    <a:pt x="110" y="150"/>
                  </a:lnTo>
                  <a:lnTo>
                    <a:pt x="129" y="144"/>
                  </a:lnTo>
                  <a:lnTo>
                    <a:pt x="129" y="14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85" name="Freeform 5693"/>
            <p:cNvSpPr>
              <a:spLocks/>
            </p:cNvSpPr>
            <p:nvPr>
              <p:custDataLst>
                <p:tags r:id="rId63"/>
              </p:custDataLst>
            </p:nvPr>
          </p:nvSpPr>
          <p:spPr bwMode="gray">
            <a:xfrm>
              <a:off x="8040578" y="3101826"/>
              <a:ext cx="1070099" cy="777158"/>
            </a:xfrm>
            <a:custGeom>
              <a:avLst/>
              <a:gdLst/>
              <a:ahLst/>
              <a:cxnLst>
                <a:cxn ang="0">
                  <a:pos x="169" y="98"/>
                </a:cxn>
                <a:cxn ang="0">
                  <a:pos x="214" y="144"/>
                </a:cxn>
                <a:cxn ang="0">
                  <a:pos x="381" y="191"/>
                </a:cxn>
                <a:cxn ang="0">
                  <a:pos x="517" y="197"/>
                </a:cxn>
                <a:cxn ang="0">
                  <a:pos x="527" y="159"/>
                </a:cxn>
                <a:cxn ang="0">
                  <a:pos x="562" y="143"/>
                </a:cxn>
                <a:cxn ang="0">
                  <a:pos x="619" y="122"/>
                </a:cxn>
                <a:cxn ang="0">
                  <a:pos x="575" y="105"/>
                </a:cxn>
                <a:cxn ang="0">
                  <a:pos x="544" y="62"/>
                </a:cxn>
                <a:cxn ang="0">
                  <a:pos x="577" y="34"/>
                </a:cxn>
                <a:cxn ang="0">
                  <a:pos x="572" y="6"/>
                </a:cxn>
                <a:cxn ang="0">
                  <a:pos x="686" y="45"/>
                </a:cxn>
                <a:cxn ang="0">
                  <a:pos x="759" y="83"/>
                </a:cxn>
                <a:cxn ang="0">
                  <a:pos x="823" y="88"/>
                </a:cxn>
                <a:cxn ang="0">
                  <a:pos x="834" y="150"/>
                </a:cxn>
                <a:cxn ang="0">
                  <a:pos x="826" y="180"/>
                </a:cxn>
                <a:cxn ang="0">
                  <a:pos x="808" y="206"/>
                </a:cxn>
                <a:cxn ang="0">
                  <a:pos x="780" y="214"/>
                </a:cxn>
                <a:cxn ang="0">
                  <a:pos x="718" y="266"/>
                </a:cxn>
                <a:cxn ang="0">
                  <a:pos x="722" y="234"/>
                </a:cxn>
                <a:cxn ang="0">
                  <a:pos x="695" y="240"/>
                </a:cxn>
                <a:cxn ang="0">
                  <a:pos x="665" y="255"/>
                </a:cxn>
                <a:cxn ang="0">
                  <a:pos x="708" y="296"/>
                </a:cxn>
                <a:cxn ang="0">
                  <a:pos x="750" y="300"/>
                </a:cxn>
                <a:cxn ang="0">
                  <a:pos x="716" y="337"/>
                </a:cxn>
                <a:cxn ang="0">
                  <a:pos x="778" y="395"/>
                </a:cxn>
                <a:cxn ang="0">
                  <a:pos x="763" y="420"/>
                </a:cxn>
                <a:cxn ang="0">
                  <a:pos x="783" y="461"/>
                </a:cxn>
                <a:cxn ang="0">
                  <a:pos x="772" y="500"/>
                </a:cxn>
                <a:cxn ang="0">
                  <a:pos x="755" y="532"/>
                </a:cxn>
                <a:cxn ang="0">
                  <a:pos x="697" y="570"/>
                </a:cxn>
                <a:cxn ang="0">
                  <a:pos x="680" y="564"/>
                </a:cxn>
                <a:cxn ang="0">
                  <a:pos x="645" y="602"/>
                </a:cxn>
                <a:cxn ang="0">
                  <a:pos x="630" y="585"/>
                </a:cxn>
                <a:cxn ang="0">
                  <a:pos x="581" y="575"/>
                </a:cxn>
                <a:cxn ang="0">
                  <a:pos x="521" y="564"/>
                </a:cxn>
                <a:cxn ang="0">
                  <a:pos x="501" y="564"/>
                </a:cxn>
                <a:cxn ang="0">
                  <a:pos x="493" y="579"/>
                </a:cxn>
                <a:cxn ang="0">
                  <a:pos x="463" y="557"/>
                </a:cxn>
                <a:cxn ang="0">
                  <a:pos x="431" y="542"/>
                </a:cxn>
                <a:cxn ang="0">
                  <a:pos x="413" y="461"/>
                </a:cxn>
                <a:cxn ang="0">
                  <a:pos x="345" y="459"/>
                </a:cxn>
                <a:cxn ang="0">
                  <a:pos x="281" y="476"/>
                </a:cxn>
                <a:cxn ang="0">
                  <a:pos x="266" y="465"/>
                </a:cxn>
                <a:cxn ang="0">
                  <a:pos x="190" y="442"/>
                </a:cxn>
                <a:cxn ang="0">
                  <a:pos x="117" y="409"/>
                </a:cxn>
                <a:cxn ang="0">
                  <a:pos x="115" y="379"/>
                </a:cxn>
                <a:cxn ang="0">
                  <a:pos x="117" y="324"/>
                </a:cxn>
                <a:cxn ang="0">
                  <a:pos x="51" y="317"/>
                </a:cxn>
                <a:cxn ang="0">
                  <a:pos x="21" y="296"/>
                </a:cxn>
                <a:cxn ang="0">
                  <a:pos x="6" y="270"/>
                </a:cxn>
                <a:cxn ang="0">
                  <a:pos x="0" y="242"/>
                </a:cxn>
                <a:cxn ang="0">
                  <a:pos x="38" y="225"/>
                </a:cxn>
                <a:cxn ang="0">
                  <a:pos x="79" y="201"/>
                </a:cxn>
                <a:cxn ang="0">
                  <a:pos x="68" y="150"/>
                </a:cxn>
                <a:cxn ang="0">
                  <a:pos x="120" y="118"/>
                </a:cxn>
                <a:cxn ang="0">
                  <a:pos x="135" y="84"/>
                </a:cxn>
              </a:cxnLst>
              <a:rect l="0" t="0" r="r" b="b"/>
              <a:pathLst>
                <a:path w="834" h="605">
                  <a:moveTo>
                    <a:pt x="135" y="84"/>
                  </a:moveTo>
                  <a:lnTo>
                    <a:pt x="147" y="79"/>
                  </a:lnTo>
                  <a:lnTo>
                    <a:pt x="169" y="98"/>
                  </a:lnTo>
                  <a:lnTo>
                    <a:pt x="190" y="101"/>
                  </a:lnTo>
                  <a:lnTo>
                    <a:pt x="205" y="118"/>
                  </a:lnTo>
                  <a:lnTo>
                    <a:pt x="214" y="144"/>
                  </a:lnTo>
                  <a:lnTo>
                    <a:pt x="285" y="161"/>
                  </a:lnTo>
                  <a:lnTo>
                    <a:pt x="323" y="191"/>
                  </a:lnTo>
                  <a:lnTo>
                    <a:pt x="381" y="191"/>
                  </a:lnTo>
                  <a:lnTo>
                    <a:pt x="454" y="212"/>
                  </a:lnTo>
                  <a:lnTo>
                    <a:pt x="486" y="199"/>
                  </a:lnTo>
                  <a:lnTo>
                    <a:pt x="517" y="197"/>
                  </a:lnTo>
                  <a:lnTo>
                    <a:pt x="521" y="195"/>
                  </a:lnTo>
                  <a:lnTo>
                    <a:pt x="538" y="174"/>
                  </a:lnTo>
                  <a:lnTo>
                    <a:pt x="527" y="159"/>
                  </a:lnTo>
                  <a:lnTo>
                    <a:pt x="532" y="150"/>
                  </a:lnTo>
                  <a:lnTo>
                    <a:pt x="553" y="156"/>
                  </a:lnTo>
                  <a:lnTo>
                    <a:pt x="562" y="143"/>
                  </a:lnTo>
                  <a:lnTo>
                    <a:pt x="575" y="137"/>
                  </a:lnTo>
                  <a:lnTo>
                    <a:pt x="583" y="122"/>
                  </a:lnTo>
                  <a:lnTo>
                    <a:pt x="619" y="122"/>
                  </a:lnTo>
                  <a:lnTo>
                    <a:pt x="609" y="107"/>
                  </a:lnTo>
                  <a:lnTo>
                    <a:pt x="592" y="99"/>
                  </a:lnTo>
                  <a:lnTo>
                    <a:pt x="575" y="105"/>
                  </a:lnTo>
                  <a:lnTo>
                    <a:pt x="557" y="103"/>
                  </a:lnTo>
                  <a:lnTo>
                    <a:pt x="540" y="73"/>
                  </a:lnTo>
                  <a:lnTo>
                    <a:pt x="544" y="62"/>
                  </a:lnTo>
                  <a:lnTo>
                    <a:pt x="568" y="69"/>
                  </a:lnTo>
                  <a:lnTo>
                    <a:pt x="583" y="60"/>
                  </a:lnTo>
                  <a:lnTo>
                    <a:pt x="577" y="34"/>
                  </a:lnTo>
                  <a:lnTo>
                    <a:pt x="581" y="28"/>
                  </a:lnTo>
                  <a:lnTo>
                    <a:pt x="566" y="11"/>
                  </a:lnTo>
                  <a:lnTo>
                    <a:pt x="572" y="6"/>
                  </a:lnTo>
                  <a:lnTo>
                    <a:pt x="602" y="0"/>
                  </a:lnTo>
                  <a:lnTo>
                    <a:pt x="643" y="11"/>
                  </a:lnTo>
                  <a:lnTo>
                    <a:pt x="686" y="45"/>
                  </a:lnTo>
                  <a:lnTo>
                    <a:pt x="705" y="68"/>
                  </a:lnTo>
                  <a:lnTo>
                    <a:pt x="731" y="71"/>
                  </a:lnTo>
                  <a:lnTo>
                    <a:pt x="759" y="83"/>
                  </a:lnTo>
                  <a:lnTo>
                    <a:pt x="778" y="101"/>
                  </a:lnTo>
                  <a:lnTo>
                    <a:pt x="793" y="103"/>
                  </a:lnTo>
                  <a:lnTo>
                    <a:pt x="823" y="88"/>
                  </a:lnTo>
                  <a:lnTo>
                    <a:pt x="832" y="105"/>
                  </a:lnTo>
                  <a:lnTo>
                    <a:pt x="828" y="109"/>
                  </a:lnTo>
                  <a:lnTo>
                    <a:pt x="834" y="150"/>
                  </a:lnTo>
                  <a:lnTo>
                    <a:pt x="817" y="148"/>
                  </a:lnTo>
                  <a:lnTo>
                    <a:pt x="810" y="158"/>
                  </a:lnTo>
                  <a:lnTo>
                    <a:pt x="826" y="180"/>
                  </a:lnTo>
                  <a:lnTo>
                    <a:pt x="828" y="195"/>
                  </a:lnTo>
                  <a:lnTo>
                    <a:pt x="811" y="191"/>
                  </a:lnTo>
                  <a:lnTo>
                    <a:pt x="808" y="206"/>
                  </a:lnTo>
                  <a:lnTo>
                    <a:pt x="797" y="206"/>
                  </a:lnTo>
                  <a:lnTo>
                    <a:pt x="797" y="217"/>
                  </a:lnTo>
                  <a:lnTo>
                    <a:pt x="780" y="214"/>
                  </a:lnTo>
                  <a:lnTo>
                    <a:pt x="753" y="249"/>
                  </a:lnTo>
                  <a:lnTo>
                    <a:pt x="746" y="247"/>
                  </a:lnTo>
                  <a:lnTo>
                    <a:pt x="718" y="266"/>
                  </a:lnTo>
                  <a:lnTo>
                    <a:pt x="722" y="257"/>
                  </a:lnTo>
                  <a:lnTo>
                    <a:pt x="714" y="251"/>
                  </a:lnTo>
                  <a:lnTo>
                    <a:pt x="722" y="234"/>
                  </a:lnTo>
                  <a:lnTo>
                    <a:pt x="712" y="227"/>
                  </a:lnTo>
                  <a:lnTo>
                    <a:pt x="701" y="225"/>
                  </a:lnTo>
                  <a:lnTo>
                    <a:pt x="695" y="240"/>
                  </a:lnTo>
                  <a:lnTo>
                    <a:pt x="684" y="247"/>
                  </a:lnTo>
                  <a:lnTo>
                    <a:pt x="682" y="257"/>
                  </a:lnTo>
                  <a:lnTo>
                    <a:pt x="665" y="255"/>
                  </a:lnTo>
                  <a:lnTo>
                    <a:pt x="665" y="268"/>
                  </a:lnTo>
                  <a:lnTo>
                    <a:pt x="703" y="296"/>
                  </a:lnTo>
                  <a:lnTo>
                    <a:pt x="708" y="296"/>
                  </a:lnTo>
                  <a:lnTo>
                    <a:pt x="722" y="283"/>
                  </a:lnTo>
                  <a:lnTo>
                    <a:pt x="750" y="292"/>
                  </a:lnTo>
                  <a:lnTo>
                    <a:pt x="750" y="300"/>
                  </a:lnTo>
                  <a:lnTo>
                    <a:pt x="744" y="298"/>
                  </a:lnTo>
                  <a:lnTo>
                    <a:pt x="729" y="306"/>
                  </a:lnTo>
                  <a:lnTo>
                    <a:pt x="716" y="337"/>
                  </a:lnTo>
                  <a:lnTo>
                    <a:pt x="737" y="347"/>
                  </a:lnTo>
                  <a:lnTo>
                    <a:pt x="757" y="379"/>
                  </a:lnTo>
                  <a:lnTo>
                    <a:pt x="778" y="395"/>
                  </a:lnTo>
                  <a:lnTo>
                    <a:pt x="768" y="395"/>
                  </a:lnTo>
                  <a:lnTo>
                    <a:pt x="783" y="410"/>
                  </a:lnTo>
                  <a:lnTo>
                    <a:pt x="763" y="420"/>
                  </a:lnTo>
                  <a:lnTo>
                    <a:pt x="791" y="425"/>
                  </a:lnTo>
                  <a:lnTo>
                    <a:pt x="791" y="455"/>
                  </a:lnTo>
                  <a:lnTo>
                    <a:pt x="783" y="461"/>
                  </a:lnTo>
                  <a:lnTo>
                    <a:pt x="774" y="487"/>
                  </a:lnTo>
                  <a:lnTo>
                    <a:pt x="768" y="487"/>
                  </a:lnTo>
                  <a:lnTo>
                    <a:pt x="772" y="500"/>
                  </a:lnTo>
                  <a:lnTo>
                    <a:pt x="761" y="527"/>
                  </a:lnTo>
                  <a:lnTo>
                    <a:pt x="753" y="527"/>
                  </a:lnTo>
                  <a:lnTo>
                    <a:pt x="755" y="532"/>
                  </a:lnTo>
                  <a:lnTo>
                    <a:pt x="733" y="553"/>
                  </a:lnTo>
                  <a:lnTo>
                    <a:pt x="703" y="562"/>
                  </a:lnTo>
                  <a:lnTo>
                    <a:pt x="697" y="570"/>
                  </a:lnTo>
                  <a:lnTo>
                    <a:pt x="688" y="562"/>
                  </a:lnTo>
                  <a:lnTo>
                    <a:pt x="688" y="570"/>
                  </a:lnTo>
                  <a:lnTo>
                    <a:pt x="680" y="564"/>
                  </a:lnTo>
                  <a:lnTo>
                    <a:pt x="680" y="573"/>
                  </a:lnTo>
                  <a:lnTo>
                    <a:pt x="641" y="588"/>
                  </a:lnTo>
                  <a:lnTo>
                    <a:pt x="645" y="602"/>
                  </a:lnTo>
                  <a:lnTo>
                    <a:pt x="641" y="605"/>
                  </a:lnTo>
                  <a:lnTo>
                    <a:pt x="635" y="605"/>
                  </a:lnTo>
                  <a:lnTo>
                    <a:pt x="630" y="585"/>
                  </a:lnTo>
                  <a:lnTo>
                    <a:pt x="609" y="581"/>
                  </a:lnTo>
                  <a:lnTo>
                    <a:pt x="602" y="585"/>
                  </a:lnTo>
                  <a:lnTo>
                    <a:pt x="581" y="575"/>
                  </a:lnTo>
                  <a:lnTo>
                    <a:pt x="575" y="560"/>
                  </a:lnTo>
                  <a:lnTo>
                    <a:pt x="557" y="553"/>
                  </a:lnTo>
                  <a:lnTo>
                    <a:pt x="521" y="564"/>
                  </a:lnTo>
                  <a:lnTo>
                    <a:pt x="510" y="560"/>
                  </a:lnTo>
                  <a:lnTo>
                    <a:pt x="508" y="566"/>
                  </a:lnTo>
                  <a:lnTo>
                    <a:pt x="501" y="564"/>
                  </a:lnTo>
                  <a:lnTo>
                    <a:pt x="501" y="587"/>
                  </a:lnTo>
                  <a:lnTo>
                    <a:pt x="495" y="588"/>
                  </a:lnTo>
                  <a:lnTo>
                    <a:pt x="493" y="579"/>
                  </a:lnTo>
                  <a:lnTo>
                    <a:pt x="478" y="583"/>
                  </a:lnTo>
                  <a:lnTo>
                    <a:pt x="461" y="570"/>
                  </a:lnTo>
                  <a:lnTo>
                    <a:pt x="463" y="557"/>
                  </a:lnTo>
                  <a:lnTo>
                    <a:pt x="454" y="549"/>
                  </a:lnTo>
                  <a:lnTo>
                    <a:pt x="448" y="536"/>
                  </a:lnTo>
                  <a:lnTo>
                    <a:pt x="431" y="542"/>
                  </a:lnTo>
                  <a:lnTo>
                    <a:pt x="439" y="487"/>
                  </a:lnTo>
                  <a:lnTo>
                    <a:pt x="426" y="465"/>
                  </a:lnTo>
                  <a:lnTo>
                    <a:pt x="413" y="461"/>
                  </a:lnTo>
                  <a:lnTo>
                    <a:pt x="383" y="437"/>
                  </a:lnTo>
                  <a:lnTo>
                    <a:pt x="362" y="440"/>
                  </a:lnTo>
                  <a:lnTo>
                    <a:pt x="345" y="459"/>
                  </a:lnTo>
                  <a:lnTo>
                    <a:pt x="324" y="467"/>
                  </a:lnTo>
                  <a:lnTo>
                    <a:pt x="295" y="459"/>
                  </a:lnTo>
                  <a:lnTo>
                    <a:pt x="281" y="476"/>
                  </a:lnTo>
                  <a:lnTo>
                    <a:pt x="274" y="463"/>
                  </a:lnTo>
                  <a:lnTo>
                    <a:pt x="266" y="465"/>
                  </a:lnTo>
                  <a:lnTo>
                    <a:pt x="266" y="465"/>
                  </a:lnTo>
                  <a:lnTo>
                    <a:pt x="233" y="465"/>
                  </a:lnTo>
                  <a:lnTo>
                    <a:pt x="197" y="440"/>
                  </a:lnTo>
                  <a:lnTo>
                    <a:pt x="190" y="442"/>
                  </a:lnTo>
                  <a:lnTo>
                    <a:pt x="169" y="424"/>
                  </a:lnTo>
                  <a:lnTo>
                    <a:pt x="148" y="422"/>
                  </a:lnTo>
                  <a:lnTo>
                    <a:pt x="117" y="409"/>
                  </a:lnTo>
                  <a:lnTo>
                    <a:pt x="102" y="384"/>
                  </a:lnTo>
                  <a:lnTo>
                    <a:pt x="102" y="379"/>
                  </a:lnTo>
                  <a:lnTo>
                    <a:pt x="115" y="379"/>
                  </a:lnTo>
                  <a:lnTo>
                    <a:pt x="103" y="356"/>
                  </a:lnTo>
                  <a:lnTo>
                    <a:pt x="115" y="339"/>
                  </a:lnTo>
                  <a:lnTo>
                    <a:pt x="117" y="324"/>
                  </a:lnTo>
                  <a:lnTo>
                    <a:pt x="100" y="317"/>
                  </a:lnTo>
                  <a:lnTo>
                    <a:pt x="75" y="326"/>
                  </a:lnTo>
                  <a:lnTo>
                    <a:pt x="51" y="317"/>
                  </a:lnTo>
                  <a:lnTo>
                    <a:pt x="42" y="302"/>
                  </a:lnTo>
                  <a:lnTo>
                    <a:pt x="23" y="298"/>
                  </a:lnTo>
                  <a:lnTo>
                    <a:pt x="21" y="296"/>
                  </a:lnTo>
                  <a:lnTo>
                    <a:pt x="25" y="292"/>
                  </a:lnTo>
                  <a:lnTo>
                    <a:pt x="19" y="272"/>
                  </a:lnTo>
                  <a:lnTo>
                    <a:pt x="6" y="270"/>
                  </a:lnTo>
                  <a:lnTo>
                    <a:pt x="0" y="264"/>
                  </a:lnTo>
                  <a:lnTo>
                    <a:pt x="0" y="253"/>
                  </a:lnTo>
                  <a:lnTo>
                    <a:pt x="0" y="242"/>
                  </a:lnTo>
                  <a:lnTo>
                    <a:pt x="10" y="232"/>
                  </a:lnTo>
                  <a:lnTo>
                    <a:pt x="36" y="232"/>
                  </a:lnTo>
                  <a:lnTo>
                    <a:pt x="38" y="225"/>
                  </a:lnTo>
                  <a:lnTo>
                    <a:pt x="55" y="223"/>
                  </a:lnTo>
                  <a:lnTo>
                    <a:pt x="79" y="206"/>
                  </a:lnTo>
                  <a:lnTo>
                    <a:pt x="79" y="201"/>
                  </a:lnTo>
                  <a:lnTo>
                    <a:pt x="83" y="184"/>
                  </a:lnTo>
                  <a:lnTo>
                    <a:pt x="64" y="156"/>
                  </a:lnTo>
                  <a:lnTo>
                    <a:pt x="68" y="150"/>
                  </a:lnTo>
                  <a:lnTo>
                    <a:pt x="92" y="148"/>
                  </a:lnTo>
                  <a:lnTo>
                    <a:pt x="90" y="111"/>
                  </a:lnTo>
                  <a:lnTo>
                    <a:pt x="120" y="118"/>
                  </a:lnTo>
                  <a:lnTo>
                    <a:pt x="128" y="113"/>
                  </a:lnTo>
                  <a:lnTo>
                    <a:pt x="124" y="90"/>
                  </a:lnTo>
                  <a:lnTo>
                    <a:pt x="135" y="84"/>
                  </a:lnTo>
                  <a:lnTo>
                    <a:pt x="135" y="8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86" name="Freeform 5694"/>
            <p:cNvSpPr>
              <a:spLocks/>
            </p:cNvSpPr>
            <p:nvPr>
              <p:custDataLst>
                <p:tags r:id="rId64"/>
              </p:custDataLst>
            </p:nvPr>
          </p:nvSpPr>
          <p:spPr bwMode="gray">
            <a:xfrm>
              <a:off x="8399844" y="3691439"/>
              <a:ext cx="69287" cy="35968"/>
            </a:xfrm>
            <a:custGeom>
              <a:avLst/>
              <a:gdLst/>
              <a:ahLst/>
              <a:cxnLst>
                <a:cxn ang="0">
                  <a:pos x="44" y="8"/>
                </a:cxn>
                <a:cxn ang="0">
                  <a:pos x="15" y="0"/>
                </a:cxn>
                <a:cxn ang="0">
                  <a:pos x="1" y="17"/>
                </a:cxn>
                <a:cxn ang="0">
                  <a:pos x="0" y="21"/>
                </a:cxn>
                <a:cxn ang="0">
                  <a:pos x="9" y="28"/>
                </a:cxn>
                <a:cxn ang="0">
                  <a:pos x="46" y="26"/>
                </a:cxn>
                <a:cxn ang="0">
                  <a:pos x="54" y="19"/>
                </a:cxn>
                <a:cxn ang="0">
                  <a:pos x="44" y="8"/>
                </a:cxn>
                <a:cxn ang="0">
                  <a:pos x="44" y="8"/>
                </a:cxn>
              </a:cxnLst>
              <a:rect l="0" t="0" r="r" b="b"/>
              <a:pathLst>
                <a:path w="54" h="28">
                  <a:moveTo>
                    <a:pt x="44" y="8"/>
                  </a:moveTo>
                  <a:lnTo>
                    <a:pt x="15" y="0"/>
                  </a:lnTo>
                  <a:lnTo>
                    <a:pt x="1" y="17"/>
                  </a:lnTo>
                  <a:lnTo>
                    <a:pt x="0" y="21"/>
                  </a:lnTo>
                  <a:lnTo>
                    <a:pt x="9" y="28"/>
                  </a:lnTo>
                  <a:lnTo>
                    <a:pt x="46" y="26"/>
                  </a:lnTo>
                  <a:lnTo>
                    <a:pt x="54" y="19"/>
                  </a:lnTo>
                  <a:lnTo>
                    <a:pt x="44" y="8"/>
                  </a:lnTo>
                  <a:lnTo>
                    <a:pt x="44" y="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87" name="Freeform 5695"/>
            <p:cNvSpPr>
              <a:spLocks/>
            </p:cNvSpPr>
            <p:nvPr>
              <p:custDataLst>
                <p:tags r:id="rId65"/>
              </p:custDataLst>
            </p:nvPr>
          </p:nvSpPr>
          <p:spPr bwMode="gray">
            <a:xfrm>
              <a:off x="8218928" y="3643910"/>
              <a:ext cx="168085" cy="91204"/>
            </a:xfrm>
            <a:custGeom>
              <a:avLst/>
              <a:gdLst/>
              <a:ahLst/>
              <a:cxnLst>
                <a:cxn ang="0">
                  <a:pos x="127" y="58"/>
                </a:cxn>
                <a:cxn ang="0">
                  <a:pos x="127" y="43"/>
                </a:cxn>
                <a:cxn ang="0">
                  <a:pos x="94" y="43"/>
                </a:cxn>
                <a:cxn ang="0">
                  <a:pos x="58" y="18"/>
                </a:cxn>
                <a:cxn ang="0">
                  <a:pos x="51" y="20"/>
                </a:cxn>
                <a:cxn ang="0">
                  <a:pos x="30" y="2"/>
                </a:cxn>
                <a:cxn ang="0">
                  <a:pos x="9" y="0"/>
                </a:cxn>
                <a:cxn ang="0">
                  <a:pos x="0" y="26"/>
                </a:cxn>
                <a:cxn ang="0">
                  <a:pos x="47" y="52"/>
                </a:cxn>
                <a:cxn ang="0">
                  <a:pos x="67" y="54"/>
                </a:cxn>
                <a:cxn ang="0">
                  <a:pos x="82" y="65"/>
                </a:cxn>
                <a:cxn ang="0">
                  <a:pos x="116" y="71"/>
                </a:cxn>
                <a:cxn ang="0">
                  <a:pos x="131" y="71"/>
                </a:cxn>
                <a:cxn ang="0">
                  <a:pos x="127" y="58"/>
                </a:cxn>
                <a:cxn ang="0">
                  <a:pos x="127" y="58"/>
                </a:cxn>
              </a:cxnLst>
              <a:rect l="0" t="0" r="r" b="b"/>
              <a:pathLst>
                <a:path w="131" h="71">
                  <a:moveTo>
                    <a:pt x="127" y="58"/>
                  </a:moveTo>
                  <a:lnTo>
                    <a:pt x="127" y="43"/>
                  </a:lnTo>
                  <a:lnTo>
                    <a:pt x="94" y="43"/>
                  </a:lnTo>
                  <a:lnTo>
                    <a:pt x="58" y="18"/>
                  </a:lnTo>
                  <a:lnTo>
                    <a:pt x="51" y="20"/>
                  </a:lnTo>
                  <a:lnTo>
                    <a:pt x="30" y="2"/>
                  </a:lnTo>
                  <a:lnTo>
                    <a:pt x="9" y="0"/>
                  </a:lnTo>
                  <a:lnTo>
                    <a:pt x="0" y="26"/>
                  </a:lnTo>
                  <a:lnTo>
                    <a:pt x="47" y="52"/>
                  </a:lnTo>
                  <a:lnTo>
                    <a:pt x="67" y="54"/>
                  </a:lnTo>
                  <a:lnTo>
                    <a:pt x="82" y="65"/>
                  </a:lnTo>
                  <a:lnTo>
                    <a:pt x="116" y="71"/>
                  </a:lnTo>
                  <a:lnTo>
                    <a:pt x="131" y="71"/>
                  </a:lnTo>
                  <a:lnTo>
                    <a:pt x="127" y="58"/>
                  </a:lnTo>
                  <a:lnTo>
                    <a:pt x="127" y="5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88" name="Freeform 5696"/>
            <p:cNvSpPr>
              <a:spLocks/>
            </p:cNvSpPr>
            <p:nvPr>
              <p:custDataLst>
                <p:tags r:id="rId66"/>
              </p:custDataLst>
            </p:nvPr>
          </p:nvSpPr>
          <p:spPr bwMode="gray">
            <a:xfrm>
              <a:off x="7830151" y="3484625"/>
              <a:ext cx="306659" cy="314717"/>
            </a:xfrm>
            <a:custGeom>
              <a:avLst/>
              <a:gdLst/>
              <a:ahLst/>
              <a:cxnLst>
                <a:cxn ang="0">
                  <a:pos x="136" y="234"/>
                </a:cxn>
                <a:cxn ang="0">
                  <a:pos x="168" y="234"/>
                </a:cxn>
                <a:cxn ang="0">
                  <a:pos x="168" y="223"/>
                </a:cxn>
                <a:cxn ang="0">
                  <a:pos x="161" y="208"/>
                </a:cxn>
                <a:cxn ang="0">
                  <a:pos x="153" y="202"/>
                </a:cxn>
                <a:cxn ang="0">
                  <a:pos x="153" y="193"/>
                </a:cxn>
                <a:cxn ang="0">
                  <a:pos x="142" y="191"/>
                </a:cxn>
                <a:cxn ang="0">
                  <a:pos x="142" y="178"/>
                </a:cxn>
                <a:cxn ang="0">
                  <a:pos x="151" y="167"/>
                </a:cxn>
                <a:cxn ang="0">
                  <a:pos x="161" y="170"/>
                </a:cxn>
                <a:cxn ang="0">
                  <a:pos x="174" y="167"/>
                </a:cxn>
                <a:cxn ang="0">
                  <a:pos x="211" y="107"/>
                </a:cxn>
                <a:cxn ang="0">
                  <a:pos x="208" y="94"/>
                </a:cxn>
                <a:cxn ang="0">
                  <a:pos x="215" y="90"/>
                </a:cxn>
                <a:cxn ang="0">
                  <a:pos x="215" y="84"/>
                </a:cxn>
                <a:cxn ang="0">
                  <a:pos x="194" y="71"/>
                </a:cxn>
                <a:cxn ang="0">
                  <a:pos x="193" y="52"/>
                </a:cxn>
                <a:cxn ang="0">
                  <a:pos x="185" y="45"/>
                </a:cxn>
                <a:cxn ang="0">
                  <a:pos x="187" y="39"/>
                </a:cxn>
                <a:cxn ang="0">
                  <a:pos x="215" y="45"/>
                </a:cxn>
                <a:cxn ang="0">
                  <a:pos x="232" y="39"/>
                </a:cxn>
                <a:cxn ang="0">
                  <a:pos x="239" y="28"/>
                </a:cxn>
                <a:cxn ang="0">
                  <a:pos x="215" y="19"/>
                </a:cxn>
                <a:cxn ang="0">
                  <a:pos x="206" y="4"/>
                </a:cxn>
                <a:cxn ang="0">
                  <a:pos x="187" y="0"/>
                </a:cxn>
                <a:cxn ang="0">
                  <a:pos x="174" y="2"/>
                </a:cxn>
                <a:cxn ang="0">
                  <a:pos x="161" y="2"/>
                </a:cxn>
                <a:cxn ang="0">
                  <a:pos x="142" y="13"/>
                </a:cxn>
                <a:cxn ang="0">
                  <a:pos x="148" y="36"/>
                </a:cxn>
                <a:cxn ang="0">
                  <a:pos x="142" y="54"/>
                </a:cxn>
                <a:cxn ang="0">
                  <a:pos x="127" y="54"/>
                </a:cxn>
                <a:cxn ang="0">
                  <a:pos x="133" y="64"/>
                </a:cxn>
                <a:cxn ang="0">
                  <a:pos x="125" y="73"/>
                </a:cxn>
                <a:cxn ang="0">
                  <a:pos x="121" y="96"/>
                </a:cxn>
                <a:cxn ang="0">
                  <a:pos x="89" y="103"/>
                </a:cxn>
                <a:cxn ang="0">
                  <a:pos x="84" y="111"/>
                </a:cxn>
                <a:cxn ang="0">
                  <a:pos x="82" y="131"/>
                </a:cxn>
                <a:cxn ang="0">
                  <a:pos x="22" y="139"/>
                </a:cxn>
                <a:cxn ang="0">
                  <a:pos x="0" y="131"/>
                </a:cxn>
                <a:cxn ang="0">
                  <a:pos x="0" y="131"/>
                </a:cxn>
                <a:cxn ang="0">
                  <a:pos x="16" y="156"/>
                </a:cxn>
                <a:cxn ang="0">
                  <a:pos x="30" y="161"/>
                </a:cxn>
                <a:cxn ang="0">
                  <a:pos x="43" y="180"/>
                </a:cxn>
                <a:cxn ang="0">
                  <a:pos x="41" y="187"/>
                </a:cxn>
                <a:cxn ang="0">
                  <a:pos x="22" y="200"/>
                </a:cxn>
                <a:cxn ang="0">
                  <a:pos x="20" y="215"/>
                </a:cxn>
                <a:cxn ang="0">
                  <a:pos x="56" y="214"/>
                </a:cxn>
                <a:cxn ang="0">
                  <a:pos x="69" y="217"/>
                </a:cxn>
                <a:cxn ang="0">
                  <a:pos x="99" y="214"/>
                </a:cxn>
                <a:cxn ang="0">
                  <a:pos x="114" y="240"/>
                </a:cxn>
                <a:cxn ang="0">
                  <a:pos x="125" y="245"/>
                </a:cxn>
                <a:cxn ang="0">
                  <a:pos x="136" y="234"/>
                </a:cxn>
                <a:cxn ang="0">
                  <a:pos x="136" y="234"/>
                </a:cxn>
              </a:cxnLst>
              <a:rect l="0" t="0" r="r" b="b"/>
              <a:pathLst>
                <a:path w="239" h="245">
                  <a:moveTo>
                    <a:pt x="136" y="234"/>
                  </a:moveTo>
                  <a:lnTo>
                    <a:pt x="168" y="234"/>
                  </a:lnTo>
                  <a:lnTo>
                    <a:pt x="168" y="223"/>
                  </a:lnTo>
                  <a:lnTo>
                    <a:pt x="161" y="208"/>
                  </a:lnTo>
                  <a:lnTo>
                    <a:pt x="153" y="202"/>
                  </a:lnTo>
                  <a:lnTo>
                    <a:pt x="153" y="193"/>
                  </a:lnTo>
                  <a:lnTo>
                    <a:pt x="142" y="191"/>
                  </a:lnTo>
                  <a:lnTo>
                    <a:pt x="142" y="178"/>
                  </a:lnTo>
                  <a:lnTo>
                    <a:pt x="151" y="167"/>
                  </a:lnTo>
                  <a:lnTo>
                    <a:pt x="161" y="170"/>
                  </a:lnTo>
                  <a:lnTo>
                    <a:pt x="174" y="167"/>
                  </a:lnTo>
                  <a:lnTo>
                    <a:pt x="211" y="107"/>
                  </a:lnTo>
                  <a:lnTo>
                    <a:pt x="208" y="94"/>
                  </a:lnTo>
                  <a:lnTo>
                    <a:pt x="215" y="90"/>
                  </a:lnTo>
                  <a:lnTo>
                    <a:pt x="215" y="84"/>
                  </a:lnTo>
                  <a:lnTo>
                    <a:pt x="194" y="71"/>
                  </a:lnTo>
                  <a:lnTo>
                    <a:pt x="193" y="52"/>
                  </a:lnTo>
                  <a:lnTo>
                    <a:pt x="185" y="45"/>
                  </a:lnTo>
                  <a:lnTo>
                    <a:pt x="187" y="39"/>
                  </a:lnTo>
                  <a:lnTo>
                    <a:pt x="215" y="45"/>
                  </a:lnTo>
                  <a:lnTo>
                    <a:pt x="232" y="39"/>
                  </a:lnTo>
                  <a:lnTo>
                    <a:pt x="239" y="28"/>
                  </a:lnTo>
                  <a:lnTo>
                    <a:pt x="215" y="19"/>
                  </a:lnTo>
                  <a:lnTo>
                    <a:pt x="206" y="4"/>
                  </a:lnTo>
                  <a:lnTo>
                    <a:pt x="187" y="0"/>
                  </a:lnTo>
                  <a:lnTo>
                    <a:pt x="174" y="2"/>
                  </a:lnTo>
                  <a:lnTo>
                    <a:pt x="161" y="2"/>
                  </a:lnTo>
                  <a:lnTo>
                    <a:pt x="142" y="13"/>
                  </a:lnTo>
                  <a:lnTo>
                    <a:pt x="148" y="36"/>
                  </a:lnTo>
                  <a:lnTo>
                    <a:pt x="142" y="54"/>
                  </a:lnTo>
                  <a:lnTo>
                    <a:pt x="127" y="54"/>
                  </a:lnTo>
                  <a:lnTo>
                    <a:pt x="133" y="64"/>
                  </a:lnTo>
                  <a:lnTo>
                    <a:pt x="125" y="73"/>
                  </a:lnTo>
                  <a:lnTo>
                    <a:pt x="121" y="96"/>
                  </a:lnTo>
                  <a:lnTo>
                    <a:pt x="89" y="103"/>
                  </a:lnTo>
                  <a:lnTo>
                    <a:pt x="84" y="111"/>
                  </a:lnTo>
                  <a:lnTo>
                    <a:pt x="82" y="131"/>
                  </a:lnTo>
                  <a:lnTo>
                    <a:pt x="22" y="139"/>
                  </a:lnTo>
                  <a:lnTo>
                    <a:pt x="0" y="131"/>
                  </a:lnTo>
                  <a:lnTo>
                    <a:pt x="0" y="131"/>
                  </a:lnTo>
                  <a:lnTo>
                    <a:pt x="16" y="156"/>
                  </a:lnTo>
                  <a:lnTo>
                    <a:pt x="30" y="161"/>
                  </a:lnTo>
                  <a:lnTo>
                    <a:pt x="43" y="180"/>
                  </a:lnTo>
                  <a:lnTo>
                    <a:pt x="41" y="187"/>
                  </a:lnTo>
                  <a:lnTo>
                    <a:pt x="22" y="200"/>
                  </a:lnTo>
                  <a:lnTo>
                    <a:pt x="20" y="215"/>
                  </a:lnTo>
                  <a:lnTo>
                    <a:pt x="56" y="214"/>
                  </a:lnTo>
                  <a:lnTo>
                    <a:pt x="69" y="217"/>
                  </a:lnTo>
                  <a:lnTo>
                    <a:pt x="99" y="214"/>
                  </a:lnTo>
                  <a:lnTo>
                    <a:pt x="114" y="240"/>
                  </a:lnTo>
                  <a:lnTo>
                    <a:pt x="125" y="245"/>
                  </a:lnTo>
                  <a:lnTo>
                    <a:pt x="136" y="234"/>
                  </a:lnTo>
                  <a:lnTo>
                    <a:pt x="136" y="23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89" name="Freeform 5697"/>
            <p:cNvSpPr>
              <a:spLocks/>
            </p:cNvSpPr>
            <p:nvPr>
              <p:custDataLst>
                <p:tags r:id="rId67"/>
              </p:custDataLst>
            </p:nvPr>
          </p:nvSpPr>
          <p:spPr bwMode="gray">
            <a:xfrm>
              <a:off x="9077317" y="3448657"/>
              <a:ext cx="74419" cy="98911"/>
            </a:xfrm>
            <a:custGeom>
              <a:avLst/>
              <a:gdLst/>
              <a:ahLst/>
              <a:cxnLst>
                <a:cxn ang="0">
                  <a:pos x="0" y="13"/>
                </a:cxn>
                <a:cxn ang="0">
                  <a:pos x="5" y="6"/>
                </a:cxn>
                <a:cxn ang="0">
                  <a:pos x="22" y="0"/>
                </a:cxn>
                <a:cxn ang="0">
                  <a:pos x="41" y="19"/>
                </a:cxn>
                <a:cxn ang="0">
                  <a:pos x="58" y="47"/>
                </a:cxn>
                <a:cxn ang="0">
                  <a:pos x="58" y="60"/>
                </a:cxn>
                <a:cxn ang="0">
                  <a:pos x="26" y="77"/>
                </a:cxn>
                <a:cxn ang="0">
                  <a:pos x="15" y="58"/>
                </a:cxn>
                <a:cxn ang="0">
                  <a:pos x="18" y="50"/>
                </a:cxn>
                <a:cxn ang="0">
                  <a:pos x="0" y="28"/>
                </a:cxn>
                <a:cxn ang="0">
                  <a:pos x="9" y="28"/>
                </a:cxn>
                <a:cxn ang="0">
                  <a:pos x="2" y="21"/>
                </a:cxn>
                <a:cxn ang="0">
                  <a:pos x="0" y="13"/>
                </a:cxn>
                <a:cxn ang="0">
                  <a:pos x="0" y="13"/>
                </a:cxn>
              </a:cxnLst>
              <a:rect l="0" t="0" r="r" b="b"/>
              <a:pathLst>
                <a:path w="58" h="77">
                  <a:moveTo>
                    <a:pt x="0" y="13"/>
                  </a:moveTo>
                  <a:lnTo>
                    <a:pt x="5" y="6"/>
                  </a:lnTo>
                  <a:lnTo>
                    <a:pt x="22" y="0"/>
                  </a:lnTo>
                  <a:lnTo>
                    <a:pt x="41" y="19"/>
                  </a:lnTo>
                  <a:lnTo>
                    <a:pt x="58" y="47"/>
                  </a:lnTo>
                  <a:lnTo>
                    <a:pt x="58" y="60"/>
                  </a:lnTo>
                  <a:lnTo>
                    <a:pt x="26" y="77"/>
                  </a:lnTo>
                  <a:lnTo>
                    <a:pt x="15" y="58"/>
                  </a:lnTo>
                  <a:lnTo>
                    <a:pt x="18" y="50"/>
                  </a:lnTo>
                  <a:lnTo>
                    <a:pt x="0" y="28"/>
                  </a:lnTo>
                  <a:lnTo>
                    <a:pt x="9" y="28"/>
                  </a:lnTo>
                  <a:lnTo>
                    <a:pt x="2" y="21"/>
                  </a:lnTo>
                  <a:lnTo>
                    <a:pt x="0" y="13"/>
                  </a:lnTo>
                  <a:lnTo>
                    <a:pt x="0" y="1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90" name="Freeform 5698"/>
            <p:cNvSpPr>
              <a:spLocks/>
            </p:cNvSpPr>
            <p:nvPr>
              <p:custDataLst>
                <p:tags r:id="rId68"/>
              </p:custDataLst>
            </p:nvPr>
          </p:nvSpPr>
          <p:spPr bwMode="gray">
            <a:xfrm>
              <a:off x="8229193" y="3131371"/>
              <a:ext cx="605620" cy="242782"/>
            </a:xfrm>
            <a:custGeom>
              <a:avLst/>
              <a:gdLst/>
              <a:ahLst/>
              <a:cxnLst>
                <a:cxn ang="0">
                  <a:pos x="393" y="50"/>
                </a:cxn>
                <a:cxn ang="0">
                  <a:pos x="410" y="80"/>
                </a:cxn>
                <a:cxn ang="0">
                  <a:pos x="428" y="82"/>
                </a:cxn>
                <a:cxn ang="0">
                  <a:pos x="445" y="76"/>
                </a:cxn>
                <a:cxn ang="0">
                  <a:pos x="462" y="84"/>
                </a:cxn>
                <a:cxn ang="0">
                  <a:pos x="472" y="99"/>
                </a:cxn>
                <a:cxn ang="0">
                  <a:pos x="436" y="99"/>
                </a:cxn>
                <a:cxn ang="0">
                  <a:pos x="428" y="114"/>
                </a:cxn>
                <a:cxn ang="0">
                  <a:pos x="415" y="120"/>
                </a:cxn>
                <a:cxn ang="0">
                  <a:pos x="406" y="133"/>
                </a:cxn>
                <a:cxn ang="0">
                  <a:pos x="385" y="127"/>
                </a:cxn>
                <a:cxn ang="0">
                  <a:pos x="380" y="136"/>
                </a:cxn>
                <a:cxn ang="0">
                  <a:pos x="391" y="151"/>
                </a:cxn>
                <a:cxn ang="0">
                  <a:pos x="374" y="172"/>
                </a:cxn>
                <a:cxn ang="0">
                  <a:pos x="370" y="174"/>
                </a:cxn>
                <a:cxn ang="0">
                  <a:pos x="339" y="176"/>
                </a:cxn>
                <a:cxn ang="0">
                  <a:pos x="307" y="189"/>
                </a:cxn>
                <a:cxn ang="0">
                  <a:pos x="234" y="168"/>
                </a:cxn>
                <a:cxn ang="0">
                  <a:pos x="176" y="168"/>
                </a:cxn>
                <a:cxn ang="0">
                  <a:pos x="138" y="138"/>
                </a:cxn>
                <a:cxn ang="0">
                  <a:pos x="67" y="121"/>
                </a:cxn>
                <a:cxn ang="0">
                  <a:pos x="58" y="95"/>
                </a:cxn>
                <a:cxn ang="0">
                  <a:pos x="43" y="78"/>
                </a:cxn>
                <a:cxn ang="0">
                  <a:pos x="22" y="75"/>
                </a:cxn>
                <a:cxn ang="0">
                  <a:pos x="0" y="56"/>
                </a:cxn>
                <a:cxn ang="0">
                  <a:pos x="3" y="48"/>
                </a:cxn>
                <a:cxn ang="0">
                  <a:pos x="44" y="28"/>
                </a:cxn>
                <a:cxn ang="0">
                  <a:pos x="80" y="30"/>
                </a:cxn>
                <a:cxn ang="0">
                  <a:pos x="97" y="39"/>
                </a:cxn>
                <a:cxn ang="0">
                  <a:pos x="134" y="37"/>
                </a:cxn>
                <a:cxn ang="0">
                  <a:pos x="133" y="26"/>
                </a:cxn>
                <a:cxn ang="0">
                  <a:pos x="123" y="13"/>
                </a:cxn>
                <a:cxn ang="0">
                  <a:pos x="134" y="0"/>
                </a:cxn>
                <a:cxn ang="0">
                  <a:pos x="177" y="11"/>
                </a:cxn>
                <a:cxn ang="0">
                  <a:pos x="204" y="31"/>
                </a:cxn>
                <a:cxn ang="0">
                  <a:pos x="239" y="28"/>
                </a:cxn>
                <a:cxn ang="0">
                  <a:pos x="314" y="52"/>
                </a:cxn>
                <a:cxn ang="0">
                  <a:pos x="314" y="52"/>
                </a:cxn>
                <a:cxn ang="0">
                  <a:pos x="354" y="46"/>
                </a:cxn>
                <a:cxn ang="0">
                  <a:pos x="370" y="33"/>
                </a:cxn>
                <a:cxn ang="0">
                  <a:pos x="397" y="39"/>
                </a:cxn>
                <a:cxn ang="0">
                  <a:pos x="393" y="50"/>
                </a:cxn>
                <a:cxn ang="0">
                  <a:pos x="393" y="50"/>
                </a:cxn>
              </a:cxnLst>
              <a:rect l="0" t="0" r="r" b="b"/>
              <a:pathLst>
                <a:path w="472" h="189">
                  <a:moveTo>
                    <a:pt x="393" y="50"/>
                  </a:moveTo>
                  <a:lnTo>
                    <a:pt x="410" y="80"/>
                  </a:lnTo>
                  <a:lnTo>
                    <a:pt x="428" y="82"/>
                  </a:lnTo>
                  <a:lnTo>
                    <a:pt x="445" y="76"/>
                  </a:lnTo>
                  <a:lnTo>
                    <a:pt x="462" y="84"/>
                  </a:lnTo>
                  <a:lnTo>
                    <a:pt x="472" y="99"/>
                  </a:lnTo>
                  <a:lnTo>
                    <a:pt x="436" y="99"/>
                  </a:lnTo>
                  <a:lnTo>
                    <a:pt x="428" y="114"/>
                  </a:lnTo>
                  <a:lnTo>
                    <a:pt x="415" y="120"/>
                  </a:lnTo>
                  <a:lnTo>
                    <a:pt x="406" y="133"/>
                  </a:lnTo>
                  <a:lnTo>
                    <a:pt x="385" y="127"/>
                  </a:lnTo>
                  <a:lnTo>
                    <a:pt x="380" y="136"/>
                  </a:lnTo>
                  <a:lnTo>
                    <a:pt x="391" y="151"/>
                  </a:lnTo>
                  <a:lnTo>
                    <a:pt x="374" y="172"/>
                  </a:lnTo>
                  <a:lnTo>
                    <a:pt x="370" y="174"/>
                  </a:lnTo>
                  <a:lnTo>
                    <a:pt x="339" y="176"/>
                  </a:lnTo>
                  <a:lnTo>
                    <a:pt x="307" y="189"/>
                  </a:lnTo>
                  <a:lnTo>
                    <a:pt x="234" y="168"/>
                  </a:lnTo>
                  <a:lnTo>
                    <a:pt x="176" y="168"/>
                  </a:lnTo>
                  <a:lnTo>
                    <a:pt x="138" y="138"/>
                  </a:lnTo>
                  <a:lnTo>
                    <a:pt x="67" y="121"/>
                  </a:lnTo>
                  <a:lnTo>
                    <a:pt x="58" y="95"/>
                  </a:lnTo>
                  <a:lnTo>
                    <a:pt x="43" y="78"/>
                  </a:lnTo>
                  <a:lnTo>
                    <a:pt x="22" y="75"/>
                  </a:lnTo>
                  <a:lnTo>
                    <a:pt x="0" y="56"/>
                  </a:lnTo>
                  <a:lnTo>
                    <a:pt x="3" y="48"/>
                  </a:lnTo>
                  <a:lnTo>
                    <a:pt x="44" y="28"/>
                  </a:lnTo>
                  <a:lnTo>
                    <a:pt x="80" y="30"/>
                  </a:lnTo>
                  <a:lnTo>
                    <a:pt x="97" y="39"/>
                  </a:lnTo>
                  <a:lnTo>
                    <a:pt x="134" y="37"/>
                  </a:lnTo>
                  <a:lnTo>
                    <a:pt x="133" y="26"/>
                  </a:lnTo>
                  <a:lnTo>
                    <a:pt x="123" y="13"/>
                  </a:lnTo>
                  <a:lnTo>
                    <a:pt x="134" y="0"/>
                  </a:lnTo>
                  <a:lnTo>
                    <a:pt x="177" y="11"/>
                  </a:lnTo>
                  <a:lnTo>
                    <a:pt x="204" y="31"/>
                  </a:lnTo>
                  <a:lnTo>
                    <a:pt x="239" y="28"/>
                  </a:lnTo>
                  <a:lnTo>
                    <a:pt x="314" y="52"/>
                  </a:lnTo>
                  <a:lnTo>
                    <a:pt x="314" y="52"/>
                  </a:lnTo>
                  <a:lnTo>
                    <a:pt x="354" y="46"/>
                  </a:lnTo>
                  <a:lnTo>
                    <a:pt x="370" y="33"/>
                  </a:lnTo>
                  <a:lnTo>
                    <a:pt x="397" y="39"/>
                  </a:lnTo>
                  <a:lnTo>
                    <a:pt x="393" y="50"/>
                  </a:lnTo>
                  <a:lnTo>
                    <a:pt x="393" y="5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91" name="Freeform 5699"/>
            <p:cNvSpPr>
              <a:spLocks/>
            </p:cNvSpPr>
            <p:nvPr>
              <p:custDataLst>
                <p:tags r:id="rId69"/>
              </p:custDataLst>
            </p:nvPr>
          </p:nvSpPr>
          <p:spPr bwMode="gray">
            <a:xfrm>
              <a:off x="7115469" y="3366445"/>
              <a:ext cx="370814" cy="142586"/>
            </a:xfrm>
            <a:custGeom>
              <a:avLst/>
              <a:gdLst/>
              <a:ahLst/>
              <a:cxnLst>
                <a:cxn ang="0">
                  <a:pos x="257" y="17"/>
                </a:cxn>
                <a:cxn ang="0">
                  <a:pos x="251" y="8"/>
                </a:cxn>
                <a:cxn ang="0">
                  <a:pos x="231" y="6"/>
                </a:cxn>
                <a:cxn ang="0">
                  <a:pos x="231" y="6"/>
                </a:cxn>
                <a:cxn ang="0">
                  <a:pos x="206" y="17"/>
                </a:cxn>
                <a:cxn ang="0">
                  <a:pos x="167" y="17"/>
                </a:cxn>
                <a:cxn ang="0">
                  <a:pos x="131" y="0"/>
                </a:cxn>
                <a:cxn ang="0">
                  <a:pos x="105" y="0"/>
                </a:cxn>
                <a:cxn ang="0">
                  <a:pos x="75" y="17"/>
                </a:cxn>
                <a:cxn ang="0">
                  <a:pos x="56" y="17"/>
                </a:cxn>
                <a:cxn ang="0">
                  <a:pos x="38" y="11"/>
                </a:cxn>
                <a:cxn ang="0">
                  <a:pos x="28" y="2"/>
                </a:cxn>
                <a:cxn ang="0">
                  <a:pos x="4" y="2"/>
                </a:cxn>
                <a:cxn ang="0">
                  <a:pos x="4" y="2"/>
                </a:cxn>
                <a:cxn ang="0">
                  <a:pos x="0" y="26"/>
                </a:cxn>
                <a:cxn ang="0">
                  <a:pos x="8" y="25"/>
                </a:cxn>
                <a:cxn ang="0">
                  <a:pos x="4" y="34"/>
                </a:cxn>
                <a:cxn ang="0">
                  <a:pos x="21" y="19"/>
                </a:cxn>
                <a:cxn ang="0">
                  <a:pos x="41" y="17"/>
                </a:cxn>
                <a:cxn ang="0">
                  <a:pos x="51" y="25"/>
                </a:cxn>
                <a:cxn ang="0">
                  <a:pos x="43" y="25"/>
                </a:cxn>
                <a:cxn ang="0">
                  <a:pos x="47" y="30"/>
                </a:cxn>
                <a:cxn ang="0">
                  <a:pos x="12" y="30"/>
                </a:cxn>
                <a:cxn ang="0">
                  <a:pos x="4" y="36"/>
                </a:cxn>
                <a:cxn ang="0">
                  <a:pos x="0" y="47"/>
                </a:cxn>
                <a:cxn ang="0">
                  <a:pos x="13" y="45"/>
                </a:cxn>
                <a:cxn ang="0">
                  <a:pos x="15" y="66"/>
                </a:cxn>
                <a:cxn ang="0">
                  <a:pos x="8" y="62"/>
                </a:cxn>
                <a:cxn ang="0">
                  <a:pos x="6" y="68"/>
                </a:cxn>
                <a:cxn ang="0">
                  <a:pos x="21" y="73"/>
                </a:cxn>
                <a:cxn ang="0">
                  <a:pos x="19" y="81"/>
                </a:cxn>
                <a:cxn ang="0">
                  <a:pos x="26" y="86"/>
                </a:cxn>
                <a:cxn ang="0">
                  <a:pos x="21" y="92"/>
                </a:cxn>
                <a:cxn ang="0">
                  <a:pos x="36" y="92"/>
                </a:cxn>
                <a:cxn ang="0">
                  <a:pos x="34" y="96"/>
                </a:cxn>
                <a:cxn ang="0">
                  <a:pos x="62" y="107"/>
                </a:cxn>
                <a:cxn ang="0">
                  <a:pos x="73" y="101"/>
                </a:cxn>
                <a:cxn ang="0">
                  <a:pos x="75" y="94"/>
                </a:cxn>
                <a:cxn ang="0">
                  <a:pos x="85" y="96"/>
                </a:cxn>
                <a:cxn ang="0">
                  <a:pos x="107" y="111"/>
                </a:cxn>
                <a:cxn ang="0">
                  <a:pos x="120" y="107"/>
                </a:cxn>
                <a:cxn ang="0">
                  <a:pos x="133" y="94"/>
                </a:cxn>
                <a:cxn ang="0">
                  <a:pos x="150" y="100"/>
                </a:cxn>
                <a:cxn ang="0">
                  <a:pos x="156" y="92"/>
                </a:cxn>
                <a:cxn ang="0">
                  <a:pos x="158" y="111"/>
                </a:cxn>
                <a:cxn ang="0">
                  <a:pos x="158" y="111"/>
                </a:cxn>
                <a:cxn ang="0">
                  <a:pos x="167" y="103"/>
                </a:cxn>
                <a:cxn ang="0">
                  <a:pos x="165" y="94"/>
                </a:cxn>
                <a:cxn ang="0">
                  <a:pos x="191" y="92"/>
                </a:cxn>
                <a:cxn ang="0">
                  <a:pos x="206" y="96"/>
                </a:cxn>
                <a:cxn ang="0">
                  <a:pos x="229" y="88"/>
                </a:cxn>
                <a:cxn ang="0">
                  <a:pos x="255" y="88"/>
                </a:cxn>
                <a:cxn ang="0">
                  <a:pos x="261" y="83"/>
                </a:cxn>
                <a:cxn ang="0">
                  <a:pos x="289" y="86"/>
                </a:cxn>
                <a:cxn ang="0">
                  <a:pos x="274" y="47"/>
                </a:cxn>
                <a:cxn ang="0">
                  <a:pos x="279" y="38"/>
                </a:cxn>
                <a:cxn ang="0">
                  <a:pos x="279" y="38"/>
                </a:cxn>
                <a:cxn ang="0">
                  <a:pos x="268" y="30"/>
                </a:cxn>
                <a:cxn ang="0">
                  <a:pos x="257" y="17"/>
                </a:cxn>
                <a:cxn ang="0">
                  <a:pos x="257" y="17"/>
                </a:cxn>
              </a:cxnLst>
              <a:rect l="0" t="0" r="r" b="b"/>
              <a:pathLst>
                <a:path w="289" h="111">
                  <a:moveTo>
                    <a:pt x="257" y="17"/>
                  </a:moveTo>
                  <a:lnTo>
                    <a:pt x="251" y="8"/>
                  </a:lnTo>
                  <a:lnTo>
                    <a:pt x="231" y="6"/>
                  </a:lnTo>
                  <a:lnTo>
                    <a:pt x="231" y="6"/>
                  </a:lnTo>
                  <a:lnTo>
                    <a:pt x="206" y="17"/>
                  </a:lnTo>
                  <a:lnTo>
                    <a:pt x="167" y="17"/>
                  </a:lnTo>
                  <a:lnTo>
                    <a:pt x="131" y="0"/>
                  </a:lnTo>
                  <a:lnTo>
                    <a:pt x="105" y="0"/>
                  </a:lnTo>
                  <a:lnTo>
                    <a:pt x="75" y="17"/>
                  </a:lnTo>
                  <a:lnTo>
                    <a:pt x="56" y="17"/>
                  </a:lnTo>
                  <a:lnTo>
                    <a:pt x="38" y="11"/>
                  </a:lnTo>
                  <a:lnTo>
                    <a:pt x="28" y="2"/>
                  </a:lnTo>
                  <a:lnTo>
                    <a:pt x="4" y="2"/>
                  </a:lnTo>
                  <a:lnTo>
                    <a:pt x="4" y="2"/>
                  </a:lnTo>
                  <a:lnTo>
                    <a:pt x="0" y="26"/>
                  </a:lnTo>
                  <a:lnTo>
                    <a:pt x="8" y="25"/>
                  </a:lnTo>
                  <a:lnTo>
                    <a:pt x="4" y="34"/>
                  </a:lnTo>
                  <a:lnTo>
                    <a:pt x="21" y="19"/>
                  </a:lnTo>
                  <a:lnTo>
                    <a:pt x="41" y="17"/>
                  </a:lnTo>
                  <a:lnTo>
                    <a:pt x="51" y="25"/>
                  </a:lnTo>
                  <a:lnTo>
                    <a:pt x="43" y="25"/>
                  </a:lnTo>
                  <a:lnTo>
                    <a:pt x="47" y="30"/>
                  </a:lnTo>
                  <a:lnTo>
                    <a:pt x="12" y="30"/>
                  </a:lnTo>
                  <a:lnTo>
                    <a:pt x="4" y="36"/>
                  </a:lnTo>
                  <a:lnTo>
                    <a:pt x="0" y="47"/>
                  </a:lnTo>
                  <a:lnTo>
                    <a:pt x="13" y="45"/>
                  </a:lnTo>
                  <a:lnTo>
                    <a:pt x="15" y="66"/>
                  </a:lnTo>
                  <a:lnTo>
                    <a:pt x="8" y="62"/>
                  </a:lnTo>
                  <a:lnTo>
                    <a:pt x="6" y="68"/>
                  </a:lnTo>
                  <a:lnTo>
                    <a:pt x="21" y="73"/>
                  </a:lnTo>
                  <a:lnTo>
                    <a:pt x="19" y="81"/>
                  </a:lnTo>
                  <a:lnTo>
                    <a:pt x="26" y="86"/>
                  </a:lnTo>
                  <a:lnTo>
                    <a:pt x="21" y="92"/>
                  </a:lnTo>
                  <a:lnTo>
                    <a:pt x="36" y="92"/>
                  </a:lnTo>
                  <a:lnTo>
                    <a:pt x="34" y="96"/>
                  </a:lnTo>
                  <a:lnTo>
                    <a:pt x="62" y="107"/>
                  </a:lnTo>
                  <a:lnTo>
                    <a:pt x="73" y="101"/>
                  </a:lnTo>
                  <a:lnTo>
                    <a:pt x="75" y="94"/>
                  </a:lnTo>
                  <a:lnTo>
                    <a:pt x="85" y="96"/>
                  </a:lnTo>
                  <a:lnTo>
                    <a:pt x="107" y="111"/>
                  </a:lnTo>
                  <a:lnTo>
                    <a:pt x="120" y="107"/>
                  </a:lnTo>
                  <a:lnTo>
                    <a:pt x="133" y="94"/>
                  </a:lnTo>
                  <a:lnTo>
                    <a:pt x="150" y="100"/>
                  </a:lnTo>
                  <a:lnTo>
                    <a:pt x="156" y="92"/>
                  </a:lnTo>
                  <a:lnTo>
                    <a:pt x="158" y="111"/>
                  </a:lnTo>
                  <a:lnTo>
                    <a:pt x="158" y="111"/>
                  </a:lnTo>
                  <a:lnTo>
                    <a:pt x="167" y="103"/>
                  </a:lnTo>
                  <a:lnTo>
                    <a:pt x="165" y="94"/>
                  </a:lnTo>
                  <a:lnTo>
                    <a:pt x="191" y="92"/>
                  </a:lnTo>
                  <a:lnTo>
                    <a:pt x="206" y="96"/>
                  </a:lnTo>
                  <a:lnTo>
                    <a:pt x="229" y="88"/>
                  </a:lnTo>
                  <a:lnTo>
                    <a:pt x="255" y="88"/>
                  </a:lnTo>
                  <a:lnTo>
                    <a:pt x="261" y="83"/>
                  </a:lnTo>
                  <a:lnTo>
                    <a:pt x="289" y="86"/>
                  </a:lnTo>
                  <a:lnTo>
                    <a:pt x="274" y="47"/>
                  </a:lnTo>
                  <a:lnTo>
                    <a:pt x="279" y="38"/>
                  </a:lnTo>
                  <a:lnTo>
                    <a:pt x="279" y="38"/>
                  </a:lnTo>
                  <a:lnTo>
                    <a:pt x="268" y="30"/>
                  </a:lnTo>
                  <a:lnTo>
                    <a:pt x="257" y="17"/>
                  </a:lnTo>
                  <a:lnTo>
                    <a:pt x="257" y="17"/>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92" name="Freeform 5700"/>
            <p:cNvSpPr>
              <a:spLocks/>
            </p:cNvSpPr>
            <p:nvPr>
              <p:custDataLst>
                <p:tags r:id="rId70"/>
              </p:custDataLst>
            </p:nvPr>
          </p:nvSpPr>
          <p:spPr bwMode="gray">
            <a:xfrm>
              <a:off x="7313065" y="3479486"/>
              <a:ext cx="129592" cy="113041"/>
            </a:xfrm>
            <a:custGeom>
              <a:avLst/>
              <a:gdLst/>
              <a:ahLst/>
              <a:cxnLst>
                <a:cxn ang="0">
                  <a:pos x="101" y="0"/>
                </a:cxn>
                <a:cxn ang="0">
                  <a:pos x="75" y="0"/>
                </a:cxn>
                <a:cxn ang="0">
                  <a:pos x="52" y="8"/>
                </a:cxn>
                <a:cxn ang="0">
                  <a:pos x="37" y="4"/>
                </a:cxn>
                <a:cxn ang="0">
                  <a:pos x="11" y="6"/>
                </a:cxn>
                <a:cxn ang="0">
                  <a:pos x="13" y="15"/>
                </a:cxn>
                <a:cxn ang="0">
                  <a:pos x="4" y="23"/>
                </a:cxn>
                <a:cxn ang="0">
                  <a:pos x="4" y="23"/>
                </a:cxn>
                <a:cxn ang="0">
                  <a:pos x="4" y="51"/>
                </a:cxn>
                <a:cxn ang="0">
                  <a:pos x="15" y="53"/>
                </a:cxn>
                <a:cxn ang="0">
                  <a:pos x="2" y="73"/>
                </a:cxn>
                <a:cxn ang="0">
                  <a:pos x="0" y="83"/>
                </a:cxn>
                <a:cxn ang="0">
                  <a:pos x="15" y="88"/>
                </a:cxn>
                <a:cxn ang="0">
                  <a:pos x="49" y="70"/>
                </a:cxn>
                <a:cxn ang="0">
                  <a:pos x="84" y="49"/>
                </a:cxn>
                <a:cxn ang="0">
                  <a:pos x="84" y="13"/>
                </a:cxn>
                <a:cxn ang="0">
                  <a:pos x="101" y="0"/>
                </a:cxn>
                <a:cxn ang="0">
                  <a:pos x="101" y="0"/>
                </a:cxn>
                <a:cxn ang="0">
                  <a:pos x="101" y="0"/>
                </a:cxn>
              </a:cxnLst>
              <a:rect l="0" t="0" r="r" b="b"/>
              <a:pathLst>
                <a:path w="101" h="88">
                  <a:moveTo>
                    <a:pt x="101" y="0"/>
                  </a:moveTo>
                  <a:lnTo>
                    <a:pt x="75" y="0"/>
                  </a:lnTo>
                  <a:lnTo>
                    <a:pt x="52" y="8"/>
                  </a:lnTo>
                  <a:lnTo>
                    <a:pt x="37" y="4"/>
                  </a:lnTo>
                  <a:lnTo>
                    <a:pt x="11" y="6"/>
                  </a:lnTo>
                  <a:lnTo>
                    <a:pt x="13" y="15"/>
                  </a:lnTo>
                  <a:lnTo>
                    <a:pt x="4" y="23"/>
                  </a:lnTo>
                  <a:lnTo>
                    <a:pt x="4" y="23"/>
                  </a:lnTo>
                  <a:lnTo>
                    <a:pt x="4" y="51"/>
                  </a:lnTo>
                  <a:lnTo>
                    <a:pt x="15" y="53"/>
                  </a:lnTo>
                  <a:lnTo>
                    <a:pt x="2" y="73"/>
                  </a:lnTo>
                  <a:lnTo>
                    <a:pt x="0" y="83"/>
                  </a:lnTo>
                  <a:lnTo>
                    <a:pt x="15" y="88"/>
                  </a:lnTo>
                  <a:lnTo>
                    <a:pt x="49" y="70"/>
                  </a:lnTo>
                  <a:lnTo>
                    <a:pt x="84" y="49"/>
                  </a:lnTo>
                  <a:lnTo>
                    <a:pt x="84" y="13"/>
                  </a:lnTo>
                  <a:lnTo>
                    <a:pt x="101" y="0"/>
                  </a:lnTo>
                  <a:lnTo>
                    <a:pt x="101" y="0"/>
                  </a:lnTo>
                  <a:lnTo>
                    <a:pt x="101"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93" name="Freeform 5701"/>
            <p:cNvSpPr>
              <a:spLocks/>
            </p:cNvSpPr>
            <p:nvPr>
              <p:custDataLst>
                <p:tags r:id="rId71"/>
              </p:custDataLst>
            </p:nvPr>
          </p:nvSpPr>
          <p:spPr bwMode="gray">
            <a:xfrm>
              <a:off x="7302800" y="3569406"/>
              <a:ext cx="84684" cy="97627"/>
            </a:xfrm>
            <a:custGeom>
              <a:avLst/>
              <a:gdLst/>
              <a:ahLst/>
              <a:cxnLst>
                <a:cxn ang="0">
                  <a:pos x="8" y="13"/>
                </a:cxn>
                <a:cxn ang="0">
                  <a:pos x="23" y="18"/>
                </a:cxn>
                <a:cxn ang="0">
                  <a:pos x="57" y="0"/>
                </a:cxn>
                <a:cxn ang="0">
                  <a:pos x="66" y="22"/>
                </a:cxn>
                <a:cxn ang="0">
                  <a:pos x="34" y="35"/>
                </a:cxn>
                <a:cxn ang="0">
                  <a:pos x="49" y="52"/>
                </a:cxn>
                <a:cxn ang="0">
                  <a:pos x="40" y="63"/>
                </a:cxn>
                <a:cxn ang="0">
                  <a:pos x="30" y="63"/>
                </a:cxn>
                <a:cxn ang="0">
                  <a:pos x="21" y="76"/>
                </a:cxn>
                <a:cxn ang="0">
                  <a:pos x="4" y="75"/>
                </a:cxn>
                <a:cxn ang="0">
                  <a:pos x="4" y="75"/>
                </a:cxn>
                <a:cxn ang="0">
                  <a:pos x="8" y="41"/>
                </a:cxn>
                <a:cxn ang="0">
                  <a:pos x="0" y="26"/>
                </a:cxn>
                <a:cxn ang="0">
                  <a:pos x="8" y="13"/>
                </a:cxn>
                <a:cxn ang="0">
                  <a:pos x="8" y="13"/>
                </a:cxn>
              </a:cxnLst>
              <a:rect l="0" t="0" r="r" b="b"/>
              <a:pathLst>
                <a:path w="66" h="76">
                  <a:moveTo>
                    <a:pt x="8" y="13"/>
                  </a:moveTo>
                  <a:lnTo>
                    <a:pt x="23" y="18"/>
                  </a:lnTo>
                  <a:lnTo>
                    <a:pt x="57" y="0"/>
                  </a:lnTo>
                  <a:lnTo>
                    <a:pt x="66" y="22"/>
                  </a:lnTo>
                  <a:lnTo>
                    <a:pt x="34" y="35"/>
                  </a:lnTo>
                  <a:lnTo>
                    <a:pt x="49" y="52"/>
                  </a:lnTo>
                  <a:lnTo>
                    <a:pt x="40" y="63"/>
                  </a:lnTo>
                  <a:lnTo>
                    <a:pt x="30" y="63"/>
                  </a:lnTo>
                  <a:lnTo>
                    <a:pt x="21" y="76"/>
                  </a:lnTo>
                  <a:lnTo>
                    <a:pt x="4" y="75"/>
                  </a:lnTo>
                  <a:lnTo>
                    <a:pt x="4" y="75"/>
                  </a:lnTo>
                  <a:lnTo>
                    <a:pt x="8" y="41"/>
                  </a:lnTo>
                  <a:lnTo>
                    <a:pt x="0" y="26"/>
                  </a:lnTo>
                  <a:lnTo>
                    <a:pt x="8" y="13"/>
                  </a:lnTo>
                  <a:lnTo>
                    <a:pt x="8" y="1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94" name="Freeform 5702"/>
            <p:cNvSpPr>
              <a:spLocks/>
            </p:cNvSpPr>
            <p:nvPr>
              <p:custDataLst>
                <p:tags r:id="rId72"/>
              </p:custDataLst>
            </p:nvPr>
          </p:nvSpPr>
          <p:spPr bwMode="gray">
            <a:xfrm>
              <a:off x="7375936" y="3473064"/>
              <a:ext cx="206578" cy="196538"/>
            </a:xfrm>
            <a:custGeom>
              <a:avLst/>
              <a:gdLst/>
              <a:ahLst/>
              <a:cxnLst>
                <a:cxn ang="0">
                  <a:pos x="86" y="3"/>
                </a:cxn>
                <a:cxn ang="0">
                  <a:pos x="112" y="39"/>
                </a:cxn>
                <a:cxn ang="0">
                  <a:pos x="103" y="63"/>
                </a:cxn>
                <a:cxn ang="0">
                  <a:pos x="114" y="80"/>
                </a:cxn>
                <a:cxn ang="0">
                  <a:pos x="134" y="91"/>
                </a:cxn>
                <a:cxn ang="0">
                  <a:pos x="144" y="118"/>
                </a:cxn>
                <a:cxn ang="0">
                  <a:pos x="161" y="136"/>
                </a:cxn>
                <a:cxn ang="0">
                  <a:pos x="159" y="138"/>
                </a:cxn>
                <a:cxn ang="0">
                  <a:pos x="159" y="138"/>
                </a:cxn>
                <a:cxn ang="0">
                  <a:pos x="142" y="138"/>
                </a:cxn>
                <a:cxn ang="0">
                  <a:pos x="131" y="153"/>
                </a:cxn>
                <a:cxn ang="0">
                  <a:pos x="131" y="153"/>
                </a:cxn>
                <a:cxn ang="0">
                  <a:pos x="112" y="148"/>
                </a:cxn>
                <a:cxn ang="0">
                  <a:pos x="103" y="151"/>
                </a:cxn>
                <a:cxn ang="0">
                  <a:pos x="82" y="142"/>
                </a:cxn>
                <a:cxn ang="0">
                  <a:pos x="80" y="131"/>
                </a:cxn>
                <a:cxn ang="0">
                  <a:pos x="69" y="123"/>
                </a:cxn>
                <a:cxn ang="0">
                  <a:pos x="33" y="103"/>
                </a:cxn>
                <a:cxn ang="0">
                  <a:pos x="9" y="97"/>
                </a:cxn>
                <a:cxn ang="0">
                  <a:pos x="0" y="75"/>
                </a:cxn>
                <a:cxn ang="0">
                  <a:pos x="35" y="54"/>
                </a:cxn>
                <a:cxn ang="0">
                  <a:pos x="35" y="18"/>
                </a:cxn>
                <a:cxn ang="0">
                  <a:pos x="52" y="5"/>
                </a:cxn>
                <a:cxn ang="0">
                  <a:pos x="58" y="0"/>
                </a:cxn>
                <a:cxn ang="0">
                  <a:pos x="86" y="3"/>
                </a:cxn>
                <a:cxn ang="0">
                  <a:pos x="86" y="3"/>
                </a:cxn>
              </a:cxnLst>
              <a:rect l="0" t="0" r="r" b="b"/>
              <a:pathLst>
                <a:path w="161" h="153">
                  <a:moveTo>
                    <a:pt x="86" y="3"/>
                  </a:moveTo>
                  <a:lnTo>
                    <a:pt x="112" y="39"/>
                  </a:lnTo>
                  <a:lnTo>
                    <a:pt x="103" y="63"/>
                  </a:lnTo>
                  <a:lnTo>
                    <a:pt x="114" y="80"/>
                  </a:lnTo>
                  <a:lnTo>
                    <a:pt x="134" y="91"/>
                  </a:lnTo>
                  <a:lnTo>
                    <a:pt x="144" y="118"/>
                  </a:lnTo>
                  <a:lnTo>
                    <a:pt x="161" y="136"/>
                  </a:lnTo>
                  <a:lnTo>
                    <a:pt x="159" y="138"/>
                  </a:lnTo>
                  <a:lnTo>
                    <a:pt x="159" y="138"/>
                  </a:lnTo>
                  <a:lnTo>
                    <a:pt x="142" y="138"/>
                  </a:lnTo>
                  <a:lnTo>
                    <a:pt x="131" y="153"/>
                  </a:lnTo>
                  <a:lnTo>
                    <a:pt x="131" y="153"/>
                  </a:lnTo>
                  <a:lnTo>
                    <a:pt x="112" y="148"/>
                  </a:lnTo>
                  <a:lnTo>
                    <a:pt x="103" y="151"/>
                  </a:lnTo>
                  <a:lnTo>
                    <a:pt x="82" y="142"/>
                  </a:lnTo>
                  <a:lnTo>
                    <a:pt x="80" y="131"/>
                  </a:lnTo>
                  <a:lnTo>
                    <a:pt x="69" y="123"/>
                  </a:lnTo>
                  <a:lnTo>
                    <a:pt x="33" y="103"/>
                  </a:lnTo>
                  <a:lnTo>
                    <a:pt x="9" y="97"/>
                  </a:lnTo>
                  <a:lnTo>
                    <a:pt x="0" y="75"/>
                  </a:lnTo>
                  <a:lnTo>
                    <a:pt x="35" y="54"/>
                  </a:lnTo>
                  <a:lnTo>
                    <a:pt x="35" y="18"/>
                  </a:lnTo>
                  <a:lnTo>
                    <a:pt x="52" y="5"/>
                  </a:lnTo>
                  <a:lnTo>
                    <a:pt x="58" y="0"/>
                  </a:lnTo>
                  <a:lnTo>
                    <a:pt x="86" y="3"/>
                  </a:lnTo>
                  <a:lnTo>
                    <a:pt x="86" y="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95" name="Freeform 5703"/>
            <p:cNvSpPr>
              <a:spLocks/>
            </p:cNvSpPr>
            <p:nvPr>
              <p:custDataLst>
                <p:tags r:id="rId73"/>
              </p:custDataLst>
            </p:nvPr>
          </p:nvSpPr>
          <p:spPr bwMode="gray">
            <a:xfrm>
              <a:off x="7302800" y="3544999"/>
              <a:ext cx="29511" cy="30829"/>
            </a:xfrm>
            <a:custGeom>
              <a:avLst/>
              <a:gdLst/>
              <a:ahLst/>
              <a:cxnLst>
                <a:cxn ang="0">
                  <a:pos x="12" y="0"/>
                </a:cxn>
                <a:cxn ang="0">
                  <a:pos x="23" y="2"/>
                </a:cxn>
                <a:cxn ang="0">
                  <a:pos x="10" y="22"/>
                </a:cxn>
                <a:cxn ang="0">
                  <a:pos x="0" y="24"/>
                </a:cxn>
                <a:cxn ang="0">
                  <a:pos x="12" y="0"/>
                </a:cxn>
                <a:cxn ang="0">
                  <a:pos x="12" y="0"/>
                </a:cxn>
              </a:cxnLst>
              <a:rect l="0" t="0" r="r" b="b"/>
              <a:pathLst>
                <a:path w="23" h="24">
                  <a:moveTo>
                    <a:pt x="12" y="0"/>
                  </a:moveTo>
                  <a:lnTo>
                    <a:pt x="23" y="2"/>
                  </a:lnTo>
                  <a:lnTo>
                    <a:pt x="10" y="22"/>
                  </a:lnTo>
                  <a:lnTo>
                    <a:pt x="0" y="24"/>
                  </a:lnTo>
                  <a:lnTo>
                    <a:pt x="12" y="0"/>
                  </a:lnTo>
                  <a:lnTo>
                    <a:pt x="12"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96" name="Freeform 5704"/>
            <p:cNvSpPr>
              <a:spLocks/>
            </p:cNvSpPr>
            <p:nvPr>
              <p:custDataLst>
                <p:tags r:id="rId74"/>
              </p:custDataLst>
            </p:nvPr>
          </p:nvSpPr>
          <p:spPr bwMode="gray">
            <a:xfrm>
              <a:off x="7288686" y="3573259"/>
              <a:ext cx="26945" cy="92488"/>
            </a:xfrm>
            <a:custGeom>
              <a:avLst/>
              <a:gdLst/>
              <a:ahLst/>
              <a:cxnLst>
                <a:cxn ang="0">
                  <a:pos x="19" y="10"/>
                </a:cxn>
                <a:cxn ang="0">
                  <a:pos x="11" y="23"/>
                </a:cxn>
                <a:cxn ang="0">
                  <a:pos x="19" y="38"/>
                </a:cxn>
                <a:cxn ang="0">
                  <a:pos x="15" y="72"/>
                </a:cxn>
                <a:cxn ang="0">
                  <a:pos x="15" y="72"/>
                </a:cxn>
                <a:cxn ang="0">
                  <a:pos x="0" y="36"/>
                </a:cxn>
                <a:cxn ang="0">
                  <a:pos x="4" y="32"/>
                </a:cxn>
                <a:cxn ang="0">
                  <a:pos x="11" y="2"/>
                </a:cxn>
                <a:cxn ang="0">
                  <a:pos x="21" y="0"/>
                </a:cxn>
                <a:cxn ang="0">
                  <a:pos x="19" y="10"/>
                </a:cxn>
                <a:cxn ang="0">
                  <a:pos x="19" y="10"/>
                </a:cxn>
              </a:cxnLst>
              <a:rect l="0" t="0" r="r" b="b"/>
              <a:pathLst>
                <a:path w="21" h="72">
                  <a:moveTo>
                    <a:pt x="19" y="10"/>
                  </a:moveTo>
                  <a:lnTo>
                    <a:pt x="11" y="23"/>
                  </a:lnTo>
                  <a:lnTo>
                    <a:pt x="19" y="38"/>
                  </a:lnTo>
                  <a:lnTo>
                    <a:pt x="15" y="72"/>
                  </a:lnTo>
                  <a:lnTo>
                    <a:pt x="15" y="72"/>
                  </a:lnTo>
                  <a:lnTo>
                    <a:pt x="0" y="36"/>
                  </a:lnTo>
                  <a:lnTo>
                    <a:pt x="4" y="32"/>
                  </a:lnTo>
                  <a:lnTo>
                    <a:pt x="11" y="2"/>
                  </a:lnTo>
                  <a:lnTo>
                    <a:pt x="21" y="0"/>
                  </a:lnTo>
                  <a:lnTo>
                    <a:pt x="19" y="10"/>
                  </a:lnTo>
                  <a:lnTo>
                    <a:pt x="19" y="1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97" name="Freeform 5705"/>
            <p:cNvSpPr>
              <a:spLocks/>
            </p:cNvSpPr>
            <p:nvPr>
              <p:custDataLst>
                <p:tags r:id="rId75"/>
              </p:custDataLst>
            </p:nvPr>
          </p:nvSpPr>
          <p:spPr bwMode="gray">
            <a:xfrm>
              <a:off x="7101355" y="3607942"/>
              <a:ext cx="228390" cy="232505"/>
            </a:xfrm>
            <a:custGeom>
              <a:avLst/>
              <a:gdLst/>
              <a:ahLst/>
              <a:cxnLst>
                <a:cxn ang="0">
                  <a:pos x="146" y="9"/>
                </a:cxn>
                <a:cxn ang="0">
                  <a:pos x="124" y="13"/>
                </a:cxn>
                <a:cxn ang="0">
                  <a:pos x="118" y="9"/>
                </a:cxn>
                <a:cxn ang="0">
                  <a:pos x="116" y="16"/>
                </a:cxn>
                <a:cxn ang="0">
                  <a:pos x="109" y="13"/>
                </a:cxn>
                <a:cxn ang="0">
                  <a:pos x="111" y="5"/>
                </a:cxn>
                <a:cxn ang="0">
                  <a:pos x="99" y="5"/>
                </a:cxn>
                <a:cxn ang="0">
                  <a:pos x="67" y="16"/>
                </a:cxn>
                <a:cxn ang="0">
                  <a:pos x="34" y="5"/>
                </a:cxn>
                <a:cxn ang="0">
                  <a:pos x="6" y="5"/>
                </a:cxn>
                <a:cxn ang="0">
                  <a:pos x="4" y="0"/>
                </a:cxn>
                <a:cxn ang="0">
                  <a:pos x="0" y="35"/>
                </a:cxn>
                <a:cxn ang="0">
                  <a:pos x="6" y="56"/>
                </a:cxn>
                <a:cxn ang="0">
                  <a:pos x="9" y="178"/>
                </a:cxn>
                <a:cxn ang="0">
                  <a:pos x="9" y="178"/>
                </a:cxn>
                <a:cxn ang="0">
                  <a:pos x="141" y="178"/>
                </a:cxn>
                <a:cxn ang="0">
                  <a:pos x="154" y="181"/>
                </a:cxn>
                <a:cxn ang="0">
                  <a:pos x="178" y="159"/>
                </a:cxn>
                <a:cxn ang="0">
                  <a:pos x="176" y="144"/>
                </a:cxn>
                <a:cxn ang="0">
                  <a:pos x="126" y="50"/>
                </a:cxn>
                <a:cxn ang="0">
                  <a:pos x="120" y="35"/>
                </a:cxn>
                <a:cxn ang="0">
                  <a:pos x="124" y="31"/>
                </a:cxn>
                <a:cxn ang="0">
                  <a:pos x="139" y="61"/>
                </a:cxn>
                <a:cxn ang="0">
                  <a:pos x="150" y="74"/>
                </a:cxn>
                <a:cxn ang="0">
                  <a:pos x="161" y="45"/>
                </a:cxn>
                <a:cxn ang="0">
                  <a:pos x="146" y="9"/>
                </a:cxn>
                <a:cxn ang="0">
                  <a:pos x="146" y="9"/>
                </a:cxn>
              </a:cxnLst>
              <a:rect l="0" t="0" r="r" b="b"/>
              <a:pathLst>
                <a:path w="178" h="181">
                  <a:moveTo>
                    <a:pt x="146" y="9"/>
                  </a:moveTo>
                  <a:lnTo>
                    <a:pt x="124" y="13"/>
                  </a:lnTo>
                  <a:lnTo>
                    <a:pt x="118" y="9"/>
                  </a:lnTo>
                  <a:lnTo>
                    <a:pt x="116" y="16"/>
                  </a:lnTo>
                  <a:lnTo>
                    <a:pt x="109" y="13"/>
                  </a:lnTo>
                  <a:lnTo>
                    <a:pt x="111" y="5"/>
                  </a:lnTo>
                  <a:lnTo>
                    <a:pt x="99" y="5"/>
                  </a:lnTo>
                  <a:lnTo>
                    <a:pt x="67" y="16"/>
                  </a:lnTo>
                  <a:lnTo>
                    <a:pt x="34" y="5"/>
                  </a:lnTo>
                  <a:lnTo>
                    <a:pt x="6" y="5"/>
                  </a:lnTo>
                  <a:lnTo>
                    <a:pt x="4" y="0"/>
                  </a:lnTo>
                  <a:lnTo>
                    <a:pt x="0" y="35"/>
                  </a:lnTo>
                  <a:lnTo>
                    <a:pt x="6" y="56"/>
                  </a:lnTo>
                  <a:lnTo>
                    <a:pt x="9" y="178"/>
                  </a:lnTo>
                  <a:lnTo>
                    <a:pt x="9" y="178"/>
                  </a:lnTo>
                  <a:lnTo>
                    <a:pt x="141" y="178"/>
                  </a:lnTo>
                  <a:lnTo>
                    <a:pt x="154" y="181"/>
                  </a:lnTo>
                  <a:lnTo>
                    <a:pt x="178" y="159"/>
                  </a:lnTo>
                  <a:lnTo>
                    <a:pt x="176" y="144"/>
                  </a:lnTo>
                  <a:lnTo>
                    <a:pt x="126" y="50"/>
                  </a:lnTo>
                  <a:lnTo>
                    <a:pt x="120" y="35"/>
                  </a:lnTo>
                  <a:lnTo>
                    <a:pt x="124" y="31"/>
                  </a:lnTo>
                  <a:lnTo>
                    <a:pt x="139" y="61"/>
                  </a:lnTo>
                  <a:lnTo>
                    <a:pt x="150" y="74"/>
                  </a:lnTo>
                  <a:lnTo>
                    <a:pt x="161" y="45"/>
                  </a:lnTo>
                  <a:lnTo>
                    <a:pt x="146" y="9"/>
                  </a:lnTo>
                  <a:lnTo>
                    <a:pt x="146" y="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98" name="Freeform 5706"/>
            <p:cNvSpPr>
              <a:spLocks/>
            </p:cNvSpPr>
            <p:nvPr>
              <p:custDataLst>
                <p:tags r:id="rId76"/>
              </p:custDataLst>
            </p:nvPr>
          </p:nvSpPr>
          <p:spPr bwMode="gray">
            <a:xfrm>
              <a:off x="7286120" y="3931651"/>
              <a:ext cx="310508" cy="344262"/>
            </a:xfrm>
            <a:custGeom>
              <a:avLst/>
              <a:gdLst/>
              <a:ahLst/>
              <a:cxnLst>
                <a:cxn ang="0">
                  <a:pos x="60" y="248"/>
                </a:cxn>
                <a:cxn ang="0">
                  <a:pos x="79" y="265"/>
                </a:cxn>
                <a:cxn ang="0">
                  <a:pos x="98" y="268"/>
                </a:cxn>
                <a:cxn ang="0">
                  <a:pos x="128" y="255"/>
                </a:cxn>
                <a:cxn ang="0">
                  <a:pos x="144" y="261"/>
                </a:cxn>
                <a:cxn ang="0">
                  <a:pos x="144" y="261"/>
                </a:cxn>
                <a:cxn ang="0">
                  <a:pos x="174" y="242"/>
                </a:cxn>
                <a:cxn ang="0">
                  <a:pos x="197" y="240"/>
                </a:cxn>
                <a:cxn ang="0">
                  <a:pos x="242" y="186"/>
                </a:cxn>
                <a:cxn ang="0">
                  <a:pos x="229" y="186"/>
                </a:cxn>
                <a:cxn ang="0">
                  <a:pos x="178" y="165"/>
                </a:cxn>
                <a:cxn ang="0">
                  <a:pos x="159" y="143"/>
                </a:cxn>
                <a:cxn ang="0">
                  <a:pos x="159" y="133"/>
                </a:cxn>
                <a:cxn ang="0">
                  <a:pos x="159" y="132"/>
                </a:cxn>
                <a:cxn ang="0">
                  <a:pos x="143" y="132"/>
                </a:cxn>
                <a:cxn ang="0">
                  <a:pos x="143" y="126"/>
                </a:cxn>
                <a:cxn ang="0">
                  <a:pos x="148" y="107"/>
                </a:cxn>
                <a:cxn ang="0">
                  <a:pos x="158" y="100"/>
                </a:cxn>
                <a:cxn ang="0">
                  <a:pos x="158" y="98"/>
                </a:cxn>
                <a:cxn ang="0">
                  <a:pos x="130" y="64"/>
                </a:cxn>
                <a:cxn ang="0">
                  <a:pos x="101" y="45"/>
                </a:cxn>
                <a:cxn ang="0">
                  <a:pos x="85" y="0"/>
                </a:cxn>
                <a:cxn ang="0">
                  <a:pos x="79" y="10"/>
                </a:cxn>
                <a:cxn ang="0">
                  <a:pos x="60" y="21"/>
                </a:cxn>
                <a:cxn ang="0">
                  <a:pos x="49" y="94"/>
                </a:cxn>
                <a:cxn ang="0">
                  <a:pos x="21" y="141"/>
                </a:cxn>
                <a:cxn ang="0">
                  <a:pos x="19" y="175"/>
                </a:cxn>
                <a:cxn ang="0">
                  <a:pos x="6" y="178"/>
                </a:cxn>
                <a:cxn ang="0">
                  <a:pos x="0" y="188"/>
                </a:cxn>
                <a:cxn ang="0">
                  <a:pos x="17" y="197"/>
                </a:cxn>
                <a:cxn ang="0">
                  <a:pos x="34" y="231"/>
                </a:cxn>
                <a:cxn ang="0">
                  <a:pos x="47" y="235"/>
                </a:cxn>
                <a:cxn ang="0">
                  <a:pos x="47" y="248"/>
                </a:cxn>
                <a:cxn ang="0">
                  <a:pos x="60" y="248"/>
                </a:cxn>
                <a:cxn ang="0">
                  <a:pos x="60" y="248"/>
                </a:cxn>
              </a:cxnLst>
              <a:rect l="0" t="0" r="r" b="b"/>
              <a:pathLst>
                <a:path w="242" h="268">
                  <a:moveTo>
                    <a:pt x="60" y="248"/>
                  </a:moveTo>
                  <a:lnTo>
                    <a:pt x="79" y="265"/>
                  </a:lnTo>
                  <a:lnTo>
                    <a:pt x="98" y="268"/>
                  </a:lnTo>
                  <a:lnTo>
                    <a:pt x="128" y="255"/>
                  </a:lnTo>
                  <a:lnTo>
                    <a:pt x="144" y="261"/>
                  </a:lnTo>
                  <a:lnTo>
                    <a:pt x="144" y="261"/>
                  </a:lnTo>
                  <a:lnTo>
                    <a:pt x="174" y="242"/>
                  </a:lnTo>
                  <a:lnTo>
                    <a:pt x="197" y="240"/>
                  </a:lnTo>
                  <a:lnTo>
                    <a:pt x="242" y="186"/>
                  </a:lnTo>
                  <a:lnTo>
                    <a:pt x="229" y="186"/>
                  </a:lnTo>
                  <a:lnTo>
                    <a:pt x="178" y="165"/>
                  </a:lnTo>
                  <a:lnTo>
                    <a:pt x="159" y="143"/>
                  </a:lnTo>
                  <a:lnTo>
                    <a:pt x="159" y="133"/>
                  </a:lnTo>
                  <a:lnTo>
                    <a:pt x="159" y="132"/>
                  </a:lnTo>
                  <a:lnTo>
                    <a:pt x="143" y="132"/>
                  </a:lnTo>
                  <a:lnTo>
                    <a:pt x="143" y="126"/>
                  </a:lnTo>
                  <a:lnTo>
                    <a:pt x="148" y="107"/>
                  </a:lnTo>
                  <a:lnTo>
                    <a:pt x="158" y="100"/>
                  </a:lnTo>
                  <a:lnTo>
                    <a:pt x="158" y="98"/>
                  </a:lnTo>
                  <a:lnTo>
                    <a:pt x="130" y="64"/>
                  </a:lnTo>
                  <a:lnTo>
                    <a:pt x="101" y="45"/>
                  </a:lnTo>
                  <a:lnTo>
                    <a:pt x="85" y="0"/>
                  </a:lnTo>
                  <a:lnTo>
                    <a:pt x="79" y="10"/>
                  </a:lnTo>
                  <a:lnTo>
                    <a:pt x="60" y="21"/>
                  </a:lnTo>
                  <a:lnTo>
                    <a:pt x="49" y="94"/>
                  </a:lnTo>
                  <a:lnTo>
                    <a:pt x="21" y="141"/>
                  </a:lnTo>
                  <a:lnTo>
                    <a:pt x="19" y="175"/>
                  </a:lnTo>
                  <a:lnTo>
                    <a:pt x="6" y="178"/>
                  </a:lnTo>
                  <a:lnTo>
                    <a:pt x="0" y="188"/>
                  </a:lnTo>
                  <a:lnTo>
                    <a:pt x="17" y="197"/>
                  </a:lnTo>
                  <a:lnTo>
                    <a:pt x="34" y="231"/>
                  </a:lnTo>
                  <a:lnTo>
                    <a:pt x="47" y="235"/>
                  </a:lnTo>
                  <a:lnTo>
                    <a:pt x="47" y="248"/>
                  </a:lnTo>
                  <a:lnTo>
                    <a:pt x="60" y="248"/>
                  </a:lnTo>
                  <a:lnTo>
                    <a:pt x="60" y="24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599" name="Freeform 5707"/>
            <p:cNvSpPr>
              <a:spLocks/>
            </p:cNvSpPr>
            <p:nvPr>
              <p:custDataLst>
                <p:tags r:id="rId77"/>
              </p:custDataLst>
            </p:nvPr>
          </p:nvSpPr>
          <p:spPr bwMode="gray">
            <a:xfrm>
              <a:off x="7039288" y="4532923"/>
              <a:ext cx="243788" cy="233790"/>
            </a:xfrm>
            <a:custGeom>
              <a:avLst/>
              <a:gdLst/>
              <a:ahLst/>
              <a:cxnLst>
                <a:cxn ang="0">
                  <a:pos x="115" y="140"/>
                </a:cxn>
                <a:cxn ang="0">
                  <a:pos x="105" y="157"/>
                </a:cxn>
                <a:cxn ang="0">
                  <a:pos x="75" y="182"/>
                </a:cxn>
                <a:cxn ang="0">
                  <a:pos x="49" y="178"/>
                </a:cxn>
                <a:cxn ang="0">
                  <a:pos x="49" y="178"/>
                </a:cxn>
                <a:cxn ang="0">
                  <a:pos x="32" y="170"/>
                </a:cxn>
                <a:cxn ang="0">
                  <a:pos x="17" y="174"/>
                </a:cxn>
                <a:cxn ang="0">
                  <a:pos x="0" y="155"/>
                </a:cxn>
                <a:cxn ang="0">
                  <a:pos x="0" y="92"/>
                </a:cxn>
                <a:cxn ang="0">
                  <a:pos x="34" y="88"/>
                </a:cxn>
                <a:cxn ang="0">
                  <a:pos x="32" y="86"/>
                </a:cxn>
                <a:cxn ang="0">
                  <a:pos x="34" y="49"/>
                </a:cxn>
                <a:cxn ang="0">
                  <a:pos x="66" y="67"/>
                </a:cxn>
                <a:cxn ang="0">
                  <a:pos x="81" y="65"/>
                </a:cxn>
                <a:cxn ang="0">
                  <a:pos x="107" y="88"/>
                </a:cxn>
                <a:cxn ang="0">
                  <a:pos x="120" y="92"/>
                </a:cxn>
                <a:cxn ang="0">
                  <a:pos x="124" y="73"/>
                </a:cxn>
                <a:cxn ang="0">
                  <a:pos x="113" y="75"/>
                </a:cxn>
                <a:cxn ang="0">
                  <a:pos x="107" y="67"/>
                </a:cxn>
                <a:cxn ang="0">
                  <a:pos x="111" y="17"/>
                </a:cxn>
                <a:cxn ang="0">
                  <a:pos x="115" y="7"/>
                </a:cxn>
                <a:cxn ang="0">
                  <a:pos x="139" y="0"/>
                </a:cxn>
                <a:cxn ang="0">
                  <a:pos x="145" y="0"/>
                </a:cxn>
                <a:cxn ang="0">
                  <a:pos x="150" y="7"/>
                </a:cxn>
                <a:cxn ang="0">
                  <a:pos x="150" y="7"/>
                </a:cxn>
                <a:cxn ang="0">
                  <a:pos x="180" y="22"/>
                </a:cxn>
                <a:cxn ang="0">
                  <a:pos x="190" y="47"/>
                </a:cxn>
                <a:cxn ang="0">
                  <a:pos x="184" y="62"/>
                </a:cxn>
                <a:cxn ang="0">
                  <a:pos x="186" y="77"/>
                </a:cxn>
                <a:cxn ang="0">
                  <a:pos x="175" y="101"/>
                </a:cxn>
                <a:cxn ang="0">
                  <a:pos x="180" y="108"/>
                </a:cxn>
                <a:cxn ang="0">
                  <a:pos x="132" y="127"/>
                </a:cxn>
                <a:cxn ang="0">
                  <a:pos x="133" y="137"/>
                </a:cxn>
                <a:cxn ang="0">
                  <a:pos x="115" y="140"/>
                </a:cxn>
                <a:cxn ang="0">
                  <a:pos x="115" y="140"/>
                </a:cxn>
              </a:cxnLst>
              <a:rect l="0" t="0" r="r" b="b"/>
              <a:pathLst>
                <a:path w="190" h="182">
                  <a:moveTo>
                    <a:pt x="115" y="140"/>
                  </a:moveTo>
                  <a:lnTo>
                    <a:pt x="105" y="157"/>
                  </a:lnTo>
                  <a:lnTo>
                    <a:pt x="75" y="182"/>
                  </a:lnTo>
                  <a:lnTo>
                    <a:pt x="49" y="178"/>
                  </a:lnTo>
                  <a:lnTo>
                    <a:pt x="49" y="178"/>
                  </a:lnTo>
                  <a:lnTo>
                    <a:pt x="32" y="170"/>
                  </a:lnTo>
                  <a:lnTo>
                    <a:pt x="17" y="174"/>
                  </a:lnTo>
                  <a:lnTo>
                    <a:pt x="0" y="155"/>
                  </a:lnTo>
                  <a:lnTo>
                    <a:pt x="0" y="92"/>
                  </a:lnTo>
                  <a:lnTo>
                    <a:pt x="34" y="88"/>
                  </a:lnTo>
                  <a:lnTo>
                    <a:pt x="32" y="86"/>
                  </a:lnTo>
                  <a:lnTo>
                    <a:pt x="34" y="49"/>
                  </a:lnTo>
                  <a:lnTo>
                    <a:pt x="66" y="67"/>
                  </a:lnTo>
                  <a:lnTo>
                    <a:pt x="81" y="65"/>
                  </a:lnTo>
                  <a:lnTo>
                    <a:pt x="107" y="88"/>
                  </a:lnTo>
                  <a:lnTo>
                    <a:pt x="120" y="92"/>
                  </a:lnTo>
                  <a:lnTo>
                    <a:pt x="124" y="73"/>
                  </a:lnTo>
                  <a:lnTo>
                    <a:pt x="113" y="75"/>
                  </a:lnTo>
                  <a:lnTo>
                    <a:pt x="107" y="67"/>
                  </a:lnTo>
                  <a:lnTo>
                    <a:pt x="111" y="17"/>
                  </a:lnTo>
                  <a:lnTo>
                    <a:pt x="115" y="7"/>
                  </a:lnTo>
                  <a:lnTo>
                    <a:pt x="139" y="0"/>
                  </a:lnTo>
                  <a:lnTo>
                    <a:pt x="145" y="0"/>
                  </a:lnTo>
                  <a:lnTo>
                    <a:pt x="150" y="7"/>
                  </a:lnTo>
                  <a:lnTo>
                    <a:pt x="150" y="7"/>
                  </a:lnTo>
                  <a:lnTo>
                    <a:pt x="180" y="22"/>
                  </a:lnTo>
                  <a:lnTo>
                    <a:pt x="190" y="47"/>
                  </a:lnTo>
                  <a:lnTo>
                    <a:pt x="184" y="62"/>
                  </a:lnTo>
                  <a:lnTo>
                    <a:pt x="186" y="77"/>
                  </a:lnTo>
                  <a:lnTo>
                    <a:pt x="175" y="101"/>
                  </a:lnTo>
                  <a:lnTo>
                    <a:pt x="180" y="108"/>
                  </a:lnTo>
                  <a:lnTo>
                    <a:pt x="132" y="127"/>
                  </a:lnTo>
                  <a:lnTo>
                    <a:pt x="133" y="137"/>
                  </a:lnTo>
                  <a:lnTo>
                    <a:pt x="115" y="140"/>
                  </a:lnTo>
                  <a:lnTo>
                    <a:pt x="115" y="14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00" name="Freeform 5708"/>
            <p:cNvSpPr>
              <a:spLocks/>
            </p:cNvSpPr>
            <p:nvPr>
              <p:custDataLst>
                <p:tags r:id="rId78"/>
              </p:custDataLst>
            </p:nvPr>
          </p:nvSpPr>
          <p:spPr bwMode="gray">
            <a:xfrm>
              <a:off x="7102160" y="4708908"/>
              <a:ext cx="161670" cy="165708"/>
            </a:xfrm>
            <a:custGeom>
              <a:avLst/>
              <a:gdLst/>
              <a:ahLst/>
              <a:cxnLst>
                <a:cxn ang="0">
                  <a:pos x="64" y="119"/>
                </a:cxn>
                <a:cxn ang="0">
                  <a:pos x="45" y="112"/>
                </a:cxn>
                <a:cxn ang="0">
                  <a:pos x="39" y="93"/>
                </a:cxn>
                <a:cxn ang="0">
                  <a:pos x="13" y="71"/>
                </a:cxn>
                <a:cxn ang="0">
                  <a:pos x="0" y="41"/>
                </a:cxn>
                <a:cxn ang="0">
                  <a:pos x="0" y="41"/>
                </a:cxn>
                <a:cxn ang="0">
                  <a:pos x="26" y="45"/>
                </a:cxn>
                <a:cxn ang="0">
                  <a:pos x="56" y="20"/>
                </a:cxn>
                <a:cxn ang="0">
                  <a:pos x="66" y="3"/>
                </a:cxn>
                <a:cxn ang="0">
                  <a:pos x="84" y="0"/>
                </a:cxn>
                <a:cxn ang="0">
                  <a:pos x="84" y="0"/>
                </a:cxn>
                <a:cxn ang="0">
                  <a:pos x="84" y="7"/>
                </a:cxn>
                <a:cxn ang="0">
                  <a:pos x="101" y="7"/>
                </a:cxn>
                <a:cxn ang="0">
                  <a:pos x="124" y="20"/>
                </a:cxn>
                <a:cxn ang="0">
                  <a:pos x="126" y="33"/>
                </a:cxn>
                <a:cxn ang="0">
                  <a:pos x="124" y="80"/>
                </a:cxn>
                <a:cxn ang="0">
                  <a:pos x="101" y="129"/>
                </a:cxn>
                <a:cxn ang="0">
                  <a:pos x="90" y="123"/>
                </a:cxn>
                <a:cxn ang="0">
                  <a:pos x="64" y="119"/>
                </a:cxn>
                <a:cxn ang="0">
                  <a:pos x="64" y="119"/>
                </a:cxn>
              </a:cxnLst>
              <a:rect l="0" t="0" r="r" b="b"/>
              <a:pathLst>
                <a:path w="126" h="129">
                  <a:moveTo>
                    <a:pt x="64" y="119"/>
                  </a:moveTo>
                  <a:lnTo>
                    <a:pt x="45" y="112"/>
                  </a:lnTo>
                  <a:lnTo>
                    <a:pt x="39" y="93"/>
                  </a:lnTo>
                  <a:lnTo>
                    <a:pt x="13" y="71"/>
                  </a:lnTo>
                  <a:lnTo>
                    <a:pt x="0" y="41"/>
                  </a:lnTo>
                  <a:lnTo>
                    <a:pt x="0" y="41"/>
                  </a:lnTo>
                  <a:lnTo>
                    <a:pt x="26" y="45"/>
                  </a:lnTo>
                  <a:lnTo>
                    <a:pt x="56" y="20"/>
                  </a:lnTo>
                  <a:lnTo>
                    <a:pt x="66" y="3"/>
                  </a:lnTo>
                  <a:lnTo>
                    <a:pt x="84" y="0"/>
                  </a:lnTo>
                  <a:lnTo>
                    <a:pt x="84" y="0"/>
                  </a:lnTo>
                  <a:lnTo>
                    <a:pt x="84" y="7"/>
                  </a:lnTo>
                  <a:lnTo>
                    <a:pt x="101" y="7"/>
                  </a:lnTo>
                  <a:lnTo>
                    <a:pt x="124" y="20"/>
                  </a:lnTo>
                  <a:lnTo>
                    <a:pt x="126" y="33"/>
                  </a:lnTo>
                  <a:lnTo>
                    <a:pt x="124" y="80"/>
                  </a:lnTo>
                  <a:lnTo>
                    <a:pt x="101" y="129"/>
                  </a:lnTo>
                  <a:lnTo>
                    <a:pt x="90" y="123"/>
                  </a:lnTo>
                  <a:lnTo>
                    <a:pt x="64" y="119"/>
                  </a:lnTo>
                  <a:lnTo>
                    <a:pt x="64" y="11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01" name="Freeform 5709"/>
            <p:cNvSpPr>
              <a:spLocks/>
            </p:cNvSpPr>
            <p:nvPr>
              <p:custDataLst>
                <p:tags r:id="rId79"/>
              </p:custDataLst>
            </p:nvPr>
          </p:nvSpPr>
          <p:spPr bwMode="gray">
            <a:xfrm>
              <a:off x="6922527" y="4861770"/>
              <a:ext cx="331038" cy="301871"/>
            </a:xfrm>
            <a:custGeom>
              <a:avLst/>
              <a:gdLst/>
              <a:ahLst/>
              <a:cxnLst>
                <a:cxn ang="0">
                  <a:pos x="204" y="0"/>
                </a:cxn>
                <a:cxn ang="0">
                  <a:pos x="230" y="4"/>
                </a:cxn>
                <a:cxn ang="0">
                  <a:pos x="241" y="10"/>
                </a:cxn>
                <a:cxn ang="0">
                  <a:pos x="245" y="70"/>
                </a:cxn>
                <a:cxn ang="0">
                  <a:pos x="232" y="70"/>
                </a:cxn>
                <a:cxn ang="0">
                  <a:pos x="226" y="87"/>
                </a:cxn>
                <a:cxn ang="0">
                  <a:pos x="236" y="94"/>
                </a:cxn>
                <a:cxn ang="0">
                  <a:pos x="245" y="87"/>
                </a:cxn>
                <a:cxn ang="0">
                  <a:pos x="256" y="87"/>
                </a:cxn>
                <a:cxn ang="0">
                  <a:pos x="258" y="90"/>
                </a:cxn>
                <a:cxn ang="0">
                  <a:pos x="249" y="120"/>
                </a:cxn>
                <a:cxn ang="0">
                  <a:pos x="234" y="132"/>
                </a:cxn>
                <a:cxn ang="0">
                  <a:pos x="217" y="163"/>
                </a:cxn>
                <a:cxn ang="0">
                  <a:pos x="183" y="197"/>
                </a:cxn>
                <a:cxn ang="0">
                  <a:pos x="161" y="214"/>
                </a:cxn>
                <a:cxn ang="0">
                  <a:pos x="125" y="225"/>
                </a:cxn>
                <a:cxn ang="0">
                  <a:pos x="93" y="222"/>
                </a:cxn>
                <a:cxn ang="0">
                  <a:pos x="54" y="235"/>
                </a:cxn>
                <a:cxn ang="0">
                  <a:pos x="45" y="235"/>
                </a:cxn>
                <a:cxn ang="0">
                  <a:pos x="33" y="222"/>
                </a:cxn>
                <a:cxn ang="0">
                  <a:pos x="28" y="225"/>
                </a:cxn>
                <a:cxn ang="0">
                  <a:pos x="20" y="199"/>
                </a:cxn>
                <a:cxn ang="0">
                  <a:pos x="28" y="195"/>
                </a:cxn>
                <a:cxn ang="0">
                  <a:pos x="26" y="184"/>
                </a:cxn>
                <a:cxn ang="0">
                  <a:pos x="3" y="128"/>
                </a:cxn>
                <a:cxn ang="0">
                  <a:pos x="0" y="122"/>
                </a:cxn>
                <a:cxn ang="0">
                  <a:pos x="5" y="115"/>
                </a:cxn>
                <a:cxn ang="0">
                  <a:pos x="15" y="120"/>
                </a:cxn>
                <a:cxn ang="0">
                  <a:pos x="18" y="128"/>
                </a:cxn>
                <a:cxn ang="0">
                  <a:pos x="39" y="128"/>
                </a:cxn>
                <a:cxn ang="0">
                  <a:pos x="52" y="117"/>
                </a:cxn>
                <a:cxn ang="0">
                  <a:pos x="54" y="49"/>
                </a:cxn>
                <a:cxn ang="0">
                  <a:pos x="54" y="49"/>
                </a:cxn>
                <a:cxn ang="0">
                  <a:pos x="65" y="62"/>
                </a:cxn>
                <a:cxn ang="0">
                  <a:pos x="65" y="83"/>
                </a:cxn>
                <a:cxn ang="0">
                  <a:pos x="73" y="87"/>
                </a:cxn>
                <a:cxn ang="0">
                  <a:pos x="88" y="85"/>
                </a:cxn>
                <a:cxn ang="0">
                  <a:pos x="110" y="60"/>
                </a:cxn>
                <a:cxn ang="0">
                  <a:pos x="125" y="66"/>
                </a:cxn>
                <a:cxn ang="0">
                  <a:pos x="140" y="64"/>
                </a:cxn>
                <a:cxn ang="0">
                  <a:pos x="176" y="21"/>
                </a:cxn>
                <a:cxn ang="0">
                  <a:pos x="204" y="0"/>
                </a:cxn>
                <a:cxn ang="0">
                  <a:pos x="204" y="0"/>
                </a:cxn>
              </a:cxnLst>
              <a:rect l="0" t="0" r="r" b="b"/>
              <a:pathLst>
                <a:path w="258" h="235">
                  <a:moveTo>
                    <a:pt x="204" y="0"/>
                  </a:moveTo>
                  <a:lnTo>
                    <a:pt x="230" y="4"/>
                  </a:lnTo>
                  <a:lnTo>
                    <a:pt x="241" y="10"/>
                  </a:lnTo>
                  <a:lnTo>
                    <a:pt x="245" y="70"/>
                  </a:lnTo>
                  <a:lnTo>
                    <a:pt x="232" y="70"/>
                  </a:lnTo>
                  <a:lnTo>
                    <a:pt x="226" y="87"/>
                  </a:lnTo>
                  <a:lnTo>
                    <a:pt x="236" y="94"/>
                  </a:lnTo>
                  <a:lnTo>
                    <a:pt x="245" y="87"/>
                  </a:lnTo>
                  <a:lnTo>
                    <a:pt x="256" y="87"/>
                  </a:lnTo>
                  <a:lnTo>
                    <a:pt x="258" y="90"/>
                  </a:lnTo>
                  <a:lnTo>
                    <a:pt x="249" y="120"/>
                  </a:lnTo>
                  <a:lnTo>
                    <a:pt x="234" y="132"/>
                  </a:lnTo>
                  <a:lnTo>
                    <a:pt x="217" y="163"/>
                  </a:lnTo>
                  <a:lnTo>
                    <a:pt x="183" y="197"/>
                  </a:lnTo>
                  <a:lnTo>
                    <a:pt x="161" y="214"/>
                  </a:lnTo>
                  <a:lnTo>
                    <a:pt x="125" y="225"/>
                  </a:lnTo>
                  <a:lnTo>
                    <a:pt x="93" y="222"/>
                  </a:lnTo>
                  <a:lnTo>
                    <a:pt x="54" y="235"/>
                  </a:lnTo>
                  <a:lnTo>
                    <a:pt x="45" y="235"/>
                  </a:lnTo>
                  <a:lnTo>
                    <a:pt x="33" y="222"/>
                  </a:lnTo>
                  <a:lnTo>
                    <a:pt x="28" y="225"/>
                  </a:lnTo>
                  <a:lnTo>
                    <a:pt x="20" y="199"/>
                  </a:lnTo>
                  <a:lnTo>
                    <a:pt x="28" y="195"/>
                  </a:lnTo>
                  <a:lnTo>
                    <a:pt x="26" y="184"/>
                  </a:lnTo>
                  <a:lnTo>
                    <a:pt x="3" y="128"/>
                  </a:lnTo>
                  <a:lnTo>
                    <a:pt x="0" y="122"/>
                  </a:lnTo>
                  <a:lnTo>
                    <a:pt x="5" y="115"/>
                  </a:lnTo>
                  <a:lnTo>
                    <a:pt x="15" y="120"/>
                  </a:lnTo>
                  <a:lnTo>
                    <a:pt x="18" y="128"/>
                  </a:lnTo>
                  <a:lnTo>
                    <a:pt x="39" y="128"/>
                  </a:lnTo>
                  <a:lnTo>
                    <a:pt x="52" y="117"/>
                  </a:lnTo>
                  <a:lnTo>
                    <a:pt x="54" y="49"/>
                  </a:lnTo>
                  <a:lnTo>
                    <a:pt x="54" y="49"/>
                  </a:lnTo>
                  <a:lnTo>
                    <a:pt x="65" y="62"/>
                  </a:lnTo>
                  <a:lnTo>
                    <a:pt x="65" y="83"/>
                  </a:lnTo>
                  <a:lnTo>
                    <a:pt x="73" y="87"/>
                  </a:lnTo>
                  <a:lnTo>
                    <a:pt x="88" y="85"/>
                  </a:lnTo>
                  <a:lnTo>
                    <a:pt x="110" y="60"/>
                  </a:lnTo>
                  <a:lnTo>
                    <a:pt x="125" y="66"/>
                  </a:lnTo>
                  <a:lnTo>
                    <a:pt x="140" y="64"/>
                  </a:lnTo>
                  <a:lnTo>
                    <a:pt x="176" y="21"/>
                  </a:lnTo>
                  <a:lnTo>
                    <a:pt x="204" y="0"/>
                  </a:lnTo>
                  <a:lnTo>
                    <a:pt x="204"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02" name="Freeform 5710"/>
            <p:cNvSpPr>
              <a:spLocks/>
            </p:cNvSpPr>
            <p:nvPr>
              <p:custDataLst>
                <p:tags r:id="rId80"/>
              </p:custDataLst>
            </p:nvPr>
          </p:nvSpPr>
          <p:spPr bwMode="gray">
            <a:xfrm>
              <a:off x="6849390" y="4739737"/>
              <a:ext cx="275865" cy="286457"/>
            </a:xfrm>
            <a:custGeom>
              <a:avLst/>
              <a:gdLst/>
              <a:ahLst/>
              <a:cxnLst>
                <a:cxn ang="0">
                  <a:pos x="129" y="144"/>
                </a:cxn>
                <a:cxn ang="0">
                  <a:pos x="129" y="97"/>
                </a:cxn>
                <a:cxn ang="0">
                  <a:pos x="146" y="90"/>
                </a:cxn>
                <a:cxn ang="0">
                  <a:pos x="148" y="28"/>
                </a:cxn>
                <a:cxn ang="0">
                  <a:pos x="180" y="22"/>
                </a:cxn>
                <a:cxn ang="0">
                  <a:pos x="185" y="22"/>
                </a:cxn>
                <a:cxn ang="0">
                  <a:pos x="189" y="32"/>
                </a:cxn>
                <a:cxn ang="0">
                  <a:pos x="198" y="22"/>
                </a:cxn>
                <a:cxn ang="0">
                  <a:pos x="215" y="17"/>
                </a:cxn>
                <a:cxn ang="0">
                  <a:pos x="198" y="9"/>
                </a:cxn>
                <a:cxn ang="0">
                  <a:pos x="183" y="13"/>
                </a:cxn>
                <a:cxn ang="0">
                  <a:pos x="159" y="21"/>
                </a:cxn>
                <a:cxn ang="0">
                  <a:pos x="120" y="17"/>
                </a:cxn>
                <a:cxn ang="0">
                  <a:pos x="107" y="9"/>
                </a:cxn>
                <a:cxn ang="0">
                  <a:pos x="37" y="7"/>
                </a:cxn>
                <a:cxn ang="0">
                  <a:pos x="24" y="0"/>
                </a:cxn>
                <a:cxn ang="0">
                  <a:pos x="0" y="7"/>
                </a:cxn>
                <a:cxn ang="0">
                  <a:pos x="2" y="19"/>
                </a:cxn>
                <a:cxn ang="0">
                  <a:pos x="43" y="103"/>
                </a:cxn>
                <a:cxn ang="0">
                  <a:pos x="43" y="131"/>
                </a:cxn>
                <a:cxn ang="0">
                  <a:pos x="56" y="197"/>
                </a:cxn>
                <a:cxn ang="0">
                  <a:pos x="75" y="217"/>
                </a:cxn>
                <a:cxn ang="0">
                  <a:pos x="80" y="210"/>
                </a:cxn>
                <a:cxn ang="0">
                  <a:pos x="90" y="215"/>
                </a:cxn>
                <a:cxn ang="0">
                  <a:pos x="93" y="223"/>
                </a:cxn>
                <a:cxn ang="0">
                  <a:pos x="114" y="223"/>
                </a:cxn>
                <a:cxn ang="0">
                  <a:pos x="127" y="212"/>
                </a:cxn>
                <a:cxn ang="0">
                  <a:pos x="129" y="144"/>
                </a:cxn>
                <a:cxn ang="0">
                  <a:pos x="129" y="144"/>
                </a:cxn>
              </a:cxnLst>
              <a:rect l="0" t="0" r="r" b="b"/>
              <a:pathLst>
                <a:path w="215" h="223">
                  <a:moveTo>
                    <a:pt x="129" y="144"/>
                  </a:moveTo>
                  <a:lnTo>
                    <a:pt x="129" y="97"/>
                  </a:lnTo>
                  <a:lnTo>
                    <a:pt x="146" y="90"/>
                  </a:lnTo>
                  <a:lnTo>
                    <a:pt x="148" y="28"/>
                  </a:lnTo>
                  <a:lnTo>
                    <a:pt x="180" y="22"/>
                  </a:lnTo>
                  <a:lnTo>
                    <a:pt x="185" y="22"/>
                  </a:lnTo>
                  <a:lnTo>
                    <a:pt x="189" y="32"/>
                  </a:lnTo>
                  <a:lnTo>
                    <a:pt x="198" y="22"/>
                  </a:lnTo>
                  <a:lnTo>
                    <a:pt x="215" y="17"/>
                  </a:lnTo>
                  <a:lnTo>
                    <a:pt x="198" y="9"/>
                  </a:lnTo>
                  <a:lnTo>
                    <a:pt x="183" y="13"/>
                  </a:lnTo>
                  <a:lnTo>
                    <a:pt x="159" y="21"/>
                  </a:lnTo>
                  <a:lnTo>
                    <a:pt x="120" y="17"/>
                  </a:lnTo>
                  <a:lnTo>
                    <a:pt x="107" y="9"/>
                  </a:lnTo>
                  <a:lnTo>
                    <a:pt x="37" y="7"/>
                  </a:lnTo>
                  <a:lnTo>
                    <a:pt x="24" y="0"/>
                  </a:lnTo>
                  <a:lnTo>
                    <a:pt x="0" y="7"/>
                  </a:lnTo>
                  <a:lnTo>
                    <a:pt x="2" y="19"/>
                  </a:lnTo>
                  <a:lnTo>
                    <a:pt x="43" y="103"/>
                  </a:lnTo>
                  <a:lnTo>
                    <a:pt x="43" y="131"/>
                  </a:lnTo>
                  <a:lnTo>
                    <a:pt x="56" y="197"/>
                  </a:lnTo>
                  <a:lnTo>
                    <a:pt x="75" y="217"/>
                  </a:lnTo>
                  <a:lnTo>
                    <a:pt x="80" y="210"/>
                  </a:lnTo>
                  <a:lnTo>
                    <a:pt x="90" y="215"/>
                  </a:lnTo>
                  <a:lnTo>
                    <a:pt x="93" y="223"/>
                  </a:lnTo>
                  <a:lnTo>
                    <a:pt x="114" y="223"/>
                  </a:lnTo>
                  <a:lnTo>
                    <a:pt x="127" y="212"/>
                  </a:lnTo>
                  <a:lnTo>
                    <a:pt x="129" y="144"/>
                  </a:lnTo>
                  <a:lnTo>
                    <a:pt x="129" y="14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03" name="Freeform 5711"/>
            <p:cNvSpPr>
              <a:spLocks/>
            </p:cNvSpPr>
            <p:nvPr>
              <p:custDataLst>
                <p:tags r:id="rId81"/>
              </p:custDataLst>
            </p:nvPr>
          </p:nvSpPr>
          <p:spPr bwMode="gray">
            <a:xfrm>
              <a:off x="6849390" y="4475118"/>
              <a:ext cx="256619" cy="291595"/>
            </a:xfrm>
            <a:custGeom>
              <a:avLst/>
              <a:gdLst/>
              <a:ahLst/>
              <a:cxnLst>
                <a:cxn ang="0">
                  <a:pos x="30" y="2"/>
                </a:cxn>
                <a:cxn ang="0">
                  <a:pos x="69" y="0"/>
                </a:cxn>
                <a:cxn ang="0">
                  <a:pos x="78" y="7"/>
                </a:cxn>
                <a:cxn ang="0">
                  <a:pos x="84" y="30"/>
                </a:cxn>
                <a:cxn ang="0">
                  <a:pos x="101" y="45"/>
                </a:cxn>
                <a:cxn ang="0">
                  <a:pos x="121" y="41"/>
                </a:cxn>
                <a:cxn ang="0">
                  <a:pos x="127" y="24"/>
                </a:cxn>
                <a:cxn ang="0">
                  <a:pos x="148" y="20"/>
                </a:cxn>
                <a:cxn ang="0">
                  <a:pos x="148" y="26"/>
                </a:cxn>
                <a:cxn ang="0">
                  <a:pos x="161" y="30"/>
                </a:cxn>
                <a:cxn ang="0">
                  <a:pos x="163" y="34"/>
                </a:cxn>
                <a:cxn ang="0">
                  <a:pos x="163" y="71"/>
                </a:cxn>
                <a:cxn ang="0">
                  <a:pos x="170" y="88"/>
                </a:cxn>
                <a:cxn ang="0">
                  <a:pos x="165" y="97"/>
                </a:cxn>
                <a:cxn ang="0">
                  <a:pos x="168" y="103"/>
                </a:cxn>
                <a:cxn ang="0">
                  <a:pos x="200" y="94"/>
                </a:cxn>
                <a:cxn ang="0">
                  <a:pos x="198" y="131"/>
                </a:cxn>
                <a:cxn ang="0">
                  <a:pos x="200" y="133"/>
                </a:cxn>
                <a:cxn ang="0">
                  <a:pos x="166" y="137"/>
                </a:cxn>
                <a:cxn ang="0">
                  <a:pos x="166" y="200"/>
                </a:cxn>
                <a:cxn ang="0">
                  <a:pos x="183" y="219"/>
                </a:cxn>
                <a:cxn ang="0">
                  <a:pos x="159" y="227"/>
                </a:cxn>
                <a:cxn ang="0">
                  <a:pos x="120" y="223"/>
                </a:cxn>
                <a:cxn ang="0">
                  <a:pos x="107" y="215"/>
                </a:cxn>
                <a:cxn ang="0">
                  <a:pos x="37" y="213"/>
                </a:cxn>
                <a:cxn ang="0">
                  <a:pos x="24" y="206"/>
                </a:cxn>
                <a:cxn ang="0">
                  <a:pos x="0" y="213"/>
                </a:cxn>
                <a:cxn ang="0">
                  <a:pos x="2" y="189"/>
                </a:cxn>
                <a:cxn ang="0">
                  <a:pos x="15" y="140"/>
                </a:cxn>
                <a:cxn ang="0">
                  <a:pos x="32" y="120"/>
                </a:cxn>
                <a:cxn ang="0">
                  <a:pos x="35" y="103"/>
                </a:cxn>
                <a:cxn ang="0">
                  <a:pos x="20" y="64"/>
                </a:cxn>
                <a:cxn ang="0">
                  <a:pos x="28" y="54"/>
                </a:cxn>
                <a:cxn ang="0">
                  <a:pos x="13" y="11"/>
                </a:cxn>
                <a:cxn ang="0">
                  <a:pos x="30" y="2"/>
                </a:cxn>
                <a:cxn ang="0">
                  <a:pos x="30" y="2"/>
                </a:cxn>
              </a:cxnLst>
              <a:rect l="0" t="0" r="r" b="b"/>
              <a:pathLst>
                <a:path w="200" h="227">
                  <a:moveTo>
                    <a:pt x="30" y="2"/>
                  </a:moveTo>
                  <a:lnTo>
                    <a:pt x="69" y="0"/>
                  </a:lnTo>
                  <a:lnTo>
                    <a:pt x="78" y="7"/>
                  </a:lnTo>
                  <a:lnTo>
                    <a:pt x="84" y="30"/>
                  </a:lnTo>
                  <a:lnTo>
                    <a:pt x="101" y="45"/>
                  </a:lnTo>
                  <a:lnTo>
                    <a:pt x="121" y="41"/>
                  </a:lnTo>
                  <a:lnTo>
                    <a:pt x="127" y="24"/>
                  </a:lnTo>
                  <a:lnTo>
                    <a:pt x="148" y="20"/>
                  </a:lnTo>
                  <a:lnTo>
                    <a:pt x="148" y="26"/>
                  </a:lnTo>
                  <a:lnTo>
                    <a:pt x="161" y="30"/>
                  </a:lnTo>
                  <a:lnTo>
                    <a:pt x="163" y="34"/>
                  </a:lnTo>
                  <a:lnTo>
                    <a:pt x="163" y="71"/>
                  </a:lnTo>
                  <a:lnTo>
                    <a:pt x="170" y="88"/>
                  </a:lnTo>
                  <a:lnTo>
                    <a:pt x="165" y="97"/>
                  </a:lnTo>
                  <a:lnTo>
                    <a:pt x="168" y="103"/>
                  </a:lnTo>
                  <a:lnTo>
                    <a:pt x="200" y="94"/>
                  </a:lnTo>
                  <a:lnTo>
                    <a:pt x="198" y="131"/>
                  </a:lnTo>
                  <a:lnTo>
                    <a:pt x="200" y="133"/>
                  </a:lnTo>
                  <a:lnTo>
                    <a:pt x="166" y="137"/>
                  </a:lnTo>
                  <a:lnTo>
                    <a:pt x="166" y="200"/>
                  </a:lnTo>
                  <a:lnTo>
                    <a:pt x="183" y="219"/>
                  </a:lnTo>
                  <a:lnTo>
                    <a:pt x="159" y="227"/>
                  </a:lnTo>
                  <a:lnTo>
                    <a:pt x="120" y="223"/>
                  </a:lnTo>
                  <a:lnTo>
                    <a:pt x="107" y="215"/>
                  </a:lnTo>
                  <a:lnTo>
                    <a:pt x="37" y="213"/>
                  </a:lnTo>
                  <a:lnTo>
                    <a:pt x="24" y="206"/>
                  </a:lnTo>
                  <a:lnTo>
                    <a:pt x="0" y="213"/>
                  </a:lnTo>
                  <a:lnTo>
                    <a:pt x="2" y="189"/>
                  </a:lnTo>
                  <a:lnTo>
                    <a:pt x="15" y="140"/>
                  </a:lnTo>
                  <a:lnTo>
                    <a:pt x="32" y="120"/>
                  </a:lnTo>
                  <a:lnTo>
                    <a:pt x="35" y="103"/>
                  </a:lnTo>
                  <a:lnTo>
                    <a:pt x="20" y="64"/>
                  </a:lnTo>
                  <a:lnTo>
                    <a:pt x="28" y="54"/>
                  </a:lnTo>
                  <a:lnTo>
                    <a:pt x="13" y="11"/>
                  </a:lnTo>
                  <a:lnTo>
                    <a:pt x="30" y="2"/>
                  </a:lnTo>
                  <a:lnTo>
                    <a:pt x="30" y="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04" name="Freeform 5712"/>
            <p:cNvSpPr>
              <a:spLocks/>
            </p:cNvSpPr>
            <p:nvPr>
              <p:custDataLst>
                <p:tags r:id="rId82"/>
              </p:custDataLst>
            </p:nvPr>
          </p:nvSpPr>
          <p:spPr bwMode="gray">
            <a:xfrm>
              <a:off x="6832710" y="4443004"/>
              <a:ext cx="19246" cy="34683"/>
            </a:xfrm>
            <a:custGeom>
              <a:avLst/>
              <a:gdLst/>
              <a:ahLst/>
              <a:cxnLst>
                <a:cxn ang="0">
                  <a:pos x="15" y="6"/>
                </a:cxn>
                <a:cxn ang="0">
                  <a:pos x="8" y="12"/>
                </a:cxn>
                <a:cxn ang="0">
                  <a:pos x="6" y="27"/>
                </a:cxn>
                <a:cxn ang="0">
                  <a:pos x="6" y="27"/>
                </a:cxn>
                <a:cxn ang="0">
                  <a:pos x="2" y="17"/>
                </a:cxn>
                <a:cxn ang="0">
                  <a:pos x="0" y="12"/>
                </a:cxn>
                <a:cxn ang="0">
                  <a:pos x="12" y="0"/>
                </a:cxn>
                <a:cxn ang="0">
                  <a:pos x="15" y="6"/>
                </a:cxn>
                <a:cxn ang="0">
                  <a:pos x="15" y="6"/>
                </a:cxn>
              </a:cxnLst>
              <a:rect l="0" t="0" r="r" b="b"/>
              <a:pathLst>
                <a:path w="15" h="27">
                  <a:moveTo>
                    <a:pt x="15" y="6"/>
                  </a:moveTo>
                  <a:lnTo>
                    <a:pt x="8" y="12"/>
                  </a:lnTo>
                  <a:lnTo>
                    <a:pt x="6" y="27"/>
                  </a:lnTo>
                  <a:lnTo>
                    <a:pt x="6" y="27"/>
                  </a:lnTo>
                  <a:lnTo>
                    <a:pt x="2" y="17"/>
                  </a:lnTo>
                  <a:lnTo>
                    <a:pt x="0" y="12"/>
                  </a:lnTo>
                  <a:lnTo>
                    <a:pt x="12" y="0"/>
                  </a:lnTo>
                  <a:lnTo>
                    <a:pt x="15" y="6"/>
                  </a:lnTo>
                  <a:lnTo>
                    <a:pt x="15"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05" name="Freeform 5713"/>
            <p:cNvSpPr>
              <a:spLocks/>
            </p:cNvSpPr>
            <p:nvPr>
              <p:custDataLst>
                <p:tags r:id="rId83"/>
              </p:custDataLst>
            </p:nvPr>
          </p:nvSpPr>
          <p:spPr bwMode="gray">
            <a:xfrm>
              <a:off x="6783953" y="4026807"/>
              <a:ext cx="159103" cy="272327"/>
            </a:xfrm>
            <a:custGeom>
              <a:avLst/>
              <a:gdLst/>
              <a:ahLst/>
              <a:cxnLst>
                <a:cxn ang="0">
                  <a:pos x="90" y="0"/>
                </a:cxn>
                <a:cxn ang="0">
                  <a:pos x="90" y="12"/>
                </a:cxn>
                <a:cxn ang="0">
                  <a:pos x="96" y="27"/>
                </a:cxn>
                <a:cxn ang="0">
                  <a:pos x="79" y="43"/>
                </a:cxn>
                <a:cxn ang="0">
                  <a:pos x="70" y="79"/>
                </a:cxn>
                <a:cxn ang="0">
                  <a:pos x="62" y="87"/>
                </a:cxn>
                <a:cxn ang="0">
                  <a:pos x="49" y="120"/>
                </a:cxn>
                <a:cxn ang="0">
                  <a:pos x="41" y="124"/>
                </a:cxn>
                <a:cxn ang="0">
                  <a:pos x="34" y="117"/>
                </a:cxn>
                <a:cxn ang="0">
                  <a:pos x="19" y="117"/>
                </a:cxn>
                <a:cxn ang="0">
                  <a:pos x="0" y="156"/>
                </a:cxn>
                <a:cxn ang="0">
                  <a:pos x="8" y="169"/>
                </a:cxn>
                <a:cxn ang="0">
                  <a:pos x="13" y="171"/>
                </a:cxn>
                <a:cxn ang="0">
                  <a:pos x="23" y="188"/>
                </a:cxn>
                <a:cxn ang="0">
                  <a:pos x="19" y="203"/>
                </a:cxn>
                <a:cxn ang="0">
                  <a:pos x="45" y="203"/>
                </a:cxn>
                <a:cxn ang="0">
                  <a:pos x="81" y="203"/>
                </a:cxn>
                <a:cxn ang="0">
                  <a:pos x="124" y="212"/>
                </a:cxn>
                <a:cxn ang="0">
                  <a:pos x="124" y="191"/>
                </a:cxn>
                <a:cxn ang="0">
                  <a:pos x="101" y="154"/>
                </a:cxn>
                <a:cxn ang="0">
                  <a:pos x="98" y="137"/>
                </a:cxn>
                <a:cxn ang="0">
                  <a:pos x="111" y="105"/>
                </a:cxn>
                <a:cxn ang="0">
                  <a:pos x="111" y="105"/>
                </a:cxn>
                <a:cxn ang="0">
                  <a:pos x="105" y="83"/>
                </a:cxn>
                <a:cxn ang="0">
                  <a:pos x="90" y="70"/>
                </a:cxn>
                <a:cxn ang="0">
                  <a:pos x="96" y="58"/>
                </a:cxn>
                <a:cxn ang="0">
                  <a:pos x="111" y="55"/>
                </a:cxn>
                <a:cxn ang="0">
                  <a:pos x="103" y="40"/>
                </a:cxn>
                <a:cxn ang="0">
                  <a:pos x="98" y="6"/>
                </a:cxn>
                <a:cxn ang="0">
                  <a:pos x="98" y="6"/>
                </a:cxn>
                <a:cxn ang="0">
                  <a:pos x="90" y="0"/>
                </a:cxn>
                <a:cxn ang="0">
                  <a:pos x="90" y="0"/>
                </a:cxn>
              </a:cxnLst>
              <a:rect l="0" t="0" r="r" b="b"/>
              <a:pathLst>
                <a:path w="124" h="212">
                  <a:moveTo>
                    <a:pt x="90" y="0"/>
                  </a:moveTo>
                  <a:lnTo>
                    <a:pt x="90" y="12"/>
                  </a:lnTo>
                  <a:lnTo>
                    <a:pt x="96" y="27"/>
                  </a:lnTo>
                  <a:lnTo>
                    <a:pt x="79" y="43"/>
                  </a:lnTo>
                  <a:lnTo>
                    <a:pt x="70" y="79"/>
                  </a:lnTo>
                  <a:lnTo>
                    <a:pt x="62" y="87"/>
                  </a:lnTo>
                  <a:lnTo>
                    <a:pt x="49" y="120"/>
                  </a:lnTo>
                  <a:lnTo>
                    <a:pt x="41" y="124"/>
                  </a:lnTo>
                  <a:lnTo>
                    <a:pt x="34" y="117"/>
                  </a:lnTo>
                  <a:lnTo>
                    <a:pt x="19" y="117"/>
                  </a:lnTo>
                  <a:lnTo>
                    <a:pt x="0" y="156"/>
                  </a:lnTo>
                  <a:lnTo>
                    <a:pt x="8" y="169"/>
                  </a:lnTo>
                  <a:lnTo>
                    <a:pt x="13" y="171"/>
                  </a:lnTo>
                  <a:lnTo>
                    <a:pt x="23" y="188"/>
                  </a:lnTo>
                  <a:lnTo>
                    <a:pt x="19" y="203"/>
                  </a:lnTo>
                  <a:lnTo>
                    <a:pt x="45" y="203"/>
                  </a:lnTo>
                  <a:lnTo>
                    <a:pt x="81" y="203"/>
                  </a:lnTo>
                  <a:lnTo>
                    <a:pt x="124" y="212"/>
                  </a:lnTo>
                  <a:lnTo>
                    <a:pt x="124" y="191"/>
                  </a:lnTo>
                  <a:lnTo>
                    <a:pt x="101" y="154"/>
                  </a:lnTo>
                  <a:lnTo>
                    <a:pt x="98" y="137"/>
                  </a:lnTo>
                  <a:lnTo>
                    <a:pt x="111" y="105"/>
                  </a:lnTo>
                  <a:lnTo>
                    <a:pt x="111" y="105"/>
                  </a:lnTo>
                  <a:lnTo>
                    <a:pt x="105" y="83"/>
                  </a:lnTo>
                  <a:lnTo>
                    <a:pt x="90" y="70"/>
                  </a:lnTo>
                  <a:lnTo>
                    <a:pt x="96" y="58"/>
                  </a:lnTo>
                  <a:lnTo>
                    <a:pt x="111" y="55"/>
                  </a:lnTo>
                  <a:lnTo>
                    <a:pt x="103" y="40"/>
                  </a:lnTo>
                  <a:lnTo>
                    <a:pt x="98" y="6"/>
                  </a:lnTo>
                  <a:lnTo>
                    <a:pt x="98" y="6"/>
                  </a:lnTo>
                  <a:lnTo>
                    <a:pt x="90" y="0"/>
                  </a:lnTo>
                  <a:lnTo>
                    <a:pt x="90"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06" name="Freeform 5714"/>
            <p:cNvSpPr>
              <a:spLocks/>
            </p:cNvSpPr>
            <p:nvPr>
              <p:custDataLst>
                <p:tags r:id="rId84"/>
              </p:custDataLst>
            </p:nvPr>
          </p:nvSpPr>
          <p:spPr bwMode="gray">
            <a:xfrm>
              <a:off x="6844258" y="4251605"/>
              <a:ext cx="151405" cy="206814"/>
            </a:xfrm>
            <a:custGeom>
              <a:avLst/>
              <a:gdLst/>
              <a:ahLst/>
              <a:cxnLst>
                <a:cxn ang="0">
                  <a:pos x="23" y="149"/>
                </a:cxn>
                <a:cxn ang="0">
                  <a:pos x="26" y="155"/>
                </a:cxn>
                <a:cxn ang="0">
                  <a:pos x="36" y="157"/>
                </a:cxn>
                <a:cxn ang="0">
                  <a:pos x="47" y="149"/>
                </a:cxn>
                <a:cxn ang="0">
                  <a:pos x="53" y="157"/>
                </a:cxn>
                <a:cxn ang="0">
                  <a:pos x="73" y="140"/>
                </a:cxn>
                <a:cxn ang="0">
                  <a:pos x="81" y="106"/>
                </a:cxn>
                <a:cxn ang="0">
                  <a:pos x="103" y="82"/>
                </a:cxn>
                <a:cxn ang="0">
                  <a:pos x="109" y="31"/>
                </a:cxn>
                <a:cxn ang="0">
                  <a:pos x="118" y="0"/>
                </a:cxn>
                <a:cxn ang="0">
                  <a:pos x="107" y="5"/>
                </a:cxn>
                <a:cxn ang="0">
                  <a:pos x="98" y="0"/>
                </a:cxn>
                <a:cxn ang="0">
                  <a:pos x="84" y="5"/>
                </a:cxn>
                <a:cxn ang="0">
                  <a:pos x="77" y="16"/>
                </a:cxn>
                <a:cxn ang="0">
                  <a:pos x="77" y="37"/>
                </a:cxn>
                <a:cxn ang="0">
                  <a:pos x="34" y="28"/>
                </a:cxn>
                <a:cxn ang="0">
                  <a:pos x="41" y="35"/>
                </a:cxn>
                <a:cxn ang="0">
                  <a:pos x="39" y="41"/>
                </a:cxn>
                <a:cxn ang="0">
                  <a:pos x="47" y="46"/>
                </a:cxn>
                <a:cxn ang="0">
                  <a:pos x="43" y="63"/>
                </a:cxn>
                <a:cxn ang="0">
                  <a:pos x="47" y="90"/>
                </a:cxn>
                <a:cxn ang="0">
                  <a:pos x="43" y="112"/>
                </a:cxn>
                <a:cxn ang="0">
                  <a:pos x="21" y="103"/>
                </a:cxn>
                <a:cxn ang="0">
                  <a:pos x="4" y="118"/>
                </a:cxn>
                <a:cxn ang="0">
                  <a:pos x="6" y="133"/>
                </a:cxn>
                <a:cxn ang="0">
                  <a:pos x="0" y="144"/>
                </a:cxn>
                <a:cxn ang="0">
                  <a:pos x="11" y="161"/>
                </a:cxn>
                <a:cxn ang="0">
                  <a:pos x="23" y="149"/>
                </a:cxn>
                <a:cxn ang="0">
                  <a:pos x="23" y="149"/>
                </a:cxn>
              </a:cxnLst>
              <a:rect l="0" t="0" r="r" b="b"/>
              <a:pathLst>
                <a:path w="118" h="161">
                  <a:moveTo>
                    <a:pt x="23" y="149"/>
                  </a:moveTo>
                  <a:lnTo>
                    <a:pt x="26" y="155"/>
                  </a:lnTo>
                  <a:lnTo>
                    <a:pt x="36" y="157"/>
                  </a:lnTo>
                  <a:lnTo>
                    <a:pt x="47" y="149"/>
                  </a:lnTo>
                  <a:lnTo>
                    <a:pt x="53" y="157"/>
                  </a:lnTo>
                  <a:lnTo>
                    <a:pt x="73" y="140"/>
                  </a:lnTo>
                  <a:lnTo>
                    <a:pt x="81" y="106"/>
                  </a:lnTo>
                  <a:lnTo>
                    <a:pt x="103" y="82"/>
                  </a:lnTo>
                  <a:lnTo>
                    <a:pt x="109" y="31"/>
                  </a:lnTo>
                  <a:lnTo>
                    <a:pt x="118" y="0"/>
                  </a:lnTo>
                  <a:lnTo>
                    <a:pt x="107" y="5"/>
                  </a:lnTo>
                  <a:lnTo>
                    <a:pt x="98" y="0"/>
                  </a:lnTo>
                  <a:lnTo>
                    <a:pt x="84" y="5"/>
                  </a:lnTo>
                  <a:lnTo>
                    <a:pt x="77" y="16"/>
                  </a:lnTo>
                  <a:lnTo>
                    <a:pt x="77" y="37"/>
                  </a:lnTo>
                  <a:lnTo>
                    <a:pt x="34" y="28"/>
                  </a:lnTo>
                  <a:lnTo>
                    <a:pt x="41" y="35"/>
                  </a:lnTo>
                  <a:lnTo>
                    <a:pt x="39" y="41"/>
                  </a:lnTo>
                  <a:lnTo>
                    <a:pt x="47" y="46"/>
                  </a:lnTo>
                  <a:lnTo>
                    <a:pt x="43" y="63"/>
                  </a:lnTo>
                  <a:lnTo>
                    <a:pt x="47" y="90"/>
                  </a:lnTo>
                  <a:lnTo>
                    <a:pt x="43" y="112"/>
                  </a:lnTo>
                  <a:lnTo>
                    <a:pt x="21" y="103"/>
                  </a:lnTo>
                  <a:lnTo>
                    <a:pt x="4" y="118"/>
                  </a:lnTo>
                  <a:lnTo>
                    <a:pt x="6" y="133"/>
                  </a:lnTo>
                  <a:lnTo>
                    <a:pt x="0" y="144"/>
                  </a:lnTo>
                  <a:lnTo>
                    <a:pt x="11" y="161"/>
                  </a:lnTo>
                  <a:lnTo>
                    <a:pt x="23" y="149"/>
                  </a:lnTo>
                  <a:lnTo>
                    <a:pt x="23" y="14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07" name="Freeform 5715"/>
            <p:cNvSpPr>
              <a:spLocks/>
            </p:cNvSpPr>
            <p:nvPr>
              <p:custDataLst>
                <p:tags r:id="rId85"/>
              </p:custDataLst>
            </p:nvPr>
          </p:nvSpPr>
          <p:spPr bwMode="gray">
            <a:xfrm>
              <a:off x="6789085" y="4287572"/>
              <a:ext cx="115478" cy="149009"/>
            </a:xfrm>
            <a:custGeom>
              <a:avLst/>
              <a:gdLst/>
              <a:ahLst/>
              <a:cxnLst>
                <a:cxn ang="0">
                  <a:pos x="84" y="7"/>
                </a:cxn>
                <a:cxn ang="0">
                  <a:pos x="82" y="13"/>
                </a:cxn>
                <a:cxn ang="0">
                  <a:pos x="90" y="18"/>
                </a:cxn>
                <a:cxn ang="0">
                  <a:pos x="86" y="35"/>
                </a:cxn>
                <a:cxn ang="0">
                  <a:pos x="90" y="62"/>
                </a:cxn>
                <a:cxn ang="0">
                  <a:pos x="86" y="84"/>
                </a:cxn>
                <a:cxn ang="0">
                  <a:pos x="64" y="75"/>
                </a:cxn>
                <a:cxn ang="0">
                  <a:pos x="47" y="90"/>
                </a:cxn>
                <a:cxn ang="0">
                  <a:pos x="49" y="105"/>
                </a:cxn>
                <a:cxn ang="0">
                  <a:pos x="43" y="116"/>
                </a:cxn>
                <a:cxn ang="0">
                  <a:pos x="19" y="92"/>
                </a:cxn>
                <a:cxn ang="0">
                  <a:pos x="0" y="56"/>
                </a:cxn>
                <a:cxn ang="0">
                  <a:pos x="9" y="48"/>
                </a:cxn>
                <a:cxn ang="0">
                  <a:pos x="9" y="41"/>
                </a:cxn>
                <a:cxn ang="0">
                  <a:pos x="15" y="24"/>
                </a:cxn>
                <a:cxn ang="0">
                  <a:pos x="43" y="20"/>
                </a:cxn>
                <a:cxn ang="0">
                  <a:pos x="41" y="0"/>
                </a:cxn>
                <a:cxn ang="0">
                  <a:pos x="77" y="0"/>
                </a:cxn>
                <a:cxn ang="0">
                  <a:pos x="84" y="7"/>
                </a:cxn>
                <a:cxn ang="0">
                  <a:pos x="84" y="7"/>
                </a:cxn>
              </a:cxnLst>
              <a:rect l="0" t="0" r="r" b="b"/>
              <a:pathLst>
                <a:path w="90" h="116">
                  <a:moveTo>
                    <a:pt x="84" y="7"/>
                  </a:moveTo>
                  <a:lnTo>
                    <a:pt x="82" y="13"/>
                  </a:lnTo>
                  <a:lnTo>
                    <a:pt x="90" y="18"/>
                  </a:lnTo>
                  <a:lnTo>
                    <a:pt x="86" y="35"/>
                  </a:lnTo>
                  <a:lnTo>
                    <a:pt x="90" y="62"/>
                  </a:lnTo>
                  <a:lnTo>
                    <a:pt x="86" y="84"/>
                  </a:lnTo>
                  <a:lnTo>
                    <a:pt x="64" y="75"/>
                  </a:lnTo>
                  <a:lnTo>
                    <a:pt x="47" y="90"/>
                  </a:lnTo>
                  <a:lnTo>
                    <a:pt x="49" y="105"/>
                  </a:lnTo>
                  <a:lnTo>
                    <a:pt x="43" y="116"/>
                  </a:lnTo>
                  <a:lnTo>
                    <a:pt x="19" y="92"/>
                  </a:lnTo>
                  <a:lnTo>
                    <a:pt x="0" y="56"/>
                  </a:lnTo>
                  <a:lnTo>
                    <a:pt x="9" y="48"/>
                  </a:lnTo>
                  <a:lnTo>
                    <a:pt x="9" y="41"/>
                  </a:lnTo>
                  <a:lnTo>
                    <a:pt x="15" y="24"/>
                  </a:lnTo>
                  <a:lnTo>
                    <a:pt x="43" y="20"/>
                  </a:lnTo>
                  <a:lnTo>
                    <a:pt x="41" y="0"/>
                  </a:lnTo>
                  <a:lnTo>
                    <a:pt x="77" y="0"/>
                  </a:lnTo>
                  <a:lnTo>
                    <a:pt x="84" y="7"/>
                  </a:lnTo>
                  <a:lnTo>
                    <a:pt x="84" y="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08" name="Freeform 5716"/>
            <p:cNvSpPr>
              <a:spLocks/>
            </p:cNvSpPr>
            <p:nvPr>
              <p:custDataLst>
                <p:tags r:id="rId86"/>
              </p:custDataLst>
            </p:nvPr>
          </p:nvSpPr>
          <p:spPr bwMode="gray">
            <a:xfrm>
              <a:off x="6800633" y="4287572"/>
              <a:ext cx="43625" cy="30829"/>
            </a:xfrm>
            <a:custGeom>
              <a:avLst/>
              <a:gdLst/>
              <a:ahLst/>
              <a:cxnLst>
                <a:cxn ang="0">
                  <a:pos x="34" y="20"/>
                </a:cxn>
                <a:cxn ang="0">
                  <a:pos x="32" y="0"/>
                </a:cxn>
                <a:cxn ang="0">
                  <a:pos x="6" y="0"/>
                </a:cxn>
                <a:cxn ang="0">
                  <a:pos x="0" y="20"/>
                </a:cxn>
                <a:cxn ang="0">
                  <a:pos x="4" y="24"/>
                </a:cxn>
                <a:cxn ang="0">
                  <a:pos x="34" y="20"/>
                </a:cxn>
                <a:cxn ang="0">
                  <a:pos x="34" y="20"/>
                </a:cxn>
              </a:cxnLst>
              <a:rect l="0" t="0" r="r" b="b"/>
              <a:pathLst>
                <a:path w="34" h="24">
                  <a:moveTo>
                    <a:pt x="34" y="20"/>
                  </a:moveTo>
                  <a:lnTo>
                    <a:pt x="32" y="0"/>
                  </a:lnTo>
                  <a:lnTo>
                    <a:pt x="6" y="0"/>
                  </a:lnTo>
                  <a:lnTo>
                    <a:pt x="0" y="20"/>
                  </a:lnTo>
                  <a:lnTo>
                    <a:pt x="4" y="24"/>
                  </a:lnTo>
                  <a:lnTo>
                    <a:pt x="34" y="20"/>
                  </a:lnTo>
                  <a:lnTo>
                    <a:pt x="34" y="2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09" name="Freeform 5717"/>
            <p:cNvSpPr>
              <a:spLocks/>
            </p:cNvSpPr>
            <p:nvPr>
              <p:custDataLst>
                <p:tags r:id="rId87"/>
              </p:custDataLst>
            </p:nvPr>
          </p:nvSpPr>
          <p:spPr bwMode="gray">
            <a:xfrm>
              <a:off x="6535033" y="4083327"/>
              <a:ext cx="91100" cy="151578"/>
            </a:xfrm>
            <a:custGeom>
              <a:avLst/>
              <a:gdLst/>
              <a:ahLst/>
              <a:cxnLst>
                <a:cxn ang="0">
                  <a:pos x="64" y="79"/>
                </a:cxn>
                <a:cxn ang="0">
                  <a:pos x="60" y="37"/>
                </a:cxn>
                <a:cxn ang="0">
                  <a:pos x="49" y="0"/>
                </a:cxn>
                <a:cxn ang="0">
                  <a:pos x="9" y="2"/>
                </a:cxn>
                <a:cxn ang="0">
                  <a:pos x="6" y="5"/>
                </a:cxn>
                <a:cxn ang="0">
                  <a:pos x="9" y="30"/>
                </a:cxn>
                <a:cxn ang="0">
                  <a:pos x="13" y="52"/>
                </a:cxn>
                <a:cxn ang="0">
                  <a:pos x="0" y="84"/>
                </a:cxn>
                <a:cxn ang="0">
                  <a:pos x="8" y="110"/>
                </a:cxn>
                <a:cxn ang="0">
                  <a:pos x="0" y="112"/>
                </a:cxn>
                <a:cxn ang="0">
                  <a:pos x="19" y="118"/>
                </a:cxn>
                <a:cxn ang="0">
                  <a:pos x="56" y="99"/>
                </a:cxn>
                <a:cxn ang="0">
                  <a:pos x="68" y="99"/>
                </a:cxn>
                <a:cxn ang="0">
                  <a:pos x="71" y="92"/>
                </a:cxn>
                <a:cxn ang="0">
                  <a:pos x="64" y="79"/>
                </a:cxn>
                <a:cxn ang="0">
                  <a:pos x="64" y="79"/>
                </a:cxn>
              </a:cxnLst>
              <a:rect l="0" t="0" r="r" b="b"/>
              <a:pathLst>
                <a:path w="71" h="118">
                  <a:moveTo>
                    <a:pt x="64" y="79"/>
                  </a:moveTo>
                  <a:lnTo>
                    <a:pt x="60" y="37"/>
                  </a:lnTo>
                  <a:lnTo>
                    <a:pt x="49" y="0"/>
                  </a:lnTo>
                  <a:lnTo>
                    <a:pt x="9" y="2"/>
                  </a:lnTo>
                  <a:lnTo>
                    <a:pt x="6" y="5"/>
                  </a:lnTo>
                  <a:lnTo>
                    <a:pt x="9" y="30"/>
                  </a:lnTo>
                  <a:lnTo>
                    <a:pt x="13" y="52"/>
                  </a:lnTo>
                  <a:lnTo>
                    <a:pt x="0" y="84"/>
                  </a:lnTo>
                  <a:lnTo>
                    <a:pt x="8" y="110"/>
                  </a:lnTo>
                  <a:lnTo>
                    <a:pt x="0" y="112"/>
                  </a:lnTo>
                  <a:lnTo>
                    <a:pt x="19" y="118"/>
                  </a:lnTo>
                  <a:lnTo>
                    <a:pt x="56" y="99"/>
                  </a:lnTo>
                  <a:lnTo>
                    <a:pt x="68" y="99"/>
                  </a:lnTo>
                  <a:lnTo>
                    <a:pt x="71" y="92"/>
                  </a:lnTo>
                  <a:lnTo>
                    <a:pt x="64" y="79"/>
                  </a:lnTo>
                  <a:lnTo>
                    <a:pt x="64" y="7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10" name="Freeform 5718"/>
            <p:cNvSpPr>
              <a:spLocks/>
            </p:cNvSpPr>
            <p:nvPr>
              <p:custDataLst>
                <p:tags r:id="rId88"/>
              </p:custDataLst>
            </p:nvPr>
          </p:nvSpPr>
          <p:spPr bwMode="gray">
            <a:xfrm>
              <a:off x="6664625" y="4010107"/>
              <a:ext cx="242505" cy="228652"/>
            </a:xfrm>
            <a:custGeom>
              <a:avLst/>
              <a:gdLst/>
              <a:ahLst/>
              <a:cxnLst>
                <a:cxn ang="0">
                  <a:pos x="183" y="13"/>
                </a:cxn>
                <a:cxn ang="0">
                  <a:pos x="174" y="0"/>
                </a:cxn>
                <a:cxn ang="0">
                  <a:pos x="170" y="0"/>
                </a:cxn>
                <a:cxn ang="0">
                  <a:pos x="155" y="13"/>
                </a:cxn>
                <a:cxn ang="0">
                  <a:pos x="125" y="10"/>
                </a:cxn>
                <a:cxn ang="0">
                  <a:pos x="106" y="21"/>
                </a:cxn>
                <a:cxn ang="0">
                  <a:pos x="82" y="10"/>
                </a:cxn>
                <a:cxn ang="0">
                  <a:pos x="71" y="17"/>
                </a:cxn>
                <a:cxn ang="0">
                  <a:pos x="48" y="0"/>
                </a:cxn>
                <a:cxn ang="0">
                  <a:pos x="31" y="4"/>
                </a:cxn>
                <a:cxn ang="0">
                  <a:pos x="16" y="23"/>
                </a:cxn>
                <a:cxn ang="0">
                  <a:pos x="15" y="40"/>
                </a:cxn>
                <a:cxn ang="0">
                  <a:pos x="15" y="40"/>
                </a:cxn>
                <a:cxn ang="0">
                  <a:pos x="16" y="60"/>
                </a:cxn>
                <a:cxn ang="0">
                  <a:pos x="2" y="100"/>
                </a:cxn>
                <a:cxn ang="0">
                  <a:pos x="0" y="139"/>
                </a:cxn>
                <a:cxn ang="0">
                  <a:pos x="20" y="137"/>
                </a:cxn>
                <a:cxn ang="0">
                  <a:pos x="37" y="146"/>
                </a:cxn>
                <a:cxn ang="0">
                  <a:pos x="43" y="171"/>
                </a:cxn>
                <a:cxn ang="0">
                  <a:pos x="52" y="178"/>
                </a:cxn>
                <a:cxn ang="0">
                  <a:pos x="93" y="169"/>
                </a:cxn>
                <a:cxn ang="0">
                  <a:pos x="112" y="130"/>
                </a:cxn>
                <a:cxn ang="0">
                  <a:pos x="127" y="130"/>
                </a:cxn>
                <a:cxn ang="0">
                  <a:pos x="134" y="137"/>
                </a:cxn>
                <a:cxn ang="0">
                  <a:pos x="142" y="133"/>
                </a:cxn>
                <a:cxn ang="0">
                  <a:pos x="155" y="100"/>
                </a:cxn>
                <a:cxn ang="0">
                  <a:pos x="163" y="92"/>
                </a:cxn>
                <a:cxn ang="0">
                  <a:pos x="172" y="56"/>
                </a:cxn>
                <a:cxn ang="0">
                  <a:pos x="189" y="40"/>
                </a:cxn>
                <a:cxn ang="0">
                  <a:pos x="183" y="25"/>
                </a:cxn>
                <a:cxn ang="0">
                  <a:pos x="183" y="13"/>
                </a:cxn>
                <a:cxn ang="0">
                  <a:pos x="183" y="13"/>
                </a:cxn>
              </a:cxnLst>
              <a:rect l="0" t="0" r="r" b="b"/>
              <a:pathLst>
                <a:path w="189" h="178">
                  <a:moveTo>
                    <a:pt x="183" y="13"/>
                  </a:moveTo>
                  <a:lnTo>
                    <a:pt x="174" y="0"/>
                  </a:lnTo>
                  <a:lnTo>
                    <a:pt x="170" y="0"/>
                  </a:lnTo>
                  <a:lnTo>
                    <a:pt x="155" y="13"/>
                  </a:lnTo>
                  <a:lnTo>
                    <a:pt x="125" y="10"/>
                  </a:lnTo>
                  <a:lnTo>
                    <a:pt x="106" y="21"/>
                  </a:lnTo>
                  <a:lnTo>
                    <a:pt x="82" y="10"/>
                  </a:lnTo>
                  <a:lnTo>
                    <a:pt x="71" y="17"/>
                  </a:lnTo>
                  <a:lnTo>
                    <a:pt x="48" y="0"/>
                  </a:lnTo>
                  <a:lnTo>
                    <a:pt x="31" y="4"/>
                  </a:lnTo>
                  <a:lnTo>
                    <a:pt x="16" y="23"/>
                  </a:lnTo>
                  <a:lnTo>
                    <a:pt x="15" y="40"/>
                  </a:lnTo>
                  <a:lnTo>
                    <a:pt x="15" y="40"/>
                  </a:lnTo>
                  <a:lnTo>
                    <a:pt x="16" y="60"/>
                  </a:lnTo>
                  <a:lnTo>
                    <a:pt x="2" y="100"/>
                  </a:lnTo>
                  <a:lnTo>
                    <a:pt x="0" y="139"/>
                  </a:lnTo>
                  <a:lnTo>
                    <a:pt x="20" y="137"/>
                  </a:lnTo>
                  <a:lnTo>
                    <a:pt x="37" y="146"/>
                  </a:lnTo>
                  <a:lnTo>
                    <a:pt x="43" y="171"/>
                  </a:lnTo>
                  <a:lnTo>
                    <a:pt x="52" y="178"/>
                  </a:lnTo>
                  <a:lnTo>
                    <a:pt x="93" y="169"/>
                  </a:lnTo>
                  <a:lnTo>
                    <a:pt x="112" y="130"/>
                  </a:lnTo>
                  <a:lnTo>
                    <a:pt x="127" y="130"/>
                  </a:lnTo>
                  <a:lnTo>
                    <a:pt x="134" y="137"/>
                  </a:lnTo>
                  <a:lnTo>
                    <a:pt x="142" y="133"/>
                  </a:lnTo>
                  <a:lnTo>
                    <a:pt x="155" y="100"/>
                  </a:lnTo>
                  <a:lnTo>
                    <a:pt x="163" y="92"/>
                  </a:lnTo>
                  <a:lnTo>
                    <a:pt x="172" y="56"/>
                  </a:lnTo>
                  <a:lnTo>
                    <a:pt x="189" y="40"/>
                  </a:lnTo>
                  <a:lnTo>
                    <a:pt x="183" y="25"/>
                  </a:lnTo>
                  <a:lnTo>
                    <a:pt x="183" y="13"/>
                  </a:lnTo>
                  <a:lnTo>
                    <a:pt x="183" y="1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11" name="Freeform 5719"/>
            <p:cNvSpPr>
              <a:spLocks/>
            </p:cNvSpPr>
            <p:nvPr>
              <p:custDataLst>
                <p:tags r:id="rId89"/>
              </p:custDataLst>
            </p:nvPr>
          </p:nvSpPr>
          <p:spPr bwMode="gray">
            <a:xfrm>
              <a:off x="6424687" y="4092319"/>
              <a:ext cx="127026" cy="151578"/>
            </a:xfrm>
            <a:custGeom>
              <a:avLst/>
              <a:gdLst/>
              <a:ahLst/>
              <a:cxnLst>
                <a:cxn ang="0">
                  <a:pos x="94" y="103"/>
                </a:cxn>
                <a:cxn ang="0">
                  <a:pos x="86" y="77"/>
                </a:cxn>
                <a:cxn ang="0">
                  <a:pos x="99" y="45"/>
                </a:cxn>
                <a:cxn ang="0">
                  <a:pos x="95" y="23"/>
                </a:cxn>
                <a:cxn ang="0">
                  <a:pos x="80" y="13"/>
                </a:cxn>
                <a:cxn ang="0">
                  <a:pos x="60" y="15"/>
                </a:cxn>
                <a:cxn ang="0">
                  <a:pos x="54" y="8"/>
                </a:cxn>
                <a:cxn ang="0">
                  <a:pos x="41" y="8"/>
                </a:cxn>
                <a:cxn ang="0">
                  <a:pos x="36" y="0"/>
                </a:cxn>
                <a:cxn ang="0">
                  <a:pos x="22" y="10"/>
                </a:cxn>
                <a:cxn ang="0">
                  <a:pos x="13" y="6"/>
                </a:cxn>
                <a:cxn ang="0">
                  <a:pos x="9" y="10"/>
                </a:cxn>
                <a:cxn ang="0">
                  <a:pos x="6" y="21"/>
                </a:cxn>
                <a:cxn ang="0">
                  <a:pos x="13" y="40"/>
                </a:cxn>
                <a:cxn ang="0">
                  <a:pos x="4" y="45"/>
                </a:cxn>
                <a:cxn ang="0">
                  <a:pos x="6" y="55"/>
                </a:cxn>
                <a:cxn ang="0">
                  <a:pos x="0" y="58"/>
                </a:cxn>
                <a:cxn ang="0">
                  <a:pos x="2" y="79"/>
                </a:cxn>
                <a:cxn ang="0">
                  <a:pos x="17" y="94"/>
                </a:cxn>
                <a:cxn ang="0">
                  <a:pos x="15" y="118"/>
                </a:cxn>
                <a:cxn ang="0">
                  <a:pos x="41" y="105"/>
                </a:cxn>
                <a:cxn ang="0">
                  <a:pos x="67" y="102"/>
                </a:cxn>
                <a:cxn ang="0">
                  <a:pos x="86" y="105"/>
                </a:cxn>
                <a:cxn ang="0">
                  <a:pos x="94" y="103"/>
                </a:cxn>
                <a:cxn ang="0">
                  <a:pos x="94" y="103"/>
                </a:cxn>
              </a:cxnLst>
              <a:rect l="0" t="0" r="r" b="b"/>
              <a:pathLst>
                <a:path w="99" h="118">
                  <a:moveTo>
                    <a:pt x="94" y="103"/>
                  </a:moveTo>
                  <a:lnTo>
                    <a:pt x="86" y="77"/>
                  </a:lnTo>
                  <a:lnTo>
                    <a:pt x="99" y="45"/>
                  </a:lnTo>
                  <a:lnTo>
                    <a:pt x="95" y="23"/>
                  </a:lnTo>
                  <a:lnTo>
                    <a:pt x="80" y="13"/>
                  </a:lnTo>
                  <a:lnTo>
                    <a:pt x="60" y="15"/>
                  </a:lnTo>
                  <a:lnTo>
                    <a:pt x="54" y="8"/>
                  </a:lnTo>
                  <a:lnTo>
                    <a:pt x="41" y="8"/>
                  </a:lnTo>
                  <a:lnTo>
                    <a:pt x="36" y="0"/>
                  </a:lnTo>
                  <a:lnTo>
                    <a:pt x="22" y="10"/>
                  </a:lnTo>
                  <a:lnTo>
                    <a:pt x="13" y="6"/>
                  </a:lnTo>
                  <a:lnTo>
                    <a:pt x="9" y="10"/>
                  </a:lnTo>
                  <a:lnTo>
                    <a:pt x="6" y="21"/>
                  </a:lnTo>
                  <a:lnTo>
                    <a:pt x="13" y="40"/>
                  </a:lnTo>
                  <a:lnTo>
                    <a:pt x="4" y="45"/>
                  </a:lnTo>
                  <a:lnTo>
                    <a:pt x="6" y="55"/>
                  </a:lnTo>
                  <a:lnTo>
                    <a:pt x="0" y="58"/>
                  </a:lnTo>
                  <a:lnTo>
                    <a:pt x="2" y="79"/>
                  </a:lnTo>
                  <a:lnTo>
                    <a:pt x="17" y="94"/>
                  </a:lnTo>
                  <a:lnTo>
                    <a:pt x="15" y="118"/>
                  </a:lnTo>
                  <a:lnTo>
                    <a:pt x="41" y="105"/>
                  </a:lnTo>
                  <a:lnTo>
                    <a:pt x="67" y="102"/>
                  </a:lnTo>
                  <a:lnTo>
                    <a:pt x="86" y="105"/>
                  </a:lnTo>
                  <a:lnTo>
                    <a:pt x="94" y="103"/>
                  </a:lnTo>
                  <a:lnTo>
                    <a:pt x="94" y="10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12" name="Freeform 5720"/>
            <p:cNvSpPr>
              <a:spLocks/>
            </p:cNvSpPr>
            <p:nvPr>
              <p:custDataLst>
                <p:tags r:id="rId90"/>
              </p:custDataLst>
            </p:nvPr>
          </p:nvSpPr>
          <p:spPr bwMode="gray">
            <a:xfrm>
              <a:off x="6242488" y="3951018"/>
              <a:ext cx="124460" cy="102765"/>
            </a:xfrm>
            <a:custGeom>
              <a:avLst/>
              <a:gdLst/>
              <a:ahLst/>
              <a:cxnLst>
                <a:cxn ang="0">
                  <a:pos x="86" y="35"/>
                </a:cxn>
                <a:cxn ang="0">
                  <a:pos x="97" y="79"/>
                </a:cxn>
                <a:cxn ang="0">
                  <a:pos x="60" y="73"/>
                </a:cxn>
                <a:cxn ang="0">
                  <a:pos x="11" y="79"/>
                </a:cxn>
                <a:cxn ang="0">
                  <a:pos x="9" y="80"/>
                </a:cxn>
                <a:cxn ang="0">
                  <a:pos x="9" y="65"/>
                </a:cxn>
                <a:cxn ang="0">
                  <a:pos x="11" y="67"/>
                </a:cxn>
                <a:cxn ang="0">
                  <a:pos x="35" y="60"/>
                </a:cxn>
                <a:cxn ang="0">
                  <a:pos x="56" y="62"/>
                </a:cxn>
                <a:cxn ang="0">
                  <a:pos x="58" y="58"/>
                </a:cxn>
                <a:cxn ang="0">
                  <a:pos x="35" y="50"/>
                </a:cxn>
                <a:cxn ang="0">
                  <a:pos x="11" y="56"/>
                </a:cxn>
                <a:cxn ang="0">
                  <a:pos x="11" y="56"/>
                </a:cxn>
                <a:cxn ang="0">
                  <a:pos x="11" y="50"/>
                </a:cxn>
                <a:cxn ang="0">
                  <a:pos x="0" y="37"/>
                </a:cxn>
                <a:cxn ang="0">
                  <a:pos x="18" y="15"/>
                </a:cxn>
                <a:cxn ang="0">
                  <a:pos x="30" y="4"/>
                </a:cxn>
                <a:cxn ang="0">
                  <a:pos x="46" y="0"/>
                </a:cxn>
                <a:cxn ang="0">
                  <a:pos x="67" y="13"/>
                </a:cxn>
                <a:cxn ang="0">
                  <a:pos x="86" y="35"/>
                </a:cxn>
                <a:cxn ang="0">
                  <a:pos x="86" y="35"/>
                </a:cxn>
              </a:cxnLst>
              <a:rect l="0" t="0" r="r" b="b"/>
              <a:pathLst>
                <a:path w="97" h="80">
                  <a:moveTo>
                    <a:pt x="86" y="35"/>
                  </a:moveTo>
                  <a:lnTo>
                    <a:pt x="97" y="79"/>
                  </a:lnTo>
                  <a:lnTo>
                    <a:pt x="60" y="73"/>
                  </a:lnTo>
                  <a:lnTo>
                    <a:pt x="11" y="79"/>
                  </a:lnTo>
                  <a:lnTo>
                    <a:pt x="9" y="80"/>
                  </a:lnTo>
                  <a:lnTo>
                    <a:pt x="9" y="65"/>
                  </a:lnTo>
                  <a:lnTo>
                    <a:pt x="11" y="67"/>
                  </a:lnTo>
                  <a:lnTo>
                    <a:pt x="35" y="60"/>
                  </a:lnTo>
                  <a:lnTo>
                    <a:pt x="56" y="62"/>
                  </a:lnTo>
                  <a:lnTo>
                    <a:pt x="58" y="58"/>
                  </a:lnTo>
                  <a:lnTo>
                    <a:pt x="35" y="50"/>
                  </a:lnTo>
                  <a:lnTo>
                    <a:pt x="11" y="56"/>
                  </a:lnTo>
                  <a:lnTo>
                    <a:pt x="11" y="56"/>
                  </a:lnTo>
                  <a:lnTo>
                    <a:pt x="11" y="50"/>
                  </a:lnTo>
                  <a:lnTo>
                    <a:pt x="0" y="37"/>
                  </a:lnTo>
                  <a:lnTo>
                    <a:pt x="18" y="15"/>
                  </a:lnTo>
                  <a:lnTo>
                    <a:pt x="30" y="4"/>
                  </a:lnTo>
                  <a:lnTo>
                    <a:pt x="46" y="0"/>
                  </a:lnTo>
                  <a:lnTo>
                    <a:pt x="67" y="13"/>
                  </a:lnTo>
                  <a:lnTo>
                    <a:pt x="86" y="35"/>
                  </a:lnTo>
                  <a:lnTo>
                    <a:pt x="86" y="3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13" name="Freeform 5721"/>
            <p:cNvSpPr>
              <a:spLocks/>
            </p:cNvSpPr>
            <p:nvPr>
              <p:custDataLst>
                <p:tags r:id="rId91"/>
              </p:custDataLst>
            </p:nvPr>
          </p:nvSpPr>
          <p:spPr bwMode="gray">
            <a:xfrm>
              <a:off x="6757486" y="3476917"/>
              <a:ext cx="71853" cy="164424"/>
            </a:xfrm>
            <a:custGeom>
              <a:avLst/>
              <a:gdLst/>
              <a:ahLst/>
              <a:cxnLst>
                <a:cxn ang="0">
                  <a:pos x="54" y="75"/>
                </a:cxn>
                <a:cxn ang="0">
                  <a:pos x="56" y="90"/>
                </a:cxn>
                <a:cxn ang="0">
                  <a:pos x="40" y="107"/>
                </a:cxn>
                <a:cxn ang="0">
                  <a:pos x="40" y="124"/>
                </a:cxn>
                <a:cxn ang="0">
                  <a:pos x="28" y="128"/>
                </a:cxn>
                <a:cxn ang="0">
                  <a:pos x="25" y="100"/>
                </a:cxn>
                <a:cxn ang="0">
                  <a:pos x="10" y="88"/>
                </a:cxn>
                <a:cxn ang="0">
                  <a:pos x="0" y="66"/>
                </a:cxn>
                <a:cxn ang="0">
                  <a:pos x="13" y="45"/>
                </a:cxn>
                <a:cxn ang="0">
                  <a:pos x="13" y="14"/>
                </a:cxn>
                <a:cxn ang="0">
                  <a:pos x="21" y="6"/>
                </a:cxn>
                <a:cxn ang="0">
                  <a:pos x="32" y="0"/>
                </a:cxn>
                <a:cxn ang="0">
                  <a:pos x="41" y="2"/>
                </a:cxn>
                <a:cxn ang="0">
                  <a:pos x="45" y="12"/>
                </a:cxn>
                <a:cxn ang="0">
                  <a:pos x="54" y="6"/>
                </a:cxn>
                <a:cxn ang="0">
                  <a:pos x="45" y="17"/>
                </a:cxn>
                <a:cxn ang="0">
                  <a:pos x="54" y="38"/>
                </a:cxn>
                <a:cxn ang="0">
                  <a:pos x="40" y="57"/>
                </a:cxn>
                <a:cxn ang="0">
                  <a:pos x="41" y="64"/>
                </a:cxn>
                <a:cxn ang="0">
                  <a:pos x="53" y="66"/>
                </a:cxn>
                <a:cxn ang="0">
                  <a:pos x="54" y="75"/>
                </a:cxn>
                <a:cxn ang="0">
                  <a:pos x="54" y="75"/>
                </a:cxn>
                <a:cxn ang="0">
                  <a:pos x="54" y="75"/>
                </a:cxn>
              </a:cxnLst>
              <a:rect l="0" t="0" r="r" b="b"/>
              <a:pathLst>
                <a:path w="56" h="128">
                  <a:moveTo>
                    <a:pt x="54" y="75"/>
                  </a:moveTo>
                  <a:lnTo>
                    <a:pt x="56" y="90"/>
                  </a:lnTo>
                  <a:lnTo>
                    <a:pt x="40" y="107"/>
                  </a:lnTo>
                  <a:lnTo>
                    <a:pt x="40" y="124"/>
                  </a:lnTo>
                  <a:lnTo>
                    <a:pt x="28" y="128"/>
                  </a:lnTo>
                  <a:lnTo>
                    <a:pt x="25" y="100"/>
                  </a:lnTo>
                  <a:lnTo>
                    <a:pt x="10" y="88"/>
                  </a:lnTo>
                  <a:lnTo>
                    <a:pt x="0" y="66"/>
                  </a:lnTo>
                  <a:lnTo>
                    <a:pt x="13" y="45"/>
                  </a:lnTo>
                  <a:lnTo>
                    <a:pt x="13" y="14"/>
                  </a:lnTo>
                  <a:lnTo>
                    <a:pt x="21" y="6"/>
                  </a:lnTo>
                  <a:lnTo>
                    <a:pt x="32" y="0"/>
                  </a:lnTo>
                  <a:lnTo>
                    <a:pt x="41" y="2"/>
                  </a:lnTo>
                  <a:lnTo>
                    <a:pt x="45" y="12"/>
                  </a:lnTo>
                  <a:lnTo>
                    <a:pt x="54" y="6"/>
                  </a:lnTo>
                  <a:lnTo>
                    <a:pt x="45" y="17"/>
                  </a:lnTo>
                  <a:lnTo>
                    <a:pt x="54" y="38"/>
                  </a:lnTo>
                  <a:lnTo>
                    <a:pt x="40" y="57"/>
                  </a:lnTo>
                  <a:lnTo>
                    <a:pt x="41" y="64"/>
                  </a:lnTo>
                  <a:lnTo>
                    <a:pt x="53" y="66"/>
                  </a:lnTo>
                  <a:lnTo>
                    <a:pt x="54" y="75"/>
                  </a:lnTo>
                  <a:lnTo>
                    <a:pt x="54" y="75"/>
                  </a:lnTo>
                  <a:lnTo>
                    <a:pt x="54" y="7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14" name="Freeform 5722"/>
            <p:cNvSpPr>
              <a:spLocks/>
            </p:cNvSpPr>
            <p:nvPr>
              <p:custDataLst>
                <p:tags r:id="rId92"/>
              </p:custDataLst>
            </p:nvPr>
          </p:nvSpPr>
          <p:spPr bwMode="gray">
            <a:xfrm>
              <a:off x="6445694" y="3325339"/>
              <a:ext cx="232240" cy="181123"/>
            </a:xfrm>
            <a:custGeom>
              <a:avLst/>
              <a:gdLst/>
              <a:ahLst/>
              <a:cxnLst>
                <a:cxn ang="0">
                  <a:pos x="129" y="17"/>
                </a:cxn>
                <a:cxn ang="0">
                  <a:pos x="179" y="21"/>
                </a:cxn>
                <a:cxn ang="0">
                  <a:pos x="181" y="32"/>
                </a:cxn>
                <a:cxn ang="0">
                  <a:pos x="148" y="49"/>
                </a:cxn>
                <a:cxn ang="0">
                  <a:pos x="127" y="77"/>
                </a:cxn>
                <a:cxn ang="0">
                  <a:pos x="135" y="92"/>
                </a:cxn>
                <a:cxn ang="0">
                  <a:pos x="97" y="128"/>
                </a:cxn>
                <a:cxn ang="0">
                  <a:pos x="60" y="130"/>
                </a:cxn>
                <a:cxn ang="0">
                  <a:pos x="45" y="141"/>
                </a:cxn>
                <a:cxn ang="0">
                  <a:pos x="24" y="118"/>
                </a:cxn>
                <a:cxn ang="0">
                  <a:pos x="30" y="100"/>
                </a:cxn>
                <a:cxn ang="0">
                  <a:pos x="24" y="75"/>
                </a:cxn>
                <a:cxn ang="0">
                  <a:pos x="32" y="68"/>
                </a:cxn>
                <a:cxn ang="0">
                  <a:pos x="33" y="53"/>
                </a:cxn>
                <a:cxn ang="0">
                  <a:pos x="43" y="42"/>
                </a:cxn>
                <a:cxn ang="0">
                  <a:pos x="41" y="34"/>
                </a:cxn>
                <a:cxn ang="0">
                  <a:pos x="7" y="32"/>
                </a:cxn>
                <a:cxn ang="0">
                  <a:pos x="0" y="13"/>
                </a:cxn>
                <a:cxn ang="0">
                  <a:pos x="3" y="8"/>
                </a:cxn>
                <a:cxn ang="0">
                  <a:pos x="18" y="0"/>
                </a:cxn>
                <a:cxn ang="0">
                  <a:pos x="71" y="8"/>
                </a:cxn>
                <a:cxn ang="0">
                  <a:pos x="103" y="8"/>
                </a:cxn>
                <a:cxn ang="0">
                  <a:pos x="110" y="6"/>
                </a:cxn>
                <a:cxn ang="0">
                  <a:pos x="129" y="17"/>
                </a:cxn>
                <a:cxn ang="0">
                  <a:pos x="129" y="17"/>
                </a:cxn>
              </a:cxnLst>
              <a:rect l="0" t="0" r="r" b="b"/>
              <a:pathLst>
                <a:path w="181" h="141">
                  <a:moveTo>
                    <a:pt x="129" y="17"/>
                  </a:moveTo>
                  <a:lnTo>
                    <a:pt x="179" y="21"/>
                  </a:lnTo>
                  <a:lnTo>
                    <a:pt x="181" y="32"/>
                  </a:lnTo>
                  <a:lnTo>
                    <a:pt x="148" y="49"/>
                  </a:lnTo>
                  <a:lnTo>
                    <a:pt x="127" y="77"/>
                  </a:lnTo>
                  <a:lnTo>
                    <a:pt x="135" y="92"/>
                  </a:lnTo>
                  <a:lnTo>
                    <a:pt x="97" y="128"/>
                  </a:lnTo>
                  <a:lnTo>
                    <a:pt x="60" y="130"/>
                  </a:lnTo>
                  <a:lnTo>
                    <a:pt x="45" y="141"/>
                  </a:lnTo>
                  <a:lnTo>
                    <a:pt x="24" y="118"/>
                  </a:lnTo>
                  <a:lnTo>
                    <a:pt x="30" y="100"/>
                  </a:lnTo>
                  <a:lnTo>
                    <a:pt x="24" y="75"/>
                  </a:lnTo>
                  <a:lnTo>
                    <a:pt x="32" y="68"/>
                  </a:lnTo>
                  <a:lnTo>
                    <a:pt x="33" y="53"/>
                  </a:lnTo>
                  <a:lnTo>
                    <a:pt x="43" y="42"/>
                  </a:lnTo>
                  <a:lnTo>
                    <a:pt x="41" y="34"/>
                  </a:lnTo>
                  <a:lnTo>
                    <a:pt x="7" y="32"/>
                  </a:lnTo>
                  <a:lnTo>
                    <a:pt x="0" y="13"/>
                  </a:lnTo>
                  <a:lnTo>
                    <a:pt x="3" y="8"/>
                  </a:lnTo>
                  <a:lnTo>
                    <a:pt x="18" y="0"/>
                  </a:lnTo>
                  <a:lnTo>
                    <a:pt x="71" y="8"/>
                  </a:lnTo>
                  <a:lnTo>
                    <a:pt x="103" y="8"/>
                  </a:lnTo>
                  <a:lnTo>
                    <a:pt x="110" y="6"/>
                  </a:lnTo>
                  <a:lnTo>
                    <a:pt x="129" y="17"/>
                  </a:lnTo>
                  <a:lnTo>
                    <a:pt x="129" y="17"/>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15" name="Freeform 5723"/>
            <p:cNvSpPr>
              <a:spLocks/>
            </p:cNvSpPr>
            <p:nvPr>
              <p:custDataLst>
                <p:tags r:id="rId93"/>
              </p:custDataLst>
            </p:nvPr>
          </p:nvSpPr>
          <p:spPr bwMode="gray">
            <a:xfrm>
              <a:off x="6432863" y="3366445"/>
              <a:ext cx="68004" cy="115610"/>
            </a:xfrm>
            <a:custGeom>
              <a:avLst/>
              <a:gdLst/>
              <a:ahLst/>
              <a:cxnLst>
                <a:cxn ang="0">
                  <a:pos x="40" y="68"/>
                </a:cxn>
                <a:cxn ang="0">
                  <a:pos x="34" y="43"/>
                </a:cxn>
                <a:cxn ang="0">
                  <a:pos x="42" y="36"/>
                </a:cxn>
                <a:cxn ang="0">
                  <a:pos x="43" y="21"/>
                </a:cxn>
                <a:cxn ang="0">
                  <a:pos x="53" y="10"/>
                </a:cxn>
                <a:cxn ang="0">
                  <a:pos x="51" y="2"/>
                </a:cxn>
                <a:cxn ang="0">
                  <a:pos x="17" y="0"/>
                </a:cxn>
                <a:cxn ang="0">
                  <a:pos x="15" y="15"/>
                </a:cxn>
                <a:cxn ang="0">
                  <a:pos x="0" y="58"/>
                </a:cxn>
                <a:cxn ang="0">
                  <a:pos x="10" y="64"/>
                </a:cxn>
                <a:cxn ang="0">
                  <a:pos x="4" y="90"/>
                </a:cxn>
                <a:cxn ang="0">
                  <a:pos x="34" y="86"/>
                </a:cxn>
                <a:cxn ang="0">
                  <a:pos x="40" y="68"/>
                </a:cxn>
                <a:cxn ang="0">
                  <a:pos x="40" y="68"/>
                </a:cxn>
              </a:cxnLst>
              <a:rect l="0" t="0" r="r" b="b"/>
              <a:pathLst>
                <a:path w="53" h="90">
                  <a:moveTo>
                    <a:pt x="40" y="68"/>
                  </a:moveTo>
                  <a:lnTo>
                    <a:pt x="34" y="43"/>
                  </a:lnTo>
                  <a:lnTo>
                    <a:pt x="42" y="36"/>
                  </a:lnTo>
                  <a:lnTo>
                    <a:pt x="43" y="21"/>
                  </a:lnTo>
                  <a:lnTo>
                    <a:pt x="53" y="10"/>
                  </a:lnTo>
                  <a:lnTo>
                    <a:pt x="51" y="2"/>
                  </a:lnTo>
                  <a:lnTo>
                    <a:pt x="17" y="0"/>
                  </a:lnTo>
                  <a:lnTo>
                    <a:pt x="15" y="15"/>
                  </a:lnTo>
                  <a:lnTo>
                    <a:pt x="0" y="58"/>
                  </a:lnTo>
                  <a:lnTo>
                    <a:pt x="10" y="64"/>
                  </a:lnTo>
                  <a:lnTo>
                    <a:pt x="4" y="90"/>
                  </a:lnTo>
                  <a:lnTo>
                    <a:pt x="34" y="86"/>
                  </a:lnTo>
                  <a:lnTo>
                    <a:pt x="40" y="68"/>
                  </a:lnTo>
                  <a:lnTo>
                    <a:pt x="40" y="68"/>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16" name="Freeform 5724"/>
            <p:cNvSpPr>
              <a:spLocks/>
            </p:cNvSpPr>
            <p:nvPr>
              <p:custDataLst>
                <p:tags r:id="rId94"/>
              </p:custDataLst>
            </p:nvPr>
          </p:nvSpPr>
          <p:spPr bwMode="gray">
            <a:xfrm>
              <a:off x="6539360" y="3151924"/>
              <a:ext cx="232240" cy="200391"/>
            </a:xfrm>
            <a:custGeom>
              <a:avLst/>
              <a:gdLst/>
              <a:ahLst/>
              <a:cxnLst>
                <a:cxn ang="0">
                  <a:pos x="174" y="64"/>
                </a:cxn>
                <a:cxn ang="0">
                  <a:pos x="181" y="42"/>
                </a:cxn>
                <a:cxn ang="0">
                  <a:pos x="157" y="30"/>
                </a:cxn>
                <a:cxn ang="0">
                  <a:pos x="150" y="29"/>
                </a:cxn>
                <a:cxn ang="0">
                  <a:pos x="140" y="27"/>
                </a:cxn>
                <a:cxn ang="0">
                  <a:pos x="138" y="19"/>
                </a:cxn>
                <a:cxn ang="0">
                  <a:pos x="129" y="21"/>
                </a:cxn>
                <a:cxn ang="0">
                  <a:pos x="110" y="2"/>
                </a:cxn>
                <a:cxn ang="0">
                  <a:pos x="108" y="0"/>
                </a:cxn>
                <a:cxn ang="0">
                  <a:pos x="95" y="8"/>
                </a:cxn>
                <a:cxn ang="0">
                  <a:pos x="90" y="21"/>
                </a:cxn>
                <a:cxn ang="0">
                  <a:pos x="71" y="27"/>
                </a:cxn>
                <a:cxn ang="0">
                  <a:pos x="69" y="36"/>
                </a:cxn>
                <a:cxn ang="0">
                  <a:pos x="52" y="36"/>
                </a:cxn>
                <a:cxn ang="0">
                  <a:pos x="50" y="27"/>
                </a:cxn>
                <a:cxn ang="0">
                  <a:pos x="41" y="27"/>
                </a:cxn>
                <a:cxn ang="0">
                  <a:pos x="47" y="47"/>
                </a:cxn>
                <a:cxn ang="0">
                  <a:pos x="30" y="49"/>
                </a:cxn>
                <a:cxn ang="0">
                  <a:pos x="24" y="44"/>
                </a:cxn>
                <a:cxn ang="0">
                  <a:pos x="0" y="49"/>
                </a:cxn>
                <a:cxn ang="0">
                  <a:pos x="0" y="59"/>
                </a:cxn>
                <a:cxn ang="0">
                  <a:pos x="30" y="66"/>
                </a:cxn>
                <a:cxn ang="0">
                  <a:pos x="47" y="89"/>
                </a:cxn>
                <a:cxn ang="0">
                  <a:pos x="50" y="96"/>
                </a:cxn>
                <a:cxn ang="0">
                  <a:pos x="41" y="135"/>
                </a:cxn>
                <a:cxn ang="0">
                  <a:pos x="37" y="141"/>
                </a:cxn>
                <a:cxn ang="0">
                  <a:pos x="56" y="152"/>
                </a:cxn>
                <a:cxn ang="0">
                  <a:pos x="106" y="156"/>
                </a:cxn>
                <a:cxn ang="0">
                  <a:pos x="106" y="148"/>
                </a:cxn>
                <a:cxn ang="0">
                  <a:pos x="121" y="139"/>
                </a:cxn>
                <a:cxn ang="0">
                  <a:pos x="157" y="147"/>
                </a:cxn>
                <a:cxn ang="0">
                  <a:pos x="174" y="133"/>
                </a:cxn>
                <a:cxn ang="0">
                  <a:pos x="163" y="115"/>
                </a:cxn>
                <a:cxn ang="0">
                  <a:pos x="166" y="96"/>
                </a:cxn>
                <a:cxn ang="0">
                  <a:pos x="163" y="87"/>
                </a:cxn>
                <a:cxn ang="0">
                  <a:pos x="153" y="90"/>
                </a:cxn>
                <a:cxn ang="0">
                  <a:pos x="151" y="85"/>
                </a:cxn>
                <a:cxn ang="0">
                  <a:pos x="166" y="66"/>
                </a:cxn>
                <a:cxn ang="0">
                  <a:pos x="174" y="64"/>
                </a:cxn>
                <a:cxn ang="0">
                  <a:pos x="174" y="64"/>
                </a:cxn>
                <a:cxn ang="0">
                  <a:pos x="174" y="64"/>
                </a:cxn>
              </a:cxnLst>
              <a:rect l="0" t="0" r="r" b="b"/>
              <a:pathLst>
                <a:path w="181" h="156">
                  <a:moveTo>
                    <a:pt x="174" y="64"/>
                  </a:moveTo>
                  <a:lnTo>
                    <a:pt x="181" y="42"/>
                  </a:lnTo>
                  <a:lnTo>
                    <a:pt x="157" y="30"/>
                  </a:lnTo>
                  <a:lnTo>
                    <a:pt x="150" y="29"/>
                  </a:lnTo>
                  <a:lnTo>
                    <a:pt x="140" y="27"/>
                  </a:lnTo>
                  <a:lnTo>
                    <a:pt x="138" y="19"/>
                  </a:lnTo>
                  <a:lnTo>
                    <a:pt x="129" y="21"/>
                  </a:lnTo>
                  <a:lnTo>
                    <a:pt x="110" y="2"/>
                  </a:lnTo>
                  <a:lnTo>
                    <a:pt x="108" y="0"/>
                  </a:lnTo>
                  <a:lnTo>
                    <a:pt x="95" y="8"/>
                  </a:lnTo>
                  <a:lnTo>
                    <a:pt x="90" y="21"/>
                  </a:lnTo>
                  <a:lnTo>
                    <a:pt x="71" y="27"/>
                  </a:lnTo>
                  <a:lnTo>
                    <a:pt x="69" y="36"/>
                  </a:lnTo>
                  <a:lnTo>
                    <a:pt x="52" y="36"/>
                  </a:lnTo>
                  <a:lnTo>
                    <a:pt x="50" y="27"/>
                  </a:lnTo>
                  <a:lnTo>
                    <a:pt x="41" y="27"/>
                  </a:lnTo>
                  <a:lnTo>
                    <a:pt x="47" y="47"/>
                  </a:lnTo>
                  <a:lnTo>
                    <a:pt x="30" y="49"/>
                  </a:lnTo>
                  <a:lnTo>
                    <a:pt x="24" y="44"/>
                  </a:lnTo>
                  <a:lnTo>
                    <a:pt x="0" y="49"/>
                  </a:lnTo>
                  <a:lnTo>
                    <a:pt x="0" y="59"/>
                  </a:lnTo>
                  <a:lnTo>
                    <a:pt x="30" y="66"/>
                  </a:lnTo>
                  <a:lnTo>
                    <a:pt x="47" y="89"/>
                  </a:lnTo>
                  <a:lnTo>
                    <a:pt x="50" y="96"/>
                  </a:lnTo>
                  <a:lnTo>
                    <a:pt x="41" y="135"/>
                  </a:lnTo>
                  <a:lnTo>
                    <a:pt x="37" y="141"/>
                  </a:lnTo>
                  <a:lnTo>
                    <a:pt x="56" y="152"/>
                  </a:lnTo>
                  <a:lnTo>
                    <a:pt x="106" y="156"/>
                  </a:lnTo>
                  <a:lnTo>
                    <a:pt x="106" y="148"/>
                  </a:lnTo>
                  <a:lnTo>
                    <a:pt x="121" y="139"/>
                  </a:lnTo>
                  <a:lnTo>
                    <a:pt x="157" y="147"/>
                  </a:lnTo>
                  <a:lnTo>
                    <a:pt x="174" y="133"/>
                  </a:lnTo>
                  <a:lnTo>
                    <a:pt x="163" y="115"/>
                  </a:lnTo>
                  <a:lnTo>
                    <a:pt x="166" y="96"/>
                  </a:lnTo>
                  <a:lnTo>
                    <a:pt x="163" y="87"/>
                  </a:lnTo>
                  <a:lnTo>
                    <a:pt x="153" y="90"/>
                  </a:lnTo>
                  <a:lnTo>
                    <a:pt x="151" y="85"/>
                  </a:lnTo>
                  <a:lnTo>
                    <a:pt x="166" y="66"/>
                  </a:lnTo>
                  <a:lnTo>
                    <a:pt x="174" y="64"/>
                  </a:lnTo>
                  <a:lnTo>
                    <a:pt x="174" y="64"/>
                  </a:lnTo>
                  <a:lnTo>
                    <a:pt x="174" y="64"/>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17" name="Freeform 5725"/>
            <p:cNvSpPr>
              <a:spLocks/>
            </p:cNvSpPr>
            <p:nvPr>
              <p:custDataLst>
                <p:tags r:id="rId95"/>
              </p:custDataLst>
            </p:nvPr>
          </p:nvSpPr>
          <p:spPr bwMode="gray">
            <a:xfrm>
              <a:off x="6748504" y="3246981"/>
              <a:ext cx="220692" cy="213237"/>
            </a:xfrm>
            <a:custGeom>
              <a:avLst/>
              <a:gdLst/>
              <a:ahLst/>
              <a:cxnLst>
                <a:cxn ang="0">
                  <a:pos x="0" y="41"/>
                </a:cxn>
                <a:cxn ang="0">
                  <a:pos x="3" y="22"/>
                </a:cxn>
                <a:cxn ang="0">
                  <a:pos x="3" y="22"/>
                </a:cxn>
                <a:cxn ang="0">
                  <a:pos x="24" y="13"/>
                </a:cxn>
                <a:cxn ang="0">
                  <a:pos x="32" y="20"/>
                </a:cxn>
                <a:cxn ang="0">
                  <a:pos x="37" y="13"/>
                </a:cxn>
                <a:cxn ang="0">
                  <a:pos x="48" y="15"/>
                </a:cxn>
                <a:cxn ang="0">
                  <a:pos x="52" y="5"/>
                </a:cxn>
                <a:cxn ang="0">
                  <a:pos x="54" y="5"/>
                </a:cxn>
                <a:cxn ang="0">
                  <a:pos x="76" y="0"/>
                </a:cxn>
                <a:cxn ang="0">
                  <a:pos x="78" y="5"/>
                </a:cxn>
                <a:cxn ang="0">
                  <a:pos x="99" y="11"/>
                </a:cxn>
                <a:cxn ang="0">
                  <a:pos x="97" y="16"/>
                </a:cxn>
                <a:cxn ang="0">
                  <a:pos x="103" y="26"/>
                </a:cxn>
                <a:cxn ang="0">
                  <a:pos x="99" y="28"/>
                </a:cxn>
                <a:cxn ang="0">
                  <a:pos x="99" y="30"/>
                </a:cxn>
                <a:cxn ang="0">
                  <a:pos x="91" y="24"/>
                </a:cxn>
                <a:cxn ang="0">
                  <a:pos x="78" y="30"/>
                </a:cxn>
                <a:cxn ang="0">
                  <a:pos x="80" y="52"/>
                </a:cxn>
                <a:cxn ang="0">
                  <a:pos x="99" y="67"/>
                </a:cxn>
                <a:cxn ang="0">
                  <a:pos x="108" y="86"/>
                </a:cxn>
                <a:cxn ang="0">
                  <a:pos x="125" y="95"/>
                </a:cxn>
                <a:cxn ang="0">
                  <a:pos x="136" y="95"/>
                </a:cxn>
                <a:cxn ang="0">
                  <a:pos x="133" y="103"/>
                </a:cxn>
                <a:cxn ang="0">
                  <a:pos x="172" y="127"/>
                </a:cxn>
                <a:cxn ang="0">
                  <a:pos x="170" y="133"/>
                </a:cxn>
                <a:cxn ang="0">
                  <a:pos x="150" y="119"/>
                </a:cxn>
                <a:cxn ang="0">
                  <a:pos x="144" y="136"/>
                </a:cxn>
                <a:cxn ang="0">
                  <a:pos x="151" y="140"/>
                </a:cxn>
                <a:cxn ang="0">
                  <a:pos x="151" y="148"/>
                </a:cxn>
                <a:cxn ang="0">
                  <a:pos x="144" y="151"/>
                </a:cxn>
                <a:cxn ang="0">
                  <a:pos x="136" y="166"/>
                </a:cxn>
                <a:cxn ang="0">
                  <a:pos x="133" y="166"/>
                </a:cxn>
                <a:cxn ang="0">
                  <a:pos x="138" y="151"/>
                </a:cxn>
                <a:cxn ang="0">
                  <a:pos x="131" y="129"/>
                </a:cxn>
                <a:cxn ang="0">
                  <a:pos x="99" y="106"/>
                </a:cxn>
                <a:cxn ang="0">
                  <a:pos x="82" y="103"/>
                </a:cxn>
                <a:cxn ang="0">
                  <a:pos x="69" y="86"/>
                </a:cxn>
                <a:cxn ang="0">
                  <a:pos x="61" y="86"/>
                </a:cxn>
                <a:cxn ang="0">
                  <a:pos x="48" y="56"/>
                </a:cxn>
                <a:cxn ang="0">
                  <a:pos x="28" y="50"/>
                </a:cxn>
                <a:cxn ang="0">
                  <a:pos x="11" y="59"/>
                </a:cxn>
                <a:cxn ang="0">
                  <a:pos x="0" y="41"/>
                </a:cxn>
                <a:cxn ang="0">
                  <a:pos x="0" y="41"/>
                </a:cxn>
              </a:cxnLst>
              <a:rect l="0" t="0" r="r" b="b"/>
              <a:pathLst>
                <a:path w="172" h="166">
                  <a:moveTo>
                    <a:pt x="0" y="41"/>
                  </a:moveTo>
                  <a:lnTo>
                    <a:pt x="3" y="22"/>
                  </a:lnTo>
                  <a:lnTo>
                    <a:pt x="3" y="22"/>
                  </a:lnTo>
                  <a:lnTo>
                    <a:pt x="24" y="13"/>
                  </a:lnTo>
                  <a:lnTo>
                    <a:pt x="32" y="20"/>
                  </a:lnTo>
                  <a:lnTo>
                    <a:pt x="37" y="13"/>
                  </a:lnTo>
                  <a:lnTo>
                    <a:pt x="48" y="15"/>
                  </a:lnTo>
                  <a:lnTo>
                    <a:pt x="52" y="5"/>
                  </a:lnTo>
                  <a:lnTo>
                    <a:pt x="54" y="5"/>
                  </a:lnTo>
                  <a:lnTo>
                    <a:pt x="76" y="0"/>
                  </a:lnTo>
                  <a:lnTo>
                    <a:pt x="78" y="5"/>
                  </a:lnTo>
                  <a:lnTo>
                    <a:pt x="99" y="11"/>
                  </a:lnTo>
                  <a:lnTo>
                    <a:pt x="97" y="16"/>
                  </a:lnTo>
                  <a:lnTo>
                    <a:pt x="103" y="26"/>
                  </a:lnTo>
                  <a:lnTo>
                    <a:pt x="99" y="28"/>
                  </a:lnTo>
                  <a:lnTo>
                    <a:pt x="99" y="30"/>
                  </a:lnTo>
                  <a:lnTo>
                    <a:pt x="91" y="24"/>
                  </a:lnTo>
                  <a:lnTo>
                    <a:pt x="78" y="30"/>
                  </a:lnTo>
                  <a:lnTo>
                    <a:pt x="80" y="52"/>
                  </a:lnTo>
                  <a:lnTo>
                    <a:pt x="99" y="67"/>
                  </a:lnTo>
                  <a:lnTo>
                    <a:pt x="108" y="86"/>
                  </a:lnTo>
                  <a:lnTo>
                    <a:pt x="125" y="95"/>
                  </a:lnTo>
                  <a:lnTo>
                    <a:pt x="136" y="95"/>
                  </a:lnTo>
                  <a:lnTo>
                    <a:pt x="133" y="103"/>
                  </a:lnTo>
                  <a:lnTo>
                    <a:pt x="172" y="127"/>
                  </a:lnTo>
                  <a:lnTo>
                    <a:pt x="170" y="133"/>
                  </a:lnTo>
                  <a:lnTo>
                    <a:pt x="150" y="119"/>
                  </a:lnTo>
                  <a:lnTo>
                    <a:pt x="144" y="136"/>
                  </a:lnTo>
                  <a:lnTo>
                    <a:pt x="151" y="140"/>
                  </a:lnTo>
                  <a:lnTo>
                    <a:pt x="151" y="148"/>
                  </a:lnTo>
                  <a:lnTo>
                    <a:pt x="144" y="151"/>
                  </a:lnTo>
                  <a:lnTo>
                    <a:pt x="136" y="166"/>
                  </a:lnTo>
                  <a:lnTo>
                    <a:pt x="133" y="166"/>
                  </a:lnTo>
                  <a:lnTo>
                    <a:pt x="138" y="151"/>
                  </a:lnTo>
                  <a:lnTo>
                    <a:pt x="131" y="129"/>
                  </a:lnTo>
                  <a:lnTo>
                    <a:pt x="99" y="106"/>
                  </a:lnTo>
                  <a:lnTo>
                    <a:pt x="82" y="103"/>
                  </a:lnTo>
                  <a:lnTo>
                    <a:pt x="69" y="86"/>
                  </a:lnTo>
                  <a:lnTo>
                    <a:pt x="61" y="86"/>
                  </a:lnTo>
                  <a:lnTo>
                    <a:pt x="48" y="56"/>
                  </a:lnTo>
                  <a:lnTo>
                    <a:pt x="28" y="50"/>
                  </a:lnTo>
                  <a:lnTo>
                    <a:pt x="11" y="59"/>
                  </a:lnTo>
                  <a:lnTo>
                    <a:pt x="0" y="41"/>
                  </a:lnTo>
                  <a:lnTo>
                    <a:pt x="0" y="41"/>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18" name="Freeform 5726"/>
            <p:cNvSpPr>
              <a:spLocks/>
            </p:cNvSpPr>
            <p:nvPr>
              <p:custDataLst>
                <p:tags r:id="rId96"/>
              </p:custDataLst>
            </p:nvPr>
          </p:nvSpPr>
          <p:spPr bwMode="gray">
            <a:xfrm>
              <a:off x="7041049" y="3316347"/>
              <a:ext cx="120611" cy="66797"/>
            </a:xfrm>
            <a:custGeom>
              <a:avLst/>
              <a:gdLst/>
              <a:ahLst/>
              <a:cxnLst>
                <a:cxn ang="0">
                  <a:pos x="68" y="0"/>
                </a:cxn>
                <a:cxn ang="0">
                  <a:pos x="45" y="7"/>
                </a:cxn>
                <a:cxn ang="0">
                  <a:pos x="23" y="5"/>
                </a:cxn>
                <a:cxn ang="0">
                  <a:pos x="6" y="0"/>
                </a:cxn>
                <a:cxn ang="0">
                  <a:pos x="0" y="5"/>
                </a:cxn>
                <a:cxn ang="0">
                  <a:pos x="4" y="20"/>
                </a:cxn>
                <a:cxn ang="0">
                  <a:pos x="2" y="34"/>
                </a:cxn>
                <a:cxn ang="0">
                  <a:pos x="11" y="50"/>
                </a:cxn>
                <a:cxn ang="0">
                  <a:pos x="34" y="45"/>
                </a:cxn>
                <a:cxn ang="0">
                  <a:pos x="49" y="52"/>
                </a:cxn>
                <a:cxn ang="0">
                  <a:pos x="62" y="41"/>
                </a:cxn>
                <a:cxn ang="0">
                  <a:pos x="86" y="41"/>
                </a:cxn>
                <a:cxn ang="0">
                  <a:pos x="77" y="30"/>
                </a:cxn>
                <a:cxn ang="0">
                  <a:pos x="83" y="15"/>
                </a:cxn>
                <a:cxn ang="0">
                  <a:pos x="92" y="13"/>
                </a:cxn>
                <a:cxn ang="0">
                  <a:pos x="94" y="7"/>
                </a:cxn>
                <a:cxn ang="0">
                  <a:pos x="68" y="0"/>
                </a:cxn>
                <a:cxn ang="0">
                  <a:pos x="68" y="0"/>
                </a:cxn>
              </a:cxnLst>
              <a:rect l="0" t="0" r="r" b="b"/>
              <a:pathLst>
                <a:path w="94" h="52">
                  <a:moveTo>
                    <a:pt x="68" y="0"/>
                  </a:moveTo>
                  <a:lnTo>
                    <a:pt x="45" y="7"/>
                  </a:lnTo>
                  <a:lnTo>
                    <a:pt x="23" y="5"/>
                  </a:lnTo>
                  <a:lnTo>
                    <a:pt x="6" y="0"/>
                  </a:lnTo>
                  <a:lnTo>
                    <a:pt x="0" y="5"/>
                  </a:lnTo>
                  <a:lnTo>
                    <a:pt x="4" y="20"/>
                  </a:lnTo>
                  <a:lnTo>
                    <a:pt x="2" y="34"/>
                  </a:lnTo>
                  <a:lnTo>
                    <a:pt x="11" y="50"/>
                  </a:lnTo>
                  <a:lnTo>
                    <a:pt x="34" y="45"/>
                  </a:lnTo>
                  <a:lnTo>
                    <a:pt x="49" y="52"/>
                  </a:lnTo>
                  <a:lnTo>
                    <a:pt x="62" y="41"/>
                  </a:lnTo>
                  <a:lnTo>
                    <a:pt x="86" y="41"/>
                  </a:lnTo>
                  <a:lnTo>
                    <a:pt x="77" y="30"/>
                  </a:lnTo>
                  <a:lnTo>
                    <a:pt x="83" y="15"/>
                  </a:lnTo>
                  <a:lnTo>
                    <a:pt x="92" y="13"/>
                  </a:lnTo>
                  <a:lnTo>
                    <a:pt x="94" y="7"/>
                  </a:lnTo>
                  <a:lnTo>
                    <a:pt x="68" y="0"/>
                  </a:lnTo>
                  <a:lnTo>
                    <a:pt x="68"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19" name="Freeform 5727"/>
            <p:cNvSpPr>
              <a:spLocks/>
            </p:cNvSpPr>
            <p:nvPr>
              <p:custDataLst>
                <p:tags r:id="rId97"/>
              </p:custDataLst>
            </p:nvPr>
          </p:nvSpPr>
          <p:spPr bwMode="gray">
            <a:xfrm>
              <a:off x="7002556" y="3369014"/>
              <a:ext cx="118045" cy="101480"/>
            </a:xfrm>
            <a:custGeom>
              <a:avLst/>
              <a:gdLst/>
              <a:ahLst/>
              <a:cxnLst>
                <a:cxn ang="0">
                  <a:pos x="92" y="0"/>
                </a:cxn>
                <a:cxn ang="0">
                  <a:pos x="79" y="11"/>
                </a:cxn>
                <a:cxn ang="0">
                  <a:pos x="64" y="4"/>
                </a:cxn>
                <a:cxn ang="0">
                  <a:pos x="41" y="9"/>
                </a:cxn>
                <a:cxn ang="0">
                  <a:pos x="13" y="19"/>
                </a:cxn>
                <a:cxn ang="0">
                  <a:pos x="13" y="19"/>
                </a:cxn>
                <a:cxn ang="0">
                  <a:pos x="13" y="24"/>
                </a:cxn>
                <a:cxn ang="0">
                  <a:pos x="0" y="39"/>
                </a:cxn>
                <a:cxn ang="0">
                  <a:pos x="0" y="41"/>
                </a:cxn>
                <a:cxn ang="0">
                  <a:pos x="15" y="66"/>
                </a:cxn>
                <a:cxn ang="0">
                  <a:pos x="38" y="66"/>
                </a:cxn>
                <a:cxn ang="0">
                  <a:pos x="60" y="79"/>
                </a:cxn>
                <a:cxn ang="0">
                  <a:pos x="60" y="68"/>
                </a:cxn>
                <a:cxn ang="0">
                  <a:pos x="70" y="71"/>
                </a:cxn>
                <a:cxn ang="0">
                  <a:pos x="49" y="54"/>
                </a:cxn>
                <a:cxn ang="0">
                  <a:pos x="36" y="34"/>
                </a:cxn>
                <a:cxn ang="0">
                  <a:pos x="36" y="23"/>
                </a:cxn>
                <a:cxn ang="0">
                  <a:pos x="53" y="32"/>
                </a:cxn>
                <a:cxn ang="0">
                  <a:pos x="51" y="23"/>
                </a:cxn>
                <a:cxn ang="0">
                  <a:pos x="60" y="17"/>
                </a:cxn>
                <a:cxn ang="0">
                  <a:pos x="83" y="19"/>
                </a:cxn>
                <a:cxn ang="0">
                  <a:pos x="88" y="24"/>
                </a:cxn>
                <a:cxn ang="0">
                  <a:pos x="92" y="0"/>
                </a:cxn>
                <a:cxn ang="0">
                  <a:pos x="92" y="0"/>
                </a:cxn>
              </a:cxnLst>
              <a:rect l="0" t="0" r="r" b="b"/>
              <a:pathLst>
                <a:path w="92" h="79">
                  <a:moveTo>
                    <a:pt x="92" y="0"/>
                  </a:moveTo>
                  <a:lnTo>
                    <a:pt x="79" y="11"/>
                  </a:lnTo>
                  <a:lnTo>
                    <a:pt x="64" y="4"/>
                  </a:lnTo>
                  <a:lnTo>
                    <a:pt x="41" y="9"/>
                  </a:lnTo>
                  <a:lnTo>
                    <a:pt x="13" y="19"/>
                  </a:lnTo>
                  <a:lnTo>
                    <a:pt x="13" y="19"/>
                  </a:lnTo>
                  <a:lnTo>
                    <a:pt x="13" y="24"/>
                  </a:lnTo>
                  <a:lnTo>
                    <a:pt x="0" y="39"/>
                  </a:lnTo>
                  <a:lnTo>
                    <a:pt x="0" y="41"/>
                  </a:lnTo>
                  <a:lnTo>
                    <a:pt x="15" y="66"/>
                  </a:lnTo>
                  <a:lnTo>
                    <a:pt x="38" y="66"/>
                  </a:lnTo>
                  <a:lnTo>
                    <a:pt x="60" y="79"/>
                  </a:lnTo>
                  <a:lnTo>
                    <a:pt x="60" y="68"/>
                  </a:lnTo>
                  <a:lnTo>
                    <a:pt x="70" y="71"/>
                  </a:lnTo>
                  <a:lnTo>
                    <a:pt x="49" y="54"/>
                  </a:lnTo>
                  <a:lnTo>
                    <a:pt x="36" y="34"/>
                  </a:lnTo>
                  <a:lnTo>
                    <a:pt x="36" y="23"/>
                  </a:lnTo>
                  <a:lnTo>
                    <a:pt x="53" y="32"/>
                  </a:lnTo>
                  <a:lnTo>
                    <a:pt x="51" y="23"/>
                  </a:lnTo>
                  <a:lnTo>
                    <a:pt x="60" y="17"/>
                  </a:lnTo>
                  <a:lnTo>
                    <a:pt x="83" y="19"/>
                  </a:lnTo>
                  <a:lnTo>
                    <a:pt x="88" y="24"/>
                  </a:lnTo>
                  <a:lnTo>
                    <a:pt x="92" y="0"/>
                  </a:lnTo>
                  <a:lnTo>
                    <a:pt x="92"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20" name="Freeform 5728"/>
            <p:cNvSpPr>
              <a:spLocks/>
            </p:cNvSpPr>
            <p:nvPr>
              <p:custDataLst>
                <p:tags r:id="rId98"/>
              </p:custDataLst>
            </p:nvPr>
          </p:nvSpPr>
          <p:spPr bwMode="gray">
            <a:xfrm>
              <a:off x="6997424" y="3220005"/>
              <a:ext cx="178350" cy="105334"/>
            </a:xfrm>
            <a:custGeom>
              <a:avLst/>
              <a:gdLst/>
              <a:ahLst/>
              <a:cxnLst>
                <a:cxn ang="0">
                  <a:pos x="120" y="47"/>
                </a:cxn>
                <a:cxn ang="0">
                  <a:pos x="122" y="52"/>
                </a:cxn>
                <a:cxn ang="0">
                  <a:pos x="139" y="52"/>
                </a:cxn>
                <a:cxn ang="0">
                  <a:pos x="137" y="62"/>
                </a:cxn>
                <a:cxn ang="0">
                  <a:pos x="126" y="71"/>
                </a:cxn>
                <a:cxn ang="0">
                  <a:pos x="128" y="82"/>
                </a:cxn>
                <a:cxn ang="0">
                  <a:pos x="102" y="75"/>
                </a:cxn>
                <a:cxn ang="0">
                  <a:pos x="79" y="82"/>
                </a:cxn>
                <a:cxn ang="0">
                  <a:pos x="57" y="80"/>
                </a:cxn>
                <a:cxn ang="0">
                  <a:pos x="40" y="75"/>
                </a:cxn>
                <a:cxn ang="0">
                  <a:pos x="34" y="64"/>
                </a:cxn>
                <a:cxn ang="0">
                  <a:pos x="19" y="62"/>
                </a:cxn>
                <a:cxn ang="0">
                  <a:pos x="0" y="37"/>
                </a:cxn>
                <a:cxn ang="0">
                  <a:pos x="0" y="37"/>
                </a:cxn>
                <a:cxn ang="0">
                  <a:pos x="14" y="34"/>
                </a:cxn>
                <a:cxn ang="0">
                  <a:pos x="27" y="9"/>
                </a:cxn>
                <a:cxn ang="0">
                  <a:pos x="36" y="6"/>
                </a:cxn>
                <a:cxn ang="0">
                  <a:pos x="66" y="7"/>
                </a:cxn>
                <a:cxn ang="0">
                  <a:pos x="89" y="0"/>
                </a:cxn>
                <a:cxn ang="0">
                  <a:pos x="96" y="2"/>
                </a:cxn>
                <a:cxn ang="0">
                  <a:pos x="113" y="26"/>
                </a:cxn>
                <a:cxn ang="0">
                  <a:pos x="120" y="47"/>
                </a:cxn>
                <a:cxn ang="0">
                  <a:pos x="120" y="47"/>
                </a:cxn>
              </a:cxnLst>
              <a:rect l="0" t="0" r="r" b="b"/>
              <a:pathLst>
                <a:path w="139" h="82">
                  <a:moveTo>
                    <a:pt x="120" y="47"/>
                  </a:moveTo>
                  <a:lnTo>
                    <a:pt x="122" y="52"/>
                  </a:lnTo>
                  <a:lnTo>
                    <a:pt x="139" y="52"/>
                  </a:lnTo>
                  <a:lnTo>
                    <a:pt x="137" y="62"/>
                  </a:lnTo>
                  <a:lnTo>
                    <a:pt x="126" y="71"/>
                  </a:lnTo>
                  <a:lnTo>
                    <a:pt x="128" y="82"/>
                  </a:lnTo>
                  <a:lnTo>
                    <a:pt x="102" y="75"/>
                  </a:lnTo>
                  <a:lnTo>
                    <a:pt x="79" y="82"/>
                  </a:lnTo>
                  <a:lnTo>
                    <a:pt x="57" y="80"/>
                  </a:lnTo>
                  <a:lnTo>
                    <a:pt x="40" y="75"/>
                  </a:lnTo>
                  <a:lnTo>
                    <a:pt x="34" y="64"/>
                  </a:lnTo>
                  <a:lnTo>
                    <a:pt x="19" y="62"/>
                  </a:lnTo>
                  <a:lnTo>
                    <a:pt x="0" y="37"/>
                  </a:lnTo>
                  <a:lnTo>
                    <a:pt x="0" y="37"/>
                  </a:lnTo>
                  <a:lnTo>
                    <a:pt x="14" y="34"/>
                  </a:lnTo>
                  <a:lnTo>
                    <a:pt x="27" y="9"/>
                  </a:lnTo>
                  <a:lnTo>
                    <a:pt x="36" y="6"/>
                  </a:lnTo>
                  <a:lnTo>
                    <a:pt x="66" y="7"/>
                  </a:lnTo>
                  <a:lnTo>
                    <a:pt x="89" y="0"/>
                  </a:lnTo>
                  <a:lnTo>
                    <a:pt x="96" y="2"/>
                  </a:lnTo>
                  <a:lnTo>
                    <a:pt x="113" y="26"/>
                  </a:lnTo>
                  <a:lnTo>
                    <a:pt x="120" y="47"/>
                  </a:lnTo>
                  <a:lnTo>
                    <a:pt x="120" y="4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21" name="Freeform 5729"/>
            <p:cNvSpPr>
              <a:spLocks/>
            </p:cNvSpPr>
            <p:nvPr>
              <p:custDataLst>
                <p:tags r:id="rId99"/>
              </p:custDataLst>
            </p:nvPr>
          </p:nvSpPr>
          <p:spPr bwMode="gray">
            <a:xfrm>
              <a:off x="6872964" y="3250835"/>
              <a:ext cx="52607" cy="34683"/>
            </a:xfrm>
            <a:custGeom>
              <a:avLst/>
              <a:gdLst/>
              <a:ahLst/>
              <a:cxnLst>
                <a:cxn ang="0">
                  <a:pos x="2" y="27"/>
                </a:cxn>
                <a:cxn ang="0">
                  <a:pos x="2" y="25"/>
                </a:cxn>
                <a:cxn ang="0">
                  <a:pos x="6" y="23"/>
                </a:cxn>
                <a:cxn ang="0">
                  <a:pos x="0" y="13"/>
                </a:cxn>
                <a:cxn ang="0">
                  <a:pos x="2" y="8"/>
                </a:cxn>
                <a:cxn ang="0">
                  <a:pos x="38" y="0"/>
                </a:cxn>
                <a:cxn ang="0">
                  <a:pos x="41" y="4"/>
                </a:cxn>
                <a:cxn ang="0">
                  <a:pos x="41" y="4"/>
                </a:cxn>
                <a:cxn ang="0">
                  <a:pos x="28" y="13"/>
                </a:cxn>
                <a:cxn ang="0">
                  <a:pos x="26" y="23"/>
                </a:cxn>
                <a:cxn ang="0">
                  <a:pos x="17" y="21"/>
                </a:cxn>
                <a:cxn ang="0">
                  <a:pos x="8" y="27"/>
                </a:cxn>
                <a:cxn ang="0">
                  <a:pos x="2" y="27"/>
                </a:cxn>
                <a:cxn ang="0">
                  <a:pos x="2" y="27"/>
                </a:cxn>
              </a:cxnLst>
              <a:rect l="0" t="0" r="r" b="b"/>
              <a:pathLst>
                <a:path w="41" h="27">
                  <a:moveTo>
                    <a:pt x="2" y="27"/>
                  </a:moveTo>
                  <a:lnTo>
                    <a:pt x="2" y="25"/>
                  </a:lnTo>
                  <a:lnTo>
                    <a:pt x="6" y="23"/>
                  </a:lnTo>
                  <a:lnTo>
                    <a:pt x="0" y="13"/>
                  </a:lnTo>
                  <a:lnTo>
                    <a:pt x="2" y="8"/>
                  </a:lnTo>
                  <a:lnTo>
                    <a:pt x="38" y="0"/>
                  </a:lnTo>
                  <a:lnTo>
                    <a:pt x="41" y="4"/>
                  </a:lnTo>
                  <a:lnTo>
                    <a:pt x="41" y="4"/>
                  </a:lnTo>
                  <a:lnTo>
                    <a:pt x="28" y="13"/>
                  </a:lnTo>
                  <a:lnTo>
                    <a:pt x="26" y="23"/>
                  </a:lnTo>
                  <a:lnTo>
                    <a:pt x="17" y="21"/>
                  </a:lnTo>
                  <a:lnTo>
                    <a:pt x="8" y="27"/>
                  </a:lnTo>
                  <a:lnTo>
                    <a:pt x="2" y="27"/>
                  </a:lnTo>
                  <a:lnTo>
                    <a:pt x="2" y="27"/>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22" name="Freeform 5730"/>
            <p:cNvSpPr>
              <a:spLocks/>
            </p:cNvSpPr>
            <p:nvPr>
              <p:custDataLst>
                <p:tags r:id="rId100"/>
              </p:custDataLst>
            </p:nvPr>
          </p:nvSpPr>
          <p:spPr bwMode="gray">
            <a:xfrm>
              <a:off x="6875530" y="3255973"/>
              <a:ext cx="107780" cy="96342"/>
            </a:xfrm>
            <a:custGeom>
              <a:avLst/>
              <a:gdLst/>
              <a:ahLst/>
              <a:cxnLst>
                <a:cxn ang="0">
                  <a:pos x="75" y="15"/>
                </a:cxn>
                <a:cxn ang="0">
                  <a:pos x="62" y="17"/>
                </a:cxn>
                <a:cxn ang="0">
                  <a:pos x="39" y="0"/>
                </a:cxn>
                <a:cxn ang="0">
                  <a:pos x="39" y="0"/>
                </a:cxn>
                <a:cxn ang="0">
                  <a:pos x="26" y="9"/>
                </a:cxn>
                <a:cxn ang="0">
                  <a:pos x="24" y="19"/>
                </a:cxn>
                <a:cxn ang="0">
                  <a:pos x="15" y="17"/>
                </a:cxn>
                <a:cxn ang="0">
                  <a:pos x="6" y="23"/>
                </a:cxn>
                <a:cxn ang="0">
                  <a:pos x="0" y="23"/>
                </a:cxn>
                <a:cxn ang="0">
                  <a:pos x="2" y="34"/>
                </a:cxn>
                <a:cxn ang="0">
                  <a:pos x="7" y="24"/>
                </a:cxn>
                <a:cxn ang="0">
                  <a:pos x="17" y="32"/>
                </a:cxn>
                <a:cxn ang="0">
                  <a:pos x="24" y="49"/>
                </a:cxn>
                <a:cxn ang="0">
                  <a:pos x="66" y="75"/>
                </a:cxn>
                <a:cxn ang="0">
                  <a:pos x="69" y="71"/>
                </a:cxn>
                <a:cxn ang="0">
                  <a:pos x="41" y="45"/>
                </a:cxn>
                <a:cxn ang="0">
                  <a:pos x="36" y="34"/>
                </a:cxn>
                <a:cxn ang="0">
                  <a:pos x="37" y="26"/>
                </a:cxn>
                <a:cxn ang="0">
                  <a:pos x="69" y="30"/>
                </a:cxn>
                <a:cxn ang="0">
                  <a:pos x="81" y="32"/>
                </a:cxn>
                <a:cxn ang="0">
                  <a:pos x="84" y="28"/>
                </a:cxn>
                <a:cxn ang="0">
                  <a:pos x="79" y="24"/>
                </a:cxn>
                <a:cxn ang="0">
                  <a:pos x="75" y="15"/>
                </a:cxn>
                <a:cxn ang="0">
                  <a:pos x="75" y="15"/>
                </a:cxn>
              </a:cxnLst>
              <a:rect l="0" t="0" r="r" b="b"/>
              <a:pathLst>
                <a:path w="84" h="75">
                  <a:moveTo>
                    <a:pt x="75" y="15"/>
                  </a:moveTo>
                  <a:lnTo>
                    <a:pt x="62" y="17"/>
                  </a:lnTo>
                  <a:lnTo>
                    <a:pt x="39" y="0"/>
                  </a:lnTo>
                  <a:lnTo>
                    <a:pt x="39" y="0"/>
                  </a:lnTo>
                  <a:lnTo>
                    <a:pt x="26" y="9"/>
                  </a:lnTo>
                  <a:lnTo>
                    <a:pt x="24" y="19"/>
                  </a:lnTo>
                  <a:lnTo>
                    <a:pt x="15" y="17"/>
                  </a:lnTo>
                  <a:lnTo>
                    <a:pt x="6" y="23"/>
                  </a:lnTo>
                  <a:lnTo>
                    <a:pt x="0" y="23"/>
                  </a:lnTo>
                  <a:lnTo>
                    <a:pt x="2" y="34"/>
                  </a:lnTo>
                  <a:lnTo>
                    <a:pt x="7" y="24"/>
                  </a:lnTo>
                  <a:lnTo>
                    <a:pt x="17" y="32"/>
                  </a:lnTo>
                  <a:lnTo>
                    <a:pt x="24" y="49"/>
                  </a:lnTo>
                  <a:lnTo>
                    <a:pt x="66" y="75"/>
                  </a:lnTo>
                  <a:lnTo>
                    <a:pt x="69" y="71"/>
                  </a:lnTo>
                  <a:lnTo>
                    <a:pt x="41" y="45"/>
                  </a:lnTo>
                  <a:lnTo>
                    <a:pt x="36" y="34"/>
                  </a:lnTo>
                  <a:lnTo>
                    <a:pt x="37" y="26"/>
                  </a:lnTo>
                  <a:lnTo>
                    <a:pt x="69" y="30"/>
                  </a:lnTo>
                  <a:lnTo>
                    <a:pt x="81" y="32"/>
                  </a:lnTo>
                  <a:lnTo>
                    <a:pt x="84" y="28"/>
                  </a:lnTo>
                  <a:lnTo>
                    <a:pt x="79" y="24"/>
                  </a:lnTo>
                  <a:lnTo>
                    <a:pt x="75" y="15"/>
                  </a:lnTo>
                  <a:lnTo>
                    <a:pt x="75" y="1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23" name="Freeform 5731"/>
            <p:cNvSpPr>
              <a:spLocks/>
            </p:cNvSpPr>
            <p:nvPr>
              <p:custDataLst>
                <p:tags r:id="rId101"/>
              </p:custDataLst>
            </p:nvPr>
          </p:nvSpPr>
          <p:spPr bwMode="gray">
            <a:xfrm>
              <a:off x="6921722" y="3289372"/>
              <a:ext cx="66721" cy="57805"/>
            </a:xfrm>
            <a:custGeom>
              <a:avLst/>
              <a:gdLst/>
              <a:ahLst/>
              <a:cxnLst>
                <a:cxn ang="0">
                  <a:pos x="45" y="6"/>
                </a:cxn>
                <a:cxn ang="0">
                  <a:pos x="48" y="10"/>
                </a:cxn>
                <a:cxn ang="0">
                  <a:pos x="46" y="19"/>
                </a:cxn>
                <a:cxn ang="0">
                  <a:pos x="52" y="21"/>
                </a:cxn>
                <a:cxn ang="0">
                  <a:pos x="48" y="30"/>
                </a:cxn>
                <a:cxn ang="0">
                  <a:pos x="37" y="30"/>
                </a:cxn>
                <a:cxn ang="0">
                  <a:pos x="33" y="45"/>
                </a:cxn>
                <a:cxn ang="0">
                  <a:pos x="5" y="19"/>
                </a:cxn>
                <a:cxn ang="0">
                  <a:pos x="0" y="8"/>
                </a:cxn>
                <a:cxn ang="0">
                  <a:pos x="1" y="0"/>
                </a:cxn>
                <a:cxn ang="0">
                  <a:pos x="33" y="4"/>
                </a:cxn>
                <a:cxn ang="0">
                  <a:pos x="45" y="6"/>
                </a:cxn>
                <a:cxn ang="0">
                  <a:pos x="45" y="6"/>
                </a:cxn>
              </a:cxnLst>
              <a:rect l="0" t="0" r="r" b="b"/>
              <a:pathLst>
                <a:path w="52" h="45">
                  <a:moveTo>
                    <a:pt x="45" y="6"/>
                  </a:moveTo>
                  <a:lnTo>
                    <a:pt x="48" y="10"/>
                  </a:lnTo>
                  <a:lnTo>
                    <a:pt x="46" y="19"/>
                  </a:lnTo>
                  <a:lnTo>
                    <a:pt x="52" y="21"/>
                  </a:lnTo>
                  <a:lnTo>
                    <a:pt x="48" y="30"/>
                  </a:lnTo>
                  <a:lnTo>
                    <a:pt x="37" y="30"/>
                  </a:lnTo>
                  <a:lnTo>
                    <a:pt x="33" y="45"/>
                  </a:lnTo>
                  <a:lnTo>
                    <a:pt x="5" y="19"/>
                  </a:lnTo>
                  <a:lnTo>
                    <a:pt x="0" y="8"/>
                  </a:lnTo>
                  <a:lnTo>
                    <a:pt x="1" y="0"/>
                  </a:lnTo>
                  <a:lnTo>
                    <a:pt x="33" y="4"/>
                  </a:lnTo>
                  <a:lnTo>
                    <a:pt x="45" y="6"/>
                  </a:lnTo>
                  <a:lnTo>
                    <a:pt x="45" y="6"/>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24" name="Freeform 5732"/>
            <p:cNvSpPr>
              <a:spLocks/>
            </p:cNvSpPr>
            <p:nvPr>
              <p:custDataLst>
                <p:tags r:id="rId102"/>
              </p:custDataLst>
            </p:nvPr>
          </p:nvSpPr>
          <p:spPr bwMode="gray">
            <a:xfrm>
              <a:off x="6960214" y="3327908"/>
              <a:ext cx="37210" cy="41106"/>
            </a:xfrm>
            <a:custGeom>
              <a:avLst/>
              <a:gdLst/>
              <a:ahLst/>
              <a:cxnLst>
                <a:cxn ang="0">
                  <a:pos x="0" y="19"/>
                </a:cxn>
                <a:cxn ang="0">
                  <a:pos x="20" y="32"/>
                </a:cxn>
                <a:cxn ang="0">
                  <a:pos x="20" y="32"/>
                </a:cxn>
                <a:cxn ang="0">
                  <a:pos x="24" y="17"/>
                </a:cxn>
                <a:cxn ang="0">
                  <a:pos x="29" y="11"/>
                </a:cxn>
                <a:cxn ang="0">
                  <a:pos x="18" y="0"/>
                </a:cxn>
                <a:cxn ang="0">
                  <a:pos x="7" y="0"/>
                </a:cxn>
                <a:cxn ang="0">
                  <a:pos x="3" y="15"/>
                </a:cxn>
                <a:cxn ang="0">
                  <a:pos x="0" y="19"/>
                </a:cxn>
                <a:cxn ang="0">
                  <a:pos x="0" y="19"/>
                </a:cxn>
              </a:cxnLst>
              <a:rect l="0" t="0" r="r" b="b"/>
              <a:pathLst>
                <a:path w="29" h="32">
                  <a:moveTo>
                    <a:pt x="0" y="19"/>
                  </a:moveTo>
                  <a:lnTo>
                    <a:pt x="20" y="32"/>
                  </a:lnTo>
                  <a:lnTo>
                    <a:pt x="20" y="32"/>
                  </a:lnTo>
                  <a:lnTo>
                    <a:pt x="24" y="17"/>
                  </a:lnTo>
                  <a:lnTo>
                    <a:pt x="29" y="11"/>
                  </a:lnTo>
                  <a:lnTo>
                    <a:pt x="18" y="0"/>
                  </a:lnTo>
                  <a:lnTo>
                    <a:pt x="7" y="0"/>
                  </a:lnTo>
                  <a:lnTo>
                    <a:pt x="3" y="15"/>
                  </a:lnTo>
                  <a:lnTo>
                    <a:pt x="0" y="19"/>
                  </a:lnTo>
                  <a:lnTo>
                    <a:pt x="0" y="1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25" name="Freeform 5733"/>
            <p:cNvSpPr>
              <a:spLocks/>
            </p:cNvSpPr>
            <p:nvPr>
              <p:custDataLst>
                <p:tags r:id="rId103"/>
              </p:custDataLst>
            </p:nvPr>
          </p:nvSpPr>
          <p:spPr bwMode="gray">
            <a:xfrm>
              <a:off x="6971762" y="3267534"/>
              <a:ext cx="76986" cy="106618"/>
            </a:xfrm>
            <a:custGeom>
              <a:avLst/>
              <a:gdLst/>
              <a:ahLst/>
              <a:cxnLst>
                <a:cxn ang="0">
                  <a:pos x="30" y="83"/>
                </a:cxn>
                <a:cxn ang="0">
                  <a:pos x="22" y="68"/>
                </a:cxn>
                <a:cxn ang="0">
                  <a:pos x="15" y="64"/>
                </a:cxn>
                <a:cxn ang="0">
                  <a:pos x="20" y="58"/>
                </a:cxn>
                <a:cxn ang="0">
                  <a:pos x="9" y="47"/>
                </a:cxn>
                <a:cxn ang="0">
                  <a:pos x="13" y="38"/>
                </a:cxn>
                <a:cxn ang="0">
                  <a:pos x="7" y="36"/>
                </a:cxn>
                <a:cxn ang="0">
                  <a:pos x="9" y="27"/>
                </a:cxn>
                <a:cxn ang="0">
                  <a:pos x="6" y="23"/>
                </a:cxn>
                <a:cxn ang="0">
                  <a:pos x="9" y="19"/>
                </a:cxn>
                <a:cxn ang="0">
                  <a:pos x="4" y="15"/>
                </a:cxn>
                <a:cxn ang="0">
                  <a:pos x="0" y="6"/>
                </a:cxn>
                <a:cxn ang="0">
                  <a:pos x="20" y="0"/>
                </a:cxn>
                <a:cxn ang="0">
                  <a:pos x="39" y="25"/>
                </a:cxn>
                <a:cxn ang="0">
                  <a:pos x="54" y="27"/>
                </a:cxn>
                <a:cxn ang="0">
                  <a:pos x="60" y="38"/>
                </a:cxn>
                <a:cxn ang="0">
                  <a:pos x="54" y="43"/>
                </a:cxn>
                <a:cxn ang="0">
                  <a:pos x="58" y="58"/>
                </a:cxn>
                <a:cxn ang="0">
                  <a:pos x="56" y="72"/>
                </a:cxn>
                <a:cxn ang="0">
                  <a:pos x="41" y="72"/>
                </a:cxn>
                <a:cxn ang="0">
                  <a:pos x="30" y="83"/>
                </a:cxn>
                <a:cxn ang="0">
                  <a:pos x="30" y="83"/>
                </a:cxn>
              </a:cxnLst>
              <a:rect l="0" t="0" r="r" b="b"/>
              <a:pathLst>
                <a:path w="60" h="83">
                  <a:moveTo>
                    <a:pt x="30" y="83"/>
                  </a:moveTo>
                  <a:lnTo>
                    <a:pt x="22" y="68"/>
                  </a:lnTo>
                  <a:lnTo>
                    <a:pt x="15" y="64"/>
                  </a:lnTo>
                  <a:lnTo>
                    <a:pt x="20" y="58"/>
                  </a:lnTo>
                  <a:lnTo>
                    <a:pt x="9" y="47"/>
                  </a:lnTo>
                  <a:lnTo>
                    <a:pt x="13" y="38"/>
                  </a:lnTo>
                  <a:lnTo>
                    <a:pt x="7" y="36"/>
                  </a:lnTo>
                  <a:lnTo>
                    <a:pt x="9" y="27"/>
                  </a:lnTo>
                  <a:lnTo>
                    <a:pt x="6" y="23"/>
                  </a:lnTo>
                  <a:lnTo>
                    <a:pt x="9" y="19"/>
                  </a:lnTo>
                  <a:lnTo>
                    <a:pt x="4" y="15"/>
                  </a:lnTo>
                  <a:lnTo>
                    <a:pt x="0" y="6"/>
                  </a:lnTo>
                  <a:lnTo>
                    <a:pt x="20" y="0"/>
                  </a:lnTo>
                  <a:lnTo>
                    <a:pt x="39" y="25"/>
                  </a:lnTo>
                  <a:lnTo>
                    <a:pt x="54" y="27"/>
                  </a:lnTo>
                  <a:lnTo>
                    <a:pt x="60" y="38"/>
                  </a:lnTo>
                  <a:lnTo>
                    <a:pt x="54" y="43"/>
                  </a:lnTo>
                  <a:lnTo>
                    <a:pt x="58" y="58"/>
                  </a:lnTo>
                  <a:lnTo>
                    <a:pt x="56" y="72"/>
                  </a:lnTo>
                  <a:lnTo>
                    <a:pt x="41" y="72"/>
                  </a:lnTo>
                  <a:lnTo>
                    <a:pt x="30" y="83"/>
                  </a:lnTo>
                  <a:lnTo>
                    <a:pt x="30" y="8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26" name="Freeform 5734"/>
            <p:cNvSpPr>
              <a:spLocks/>
            </p:cNvSpPr>
            <p:nvPr>
              <p:custDataLst>
                <p:tags r:id="rId104"/>
              </p:custDataLst>
            </p:nvPr>
          </p:nvSpPr>
          <p:spPr bwMode="gray">
            <a:xfrm>
              <a:off x="7010255" y="3360022"/>
              <a:ext cx="44908" cy="33399"/>
            </a:xfrm>
            <a:custGeom>
              <a:avLst/>
              <a:gdLst/>
              <a:ahLst/>
              <a:cxnLst>
                <a:cxn ang="0">
                  <a:pos x="35" y="16"/>
                </a:cxn>
                <a:cxn ang="0">
                  <a:pos x="26" y="0"/>
                </a:cxn>
                <a:cxn ang="0">
                  <a:pos x="11" y="0"/>
                </a:cxn>
                <a:cxn ang="0">
                  <a:pos x="0" y="11"/>
                </a:cxn>
                <a:cxn ang="0">
                  <a:pos x="7" y="26"/>
                </a:cxn>
                <a:cxn ang="0">
                  <a:pos x="35" y="16"/>
                </a:cxn>
                <a:cxn ang="0">
                  <a:pos x="35" y="16"/>
                </a:cxn>
              </a:cxnLst>
              <a:rect l="0" t="0" r="r" b="b"/>
              <a:pathLst>
                <a:path w="35" h="26">
                  <a:moveTo>
                    <a:pt x="35" y="16"/>
                  </a:moveTo>
                  <a:lnTo>
                    <a:pt x="26" y="0"/>
                  </a:lnTo>
                  <a:lnTo>
                    <a:pt x="11" y="0"/>
                  </a:lnTo>
                  <a:lnTo>
                    <a:pt x="0" y="11"/>
                  </a:lnTo>
                  <a:lnTo>
                    <a:pt x="7" y="26"/>
                  </a:lnTo>
                  <a:lnTo>
                    <a:pt x="35" y="16"/>
                  </a:lnTo>
                  <a:lnTo>
                    <a:pt x="35" y="16"/>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27" name="Freeform 5735"/>
            <p:cNvSpPr>
              <a:spLocks/>
            </p:cNvSpPr>
            <p:nvPr>
              <p:custDataLst>
                <p:tags r:id="rId105"/>
              </p:custDataLst>
            </p:nvPr>
          </p:nvSpPr>
          <p:spPr bwMode="gray">
            <a:xfrm>
              <a:off x="6854523" y="4003685"/>
              <a:ext cx="46191" cy="38537"/>
            </a:xfrm>
            <a:custGeom>
              <a:avLst/>
              <a:gdLst/>
              <a:ahLst/>
              <a:cxnLst>
                <a:cxn ang="0">
                  <a:pos x="0" y="2"/>
                </a:cxn>
                <a:cxn ang="0">
                  <a:pos x="17" y="30"/>
                </a:cxn>
                <a:cxn ang="0">
                  <a:pos x="32" y="24"/>
                </a:cxn>
                <a:cxn ang="0">
                  <a:pos x="36" y="15"/>
                </a:cxn>
                <a:cxn ang="0">
                  <a:pos x="17" y="13"/>
                </a:cxn>
                <a:cxn ang="0">
                  <a:pos x="13" y="0"/>
                </a:cxn>
                <a:cxn ang="0">
                  <a:pos x="0" y="2"/>
                </a:cxn>
                <a:cxn ang="0">
                  <a:pos x="0" y="2"/>
                </a:cxn>
              </a:cxnLst>
              <a:rect l="0" t="0" r="r" b="b"/>
              <a:pathLst>
                <a:path w="36" h="30">
                  <a:moveTo>
                    <a:pt x="0" y="2"/>
                  </a:moveTo>
                  <a:lnTo>
                    <a:pt x="17" y="30"/>
                  </a:lnTo>
                  <a:lnTo>
                    <a:pt x="32" y="24"/>
                  </a:lnTo>
                  <a:lnTo>
                    <a:pt x="36" y="15"/>
                  </a:lnTo>
                  <a:lnTo>
                    <a:pt x="17" y="13"/>
                  </a:lnTo>
                  <a:lnTo>
                    <a:pt x="13" y="0"/>
                  </a:lnTo>
                  <a:lnTo>
                    <a:pt x="0" y="2"/>
                  </a:lnTo>
                  <a:lnTo>
                    <a:pt x="0" y="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28" name="Freeform 5736"/>
            <p:cNvSpPr>
              <a:spLocks/>
            </p:cNvSpPr>
            <p:nvPr>
              <p:custDataLst>
                <p:tags r:id="rId106"/>
              </p:custDataLst>
            </p:nvPr>
          </p:nvSpPr>
          <p:spPr bwMode="gray">
            <a:xfrm>
              <a:off x="7263829" y="4561183"/>
              <a:ext cx="64155" cy="178554"/>
            </a:xfrm>
            <a:custGeom>
              <a:avLst/>
              <a:gdLst/>
              <a:ahLst/>
              <a:cxnLst>
                <a:cxn ang="0">
                  <a:pos x="37" y="83"/>
                </a:cxn>
                <a:cxn ang="0">
                  <a:pos x="39" y="94"/>
                </a:cxn>
                <a:cxn ang="0">
                  <a:pos x="24" y="75"/>
                </a:cxn>
                <a:cxn ang="0">
                  <a:pos x="20" y="51"/>
                </a:cxn>
                <a:cxn ang="0">
                  <a:pos x="26" y="43"/>
                </a:cxn>
                <a:cxn ang="0">
                  <a:pos x="22" y="4"/>
                </a:cxn>
                <a:cxn ang="0">
                  <a:pos x="20" y="4"/>
                </a:cxn>
                <a:cxn ang="0">
                  <a:pos x="5" y="0"/>
                </a:cxn>
                <a:cxn ang="0">
                  <a:pos x="15" y="25"/>
                </a:cxn>
                <a:cxn ang="0">
                  <a:pos x="9" y="40"/>
                </a:cxn>
                <a:cxn ang="0">
                  <a:pos x="11" y="55"/>
                </a:cxn>
                <a:cxn ang="0">
                  <a:pos x="0" y="79"/>
                </a:cxn>
                <a:cxn ang="0">
                  <a:pos x="5" y="86"/>
                </a:cxn>
                <a:cxn ang="0">
                  <a:pos x="13" y="96"/>
                </a:cxn>
                <a:cxn ang="0">
                  <a:pos x="26" y="96"/>
                </a:cxn>
                <a:cxn ang="0">
                  <a:pos x="24" y="120"/>
                </a:cxn>
                <a:cxn ang="0">
                  <a:pos x="35" y="139"/>
                </a:cxn>
                <a:cxn ang="0">
                  <a:pos x="48" y="118"/>
                </a:cxn>
                <a:cxn ang="0">
                  <a:pos x="50" y="101"/>
                </a:cxn>
                <a:cxn ang="0">
                  <a:pos x="37" y="83"/>
                </a:cxn>
              </a:cxnLst>
              <a:rect l="0" t="0" r="r" b="b"/>
              <a:pathLst>
                <a:path w="50" h="139">
                  <a:moveTo>
                    <a:pt x="37" y="83"/>
                  </a:moveTo>
                  <a:lnTo>
                    <a:pt x="39" y="94"/>
                  </a:lnTo>
                  <a:lnTo>
                    <a:pt x="24" y="75"/>
                  </a:lnTo>
                  <a:lnTo>
                    <a:pt x="20" y="51"/>
                  </a:lnTo>
                  <a:lnTo>
                    <a:pt x="26" y="43"/>
                  </a:lnTo>
                  <a:lnTo>
                    <a:pt x="22" y="4"/>
                  </a:lnTo>
                  <a:lnTo>
                    <a:pt x="20" y="4"/>
                  </a:lnTo>
                  <a:lnTo>
                    <a:pt x="5" y="0"/>
                  </a:lnTo>
                  <a:lnTo>
                    <a:pt x="15" y="25"/>
                  </a:lnTo>
                  <a:lnTo>
                    <a:pt x="9" y="40"/>
                  </a:lnTo>
                  <a:lnTo>
                    <a:pt x="11" y="55"/>
                  </a:lnTo>
                  <a:lnTo>
                    <a:pt x="0" y="79"/>
                  </a:lnTo>
                  <a:lnTo>
                    <a:pt x="5" y="86"/>
                  </a:lnTo>
                  <a:lnTo>
                    <a:pt x="13" y="96"/>
                  </a:lnTo>
                  <a:lnTo>
                    <a:pt x="26" y="96"/>
                  </a:lnTo>
                  <a:lnTo>
                    <a:pt x="24" y="120"/>
                  </a:lnTo>
                  <a:lnTo>
                    <a:pt x="35" y="139"/>
                  </a:lnTo>
                  <a:lnTo>
                    <a:pt x="48" y="118"/>
                  </a:lnTo>
                  <a:lnTo>
                    <a:pt x="50" y="101"/>
                  </a:lnTo>
                  <a:lnTo>
                    <a:pt x="37" y="8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29" name="Freeform 5737"/>
            <p:cNvSpPr>
              <a:spLocks/>
            </p:cNvSpPr>
            <p:nvPr>
              <p:custDataLst>
                <p:tags r:id="rId107"/>
              </p:custDataLst>
            </p:nvPr>
          </p:nvSpPr>
          <p:spPr bwMode="gray">
            <a:xfrm>
              <a:off x="6883229" y="3070997"/>
              <a:ext cx="177067" cy="129740"/>
            </a:xfrm>
            <a:custGeom>
              <a:avLst/>
              <a:gdLst/>
              <a:ahLst/>
              <a:cxnLst>
                <a:cxn ang="0">
                  <a:pos x="131" y="56"/>
                </a:cxn>
                <a:cxn ang="0">
                  <a:pos x="127" y="47"/>
                </a:cxn>
                <a:cxn ang="0">
                  <a:pos x="133" y="34"/>
                </a:cxn>
                <a:cxn ang="0">
                  <a:pos x="127" y="13"/>
                </a:cxn>
                <a:cxn ang="0">
                  <a:pos x="118" y="7"/>
                </a:cxn>
                <a:cxn ang="0">
                  <a:pos x="73" y="5"/>
                </a:cxn>
                <a:cxn ang="0">
                  <a:pos x="69" y="9"/>
                </a:cxn>
                <a:cxn ang="0">
                  <a:pos x="61" y="9"/>
                </a:cxn>
                <a:cxn ang="0">
                  <a:pos x="56" y="0"/>
                </a:cxn>
                <a:cxn ang="0">
                  <a:pos x="0" y="19"/>
                </a:cxn>
                <a:cxn ang="0">
                  <a:pos x="7" y="69"/>
                </a:cxn>
                <a:cxn ang="0">
                  <a:pos x="22" y="71"/>
                </a:cxn>
                <a:cxn ang="0">
                  <a:pos x="37" y="82"/>
                </a:cxn>
                <a:cxn ang="0">
                  <a:pos x="39" y="77"/>
                </a:cxn>
                <a:cxn ang="0">
                  <a:pos x="56" y="84"/>
                </a:cxn>
                <a:cxn ang="0">
                  <a:pos x="84" y="99"/>
                </a:cxn>
                <a:cxn ang="0">
                  <a:pos x="104" y="95"/>
                </a:cxn>
                <a:cxn ang="0">
                  <a:pos x="118" y="101"/>
                </a:cxn>
                <a:cxn ang="0">
                  <a:pos x="138" y="77"/>
                </a:cxn>
                <a:cxn ang="0">
                  <a:pos x="131" y="56"/>
                </a:cxn>
                <a:cxn ang="0">
                  <a:pos x="131" y="56"/>
                </a:cxn>
              </a:cxnLst>
              <a:rect l="0" t="0" r="r" b="b"/>
              <a:pathLst>
                <a:path w="138" h="101">
                  <a:moveTo>
                    <a:pt x="131" y="56"/>
                  </a:moveTo>
                  <a:lnTo>
                    <a:pt x="127" y="47"/>
                  </a:lnTo>
                  <a:lnTo>
                    <a:pt x="133" y="34"/>
                  </a:lnTo>
                  <a:lnTo>
                    <a:pt x="127" y="13"/>
                  </a:lnTo>
                  <a:lnTo>
                    <a:pt x="118" y="7"/>
                  </a:lnTo>
                  <a:lnTo>
                    <a:pt x="73" y="5"/>
                  </a:lnTo>
                  <a:lnTo>
                    <a:pt x="69" y="9"/>
                  </a:lnTo>
                  <a:lnTo>
                    <a:pt x="61" y="9"/>
                  </a:lnTo>
                  <a:lnTo>
                    <a:pt x="56" y="0"/>
                  </a:lnTo>
                  <a:lnTo>
                    <a:pt x="0" y="19"/>
                  </a:lnTo>
                  <a:lnTo>
                    <a:pt x="7" y="69"/>
                  </a:lnTo>
                  <a:lnTo>
                    <a:pt x="22" y="71"/>
                  </a:lnTo>
                  <a:lnTo>
                    <a:pt x="37" y="82"/>
                  </a:lnTo>
                  <a:lnTo>
                    <a:pt x="39" y="77"/>
                  </a:lnTo>
                  <a:lnTo>
                    <a:pt x="56" y="84"/>
                  </a:lnTo>
                  <a:lnTo>
                    <a:pt x="84" y="99"/>
                  </a:lnTo>
                  <a:lnTo>
                    <a:pt x="104" y="95"/>
                  </a:lnTo>
                  <a:lnTo>
                    <a:pt x="118" y="101"/>
                  </a:lnTo>
                  <a:lnTo>
                    <a:pt x="138" y="77"/>
                  </a:lnTo>
                  <a:lnTo>
                    <a:pt x="131" y="56"/>
                  </a:lnTo>
                  <a:lnTo>
                    <a:pt x="131" y="56"/>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30" name="Freeform 5738"/>
            <p:cNvSpPr>
              <a:spLocks/>
            </p:cNvSpPr>
            <p:nvPr>
              <p:custDataLst>
                <p:tags r:id="rId108"/>
              </p:custDataLst>
            </p:nvPr>
          </p:nvSpPr>
          <p:spPr bwMode="gray">
            <a:xfrm>
              <a:off x="6735673" y="3070997"/>
              <a:ext cx="156537" cy="165708"/>
            </a:xfrm>
            <a:custGeom>
              <a:avLst/>
              <a:gdLst/>
              <a:ahLst/>
              <a:cxnLst>
                <a:cxn ang="0">
                  <a:pos x="70" y="9"/>
                </a:cxn>
                <a:cxn ang="0">
                  <a:pos x="51" y="0"/>
                </a:cxn>
                <a:cxn ang="0">
                  <a:pos x="42" y="0"/>
                </a:cxn>
                <a:cxn ang="0">
                  <a:pos x="43" y="5"/>
                </a:cxn>
                <a:cxn ang="0">
                  <a:pos x="38" y="24"/>
                </a:cxn>
                <a:cxn ang="0">
                  <a:pos x="21" y="20"/>
                </a:cxn>
                <a:cxn ang="0">
                  <a:pos x="12" y="39"/>
                </a:cxn>
                <a:cxn ang="0">
                  <a:pos x="15" y="45"/>
                </a:cxn>
                <a:cxn ang="0">
                  <a:pos x="0" y="52"/>
                </a:cxn>
                <a:cxn ang="0">
                  <a:pos x="0" y="71"/>
                </a:cxn>
                <a:cxn ang="0">
                  <a:pos x="0" y="82"/>
                </a:cxn>
                <a:cxn ang="0">
                  <a:pos x="4" y="93"/>
                </a:cxn>
                <a:cxn ang="0">
                  <a:pos x="4" y="93"/>
                </a:cxn>
                <a:cxn ang="0">
                  <a:pos x="28" y="105"/>
                </a:cxn>
                <a:cxn ang="0">
                  <a:pos x="21" y="127"/>
                </a:cxn>
                <a:cxn ang="0">
                  <a:pos x="21" y="127"/>
                </a:cxn>
                <a:cxn ang="0">
                  <a:pos x="49" y="129"/>
                </a:cxn>
                <a:cxn ang="0">
                  <a:pos x="98" y="125"/>
                </a:cxn>
                <a:cxn ang="0">
                  <a:pos x="96" y="120"/>
                </a:cxn>
                <a:cxn ang="0">
                  <a:pos x="111" y="107"/>
                </a:cxn>
                <a:cxn ang="0">
                  <a:pos x="92" y="93"/>
                </a:cxn>
                <a:cxn ang="0">
                  <a:pos x="85" y="78"/>
                </a:cxn>
                <a:cxn ang="0">
                  <a:pos x="116" y="63"/>
                </a:cxn>
                <a:cxn ang="0">
                  <a:pos x="122" y="69"/>
                </a:cxn>
                <a:cxn ang="0">
                  <a:pos x="115" y="19"/>
                </a:cxn>
                <a:cxn ang="0">
                  <a:pos x="101" y="11"/>
                </a:cxn>
                <a:cxn ang="0">
                  <a:pos x="107" y="9"/>
                </a:cxn>
                <a:cxn ang="0">
                  <a:pos x="103" y="4"/>
                </a:cxn>
                <a:cxn ang="0">
                  <a:pos x="70" y="17"/>
                </a:cxn>
                <a:cxn ang="0">
                  <a:pos x="70" y="9"/>
                </a:cxn>
                <a:cxn ang="0">
                  <a:pos x="70" y="9"/>
                </a:cxn>
              </a:cxnLst>
              <a:rect l="0" t="0" r="r" b="b"/>
              <a:pathLst>
                <a:path w="122" h="129">
                  <a:moveTo>
                    <a:pt x="70" y="9"/>
                  </a:moveTo>
                  <a:lnTo>
                    <a:pt x="51" y="0"/>
                  </a:lnTo>
                  <a:lnTo>
                    <a:pt x="42" y="0"/>
                  </a:lnTo>
                  <a:lnTo>
                    <a:pt x="43" y="5"/>
                  </a:lnTo>
                  <a:lnTo>
                    <a:pt x="38" y="24"/>
                  </a:lnTo>
                  <a:lnTo>
                    <a:pt x="21" y="20"/>
                  </a:lnTo>
                  <a:lnTo>
                    <a:pt x="12" y="39"/>
                  </a:lnTo>
                  <a:lnTo>
                    <a:pt x="15" y="45"/>
                  </a:lnTo>
                  <a:lnTo>
                    <a:pt x="0" y="52"/>
                  </a:lnTo>
                  <a:lnTo>
                    <a:pt x="0" y="71"/>
                  </a:lnTo>
                  <a:lnTo>
                    <a:pt x="0" y="82"/>
                  </a:lnTo>
                  <a:lnTo>
                    <a:pt x="4" y="93"/>
                  </a:lnTo>
                  <a:lnTo>
                    <a:pt x="4" y="93"/>
                  </a:lnTo>
                  <a:lnTo>
                    <a:pt x="28" y="105"/>
                  </a:lnTo>
                  <a:lnTo>
                    <a:pt x="21" y="127"/>
                  </a:lnTo>
                  <a:lnTo>
                    <a:pt x="21" y="127"/>
                  </a:lnTo>
                  <a:lnTo>
                    <a:pt x="49" y="129"/>
                  </a:lnTo>
                  <a:lnTo>
                    <a:pt x="98" y="125"/>
                  </a:lnTo>
                  <a:lnTo>
                    <a:pt x="96" y="120"/>
                  </a:lnTo>
                  <a:lnTo>
                    <a:pt x="111" y="107"/>
                  </a:lnTo>
                  <a:lnTo>
                    <a:pt x="92" y="93"/>
                  </a:lnTo>
                  <a:lnTo>
                    <a:pt x="85" y="78"/>
                  </a:lnTo>
                  <a:lnTo>
                    <a:pt x="116" y="63"/>
                  </a:lnTo>
                  <a:lnTo>
                    <a:pt x="122" y="69"/>
                  </a:lnTo>
                  <a:lnTo>
                    <a:pt x="115" y="19"/>
                  </a:lnTo>
                  <a:lnTo>
                    <a:pt x="101" y="11"/>
                  </a:lnTo>
                  <a:lnTo>
                    <a:pt x="107" y="9"/>
                  </a:lnTo>
                  <a:lnTo>
                    <a:pt x="103" y="4"/>
                  </a:lnTo>
                  <a:lnTo>
                    <a:pt x="70" y="17"/>
                  </a:lnTo>
                  <a:lnTo>
                    <a:pt x="70" y="9"/>
                  </a:lnTo>
                  <a:lnTo>
                    <a:pt x="70" y="9"/>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31" name="Freeform 5739"/>
            <p:cNvSpPr>
              <a:spLocks/>
            </p:cNvSpPr>
            <p:nvPr>
              <p:custDataLst>
                <p:tags r:id="rId109"/>
              </p:custDataLst>
            </p:nvPr>
          </p:nvSpPr>
          <p:spPr bwMode="gray">
            <a:xfrm>
              <a:off x="6680500" y="3148070"/>
              <a:ext cx="55173" cy="41106"/>
            </a:xfrm>
            <a:custGeom>
              <a:avLst/>
              <a:gdLst/>
              <a:ahLst/>
              <a:cxnLst>
                <a:cxn ang="0">
                  <a:pos x="11" y="0"/>
                </a:cxn>
                <a:cxn ang="0">
                  <a:pos x="32" y="0"/>
                </a:cxn>
                <a:cxn ang="0">
                  <a:pos x="32" y="0"/>
                </a:cxn>
                <a:cxn ang="0">
                  <a:pos x="43" y="11"/>
                </a:cxn>
                <a:cxn ang="0">
                  <a:pos x="43" y="22"/>
                </a:cxn>
                <a:cxn ang="0">
                  <a:pos x="40" y="32"/>
                </a:cxn>
                <a:cxn ang="0">
                  <a:pos x="30" y="30"/>
                </a:cxn>
                <a:cxn ang="0">
                  <a:pos x="28" y="22"/>
                </a:cxn>
                <a:cxn ang="0">
                  <a:pos x="19" y="24"/>
                </a:cxn>
                <a:cxn ang="0">
                  <a:pos x="0" y="5"/>
                </a:cxn>
                <a:cxn ang="0">
                  <a:pos x="11" y="0"/>
                </a:cxn>
                <a:cxn ang="0">
                  <a:pos x="11" y="0"/>
                </a:cxn>
              </a:cxnLst>
              <a:rect l="0" t="0" r="r" b="b"/>
              <a:pathLst>
                <a:path w="43" h="32">
                  <a:moveTo>
                    <a:pt x="11" y="0"/>
                  </a:moveTo>
                  <a:lnTo>
                    <a:pt x="32" y="0"/>
                  </a:lnTo>
                  <a:lnTo>
                    <a:pt x="32" y="0"/>
                  </a:lnTo>
                  <a:lnTo>
                    <a:pt x="43" y="11"/>
                  </a:lnTo>
                  <a:lnTo>
                    <a:pt x="43" y="22"/>
                  </a:lnTo>
                  <a:lnTo>
                    <a:pt x="40" y="32"/>
                  </a:lnTo>
                  <a:lnTo>
                    <a:pt x="30" y="30"/>
                  </a:lnTo>
                  <a:lnTo>
                    <a:pt x="28" y="22"/>
                  </a:lnTo>
                  <a:lnTo>
                    <a:pt x="19" y="24"/>
                  </a:lnTo>
                  <a:lnTo>
                    <a:pt x="0" y="5"/>
                  </a:lnTo>
                  <a:lnTo>
                    <a:pt x="11" y="0"/>
                  </a:lnTo>
                  <a:lnTo>
                    <a:pt x="11"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32" name="Freeform 5740"/>
            <p:cNvSpPr>
              <a:spLocks/>
            </p:cNvSpPr>
            <p:nvPr>
              <p:custDataLst>
                <p:tags r:id="rId110"/>
              </p:custDataLst>
            </p:nvPr>
          </p:nvSpPr>
          <p:spPr bwMode="gray">
            <a:xfrm>
              <a:off x="6726691" y="2726735"/>
              <a:ext cx="401608" cy="273611"/>
            </a:xfrm>
            <a:custGeom>
              <a:avLst/>
              <a:gdLst/>
              <a:ahLst/>
              <a:cxnLst>
                <a:cxn ang="0">
                  <a:pos x="187" y="41"/>
                </a:cxn>
                <a:cxn ang="0">
                  <a:pos x="163" y="47"/>
                </a:cxn>
                <a:cxn ang="0">
                  <a:pos x="138" y="65"/>
                </a:cxn>
                <a:cxn ang="0">
                  <a:pos x="112" y="101"/>
                </a:cxn>
                <a:cxn ang="0">
                  <a:pos x="93" y="118"/>
                </a:cxn>
                <a:cxn ang="0">
                  <a:pos x="99" y="159"/>
                </a:cxn>
                <a:cxn ang="0">
                  <a:pos x="95" y="180"/>
                </a:cxn>
                <a:cxn ang="0">
                  <a:pos x="84" y="197"/>
                </a:cxn>
                <a:cxn ang="0">
                  <a:pos x="73" y="191"/>
                </a:cxn>
                <a:cxn ang="0">
                  <a:pos x="11" y="208"/>
                </a:cxn>
                <a:cxn ang="0">
                  <a:pos x="15" y="191"/>
                </a:cxn>
                <a:cxn ang="0">
                  <a:pos x="7" y="180"/>
                </a:cxn>
                <a:cxn ang="0">
                  <a:pos x="0" y="159"/>
                </a:cxn>
                <a:cxn ang="0">
                  <a:pos x="0" y="148"/>
                </a:cxn>
                <a:cxn ang="0">
                  <a:pos x="41" y="129"/>
                </a:cxn>
                <a:cxn ang="0">
                  <a:pos x="60" y="122"/>
                </a:cxn>
                <a:cxn ang="0">
                  <a:pos x="112" y="64"/>
                </a:cxn>
                <a:cxn ang="0">
                  <a:pos x="101" y="50"/>
                </a:cxn>
                <a:cxn ang="0">
                  <a:pos x="120" y="37"/>
                </a:cxn>
                <a:cxn ang="0">
                  <a:pos x="137" y="35"/>
                </a:cxn>
                <a:cxn ang="0">
                  <a:pos x="146" y="37"/>
                </a:cxn>
                <a:cxn ang="0">
                  <a:pos x="150" y="32"/>
                </a:cxn>
                <a:cxn ang="0">
                  <a:pos x="170" y="15"/>
                </a:cxn>
                <a:cxn ang="0">
                  <a:pos x="221" y="4"/>
                </a:cxn>
                <a:cxn ang="0">
                  <a:pos x="247" y="0"/>
                </a:cxn>
                <a:cxn ang="0">
                  <a:pos x="258" y="4"/>
                </a:cxn>
                <a:cxn ang="0">
                  <a:pos x="271" y="2"/>
                </a:cxn>
                <a:cxn ang="0">
                  <a:pos x="313" y="11"/>
                </a:cxn>
                <a:cxn ang="0">
                  <a:pos x="313" y="22"/>
                </a:cxn>
                <a:cxn ang="0">
                  <a:pos x="292" y="32"/>
                </a:cxn>
                <a:cxn ang="0">
                  <a:pos x="275" y="17"/>
                </a:cxn>
                <a:cxn ang="0">
                  <a:pos x="253" y="34"/>
                </a:cxn>
                <a:cxn ang="0">
                  <a:pos x="217" y="35"/>
                </a:cxn>
                <a:cxn ang="0">
                  <a:pos x="191" y="32"/>
                </a:cxn>
              </a:cxnLst>
              <a:rect l="0" t="0" r="r" b="b"/>
              <a:pathLst>
                <a:path w="313" h="213">
                  <a:moveTo>
                    <a:pt x="191" y="32"/>
                  </a:moveTo>
                  <a:lnTo>
                    <a:pt x="187" y="41"/>
                  </a:lnTo>
                  <a:lnTo>
                    <a:pt x="167" y="39"/>
                  </a:lnTo>
                  <a:lnTo>
                    <a:pt x="163" y="47"/>
                  </a:lnTo>
                  <a:lnTo>
                    <a:pt x="148" y="49"/>
                  </a:lnTo>
                  <a:lnTo>
                    <a:pt x="138" y="65"/>
                  </a:lnTo>
                  <a:lnTo>
                    <a:pt x="123" y="79"/>
                  </a:lnTo>
                  <a:lnTo>
                    <a:pt x="112" y="101"/>
                  </a:lnTo>
                  <a:lnTo>
                    <a:pt x="116" y="110"/>
                  </a:lnTo>
                  <a:lnTo>
                    <a:pt x="93" y="118"/>
                  </a:lnTo>
                  <a:lnTo>
                    <a:pt x="92" y="137"/>
                  </a:lnTo>
                  <a:lnTo>
                    <a:pt x="99" y="159"/>
                  </a:lnTo>
                  <a:lnTo>
                    <a:pt x="93" y="161"/>
                  </a:lnTo>
                  <a:lnTo>
                    <a:pt x="95" y="180"/>
                  </a:lnTo>
                  <a:lnTo>
                    <a:pt x="86" y="185"/>
                  </a:lnTo>
                  <a:lnTo>
                    <a:pt x="84" y="197"/>
                  </a:lnTo>
                  <a:lnTo>
                    <a:pt x="78" y="195"/>
                  </a:lnTo>
                  <a:lnTo>
                    <a:pt x="73" y="191"/>
                  </a:lnTo>
                  <a:lnTo>
                    <a:pt x="34" y="213"/>
                  </a:lnTo>
                  <a:lnTo>
                    <a:pt x="11" y="208"/>
                  </a:lnTo>
                  <a:lnTo>
                    <a:pt x="7" y="202"/>
                  </a:lnTo>
                  <a:lnTo>
                    <a:pt x="15" y="191"/>
                  </a:lnTo>
                  <a:lnTo>
                    <a:pt x="5" y="193"/>
                  </a:lnTo>
                  <a:lnTo>
                    <a:pt x="7" y="180"/>
                  </a:lnTo>
                  <a:lnTo>
                    <a:pt x="2" y="174"/>
                  </a:lnTo>
                  <a:lnTo>
                    <a:pt x="0" y="159"/>
                  </a:lnTo>
                  <a:lnTo>
                    <a:pt x="4" y="154"/>
                  </a:lnTo>
                  <a:lnTo>
                    <a:pt x="0" y="148"/>
                  </a:lnTo>
                  <a:lnTo>
                    <a:pt x="28" y="131"/>
                  </a:lnTo>
                  <a:lnTo>
                    <a:pt x="41" y="129"/>
                  </a:lnTo>
                  <a:lnTo>
                    <a:pt x="52" y="118"/>
                  </a:lnTo>
                  <a:lnTo>
                    <a:pt x="60" y="122"/>
                  </a:lnTo>
                  <a:lnTo>
                    <a:pt x="93" y="94"/>
                  </a:lnTo>
                  <a:lnTo>
                    <a:pt x="112" y="64"/>
                  </a:lnTo>
                  <a:lnTo>
                    <a:pt x="135" y="45"/>
                  </a:lnTo>
                  <a:lnTo>
                    <a:pt x="101" y="50"/>
                  </a:lnTo>
                  <a:lnTo>
                    <a:pt x="125" y="41"/>
                  </a:lnTo>
                  <a:lnTo>
                    <a:pt x="120" y="37"/>
                  </a:lnTo>
                  <a:lnTo>
                    <a:pt x="140" y="28"/>
                  </a:lnTo>
                  <a:lnTo>
                    <a:pt x="137" y="35"/>
                  </a:lnTo>
                  <a:lnTo>
                    <a:pt x="144" y="32"/>
                  </a:lnTo>
                  <a:lnTo>
                    <a:pt x="146" y="37"/>
                  </a:lnTo>
                  <a:lnTo>
                    <a:pt x="155" y="32"/>
                  </a:lnTo>
                  <a:lnTo>
                    <a:pt x="150" y="32"/>
                  </a:lnTo>
                  <a:lnTo>
                    <a:pt x="150" y="26"/>
                  </a:lnTo>
                  <a:lnTo>
                    <a:pt x="170" y="15"/>
                  </a:lnTo>
                  <a:lnTo>
                    <a:pt x="200" y="13"/>
                  </a:lnTo>
                  <a:lnTo>
                    <a:pt x="221" y="4"/>
                  </a:lnTo>
                  <a:lnTo>
                    <a:pt x="232" y="7"/>
                  </a:lnTo>
                  <a:lnTo>
                    <a:pt x="247" y="0"/>
                  </a:lnTo>
                  <a:lnTo>
                    <a:pt x="247" y="7"/>
                  </a:lnTo>
                  <a:lnTo>
                    <a:pt x="258" y="4"/>
                  </a:lnTo>
                  <a:lnTo>
                    <a:pt x="262" y="9"/>
                  </a:lnTo>
                  <a:lnTo>
                    <a:pt x="271" y="2"/>
                  </a:lnTo>
                  <a:lnTo>
                    <a:pt x="288" y="4"/>
                  </a:lnTo>
                  <a:lnTo>
                    <a:pt x="313" y="11"/>
                  </a:lnTo>
                  <a:lnTo>
                    <a:pt x="286" y="15"/>
                  </a:lnTo>
                  <a:lnTo>
                    <a:pt x="313" y="22"/>
                  </a:lnTo>
                  <a:lnTo>
                    <a:pt x="313" y="22"/>
                  </a:lnTo>
                  <a:lnTo>
                    <a:pt x="292" y="32"/>
                  </a:lnTo>
                  <a:lnTo>
                    <a:pt x="292" y="22"/>
                  </a:lnTo>
                  <a:lnTo>
                    <a:pt x="275" y="17"/>
                  </a:lnTo>
                  <a:lnTo>
                    <a:pt x="256" y="20"/>
                  </a:lnTo>
                  <a:lnTo>
                    <a:pt x="253" y="34"/>
                  </a:lnTo>
                  <a:lnTo>
                    <a:pt x="243" y="37"/>
                  </a:lnTo>
                  <a:lnTo>
                    <a:pt x="217" y="35"/>
                  </a:lnTo>
                  <a:lnTo>
                    <a:pt x="198" y="28"/>
                  </a:lnTo>
                  <a:lnTo>
                    <a:pt x="191" y="32"/>
                  </a:lnTo>
                  <a:lnTo>
                    <a:pt x="191" y="32"/>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33" name="Freeform 5741"/>
            <p:cNvSpPr>
              <a:spLocks/>
            </p:cNvSpPr>
            <p:nvPr>
              <p:custDataLst>
                <p:tags r:id="rId111"/>
              </p:custDataLst>
            </p:nvPr>
          </p:nvSpPr>
          <p:spPr bwMode="gray">
            <a:xfrm>
              <a:off x="6826773" y="2767841"/>
              <a:ext cx="205295" cy="289026"/>
            </a:xfrm>
            <a:custGeom>
              <a:avLst/>
              <a:gdLst/>
              <a:ahLst/>
              <a:cxnLst>
                <a:cxn ang="0">
                  <a:pos x="6" y="165"/>
                </a:cxn>
                <a:cxn ang="0">
                  <a:pos x="8" y="153"/>
                </a:cxn>
                <a:cxn ang="0">
                  <a:pos x="17" y="148"/>
                </a:cxn>
                <a:cxn ang="0">
                  <a:pos x="15" y="129"/>
                </a:cxn>
                <a:cxn ang="0">
                  <a:pos x="21" y="127"/>
                </a:cxn>
                <a:cxn ang="0">
                  <a:pos x="14" y="105"/>
                </a:cxn>
                <a:cxn ang="0">
                  <a:pos x="15" y="86"/>
                </a:cxn>
                <a:cxn ang="0">
                  <a:pos x="38" y="78"/>
                </a:cxn>
                <a:cxn ang="0">
                  <a:pos x="34" y="69"/>
                </a:cxn>
                <a:cxn ang="0">
                  <a:pos x="45" y="47"/>
                </a:cxn>
                <a:cxn ang="0">
                  <a:pos x="60" y="33"/>
                </a:cxn>
                <a:cxn ang="0">
                  <a:pos x="70" y="17"/>
                </a:cxn>
                <a:cxn ang="0">
                  <a:pos x="85" y="15"/>
                </a:cxn>
                <a:cxn ang="0">
                  <a:pos x="89" y="7"/>
                </a:cxn>
                <a:cxn ang="0">
                  <a:pos x="109" y="9"/>
                </a:cxn>
                <a:cxn ang="0">
                  <a:pos x="113" y="0"/>
                </a:cxn>
                <a:cxn ang="0">
                  <a:pos x="148" y="15"/>
                </a:cxn>
                <a:cxn ang="0">
                  <a:pos x="160" y="50"/>
                </a:cxn>
                <a:cxn ang="0">
                  <a:pos x="141" y="50"/>
                </a:cxn>
                <a:cxn ang="0">
                  <a:pos x="124" y="69"/>
                </a:cxn>
                <a:cxn ang="0">
                  <a:pos x="133" y="73"/>
                </a:cxn>
                <a:cxn ang="0">
                  <a:pos x="83" y="110"/>
                </a:cxn>
                <a:cxn ang="0">
                  <a:pos x="81" y="133"/>
                </a:cxn>
                <a:cxn ang="0">
                  <a:pos x="102" y="150"/>
                </a:cxn>
                <a:cxn ang="0">
                  <a:pos x="92" y="159"/>
                </a:cxn>
                <a:cxn ang="0">
                  <a:pos x="96" y="161"/>
                </a:cxn>
                <a:cxn ang="0">
                  <a:pos x="77" y="170"/>
                </a:cxn>
                <a:cxn ang="0">
                  <a:pos x="66" y="213"/>
                </a:cxn>
                <a:cxn ang="0">
                  <a:pos x="49" y="213"/>
                </a:cxn>
                <a:cxn ang="0">
                  <a:pos x="44" y="225"/>
                </a:cxn>
                <a:cxn ang="0">
                  <a:pos x="27" y="225"/>
                </a:cxn>
                <a:cxn ang="0">
                  <a:pos x="23" y="213"/>
                </a:cxn>
                <a:cxn ang="0">
                  <a:pos x="25" y="208"/>
                </a:cxn>
                <a:cxn ang="0">
                  <a:pos x="0" y="163"/>
                </a:cxn>
                <a:cxn ang="0">
                  <a:pos x="6" y="165"/>
                </a:cxn>
                <a:cxn ang="0">
                  <a:pos x="6" y="165"/>
                </a:cxn>
              </a:cxnLst>
              <a:rect l="0" t="0" r="r" b="b"/>
              <a:pathLst>
                <a:path w="160" h="225">
                  <a:moveTo>
                    <a:pt x="6" y="165"/>
                  </a:moveTo>
                  <a:lnTo>
                    <a:pt x="8" y="153"/>
                  </a:lnTo>
                  <a:lnTo>
                    <a:pt x="17" y="148"/>
                  </a:lnTo>
                  <a:lnTo>
                    <a:pt x="15" y="129"/>
                  </a:lnTo>
                  <a:lnTo>
                    <a:pt x="21" y="127"/>
                  </a:lnTo>
                  <a:lnTo>
                    <a:pt x="14" y="105"/>
                  </a:lnTo>
                  <a:lnTo>
                    <a:pt x="15" y="86"/>
                  </a:lnTo>
                  <a:lnTo>
                    <a:pt x="38" y="78"/>
                  </a:lnTo>
                  <a:lnTo>
                    <a:pt x="34" y="69"/>
                  </a:lnTo>
                  <a:lnTo>
                    <a:pt x="45" y="47"/>
                  </a:lnTo>
                  <a:lnTo>
                    <a:pt x="60" y="33"/>
                  </a:lnTo>
                  <a:lnTo>
                    <a:pt x="70" y="17"/>
                  </a:lnTo>
                  <a:lnTo>
                    <a:pt x="85" y="15"/>
                  </a:lnTo>
                  <a:lnTo>
                    <a:pt x="89" y="7"/>
                  </a:lnTo>
                  <a:lnTo>
                    <a:pt x="109" y="9"/>
                  </a:lnTo>
                  <a:lnTo>
                    <a:pt x="113" y="0"/>
                  </a:lnTo>
                  <a:lnTo>
                    <a:pt x="148" y="15"/>
                  </a:lnTo>
                  <a:lnTo>
                    <a:pt x="160" y="50"/>
                  </a:lnTo>
                  <a:lnTo>
                    <a:pt x="141" y="50"/>
                  </a:lnTo>
                  <a:lnTo>
                    <a:pt x="124" y="69"/>
                  </a:lnTo>
                  <a:lnTo>
                    <a:pt x="133" y="73"/>
                  </a:lnTo>
                  <a:lnTo>
                    <a:pt x="83" y="110"/>
                  </a:lnTo>
                  <a:lnTo>
                    <a:pt x="81" y="133"/>
                  </a:lnTo>
                  <a:lnTo>
                    <a:pt x="102" y="150"/>
                  </a:lnTo>
                  <a:lnTo>
                    <a:pt x="92" y="159"/>
                  </a:lnTo>
                  <a:lnTo>
                    <a:pt x="96" y="161"/>
                  </a:lnTo>
                  <a:lnTo>
                    <a:pt x="77" y="170"/>
                  </a:lnTo>
                  <a:lnTo>
                    <a:pt x="66" y="213"/>
                  </a:lnTo>
                  <a:lnTo>
                    <a:pt x="49" y="213"/>
                  </a:lnTo>
                  <a:lnTo>
                    <a:pt x="44" y="225"/>
                  </a:lnTo>
                  <a:lnTo>
                    <a:pt x="27" y="225"/>
                  </a:lnTo>
                  <a:lnTo>
                    <a:pt x="23" y="213"/>
                  </a:lnTo>
                  <a:lnTo>
                    <a:pt x="25" y="208"/>
                  </a:lnTo>
                  <a:lnTo>
                    <a:pt x="0" y="163"/>
                  </a:lnTo>
                  <a:lnTo>
                    <a:pt x="6" y="165"/>
                  </a:lnTo>
                  <a:lnTo>
                    <a:pt x="6" y="165"/>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34" name="Freeform 5742"/>
            <p:cNvSpPr>
              <a:spLocks/>
            </p:cNvSpPr>
            <p:nvPr>
              <p:custDataLst>
                <p:tags r:id="rId112"/>
              </p:custDataLst>
            </p:nvPr>
          </p:nvSpPr>
          <p:spPr bwMode="gray">
            <a:xfrm>
              <a:off x="6971762" y="2748572"/>
              <a:ext cx="187332" cy="209383"/>
            </a:xfrm>
            <a:custGeom>
              <a:avLst/>
              <a:gdLst/>
              <a:ahLst/>
              <a:cxnLst>
                <a:cxn ang="0">
                  <a:pos x="101" y="15"/>
                </a:cxn>
                <a:cxn ang="0">
                  <a:pos x="97" y="17"/>
                </a:cxn>
                <a:cxn ang="0">
                  <a:pos x="97" y="28"/>
                </a:cxn>
                <a:cxn ang="0">
                  <a:pos x="116" y="35"/>
                </a:cxn>
                <a:cxn ang="0">
                  <a:pos x="109" y="47"/>
                </a:cxn>
                <a:cxn ang="0">
                  <a:pos x="122" y="63"/>
                </a:cxn>
                <a:cxn ang="0">
                  <a:pos x="120" y="80"/>
                </a:cxn>
                <a:cxn ang="0">
                  <a:pos x="131" y="92"/>
                </a:cxn>
                <a:cxn ang="0">
                  <a:pos x="129" y="101"/>
                </a:cxn>
                <a:cxn ang="0">
                  <a:pos x="146" y="116"/>
                </a:cxn>
                <a:cxn ang="0">
                  <a:pos x="103" y="153"/>
                </a:cxn>
                <a:cxn ang="0">
                  <a:pos x="50" y="163"/>
                </a:cxn>
                <a:cxn ang="0">
                  <a:pos x="20" y="151"/>
                </a:cxn>
                <a:cxn ang="0">
                  <a:pos x="24" y="137"/>
                </a:cxn>
                <a:cxn ang="0">
                  <a:pos x="15" y="120"/>
                </a:cxn>
                <a:cxn ang="0">
                  <a:pos x="20" y="112"/>
                </a:cxn>
                <a:cxn ang="0">
                  <a:pos x="64" y="80"/>
                </a:cxn>
                <a:cxn ang="0">
                  <a:pos x="64" y="71"/>
                </a:cxn>
                <a:cxn ang="0">
                  <a:pos x="52" y="65"/>
                </a:cxn>
                <a:cxn ang="0">
                  <a:pos x="47" y="65"/>
                </a:cxn>
                <a:cxn ang="0">
                  <a:pos x="35" y="30"/>
                </a:cxn>
                <a:cxn ang="0">
                  <a:pos x="0" y="15"/>
                </a:cxn>
                <a:cxn ang="0">
                  <a:pos x="7" y="11"/>
                </a:cxn>
                <a:cxn ang="0">
                  <a:pos x="26" y="18"/>
                </a:cxn>
                <a:cxn ang="0">
                  <a:pos x="52" y="20"/>
                </a:cxn>
                <a:cxn ang="0">
                  <a:pos x="62" y="17"/>
                </a:cxn>
                <a:cxn ang="0">
                  <a:pos x="65" y="3"/>
                </a:cxn>
                <a:cxn ang="0">
                  <a:pos x="84" y="0"/>
                </a:cxn>
                <a:cxn ang="0">
                  <a:pos x="101" y="5"/>
                </a:cxn>
                <a:cxn ang="0">
                  <a:pos x="101" y="15"/>
                </a:cxn>
                <a:cxn ang="0">
                  <a:pos x="101" y="15"/>
                </a:cxn>
              </a:cxnLst>
              <a:rect l="0" t="0" r="r" b="b"/>
              <a:pathLst>
                <a:path w="146" h="163">
                  <a:moveTo>
                    <a:pt x="101" y="15"/>
                  </a:moveTo>
                  <a:lnTo>
                    <a:pt x="97" y="17"/>
                  </a:lnTo>
                  <a:lnTo>
                    <a:pt x="97" y="28"/>
                  </a:lnTo>
                  <a:lnTo>
                    <a:pt x="116" y="35"/>
                  </a:lnTo>
                  <a:lnTo>
                    <a:pt x="109" y="47"/>
                  </a:lnTo>
                  <a:lnTo>
                    <a:pt x="122" y="63"/>
                  </a:lnTo>
                  <a:lnTo>
                    <a:pt x="120" y="80"/>
                  </a:lnTo>
                  <a:lnTo>
                    <a:pt x="131" y="92"/>
                  </a:lnTo>
                  <a:lnTo>
                    <a:pt x="129" y="101"/>
                  </a:lnTo>
                  <a:lnTo>
                    <a:pt x="146" y="116"/>
                  </a:lnTo>
                  <a:lnTo>
                    <a:pt x="103" y="153"/>
                  </a:lnTo>
                  <a:lnTo>
                    <a:pt x="50" y="163"/>
                  </a:lnTo>
                  <a:lnTo>
                    <a:pt x="20" y="151"/>
                  </a:lnTo>
                  <a:lnTo>
                    <a:pt x="24" y="137"/>
                  </a:lnTo>
                  <a:lnTo>
                    <a:pt x="15" y="120"/>
                  </a:lnTo>
                  <a:lnTo>
                    <a:pt x="20" y="112"/>
                  </a:lnTo>
                  <a:lnTo>
                    <a:pt x="64" y="80"/>
                  </a:lnTo>
                  <a:lnTo>
                    <a:pt x="64" y="71"/>
                  </a:lnTo>
                  <a:lnTo>
                    <a:pt x="52" y="65"/>
                  </a:lnTo>
                  <a:lnTo>
                    <a:pt x="47" y="65"/>
                  </a:lnTo>
                  <a:lnTo>
                    <a:pt x="35" y="30"/>
                  </a:lnTo>
                  <a:lnTo>
                    <a:pt x="0" y="15"/>
                  </a:lnTo>
                  <a:lnTo>
                    <a:pt x="7" y="11"/>
                  </a:lnTo>
                  <a:lnTo>
                    <a:pt x="26" y="18"/>
                  </a:lnTo>
                  <a:lnTo>
                    <a:pt x="52" y="20"/>
                  </a:lnTo>
                  <a:lnTo>
                    <a:pt x="62" y="17"/>
                  </a:lnTo>
                  <a:lnTo>
                    <a:pt x="65" y="3"/>
                  </a:lnTo>
                  <a:lnTo>
                    <a:pt x="84" y="0"/>
                  </a:lnTo>
                  <a:lnTo>
                    <a:pt x="101" y="5"/>
                  </a:lnTo>
                  <a:lnTo>
                    <a:pt x="101" y="15"/>
                  </a:lnTo>
                  <a:lnTo>
                    <a:pt x="101" y="15"/>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35" name="Freeform 5743"/>
            <p:cNvSpPr>
              <a:spLocks/>
            </p:cNvSpPr>
            <p:nvPr>
              <p:custDataLst>
                <p:tags r:id="rId113"/>
              </p:custDataLst>
            </p:nvPr>
          </p:nvSpPr>
          <p:spPr bwMode="gray">
            <a:xfrm>
              <a:off x="3743501" y="2724166"/>
              <a:ext cx="792951" cy="358392"/>
            </a:xfrm>
            <a:custGeom>
              <a:avLst/>
              <a:gdLst/>
              <a:ahLst/>
              <a:cxnLst>
                <a:cxn ang="0">
                  <a:pos x="433" y="178"/>
                </a:cxn>
                <a:cxn ang="0">
                  <a:pos x="450" y="180"/>
                </a:cxn>
                <a:cxn ang="0">
                  <a:pos x="495" y="185"/>
                </a:cxn>
                <a:cxn ang="0">
                  <a:pos x="497" y="204"/>
                </a:cxn>
                <a:cxn ang="0">
                  <a:pos x="500" y="251"/>
                </a:cxn>
                <a:cxn ang="0">
                  <a:pos x="472" y="272"/>
                </a:cxn>
                <a:cxn ang="0">
                  <a:pos x="470" y="253"/>
                </a:cxn>
                <a:cxn ang="0">
                  <a:pos x="467" y="245"/>
                </a:cxn>
                <a:cxn ang="0">
                  <a:pos x="452" y="274"/>
                </a:cxn>
                <a:cxn ang="0">
                  <a:pos x="457" y="244"/>
                </a:cxn>
                <a:cxn ang="0">
                  <a:pos x="455" y="236"/>
                </a:cxn>
                <a:cxn ang="0">
                  <a:pos x="476" y="234"/>
                </a:cxn>
                <a:cxn ang="0">
                  <a:pos x="457" y="232"/>
                </a:cxn>
                <a:cxn ang="0">
                  <a:pos x="465" y="210"/>
                </a:cxn>
                <a:cxn ang="0">
                  <a:pos x="440" y="247"/>
                </a:cxn>
                <a:cxn ang="0">
                  <a:pos x="435" y="191"/>
                </a:cxn>
                <a:cxn ang="0">
                  <a:pos x="429" y="185"/>
                </a:cxn>
                <a:cxn ang="0">
                  <a:pos x="369" y="167"/>
                </a:cxn>
                <a:cxn ang="0">
                  <a:pos x="324" y="182"/>
                </a:cxn>
                <a:cxn ang="0">
                  <a:pos x="307" y="169"/>
                </a:cxn>
                <a:cxn ang="0">
                  <a:pos x="326" y="159"/>
                </a:cxn>
                <a:cxn ang="0">
                  <a:pos x="238" y="197"/>
                </a:cxn>
                <a:cxn ang="0">
                  <a:pos x="229" y="206"/>
                </a:cxn>
                <a:cxn ang="0">
                  <a:pos x="115" y="249"/>
                </a:cxn>
                <a:cxn ang="0">
                  <a:pos x="159" y="223"/>
                </a:cxn>
                <a:cxn ang="0">
                  <a:pos x="159" y="208"/>
                </a:cxn>
                <a:cxn ang="0">
                  <a:pos x="131" y="202"/>
                </a:cxn>
                <a:cxn ang="0">
                  <a:pos x="122" y="185"/>
                </a:cxn>
                <a:cxn ang="0">
                  <a:pos x="184" y="131"/>
                </a:cxn>
                <a:cxn ang="0">
                  <a:pos x="272" y="101"/>
                </a:cxn>
                <a:cxn ang="0">
                  <a:pos x="216" y="107"/>
                </a:cxn>
                <a:cxn ang="0">
                  <a:pos x="216" y="92"/>
                </a:cxn>
                <a:cxn ang="0">
                  <a:pos x="264" y="75"/>
                </a:cxn>
                <a:cxn ang="0">
                  <a:pos x="266" y="81"/>
                </a:cxn>
                <a:cxn ang="0">
                  <a:pos x="294" y="64"/>
                </a:cxn>
                <a:cxn ang="0">
                  <a:pos x="289" y="45"/>
                </a:cxn>
                <a:cxn ang="0">
                  <a:pos x="339" y="34"/>
                </a:cxn>
                <a:cxn ang="0">
                  <a:pos x="476" y="0"/>
                </a:cxn>
                <a:cxn ang="0">
                  <a:pos x="489" y="6"/>
                </a:cxn>
                <a:cxn ang="0">
                  <a:pos x="514" y="11"/>
                </a:cxn>
                <a:cxn ang="0">
                  <a:pos x="618" y="24"/>
                </a:cxn>
                <a:cxn ang="0">
                  <a:pos x="435" y="174"/>
                </a:cxn>
              </a:cxnLst>
              <a:rect l="0" t="0" r="r" b="b"/>
              <a:pathLst>
                <a:path w="618" h="279">
                  <a:moveTo>
                    <a:pt x="435" y="174"/>
                  </a:moveTo>
                  <a:lnTo>
                    <a:pt x="433" y="178"/>
                  </a:lnTo>
                  <a:lnTo>
                    <a:pt x="455" y="176"/>
                  </a:lnTo>
                  <a:lnTo>
                    <a:pt x="450" y="180"/>
                  </a:lnTo>
                  <a:lnTo>
                    <a:pt x="455" y="199"/>
                  </a:lnTo>
                  <a:lnTo>
                    <a:pt x="495" y="185"/>
                  </a:lnTo>
                  <a:lnTo>
                    <a:pt x="491" y="200"/>
                  </a:lnTo>
                  <a:lnTo>
                    <a:pt x="497" y="204"/>
                  </a:lnTo>
                  <a:lnTo>
                    <a:pt x="485" y="238"/>
                  </a:lnTo>
                  <a:lnTo>
                    <a:pt x="500" y="251"/>
                  </a:lnTo>
                  <a:lnTo>
                    <a:pt x="484" y="268"/>
                  </a:lnTo>
                  <a:lnTo>
                    <a:pt x="472" y="272"/>
                  </a:lnTo>
                  <a:lnTo>
                    <a:pt x="469" y="268"/>
                  </a:lnTo>
                  <a:lnTo>
                    <a:pt x="470" y="253"/>
                  </a:lnTo>
                  <a:lnTo>
                    <a:pt x="476" y="249"/>
                  </a:lnTo>
                  <a:lnTo>
                    <a:pt x="467" y="245"/>
                  </a:lnTo>
                  <a:lnTo>
                    <a:pt x="461" y="262"/>
                  </a:lnTo>
                  <a:lnTo>
                    <a:pt x="452" y="274"/>
                  </a:lnTo>
                  <a:lnTo>
                    <a:pt x="450" y="260"/>
                  </a:lnTo>
                  <a:lnTo>
                    <a:pt x="457" y="244"/>
                  </a:lnTo>
                  <a:lnTo>
                    <a:pt x="450" y="245"/>
                  </a:lnTo>
                  <a:lnTo>
                    <a:pt x="455" y="236"/>
                  </a:lnTo>
                  <a:lnTo>
                    <a:pt x="469" y="230"/>
                  </a:lnTo>
                  <a:lnTo>
                    <a:pt x="476" y="234"/>
                  </a:lnTo>
                  <a:lnTo>
                    <a:pt x="478" y="223"/>
                  </a:lnTo>
                  <a:lnTo>
                    <a:pt x="457" y="232"/>
                  </a:lnTo>
                  <a:lnTo>
                    <a:pt x="480" y="204"/>
                  </a:lnTo>
                  <a:lnTo>
                    <a:pt x="465" y="210"/>
                  </a:lnTo>
                  <a:lnTo>
                    <a:pt x="467" y="217"/>
                  </a:lnTo>
                  <a:lnTo>
                    <a:pt x="440" y="247"/>
                  </a:lnTo>
                  <a:lnTo>
                    <a:pt x="452" y="212"/>
                  </a:lnTo>
                  <a:lnTo>
                    <a:pt x="435" y="191"/>
                  </a:lnTo>
                  <a:lnTo>
                    <a:pt x="442" y="182"/>
                  </a:lnTo>
                  <a:lnTo>
                    <a:pt x="429" y="185"/>
                  </a:lnTo>
                  <a:lnTo>
                    <a:pt x="386" y="182"/>
                  </a:lnTo>
                  <a:lnTo>
                    <a:pt x="369" y="167"/>
                  </a:lnTo>
                  <a:lnTo>
                    <a:pt x="351" y="163"/>
                  </a:lnTo>
                  <a:lnTo>
                    <a:pt x="324" y="182"/>
                  </a:lnTo>
                  <a:lnTo>
                    <a:pt x="268" y="195"/>
                  </a:lnTo>
                  <a:lnTo>
                    <a:pt x="307" y="169"/>
                  </a:lnTo>
                  <a:lnTo>
                    <a:pt x="336" y="159"/>
                  </a:lnTo>
                  <a:lnTo>
                    <a:pt x="326" y="159"/>
                  </a:lnTo>
                  <a:lnTo>
                    <a:pt x="248" y="191"/>
                  </a:lnTo>
                  <a:lnTo>
                    <a:pt x="238" y="197"/>
                  </a:lnTo>
                  <a:lnTo>
                    <a:pt x="244" y="200"/>
                  </a:lnTo>
                  <a:lnTo>
                    <a:pt x="229" y="206"/>
                  </a:lnTo>
                  <a:lnTo>
                    <a:pt x="161" y="232"/>
                  </a:lnTo>
                  <a:lnTo>
                    <a:pt x="115" y="249"/>
                  </a:lnTo>
                  <a:lnTo>
                    <a:pt x="0" y="279"/>
                  </a:lnTo>
                  <a:lnTo>
                    <a:pt x="159" y="223"/>
                  </a:lnTo>
                  <a:lnTo>
                    <a:pt x="188" y="202"/>
                  </a:lnTo>
                  <a:lnTo>
                    <a:pt x="159" y="208"/>
                  </a:lnTo>
                  <a:lnTo>
                    <a:pt x="161" y="200"/>
                  </a:lnTo>
                  <a:lnTo>
                    <a:pt x="131" y="202"/>
                  </a:lnTo>
                  <a:lnTo>
                    <a:pt x="154" y="180"/>
                  </a:lnTo>
                  <a:lnTo>
                    <a:pt x="122" y="185"/>
                  </a:lnTo>
                  <a:lnTo>
                    <a:pt x="133" y="156"/>
                  </a:lnTo>
                  <a:lnTo>
                    <a:pt x="184" y="131"/>
                  </a:lnTo>
                  <a:lnTo>
                    <a:pt x="242" y="124"/>
                  </a:lnTo>
                  <a:lnTo>
                    <a:pt x="272" y="101"/>
                  </a:lnTo>
                  <a:lnTo>
                    <a:pt x="242" y="107"/>
                  </a:lnTo>
                  <a:lnTo>
                    <a:pt x="216" y="107"/>
                  </a:lnTo>
                  <a:lnTo>
                    <a:pt x="203" y="103"/>
                  </a:lnTo>
                  <a:lnTo>
                    <a:pt x="216" y="92"/>
                  </a:lnTo>
                  <a:lnTo>
                    <a:pt x="204" y="88"/>
                  </a:lnTo>
                  <a:lnTo>
                    <a:pt x="264" y="75"/>
                  </a:lnTo>
                  <a:lnTo>
                    <a:pt x="276" y="75"/>
                  </a:lnTo>
                  <a:lnTo>
                    <a:pt x="266" y="81"/>
                  </a:lnTo>
                  <a:lnTo>
                    <a:pt x="298" y="75"/>
                  </a:lnTo>
                  <a:lnTo>
                    <a:pt x="294" y="64"/>
                  </a:lnTo>
                  <a:lnTo>
                    <a:pt x="300" y="56"/>
                  </a:lnTo>
                  <a:lnTo>
                    <a:pt x="289" y="45"/>
                  </a:lnTo>
                  <a:lnTo>
                    <a:pt x="304" y="37"/>
                  </a:lnTo>
                  <a:lnTo>
                    <a:pt x="339" y="34"/>
                  </a:lnTo>
                  <a:lnTo>
                    <a:pt x="392" y="13"/>
                  </a:lnTo>
                  <a:lnTo>
                    <a:pt x="476" y="0"/>
                  </a:lnTo>
                  <a:lnTo>
                    <a:pt x="489" y="2"/>
                  </a:lnTo>
                  <a:lnTo>
                    <a:pt x="489" y="6"/>
                  </a:lnTo>
                  <a:lnTo>
                    <a:pt x="510" y="6"/>
                  </a:lnTo>
                  <a:lnTo>
                    <a:pt x="514" y="11"/>
                  </a:lnTo>
                  <a:lnTo>
                    <a:pt x="605" y="17"/>
                  </a:lnTo>
                  <a:lnTo>
                    <a:pt x="618" y="24"/>
                  </a:lnTo>
                  <a:lnTo>
                    <a:pt x="435" y="174"/>
                  </a:lnTo>
                  <a:lnTo>
                    <a:pt x="435" y="174"/>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36" name="Freeform 5744"/>
            <p:cNvSpPr>
              <a:spLocks/>
            </p:cNvSpPr>
            <p:nvPr>
              <p:custDataLst>
                <p:tags r:id="rId114"/>
              </p:custDataLst>
            </p:nvPr>
          </p:nvSpPr>
          <p:spPr bwMode="gray">
            <a:xfrm>
              <a:off x="4282400" y="3586105"/>
              <a:ext cx="540182" cy="427758"/>
            </a:xfrm>
            <a:custGeom>
              <a:avLst/>
              <a:gdLst/>
              <a:ahLst/>
              <a:cxnLst>
                <a:cxn ang="0">
                  <a:pos x="2" y="54"/>
                </a:cxn>
                <a:cxn ang="0">
                  <a:pos x="9" y="91"/>
                </a:cxn>
                <a:cxn ang="0">
                  <a:pos x="7" y="101"/>
                </a:cxn>
                <a:cxn ang="0">
                  <a:pos x="35" y="129"/>
                </a:cxn>
                <a:cxn ang="0">
                  <a:pos x="54" y="168"/>
                </a:cxn>
                <a:cxn ang="0">
                  <a:pos x="69" y="172"/>
                </a:cxn>
                <a:cxn ang="0">
                  <a:pos x="54" y="155"/>
                </a:cxn>
                <a:cxn ang="0">
                  <a:pos x="20" y="47"/>
                </a:cxn>
                <a:cxn ang="0">
                  <a:pos x="41" y="20"/>
                </a:cxn>
                <a:cxn ang="0">
                  <a:pos x="52" y="67"/>
                </a:cxn>
                <a:cxn ang="0">
                  <a:pos x="71" y="88"/>
                </a:cxn>
                <a:cxn ang="0">
                  <a:pos x="84" y="118"/>
                </a:cxn>
                <a:cxn ang="0">
                  <a:pos x="94" y="136"/>
                </a:cxn>
                <a:cxn ang="0">
                  <a:pos x="129" y="206"/>
                </a:cxn>
                <a:cxn ang="0">
                  <a:pos x="122" y="238"/>
                </a:cxn>
                <a:cxn ang="0">
                  <a:pos x="170" y="269"/>
                </a:cxn>
                <a:cxn ang="0">
                  <a:pos x="228" y="307"/>
                </a:cxn>
                <a:cxn ang="0">
                  <a:pos x="275" y="305"/>
                </a:cxn>
                <a:cxn ang="0">
                  <a:pos x="318" y="333"/>
                </a:cxn>
                <a:cxn ang="0">
                  <a:pos x="350" y="301"/>
                </a:cxn>
                <a:cxn ang="0">
                  <a:pos x="350" y="273"/>
                </a:cxn>
                <a:cxn ang="0">
                  <a:pos x="389" y="262"/>
                </a:cxn>
                <a:cxn ang="0">
                  <a:pos x="395" y="271"/>
                </a:cxn>
                <a:cxn ang="0">
                  <a:pos x="421" y="210"/>
                </a:cxn>
                <a:cxn ang="0">
                  <a:pos x="371" y="211"/>
                </a:cxn>
                <a:cxn ang="0">
                  <a:pos x="354" y="247"/>
                </a:cxn>
                <a:cxn ang="0">
                  <a:pos x="345" y="260"/>
                </a:cxn>
                <a:cxn ang="0">
                  <a:pos x="326" y="258"/>
                </a:cxn>
                <a:cxn ang="0">
                  <a:pos x="268" y="247"/>
                </a:cxn>
                <a:cxn ang="0">
                  <a:pos x="256" y="153"/>
                </a:cxn>
                <a:cxn ang="0">
                  <a:pos x="245" y="116"/>
                </a:cxn>
                <a:cxn ang="0">
                  <a:pos x="206" y="52"/>
                </a:cxn>
                <a:cxn ang="0">
                  <a:pos x="183" y="65"/>
                </a:cxn>
                <a:cxn ang="0">
                  <a:pos x="174" y="37"/>
                </a:cxn>
                <a:cxn ang="0">
                  <a:pos x="84" y="26"/>
                </a:cxn>
                <a:cxn ang="0">
                  <a:pos x="0" y="3"/>
                </a:cxn>
              </a:cxnLst>
              <a:rect l="0" t="0" r="r" b="b"/>
              <a:pathLst>
                <a:path w="421" h="333">
                  <a:moveTo>
                    <a:pt x="0" y="3"/>
                  </a:moveTo>
                  <a:lnTo>
                    <a:pt x="2" y="54"/>
                  </a:lnTo>
                  <a:lnTo>
                    <a:pt x="20" y="78"/>
                  </a:lnTo>
                  <a:lnTo>
                    <a:pt x="9" y="91"/>
                  </a:lnTo>
                  <a:lnTo>
                    <a:pt x="2" y="90"/>
                  </a:lnTo>
                  <a:lnTo>
                    <a:pt x="7" y="101"/>
                  </a:lnTo>
                  <a:lnTo>
                    <a:pt x="34" y="120"/>
                  </a:lnTo>
                  <a:lnTo>
                    <a:pt x="35" y="129"/>
                  </a:lnTo>
                  <a:lnTo>
                    <a:pt x="28" y="144"/>
                  </a:lnTo>
                  <a:lnTo>
                    <a:pt x="54" y="168"/>
                  </a:lnTo>
                  <a:lnTo>
                    <a:pt x="58" y="181"/>
                  </a:lnTo>
                  <a:lnTo>
                    <a:pt x="69" y="172"/>
                  </a:lnTo>
                  <a:lnTo>
                    <a:pt x="60" y="155"/>
                  </a:lnTo>
                  <a:lnTo>
                    <a:pt x="54" y="155"/>
                  </a:lnTo>
                  <a:lnTo>
                    <a:pt x="49" y="114"/>
                  </a:lnTo>
                  <a:lnTo>
                    <a:pt x="20" y="47"/>
                  </a:lnTo>
                  <a:lnTo>
                    <a:pt x="28" y="17"/>
                  </a:lnTo>
                  <a:lnTo>
                    <a:pt x="41" y="20"/>
                  </a:lnTo>
                  <a:lnTo>
                    <a:pt x="50" y="28"/>
                  </a:lnTo>
                  <a:lnTo>
                    <a:pt x="52" y="67"/>
                  </a:lnTo>
                  <a:lnTo>
                    <a:pt x="62" y="86"/>
                  </a:lnTo>
                  <a:lnTo>
                    <a:pt x="71" y="88"/>
                  </a:lnTo>
                  <a:lnTo>
                    <a:pt x="69" y="97"/>
                  </a:lnTo>
                  <a:lnTo>
                    <a:pt x="84" y="118"/>
                  </a:lnTo>
                  <a:lnTo>
                    <a:pt x="79" y="127"/>
                  </a:lnTo>
                  <a:lnTo>
                    <a:pt x="94" y="136"/>
                  </a:lnTo>
                  <a:lnTo>
                    <a:pt x="125" y="189"/>
                  </a:lnTo>
                  <a:lnTo>
                    <a:pt x="129" y="206"/>
                  </a:lnTo>
                  <a:lnTo>
                    <a:pt x="118" y="228"/>
                  </a:lnTo>
                  <a:lnTo>
                    <a:pt x="122" y="238"/>
                  </a:lnTo>
                  <a:lnTo>
                    <a:pt x="146" y="264"/>
                  </a:lnTo>
                  <a:lnTo>
                    <a:pt x="170" y="269"/>
                  </a:lnTo>
                  <a:lnTo>
                    <a:pt x="183" y="284"/>
                  </a:lnTo>
                  <a:lnTo>
                    <a:pt x="228" y="307"/>
                  </a:lnTo>
                  <a:lnTo>
                    <a:pt x="255" y="314"/>
                  </a:lnTo>
                  <a:lnTo>
                    <a:pt x="275" y="305"/>
                  </a:lnTo>
                  <a:lnTo>
                    <a:pt x="288" y="307"/>
                  </a:lnTo>
                  <a:lnTo>
                    <a:pt x="318" y="333"/>
                  </a:lnTo>
                  <a:lnTo>
                    <a:pt x="333" y="305"/>
                  </a:lnTo>
                  <a:lnTo>
                    <a:pt x="350" y="301"/>
                  </a:lnTo>
                  <a:lnTo>
                    <a:pt x="341" y="283"/>
                  </a:lnTo>
                  <a:lnTo>
                    <a:pt x="350" y="273"/>
                  </a:lnTo>
                  <a:lnTo>
                    <a:pt x="374" y="271"/>
                  </a:lnTo>
                  <a:lnTo>
                    <a:pt x="389" y="262"/>
                  </a:lnTo>
                  <a:lnTo>
                    <a:pt x="389" y="262"/>
                  </a:lnTo>
                  <a:lnTo>
                    <a:pt x="395" y="271"/>
                  </a:lnTo>
                  <a:lnTo>
                    <a:pt x="401" y="262"/>
                  </a:lnTo>
                  <a:lnTo>
                    <a:pt x="421" y="210"/>
                  </a:lnTo>
                  <a:lnTo>
                    <a:pt x="404" y="206"/>
                  </a:lnTo>
                  <a:lnTo>
                    <a:pt x="371" y="211"/>
                  </a:lnTo>
                  <a:lnTo>
                    <a:pt x="365" y="215"/>
                  </a:lnTo>
                  <a:lnTo>
                    <a:pt x="354" y="247"/>
                  </a:lnTo>
                  <a:lnTo>
                    <a:pt x="343" y="256"/>
                  </a:lnTo>
                  <a:lnTo>
                    <a:pt x="345" y="260"/>
                  </a:lnTo>
                  <a:lnTo>
                    <a:pt x="333" y="262"/>
                  </a:lnTo>
                  <a:lnTo>
                    <a:pt x="326" y="258"/>
                  </a:lnTo>
                  <a:lnTo>
                    <a:pt x="290" y="268"/>
                  </a:lnTo>
                  <a:lnTo>
                    <a:pt x="268" y="247"/>
                  </a:lnTo>
                  <a:lnTo>
                    <a:pt x="249" y="189"/>
                  </a:lnTo>
                  <a:lnTo>
                    <a:pt x="256" y="153"/>
                  </a:lnTo>
                  <a:lnTo>
                    <a:pt x="273" y="125"/>
                  </a:lnTo>
                  <a:lnTo>
                    <a:pt x="245" y="116"/>
                  </a:lnTo>
                  <a:lnTo>
                    <a:pt x="225" y="54"/>
                  </a:lnTo>
                  <a:lnTo>
                    <a:pt x="206" y="52"/>
                  </a:lnTo>
                  <a:lnTo>
                    <a:pt x="193" y="67"/>
                  </a:lnTo>
                  <a:lnTo>
                    <a:pt x="183" y="65"/>
                  </a:lnTo>
                  <a:lnTo>
                    <a:pt x="174" y="52"/>
                  </a:lnTo>
                  <a:lnTo>
                    <a:pt x="174" y="37"/>
                  </a:lnTo>
                  <a:lnTo>
                    <a:pt x="159" y="18"/>
                  </a:lnTo>
                  <a:lnTo>
                    <a:pt x="84" y="26"/>
                  </a:lnTo>
                  <a:lnTo>
                    <a:pt x="32" y="0"/>
                  </a:lnTo>
                  <a:lnTo>
                    <a:pt x="0" y="3"/>
                  </a:lnTo>
                  <a:lnTo>
                    <a:pt x="0" y="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37" name="Freeform 5745"/>
            <p:cNvSpPr>
              <a:spLocks/>
            </p:cNvSpPr>
            <p:nvPr>
              <p:custDataLst>
                <p:tags r:id="rId115"/>
              </p:custDataLst>
            </p:nvPr>
          </p:nvSpPr>
          <p:spPr bwMode="gray">
            <a:xfrm>
              <a:off x="4219529" y="3193030"/>
              <a:ext cx="1149651" cy="572913"/>
            </a:xfrm>
            <a:custGeom>
              <a:avLst/>
              <a:gdLst/>
              <a:ahLst/>
              <a:cxnLst>
                <a:cxn ang="0">
                  <a:pos x="373" y="360"/>
                </a:cxn>
                <a:cxn ang="0">
                  <a:pos x="392" y="360"/>
                </a:cxn>
                <a:cxn ang="0">
                  <a:pos x="429" y="371"/>
                </a:cxn>
                <a:cxn ang="0">
                  <a:pos x="465" y="371"/>
                </a:cxn>
                <a:cxn ang="0">
                  <a:pos x="448" y="354"/>
                </a:cxn>
                <a:cxn ang="0">
                  <a:pos x="487" y="343"/>
                </a:cxn>
                <a:cxn ang="0">
                  <a:pos x="525" y="354"/>
                </a:cxn>
                <a:cxn ang="0">
                  <a:pos x="562" y="373"/>
                </a:cxn>
                <a:cxn ang="0">
                  <a:pos x="581" y="444"/>
                </a:cxn>
                <a:cxn ang="0">
                  <a:pos x="590" y="336"/>
                </a:cxn>
                <a:cxn ang="0">
                  <a:pos x="704" y="246"/>
                </a:cxn>
                <a:cxn ang="0">
                  <a:pos x="708" y="249"/>
                </a:cxn>
                <a:cxn ang="0">
                  <a:pos x="703" y="203"/>
                </a:cxn>
                <a:cxn ang="0">
                  <a:pos x="723" y="180"/>
                </a:cxn>
                <a:cxn ang="0">
                  <a:pos x="714" y="208"/>
                </a:cxn>
                <a:cxn ang="0">
                  <a:pos x="733" y="201"/>
                </a:cxn>
                <a:cxn ang="0">
                  <a:pos x="744" y="184"/>
                </a:cxn>
                <a:cxn ang="0">
                  <a:pos x="807" y="139"/>
                </a:cxn>
                <a:cxn ang="0">
                  <a:pos x="830" y="135"/>
                </a:cxn>
                <a:cxn ang="0">
                  <a:pos x="837" y="103"/>
                </a:cxn>
                <a:cxn ang="0">
                  <a:pos x="894" y="77"/>
                </a:cxn>
                <a:cxn ang="0">
                  <a:pos x="896" y="42"/>
                </a:cxn>
                <a:cxn ang="0">
                  <a:pos x="824" y="81"/>
                </a:cxn>
                <a:cxn ang="0">
                  <a:pos x="757" y="92"/>
                </a:cxn>
                <a:cxn ang="0">
                  <a:pos x="704" y="111"/>
                </a:cxn>
                <a:cxn ang="0">
                  <a:pos x="654" y="143"/>
                </a:cxn>
                <a:cxn ang="0">
                  <a:pos x="631" y="137"/>
                </a:cxn>
                <a:cxn ang="0">
                  <a:pos x="654" y="115"/>
                </a:cxn>
                <a:cxn ang="0">
                  <a:pos x="650" y="90"/>
                </a:cxn>
                <a:cxn ang="0">
                  <a:pos x="615" y="81"/>
                </a:cxn>
                <a:cxn ang="0">
                  <a:pos x="573" y="141"/>
                </a:cxn>
                <a:cxn ang="0">
                  <a:pos x="573" y="113"/>
                </a:cxn>
                <a:cxn ang="0">
                  <a:pos x="609" y="66"/>
                </a:cxn>
                <a:cxn ang="0">
                  <a:pos x="656" y="57"/>
                </a:cxn>
                <a:cxn ang="0">
                  <a:pos x="645" y="53"/>
                </a:cxn>
                <a:cxn ang="0">
                  <a:pos x="607" y="47"/>
                </a:cxn>
                <a:cxn ang="0">
                  <a:pos x="564" y="53"/>
                </a:cxn>
                <a:cxn ang="0">
                  <a:pos x="586" y="27"/>
                </a:cxn>
                <a:cxn ang="0">
                  <a:pos x="527" y="0"/>
                </a:cxn>
                <a:cxn ang="0">
                  <a:pos x="129" y="15"/>
                </a:cxn>
                <a:cxn ang="0">
                  <a:pos x="118" y="28"/>
                </a:cxn>
                <a:cxn ang="0">
                  <a:pos x="90" y="23"/>
                </a:cxn>
                <a:cxn ang="0">
                  <a:pos x="23" y="145"/>
                </a:cxn>
                <a:cxn ang="0">
                  <a:pos x="0" y="191"/>
                </a:cxn>
                <a:cxn ang="0">
                  <a:pos x="15" y="206"/>
                </a:cxn>
                <a:cxn ang="0">
                  <a:pos x="10" y="227"/>
                </a:cxn>
                <a:cxn ang="0">
                  <a:pos x="8" y="270"/>
                </a:cxn>
                <a:cxn ang="0">
                  <a:pos x="47" y="293"/>
                </a:cxn>
                <a:cxn ang="0">
                  <a:pos x="133" y="332"/>
                </a:cxn>
                <a:cxn ang="0">
                  <a:pos x="223" y="358"/>
                </a:cxn>
                <a:cxn ang="0">
                  <a:pos x="255" y="358"/>
                </a:cxn>
                <a:cxn ang="0">
                  <a:pos x="322" y="431"/>
                </a:cxn>
              </a:cxnLst>
              <a:rect l="0" t="0" r="r" b="b"/>
              <a:pathLst>
                <a:path w="896" h="446">
                  <a:moveTo>
                    <a:pt x="326" y="397"/>
                  </a:moveTo>
                  <a:lnTo>
                    <a:pt x="373" y="369"/>
                  </a:lnTo>
                  <a:lnTo>
                    <a:pt x="373" y="360"/>
                  </a:lnTo>
                  <a:lnTo>
                    <a:pt x="379" y="358"/>
                  </a:lnTo>
                  <a:lnTo>
                    <a:pt x="377" y="366"/>
                  </a:lnTo>
                  <a:lnTo>
                    <a:pt x="392" y="360"/>
                  </a:lnTo>
                  <a:lnTo>
                    <a:pt x="416" y="364"/>
                  </a:lnTo>
                  <a:lnTo>
                    <a:pt x="423" y="358"/>
                  </a:lnTo>
                  <a:lnTo>
                    <a:pt x="429" y="371"/>
                  </a:lnTo>
                  <a:lnTo>
                    <a:pt x="452" y="368"/>
                  </a:lnTo>
                  <a:lnTo>
                    <a:pt x="461" y="373"/>
                  </a:lnTo>
                  <a:lnTo>
                    <a:pt x="465" y="371"/>
                  </a:lnTo>
                  <a:lnTo>
                    <a:pt x="457" y="366"/>
                  </a:lnTo>
                  <a:lnTo>
                    <a:pt x="465" y="354"/>
                  </a:lnTo>
                  <a:lnTo>
                    <a:pt x="448" y="354"/>
                  </a:lnTo>
                  <a:lnTo>
                    <a:pt x="453" y="347"/>
                  </a:lnTo>
                  <a:lnTo>
                    <a:pt x="461" y="351"/>
                  </a:lnTo>
                  <a:lnTo>
                    <a:pt x="487" y="343"/>
                  </a:lnTo>
                  <a:lnTo>
                    <a:pt x="489" y="349"/>
                  </a:lnTo>
                  <a:lnTo>
                    <a:pt x="513" y="347"/>
                  </a:lnTo>
                  <a:lnTo>
                    <a:pt x="525" y="354"/>
                  </a:lnTo>
                  <a:lnTo>
                    <a:pt x="525" y="360"/>
                  </a:lnTo>
                  <a:lnTo>
                    <a:pt x="549" y="354"/>
                  </a:lnTo>
                  <a:lnTo>
                    <a:pt x="562" y="373"/>
                  </a:lnTo>
                  <a:lnTo>
                    <a:pt x="558" y="409"/>
                  </a:lnTo>
                  <a:lnTo>
                    <a:pt x="573" y="446"/>
                  </a:lnTo>
                  <a:lnTo>
                    <a:pt x="581" y="444"/>
                  </a:lnTo>
                  <a:lnTo>
                    <a:pt x="590" y="431"/>
                  </a:lnTo>
                  <a:lnTo>
                    <a:pt x="596" y="411"/>
                  </a:lnTo>
                  <a:lnTo>
                    <a:pt x="590" y="336"/>
                  </a:lnTo>
                  <a:lnTo>
                    <a:pt x="613" y="309"/>
                  </a:lnTo>
                  <a:lnTo>
                    <a:pt x="699" y="257"/>
                  </a:lnTo>
                  <a:lnTo>
                    <a:pt x="704" y="246"/>
                  </a:lnTo>
                  <a:lnTo>
                    <a:pt x="689" y="246"/>
                  </a:lnTo>
                  <a:lnTo>
                    <a:pt x="703" y="242"/>
                  </a:lnTo>
                  <a:lnTo>
                    <a:pt x="708" y="249"/>
                  </a:lnTo>
                  <a:lnTo>
                    <a:pt x="703" y="223"/>
                  </a:lnTo>
                  <a:lnTo>
                    <a:pt x="708" y="208"/>
                  </a:lnTo>
                  <a:lnTo>
                    <a:pt x="703" y="203"/>
                  </a:lnTo>
                  <a:lnTo>
                    <a:pt x="708" y="205"/>
                  </a:lnTo>
                  <a:lnTo>
                    <a:pt x="716" y="184"/>
                  </a:lnTo>
                  <a:lnTo>
                    <a:pt x="723" y="180"/>
                  </a:lnTo>
                  <a:lnTo>
                    <a:pt x="712" y="201"/>
                  </a:lnTo>
                  <a:lnTo>
                    <a:pt x="716" y="203"/>
                  </a:lnTo>
                  <a:lnTo>
                    <a:pt x="714" y="208"/>
                  </a:lnTo>
                  <a:lnTo>
                    <a:pt x="719" y="208"/>
                  </a:lnTo>
                  <a:lnTo>
                    <a:pt x="714" y="221"/>
                  </a:lnTo>
                  <a:lnTo>
                    <a:pt x="733" y="201"/>
                  </a:lnTo>
                  <a:lnTo>
                    <a:pt x="731" y="180"/>
                  </a:lnTo>
                  <a:lnTo>
                    <a:pt x="734" y="190"/>
                  </a:lnTo>
                  <a:lnTo>
                    <a:pt x="744" y="184"/>
                  </a:lnTo>
                  <a:lnTo>
                    <a:pt x="763" y="156"/>
                  </a:lnTo>
                  <a:lnTo>
                    <a:pt x="804" y="146"/>
                  </a:lnTo>
                  <a:lnTo>
                    <a:pt x="807" y="139"/>
                  </a:lnTo>
                  <a:lnTo>
                    <a:pt x="809" y="145"/>
                  </a:lnTo>
                  <a:lnTo>
                    <a:pt x="828" y="141"/>
                  </a:lnTo>
                  <a:lnTo>
                    <a:pt x="830" y="135"/>
                  </a:lnTo>
                  <a:lnTo>
                    <a:pt x="821" y="139"/>
                  </a:lnTo>
                  <a:lnTo>
                    <a:pt x="817" y="128"/>
                  </a:lnTo>
                  <a:lnTo>
                    <a:pt x="837" y="103"/>
                  </a:lnTo>
                  <a:lnTo>
                    <a:pt x="864" y="90"/>
                  </a:lnTo>
                  <a:lnTo>
                    <a:pt x="884" y="87"/>
                  </a:lnTo>
                  <a:lnTo>
                    <a:pt x="894" y="77"/>
                  </a:lnTo>
                  <a:lnTo>
                    <a:pt x="896" y="77"/>
                  </a:lnTo>
                  <a:lnTo>
                    <a:pt x="888" y="68"/>
                  </a:lnTo>
                  <a:lnTo>
                    <a:pt x="896" y="42"/>
                  </a:lnTo>
                  <a:lnTo>
                    <a:pt x="875" y="36"/>
                  </a:lnTo>
                  <a:lnTo>
                    <a:pt x="843" y="75"/>
                  </a:lnTo>
                  <a:lnTo>
                    <a:pt x="824" y="81"/>
                  </a:lnTo>
                  <a:lnTo>
                    <a:pt x="779" y="81"/>
                  </a:lnTo>
                  <a:lnTo>
                    <a:pt x="757" y="92"/>
                  </a:lnTo>
                  <a:lnTo>
                    <a:pt x="757" y="92"/>
                  </a:lnTo>
                  <a:lnTo>
                    <a:pt x="748" y="107"/>
                  </a:lnTo>
                  <a:lnTo>
                    <a:pt x="704" y="111"/>
                  </a:lnTo>
                  <a:lnTo>
                    <a:pt x="704" y="111"/>
                  </a:lnTo>
                  <a:lnTo>
                    <a:pt x="704" y="120"/>
                  </a:lnTo>
                  <a:lnTo>
                    <a:pt x="704" y="120"/>
                  </a:lnTo>
                  <a:lnTo>
                    <a:pt x="654" y="143"/>
                  </a:lnTo>
                  <a:lnTo>
                    <a:pt x="635" y="145"/>
                  </a:lnTo>
                  <a:lnTo>
                    <a:pt x="626" y="139"/>
                  </a:lnTo>
                  <a:lnTo>
                    <a:pt x="631" y="137"/>
                  </a:lnTo>
                  <a:lnTo>
                    <a:pt x="631" y="137"/>
                  </a:lnTo>
                  <a:lnTo>
                    <a:pt x="654" y="115"/>
                  </a:lnTo>
                  <a:lnTo>
                    <a:pt x="654" y="115"/>
                  </a:lnTo>
                  <a:lnTo>
                    <a:pt x="654" y="98"/>
                  </a:lnTo>
                  <a:lnTo>
                    <a:pt x="637" y="105"/>
                  </a:lnTo>
                  <a:lnTo>
                    <a:pt x="650" y="90"/>
                  </a:lnTo>
                  <a:lnTo>
                    <a:pt x="656" y="73"/>
                  </a:lnTo>
                  <a:lnTo>
                    <a:pt x="637" y="68"/>
                  </a:lnTo>
                  <a:lnTo>
                    <a:pt x="615" y="81"/>
                  </a:lnTo>
                  <a:lnTo>
                    <a:pt x="601" y="98"/>
                  </a:lnTo>
                  <a:lnTo>
                    <a:pt x="586" y="131"/>
                  </a:lnTo>
                  <a:lnTo>
                    <a:pt x="573" y="141"/>
                  </a:lnTo>
                  <a:lnTo>
                    <a:pt x="566" y="141"/>
                  </a:lnTo>
                  <a:lnTo>
                    <a:pt x="566" y="131"/>
                  </a:lnTo>
                  <a:lnTo>
                    <a:pt x="573" y="113"/>
                  </a:lnTo>
                  <a:lnTo>
                    <a:pt x="598" y="81"/>
                  </a:lnTo>
                  <a:lnTo>
                    <a:pt x="585" y="87"/>
                  </a:lnTo>
                  <a:lnTo>
                    <a:pt x="609" y="66"/>
                  </a:lnTo>
                  <a:lnTo>
                    <a:pt x="654" y="64"/>
                  </a:lnTo>
                  <a:lnTo>
                    <a:pt x="654" y="57"/>
                  </a:lnTo>
                  <a:lnTo>
                    <a:pt x="656" y="57"/>
                  </a:lnTo>
                  <a:lnTo>
                    <a:pt x="650" y="53"/>
                  </a:lnTo>
                  <a:lnTo>
                    <a:pt x="650" y="53"/>
                  </a:lnTo>
                  <a:lnTo>
                    <a:pt x="645" y="53"/>
                  </a:lnTo>
                  <a:lnTo>
                    <a:pt x="646" y="49"/>
                  </a:lnTo>
                  <a:lnTo>
                    <a:pt x="609" y="55"/>
                  </a:lnTo>
                  <a:lnTo>
                    <a:pt x="607" y="47"/>
                  </a:lnTo>
                  <a:lnTo>
                    <a:pt x="596" y="49"/>
                  </a:lnTo>
                  <a:lnTo>
                    <a:pt x="613" y="36"/>
                  </a:lnTo>
                  <a:lnTo>
                    <a:pt x="564" y="53"/>
                  </a:lnTo>
                  <a:lnTo>
                    <a:pt x="562" y="45"/>
                  </a:lnTo>
                  <a:lnTo>
                    <a:pt x="543" y="51"/>
                  </a:lnTo>
                  <a:lnTo>
                    <a:pt x="586" y="27"/>
                  </a:lnTo>
                  <a:lnTo>
                    <a:pt x="588" y="27"/>
                  </a:lnTo>
                  <a:lnTo>
                    <a:pt x="530" y="13"/>
                  </a:lnTo>
                  <a:lnTo>
                    <a:pt x="527" y="0"/>
                  </a:lnTo>
                  <a:lnTo>
                    <a:pt x="517" y="8"/>
                  </a:lnTo>
                  <a:lnTo>
                    <a:pt x="129" y="8"/>
                  </a:lnTo>
                  <a:lnTo>
                    <a:pt x="129" y="15"/>
                  </a:lnTo>
                  <a:lnTo>
                    <a:pt x="113" y="34"/>
                  </a:lnTo>
                  <a:lnTo>
                    <a:pt x="107" y="34"/>
                  </a:lnTo>
                  <a:lnTo>
                    <a:pt x="118" y="28"/>
                  </a:lnTo>
                  <a:lnTo>
                    <a:pt x="113" y="23"/>
                  </a:lnTo>
                  <a:lnTo>
                    <a:pt x="94" y="17"/>
                  </a:lnTo>
                  <a:lnTo>
                    <a:pt x="90" y="23"/>
                  </a:lnTo>
                  <a:lnTo>
                    <a:pt x="77" y="58"/>
                  </a:lnTo>
                  <a:lnTo>
                    <a:pt x="30" y="120"/>
                  </a:lnTo>
                  <a:lnTo>
                    <a:pt x="23" y="145"/>
                  </a:lnTo>
                  <a:lnTo>
                    <a:pt x="4" y="165"/>
                  </a:lnTo>
                  <a:lnTo>
                    <a:pt x="6" y="178"/>
                  </a:lnTo>
                  <a:lnTo>
                    <a:pt x="0" y="191"/>
                  </a:lnTo>
                  <a:lnTo>
                    <a:pt x="6" y="203"/>
                  </a:lnTo>
                  <a:lnTo>
                    <a:pt x="2" y="208"/>
                  </a:lnTo>
                  <a:lnTo>
                    <a:pt x="15" y="206"/>
                  </a:lnTo>
                  <a:lnTo>
                    <a:pt x="4" y="221"/>
                  </a:lnTo>
                  <a:lnTo>
                    <a:pt x="6" y="227"/>
                  </a:lnTo>
                  <a:lnTo>
                    <a:pt x="10" y="227"/>
                  </a:lnTo>
                  <a:lnTo>
                    <a:pt x="4" y="238"/>
                  </a:lnTo>
                  <a:lnTo>
                    <a:pt x="13" y="261"/>
                  </a:lnTo>
                  <a:lnTo>
                    <a:pt x="8" y="270"/>
                  </a:lnTo>
                  <a:lnTo>
                    <a:pt x="38" y="279"/>
                  </a:lnTo>
                  <a:lnTo>
                    <a:pt x="36" y="285"/>
                  </a:lnTo>
                  <a:lnTo>
                    <a:pt x="47" y="293"/>
                  </a:lnTo>
                  <a:lnTo>
                    <a:pt x="49" y="309"/>
                  </a:lnTo>
                  <a:lnTo>
                    <a:pt x="81" y="306"/>
                  </a:lnTo>
                  <a:lnTo>
                    <a:pt x="133" y="332"/>
                  </a:lnTo>
                  <a:lnTo>
                    <a:pt x="208" y="324"/>
                  </a:lnTo>
                  <a:lnTo>
                    <a:pt x="223" y="343"/>
                  </a:lnTo>
                  <a:lnTo>
                    <a:pt x="223" y="358"/>
                  </a:lnTo>
                  <a:lnTo>
                    <a:pt x="232" y="371"/>
                  </a:lnTo>
                  <a:lnTo>
                    <a:pt x="242" y="373"/>
                  </a:lnTo>
                  <a:lnTo>
                    <a:pt x="255" y="358"/>
                  </a:lnTo>
                  <a:lnTo>
                    <a:pt x="274" y="360"/>
                  </a:lnTo>
                  <a:lnTo>
                    <a:pt x="294" y="422"/>
                  </a:lnTo>
                  <a:lnTo>
                    <a:pt x="322" y="431"/>
                  </a:lnTo>
                  <a:lnTo>
                    <a:pt x="326" y="397"/>
                  </a:lnTo>
                  <a:lnTo>
                    <a:pt x="326" y="397"/>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38" name="Freeform 5746"/>
            <p:cNvSpPr>
              <a:spLocks/>
            </p:cNvSpPr>
            <p:nvPr>
              <p:custDataLst>
                <p:tags r:id="rId116"/>
              </p:custDataLst>
            </p:nvPr>
          </p:nvSpPr>
          <p:spPr bwMode="gray">
            <a:xfrm>
              <a:off x="4690423" y="3934220"/>
              <a:ext cx="82118" cy="101480"/>
            </a:xfrm>
            <a:custGeom>
              <a:avLst/>
              <a:gdLst/>
              <a:ahLst/>
              <a:cxnLst>
                <a:cxn ang="0">
                  <a:pos x="45" y="64"/>
                </a:cxn>
                <a:cxn ang="0">
                  <a:pos x="34" y="77"/>
                </a:cxn>
                <a:cxn ang="0">
                  <a:pos x="34" y="79"/>
                </a:cxn>
                <a:cxn ang="0">
                  <a:pos x="4" y="68"/>
                </a:cxn>
                <a:cxn ang="0">
                  <a:pos x="0" y="62"/>
                </a:cxn>
                <a:cxn ang="0">
                  <a:pos x="15" y="34"/>
                </a:cxn>
                <a:cxn ang="0">
                  <a:pos x="32" y="30"/>
                </a:cxn>
                <a:cxn ang="0">
                  <a:pos x="23" y="12"/>
                </a:cxn>
                <a:cxn ang="0">
                  <a:pos x="32" y="2"/>
                </a:cxn>
                <a:cxn ang="0">
                  <a:pos x="56" y="0"/>
                </a:cxn>
                <a:cxn ang="0">
                  <a:pos x="51" y="32"/>
                </a:cxn>
                <a:cxn ang="0">
                  <a:pos x="55" y="36"/>
                </a:cxn>
                <a:cxn ang="0">
                  <a:pos x="64" y="42"/>
                </a:cxn>
                <a:cxn ang="0">
                  <a:pos x="45" y="64"/>
                </a:cxn>
                <a:cxn ang="0">
                  <a:pos x="45" y="64"/>
                </a:cxn>
              </a:cxnLst>
              <a:rect l="0" t="0" r="r" b="b"/>
              <a:pathLst>
                <a:path w="64" h="79">
                  <a:moveTo>
                    <a:pt x="45" y="64"/>
                  </a:moveTo>
                  <a:lnTo>
                    <a:pt x="34" y="77"/>
                  </a:lnTo>
                  <a:lnTo>
                    <a:pt x="34" y="79"/>
                  </a:lnTo>
                  <a:lnTo>
                    <a:pt x="4" y="68"/>
                  </a:lnTo>
                  <a:lnTo>
                    <a:pt x="0" y="62"/>
                  </a:lnTo>
                  <a:lnTo>
                    <a:pt x="15" y="34"/>
                  </a:lnTo>
                  <a:lnTo>
                    <a:pt x="32" y="30"/>
                  </a:lnTo>
                  <a:lnTo>
                    <a:pt x="23" y="12"/>
                  </a:lnTo>
                  <a:lnTo>
                    <a:pt x="32" y="2"/>
                  </a:lnTo>
                  <a:lnTo>
                    <a:pt x="56" y="0"/>
                  </a:lnTo>
                  <a:lnTo>
                    <a:pt x="51" y="32"/>
                  </a:lnTo>
                  <a:lnTo>
                    <a:pt x="55" y="36"/>
                  </a:lnTo>
                  <a:lnTo>
                    <a:pt x="64" y="42"/>
                  </a:lnTo>
                  <a:lnTo>
                    <a:pt x="45" y="64"/>
                  </a:lnTo>
                  <a:lnTo>
                    <a:pt x="45" y="6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39" name="Freeform 5747"/>
            <p:cNvSpPr>
              <a:spLocks/>
            </p:cNvSpPr>
            <p:nvPr>
              <p:custDataLst>
                <p:tags r:id="rId117"/>
              </p:custDataLst>
            </p:nvPr>
          </p:nvSpPr>
          <p:spPr bwMode="gray">
            <a:xfrm>
              <a:off x="4734049" y="4016432"/>
              <a:ext cx="46191" cy="30829"/>
            </a:xfrm>
            <a:custGeom>
              <a:avLst/>
              <a:gdLst/>
              <a:ahLst/>
              <a:cxnLst>
                <a:cxn ang="0">
                  <a:pos x="36" y="13"/>
                </a:cxn>
                <a:cxn ang="0">
                  <a:pos x="11" y="0"/>
                </a:cxn>
                <a:cxn ang="0">
                  <a:pos x="0" y="13"/>
                </a:cxn>
                <a:cxn ang="0">
                  <a:pos x="0" y="15"/>
                </a:cxn>
                <a:cxn ang="0">
                  <a:pos x="4" y="21"/>
                </a:cxn>
                <a:cxn ang="0">
                  <a:pos x="34" y="24"/>
                </a:cxn>
                <a:cxn ang="0">
                  <a:pos x="36" y="21"/>
                </a:cxn>
                <a:cxn ang="0">
                  <a:pos x="36" y="13"/>
                </a:cxn>
                <a:cxn ang="0">
                  <a:pos x="36" y="13"/>
                </a:cxn>
              </a:cxnLst>
              <a:rect l="0" t="0" r="r" b="b"/>
              <a:pathLst>
                <a:path w="36" h="24">
                  <a:moveTo>
                    <a:pt x="36" y="13"/>
                  </a:moveTo>
                  <a:lnTo>
                    <a:pt x="11" y="0"/>
                  </a:lnTo>
                  <a:lnTo>
                    <a:pt x="0" y="13"/>
                  </a:lnTo>
                  <a:lnTo>
                    <a:pt x="0" y="15"/>
                  </a:lnTo>
                  <a:lnTo>
                    <a:pt x="4" y="21"/>
                  </a:lnTo>
                  <a:lnTo>
                    <a:pt x="34" y="24"/>
                  </a:lnTo>
                  <a:lnTo>
                    <a:pt x="36" y="21"/>
                  </a:lnTo>
                  <a:lnTo>
                    <a:pt x="36" y="13"/>
                  </a:lnTo>
                  <a:lnTo>
                    <a:pt x="36" y="1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40" name="Freeform 5748"/>
            <p:cNvSpPr>
              <a:spLocks/>
            </p:cNvSpPr>
            <p:nvPr>
              <p:custDataLst>
                <p:tags r:id="rId118"/>
              </p:custDataLst>
            </p:nvPr>
          </p:nvSpPr>
          <p:spPr bwMode="gray">
            <a:xfrm>
              <a:off x="4932928" y="4141035"/>
              <a:ext cx="10265" cy="12846"/>
            </a:xfrm>
            <a:custGeom>
              <a:avLst/>
              <a:gdLst/>
              <a:ahLst/>
              <a:cxnLst>
                <a:cxn ang="0">
                  <a:pos x="0" y="0"/>
                </a:cxn>
                <a:cxn ang="0">
                  <a:pos x="2" y="0"/>
                </a:cxn>
                <a:cxn ang="0">
                  <a:pos x="8" y="6"/>
                </a:cxn>
                <a:cxn ang="0">
                  <a:pos x="6" y="10"/>
                </a:cxn>
                <a:cxn ang="0">
                  <a:pos x="0" y="0"/>
                </a:cxn>
                <a:cxn ang="0">
                  <a:pos x="0" y="0"/>
                </a:cxn>
              </a:cxnLst>
              <a:rect l="0" t="0" r="r" b="b"/>
              <a:pathLst>
                <a:path w="8" h="10">
                  <a:moveTo>
                    <a:pt x="0" y="0"/>
                  </a:moveTo>
                  <a:lnTo>
                    <a:pt x="2" y="0"/>
                  </a:lnTo>
                  <a:lnTo>
                    <a:pt x="8" y="6"/>
                  </a:lnTo>
                  <a:lnTo>
                    <a:pt x="6" y="1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41" name="Freeform 5749"/>
            <p:cNvSpPr>
              <a:spLocks/>
            </p:cNvSpPr>
            <p:nvPr>
              <p:custDataLst>
                <p:tags r:id="rId119"/>
              </p:custDataLst>
            </p:nvPr>
          </p:nvSpPr>
          <p:spPr bwMode="gray">
            <a:xfrm>
              <a:off x="4935494" y="4134612"/>
              <a:ext cx="53890" cy="52667"/>
            </a:xfrm>
            <a:custGeom>
              <a:avLst/>
              <a:gdLst/>
              <a:ahLst/>
              <a:cxnLst>
                <a:cxn ang="0">
                  <a:pos x="40" y="17"/>
                </a:cxn>
                <a:cxn ang="0">
                  <a:pos x="27" y="4"/>
                </a:cxn>
                <a:cxn ang="0">
                  <a:pos x="13" y="0"/>
                </a:cxn>
                <a:cxn ang="0">
                  <a:pos x="0" y="5"/>
                </a:cxn>
                <a:cxn ang="0">
                  <a:pos x="6" y="11"/>
                </a:cxn>
                <a:cxn ang="0">
                  <a:pos x="27" y="22"/>
                </a:cxn>
                <a:cxn ang="0">
                  <a:pos x="23" y="28"/>
                </a:cxn>
                <a:cxn ang="0">
                  <a:pos x="30" y="41"/>
                </a:cxn>
                <a:cxn ang="0">
                  <a:pos x="42" y="28"/>
                </a:cxn>
                <a:cxn ang="0">
                  <a:pos x="40" y="17"/>
                </a:cxn>
                <a:cxn ang="0">
                  <a:pos x="40" y="17"/>
                </a:cxn>
              </a:cxnLst>
              <a:rect l="0" t="0" r="r" b="b"/>
              <a:pathLst>
                <a:path w="42" h="41">
                  <a:moveTo>
                    <a:pt x="40" y="17"/>
                  </a:moveTo>
                  <a:lnTo>
                    <a:pt x="27" y="4"/>
                  </a:lnTo>
                  <a:lnTo>
                    <a:pt x="13" y="0"/>
                  </a:lnTo>
                  <a:lnTo>
                    <a:pt x="0" y="5"/>
                  </a:lnTo>
                  <a:lnTo>
                    <a:pt x="6" y="11"/>
                  </a:lnTo>
                  <a:lnTo>
                    <a:pt x="27" y="22"/>
                  </a:lnTo>
                  <a:lnTo>
                    <a:pt x="23" y="28"/>
                  </a:lnTo>
                  <a:lnTo>
                    <a:pt x="30" y="41"/>
                  </a:lnTo>
                  <a:lnTo>
                    <a:pt x="42" y="28"/>
                  </a:lnTo>
                  <a:lnTo>
                    <a:pt x="40" y="17"/>
                  </a:lnTo>
                  <a:lnTo>
                    <a:pt x="40" y="1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42" name="Freeform 5750"/>
            <p:cNvSpPr>
              <a:spLocks/>
            </p:cNvSpPr>
            <p:nvPr>
              <p:custDataLst>
                <p:tags r:id="rId120"/>
              </p:custDataLst>
            </p:nvPr>
          </p:nvSpPr>
          <p:spPr bwMode="gray">
            <a:xfrm>
              <a:off x="4871340" y="4134612"/>
              <a:ext cx="69287" cy="55236"/>
            </a:xfrm>
            <a:custGeom>
              <a:avLst/>
              <a:gdLst/>
              <a:ahLst/>
              <a:cxnLst>
                <a:cxn ang="0">
                  <a:pos x="2" y="0"/>
                </a:cxn>
                <a:cxn ang="0">
                  <a:pos x="7" y="0"/>
                </a:cxn>
                <a:cxn ang="0">
                  <a:pos x="13" y="9"/>
                </a:cxn>
                <a:cxn ang="0">
                  <a:pos x="24" y="13"/>
                </a:cxn>
                <a:cxn ang="0">
                  <a:pos x="48" y="5"/>
                </a:cxn>
                <a:cxn ang="0">
                  <a:pos x="54" y="15"/>
                </a:cxn>
                <a:cxn ang="0">
                  <a:pos x="39" y="24"/>
                </a:cxn>
                <a:cxn ang="0">
                  <a:pos x="47" y="37"/>
                </a:cxn>
                <a:cxn ang="0">
                  <a:pos x="32" y="43"/>
                </a:cxn>
                <a:cxn ang="0">
                  <a:pos x="30" y="32"/>
                </a:cxn>
                <a:cxn ang="0">
                  <a:pos x="0" y="22"/>
                </a:cxn>
                <a:cxn ang="0">
                  <a:pos x="2" y="0"/>
                </a:cxn>
                <a:cxn ang="0">
                  <a:pos x="2" y="0"/>
                </a:cxn>
              </a:cxnLst>
              <a:rect l="0" t="0" r="r" b="b"/>
              <a:pathLst>
                <a:path w="54" h="43">
                  <a:moveTo>
                    <a:pt x="2" y="0"/>
                  </a:moveTo>
                  <a:lnTo>
                    <a:pt x="7" y="0"/>
                  </a:lnTo>
                  <a:lnTo>
                    <a:pt x="13" y="9"/>
                  </a:lnTo>
                  <a:lnTo>
                    <a:pt x="24" y="13"/>
                  </a:lnTo>
                  <a:lnTo>
                    <a:pt x="48" y="5"/>
                  </a:lnTo>
                  <a:lnTo>
                    <a:pt x="54" y="15"/>
                  </a:lnTo>
                  <a:lnTo>
                    <a:pt x="39" y="24"/>
                  </a:lnTo>
                  <a:lnTo>
                    <a:pt x="47" y="37"/>
                  </a:lnTo>
                  <a:lnTo>
                    <a:pt x="32" y="43"/>
                  </a:lnTo>
                  <a:lnTo>
                    <a:pt x="30" y="32"/>
                  </a:lnTo>
                  <a:lnTo>
                    <a:pt x="0" y="22"/>
                  </a:lnTo>
                  <a:lnTo>
                    <a:pt x="2" y="0"/>
                  </a:lnTo>
                  <a:lnTo>
                    <a:pt x="2"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43" name="Freeform 5751"/>
            <p:cNvSpPr>
              <a:spLocks/>
            </p:cNvSpPr>
            <p:nvPr>
              <p:custDataLst>
                <p:tags r:id="rId121"/>
              </p:custDataLst>
            </p:nvPr>
          </p:nvSpPr>
          <p:spPr bwMode="gray">
            <a:xfrm>
              <a:off x="4816167" y="4098644"/>
              <a:ext cx="64155" cy="64228"/>
            </a:xfrm>
            <a:custGeom>
              <a:avLst/>
              <a:gdLst/>
              <a:ahLst/>
              <a:cxnLst>
                <a:cxn ang="0">
                  <a:pos x="45" y="28"/>
                </a:cxn>
                <a:cxn ang="0">
                  <a:pos x="50" y="28"/>
                </a:cxn>
                <a:cxn ang="0">
                  <a:pos x="41" y="18"/>
                </a:cxn>
                <a:cxn ang="0">
                  <a:pos x="33" y="2"/>
                </a:cxn>
                <a:cxn ang="0">
                  <a:pos x="2" y="0"/>
                </a:cxn>
                <a:cxn ang="0">
                  <a:pos x="0" y="20"/>
                </a:cxn>
                <a:cxn ang="0">
                  <a:pos x="7" y="26"/>
                </a:cxn>
                <a:cxn ang="0">
                  <a:pos x="13" y="18"/>
                </a:cxn>
                <a:cxn ang="0">
                  <a:pos x="32" y="37"/>
                </a:cxn>
                <a:cxn ang="0">
                  <a:pos x="30" y="47"/>
                </a:cxn>
                <a:cxn ang="0">
                  <a:pos x="43" y="50"/>
                </a:cxn>
                <a:cxn ang="0">
                  <a:pos x="45" y="28"/>
                </a:cxn>
                <a:cxn ang="0">
                  <a:pos x="45" y="28"/>
                </a:cxn>
              </a:cxnLst>
              <a:rect l="0" t="0" r="r" b="b"/>
              <a:pathLst>
                <a:path w="50" h="50">
                  <a:moveTo>
                    <a:pt x="45" y="28"/>
                  </a:moveTo>
                  <a:lnTo>
                    <a:pt x="50" y="28"/>
                  </a:lnTo>
                  <a:lnTo>
                    <a:pt x="41" y="18"/>
                  </a:lnTo>
                  <a:lnTo>
                    <a:pt x="33" y="2"/>
                  </a:lnTo>
                  <a:lnTo>
                    <a:pt x="2" y="0"/>
                  </a:lnTo>
                  <a:lnTo>
                    <a:pt x="0" y="20"/>
                  </a:lnTo>
                  <a:lnTo>
                    <a:pt x="7" y="26"/>
                  </a:lnTo>
                  <a:lnTo>
                    <a:pt x="13" y="18"/>
                  </a:lnTo>
                  <a:lnTo>
                    <a:pt x="32" y="37"/>
                  </a:lnTo>
                  <a:lnTo>
                    <a:pt x="30" y="47"/>
                  </a:lnTo>
                  <a:lnTo>
                    <a:pt x="43" y="50"/>
                  </a:lnTo>
                  <a:lnTo>
                    <a:pt x="45" y="28"/>
                  </a:lnTo>
                  <a:lnTo>
                    <a:pt x="45" y="2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44" name="Freeform 5752"/>
            <p:cNvSpPr>
              <a:spLocks/>
            </p:cNvSpPr>
            <p:nvPr>
              <p:custDataLst>
                <p:tags r:id="rId122"/>
              </p:custDataLst>
            </p:nvPr>
          </p:nvSpPr>
          <p:spPr bwMode="gray">
            <a:xfrm>
              <a:off x="4748163" y="3983034"/>
              <a:ext cx="125743" cy="66797"/>
            </a:xfrm>
            <a:custGeom>
              <a:avLst/>
              <a:gdLst/>
              <a:ahLst/>
              <a:cxnLst>
                <a:cxn ang="0">
                  <a:pos x="19" y="4"/>
                </a:cxn>
                <a:cxn ang="0">
                  <a:pos x="75" y="0"/>
                </a:cxn>
                <a:cxn ang="0">
                  <a:pos x="98" y="15"/>
                </a:cxn>
                <a:cxn ang="0">
                  <a:pos x="73" y="22"/>
                </a:cxn>
                <a:cxn ang="0">
                  <a:pos x="30" y="52"/>
                </a:cxn>
                <a:cxn ang="0">
                  <a:pos x="25" y="47"/>
                </a:cxn>
                <a:cxn ang="0">
                  <a:pos x="25" y="39"/>
                </a:cxn>
                <a:cxn ang="0">
                  <a:pos x="0" y="26"/>
                </a:cxn>
                <a:cxn ang="0">
                  <a:pos x="19" y="4"/>
                </a:cxn>
                <a:cxn ang="0">
                  <a:pos x="19" y="4"/>
                </a:cxn>
              </a:cxnLst>
              <a:rect l="0" t="0" r="r" b="b"/>
              <a:pathLst>
                <a:path w="98" h="52">
                  <a:moveTo>
                    <a:pt x="19" y="4"/>
                  </a:moveTo>
                  <a:lnTo>
                    <a:pt x="75" y="0"/>
                  </a:lnTo>
                  <a:lnTo>
                    <a:pt x="98" y="15"/>
                  </a:lnTo>
                  <a:lnTo>
                    <a:pt x="73" y="22"/>
                  </a:lnTo>
                  <a:lnTo>
                    <a:pt x="30" y="52"/>
                  </a:lnTo>
                  <a:lnTo>
                    <a:pt x="25" y="47"/>
                  </a:lnTo>
                  <a:lnTo>
                    <a:pt x="25" y="39"/>
                  </a:lnTo>
                  <a:lnTo>
                    <a:pt x="0" y="26"/>
                  </a:lnTo>
                  <a:lnTo>
                    <a:pt x="19" y="4"/>
                  </a:lnTo>
                  <a:lnTo>
                    <a:pt x="19" y="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45" name="Freeform 5753"/>
            <p:cNvSpPr>
              <a:spLocks/>
            </p:cNvSpPr>
            <p:nvPr>
              <p:custDataLst>
                <p:tags r:id="rId123"/>
              </p:custDataLst>
            </p:nvPr>
          </p:nvSpPr>
          <p:spPr bwMode="gray">
            <a:xfrm>
              <a:off x="5450014" y="5074909"/>
              <a:ext cx="101364" cy="109188"/>
            </a:xfrm>
            <a:custGeom>
              <a:avLst/>
              <a:gdLst/>
              <a:ahLst/>
              <a:cxnLst>
                <a:cxn ang="0">
                  <a:pos x="4" y="72"/>
                </a:cxn>
                <a:cxn ang="0">
                  <a:pos x="0" y="0"/>
                </a:cxn>
                <a:cxn ang="0">
                  <a:pos x="15" y="0"/>
                </a:cxn>
                <a:cxn ang="0">
                  <a:pos x="30" y="15"/>
                </a:cxn>
                <a:cxn ang="0">
                  <a:pos x="36" y="12"/>
                </a:cxn>
                <a:cxn ang="0">
                  <a:pos x="68" y="32"/>
                </a:cxn>
                <a:cxn ang="0">
                  <a:pos x="79" y="47"/>
                </a:cxn>
                <a:cxn ang="0">
                  <a:pos x="79" y="66"/>
                </a:cxn>
                <a:cxn ang="0">
                  <a:pos x="73" y="79"/>
                </a:cxn>
                <a:cxn ang="0">
                  <a:pos x="40" y="85"/>
                </a:cxn>
                <a:cxn ang="0">
                  <a:pos x="4" y="72"/>
                </a:cxn>
                <a:cxn ang="0">
                  <a:pos x="4" y="72"/>
                </a:cxn>
                <a:cxn ang="0">
                  <a:pos x="4" y="72"/>
                </a:cxn>
              </a:cxnLst>
              <a:rect l="0" t="0" r="r" b="b"/>
              <a:pathLst>
                <a:path w="79" h="85">
                  <a:moveTo>
                    <a:pt x="4" y="72"/>
                  </a:moveTo>
                  <a:lnTo>
                    <a:pt x="0" y="0"/>
                  </a:lnTo>
                  <a:lnTo>
                    <a:pt x="15" y="0"/>
                  </a:lnTo>
                  <a:lnTo>
                    <a:pt x="30" y="15"/>
                  </a:lnTo>
                  <a:lnTo>
                    <a:pt x="36" y="12"/>
                  </a:lnTo>
                  <a:lnTo>
                    <a:pt x="68" y="32"/>
                  </a:lnTo>
                  <a:lnTo>
                    <a:pt x="79" y="47"/>
                  </a:lnTo>
                  <a:lnTo>
                    <a:pt x="79" y="66"/>
                  </a:lnTo>
                  <a:lnTo>
                    <a:pt x="73" y="79"/>
                  </a:lnTo>
                  <a:lnTo>
                    <a:pt x="40" y="85"/>
                  </a:lnTo>
                  <a:lnTo>
                    <a:pt x="4" y="72"/>
                  </a:lnTo>
                  <a:lnTo>
                    <a:pt x="4" y="72"/>
                  </a:lnTo>
                  <a:lnTo>
                    <a:pt x="4" y="7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46" name="Freeform 5754"/>
            <p:cNvSpPr>
              <a:spLocks/>
            </p:cNvSpPr>
            <p:nvPr>
              <p:custDataLst>
                <p:tags r:id="rId124"/>
              </p:custDataLst>
            </p:nvPr>
          </p:nvSpPr>
          <p:spPr bwMode="gray">
            <a:xfrm>
              <a:off x="5061237" y="4237376"/>
              <a:ext cx="812198" cy="922314"/>
            </a:xfrm>
            <a:custGeom>
              <a:avLst/>
              <a:gdLst/>
              <a:ahLst/>
              <a:cxnLst>
                <a:cxn ang="0">
                  <a:pos x="335" y="53"/>
                </a:cxn>
                <a:cxn ang="0">
                  <a:pos x="311" y="53"/>
                </a:cxn>
                <a:cxn ang="0">
                  <a:pos x="284" y="62"/>
                </a:cxn>
                <a:cxn ang="0">
                  <a:pos x="268" y="58"/>
                </a:cxn>
                <a:cxn ang="0">
                  <a:pos x="232" y="68"/>
                </a:cxn>
                <a:cxn ang="0">
                  <a:pos x="228" y="19"/>
                </a:cxn>
                <a:cxn ang="0">
                  <a:pos x="211" y="0"/>
                </a:cxn>
                <a:cxn ang="0">
                  <a:pos x="172" y="25"/>
                </a:cxn>
                <a:cxn ang="0">
                  <a:pos x="151" y="28"/>
                </a:cxn>
                <a:cxn ang="0">
                  <a:pos x="163" y="57"/>
                </a:cxn>
                <a:cxn ang="0">
                  <a:pos x="116" y="81"/>
                </a:cxn>
                <a:cxn ang="0">
                  <a:pos x="97" y="62"/>
                </a:cxn>
                <a:cxn ang="0">
                  <a:pos x="60" y="75"/>
                </a:cxn>
                <a:cxn ang="0">
                  <a:pos x="56" y="90"/>
                </a:cxn>
                <a:cxn ang="0">
                  <a:pos x="58" y="173"/>
                </a:cxn>
                <a:cxn ang="0">
                  <a:pos x="11" y="203"/>
                </a:cxn>
                <a:cxn ang="0">
                  <a:pos x="15" y="261"/>
                </a:cxn>
                <a:cxn ang="0">
                  <a:pos x="32" y="280"/>
                </a:cxn>
                <a:cxn ang="0">
                  <a:pos x="56" y="296"/>
                </a:cxn>
                <a:cxn ang="0">
                  <a:pos x="92" y="296"/>
                </a:cxn>
                <a:cxn ang="0">
                  <a:pos x="136" y="274"/>
                </a:cxn>
                <a:cxn ang="0">
                  <a:pos x="146" y="317"/>
                </a:cxn>
                <a:cxn ang="0">
                  <a:pos x="226" y="366"/>
                </a:cxn>
                <a:cxn ang="0">
                  <a:pos x="230" y="394"/>
                </a:cxn>
                <a:cxn ang="0">
                  <a:pos x="260" y="409"/>
                </a:cxn>
                <a:cxn ang="0">
                  <a:pos x="271" y="467"/>
                </a:cxn>
                <a:cxn ang="0">
                  <a:pos x="307" y="506"/>
                </a:cxn>
                <a:cxn ang="0">
                  <a:pos x="320" y="534"/>
                </a:cxn>
                <a:cxn ang="0">
                  <a:pos x="341" y="566"/>
                </a:cxn>
                <a:cxn ang="0">
                  <a:pos x="356" y="592"/>
                </a:cxn>
                <a:cxn ang="0">
                  <a:pos x="303" y="652"/>
                </a:cxn>
                <a:cxn ang="0">
                  <a:pos x="333" y="667"/>
                </a:cxn>
                <a:cxn ang="0">
                  <a:pos x="371" y="684"/>
                </a:cxn>
                <a:cxn ang="0">
                  <a:pos x="382" y="718"/>
                </a:cxn>
                <a:cxn ang="0">
                  <a:pos x="412" y="677"/>
                </a:cxn>
                <a:cxn ang="0">
                  <a:pos x="438" y="620"/>
                </a:cxn>
                <a:cxn ang="0">
                  <a:pos x="459" y="540"/>
                </a:cxn>
                <a:cxn ang="0">
                  <a:pos x="479" y="534"/>
                </a:cxn>
                <a:cxn ang="0">
                  <a:pos x="494" y="527"/>
                </a:cxn>
                <a:cxn ang="0">
                  <a:pos x="534" y="517"/>
                </a:cxn>
                <a:cxn ang="0">
                  <a:pos x="547" y="501"/>
                </a:cxn>
                <a:cxn ang="0">
                  <a:pos x="565" y="456"/>
                </a:cxn>
                <a:cxn ang="0">
                  <a:pos x="571" y="420"/>
                </a:cxn>
                <a:cxn ang="0">
                  <a:pos x="620" y="272"/>
                </a:cxn>
                <a:cxn ang="0">
                  <a:pos x="633" y="223"/>
                </a:cxn>
                <a:cxn ang="0">
                  <a:pos x="595" y="190"/>
                </a:cxn>
                <a:cxn ang="0">
                  <a:pos x="522" y="150"/>
                </a:cxn>
                <a:cxn ang="0">
                  <a:pos x="472" y="148"/>
                </a:cxn>
                <a:cxn ang="0">
                  <a:pos x="468" y="122"/>
                </a:cxn>
                <a:cxn ang="0">
                  <a:pos x="457" y="120"/>
                </a:cxn>
                <a:cxn ang="0">
                  <a:pos x="414" y="111"/>
                </a:cxn>
                <a:cxn ang="0">
                  <a:pos x="402" y="122"/>
                </a:cxn>
                <a:cxn ang="0">
                  <a:pos x="399" y="98"/>
                </a:cxn>
                <a:cxn ang="0">
                  <a:pos x="374" y="126"/>
                </a:cxn>
                <a:cxn ang="0">
                  <a:pos x="359" y="118"/>
                </a:cxn>
                <a:cxn ang="0">
                  <a:pos x="382" y="77"/>
                </a:cxn>
                <a:cxn ang="0">
                  <a:pos x="374" y="62"/>
                </a:cxn>
                <a:cxn ang="0">
                  <a:pos x="358" y="21"/>
                </a:cxn>
              </a:cxnLst>
              <a:rect l="0" t="0" r="r" b="b"/>
              <a:pathLst>
                <a:path w="633" h="718">
                  <a:moveTo>
                    <a:pt x="358" y="21"/>
                  </a:moveTo>
                  <a:lnTo>
                    <a:pt x="335" y="53"/>
                  </a:lnTo>
                  <a:lnTo>
                    <a:pt x="320" y="58"/>
                  </a:lnTo>
                  <a:lnTo>
                    <a:pt x="311" y="53"/>
                  </a:lnTo>
                  <a:lnTo>
                    <a:pt x="290" y="51"/>
                  </a:lnTo>
                  <a:lnTo>
                    <a:pt x="284" y="62"/>
                  </a:lnTo>
                  <a:lnTo>
                    <a:pt x="279" y="58"/>
                  </a:lnTo>
                  <a:lnTo>
                    <a:pt x="268" y="58"/>
                  </a:lnTo>
                  <a:lnTo>
                    <a:pt x="241" y="72"/>
                  </a:lnTo>
                  <a:lnTo>
                    <a:pt x="232" y="68"/>
                  </a:lnTo>
                  <a:lnTo>
                    <a:pt x="223" y="47"/>
                  </a:lnTo>
                  <a:lnTo>
                    <a:pt x="228" y="19"/>
                  </a:lnTo>
                  <a:lnTo>
                    <a:pt x="223" y="2"/>
                  </a:lnTo>
                  <a:lnTo>
                    <a:pt x="211" y="0"/>
                  </a:lnTo>
                  <a:lnTo>
                    <a:pt x="208" y="10"/>
                  </a:lnTo>
                  <a:lnTo>
                    <a:pt x="172" y="25"/>
                  </a:lnTo>
                  <a:lnTo>
                    <a:pt x="144" y="21"/>
                  </a:lnTo>
                  <a:lnTo>
                    <a:pt x="151" y="28"/>
                  </a:lnTo>
                  <a:lnTo>
                    <a:pt x="151" y="47"/>
                  </a:lnTo>
                  <a:lnTo>
                    <a:pt x="163" y="57"/>
                  </a:lnTo>
                  <a:lnTo>
                    <a:pt x="127" y="81"/>
                  </a:lnTo>
                  <a:lnTo>
                    <a:pt x="116" y="81"/>
                  </a:lnTo>
                  <a:lnTo>
                    <a:pt x="108" y="72"/>
                  </a:lnTo>
                  <a:lnTo>
                    <a:pt x="97" y="62"/>
                  </a:lnTo>
                  <a:lnTo>
                    <a:pt x="62" y="64"/>
                  </a:lnTo>
                  <a:lnTo>
                    <a:pt x="60" y="75"/>
                  </a:lnTo>
                  <a:lnTo>
                    <a:pt x="71" y="85"/>
                  </a:lnTo>
                  <a:lnTo>
                    <a:pt x="56" y="90"/>
                  </a:lnTo>
                  <a:lnTo>
                    <a:pt x="65" y="120"/>
                  </a:lnTo>
                  <a:lnTo>
                    <a:pt x="58" y="173"/>
                  </a:lnTo>
                  <a:lnTo>
                    <a:pt x="22" y="188"/>
                  </a:lnTo>
                  <a:lnTo>
                    <a:pt x="11" y="203"/>
                  </a:lnTo>
                  <a:lnTo>
                    <a:pt x="0" y="238"/>
                  </a:lnTo>
                  <a:lnTo>
                    <a:pt x="15" y="261"/>
                  </a:lnTo>
                  <a:lnTo>
                    <a:pt x="13" y="266"/>
                  </a:lnTo>
                  <a:lnTo>
                    <a:pt x="32" y="280"/>
                  </a:lnTo>
                  <a:lnTo>
                    <a:pt x="52" y="268"/>
                  </a:lnTo>
                  <a:lnTo>
                    <a:pt x="56" y="296"/>
                  </a:lnTo>
                  <a:lnTo>
                    <a:pt x="69" y="296"/>
                  </a:lnTo>
                  <a:lnTo>
                    <a:pt x="92" y="296"/>
                  </a:lnTo>
                  <a:lnTo>
                    <a:pt x="116" y="276"/>
                  </a:lnTo>
                  <a:lnTo>
                    <a:pt x="136" y="274"/>
                  </a:lnTo>
                  <a:lnTo>
                    <a:pt x="138" y="304"/>
                  </a:lnTo>
                  <a:lnTo>
                    <a:pt x="146" y="317"/>
                  </a:lnTo>
                  <a:lnTo>
                    <a:pt x="213" y="345"/>
                  </a:lnTo>
                  <a:lnTo>
                    <a:pt x="226" y="366"/>
                  </a:lnTo>
                  <a:lnTo>
                    <a:pt x="225" y="377"/>
                  </a:lnTo>
                  <a:lnTo>
                    <a:pt x="230" y="394"/>
                  </a:lnTo>
                  <a:lnTo>
                    <a:pt x="258" y="398"/>
                  </a:lnTo>
                  <a:lnTo>
                    <a:pt x="260" y="409"/>
                  </a:lnTo>
                  <a:lnTo>
                    <a:pt x="273" y="431"/>
                  </a:lnTo>
                  <a:lnTo>
                    <a:pt x="271" y="467"/>
                  </a:lnTo>
                  <a:lnTo>
                    <a:pt x="277" y="499"/>
                  </a:lnTo>
                  <a:lnTo>
                    <a:pt x="307" y="506"/>
                  </a:lnTo>
                  <a:lnTo>
                    <a:pt x="314" y="510"/>
                  </a:lnTo>
                  <a:lnTo>
                    <a:pt x="320" y="534"/>
                  </a:lnTo>
                  <a:lnTo>
                    <a:pt x="339" y="538"/>
                  </a:lnTo>
                  <a:lnTo>
                    <a:pt x="341" y="566"/>
                  </a:lnTo>
                  <a:lnTo>
                    <a:pt x="348" y="568"/>
                  </a:lnTo>
                  <a:lnTo>
                    <a:pt x="356" y="592"/>
                  </a:lnTo>
                  <a:lnTo>
                    <a:pt x="341" y="604"/>
                  </a:lnTo>
                  <a:lnTo>
                    <a:pt x="303" y="652"/>
                  </a:lnTo>
                  <a:lnTo>
                    <a:pt x="318" y="652"/>
                  </a:lnTo>
                  <a:lnTo>
                    <a:pt x="333" y="667"/>
                  </a:lnTo>
                  <a:lnTo>
                    <a:pt x="339" y="664"/>
                  </a:lnTo>
                  <a:lnTo>
                    <a:pt x="371" y="684"/>
                  </a:lnTo>
                  <a:lnTo>
                    <a:pt x="382" y="699"/>
                  </a:lnTo>
                  <a:lnTo>
                    <a:pt x="382" y="718"/>
                  </a:lnTo>
                  <a:lnTo>
                    <a:pt x="393" y="695"/>
                  </a:lnTo>
                  <a:lnTo>
                    <a:pt x="412" y="677"/>
                  </a:lnTo>
                  <a:lnTo>
                    <a:pt x="423" y="639"/>
                  </a:lnTo>
                  <a:lnTo>
                    <a:pt x="438" y="620"/>
                  </a:lnTo>
                  <a:lnTo>
                    <a:pt x="434" y="572"/>
                  </a:lnTo>
                  <a:lnTo>
                    <a:pt x="459" y="540"/>
                  </a:lnTo>
                  <a:lnTo>
                    <a:pt x="474" y="532"/>
                  </a:lnTo>
                  <a:lnTo>
                    <a:pt x="479" y="534"/>
                  </a:lnTo>
                  <a:lnTo>
                    <a:pt x="487" y="527"/>
                  </a:lnTo>
                  <a:lnTo>
                    <a:pt x="494" y="527"/>
                  </a:lnTo>
                  <a:lnTo>
                    <a:pt x="491" y="519"/>
                  </a:lnTo>
                  <a:lnTo>
                    <a:pt x="534" y="517"/>
                  </a:lnTo>
                  <a:lnTo>
                    <a:pt x="534" y="510"/>
                  </a:lnTo>
                  <a:lnTo>
                    <a:pt x="547" y="501"/>
                  </a:lnTo>
                  <a:lnTo>
                    <a:pt x="549" y="484"/>
                  </a:lnTo>
                  <a:lnTo>
                    <a:pt x="565" y="456"/>
                  </a:lnTo>
                  <a:lnTo>
                    <a:pt x="565" y="428"/>
                  </a:lnTo>
                  <a:lnTo>
                    <a:pt x="571" y="420"/>
                  </a:lnTo>
                  <a:lnTo>
                    <a:pt x="569" y="341"/>
                  </a:lnTo>
                  <a:lnTo>
                    <a:pt x="620" y="272"/>
                  </a:lnTo>
                  <a:lnTo>
                    <a:pt x="633" y="246"/>
                  </a:lnTo>
                  <a:lnTo>
                    <a:pt x="633" y="223"/>
                  </a:lnTo>
                  <a:lnTo>
                    <a:pt x="622" y="191"/>
                  </a:lnTo>
                  <a:lnTo>
                    <a:pt x="595" y="190"/>
                  </a:lnTo>
                  <a:lnTo>
                    <a:pt x="547" y="148"/>
                  </a:lnTo>
                  <a:lnTo>
                    <a:pt x="522" y="150"/>
                  </a:lnTo>
                  <a:lnTo>
                    <a:pt x="489" y="141"/>
                  </a:lnTo>
                  <a:lnTo>
                    <a:pt x="472" y="148"/>
                  </a:lnTo>
                  <a:lnTo>
                    <a:pt x="474" y="139"/>
                  </a:lnTo>
                  <a:lnTo>
                    <a:pt x="468" y="122"/>
                  </a:lnTo>
                  <a:lnTo>
                    <a:pt x="459" y="126"/>
                  </a:lnTo>
                  <a:lnTo>
                    <a:pt x="457" y="120"/>
                  </a:lnTo>
                  <a:lnTo>
                    <a:pt x="427" y="109"/>
                  </a:lnTo>
                  <a:lnTo>
                    <a:pt x="414" y="111"/>
                  </a:lnTo>
                  <a:lnTo>
                    <a:pt x="406" y="124"/>
                  </a:lnTo>
                  <a:lnTo>
                    <a:pt x="402" y="122"/>
                  </a:lnTo>
                  <a:lnTo>
                    <a:pt x="408" y="102"/>
                  </a:lnTo>
                  <a:lnTo>
                    <a:pt x="399" y="98"/>
                  </a:lnTo>
                  <a:lnTo>
                    <a:pt x="376" y="103"/>
                  </a:lnTo>
                  <a:lnTo>
                    <a:pt x="374" y="126"/>
                  </a:lnTo>
                  <a:lnTo>
                    <a:pt x="369" y="115"/>
                  </a:lnTo>
                  <a:lnTo>
                    <a:pt x="359" y="118"/>
                  </a:lnTo>
                  <a:lnTo>
                    <a:pt x="365" y="98"/>
                  </a:lnTo>
                  <a:lnTo>
                    <a:pt x="382" y="77"/>
                  </a:lnTo>
                  <a:lnTo>
                    <a:pt x="384" y="64"/>
                  </a:lnTo>
                  <a:lnTo>
                    <a:pt x="374" y="62"/>
                  </a:lnTo>
                  <a:lnTo>
                    <a:pt x="367" y="27"/>
                  </a:lnTo>
                  <a:lnTo>
                    <a:pt x="358" y="21"/>
                  </a:lnTo>
                  <a:lnTo>
                    <a:pt x="358" y="2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47" name="Freeform 5755"/>
            <p:cNvSpPr>
              <a:spLocks/>
            </p:cNvSpPr>
            <p:nvPr>
              <p:custDataLst>
                <p:tags r:id="rId125"/>
              </p:custDataLst>
            </p:nvPr>
          </p:nvSpPr>
          <p:spPr bwMode="gray">
            <a:xfrm>
              <a:off x="5408955" y="5600294"/>
              <a:ext cx="87250" cy="66797"/>
            </a:xfrm>
            <a:custGeom>
              <a:avLst/>
              <a:gdLst/>
              <a:ahLst/>
              <a:cxnLst>
                <a:cxn ang="0">
                  <a:pos x="0" y="0"/>
                </a:cxn>
                <a:cxn ang="0">
                  <a:pos x="19" y="17"/>
                </a:cxn>
                <a:cxn ang="0">
                  <a:pos x="68" y="35"/>
                </a:cxn>
                <a:cxn ang="0">
                  <a:pos x="62" y="41"/>
                </a:cxn>
                <a:cxn ang="0">
                  <a:pos x="30" y="47"/>
                </a:cxn>
                <a:cxn ang="0">
                  <a:pos x="36" y="52"/>
                </a:cxn>
                <a:cxn ang="0">
                  <a:pos x="25" y="50"/>
                </a:cxn>
                <a:cxn ang="0">
                  <a:pos x="0" y="0"/>
                </a:cxn>
                <a:cxn ang="0">
                  <a:pos x="0" y="0"/>
                </a:cxn>
              </a:cxnLst>
              <a:rect l="0" t="0" r="r" b="b"/>
              <a:pathLst>
                <a:path w="68" h="52">
                  <a:moveTo>
                    <a:pt x="0" y="0"/>
                  </a:moveTo>
                  <a:lnTo>
                    <a:pt x="19" y="17"/>
                  </a:lnTo>
                  <a:lnTo>
                    <a:pt x="68" y="35"/>
                  </a:lnTo>
                  <a:lnTo>
                    <a:pt x="62" y="41"/>
                  </a:lnTo>
                  <a:lnTo>
                    <a:pt x="30" y="47"/>
                  </a:lnTo>
                  <a:lnTo>
                    <a:pt x="36" y="52"/>
                  </a:lnTo>
                  <a:lnTo>
                    <a:pt x="25" y="50"/>
                  </a:lnTo>
                  <a:lnTo>
                    <a:pt x="0" y="0"/>
                  </a:lnTo>
                  <a:lnTo>
                    <a:pt x="0"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48" name="Freeform 5756"/>
            <p:cNvSpPr>
              <a:spLocks/>
            </p:cNvSpPr>
            <p:nvPr>
              <p:custDataLst>
                <p:tags r:id="rId126"/>
              </p:custDataLst>
            </p:nvPr>
          </p:nvSpPr>
          <p:spPr bwMode="gray">
            <a:xfrm>
              <a:off x="5330687" y="5600294"/>
              <a:ext cx="110346" cy="64228"/>
            </a:xfrm>
            <a:custGeom>
              <a:avLst/>
              <a:gdLst/>
              <a:ahLst/>
              <a:cxnLst>
                <a:cxn ang="0">
                  <a:pos x="61" y="0"/>
                </a:cxn>
                <a:cxn ang="0">
                  <a:pos x="43" y="3"/>
                </a:cxn>
                <a:cxn ang="0">
                  <a:pos x="44" y="11"/>
                </a:cxn>
                <a:cxn ang="0">
                  <a:pos x="61" y="15"/>
                </a:cxn>
                <a:cxn ang="0">
                  <a:pos x="52" y="18"/>
                </a:cxn>
                <a:cxn ang="0">
                  <a:pos x="46" y="17"/>
                </a:cxn>
                <a:cxn ang="0">
                  <a:pos x="43" y="26"/>
                </a:cxn>
                <a:cxn ang="0">
                  <a:pos x="1" y="11"/>
                </a:cxn>
                <a:cxn ang="0">
                  <a:pos x="0" y="17"/>
                </a:cxn>
                <a:cxn ang="0">
                  <a:pos x="11" y="26"/>
                </a:cxn>
                <a:cxn ang="0">
                  <a:pos x="20" y="26"/>
                </a:cxn>
                <a:cxn ang="0">
                  <a:pos x="48" y="41"/>
                </a:cxn>
                <a:cxn ang="0">
                  <a:pos x="65" y="41"/>
                </a:cxn>
                <a:cxn ang="0">
                  <a:pos x="71" y="47"/>
                </a:cxn>
                <a:cxn ang="0">
                  <a:pos x="86" y="50"/>
                </a:cxn>
                <a:cxn ang="0">
                  <a:pos x="61" y="0"/>
                </a:cxn>
                <a:cxn ang="0">
                  <a:pos x="61" y="0"/>
                </a:cxn>
              </a:cxnLst>
              <a:rect l="0" t="0" r="r" b="b"/>
              <a:pathLst>
                <a:path w="86" h="50">
                  <a:moveTo>
                    <a:pt x="61" y="0"/>
                  </a:moveTo>
                  <a:lnTo>
                    <a:pt x="43" y="3"/>
                  </a:lnTo>
                  <a:lnTo>
                    <a:pt x="44" y="11"/>
                  </a:lnTo>
                  <a:lnTo>
                    <a:pt x="61" y="15"/>
                  </a:lnTo>
                  <a:lnTo>
                    <a:pt x="52" y="18"/>
                  </a:lnTo>
                  <a:lnTo>
                    <a:pt x="46" y="17"/>
                  </a:lnTo>
                  <a:lnTo>
                    <a:pt x="43" y="26"/>
                  </a:lnTo>
                  <a:lnTo>
                    <a:pt x="1" y="11"/>
                  </a:lnTo>
                  <a:lnTo>
                    <a:pt x="0" y="17"/>
                  </a:lnTo>
                  <a:lnTo>
                    <a:pt x="11" y="26"/>
                  </a:lnTo>
                  <a:lnTo>
                    <a:pt x="20" y="26"/>
                  </a:lnTo>
                  <a:lnTo>
                    <a:pt x="48" y="41"/>
                  </a:lnTo>
                  <a:lnTo>
                    <a:pt x="65" y="41"/>
                  </a:lnTo>
                  <a:lnTo>
                    <a:pt x="71" y="47"/>
                  </a:lnTo>
                  <a:lnTo>
                    <a:pt x="86" y="50"/>
                  </a:lnTo>
                  <a:lnTo>
                    <a:pt x="61" y="0"/>
                  </a:lnTo>
                  <a:lnTo>
                    <a:pt x="61"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49" name="Freeform 5757"/>
            <p:cNvSpPr>
              <a:spLocks/>
            </p:cNvSpPr>
            <p:nvPr>
              <p:custDataLst>
                <p:tags r:id="rId127"/>
              </p:custDataLst>
            </p:nvPr>
          </p:nvSpPr>
          <p:spPr bwMode="gray">
            <a:xfrm>
              <a:off x="4899568" y="4363263"/>
              <a:ext cx="274582" cy="427758"/>
            </a:xfrm>
            <a:custGeom>
              <a:avLst/>
              <a:gdLst/>
              <a:ahLst/>
              <a:cxnLst>
                <a:cxn ang="0">
                  <a:pos x="15" y="62"/>
                </a:cxn>
                <a:cxn ang="0">
                  <a:pos x="0" y="75"/>
                </a:cxn>
                <a:cxn ang="0">
                  <a:pos x="10" y="101"/>
                </a:cxn>
                <a:cxn ang="0">
                  <a:pos x="4" y="108"/>
                </a:cxn>
                <a:cxn ang="0">
                  <a:pos x="23" y="123"/>
                </a:cxn>
                <a:cxn ang="0">
                  <a:pos x="47" y="157"/>
                </a:cxn>
                <a:cxn ang="0">
                  <a:pos x="101" y="268"/>
                </a:cxn>
                <a:cxn ang="0">
                  <a:pos x="193" y="333"/>
                </a:cxn>
                <a:cxn ang="0">
                  <a:pos x="208" y="320"/>
                </a:cxn>
                <a:cxn ang="0">
                  <a:pos x="214" y="301"/>
                </a:cxn>
                <a:cxn ang="0">
                  <a:pos x="206" y="286"/>
                </a:cxn>
                <a:cxn ang="0">
                  <a:pos x="212" y="225"/>
                </a:cxn>
                <a:cxn ang="0">
                  <a:pos x="195" y="198"/>
                </a:cxn>
                <a:cxn ang="0">
                  <a:pos x="182" y="198"/>
                </a:cxn>
                <a:cxn ang="0">
                  <a:pos x="178" y="170"/>
                </a:cxn>
                <a:cxn ang="0">
                  <a:pos x="158" y="182"/>
                </a:cxn>
                <a:cxn ang="0">
                  <a:pos x="139" y="168"/>
                </a:cxn>
                <a:cxn ang="0">
                  <a:pos x="141" y="163"/>
                </a:cxn>
                <a:cxn ang="0">
                  <a:pos x="126" y="140"/>
                </a:cxn>
                <a:cxn ang="0">
                  <a:pos x="137" y="105"/>
                </a:cxn>
                <a:cxn ang="0">
                  <a:pos x="148" y="90"/>
                </a:cxn>
                <a:cxn ang="0">
                  <a:pos x="184" y="75"/>
                </a:cxn>
                <a:cxn ang="0">
                  <a:pos x="174" y="64"/>
                </a:cxn>
                <a:cxn ang="0">
                  <a:pos x="182" y="52"/>
                </a:cxn>
                <a:cxn ang="0">
                  <a:pos x="180" y="47"/>
                </a:cxn>
                <a:cxn ang="0">
                  <a:pos x="169" y="41"/>
                </a:cxn>
                <a:cxn ang="0">
                  <a:pos x="133" y="43"/>
                </a:cxn>
                <a:cxn ang="0">
                  <a:pos x="124" y="22"/>
                </a:cxn>
                <a:cxn ang="0">
                  <a:pos x="96" y="0"/>
                </a:cxn>
                <a:cxn ang="0">
                  <a:pos x="92" y="4"/>
                </a:cxn>
                <a:cxn ang="0">
                  <a:pos x="98" y="15"/>
                </a:cxn>
                <a:cxn ang="0">
                  <a:pos x="90" y="30"/>
                </a:cxn>
                <a:cxn ang="0">
                  <a:pos x="79" y="43"/>
                </a:cxn>
                <a:cxn ang="0">
                  <a:pos x="55" y="54"/>
                </a:cxn>
                <a:cxn ang="0">
                  <a:pos x="34" y="90"/>
                </a:cxn>
                <a:cxn ang="0">
                  <a:pos x="13" y="78"/>
                </a:cxn>
                <a:cxn ang="0">
                  <a:pos x="15" y="62"/>
                </a:cxn>
                <a:cxn ang="0">
                  <a:pos x="15" y="62"/>
                </a:cxn>
              </a:cxnLst>
              <a:rect l="0" t="0" r="r" b="b"/>
              <a:pathLst>
                <a:path w="214" h="333">
                  <a:moveTo>
                    <a:pt x="15" y="62"/>
                  </a:moveTo>
                  <a:lnTo>
                    <a:pt x="0" y="75"/>
                  </a:lnTo>
                  <a:lnTo>
                    <a:pt x="10" y="101"/>
                  </a:lnTo>
                  <a:lnTo>
                    <a:pt x="4" y="108"/>
                  </a:lnTo>
                  <a:lnTo>
                    <a:pt x="23" y="123"/>
                  </a:lnTo>
                  <a:lnTo>
                    <a:pt x="47" y="157"/>
                  </a:lnTo>
                  <a:lnTo>
                    <a:pt x="101" y="268"/>
                  </a:lnTo>
                  <a:lnTo>
                    <a:pt x="193" y="333"/>
                  </a:lnTo>
                  <a:lnTo>
                    <a:pt x="208" y="320"/>
                  </a:lnTo>
                  <a:lnTo>
                    <a:pt x="214" y="301"/>
                  </a:lnTo>
                  <a:lnTo>
                    <a:pt x="206" y="286"/>
                  </a:lnTo>
                  <a:lnTo>
                    <a:pt x="212" y="225"/>
                  </a:lnTo>
                  <a:lnTo>
                    <a:pt x="195" y="198"/>
                  </a:lnTo>
                  <a:lnTo>
                    <a:pt x="182" y="198"/>
                  </a:lnTo>
                  <a:lnTo>
                    <a:pt x="178" y="170"/>
                  </a:lnTo>
                  <a:lnTo>
                    <a:pt x="158" y="182"/>
                  </a:lnTo>
                  <a:lnTo>
                    <a:pt x="139" y="168"/>
                  </a:lnTo>
                  <a:lnTo>
                    <a:pt x="141" y="163"/>
                  </a:lnTo>
                  <a:lnTo>
                    <a:pt x="126" y="140"/>
                  </a:lnTo>
                  <a:lnTo>
                    <a:pt x="137" y="105"/>
                  </a:lnTo>
                  <a:lnTo>
                    <a:pt x="148" y="90"/>
                  </a:lnTo>
                  <a:lnTo>
                    <a:pt x="184" y="75"/>
                  </a:lnTo>
                  <a:lnTo>
                    <a:pt x="174" y="64"/>
                  </a:lnTo>
                  <a:lnTo>
                    <a:pt x="182" y="52"/>
                  </a:lnTo>
                  <a:lnTo>
                    <a:pt x="180" y="47"/>
                  </a:lnTo>
                  <a:lnTo>
                    <a:pt x="169" y="41"/>
                  </a:lnTo>
                  <a:lnTo>
                    <a:pt x="133" y="43"/>
                  </a:lnTo>
                  <a:lnTo>
                    <a:pt x="124" y="22"/>
                  </a:lnTo>
                  <a:lnTo>
                    <a:pt x="96" y="0"/>
                  </a:lnTo>
                  <a:lnTo>
                    <a:pt x="92" y="4"/>
                  </a:lnTo>
                  <a:lnTo>
                    <a:pt x="98" y="15"/>
                  </a:lnTo>
                  <a:lnTo>
                    <a:pt x="90" y="30"/>
                  </a:lnTo>
                  <a:lnTo>
                    <a:pt x="79" y="43"/>
                  </a:lnTo>
                  <a:lnTo>
                    <a:pt x="55" y="54"/>
                  </a:lnTo>
                  <a:lnTo>
                    <a:pt x="34" y="90"/>
                  </a:lnTo>
                  <a:lnTo>
                    <a:pt x="13" y="78"/>
                  </a:lnTo>
                  <a:lnTo>
                    <a:pt x="15" y="62"/>
                  </a:lnTo>
                  <a:lnTo>
                    <a:pt x="15" y="6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50" name="Freeform 5758"/>
            <p:cNvSpPr>
              <a:spLocks/>
            </p:cNvSpPr>
            <p:nvPr>
              <p:custDataLst>
                <p:tags r:id="rId128"/>
              </p:custDataLst>
            </p:nvPr>
          </p:nvSpPr>
          <p:spPr bwMode="gray">
            <a:xfrm>
              <a:off x="4907266" y="4329865"/>
              <a:ext cx="118045" cy="149009"/>
            </a:xfrm>
            <a:custGeom>
              <a:avLst/>
              <a:gdLst/>
              <a:ahLst/>
              <a:cxnLst>
                <a:cxn ang="0">
                  <a:pos x="9" y="88"/>
                </a:cxn>
                <a:cxn ang="0">
                  <a:pos x="7" y="104"/>
                </a:cxn>
                <a:cxn ang="0">
                  <a:pos x="28" y="116"/>
                </a:cxn>
                <a:cxn ang="0">
                  <a:pos x="49" y="80"/>
                </a:cxn>
                <a:cxn ang="0">
                  <a:pos x="73" y="69"/>
                </a:cxn>
                <a:cxn ang="0">
                  <a:pos x="84" y="56"/>
                </a:cxn>
                <a:cxn ang="0">
                  <a:pos x="92" y="41"/>
                </a:cxn>
                <a:cxn ang="0">
                  <a:pos x="86" y="30"/>
                </a:cxn>
                <a:cxn ang="0">
                  <a:pos x="90" y="26"/>
                </a:cxn>
                <a:cxn ang="0">
                  <a:pos x="80" y="20"/>
                </a:cxn>
                <a:cxn ang="0">
                  <a:pos x="60" y="22"/>
                </a:cxn>
                <a:cxn ang="0">
                  <a:pos x="34" y="0"/>
                </a:cxn>
                <a:cxn ang="0">
                  <a:pos x="15" y="11"/>
                </a:cxn>
                <a:cxn ang="0">
                  <a:pos x="13" y="24"/>
                </a:cxn>
                <a:cxn ang="0">
                  <a:pos x="5" y="30"/>
                </a:cxn>
                <a:cxn ang="0">
                  <a:pos x="5" y="39"/>
                </a:cxn>
                <a:cxn ang="0">
                  <a:pos x="0" y="43"/>
                </a:cxn>
                <a:cxn ang="0">
                  <a:pos x="0" y="67"/>
                </a:cxn>
                <a:cxn ang="0">
                  <a:pos x="13" y="78"/>
                </a:cxn>
                <a:cxn ang="0">
                  <a:pos x="13" y="69"/>
                </a:cxn>
                <a:cxn ang="0">
                  <a:pos x="20" y="69"/>
                </a:cxn>
                <a:cxn ang="0">
                  <a:pos x="15" y="86"/>
                </a:cxn>
                <a:cxn ang="0">
                  <a:pos x="9" y="88"/>
                </a:cxn>
                <a:cxn ang="0">
                  <a:pos x="9" y="88"/>
                </a:cxn>
              </a:cxnLst>
              <a:rect l="0" t="0" r="r" b="b"/>
              <a:pathLst>
                <a:path w="92" h="116">
                  <a:moveTo>
                    <a:pt x="9" y="88"/>
                  </a:moveTo>
                  <a:lnTo>
                    <a:pt x="7" y="104"/>
                  </a:lnTo>
                  <a:lnTo>
                    <a:pt x="28" y="116"/>
                  </a:lnTo>
                  <a:lnTo>
                    <a:pt x="49" y="80"/>
                  </a:lnTo>
                  <a:lnTo>
                    <a:pt x="73" y="69"/>
                  </a:lnTo>
                  <a:lnTo>
                    <a:pt x="84" y="56"/>
                  </a:lnTo>
                  <a:lnTo>
                    <a:pt x="92" y="41"/>
                  </a:lnTo>
                  <a:lnTo>
                    <a:pt x="86" y="30"/>
                  </a:lnTo>
                  <a:lnTo>
                    <a:pt x="90" y="26"/>
                  </a:lnTo>
                  <a:lnTo>
                    <a:pt x="80" y="20"/>
                  </a:lnTo>
                  <a:lnTo>
                    <a:pt x="60" y="22"/>
                  </a:lnTo>
                  <a:lnTo>
                    <a:pt x="34" y="0"/>
                  </a:lnTo>
                  <a:lnTo>
                    <a:pt x="15" y="11"/>
                  </a:lnTo>
                  <a:lnTo>
                    <a:pt x="13" y="24"/>
                  </a:lnTo>
                  <a:lnTo>
                    <a:pt x="5" y="30"/>
                  </a:lnTo>
                  <a:lnTo>
                    <a:pt x="5" y="39"/>
                  </a:lnTo>
                  <a:lnTo>
                    <a:pt x="0" y="43"/>
                  </a:lnTo>
                  <a:lnTo>
                    <a:pt x="0" y="67"/>
                  </a:lnTo>
                  <a:lnTo>
                    <a:pt x="13" y="78"/>
                  </a:lnTo>
                  <a:lnTo>
                    <a:pt x="13" y="69"/>
                  </a:lnTo>
                  <a:lnTo>
                    <a:pt x="20" y="69"/>
                  </a:lnTo>
                  <a:lnTo>
                    <a:pt x="15" y="86"/>
                  </a:lnTo>
                  <a:lnTo>
                    <a:pt x="9" y="88"/>
                  </a:lnTo>
                  <a:lnTo>
                    <a:pt x="9" y="8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51" name="Freeform 5759"/>
            <p:cNvSpPr>
              <a:spLocks/>
            </p:cNvSpPr>
            <p:nvPr>
              <p:custDataLst>
                <p:tags r:id="rId129"/>
              </p:custDataLst>
            </p:nvPr>
          </p:nvSpPr>
          <p:spPr bwMode="gray">
            <a:xfrm>
              <a:off x="4948325" y="4066530"/>
              <a:ext cx="251486" cy="393075"/>
            </a:xfrm>
            <a:custGeom>
              <a:avLst/>
              <a:gdLst/>
              <a:ahLst/>
              <a:cxnLst>
                <a:cxn ang="0">
                  <a:pos x="2" y="205"/>
                </a:cxn>
                <a:cxn ang="0">
                  <a:pos x="0" y="197"/>
                </a:cxn>
                <a:cxn ang="0">
                  <a:pos x="5" y="197"/>
                </a:cxn>
                <a:cxn ang="0">
                  <a:pos x="9" y="178"/>
                </a:cxn>
                <a:cxn ang="0">
                  <a:pos x="20" y="178"/>
                </a:cxn>
                <a:cxn ang="0">
                  <a:pos x="30" y="161"/>
                </a:cxn>
                <a:cxn ang="0">
                  <a:pos x="24" y="154"/>
                </a:cxn>
                <a:cxn ang="0">
                  <a:pos x="28" y="107"/>
                </a:cxn>
                <a:cxn ang="0">
                  <a:pos x="20" y="94"/>
                </a:cxn>
                <a:cxn ang="0">
                  <a:pos x="32" y="81"/>
                </a:cxn>
                <a:cxn ang="0">
                  <a:pos x="30" y="70"/>
                </a:cxn>
                <a:cxn ang="0">
                  <a:pos x="39" y="85"/>
                </a:cxn>
                <a:cxn ang="0">
                  <a:pos x="41" y="70"/>
                </a:cxn>
                <a:cxn ang="0">
                  <a:pos x="60" y="53"/>
                </a:cxn>
                <a:cxn ang="0">
                  <a:pos x="67" y="28"/>
                </a:cxn>
                <a:cxn ang="0">
                  <a:pos x="80" y="27"/>
                </a:cxn>
                <a:cxn ang="0">
                  <a:pos x="86" y="21"/>
                </a:cxn>
                <a:cxn ang="0">
                  <a:pos x="95" y="23"/>
                </a:cxn>
                <a:cxn ang="0">
                  <a:pos x="127" y="0"/>
                </a:cxn>
                <a:cxn ang="0">
                  <a:pos x="135" y="6"/>
                </a:cxn>
                <a:cxn ang="0">
                  <a:pos x="121" y="15"/>
                </a:cxn>
                <a:cxn ang="0">
                  <a:pos x="121" y="17"/>
                </a:cxn>
                <a:cxn ang="0">
                  <a:pos x="112" y="27"/>
                </a:cxn>
                <a:cxn ang="0">
                  <a:pos x="99" y="55"/>
                </a:cxn>
                <a:cxn ang="0">
                  <a:pos x="110" y="79"/>
                </a:cxn>
                <a:cxn ang="0">
                  <a:pos x="110" y="92"/>
                </a:cxn>
                <a:cxn ang="0">
                  <a:pos x="120" y="98"/>
                </a:cxn>
                <a:cxn ang="0">
                  <a:pos x="146" y="100"/>
                </a:cxn>
                <a:cxn ang="0">
                  <a:pos x="161" y="117"/>
                </a:cxn>
                <a:cxn ang="0">
                  <a:pos x="189" y="115"/>
                </a:cxn>
                <a:cxn ang="0">
                  <a:pos x="181" y="143"/>
                </a:cxn>
                <a:cxn ang="0">
                  <a:pos x="189" y="167"/>
                </a:cxn>
                <a:cxn ang="0">
                  <a:pos x="181" y="176"/>
                </a:cxn>
                <a:cxn ang="0">
                  <a:pos x="196" y="205"/>
                </a:cxn>
                <a:cxn ang="0">
                  <a:pos x="196" y="205"/>
                </a:cxn>
                <a:cxn ang="0">
                  <a:pos x="185" y="195"/>
                </a:cxn>
                <a:cxn ang="0">
                  <a:pos x="150" y="197"/>
                </a:cxn>
                <a:cxn ang="0">
                  <a:pos x="148" y="208"/>
                </a:cxn>
                <a:cxn ang="0">
                  <a:pos x="159" y="218"/>
                </a:cxn>
                <a:cxn ang="0">
                  <a:pos x="144" y="223"/>
                </a:cxn>
                <a:cxn ang="0">
                  <a:pos x="153" y="253"/>
                </a:cxn>
                <a:cxn ang="0">
                  <a:pos x="146" y="306"/>
                </a:cxn>
                <a:cxn ang="0">
                  <a:pos x="136" y="295"/>
                </a:cxn>
                <a:cxn ang="0">
                  <a:pos x="144" y="283"/>
                </a:cxn>
                <a:cxn ang="0">
                  <a:pos x="142" y="278"/>
                </a:cxn>
                <a:cxn ang="0">
                  <a:pos x="131" y="272"/>
                </a:cxn>
                <a:cxn ang="0">
                  <a:pos x="95" y="274"/>
                </a:cxn>
                <a:cxn ang="0">
                  <a:pos x="86" y="253"/>
                </a:cxn>
                <a:cxn ang="0">
                  <a:pos x="58" y="231"/>
                </a:cxn>
                <a:cxn ang="0">
                  <a:pos x="48" y="225"/>
                </a:cxn>
                <a:cxn ang="0">
                  <a:pos x="28" y="227"/>
                </a:cxn>
                <a:cxn ang="0">
                  <a:pos x="2" y="205"/>
                </a:cxn>
                <a:cxn ang="0">
                  <a:pos x="2" y="205"/>
                </a:cxn>
              </a:cxnLst>
              <a:rect l="0" t="0" r="r" b="b"/>
              <a:pathLst>
                <a:path w="196" h="306">
                  <a:moveTo>
                    <a:pt x="2" y="205"/>
                  </a:moveTo>
                  <a:lnTo>
                    <a:pt x="0" y="197"/>
                  </a:lnTo>
                  <a:lnTo>
                    <a:pt x="5" y="197"/>
                  </a:lnTo>
                  <a:lnTo>
                    <a:pt x="9" y="178"/>
                  </a:lnTo>
                  <a:lnTo>
                    <a:pt x="20" y="178"/>
                  </a:lnTo>
                  <a:lnTo>
                    <a:pt x="30" y="161"/>
                  </a:lnTo>
                  <a:lnTo>
                    <a:pt x="24" y="154"/>
                  </a:lnTo>
                  <a:lnTo>
                    <a:pt x="28" y="107"/>
                  </a:lnTo>
                  <a:lnTo>
                    <a:pt x="20" y="94"/>
                  </a:lnTo>
                  <a:lnTo>
                    <a:pt x="32" y="81"/>
                  </a:lnTo>
                  <a:lnTo>
                    <a:pt x="30" y="70"/>
                  </a:lnTo>
                  <a:lnTo>
                    <a:pt x="39" y="85"/>
                  </a:lnTo>
                  <a:lnTo>
                    <a:pt x="41" y="70"/>
                  </a:lnTo>
                  <a:lnTo>
                    <a:pt x="60" y="53"/>
                  </a:lnTo>
                  <a:lnTo>
                    <a:pt x="67" y="28"/>
                  </a:lnTo>
                  <a:lnTo>
                    <a:pt x="80" y="27"/>
                  </a:lnTo>
                  <a:lnTo>
                    <a:pt x="86" y="21"/>
                  </a:lnTo>
                  <a:lnTo>
                    <a:pt x="95" y="23"/>
                  </a:lnTo>
                  <a:lnTo>
                    <a:pt x="127" y="0"/>
                  </a:lnTo>
                  <a:lnTo>
                    <a:pt x="135" y="6"/>
                  </a:lnTo>
                  <a:lnTo>
                    <a:pt x="121" y="15"/>
                  </a:lnTo>
                  <a:lnTo>
                    <a:pt x="121" y="17"/>
                  </a:lnTo>
                  <a:lnTo>
                    <a:pt x="112" y="27"/>
                  </a:lnTo>
                  <a:lnTo>
                    <a:pt x="99" y="55"/>
                  </a:lnTo>
                  <a:lnTo>
                    <a:pt x="110" y="79"/>
                  </a:lnTo>
                  <a:lnTo>
                    <a:pt x="110" y="92"/>
                  </a:lnTo>
                  <a:lnTo>
                    <a:pt x="120" y="98"/>
                  </a:lnTo>
                  <a:lnTo>
                    <a:pt x="146" y="100"/>
                  </a:lnTo>
                  <a:lnTo>
                    <a:pt x="161" y="117"/>
                  </a:lnTo>
                  <a:lnTo>
                    <a:pt x="189" y="115"/>
                  </a:lnTo>
                  <a:lnTo>
                    <a:pt x="181" y="143"/>
                  </a:lnTo>
                  <a:lnTo>
                    <a:pt x="189" y="167"/>
                  </a:lnTo>
                  <a:lnTo>
                    <a:pt x="181" y="176"/>
                  </a:lnTo>
                  <a:lnTo>
                    <a:pt x="196" y="205"/>
                  </a:lnTo>
                  <a:lnTo>
                    <a:pt x="196" y="205"/>
                  </a:lnTo>
                  <a:lnTo>
                    <a:pt x="185" y="195"/>
                  </a:lnTo>
                  <a:lnTo>
                    <a:pt x="150" y="197"/>
                  </a:lnTo>
                  <a:lnTo>
                    <a:pt x="148" y="208"/>
                  </a:lnTo>
                  <a:lnTo>
                    <a:pt x="159" y="218"/>
                  </a:lnTo>
                  <a:lnTo>
                    <a:pt x="144" y="223"/>
                  </a:lnTo>
                  <a:lnTo>
                    <a:pt x="153" y="253"/>
                  </a:lnTo>
                  <a:lnTo>
                    <a:pt x="146" y="306"/>
                  </a:lnTo>
                  <a:lnTo>
                    <a:pt x="136" y="295"/>
                  </a:lnTo>
                  <a:lnTo>
                    <a:pt x="144" y="283"/>
                  </a:lnTo>
                  <a:lnTo>
                    <a:pt x="142" y="278"/>
                  </a:lnTo>
                  <a:lnTo>
                    <a:pt x="131" y="272"/>
                  </a:lnTo>
                  <a:lnTo>
                    <a:pt x="95" y="274"/>
                  </a:lnTo>
                  <a:lnTo>
                    <a:pt x="86" y="253"/>
                  </a:lnTo>
                  <a:lnTo>
                    <a:pt x="58" y="231"/>
                  </a:lnTo>
                  <a:lnTo>
                    <a:pt x="48" y="225"/>
                  </a:lnTo>
                  <a:lnTo>
                    <a:pt x="28" y="227"/>
                  </a:lnTo>
                  <a:lnTo>
                    <a:pt x="2" y="205"/>
                  </a:lnTo>
                  <a:lnTo>
                    <a:pt x="2" y="20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52" name="Freeform 5760"/>
            <p:cNvSpPr>
              <a:spLocks/>
            </p:cNvSpPr>
            <p:nvPr>
              <p:custDataLst>
                <p:tags r:id="rId130"/>
              </p:custDataLst>
            </p:nvPr>
          </p:nvSpPr>
          <p:spPr bwMode="gray">
            <a:xfrm>
              <a:off x="5075351" y="4071668"/>
              <a:ext cx="275865" cy="269757"/>
            </a:xfrm>
            <a:custGeom>
              <a:avLst/>
              <a:gdLst/>
              <a:ahLst/>
              <a:cxnLst>
                <a:cxn ang="0">
                  <a:pos x="215" y="71"/>
                </a:cxn>
                <a:cxn ang="0">
                  <a:pos x="200" y="83"/>
                </a:cxn>
                <a:cxn ang="0">
                  <a:pos x="199" y="94"/>
                </a:cxn>
                <a:cxn ang="0">
                  <a:pos x="202" y="96"/>
                </a:cxn>
                <a:cxn ang="0">
                  <a:pos x="195" y="101"/>
                </a:cxn>
                <a:cxn ang="0">
                  <a:pos x="191" y="114"/>
                </a:cxn>
                <a:cxn ang="0">
                  <a:pos x="200" y="129"/>
                </a:cxn>
                <a:cxn ang="0">
                  <a:pos x="197" y="139"/>
                </a:cxn>
                <a:cxn ang="0">
                  <a:pos x="161" y="154"/>
                </a:cxn>
                <a:cxn ang="0">
                  <a:pos x="133" y="150"/>
                </a:cxn>
                <a:cxn ang="0">
                  <a:pos x="140" y="157"/>
                </a:cxn>
                <a:cxn ang="0">
                  <a:pos x="140" y="176"/>
                </a:cxn>
                <a:cxn ang="0">
                  <a:pos x="152" y="186"/>
                </a:cxn>
                <a:cxn ang="0">
                  <a:pos x="116" y="210"/>
                </a:cxn>
                <a:cxn ang="0">
                  <a:pos x="105" y="210"/>
                </a:cxn>
                <a:cxn ang="0">
                  <a:pos x="97" y="201"/>
                </a:cxn>
                <a:cxn ang="0">
                  <a:pos x="97" y="201"/>
                </a:cxn>
                <a:cxn ang="0">
                  <a:pos x="82" y="172"/>
                </a:cxn>
                <a:cxn ang="0">
                  <a:pos x="90" y="163"/>
                </a:cxn>
                <a:cxn ang="0">
                  <a:pos x="82" y="139"/>
                </a:cxn>
                <a:cxn ang="0">
                  <a:pos x="90" y="111"/>
                </a:cxn>
                <a:cxn ang="0">
                  <a:pos x="62" y="113"/>
                </a:cxn>
                <a:cxn ang="0">
                  <a:pos x="47" y="96"/>
                </a:cxn>
                <a:cxn ang="0">
                  <a:pos x="21" y="94"/>
                </a:cxn>
                <a:cxn ang="0">
                  <a:pos x="11" y="88"/>
                </a:cxn>
                <a:cxn ang="0">
                  <a:pos x="11" y="75"/>
                </a:cxn>
                <a:cxn ang="0">
                  <a:pos x="0" y="51"/>
                </a:cxn>
                <a:cxn ang="0">
                  <a:pos x="13" y="23"/>
                </a:cxn>
                <a:cxn ang="0">
                  <a:pos x="22" y="13"/>
                </a:cxn>
                <a:cxn ang="0">
                  <a:pos x="22" y="11"/>
                </a:cxn>
                <a:cxn ang="0">
                  <a:pos x="28" y="30"/>
                </a:cxn>
                <a:cxn ang="0">
                  <a:pos x="19" y="45"/>
                </a:cxn>
                <a:cxn ang="0">
                  <a:pos x="24" y="58"/>
                </a:cxn>
                <a:cxn ang="0">
                  <a:pos x="34" y="54"/>
                </a:cxn>
                <a:cxn ang="0">
                  <a:pos x="30" y="23"/>
                </a:cxn>
                <a:cxn ang="0">
                  <a:pos x="51" y="11"/>
                </a:cxn>
                <a:cxn ang="0">
                  <a:pos x="49" y="4"/>
                </a:cxn>
                <a:cxn ang="0">
                  <a:pos x="56" y="0"/>
                </a:cxn>
                <a:cxn ang="0">
                  <a:pos x="58" y="11"/>
                </a:cxn>
                <a:cxn ang="0">
                  <a:pos x="79" y="19"/>
                </a:cxn>
                <a:cxn ang="0">
                  <a:pos x="82" y="32"/>
                </a:cxn>
                <a:cxn ang="0">
                  <a:pos x="114" y="30"/>
                </a:cxn>
                <a:cxn ang="0">
                  <a:pos x="133" y="38"/>
                </a:cxn>
                <a:cxn ang="0">
                  <a:pos x="150" y="28"/>
                </a:cxn>
                <a:cxn ang="0">
                  <a:pos x="180" y="28"/>
                </a:cxn>
                <a:cxn ang="0">
                  <a:pos x="167" y="30"/>
                </a:cxn>
                <a:cxn ang="0">
                  <a:pos x="176" y="45"/>
                </a:cxn>
                <a:cxn ang="0">
                  <a:pos x="197" y="49"/>
                </a:cxn>
                <a:cxn ang="0">
                  <a:pos x="197" y="69"/>
                </a:cxn>
                <a:cxn ang="0">
                  <a:pos x="210" y="66"/>
                </a:cxn>
                <a:cxn ang="0">
                  <a:pos x="215" y="71"/>
                </a:cxn>
                <a:cxn ang="0">
                  <a:pos x="215" y="71"/>
                </a:cxn>
              </a:cxnLst>
              <a:rect l="0" t="0" r="r" b="b"/>
              <a:pathLst>
                <a:path w="215" h="210">
                  <a:moveTo>
                    <a:pt x="215" y="71"/>
                  </a:moveTo>
                  <a:lnTo>
                    <a:pt x="200" y="83"/>
                  </a:lnTo>
                  <a:lnTo>
                    <a:pt x="199" y="94"/>
                  </a:lnTo>
                  <a:lnTo>
                    <a:pt x="202" y="96"/>
                  </a:lnTo>
                  <a:lnTo>
                    <a:pt x="195" y="101"/>
                  </a:lnTo>
                  <a:lnTo>
                    <a:pt x="191" y="114"/>
                  </a:lnTo>
                  <a:lnTo>
                    <a:pt x="200" y="129"/>
                  </a:lnTo>
                  <a:lnTo>
                    <a:pt x="197" y="139"/>
                  </a:lnTo>
                  <a:lnTo>
                    <a:pt x="161" y="154"/>
                  </a:lnTo>
                  <a:lnTo>
                    <a:pt x="133" y="150"/>
                  </a:lnTo>
                  <a:lnTo>
                    <a:pt x="140" y="157"/>
                  </a:lnTo>
                  <a:lnTo>
                    <a:pt x="140" y="176"/>
                  </a:lnTo>
                  <a:lnTo>
                    <a:pt x="152" y="186"/>
                  </a:lnTo>
                  <a:lnTo>
                    <a:pt x="116" y="210"/>
                  </a:lnTo>
                  <a:lnTo>
                    <a:pt x="105" y="210"/>
                  </a:lnTo>
                  <a:lnTo>
                    <a:pt x="97" y="201"/>
                  </a:lnTo>
                  <a:lnTo>
                    <a:pt x="97" y="201"/>
                  </a:lnTo>
                  <a:lnTo>
                    <a:pt x="82" y="172"/>
                  </a:lnTo>
                  <a:lnTo>
                    <a:pt x="90" y="163"/>
                  </a:lnTo>
                  <a:lnTo>
                    <a:pt x="82" y="139"/>
                  </a:lnTo>
                  <a:lnTo>
                    <a:pt x="90" y="111"/>
                  </a:lnTo>
                  <a:lnTo>
                    <a:pt x="62" y="113"/>
                  </a:lnTo>
                  <a:lnTo>
                    <a:pt x="47" y="96"/>
                  </a:lnTo>
                  <a:lnTo>
                    <a:pt x="21" y="94"/>
                  </a:lnTo>
                  <a:lnTo>
                    <a:pt x="11" y="88"/>
                  </a:lnTo>
                  <a:lnTo>
                    <a:pt x="11" y="75"/>
                  </a:lnTo>
                  <a:lnTo>
                    <a:pt x="0" y="51"/>
                  </a:lnTo>
                  <a:lnTo>
                    <a:pt x="13" y="23"/>
                  </a:lnTo>
                  <a:lnTo>
                    <a:pt x="22" y="13"/>
                  </a:lnTo>
                  <a:lnTo>
                    <a:pt x="22" y="11"/>
                  </a:lnTo>
                  <a:lnTo>
                    <a:pt x="28" y="30"/>
                  </a:lnTo>
                  <a:lnTo>
                    <a:pt x="19" y="45"/>
                  </a:lnTo>
                  <a:lnTo>
                    <a:pt x="24" y="58"/>
                  </a:lnTo>
                  <a:lnTo>
                    <a:pt x="34" y="54"/>
                  </a:lnTo>
                  <a:lnTo>
                    <a:pt x="30" y="23"/>
                  </a:lnTo>
                  <a:lnTo>
                    <a:pt x="51" y="11"/>
                  </a:lnTo>
                  <a:lnTo>
                    <a:pt x="49" y="4"/>
                  </a:lnTo>
                  <a:lnTo>
                    <a:pt x="56" y="0"/>
                  </a:lnTo>
                  <a:lnTo>
                    <a:pt x="58" y="11"/>
                  </a:lnTo>
                  <a:lnTo>
                    <a:pt x="79" y="19"/>
                  </a:lnTo>
                  <a:lnTo>
                    <a:pt x="82" y="32"/>
                  </a:lnTo>
                  <a:lnTo>
                    <a:pt x="114" y="30"/>
                  </a:lnTo>
                  <a:lnTo>
                    <a:pt x="133" y="38"/>
                  </a:lnTo>
                  <a:lnTo>
                    <a:pt x="150" y="28"/>
                  </a:lnTo>
                  <a:lnTo>
                    <a:pt x="180" y="28"/>
                  </a:lnTo>
                  <a:lnTo>
                    <a:pt x="167" y="30"/>
                  </a:lnTo>
                  <a:lnTo>
                    <a:pt x="176" y="45"/>
                  </a:lnTo>
                  <a:lnTo>
                    <a:pt x="197" y="49"/>
                  </a:lnTo>
                  <a:lnTo>
                    <a:pt x="197" y="69"/>
                  </a:lnTo>
                  <a:lnTo>
                    <a:pt x="210" y="66"/>
                  </a:lnTo>
                  <a:lnTo>
                    <a:pt x="215" y="71"/>
                  </a:lnTo>
                  <a:lnTo>
                    <a:pt x="215" y="7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53" name="Freeform 5761"/>
            <p:cNvSpPr>
              <a:spLocks/>
            </p:cNvSpPr>
            <p:nvPr>
              <p:custDataLst>
                <p:tags r:id="rId131"/>
              </p:custDataLst>
            </p:nvPr>
          </p:nvSpPr>
          <p:spPr bwMode="gray">
            <a:xfrm>
              <a:off x="5147204" y="4774322"/>
              <a:ext cx="245071" cy="851663"/>
            </a:xfrm>
            <a:custGeom>
              <a:avLst/>
              <a:gdLst/>
              <a:ahLst/>
              <a:cxnLst>
                <a:cxn ang="0">
                  <a:pos x="15" y="0"/>
                </a:cxn>
                <a:cxn ang="0">
                  <a:pos x="32" y="47"/>
                </a:cxn>
                <a:cxn ang="0">
                  <a:pos x="64" y="99"/>
                </a:cxn>
                <a:cxn ang="0">
                  <a:pos x="49" y="131"/>
                </a:cxn>
                <a:cxn ang="0">
                  <a:pos x="43" y="199"/>
                </a:cxn>
                <a:cxn ang="0">
                  <a:pos x="62" y="304"/>
                </a:cxn>
                <a:cxn ang="0">
                  <a:pos x="64" y="343"/>
                </a:cxn>
                <a:cxn ang="0">
                  <a:pos x="69" y="390"/>
                </a:cxn>
                <a:cxn ang="0">
                  <a:pos x="81" y="452"/>
                </a:cxn>
                <a:cxn ang="0">
                  <a:pos x="96" y="495"/>
                </a:cxn>
                <a:cxn ang="0">
                  <a:pos x="99" y="502"/>
                </a:cxn>
                <a:cxn ang="0">
                  <a:pos x="116" y="592"/>
                </a:cxn>
                <a:cxn ang="0">
                  <a:pos x="137" y="607"/>
                </a:cxn>
                <a:cxn ang="0">
                  <a:pos x="189" y="635"/>
                </a:cxn>
                <a:cxn ang="0">
                  <a:pos x="191" y="641"/>
                </a:cxn>
                <a:cxn ang="0">
                  <a:pos x="184" y="661"/>
                </a:cxn>
                <a:cxn ang="0">
                  <a:pos x="163" y="656"/>
                </a:cxn>
                <a:cxn ang="0">
                  <a:pos x="174" y="646"/>
                </a:cxn>
                <a:cxn ang="0">
                  <a:pos x="159" y="656"/>
                </a:cxn>
                <a:cxn ang="0">
                  <a:pos x="122" y="639"/>
                </a:cxn>
                <a:cxn ang="0">
                  <a:pos x="109" y="628"/>
                </a:cxn>
                <a:cxn ang="0">
                  <a:pos x="118" y="622"/>
                </a:cxn>
                <a:cxn ang="0">
                  <a:pos x="113" y="620"/>
                </a:cxn>
                <a:cxn ang="0">
                  <a:pos x="101" y="607"/>
                </a:cxn>
                <a:cxn ang="0">
                  <a:pos x="101" y="596"/>
                </a:cxn>
                <a:cxn ang="0">
                  <a:pos x="92" y="594"/>
                </a:cxn>
                <a:cxn ang="0">
                  <a:pos x="71" y="562"/>
                </a:cxn>
                <a:cxn ang="0">
                  <a:pos x="77" y="555"/>
                </a:cxn>
                <a:cxn ang="0">
                  <a:pos x="83" y="538"/>
                </a:cxn>
                <a:cxn ang="0">
                  <a:pos x="62" y="540"/>
                </a:cxn>
                <a:cxn ang="0">
                  <a:pos x="66" y="527"/>
                </a:cxn>
                <a:cxn ang="0">
                  <a:pos x="68" y="521"/>
                </a:cxn>
                <a:cxn ang="0">
                  <a:pos x="62" y="485"/>
                </a:cxn>
                <a:cxn ang="0">
                  <a:pos x="71" y="506"/>
                </a:cxn>
                <a:cxn ang="0">
                  <a:pos x="77" y="484"/>
                </a:cxn>
                <a:cxn ang="0">
                  <a:pos x="58" y="442"/>
                </a:cxn>
                <a:cxn ang="0">
                  <a:pos x="53" y="448"/>
                </a:cxn>
                <a:cxn ang="0">
                  <a:pos x="41" y="405"/>
                </a:cxn>
                <a:cxn ang="0">
                  <a:pos x="23" y="362"/>
                </a:cxn>
                <a:cxn ang="0">
                  <a:pos x="34" y="298"/>
                </a:cxn>
                <a:cxn ang="0">
                  <a:pos x="19" y="244"/>
                </a:cxn>
                <a:cxn ang="0">
                  <a:pos x="15" y="212"/>
                </a:cxn>
                <a:cxn ang="0">
                  <a:pos x="13" y="101"/>
                </a:cxn>
                <a:cxn ang="0">
                  <a:pos x="0" y="13"/>
                </a:cxn>
              </a:cxnLst>
              <a:rect l="0" t="0" r="r" b="b"/>
              <a:pathLst>
                <a:path w="191" h="663">
                  <a:moveTo>
                    <a:pt x="0" y="13"/>
                  </a:moveTo>
                  <a:lnTo>
                    <a:pt x="15" y="0"/>
                  </a:lnTo>
                  <a:lnTo>
                    <a:pt x="34" y="32"/>
                  </a:lnTo>
                  <a:lnTo>
                    <a:pt x="32" y="47"/>
                  </a:lnTo>
                  <a:lnTo>
                    <a:pt x="53" y="98"/>
                  </a:lnTo>
                  <a:lnTo>
                    <a:pt x="64" y="99"/>
                  </a:lnTo>
                  <a:lnTo>
                    <a:pt x="64" y="120"/>
                  </a:lnTo>
                  <a:lnTo>
                    <a:pt x="49" y="131"/>
                  </a:lnTo>
                  <a:lnTo>
                    <a:pt x="56" y="169"/>
                  </a:lnTo>
                  <a:lnTo>
                    <a:pt x="43" y="199"/>
                  </a:lnTo>
                  <a:lnTo>
                    <a:pt x="40" y="255"/>
                  </a:lnTo>
                  <a:lnTo>
                    <a:pt x="62" y="304"/>
                  </a:lnTo>
                  <a:lnTo>
                    <a:pt x="58" y="328"/>
                  </a:lnTo>
                  <a:lnTo>
                    <a:pt x="64" y="343"/>
                  </a:lnTo>
                  <a:lnTo>
                    <a:pt x="58" y="356"/>
                  </a:lnTo>
                  <a:lnTo>
                    <a:pt x="69" y="390"/>
                  </a:lnTo>
                  <a:lnTo>
                    <a:pt x="71" y="435"/>
                  </a:lnTo>
                  <a:lnTo>
                    <a:pt x="81" y="452"/>
                  </a:lnTo>
                  <a:lnTo>
                    <a:pt x="81" y="467"/>
                  </a:lnTo>
                  <a:lnTo>
                    <a:pt x="96" y="495"/>
                  </a:lnTo>
                  <a:lnTo>
                    <a:pt x="105" y="502"/>
                  </a:lnTo>
                  <a:lnTo>
                    <a:pt x="99" y="502"/>
                  </a:lnTo>
                  <a:lnTo>
                    <a:pt x="114" y="536"/>
                  </a:lnTo>
                  <a:lnTo>
                    <a:pt x="116" y="592"/>
                  </a:lnTo>
                  <a:lnTo>
                    <a:pt x="124" y="609"/>
                  </a:lnTo>
                  <a:lnTo>
                    <a:pt x="137" y="607"/>
                  </a:lnTo>
                  <a:lnTo>
                    <a:pt x="156" y="632"/>
                  </a:lnTo>
                  <a:lnTo>
                    <a:pt x="189" y="635"/>
                  </a:lnTo>
                  <a:lnTo>
                    <a:pt x="189" y="635"/>
                  </a:lnTo>
                  <a:lnTo>
                    <a:pt x="191" y="641"/>
                  </a:lnTo>
                  <a:lnTo>
                    <a:pt x="178" y="645"/>
                  </a:lnTo>
                  <a:lnTo>
                    <a:pt x="184" y="661"/>
                  </a:lnTo>
                  <a:lnTo>
                    <a:pt x="180" y="663"/>
                  </a:lnTo>
                  <a:lnTo>
                    <a:pt x="163" y="656"/>
                  </a:lnTo>
                  <a:lnTo>
                    <a:pt x="173" y="652"/>
                  </a:lnTo>
                  <a:lnTo>
                    <a:pt x="174" y="646"/>
                  </a:lnTo>
                  <a:lnTo>
                    <a:pt x="167" y="645"/>
                  </a:lnTo>
                  <a:lnTo>
                    <a:pt x="159" y="656"/>
                  </a:lnTo>
                  <a:lnTo>
                    <a:pt x="126" y="633"/>
                  </a:lnTo>
                  <a:lnTo>
                    <a:pt x="122" y="639"/>
                  </a:lnTo>
                  <a:lnTo>
                    <a:pt x="113" y="635"/>
                  </a:lnTo>
                  <a:lnTo>
                    <a:pt x="109" y="628"/>
                  </a:lnTo>
                  <a:lnTo>
                    <a:pt x="118" y="628"/>
                  </a:lnTo>
                  <a:lnTo>
                    <a:pt x="118" y="622"/>
                  </a:lnTo>
                  <a:lnTo>
                    <a:pt x="113" y="613"/>
                  </a:lnTo>
                  <a:lnTo>
                    <a:pt x="113" y="620"/>
                  </a:lnTo>
                  <a:lnTo>
                    <a:pt x="103" y="624"/>
                  </a:lnTo>
                  <a:lnTo>
                    <a:pt x="101" y="607"/>
                  </a:lnTo>
                  <a:lnTo>
                    <a:pt x="107" y="609"/>
                  </a:lnTo>
                  <a:lnTo>
                    <a:pt x="101" y="596"/>
                  </a:lnTo>
                  <a:lnTo>
                    <a:pt x="96" y="609"/>
                  </a:lnTo>
                  <a:lnTo>
                    <a:pt x="92" y="594"/>
                  </a:lnTo>
                  <a:lnTo>
                    <a:pt x="84" y="594"/>
                  </a:lnTo>
                  <a:lnTo>
                    <a:pt x="71" y="562"/>
                  </a:lnTo>
                  <a:lnTo>
                    <a:pt x="71" y="557"/>
                  </a:lnTo>
                  <a:lnTo>
                    <a:pt x="77" y="555"/>
                  </a:lnTo>
                  <a:lnTo>
                    <a:pt x="86" y="566"/>
                  </a:lnTo>
                  <a:lnTo>
                    <a:pt x="83" y="538"/>
                  </a:lnTo>
                  <a:lnTo>
                    <a:pt x="66" y="536"/>
                  </a:lnTo>
                  <a:lnTo>
                    <a:pt x="62" y="540"/>
                  </a:lnTo>
                  <a:lnTo>
                    <a:pt x="58" y="534"/>
                  </a:lnTo>
                  <a:lnTo>
                    <a:pt x="66" y="527"/>
                  </a:lnTo>
                  <a:lnTo>
                    <a:pt x="60" y="523"/>
                  </a:lnTo>
                  <a:lnTo>
                    <a:pt x="68" y="521"/>
                  </a:lnTo>
                  <a:lnTo>
                    <a:pt x="58" y="491"/>
                  </a:lnTo>
                  <a:lnTo>
                    <a:pt x="62" y="485"/>
                  </a:lnTo>
                  <a:lnTo>
                    <a:pt x="69" y="491"/>
                  </a:lnTo>
                  <a:lnTo>
                    <a:pt x="71" y="506"/>
                  </a:lnTo>
                  <a:lnTo>
                    <a:pt x="79" y="515"/>
                  </a:lnTo>
                  <a:lnTo>
                    <a:pt x="77" y="484"/>
                  </a:lnTo>
                  <a:lnTo>
                    <a:pt x="66" y="446"/>
                  </a:lnTo>
                  <a:lnTo>
                    <a:pt x="58" y="442"/>
                  </a:lnTo>
                  <a:lnTo>
                    <a:pt x="58" y="448"/>
                  </a:lnTo>
                  <a:lnTo>
                    <a:pt x="53" y="448"/>
                  </a:lnTo>
                  <a:lnTo>
                    <a:pt x="43" y="433"/>
                  </a:lnTo>
                  <a:lnTo>
                    <a:pt x="41" y="405"/>
                  </a:lnTo>
                  <a:lnTo>
                    <a:pt x="25" y="373"/>
                  </a:lnTo>
                  <a:lnTo>
                    <a:pt x="23" y="362"/>
                  </a:lnTo>
                  <a:lnTo>
                    <a:pt x="30" y="362"/>
                  </a:lnTo>
                  <a:lnTo>
                    <a:pt x="34" y="298"/>
                  </a:lnTo>
                  <a:lnTo>
                    <a:pt x="34" y="277"/>
                  </a:lnTo>
                  <a:lnTo>
                    <a:pt x="19" y="244"/>
                  </a:lnTo>
                  <a:lnTo>
                    <a:pt x="23" y="231"/>
                  </a:lnTo>
                  <a:lnTo>
                    <a:pt x="15" y="212"/>
                  </a:lnTo>
                  <a:lnTo>
                    <a:pt x="21" y="163"/>
                  </a:lnTo>
                  <a:lnTo>
                    <a:pt x="13" y="101"/>
                  </a:lnTo>
                  <a:lnTo>
                    <a:pt x="15" y="73"/>
                  </a:lnTo>
                  <a:lnTo>
                    <a:pt x="0" y="13"/>
                  </a:lnTo>
                  <a:lnTo>
                    <a:pt x="0" y="13"/>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54" name="Freeform 5762"/>
            <p:cNvSpPr>
              <a:spLocks/>
            </p:cNvSpPr>
            <p:nvPr>
              <p:custDataLst>
                <p:tags r:id="rId132"/>
              </p:custDataLst>
            </p:nvPr>
          </p:nvSpPr>
          <p:spPr bwMode="gray">
            <a:xfrm>
              <a:off x="6798545" y="3236705"/>
              <a:ext cx="7699" cy="11561"/>
            </a:xfrm>
            <a:custGeom>
              <a:avLst/>
              <a:gdLst/>
              <a:ahLst/>
              <a:cxnLst>
                <a:cxn ang="0">
                  <a:pos x="0" y="0"/>
                </a:cxn>
                <a:cxn ang="0">
                  <a:pos x="4" y="9"/>
                </a:cxn>
                <a:cxn ang="0">
                  <a:pos x="4" y="9"/>
                </a:cxn>
                <a:cxn ang="0">
                  <a:pos x="6" y="6"/>
                </a:cxn>
                <a:cxn ang="0">
                  <a:pos x="4" y="2"/>
                </a:cxn>
                <a:cxn ang="0">
                  <a:pos x="0" y="0"/>
                </a:cxn>
                <a:cxn ang="0">
                  <a:pos x="0" y="0"/>
                </a:cxn>
              </a:cxnLst>
              <a:rect l="0" t="0" r="r" b="b"/>
              <a:pathLst>
                <a:path w="6" h="9">
                  <a:moveTo>
                    <a:pt x="0" y="0"/>
                  </a:moveTo>
                  <a:lnTo>
                    <a:pt x="4" y="9"/>
                  </a:lnTo>
                  <a:lnTo>
                    <a:pt x="4" y="9"/>
                  </a:lnTo>
                  <a:lnTo>
                    <a:pt x="6" y="6"/>
                  </a:lnTo>
                  <a:lnTo>
                    <a:pt x="4" y="2"/>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55" name="Freeform 5763"/>
            <p:cNvSpPr>
              <a:spLocks/>
            </p:cNvSpPr>
            <p:nvPr>
              <p:custDataLst>
                <p:tags r:id="rId133"/>
              </p:custDataLst>
            </p:nvPr>
          </p:nvSpPr>
          <p:spPr bwMode="gray">
            <a:xfrm>
              <a:off x="7029501" y="3126233"/>
              <a:ext cx="327189" cy="184977"/>
            </a:xfrm>
            <a:custGeom>
              <a:avLst/>
              <a:gdLst/>
              <a:ahLst/>
              <a:cxnLst>
                <a:cxn ang="0">
                  <a:pos x="95" y="120"/>
                </a:cxn>
                <a:cxn ang="0">
                  <a:pos x="97" y="125"/>
                </a:cxn>
                <a:cxn ang="0">
                  <a:pos x="114" y="125"/>
                </a:cxn>
                <a:cxn ang="0">
                  <a:pos x="112" y="120"/>
                </a:cxn>
                <a:cxn ang="0">
                  <a:pos x="122" y="116"/>
                </a:cxn>
                <a:cxn ang="0">
                  <a:pos x="129" y="103"/>
                </a:cxn>
                <a:cxn ang="0">
                  <a:pos x="148" y="103"/>
                </a:cxn>
                <a:cxn ang="0">
                  <a:pos x="144" y="109"/>
                </a:cxn>
                <a:cxn ang="0">
                  <a:pos x="172" y="116"/>
                </a:cxn>
                <a:cxn ang="0">
                  <a:pos x="157" y="125"/>
                </a:cxn>
                <a:cxn ang="0">
                  <a:pos x="172" y="133"/>
                </a:cxn>
                <a:cxn ang="0">
                  <a:pos x="170" y="139"/>
                </a:cxn>
                <a:cxn ang="0">
                  <a:pos x="176" y="144"/>
                </a:cxn>
                <a:cxn ang="0">
                  <a:pos x="200" y="131"/>
                </a:cxn>
                <a:cxn ang="0">
                  <a:pos x="213" y="131"/>
                </a:cxn>
                <a:cxn ang="0">
                  <a:pos x="213" y="127"/>
                </a:cxn>
                <a:cxn ang="0">
                  <a:pos x="200" y="127"/>
                </a:cxn>
                <a:cxn ang="0">
                  <a:pos x="182" y="116"/>
                </a:cxn>
                <a:cxn ang="0">
                  <a:pos x="225" y="94"/>
                </a:cxn>
                <a:cxn ang="0">
                  <a:pos x="234" y="94"/>
                </a:cxn>
                <a:cxn ang="0">
                  <a:pos x="234" y="84"/>
                </a:cxn>
                <a:cxn ang="0">
                  <a:pos x="241" y="79"/>
                </a:cxn>
                <a:cxn ang="0">
                  <a:pos x="253" y="80"/>
                </a:cxn>
                <a:cxn ang="0">
                  <a:pos x="251" y="64"/>
                </a:cxn>
                <a:cxn ang="0">
                  <a:pos x="255" y="62"/>
                </a:cxn>
                <a:cxn ang="0">
                  <a:pos x="249" y="60"/>
                </a:cxn>
                <a:cxn ang="0">
                  <a:pos x="255" y="50"/>
                </a:cxn>
                <a:cxn ang="0">
                  <a:pos x="223" y="41"/>
                </a:cxn>
                <a:cxn ang="0">
                  <a:pos x="213" y="34"/>
                </a:cxn>
                <a:cxn ang="0">
                  <a:pos x="187" y="34"/>
                </a:cxn>
                <a:cxn ang="0">
                  <a:pos x="178" y="19"/>
                </a:cxn>
                <a:cxn ang="0">
                  <a:pos x="167" y="17"/>
                </a:cxn>
                <a:cxn ang="0">
                  <a:pos x="168" y="9"/>
                </a:cxn>
                <a:cxn ang="0">
                  <a:pos x="157" y="0"/>
                </a:cxn>
                <a:cxn ang="0">
                  <a:pos x="131" y="4"/>
                </a:cxn>
                <a:cxn ang="0">
                  <a:pos x="120" y="5"/>
                </a:cxn>
                <a:cxn ang="0">
                  <a:pos x="112" y="19"/>
                </a:cxn>
                <a:cxn ang="0">
                  <a:pos x="93" y="13"/>
                </a:cxn>
                <a:cxn ang="0">
                  <a:pos x="75" y="17"/>
                </a:cxn>
                <a:cxn ang="0">
                  <a:pos x="49" y="7"/>
                </a:cxn>
                <a:cxn ang="0">
                  <a:pos x="17" y="13"/>
                </a:cxn>
                <a:cxn ang="0">
                  <a:pos x="24" y="34"/>
                </a:cxn>
                <a:cxn ang="0">
                  <a:pos x="4" y="58"/>
                </a:cxn>
                <a:cxn ang="0">
                  <a:pos x="0" y="69"/>
                </a:cxn>
                <a:cxn ang="0">
                  <a:pos x="2" y="71"/>
                </a:cxn>
                <a:cxn ang="0">
                  <a:pos x="11" y="79"/>
                </a:cxn>
                <a:cxn ang="0">
                  <a:pos x="41" y="80"/>
                </a:cxn>
                <a:cxn ang="0">
                  <a:pos x="64" y="73"/>
                </a:cxn>
                <a:cxn ang="0">
                  <a:pos x="77" y="69"/>
                </a:cxn>
                <a:cxn ang="0">
                  <a:pos x="101" y="77"/>
                </a:cxn>
                <a:cxn ang="0">
                  <a:pos x="103" y="86"/>
                </a:cxn>
                <a:cxn ang="0">
                  <a:pos x="114" y="99"/>
                </a:cxn>
                <a:cxn ang="0">
                  <a:pos x="116" y="107"/>
                </a:cxn>
                <a:cxn ang="0">
                  <a:pos x="103" y="107"/>
                </a:cxn>
                <a:cxn ang="0">
                  <a:pos x="95" y="120"/>
                </a:cxn>
                <a:cxn ang="0">
                  <a:pos x="95" y="120"/>
                </a:cxn>
              </a:cxnLst>
              <a:rect l="0" t="0" r="r" b="b"/>
              <a:pathLst>
                <a:path w="255" h="144">
                  <a:moveTo>
                    <a:pt x="95" y="120"/>
                  </a:moveTo>
                  <a:lnTo>
                    <a:pt x="97" y="125"/>
                  </a:lnTo>
                  <a:lnTo>
                    <a:pt x="114" y="125"/>
                  </a:lnTo>
                  <a:lnTo>
                    <a:pt x="112" y="120"/>
                  </a:lnTo>
                  <a:lnTo>
                    <a:pt x="122" y="116"/>
                  </a:lnTo>
                  <a:lnTo>
                    <a:pt x="129" y="103"/>
                  </a:lnTo>
                  <a:lnTo>
                    <a:pt x="148" y="103"/>
                  </a:lnTo>
                  <a:lnTo>
                    <a:pt x="144" y="109"/>
                  </a:lnTo>
                  <a:lnTo>
                    <a:pt x="172" y="116"/>
                  </a:lnTo>
                  <a:lnTo>
                    <a:pt x="157" y="125"/>
                  </a:lnTo>
                  <a:lnTo>
                    <a:pt x="172" y="133"/>
                  </a:lnTo>
                  <a:lnTo>
                    <a:pt x="170" y="139"/>
                  </a:lnTo>
                  <a:lnTo>
                    <a:pt x="176" y="144"/>
                  </a:lnTo>
                  <a:lnTo>
                    <a:pt x="200" y="131"/>
                  </a:lnTo>
                  <a:lnTo>
                    <a:pt x="213" y="131"/>
                  </a:lnTo>
                  <a:lnTo>
                    <a:pt x="213" y="127"/>
                  </a:lnTo>
                  <a:lnTo>
                    <a:pt x="200" y="127"/>
                  </a:lnTo>
                  <a:lnTo>
                    <a:pt x="182" y="116"/>
                  </a:lnTo>
                  <a:lnTo>
                    <a:pt x="225" y="94"/>
                  </a:lnTo>
                  <a:lnTo>
                    <a:pt x="234" y="94"/>
                  </a:lnTo>
                  <a:lnTo>
                    <a:pt x="234" y="84"/>
                  </a:lnTo>
                  <a:lnTo>
                    <a:pt x="241" y="79"/>
                  </a:lnTo>
                  <a:lnTo>
                    <a:pt x="253" y="80"/>
                  </a:lnTo>
                  <a:lnTo>
                    <a:pt x="251" y="64"/>
                  </a:lnTo>
                  <a:lnTo>
                    <a:pt x="255" y="62"/>
                  </a:lnTo>
                  <a:lnTo>
                    <a:pt x="249" y="60"/>
                  </a:lnTo>
                  <a:lnTo>
                    <a:pt x="255" y="50"/>
                  </a:lnTo>
                  <a:lnTo>
                    <a:pt x="223" y="41"/>
                  </a:lnTo>
                  <a:lnTo>
                    <a:pt x="213" y="34"/>
                  </a:lnTo>
                  <a:lnTo>
                    <a:pt x="187" y="34"/>
                  </a:lnTo>
                  <a:lnTo>
                    <a:pt x="178" y="19"/>
                  </a:lnTo>
                  <a:lnTo>
                    <a:pt x="167" y="17"/>
                  </a:lnTo>
                  <a:lnTo>
                    <a:pt x="168" y="9"/>
                  </a:lnTo>
                  <a:lnTo>
                    <a:pt x="157" y="0"/>
                  </a:lnTo>
                  <a:lnTo>
                    <a:pt x="131" y="4"/>
                  </a:lnTo>
                  <a:lnTo>
                    <a:pt x="120" y="5"/>
                  </a:lnTo>
                  <a:lnTo>
                    <a:pt x="112" y="19"/>
                  </a:lnTo>
                  <a:lnTo>
                    <a:pt x="93" y="13"/>
                  </a:lnTo>
                  <a:lnTo>
                    <a:pt x="75" y="17"/>
                  </a:lnTo>
                  <a:lnTo>
                    <a:pt x="49" y="7"/>
                  </a:lnTo>
                  <a:lnTo>
                    <a:pt x="17" y="13"/>
                  </a:lnTo>
                  <a:lnTo>
                    <a:pt x="24" y="34"/>
                  </a:lnTo>
                  <a:lnTo>
                    <a:pt x="4" y="58"/>
                  </a:lnTo>
                  <a:lnTo>
                    <a:pt x="0" y="69"/>
                  </a:lnTo>
                  <a:lnTo>
                    <a:pt x="2" y="71"/>
                  </a:lnTo>
                  <a:lnTo>
                    <a:pt x="11" y="79"/>
                  </a:lnTo>
                  <a:lnTo>
                    <a:pt x="41" y="80"/>
                  </a:lnTo>
                  <a:lnTo>
                    <a:pt x="64" y="73"/>
                  </a:lnTo>
                  <a:lnTo>
                    <a:pt x="77" y="69"/>
                  </a:lnTo>
                  <a:lnTo>
                    <a:pt x="101" y="77"/>
                  </a:lnTo>
                  <a:lnTo>
                    <a:pt x="103" y="86"/>
                  </a:lnTo>
                  <a:lnTo>
                    <a:pt x="114" y="99"/>
                  </a:lnTo>
                  <a:lnTo>
                    <a:pt x="116" y="107"/>
                  </a:lnTo>
                  <a:lnTo>
                    <a:pt x="103" y="107"/>
                  </a:lnTo>
                  <a:lnTo>
                    <a:pt x="95" y="120"/>
                  </a:lnTo>
                  <a:lnTo>
                    <a:pt x="95" y="12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56" name="Freeform 5764"/>
            <p:cNvSpPr>
              <a:spLocks/>
            </p:cNvSpPr>
            <p:nvPr>
              <p:custDataLst>
                <p:tags r:id="rId134"/>
              </p:custDataLst>
            </p:nvPr>
          </p:nvSpPr>
          <p:spPr bwMode="gray">
            <a:xfrm>
              <a:off x="7913552" y="3388283"/>
              <a:ext cx="159103" cy="101480"/>
            </a:xfrm>
            <a:custGeom>
              <a:avLst/>
              <a:gdLst/>
              <a:ahLst/>
              <a:cxnLst>
                <a:cxn ang="0">
                  <a:pos x="21" y="73"/>
                </a:cxn>
                <a:cxn ang="0">
                  <a:pos x="38" y="71"/>
                </a:cxn>
                <a:cxn ang="0">
                  <a:pos x="41" y="62"/>
                </a:cxn>
                <a:cxn ang="0">
                  <a:pos x="51" y="64"/>
                </a:cxn>
                <a:cxn ang="0">
                  <a:pos x="58" y="47"/>
                </a:cxn>
                <a:cxn ang="0">
                  <a:pos x="71" y="56"/>
                </a:cxn>
                <a:cxn ang="0">
                  <a:pos x="77" y="79"/>
                </a:cxn>
                <a:cxn ang="0">
                  <a:pos x="101" y="66"/>
                </a:cxn>
                <a:cxn ang="0">
                  <a:pos x="124" y="69"/>
                </a:cxn>
                <a:cxn ang="0">
                  <a:pos x="118" y="49"/>
                </a:cxn>
                <a:cxn ang="0">
                  <a:pos x="105" y="47"/>
                </a:cxn>
                <a:cxn ang="0">
                  <a:pos x="99" y="41"/>
                </a:cxn>
                <a:cxn ang="0">
                  <a:pos x="99" y="28"/>
                </a:cxn>
                <a:cxn ang="0">
                  <a:pos x="75" y="32"/>
                </a:cxn>
                <a:cxn ang="0">
                  <a:pos x="60" y="26"/>
                </a:cxn>
                <a:cxn ang="0">
                  <a:pos x="30" y="26"/>
                </a:cxn>
                <a:cxn ang="0">
                  <a:pos x="26" y="19"/>
                </a:cxn>
                <a:cxn ang="0">
                  <a:pos x="45" y="19"/>
                </a:cxn>
                <a:cxn ang="0">
                  <a:pos x="51" y="15"/>
                </a:cxn>
                <a:cxn ang="0">
                  <a:pos x="45" y="15"/>
                </a:cxn>
                <a:cxn ang="0">
                  <a:pos x="39" y="0"/>
                </a:cxn>
                <a:cxn ang="0">
                  <a:pos x="24" y="6"/>
                </a:cxn>
                <a:cxn ang="0">
                  <a:pos x="26" y="15"/>
                </a:cxn>
                <a:cxn ang="0">
                  <a:pos x="19" y="19"/>
                </a:cxn>
                <a:cxn ang="0">
                  <a:pos x="17" y="26"/>
                </a:cxn>
                <a:cxn ang="0">
                  <a:pos x="2" y="26"/>
                </a:cxn>
                <a:cxn ang="0">
                  <a:pos x="0" y="32"/>
                </a:cxn>
                <a:cxn ang="0">
                  <a:pos x="13" y="38"/>
                </a:cxn>
                <a:cxn ang="0">
                  <a:pos x="21" y="53"/>
                </a:cxn>
                <a:cxn ang="0">
                  <a:pos x="15" y="73"/>
                </a:cxn>
                <a:cxn ang="0">
                  <a:pos x="21" y="73"/>
                </a:cxn>
                <a:cxn ang="0">
                  <a:pos x="21" y="73"/>
                </a:cxn>
              </a:cxnLst>
              <a:rect l="0" t="0" r="r" b="b"/>
              <a:pathLst>
                <a:path w="124" h="79">
                  <a:moveTo>
                    <a:pt x="21" y="73"/>
                  </a:moveTo>
                  <a:lnTo>
                    <a:pt x="38" y="71"/>
                  </a:lnTo>
                  <a:lnTo>
                    <a:pt x="41" y="62"/>
                  </a:lnTo>
                  <a:lnTo>
                    <a:pt x="51" y="64"/>
                  </a:lnTo>
                  <a:lnTo>
                    <a:pt x="58" y="47"/>
                  </a:lnTo>
                  <a:lnTo>
                    <a:pt x="71" y="56"/>
                  </a:lnTo>
                  <a:lnTo>
                    <a:pt x="77" y="79"/>
                  </a:lnTo>
                  <a:lnTo>
                    <a:pt x="101" y="66"/>
                  </a:lnTo>
                  <a:lnTo>
                    <a:pt x="124" y="69"/>
                  </a:lnTo>
                  <a:lnTo>
                    <a:pt x="118" y="49"/>
                  </a:lnTo>
                  <a:lnTo>
                    <a:pt x="105" y="47"/>
                  </a:lnTo>
                  <a:lnTo>
                    <a:pt x="99" y="41"/>
                  </a:lnTo>
                  <a:lnTo>
                    <a:pt x="99" y="28"/>
                  </a:lnTo>
                  <a:lnTo>
                    <a:pt x="75" y="32"/>
                  </a:lnTo>
                  <a:lnTo>
                    <a:pt x="60" y="26"/>
                  </a:lnTo>
                  <a:lnTo>
                    <a:pt x="30" y="26"/>
                  </a:lnTo>
                  <a:lnTo>
                    <a:pt x="26" y="19"/>
                  </a:lnTo>
                  <a:lnTo>
                    <a:pt x="45" y="19"/>
                  </a:lnTo>
                  <a:lnTo>
                    <a:pt x="51" y="15"/>
                  </a:lnTo>
                  <a:lnTo>
                    <a:pt x="45" y="15"/>
                  </a:lnTo>
                  <a:lnTo>
                    <a:pt x="39" y="0"/>
                  </a:lnTo>
                  <a:lnTo>
                    <a:pt x="24" y="6"/>
                  </a:lnTo>
                  <a:lnTo>
                    <a:pt x="26" y="15"/>
                  </a:lnTo>
                  <a:lnTo>
                    <a:pt x="19" y="19"/>
                  </a:lnTo>
                  <a:lnTo>
                    <a:pt x="17" y="26"/>
                  </a:lnTo>
                  <a:lnTo>
                    <a:pt x="2" y="26"/>
                  </a:lnTo>
                  <a:lnTo>
                    <a:pt x="0" y="32"/>
                  </a:lnTo>
                  <a:lnTo>
                    <a:pt x="13" y="38"/>
                  </a:lnTo>
                  <a:lnTo>
                    <a:pt x="21" y="53"/>
                  </a:lnTo>
                  <a:lnTo>
                    <a:pt x="15" y="73"/>
                  </a:lnTo>
                  <a:lnTo>
                    <a:pt x="21" y="73"/>
                  </a:lnTo>
                  <a:lnTo>
                    <a:pt x="21" y="7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57" name="Freeform 5765"/>
            <p:cNvSpPr>
              <a:spLocks/>
            </p:cNvSpPr>
            <p:nvPr>
              <p:custDataLst>
                <p:tags r:id="rId135"/>
              </p:custDataLst>
            </p:nvPr>
          </p:nvSpPr>
          <p:spPr bwMode="gray">
            <a:xfrm>
              <a:off x="7946913" y="3338185"/>
              <a:ext cx="195030" cy="91204"/>
            </a:xfrm>
            <a:custGeom>
              <a:avLst/>
              <a:gdLst/>
              <a:ahLst/>
              <a:cxnLst>
                <a:cxn ang="0">
                  <a:pos x="25" y="54"/>
                </a:cxn>
                <a:cxn ang="0">
                  <a:pos x="19" y="58"/>
                </a:cxn>
                <a:cxn ang="0">
                  <a:pos x="0" y="58"/>
                </a:cxn>
                <a:cxn ang="0">
                  <a:pos x="4" y="65"/>
                </a:cxn>
                <a:cxn ang="0">
                  <a:pos x="34" y="65"/>
                </a:cxn>
                <a:cxn ang="0">
                  <a:pos x="49" y="71"/>
                </a:cxn>
                <a:cxn ang="0">
                  <a:pos x="73" y="67"/>
                </a:cxn>
                <a:cxn ang="0">
                  <a:pos x="73" y="58"/>
                </a:cxn>
                <a:cxn ang="0">
                  <a:pos x="83" y="48"/>
                </a:cxn>
                <a:cxn ang="0">
                  <a:pos x="109" y="48"/>
                </a:cxn>
                <a:cxn ang="0">
                  <a:pos x="111" y="41"/>
                </a:cxn>
                <a:cxn ang="0">
                  <a:pos x="128" y="39"/>
                </a:cxn>
                <a:cxn ang="0">
                  <a:pos x="152" y="22"/>
                </a:cxn>
                <a:cxn ang="0">
                  <a:pos x="152" y="17"/>
                </a:cxn>
                <a:cxn ang="0">
                  <a:pos x="135" y="7"/>
                </a:cxn>
                <a:cxn ang="0">
                  <a:pos x="77" y="5"/>
                </a:cxn>
                <a:cxn ang="0">
                  <a:pos x="57" y="0"/>
                </a:cxn>
                <a:cxn ang="0">
                  <a:pos x="49" y="3"/>
                </a:cxn>
                <a:cxn ang="0">
                  <a:pos x="49" y="13"/>
                </a:cxn>
                <a:cxn ang="0">
                  <a:pos x="15" y="9"/>
                </a:cxn>
                <a:cxn ang="0">
                  <a:pos x="13" y="15"/>
                </a:cxn>
                <a:cxn ang="0">
                  <a:pos x="19" y="18"/>
                </a:cxn>
                <a:cxn ang="0">
                  <a:pos x="8" y="32"/>
                </a:cxn>
                <a:cxn ang="0">
                  <a:pos x="27" y="37"/>
                </a:cxn>
                <a:cxn ang="0">
                  <a:pos x="28" y="30"/>
                </a:cxn>
                <a:cxn ang="0">
                  <a:pos x="55" y="43"/>
                </a:cxn>
                <a:cxn ang="0">
                  <a:pos x="40" y="52"/>
                </a:cxn>
                <a:cxn ang="0">
                  <a:pos x="25" y="54"/>
                </a:cxn>
                <a:cxn ang="0">
                  <a:pos x="25" y="54"/>
                </a:cxn>
              </a:cxnLst>
              <a:rect l="0" t="0" r="r" b="b"/>
              <a:pathLst>
                <a:path w="152" h="71">
                  <a:moveTo>
                    <a:pt x="25" y="54"/>
                  </a:moveTo>
                  <a:lnTo>
                    <a:pt x="19" y="58"/>
                  </a:lnTo>
                  <a:lnTo>
                    <a:pt x="0" y="58"/>
                  </a:lnTo>
                  <a:lnTo>
                    <a:pt x="4" y="65"/>
                  </a:lnTo>
                  <a:lnTo>
                    <a:pt x="34" y="65"/>
                  </a:lnTo>
                  <a:lnTo>
                    <a:pt x="49" y="71"/>
                  </a:lnTo>
                  <a:lnTo>
                    <a:pt x="73" y="67"/>
                  </a:lnTo>
                  <a:lnTo>
                    <a:pt x="73" y="58"/>
                  </a:lnTo>
                  <a:lnTo>
                    <a:pt x="83" y="48"/>
                  </a:lnTo>
                  <a:lnTo>
                    <a:pt x="109" y="48"/>
                  </a:lnTo>
                  <a:lnTo>
                    <a:pt x="111" y="41"/>
                  </a:lnTo>
                  <a:lnTo>
                    <a:pt x="128" y="39"/>
                  </a:lnTo>
                  <a:lnTo>
                    <a:pt x="152" y="22"/>
                  </a:lnTo>
                  <a:lnTo>
                    <a:pt x="152" y="17"/>
                  </a:lnTo>
                  <a:lnTo>
                    <a:pt x="135" y="7"/>
                  </a:lnTo>
                  <a:lnTo>
                    <a:pt x="77" y="5"/>
                  </a:lnTo>
                  <a:lnTo>
                    <a:pt x="57" y="0"/>
                  </a:lnTo>
                  <a:lnTo>
                    <a:pt x="49" y="3"/>
                  </a:lnTo>
                  <a:lnTo>
                    <a:pt x="49" y="13"/>
                  </a:lnTo>
                  <a:lnTo>
                    <a:pt x="15" y="9"/>
                  </a:lnTo>
                  <a:lnTo>
                    <a:pt x="13" y="15"/>
                  </a:lnTo>
                  <a:lnTo>
                    <a:pt x="19" y="18"/>
                  </a:lnTo>
                  <a:lnTo>
                    <a:pt x="8" y="32"/>
                  </a:lnTo>
                  <a:lnTo>
                    <a:pt x="27" y="37"/>
                  </a:lnTo>
                  <a:lnTo>
                    <a:pt x="28" y="30"/>
                  </a:lnTo>
                  <a:lnTo>
                    <a:pt x="55" y="43"/>
                  </a:lnTo>
                  <a:lnTo>
                    <a:pt x="40" y="52"/>
                  </a:lnTo>
                  <a:lnTo>
                    <a:pt x="25" y="54"/>
                  </a:lnTo>
                  <a:lnTo>
                    <a:pt x="25" y="5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58" name="Freeform 5766"/>
            <p:cNvSpPr>
              <a:spLocks/>
            </p:cNvSpPr>
            <p:nvPr>
              <p:custDataLst>
                <p:tags r:id="rId136"/>
              </p:custDataLst>
            </p:nvPr>
          </p:nvSpPr>
          <p:spPr bwMode="gray">
            <a:xfrm>
              <a:off x="7615875" y="3347177"/>
              <a:ext cx="292545" cy="170846"/>
            </a:xfrm>
            <a:custGeom>
              <a:avLst/>
              <a:gdLst/>
              <a:ahLst/>
              <a:cxnLst>
                <a:cxn ang="0">
                  <a:pos x="56" y="28"/>
                </a:cxn>
                <a:cxn ang="0">
                  <a:pos x="69" y="28"/>
                </a:cxn>
                <a:cxn ang="0">
                  <a:pos x="67" y="15"/>
                </a:cxn>
                <a:cxn ang="0">
                  <a:pos x="80" y="6"/>
                </a:cxn>
                <a:cxn ang="0">
                  <a:pos x="82" y="4"/>
                </a:cxn>
                <a:cxn ang="0">
                  <a:pos x="88" y="0"/>
                </a:cxn>
                <a:cxn ang="0">
                  <a:pos x="110" y="10"/>
                </a:cxn>
                <a:cxn ang="0">
                  <a:pos x="116" y="26"/>
                </a:cxn>
                <a:cxn ang="0">
                  <a:pos x="144" y="30"/>
                </a:cxn>
                <a:cxn ang="0">
                  <a:pos x="159" y="55"/>
                </a:cxn>
                <a:cxn ang="0">
                  <a:pos x="210" y="83"/>
                </a:cxn>
                <a:cxn ang="0">
                  <a:pos x="225" y="86"/>
                </a:cxn>
                <a:cxn ang="0">
                  <a:pos x="228" y="100"/>
                </a:cxn>
                <a:cxn ang="0">
                  <a:pos x="215" y="96"/>
                </a:cxn>
                <a:cxn ang="0">
                  <a:pos x="213" y="101"/>
                </a:cxn>
                <a:cxn ang="0">
                  <a:pos x="206" y="101"/>
                </a:cxn>
                <a:cxn ang="0">
                  <a:pos x="202" y="118"/>
                </a:cxn>
                <a:cxn ang="0">
                  <a:pos x="185" y="128"/>
                </a:cxn>
                <a:cxn ang="0">
                  <a:pos x="178" y="133"/>
                </a:cxn>
                <a:cxn ang="0">
                  <a:pos x="155" y="128"/>
                </a:cxn>
                <a:cxn ang="0">
                  <a:pos x="155" y="128"/>
                </a:cxn>
                <a:cxn ang="0">
                  <a:pos x="153" y="116"/>
                </a:cxn>
                <a:cxn ang="0">
                  <a:pos x="82" y="83"/>
                </a:cxn>
                <a:cxn ang="0">
                  <a:pos x="58" y="85"/>
                </a:cxn>
                <a:cxn ang="0">
                  <a:pos x="37" y="98"/>
                </a:cxn>
                <a:cxn ang="0">
                  <a:pos x="34" y="68"/>
                </a:cxn>
                <a:cxn ang="0">
                  <a:pos x="28" y="66"/>
                </a:cxn>
                <a:cxn ang="0">
                  <a:pos x="22" y="51"/>
                </a:cxn>
                <a:cxn ang="0">
                  <a:pos x="11" y="51"/>
                </a:cxn>
                <a:cxn ang="0">
                  <a:pos x="9" y="45"/>
                </a:cxn>
                <a:cxn ang="0">
                  <a:pos x="11" y="36"/>
                </a:cxn>
                <a:cxn ang="0">
                  <a:pos x="32" y="40"/>
                </a:cxn>
                <a:cxn ang="0">
                  <a:pos x="39" y="32"/>
                </a:cxn>
                <a:cxn ang="0">
                  <a:pos x="19" y="13"/>
                </a:cxn>
                <a:cxn ang="0">
                  <a:pos x="9" y="15"/>
                </a:cxn>
                <a:cxn ang="0">
                  <a:pos x="7" y="28"/>
                </a:cxn>
                <a:cxn ang="0">
                  <a:pos x="0" y="15"/>
                </a:cxn>
                <a:cxn ang="0">
                  <a:pos x="9" y="10"/>
                </a:cxn>
                <a:cxn ang="0">
                  <a:pos x="22" y="8"/>
                </a:cxn>
                <a:cxn ang="0">
                  <a:pos x="47" y="28"/>
                </a:cxn>
                <a:cxn ang="0">
                  <a:pos x="56" y="28"/>
                </a:cxn>
                <a:cxn ang="0">
                  <a:pos x="56" y="28"/>
                </a:cxn>
              </a:cxnLst>
              <a:rect l="0" t="0" r="r" b="b"/>
              <a:pathLst>
                <a:path w="228" h="133">
                  <a:moveTo>
                    <a:pt x="56" y="28"/>
                  </a:moveTo>
                  <a:lnTo>
                    <a:pt x="69" y="28"/>
                  </a:lnTo>
                  <a:lnTo>
                    <a:pt x="67" y="15"/>
                  </a:lnTo>
                  <a:lnTo>
                    <a:pt x="80" y="6"/>
                  </a:lnTo>
                  <a:lnTo>
                    <a:pt x="82" y="4"/>
                  </a:lnTo>
                  <a:lnTo>
                    <a:pt x="88" y="0"/>
                  </a:lnTo>
                  <a:lnTo>
                    <a:pt x="110" y="10"/>
                  </a:lnTo>
                  <a:lnTo>
                    <a:pt x="116" y="26"/>
                  </a:lnTo>
                  <a:lnTo>
                    <a:pt x="144" y="30"/>
                  </a:lnTo>
                  <a:lnTo>
                    <a:pt x="159" y="55"/>
                  </a:lnTo>
                  <a:lnTo>
                    <a:pt x="210" y="83"/>
                  </a:lnTo>
                  <a:lnTo>
                    <a:pt x="225" y="86"/>
                  </a:lnTo>
                  <a:lnTo>
                    <a:pt x="228" y="100"/>
                  </a:lnTo>
                  <a:lnTo>
                    <a:pt x="215" y="96"/>
                  </a:lnTo>
                  <a:lnTo>
                    <a:pt x="213" y="101"/>
                  </a:lnTo>
                  <a:lnTo>
                    <a:pt x="206" y="101"/>
                  </a:lnTo>
                  <a:lnTo>
                    <a:pt x="202" y="118"/>
                  </a:lnTo>
                  <a:lnTo>
                    <a:pt x="185" y="128"/>
                  </a:lnTo>
                  <a:lnTo>
                    <a:pt x="178" y="133"/>
                  </a:lnTo>
                  <a:lnTo>
                    <a:pt x="155" y="128"/>
                  </a:lnTo>
                  <a:lnTo>
                    <a:pt x="155" y="128"/>
                  </a:lnTo>
                  <a:lnTo>
                    <a:pt x="153" y="116"/>
                  </a:lnTo>
                  <a:lnTo>
                    <a:pt x="82" y="83"/>
                  </a:lnTo>
                  <a:lnTo>
                    <a:pt x="58" y="85"/>
                  </a:lnTo>
                  <a:lnTo>
                    <a:pt x="37" y="98"/>
                  </a:lnTo>
                  <a:lnTo>
                    <a:pt x="34" y="68"/>
                  </a:lnTo>
                  <a:lnTo>
                    <a:pt x="28" y="66"/>
                  </a:lnTo>
                  <a:lnTo>
                    <a:pt x="22" y="51"/>
                  </a:lnTo>
                  <a:lnTo>
                    <a:pt x="11" y="51"/>
                  </a:lnTo>
                  <a:lnTo>
                    <a:pt x="9" y="45"/>
                  </a:lnTo>
                  <a:lnTo>
                    <a:pt x="11" y="36"/>
                  </a:lnTo>
                  <a:lnTo>
                    <a:pt x="32" y="40"/>
                  </a:lnTo>
                  <a:lnTo>
                    <a:pt x="39" y="32"/>
                  </a:lnTo>
                  <a:lnTo>
                    <a:pt x="19" y="13"/>
                  </a:lnTo>
                  <a:lnTo>
                    <a:pt x="9" y="15"/>
                  </a:lnTo>
                  <a:lnTo>
                    <a:pt x="7" y="28"/>
                  </a:lnTo>
                  <a:lnTo>
                    <a:pt x="0" y="15"/>
                  </a:lnTo>
                  <a:lnTo>
                    <a:pt x="9" y="10"/>
                  </a:lnTo>
                  <a:lnTo>
                    <a:pt x="22" y="8"/>
                  </a:lnTo>
                  <a:lnTo>
                    <a:pt x="47" y="28"/>
                  </a:lnTo>
                  <a:lnTo>
                    <a:pt x="56" y="28"/>
                  </a:lnTo>
                  <a:lnTo>
                    <a:pt x="56" y="2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59" name="Freeform 5767"/>
            <p:cNvSpPr>
              <a:spLocks/>
            </p:cNvSpPr>
            <p:nvPr>
              <p:custDataLst>
                <p:tags r:id="rId137"/>
              </p:custDataLst>
            </p:nvPr>
          </p:nvSpPr>
          <p:spPr bwMode="gray">
            <a:xfrm>
              <a:off x="7046182" y="3038883"/>
              <a:ext cx="162953" cy="111757"/>
            </a:xfrm>
            <a:custGeom>
              <a:avLst/>
              <a:gdLst/>
              <a:ahLst/>
              <a:cxnLst>
                <a:cxn ang="0">
                  <a:pos x="6" y="59"/>
                </a:cxn>
                <a:cxn ang="0">
                  <a:pos x="0" y="72"/>
                </a:cxn>
                <a:cxn ang="0">
                  <a:pos x="4" y="81"/>
                </a:cxn>
                <a:cxn ang="0">
                  <a:pos x="36" y="75"/>
                </a:cxn>
                <a:cxn ang="0">
                  <a:pos x="62" y="85"/>
                </a:cxn>
                <a:cxn ang="0">
                  <a:pos x="80" y="81"/>
                </a:cxn>
                <a:cxn ang="0">
                  <a:pos x="99" y="87"/>
                </a:cxn>
                <a:cxn ang="0">
                  <a:pos x="107" y="73"/>
                </a:cxn>
                <a:cxn ang="0">
                  <a:pos x="118" y="72"/>
                </a:cxn>
                <a:cxn ang="0">
                  <a:pos x="109" y="55"/>
                </a:cxn>
                <a:cxn ang="0">
                  <a:pos x="122" y="55"/>
                </a:cxn>
                <a:cxn ang="0">
                  <a:pos x="127" y="47"/>
                </a:cxn>
                <a:cxn ang="0">
                  <a:pos x="114" y="42"/>
                </a:cxn>
                <a:cxn ang="0">
                  <a:pos x="99" y="25"/>
                </a:cxn>
                <a:cxn ang="0">
                  <a:pos x="97" y="12"/>
                </a:cxn>
                <a:cxn ang="0">
                  <a:pos x="60" y="0"/>
                </a:cxn>
                <a:cxn ang="0">
                  <a:pos x="41" y="10"/>
                </a:cxn>
                <a:cxn ang="0">
                  <a:pos x="41" y="19"/>
                </a:cxn>
                <a:cxn ang="0">
                  <a:pos x="30" y="23"/>
                </a:cxn>
                <a:cxn ang="0">
                  <a:pos x="30" y="36"/>
                </a:cxn>
                <a:cxn ang="0">
                  <a:pos x="0" y="38"/>
                </a:cxn>
                <a:cxn ang="0">
                  <a:pos x="6" y="59"/>
                </a:cxn>
                <a:cxn ang="0">
                  <a:pos x="6" y="59"/>
                </a:cxn>
              </a:cxnLst>
              <a:rect l="0" t="0" r="r" b="b"/>
              <a:pathLst>
                <a:path w="127" h="87">
                  <a:moveTo>
                    <a:pt x="6" y="59"/>
                  </a:moveTo>
                  <a:lnTo>
                    <a:pt x="0" y="72"/>
                  </a:lnTo>
                  <a:lnTo>
                    <a:pt x="4" y="81"/>
                  </a:lnTo>
                  <a:lnTo>
                    <a:pt x="36" y="75"/>
                  </a:lnTo>
                  <a:lnTo>
                    <a:pt x="62" y="85"/>
                  </a:lnTo>
                  <a:lnTo>
                    <a:pt x="80" y="81"/>
                  </a:lnTo>
                  <a:lnTo>
                    <a:pt x="99" y="87"/>
                  </a:lnTo>
                  <a:lnTo>
                    <a:pt x="107" y="73"/>
                  </a:lnTo>
                  <a:lnTo>
                    <a:pt x="118" y="72"/>
                  </a:lnTo>
                  <a:lnTo>
                    <a:pt x="109" y="55"/>
                  </a:lnTo>
                  <a:lnTo>
                    <a:pt x="122" y="55"/>
                  </a:lnTo>
                  <a:lnTo>
                    <a:pt x="127" y="47"/>
                  </a:lnTo>
                  <a:lnTo>
                    <a:pt x="114" y="42"/>
                  </a:lnTo>
                  <a:lnTo>
                    <a:pt x="99" y="25"/>
                  </a:lnTo>
                  <a:lnTo>
                    <a:pt x="97" y="12"/>
                  </a:lnTo>
                  <a:lnTo>
                    <a:pt x="60" y="0"/>
                  </a:lnTo>
                  <a:lnTo>
                    <a:pt x="41" y="10"/>
                  </a:lnTo>
                  <a:lnTo>
                    <a:pt x="41" y="19"/>
                  </a:lnTo>
                  <a:lnTo>
                    <a:pt x="30" y="23"/>
                  </a:lnTo>
                  <a:lnTo>
                    <a:pt x="30" y="36"/>
                  </a:lnTo>
                  <a:lnTo>
                    <a:pt x="0" y="38"/>
                  </a:lnTo>
                  <a:lnTo>
                    <a:pt x="6" y="59"/>
                  </a:lnTo>
                  <a:lnTo>
                    <a:pt x="6" y="5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60" name="Freeform 5768"/>
            <p:cNvSpPr>
              <a:spLocks/>
            </p:cNvSpPr>
            <p:nvPr>
              <p:custDataLst>
                <p:tags r:id="rId138"/>
              </p:custDataLst>
            </p:nvPr>
          </p:nvSpPr>
          <p:spPr bwMode="gray">
            <a:xfrm>
              <a:off x="7035917" y="2964378"/>
              <a:ext cx="75702" cy="43675"/>
            </a:xfrm>
            <a:custGeom>
              <a:avLst/>
              <a:gdLst/>
              <a:ahLst/>
              <a:cxnLst>
                <a:cxn ang="0">
                  <a:pos x="14" y="30"/>
                </a:cxn>
                <a:cxn ang="0">
                  <a:pos x="14" y="23"/>
                </a:cxn>
                <a:cxn ang="0">
                  <a:pos x="6" y="23"/>
                </a:cxn>
                <a:cxn ang="0">
                  <a:pos x="0" y="8"/>
                </a:cxn>
                <a:cxn ang="0">
                  <a:pos x="32" y="0"/>
                </a:cxn>
                <a:cxn ang="0">
                  <a:pos x="59" y="4"/>
                </a:cxn>
                <a:cxn ang="0">
                  <a:pos x="57" y="10"/>
                </a:cxn>
                <a:cxn ang="0">
                  <a:pos x="45" y="13"/>
                </a:cxn>
                <a:cxn ang="0">
                  <a:pos x="57" y="27"/>
                </a:cxn>
                <a:cxn ang="0">
                  <a:pos x="55" y="34"/>
                </a:cxn>
                <a:cxn ang="0">
                  <a:pos x="25" y="27"/>
                </a:cxn>
                <a:cxn ang="0">
                  <a:pos x="14" y="30"/>
                </a:cxn>
                <a:cxn ang="0">
                  <a:pos x="14" y="30"/>
                </a:cxn>
              </a:cxnLst>
              <a:rect l="0" t="0" r="r" b="b"/>
              <a:pathLst>
                <a:path w="59" h="34">
                  <a:moveTo>
                    <a:pt x="14" y="30"/>
                  </a:moveTo>
                  <a:lnTo>
                    <a:pt x="14" y="23"/>
                  </a:lnTo>
                  <a:lnTo>
                    <a:pt x="6" y="23"/>
                  </a:lnTo>
                  <a:lnTo>
                    <a:pt x="0" y="8"/>
                  </a:lnTo>
                  <a:lnTo>
                    <a:pt x="32" y="0"/>
                  </a:lnTo>
                  <a:lnTo>
                    <a:pt x="59" y="4"/>
                  </a:lnTo>
                  <a:lnTo>
                    <a:pt x="57" y="10"/>
                  </a:lnTo>
                  <a:lnTo>
                    <a:pt x="45" y="13"/>
                  </a:lnTo>
                  <a:lnTo>
                    <a:pt x="57" y="27"/>
                  </a:lnTo>
                  <a:lnTo>
                    <a:pt x="55" y="34"/>
                  </a:lnTo>
                  <a:lnTo>
                    <a:pt x="25" y="27"/>
                  </a:lnTo>
                  <a:lnTo>
                    <a:pt x="14" y="30"/>
                  </a:lnTo>
                  <a:lnTo>
                    <a:pt x="14" y="3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61" name="Freeform 5769"/>
            <p:cNvSpPr>
              <a:spLocks/>
            </p:cNvSpPr>
            <p:nvPr>
              <p:custDataLst>
                <p:tags r:id="rId139"/>
              </p:custDataLst>
            </p:nvPr>
          </p:nvSpPr>
          <p:spPr bwMode="gray">
            <a:xfrm>
              <a:off x="6997424" y="2999061"/>
              <a:ext cx="125743" cy="52667"/>
            </a:xfrm>
            <a:custGeom>
              <a:avLst/>
              <a:gdLst/>
              <a:ahLst/>
              <a:cxnLst>
                <a:cxn ang="0">
                  <a:pos x="0" y="33"/>
                </a:cxn>
                <a:cxn ang="0">
                  <a:pos x="2" y="22"/>
                </a:cxn>
                <a:cxn ang="0">
                  <a:pos x="10" y="9"/>
                </a:cxn>
                <a:cxn ang="0">
                  <a:pos x="19" y="7"/>
                </a:cxn>
                <a:cxn ang="0">
                  <a:pos x="38" y="18"/>
                </a:cxn>
                <a:cxn ang="0">
                  <a:pos x="45" y="15"/>
                </a:cxn>
                <a:cxn ang="0">
                  <a:pos x="44" y="3"/>
                </a:cxn>
                <a:cxn ang="0">
                  <a:pos x="55" y="0"/>
                </a:cxn>
                <a:cxn ang="0">
                  <a:pos x="85" y="7"/>
                </a:cxn>
                <a:cxn ang="0">
                  <a:pos x="98" y="31"/>
                </a:cxn>
                <a:cxn ang="0">
                  <a:pos x="79" y="41"/>
                </a:cxn>
                <a:cxn ang="0">
                  <a:pos x="53" y="28"/>
                </a:cxn>
                <a:cxn ang="0">
                  <a:pos x="15" y="28"/>
                </a:cxn>
                <a:cxn ang="0">
                  <a:pos x="0" y="33"/>
                </a:cxn>
                <a:cxn ang="0">
                  <a:pos x="0" y="33"/>
                </a:cxn>
                <a:cxn ang="0">
                  <a:pos x="0" y="33"/>
                </a:cxn>
              </a:cxnLst>
              <a:rect l="0" t="0" r="r" b="b"/>
              <a:pathLst>
                <a:path w="98" h="41">
                  <a:moveTo>
                    <a:pt x="0" y="33"/>
                  </a:moveTo>
                  <a:lnTo>
                    <a:pt x="2" y="22"/>
                  </a:lnTo>
                  <a:lnTo>
                    <a:pt x="10" y="9"/>
                  </a:lnTo>
                  <a:lnTo>
                    <a:pt x="19" y="7"/>
                  </a:lnTo>
                  <a:lnTo>
                    <a:pt x="38" y="18"/>
                  </a:lnTo>
                  <a:lnTo>
                    <a:pt x="45" y="15"/>
                  </a:lnTo>
                  <a:lnTo>
                    <a:pt x="44" y="3"/>
                  </a:lnTo>
                  <a:lnTo>
                    <a:pt x="55" y="0"/>
                  </a:lnTo>
                  <a:lnTo>
                    <a:pt x="85" y="7"/>
                  </a:lnTo>
                  <a:lnTo>
                    <a:pt x="98" y="31"/>
                  </a:lnTo>
                  <a:lnTo>
                    <a:pt x="79" y="41"/>
                  </a:lnTo>
                  <a:lnTo>
                    <a:pt x="53" y="28"/>
                  </a:lnTo>
                  <a:lnTo>
                    <a:pt x="15" y="28"/>
                  </a:lnTo>
                  <a:lnTo>
                    <a:pt x="0" y="33"/>
                  </a:lnTo>
                  <a:lnTo>
                    <a:pt x="0" y="33"/>
                  </a:lnTo>
                  <a:lnTo>
                    <a:pt x="0" y="3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62" name="Freeform 5770"/>
            <p:cNvSpPr>
              <a:spLocks/>
            </p:cNvSpPr>
            <p:nvPr>
              <p:custDataLst>
                <p:tags r:id="rId140"/>
              </p:custDataLst>
            </p:nvPr>
          </p:nvSpPr>
          <p:spPr bwMode="gray">
            <a:xfrm>
              <a:off x="6997424" y="3035029"/>
              <a:ext cx="101364" cy="52667"/>
            </a:xfrm>
            <a:custGeom>
              <a:avLst/>
              <a:gdLst/>
              <a:ahLst/>
              <a:cxnLst>
                <a:cxn ang="0">
                  <a:pos x="38" y="41"/>
                </a:cxn>
                <a:cxn ang="0">
                  <a:pos x="29" y="35"/>
                </a:cxn>
                <a:cxn ang="0">
                  <a:pos x="25" y="24"/>
                </a:cxn>
                <a:cxn ang="0">
                  <a:pos x="0" y="22"/>
                </a:cxn>
                <a:cxn ang="0">
                  <a:pos x="0" y="5"/>
                </a:cxn>
                <a:cxn ang="0">
                  <a:pos x="0" y="5"/>
                </a:cxn>
                <a:cxn ang="0">
                  <a:pos x="15" y="0"/>
                </a:cxn>
                <a:cxn ang="0">
                  <a:pos x="53" y="0"/>
                </a:cxn>
                <a:cxn ang="0">
                  <a:pos x="79" y="13"/>
                </a:cxn>
                <a:cxn ang="0">
                  <a:pos x="79" y="22"/>
                </a:cxn>
                <a:cxn ang="0">
                  <a:pos x="68" y="26"/>
                </a:cxn>
                <a:cxn ang="0">
                  <a:pos x="68" y="39"/>
                </a:cxn>
                <a:cxn ang="0">
                  <a:pos x="38" y="41"/>
                </a:cxn>
                <a:cxn ang="0">
                  <a:pos x="38" y="41"/>
                </a:cxn>
              </a:cxnLst>
              <a:rect l="0" t="0" r="r" b="b"/>
              <a:pathLst>
                <a:path w="79" h="41">
                  <a:moveTo>
                    <a:pt x="38" y="41"/>
                  </a:moveTo>
                  <a:lnTo>
                    <a:pt x="29" y="35"/>
                  </a:lnTo>
                  <a:lnTo>
                    <a:pt x="25" y="24"/>
                  </a:lnTo>
                  <a:lnTo>
                    <a:pt x="0" y="22"/>
                  </a:lnTo>
                  <a:lnTo>
                    <a:pt x="0" y="5"/>
                  </a:lnTo>
                  <a:lnTo>
                    <a:pt x="0" y="5"/>
                  </a:lnTo>
                  <a:lnTo>
                    <a:pt x="15" y="0"/>
                  </a:lnTo>
                  <a:lnTo>
                    <a:pt x="53" y="0"/>
                  </a:lnTo>
                  <a:lnTo>
                    <a:pt x="79" y="13"/>
                  </a:lnTo>
                  <a:lnTo>
                    <a:pt x="79" y="22"/>
                  </a:lnTo>
                  <a:lnTo>
                    <a:pt x="68" y="26"/>
                  </a:lnTo>
                  <a:lnTo>
                    <a:pt x="68" y="39"/>
                  </a:lnTo>
                  <a:lnTo>
                    <a:pt x="38" y="41"/>
                  </a:lnTo>
                  <a:lnTo>
                    <a:pt x="38" y="4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63" name="Freeform 5771"/>
            <p:cNvSpPr>
              <a:spLocks/>
            </p:cNvSpPr>
            <p:nvPr>
              <p:custDataLst>
                <p:tags r:id="rId141"/>
              </p:custDataLst>
            </p:nvPr>
          </p:nvSpPr>
          <p:spPr bwMode="gray">
            <a:xfrm>
              <a:off x="6976895" y="3063289"/>
              <a:ext cx="57739" cy="16699"/>
            </a:xfrm>
            <a:custGeom>
              <a:avLst/>
              <a:gdLst/>
              <a:ahLst/>
              <a:cxnLst>
                <a:cxn ang="0">
                  <a:pos x="0" y="11"/>
                </a:cxn>
                <a:cxn ang="0">
                  <a:pos x="45" y="13"/>
                </a:cxn>
                <a:cxn ang="0">
                  <a:pos x="41" y="2"/>
                </a:cxn>
                <a:cxn ang="0">
                  <a:pos x="16" y="0"/>
                </a:cxn>
                <a:cxn ang="0">
                  <a:pos x="0" y="11"/>
                </a:cxn>
                <a:cxn ang="0">
                  <a:pos x="0" y="11"/>
                </a:cxn>
              </a:cxnLst>
              <a:rect l="0" t="0" r="r" b="b"/>
              <a:pathLst>
                <a:path w="45" h="13">
                  <a:moveTo>
                    <a:pt x="0" y="11"/>
                  </a:moveTo>
                  <a:lnTo>
                    <a:pt x="45" y="13"/>
                  </a:lnTo>
                  <a:lnTo>
                    <a:pt x="41" y="2"/>
                  </a:lnTo>
                  <a:lnTo>
                    <a:pt x="16" y="0"/>
                  </a:lnTo>
                  <a:lnTo>
                    <a:pt x="0" y="11"/>
                  </a:lnTo>
                  <a:lnTo>
                    <a:pt x="0" y="1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64" name="Freeform 5772"/>
            <p:cNvSpPr>
              <a:spLocks/>
            </p:cNvSpPr>
            <p:nvPr>
              <p:custDataLst>
                <p:tags r:id="rId142"/>
              </p:custDataLst>
            </p:nvPr>
          </p:nvSpPr>
          <p:spPr bwMode="gray">
            <a:xfrm>
              <a:off x="7111619" y="3214867"/>
              <a:ext cx="66721" cy="65513"/>
            </a:xfrm>
            <a:custGeom>
              <a:avLst/>
              <a:gdLst/>
              <a:ahLst/>
              <a:cxnLst>
                <a:cxn ang="0">
                  <a:pos x="31" y="51"/>
                </a:cxn>
                <a:cxn ang="0">
                  <a:pos x="24" y="30"/>
                </a:cxn>
                <a:cxn ang="0">
                  <a:pos x="7" y="6"/>
                </a:cxn>
                <a:cxn ang="0">
                  <a:pos x="0" y="4"/>
                </a:cxn>
                <a:cxn ang="0">
                  <a:pos x="13" y="0"/>
                </a:cxn>
                <a:cxn ang="0">
                  <a:pos x="37" y="8"/>
                </a:cxn>
                <a:cxn ang="0">
                  <a:pos x="39" y="17"/>
                </a:cxn>
                <a:cxn ang="0">
                  <a:pos x="50" y="30"/>
                </a:cxn>
                <a:cxn ang="0">
                  <a:pos x="52" y="38"/>
                </a:cxn>
                <a:cxn ang="0">
                  <a:pos x="39" y="38"/>
                </a:cxn>
                <a:cxn ang="0">
                  <a:pos x="31" y="51"/>
                </a:cxn>
                <a:cxn ang="0">
                  <a:pos x="31" y="51"/>
                </a:cxn>
              </a:cxnLst>
              <a:rect l="0" t="0" r="r" b="b"/>
              <a:pathLst>
                <a:path w="52" h="51">
                  <a:moveTo>
                    <a:pt x="31" y="51"/>
                  </a:moveTo>
                  <a:lnTo>
                    <a:pt x="24" y="30"/>
                  </a:lnTo>
                  <a:lnTo>
                    <a:pt x="7" y="6"/>
                  </a:lnTo>
                  <a:lnTo>
                    <a:pt x="0" y="4"/>
                  </a:lnTo>
                  <a:lnTo>
                    <a:pt x="13" y="0"/>
                  </a:lnTo>
                  <a:lnTo>
                    <a:pt x="37" y="8"/>
                  </a:lnTo>
                  <a:lnTo>
                    <a:pt x="39" y="17"/>
                  </a:lnTo>
                  <a:lnTo>
                    <a:pt x="50" y="30"/>
                  </a:lnTo>
                  <a:lnTo>
                    <a:pt x="52" y="38"/>
                  </a:lnTo>
                  <a:lnTo>
                    <a:pt x="39" y="38"/>
                  </a:lnTo>
                  <a:lnTo>
                    <a:pt x="31" y="51"/>
                  </a:lnTo>
                  <a:lnTo>
                    <a:pt x="31" y="5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65" name="Freeform 5773"/>
            <p:cNvSpPr>
              <a:spLocks/>
            </p:cNvSpPr>
            <p:nvPr>
              <p:custDataLst>
                <p:tags r:id="rId143"/>
              </p:custDataLst>
            </p:nvPr>
          </p:nvSpPr>
          <p:spPr bwMode="gray">
            <a:xfrm>
              <a:off x="7375936" y="3330478"/>
              <a:ext cx="129592" cy="57805"/>
            </a:xfrm>
            <a:custGeom>
              <a:avLst/>
              <a:gdLst/>
              <a:ahLst/>
              <a:cxnLst>
                <a:cxn ang="0">
                  <a:pos x="76" y="39"/>
                </a:cxn>
                <a:cxn ang="0">
                  <a:pos x="82" y="38"/>
                </a:cxn>
                <a:cxn ang="0">
                  <a:pos x="101" y="43"/>
                </a:cxn>
                <a:cxn ang="0">
                  <a:pos x="95" y="34"/>
                </a:cxn>
                <a:cxn ang="0">
                  <a:pos x="97" y="28"/>
                </a:cxn>
                <a:cxn ang="0">
                  <a:pos x="97" y="28"/>
                </a:cxn>
                <a:cxn ang="0">
                  <a:pos x="76" y="15"/>
                </a:cxn>
                <a:cxn ang="0">
                  <a:pos x="58" y="17"/>
                </a:cxn>
                <a:cxn ang="0">
                  <a:pos x="41" y="6"/>
                </a:cxn>
                <a:cxn ang="0">
                  <a:pos x="0" y="0"/>
                </a:cxn>
                <a:cxn ang="0">
                  <a:pos x="15" y="9"/>
                </a:cxn>
                <a:cxn ang="0">
                  <a:pos x="28" y="28"/>
                </a:cxn>
                <a:cxn ang="0">
                  <a:pos x="28" y="34"/>
                </a:cxn>
                <a:cxn ang="0">
                  <a:pos x="28" y="34"/>
                </a:cxn>
                <a:cxn ang="0">
                  <a:pos x="48" y="36"/>
                </a:cxn>
                <a:cxn ang="0">
                  <a:pos x="54" y="45"/>
                </a:cxn>
                <a:cxn ang="0">
                  <a:pos x="56" y="43"/>
                </a:cxn>
                <a:cxn ang="0">
                  <a:pos x="76" y="39"/>
                </a:cxn>
                <a:cxn ang="0">
                  <a:pos x="76" y="39"/>
                </a:cxn>
              </a:cxnLst>
              <a:rect l="0" t="0" r="r" b="b"/>
              <a:pathLst>
                <a:path w="101" h="45">
                  <a:moveTo>
                    <a:pt x="76" y="39"/>
                  </a:moveTo>
                  <a:lnTo>
                    <a:pt x="82" y="38"/>
                  </a:lnTo>
                  <a:lnTo>
                    <a:pt x="101" y="43"/>
                  </a:lnTo>
                  <a:lnTo>
                    <a:pt x="95" y="34"/>
                  </a:lnTo>
                  <a:lnTo>
                    <a:pt x="97" y="28"/>
                  </a:lnTo>
                  <a:lnTo>
                    <a:pt x="97" y="28"/>
                  </a:lnTo>
                  <a:lnTo>
                    <a:pt x="76" y="15"/>
                  </a:lnTo>
                  <a:lnTo>
                    <a:pt x="58" y="17"/>
                  </a:lnTo>
                  <a:lnTo>
                    <a:pt x="41" y="6"/>
                  </a:lnTo>
                  <a:lnTo>
                    <a:pt x="0" y="0"/>
                  </a:lnTo>
                  <a:lnTo>
                    <a:pt x="15" y="9"/>
                  </a:lnTo>
                  <a:lnTo>
                    <a:pt x="28" y="28"/>
                  </a:lnTo>
                  <a:lnTo>
                    <a:pt x="28" y="34"/>
                  </a:lnTo>
                  <a:lnTo>
                    <a:pt x="28" y="34"/>
                  </a:lnTo>
                  <a:lnTo>
                    <a:pt x="48" y="36"/>
                  </a:lnTo>
                  <a:lnTo>
                    <a:pt x="54" y="45"/>
                  </a:lnTo>
                  <a:lnTo>
                    <a:pt x="56" y="43"/>
                  </a:lnTo>
                  <a:lnTo>
                    <a:pt x="76" y="39"/>
                  </a:lnTo>
                  <a:lnTo>
                    <a:pt x="76" y="3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66" name="Freeform 5774"/>
            <p:cNvSpPr>
              <a:spLocks/>
            </p:cNvSpPr>
            <p:nvPr>
              <p:custDataLst>
                <p:tags r:id="rId144"/>
              </p:custDataLst>
            </p:nvPr>
          </p:nvSpPr>
          <p:spPr bwMode="gray">
            <a:xfrm>
              <a:off x="7445223" y="3380575"/>
              <a:ext cx="66721" cy="56521"/>
            </a:xfrm>
            <a:custGeom>
              <a:avLst/>
              <a:gdLst/>
              <a:ahLst/>
              <a:cxnLst>
                <a:cxn ang="0">
                  <a:pos x="22" y="27"/>
                </a:cxn>
                <a:cxn ang="0">
                  <a:pos x="11" y="19"/>
                </a:cxn>
                <a:cxn ang="0">
                  <a:pos x="0" y="6"/>
                </a:cxn>
                <a:cxn ang="0">
                  <a:pos x="2" y="4"/>
                </a:cxn>
                <a:cxn ang="0">
                  <a:pos x="22" y="0"/>
                </a:cxn>
                <a:cxn ang="0">
                  <a:pos x="39" y="15"/>
                </a:cxn>
                <a:cxn ang="0">
                  <a:pos x="39" y="23"/>
                </a:cxn>
                <a:cxn ang="0">
                  <a:pos x="50" y="29"/>
                </a:cxn>
                <a:cxn ang="0">
                  <a:pos x="52" y="44"/>
                </a:cxn>
                <a:cxn ang="0">
                  <a:pos x="47" y="44"/>
                </a:cxn>
                <a:cxn ang="0">
                  <a:pos x="39" y="30"/>
                </a:cxn>
                <a:cxn ang="0">
                  <a:pos x="22" y="27"/>
                </a:cxn>
                <a:cxn ang="0">
                  <a:pos x="22" y="27"/>
                </a:cxn>
              </a:cxnLst>
              <a:rect l="0" t="0" r="r" b="b"/>
              <a:pathLst>
                <a:path w="52" h="44">
                  <a:moveTo>
                    <a:pt x="22" y="27"/>
                  </a:moveTo>
                  <a:lnTo>
                    <a:pt x="11" y="19"/>
                  </a:lnTo>
                  <a:lnTo>
                    <a:pt x="0" y="6"/>
                  </a:lnTo>
                  <a:lnTo>
                    <a:pt x="2" y="4"/>
                  </a:lnTo>
                  <a:lnTo>
                    <a:pt x="22" y="0"/>
                  </a:lnTo>
                  <a:lnTo>
                    <a:pt x="39" y="15"/>
                  </a:lnTo>
                  <a:lnTo>
                    <a:pt x="39" y="23"/>
                  </a:lnTo>
                  <a:lnTo>
                    <a:pt x="50" y="29"/>
                  </a:lnTo>
                  <a:lnTo>
                    <a:pt x="52" y="44"/>
                  </a:lnTo>
                  <a:lnTo>
                    <a:pt x="47" y="44"/>
                  </a:lnTo>
                  <a:lnTo>
                    <a:pt x="39" y="30"/>
                  </a:lnTo>
                  <a:lnTo>
                    <a:pt x="22" y="27"/>
                  </a:lnTo>
                  <a:lnTo>
                    <a:pt x="22" y="2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67" name="Freeform 5775"/>
            <p:cNvSpPr>
              <a:spLocks/>
            </p:cNvSpPr>
            <p:nvPr>
              <p:custDataLst>
                <p:tags r:id="rId145"/>
              </p:custDataLst>
            </p:nvPr>
          </p:nvSpPr>
          <p:spPr bwMode="gray">
            <a:xfrm>
              <a:off x="7473451" y="3415258"/>
              <a:ext cx="32077" cy="21838"/>
            </a:xfrm>
            <a:custGeom>
              <a:avLst/>
              <a:gdLst/>
              <a:ahLst/>
              <a:cxnLst>
                <a:cxn ang="0">
                  <a:pos x="25" y="17"/>
                </a:cxn>
                <a:cxn ang="0">
                  <a:pos x="15" y="17"/>
                </a:cxn>
                <a:cxn ang="0">
                  <a:pos x="0" y="0"/>
                </a:cxn>
                <a:cxn ang="0">
                  <a:pos x="17" y="3"/>
                </a:cxn>
                <a:cxn ang="0">
                  <a:pos x="25" y="17"/>
                </a:cxn>
                <a:cxn ang="0">
                  <a:pos x="25" y="17"/>
                </a:cxn>
              </a:cxnLst>
              <a:rect l="0" t="0" r="r" b="b"/>
              <a:pathLst>
                <a:path w="25" h="17">
                  <a:moveTo>
                    <a:pt x="25" y="17"/>
                  </a:moveTo>
                  <a:lnTo>
                    <a:pt x="15" y="17"/>
                  </a:lnTo>
                  <a:lnTo>
                    <a:pt x="0" y="0"/>
                  </a:lnTo>
                  <a:lnTo>
                    <a:pt x="17" y="3"/>
                  </a:lnTo>
                  <a:lnTo>
                    <a:pt x="25" y="17"/>
                  </a:lnTo>
                  <a:lnTo>
                    <a:pt x="25" y="1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68" name="Freeform 5776"/>
            <p:cNvSpPr>
              <a:spLocks/>
            </p:cNvSpPr>
            <p:nvPr>
              <p:custDataLst>
                <p:tags r:id="rId146"/>
              </p:custDataLst>
            </p:nvPr>
          </p:nvSpPr>
          <p:spPr bwMode="gray">
            <a:xfrm>
              <a:off x="7473451" y="3366445"/>
              <a:ext cx="109063" cy="82212"/>
            </a:xfrm>
            <a:custGeom>
              <a:avLst/>
              <a:gdLst/>
              <a:ahLst/>
              <a:cxnLst>
                <a:cxn ang="0">
                  <a:pos x="53" y="2"/>
                </a:cxn>
                <a:cxn ang="0">
                  <a:pos x="66" y="17"/>
                </a:cxn>
                <a:cxn ang="0">
                  <a:pos x="85" y="28"/>
                </a:cxn>
                <a:cxn ang="0">
                  <a:pos x="73" y="36"/>
                </a:cxn>
                <a:cxn ang="0">
                  <a:pos x="72" y="51"/>
                </a:cxn>
                <a:cxn ang="0">
                  <a:pos x="66" y="51"/>
                </a:cxn>
                <a:cxn ang="0">
                  <a:pos x="68" y="64"/>
                </a:cxn>
                <a:cxn ang="0">
                  <a:pos x="68" y="64"/>
                </a:cxn>
                <a:cxn ang="0">
                  <a:pos x="55" y="55"/>
                </a:cxn>
                <a:cxn ang="0">
                  <a:pos x="55" y="43"/>
                </a:cxn>
                <a:cxn ang="0">
                  <a:pos x="51" y="41"/>
                </a:cxn>
                <a:cxn ang="0">
                  <a:pos x="34" y="55"/>
                </a:cxn>
                <a:cxn ang="0">
                  <a:pos x="30" y="55"/>
                </a:cxn>
                <a:cxn ang="0">
                  <a:pos x="28" y="40"/>
                </a:cxn>
                <a:cxn ang="0">
                  <a:pos x="17" y="34"/>
                </a:cxn>
                <a:cxn ang="0">
                  <a:pos x="17" y="26"/>
                </a:cxn>
                <a:cxn ang="0">
                  <a:pos x="0" y="11"/>
                </a:cxn>
                <a:cxn ang="0">
                  <a:pos x="6" y="10"/>
                </a:cxn>
                <a:cxn ang="0">
                  <a:pos x="25" y="15"/>
                </a:cxn>
                <a:cxn ang="0">
                  <a:pos x="19" y="6"/>
                </a:cxn>
                <a:cxn ang="0">
                  <a:pos x="21" y="0"/>
                </a:cxn>
                <a:cxn ang="0">
                  <a:pos x="21" y="0"/>
                </a:cxn>
                <a:cxn ang="0">
                  <a:pos x="36" y="13"/>
                </a:cxn>
                <a:cxn ang="0">
                  <a:pos x="45" y="13"/>
                </a:cxn>
                <a:cxn ang="0">
                  <a:pos x="53" y="2"/>
                </a:cxn>
                <a:cxn ang="0">
                  <a:pos x="53" y="2"/>
                </a:cxn>
              </a:cxnLst>
              <a:rect l="0" t="0" r="r" b="b"/>
              <a:pathLst>
                <a:path w="85" h="64">
                  <a:moveTo>
                    <a:pt x="53" y="2"/>
                  </a:moveTo>
                  <a:lnTo>
                    <a:pt x="66" y="17"/>
                  </a:lnTo>
                  <a:lnTo>
                    <a:pt x="85" y="28"/>
                  </a:lnTo>
                  <a:lnTo>
                    <a:pt x="73" y="36"/>
                  </a:lnTo>
                  <a:lnTo>
                    <a:pt x="72" y="51"/>
                  </a:lnTo>
                  <a:lnTo>
                    <a:pt x="66" y="51"/>
                  </a:lnTo>
                  <a:lnTo>
                    <a:pt x="68" y="64"/>
                  </a:lnTo>
                  <a:lnTo>
                    <a:pt x="68" y="64"/>
                  </a:lnTo>
                  <a:lnTo>
                    <a:pt x="55" y="55"/>
                  </a:lnTo>
                  <a:lnTo>
                    <a:pt x="55" y="43"/>
                  </a:lnTo>
                  <a:lnTo>
                    <a:pt x="51" y="41"/>
                  </a:lnTo>
                  <a:lnTo>
                    <a:pt x="34" y="55"/>
                  </a:lnTo>
                  <a:lnTo>
                    <a:pt x="30" y="55"/>
                  </a:lnTo>
                  <a:lnTo>
                    <a:pt x="28" y="40"/>
                  </a:lnTo>
                  <a:lnTo>
                    <a:pt x="17" y="34"/>
                  </a:lnTo>
                  <a:lnTo>
                    <a:pt x="17" y="26"/>
                  </a:lnTo>
                  <a:lnTo>
                    <a:pt x="0" y="11"/>
                  </a:lnTo>
                  <a:lnTo>
                    <a:pt x="6" y="10"/>
                  </a:lnTo>
                  <a:lnTo>
                    <a:pt x="25" y="15"/>
                  </a:lnTo>
                  <a:lnTo>
                    <a:pt x="19" y="6"/>
                  </a:lnTo>
                  <a:lnTo>
                    <a:pt x="21" y="0"/>
                  </a:lnTo>
                  <a:lnTo>
                    <a:pt x="21" y="0"/>
                  </a:lnTo>
                  <a:lnTo>
                    <a:pt x="36" y="13"/>
                  </a:lnTo>
                  <a:lnTo>
                    <a:pt x="45" y="13"/>
                  </a:lnTo>
                  <a:lnTo>
                    <a:pt x="53" y="2"/>
                  </a:lnTo>
                  <a:lnTo>
                    <a:pt x="53" y="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69" name="Freeform 5777"/>
            <p:cNvSpPr>
              <a:spLocks/>
            </p:cNvSpPr>
            <p:nvPr>
              <p:custDataLst>
                <p:tags r:id="rId147"/>
              </p:custDataLst>
            </p:nvPr>
          </p:nvSpPr>
          <p:spPr bwMode="gray">
            <a:xfrm>
              <a:off x="5149771" y="4589346"/>
              <a:ext cx="261751" cy="312148"/>
            </a:xfrm>
            <a:custGeom>
              <a:avLst/>
              <a:gdLst/>
              <a:ahLst/>
              <a:cxnLst>
                <a:cxn ang="0">
                  <a:pos x="0" y="22"/>
                </a:cxn>
                <a:cxn ang="0">
                  <a:pos x="23" y="22"/>
                </a:cxn>
                <a:cxn ang="0">
                  <a:pos x="47" y="2"/>
                </a:cxn>
                <a:cxn ang="0">
                  <a:pos x="67" y="0"/>
                </a:cxn>
                <a:cxn ang="0">
                  <a:pos x="69" y="30"/>
                </a:cxn>
                <a:cxn ang="0">
                  <a:pos x="77" y="43"/>
                </a:cxn>
                <a:cxn ang="0">
                  <a:pos x="144" y="71"/>
                </a:cxn>
                <a:cxn ang="0">
                  <a:pos x="157" y="92"/>
                </a:cxn>
                <a:cxn ang="0">
                  <a:pos x="156" y="103"/>
                </a:cxn>
                <a:cxn ang="0">
                  <a:pos x="161" y="120"/>
                </a:cxn>
                <a:cxn ang="0">
                  <a:pos x="189" y="124"/>
                </a:cxn>
                <a:cxn ang="0">
                  <a:pos x="191" y="135"/>
                </a:cxn>
                <a:cxn ang="0">
                  <a:pos x="204" y="157"/>
                </a:cxn>
                <a:cxn ang="0">
                  <a:pos x="202" y="193"/>
                </a:cxn>
                <a:cxn ang="0">
                  <a:pos x="184" y="176"/>
                </a:cxn>
                <a:cxn ang="0">
                  <a:pos x="141" y="187"/>
                </a:cxn>
                <a:cxn ang="0">
                  <a:pos x="133" y="232"/>
                </a:cxn>
                <a:cxn ang="0">
                  <a:pos x="133" y="232"/>
                </a:cxn>
                <a:cxn ang="0">
                  <a:pos x="112" y="228"/>
                </a:cxn>
                <a:cxn ang="0">
                  <a:pos x="109" y="236"/>
                </a:cxn>
                <a:cxn ang="0">
                  <a:pos x="77" y="223"/>
                </a:cxn>
                <a:cxn ang="0">
                  <a:pos x="62" y="243"/>
                </a:cxn>
                <a:cxn ang="0">
                  <a:pos x="51" y="242"/>
                </a:cxn>
                <a:cxn ang="0">
                  <a:pos x="30" y="191"/>
                </a:cxn>
                <a:cxn ang="0">
                  <a:pos x="32" y="176"/>
                </a:cxn>
                <a:cxn ang="0">
                  <a:pos x="13" y="144"/>
                </a:cxn>
                <a:cxn ang="0">
                  <a:pos x="19" y="125"/>
                </a:cxn>
                <a:cxn ang="0">
                  <a:pos x="11" y="110"/>
                </a:cxn>
                <a:cxn ang="0">
                  <a:pos x="17" y="49"/>
                </a:cxn>
                <a:cxn ang="0">
                  <a:pos x="0" y="22"/>
                </a:cxn>
                <a:cxn ang="0">
                  <a:pos x="0" y="22"/>
                </a:cxn>
              </a:cxnLst>
              <a:rect l="0" t="0" r="r" b="b"/>
              <a:pathLst>
                <a:path w="204" h="243">
                  <a:moveTo>
                    <a:pt x="0" y="22"/>
                  </a:moveTo>
                  <a:lnTo>
                    <a:pt x="23" y="22"/>
                  </a:lnTo>
                  <a:lnTo>
                    <a:pt x="47" y="2"/>
                  </a:lnTo>
                  <a:lnTo>
                    <a:pt x="67" y="0"/>
                  </a:lnTo>
                  <a:lnTo>
                    <a:pt x="69" y="30"/>
                  </a:lnTo>
                  <a:lnTo>
                    <a:pt x="77" y="43"/>
                  </a:lnTo>
                  <a:lnTo>
                    <a:pt x="144" y="71"/>
                  </a:lnTo>
                  <a:lnTo>
                    <a:pt x="157" y="92"/>
                  </a:lnTo>
                  <a:lnTo>
                    <a:pt x="156" y="103"/>
                  </a:lnTo>
                  <a:lnTo>
                    <a:pt x="161" y="120"/>
                  </a:lnTo>
                  <a:lnTo>
                    <a:pt x="189" y="124"/>
                  </a:lnTo>
                  <a:lnTo>
                    <a:pt x="191" y="135"/>
                  </a:lnTo>
                  <a:lnTo>
                    <a:pt x="204" y="157"/>
                  </a:lnTo>
                  <a:lnTo>
                    <a:pt x="202" y="193"/>
                  </a:lnTo>
                  <a:lnTo>
                    <a:pt x="184" y="176"/>
                  </a:lnTo>
                  <a:lnTo>
                    <a:pt x="141" y="187"/>
                  </a:lnTo>
                  <a:lnTo>
                    <a:pt x="133" y="232"/>
                  </a:lnTo>
                  <a:lnTo>
                    <a:pt x="133" y="232"/>
                  </a:lnTo>
                  <a:lnTo>
                    <a:pt x="112" y="228"/>
                  </a:lnTo>
                  <a:lnTo>
                    <a:pt x="109" y="236"/>
                  </a:lnTo>
                  <a:lnTo>
                    <a:pt x="77" y="223"/>
                  </a:lnTo>
                  <a:lnTo>
                    <a:pt x="62" y="243"/>
                  </a:lnTo>
                  <a:lnTo>
                    <a:pt x="51" y="242"/>
                  </a:lnTo>
                  <a:lnTo>
                    <a:pt x="30" y="191"/>
                  </a:lnTo>
                  <a:lnTo>
                    <a:pt x="32" y="176"/>
                  </a:lnTo>
                  <a:lnTo>
                    <a:pt x="13" y="144"/>
                  </a:lnTo>
                  <a:lnTo>
                    <a:pt x="19" y="125"/>
                  </a:lnTo>
                  <a:lnTo>
                    <a:pt x="11" y="110"/>
                  </a:lnTo>
                  <a:lnTo>
                    <a:pt x="17" y="49"/>
                  </a:lnTo>
                  <a:lnTo>
                    <a:pt x="0" y="22"/>
                  </a:lnTo>
                  <a:lnTo>
                    <a:pt x="0" y="2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70" name="Freeform 5778"/>
            <p:cNvSpPr>
              <a:spLocks/>
            </p:cNvSpPr>
            <p:nvPr>
              <p:custDataLst>
                <p:tags r:id="rId148"/>
              </p:custDataLst>
            </p:nvPr>
          </p:nvSpPr>
          <p:spPr bwMode="gray">
            <a:xfrm>
              <a:off x="5320422" y="4815428"/>
              <a:ext cx="178350" cy="195253"/>
            </a:xfrm>
            <a:custGeom>
              <a:avLst/>
              <a:gdLst/>
              <a:ahLst/>
              <a:cxnLst>
                <a:cxn ang="0">
                  <a:pos x="139" y="116"/>
                </a:cxn>
                <a:cxn ang="0">
                  <a:pos x="137" y="88"/>
                </a:cxn>
                <a:cxn ang="0">
                  <a:pos x="118" y="84"/>
                </a:cxn>
                <a:cxn ang="0">
                  <a:pos x="112" y="60"/>
                </a:cxn>
                <a:cxn ang="0">
                  <a:pos x="105" y="56"/>
                </a:cxn>
                <a:cxn ang="0">
                  <a:pos x="75" y="49"/>
                </a:cxn>
                <a:cxn ang="0">
                  <a:pos x="69" y="17"/>
                </a:cxn>
                <a:cxn ang="0">
                  <a:pos x="51" y="0"/>
                </a:cxn>
                <a:cxn ang="0">
                  <a:pos x="8" y="11"/>
                </a:cxn>
                <a:cxn ang="0">
                  <a:pos x="0" y="56"/>
                </a:cxn>
                <a:cxn ang="0">
                  <a:pos x="0" y="56"/>
                </a:cxn>
                <a:cxn ang="0">
                  <a:pos x="34" y="88"/>
                </a:cxn>
                <a:cxn ang="0">
                  <a:pos x="54" y="92"/>
                </a:cxn>
                <a:cxn ang="0">
                  <a:pos x="81" y="109"/>
                </a:cxn>
                <a:cxn ang="0">
                  <a:pos x="86" y="122"/>
                </a:cxn>
                <a:cxn ang="0">
                  <a:pos x="79" y="146"/>
                </a:cxn>
                <a:cxn ang="0">
                  <a:pos x="111" y="152"/>
                </a:cxn>
                <a:cxn ang="0">
                  <a:pos x="122" y="150"/>
                </a:cxn>
                <a:cxn ang="0">
                  <a:pos x="135" y="137"/>
                </a:cxn>
                <a:cxn ang="0">
                  <a:pos x="139" y="116"/>
                </a:cxn>
                <a:cxn ang="0">
                  <a:pos x="139" y="116"/>
                </a:cxn>
              </a:cxnLst>
              <a:rect l="0" t="0" r="r" b="b"/>
              <a:pathLst>
                <a:path w="139" h="152">
                  <a:moveTo>
                    <a:pt x="139" y="116"/>
                  </a:moveTo>
                  <a:lnTo>
                    <a:pt x="137" y="88"/>
                  </a:lnTo>
                  <a:lnTo>
                    <a:pt x="118" y="84"/>
                  </a:lnTo>
                  <a:lnTo>
                    <a:pt x="112" y="60"/>
                  </a:lnTo>
                  <a:lnTo>
                    <a:pt x="105" y="56"/>
                  </a:lnTo>
                  <a:lnTo>
                    <a:pt x="75" y="49"/>
                  </a:lnTo>
                  <a:lnTo>
                    <a:pt x="69" y="17"/>
                  </a:lnTo>
                  <a:lnTo>
                    <a:pt x="51" y="0"/>
                  </a:lnTo>
                  <a:lnTo>
                    <a:pt x="8" y="11"/>
                  </a:lnTo>
                  <a:lnTo>
                    <a:pt x="0" y="56"/>
                  </a:lnTo>
                  <a:lnTo>
                    <a:pt x="0" y="56"/>
                  </a:lnTo>
                  <a:lnTo>
                    <a:pt x="34" y="88"/>
                  </a:lnTo>
                  <a:lnTo>
                    <a:pt x="54" y="92"/>
                  </a:lnTo>
                  <a:lnTo>
                    <a:pt x="81" y="109"/>
                  </a:lnTo>
                  <a:lnTo>
                    <a:pt x="86" y="122"/>
                  </a:lnTo>
                  <a:lnTo>
                    <a:pt x="79" y="146"/>
                  </a:lnTo>
                  <a:lnTo>
                    <a:pt x="111" y="152"/>
                  </a:lnTo>
                  <a:lnTo>
                    <a:pt x="122" y="150"/>
                  </a:lnTo>
                  <a:lnTo>
                    <a:pt x="135" y="137"/>
                  </a:lnTo>
                  <a:lnTo>
                    <a:pt x="139" y="116"/>
                  </a:lnTo>
                  <a:lnTo>
                    <a:pt x="139" y="116"/>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71" name="Freeform 5779"/>
            <p:cNvSpPr>
              <a:spLocks/>
            </p:cNvSpPr>
            <p:nvPr>
              <p:custDataLst>
                <p:tags r:id="rId149"/>
              </p:custDataLst>
            </p:nvPr>
          </p:nvSpPr>
          <p:spPr bwMode="gray">
            <a:xfrm>
              <a:off x="5198528" y="4875802"/>
              <a:ext cx="319490" cy="716784"/>
            </a:xfrm>
            <a:custGeom>
              <a:avLst/>
              <a:gdLst/>
              <a:ahLst/>
              <a:cxnLst>
                <a:cxn ang="0">
                  <a:pos x="200" y="227"/>
                </a:cxn>
                <a:cxn ang="0">
                  <a:pos x="204" y="238"/>
                </a:cxn>
                <a:cxn ang="0">
                  <a:pos x="222" y="258"/>
                </a:cxn>
                <a:cxn ang="0">
                  <a:pos x="239" y="277"/>
                </a:cxn>
                <a:cxn ang="0">
                  <a:pos x="191" y="315"/>
                </a:cxn>
                <a:cxn ang="0">
                  <a:pos x="162" y="313"/>
                </a:cxn>
                <a:cxn ang="0">
                  <a:pos x="174" y="352"/>
                </a:cxn>
                <a:cxn ang="0">
                  <a:pos x="136" y="350"/>
                </a:cxn>
                <a:cxn ang="0">
                  <a:pos x="142" y="375"/>
                </a:cxn>
                <a:cxn ang="0">
                  <a:pos x="161" y="375"/>
                </a:cxn>
                <a:cxn ang="0">
                  <a:pos x="166" y="388"/>
                </a:cxn>
                <a:cxn ang="0">
                  <a:pos x="151" y="382"/>
                </a:cxn>
                <a:cxn ang="0">
                  <a:pos x="157" y="391"/>
                </a:cxn>
                <a:cxn ang="0">
                  <a:pos x="153" y="418"/>
                </a:cxn>
                <a:cxn ang="0">
                  <a:pos x="151" y="427"/>
                </a:cxn>
                <a:cxn ang="0">
                  <a:pos x="131" y="446"/>
                </a:cxn>
                <a:cxn ang="0">
                  <a:pos x="153" y="466"/>
                </a:cxn>
                <a:cxn ang="0">
                  <a:pos x="168" y="472"/>
                </a:cxn>
                <a:cxn ang="0">
                  <a:pos x="151" y="498"/>
                </a:cxn>
                <a:cxn ang="0">
                  <a:pos x="142" y="526"/>
                </a:cxn>
                <a:cxn ang="0">
                  <a:pos x="166" y="558"/>
                </a:cxn>
                <a:cxn ang="0">
                  <a:pos x="149" y="556"/>
                </a:cxn>
                <a:cxn ang="0">
                  <a:pos x="97" y="528"/>
                </a:cxn>
                <a:cxn ang="0">
                  <a:pos x="76" y="513"/>
                </a:cxn>
                <a:cxn ang="0">
                  <a:pos x="59" y="423"/>
                </a:cxn>
                <a:cxn ang="0">
                  <a:pos x="56" y="416"/>
                </a:cxn>
                <a:cxn ang="0">
                  <a:pos x="41" y="373"/>
                </a:cxn>
                <a:cxn ang="0">
                  <a:pos x="29" y="311"/>
                </a:cxn>
                <a:cxn ang="0">
                  <a:pos x="24" y="264"/>
                </a:cxn>
                <a:cxn ang="0">
                  <a:pos x="22" y="225"/>
                </a:cxn>
                <a:cxn ang="0">
                  <a:pos x="3" y="120"/>
                </a:cxn>
                <a:cxn ang="0">
                  <a:pos x="9" y="52"/>
                </a:cxn>
                <a:cxn ang="0">
                  <a:pos x="24" y="20"/>
                </a:cxn>
                <a:cxn ang="0">
                  <a:pos x="71" y="13"/>
                </a:cxn>
                <a:cxn ang="0">
                  <a:pos x="95" y="9"/>
                </a:cxn>
                <a:cxn ang="0">
                  <a:pos x="149" y="45"/>
                </a:cxn>
                <a:cxn ang="0">
                  <a:pos x="181" y="75"/>
                </a:cxn>
                <a:cxn ang="0">
                  <a:pos x="206" y="105"/>
                </a:cxn>
                <a:cxn ang="0">
                  <a:pos x="230" y="90"/>
                </a:cxn>
                <a:cxn ang="0">
                  <a:pos x="241" y="71"/>
                </a:cxn>
                <a:cxn ang="0">
                  <a:pos x="234" y="107"/>
                </a:cxn>
                <a:cxn ang="0">
                  <a:pos x="196" y="155"/>
                </a:cxn>
              </a:cxnLst>
              <a:rect l="0" t="0" r="r" b="b"/>
              <a:pathLst>
                <a:path w="249" h="558">
                  <a:moveTo>
                    <a:pt x="196" y="155"/>
                  </a:moveTo>
                  <a:lnTo>
                    <a:pt x="200" y="227"/>
                  </a:lnTo>
                  <a:lnTo>
                    <a:pt x="200" y="227"/>
                  </a:lnTo>
                  <a:lnTo>
                    <a:pt x="204" y="238"/>
                  </a:lnTo>
                  <a:lnTo>
                    <a:pt x="224" y="251"/>
                  </a:lnTo>
                  <a:lnTo>
                    <a:pt x="222" y="258"/>
                  </a:lnTo>
                  <a:lnTo>
                    <a:pt x="236" y="270"/>
                  </a:lnTo>
                  <a:lnTo>
                    <a:pt x="239" y="277"/>
                  </a:lnTo>
                  <a:lnTo>
                    <a:pt x="232" y="301"/>
                  </a:lnTo>
                  <a:lnTo>
                    <a:pt x="191" y="315"/>
                  </a:lnTo>
                  <a:lnTo>
                    <a:pt x="168" y="318"/>
                  </a:lnTo>
                  <a:lnTo>
                    <a:pt x="162" y="313"/>
                  </a:lnTo>
                  <a:lnTo>
                    <a:pt x="170" y="326"/>
                  </a:lnTo>
                  <a:lnTo>
                    <a:pt x="174" y="352"/>
                  </a:lnTo>
                  <a:lnTo>
                    <a:pt x="153" y="358"/>
                  </a:lnTo>
                  <a:lnTo>
                    <a:pt x="136" y="350"/>
                  </a:lnTo>
                  <a:lnTo>
                    <a:pt x="131" y="354"/>
                  </a:lnTo>
                  <a:lnTo>
                    <a:pt x="142" y="375"/>
                  </a:lnTo>
                  <a:lnTo>
                    <a:pt x="149" y="378"/>
                  </a:lnTo>
                  <a:lnTo>
                    <a:pt x="161" y="375"/>
                  </a:lnTo>
                  <a:lnTo>
                    <a:pt x="166" y="382"/>
                  </a:lnTo>
                  <a:lnTo>
                    <a:pt x="166" y="388"/>
                  </a:lnTo>
                  <a:lnTo>
                    <a:pt x="159" y="388"/>
                  </a:lnTo>
                  <a:lnTo>
                    <a:pt x="151" y="382"/>
                  </a:lnTo>
                  <a:lnTo>
                    <a:pt x="146" y="388"/>
                  </a:lnTo>
                  <a:lnTo>
                    <a:pt x="157" y="391"/>
                  </a:lnTo>
                  <a:lnTo>
                    <a:pt x="147" y="403"/>
                  </a:lnTo>
                  <a:lnTo>
                    <a:pt x="153" y="418"/>
                  </a:lnTo>
                  <a:lnTo>
                    <a:pt x="149" y="421"/>
                  </a:lnTo>
                  <a:lnTo>
                    <a:pt x="151" y="427"/>
                  </a:lnTo>
                  <a:lnTo>
                    <a:pt x="136" y="431"/>
                  </a:lnTo>
                  <a:lnTo>
                    <a:pt x="131" y="446"/>
                  </a:lnTo>
                  <a:lnTo>
                    <a:pt x="136" y="453"/>
                  </a:lnTo>
                  <a:lnTo>
                    <a:pt x="153" y="466"/>
                  </a:lnTo>
                  <a:lnTo>
                    <a:pt x="164" y="466"/>
                  </a:lnTo>
                  <a:lnTo>
                    <a:pt x="168" y="472"/>
                  </a:lnTo>
                  <a:lnTo>
                    <a:pt x="168" y="481"/>
                  </a:lnTo>
                  <a:lnTo>
                    <a:pt x="151" y="498"/>
                  </a:lnTo>
                  <a:lnTo>
                    <a:pt x="155" y="517"/>
                  </a:lnTo>
                  <a:lnTo>
                    <a:pt x="142" y="526"/>
                  </a:lnTo>
                  <a:lnTo>
                    <a:pt x="144" y="534"/>
                  </a:lnTo>
                  <a:lnTo>
                    <a:pt x="166" y="558"/>
                  </a:lnTo>
                  <a:lnTo>
                    <a:pt x="149" y="556"/>
                  </a:lnTo>
                  <a:lnTo>
                    <a:pt x="149" y="556"/>
                  </a:lnTo>
                  <a:lnTo>
                    <a:pt x="116" y="553"/>
                  </a:lnTo>
                  <a:lnTo>
                    <a:pt x="97" y="528"/>
                  </a:lnTo>
                  <a:lnTo>
                    <a:pt x="84" y="530"/>
                  </a:lnTo>
                  <a:lnTo>
                    <a:pt x="76" y="513"/>
                  </a:lnTo>
                  <a:lnTo>
                    <a:pt x="74" y="457"/>
                  </a:lnTo>
                  <a:lnTo>
                    <a:pt x="59" y="423"/>
                  </a:lnTo>
                  <a:lnTo>
                    <a:pt x="65" y="423"/>
                  </a:lnTo>
                  <a:lnTo>
                    <a:pt x="56" y="416"/>
                  </a:lnTo>
                  <a:lnTo>
                    <a:pt x="41" y="388"/>
                  </a:lnTo>
                  <a:lnTo>
                    <a:pt x="41" y="373"/>
                  </a:lnTo>
                  <a:lnTo>
                    <a:pt x="31" y="356"/>
                  </a:lnTo>
                  <a:lnTo>
                    <a:pt x="29" y="311"/>
                  </a:lnTo>
                  <a:lnTo>
                    <a:pt x="18" y="277"/>
                  </a:lnTo>
                  <a:lnTo>
                    <a:pt x="24" y="264"/>
                  </a:lnTo>
                  <a:lnTo>
                    <a:pt x="18" y="249"/>
                  </a:lnTo>
                  <a:lnTo>
                    <a:pt x="22" y="225"/>
                  </a:lnTo>
                  <a:lnTo>
                    <a:pt x="0" y="176"/>
                  </a:lnTo>
                  <a:lnTo>
                    <a:pt x="3" y="120"/>
                  </a:lnTo>
                  <a:lnTo>
                    <a:pt x="16" y="90"/>
                  </a:lnTo>
                  <a:lnTo>
                    <a:pt x="9" y="52"/>
                  </a:lnTo>
                  <a:lnTo>
                    <a:pt x="24" y="41"/>
                  </a:lnTo>
                  <a:lnTo>
                    <a:pt x="24" y="20"/>
                  </a:lnTo>
                  <a:lnTo>
                    <a:pt x="39" y="0"/>
                  </a:lnTo>
                  <a:lnTo>
                    <a:pt x="71" y="13"/>
                  </a:lnTo>
                  <a:lnTo>
                    <a:pt x="74" y="5"/>
                  </a:lnTo>
                  <a:lnTo>
                    <a:pt x="95" y="9"/>
                  </a:lnTo>
                  <a:lnTo>
                    <a:pt x="129" y="41"/>
                  </a:lnTo>
                  <a:lnTo>
                    <a:pt x="149" y="45"/>
                  </a:lnTo>
                  <a:lnTo>
                    <a:pt x="176" y="62"/>
                  </a:lnTo>
                  <a:lnTo>
                    <a:pt x="181" y="75"/>
                  </a:lnTo>
                  <a:lnTo>
                    <a:pt x="174" y="99"/>
                  </a:lnTo>
                  <a:lnTo>
                    <a:pt x="206" y="105"/>
                  </a:lnTo>
                  <a:lnTo>
                    <a:pt x="217" y="103"/>
                  </a:lnTo>
                  <a:lnTo>
                    <a:pt x="230" y="90"/>
                  </a:lnTo>
                  <a:lnTo>
                    <a:pt x="234" y="69"/>
                  </a:lnTo>
                  <a:lnTo>
                    <a:pt x="241" y="71"/>
                  </a:lnTo>
                  <a:lnTo>
                    <a:pt x="249" y="95"/>
                  </a:lnTo>
                  <a:lnTo>
                    <a:pt x="234" y="107"/>
                  </a:lnTo>
                  <a:lnTo>
                    <a:pt x="196" y="155"/>
                  </a:lnTo>
                  <a:lnTo>
                    <a:pt x="196" y="15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72" name="Freeform 5780"/>
            <p:cNvSpPr>
              <a:spLocks/>
            </p:cNvSpPr>
            <p:nvPr>
              <p:custDataLst>
                <p:tags r:id="rId150"/>
              </p:custDataLst>
            </p:nvPr>
          </p:nvSpPr>
          <p:spPr bwMode="gray">
            <a:xfrm>
              <a:off x="6495735" y="3065858"/>
              <a:ext cx="38493" cy="24407"/>
            </a:xfrm>
            <a:custGeom>
              <a:avLst/>
              <a:gdLst/>
              <a:ahLst/>
              <a:cxnLst>
                <a:cxn ang="0">
                  <a:pos x="6" y="0"/>
                </a:cxn>
                <a:cxn ang="0">
                  <a:pos x="0" y="9"/>
                </a:cxn>
                <a:cxn ang="0">
                  <a:pos x="7" y="17"/>
                </a:cxn>
                <a:cxn ang="0">
                  <a:pos x="21" y="11"/>
                </a:cxn>
                <a:cxn ang="0">
                  <a:pos x="24" y="19"/>
                </a:cxn>
                <a:cxn ang="0">
                  <a:pos x="30" y="13"/>
                </a:cxn>
                <a:cxn ang="0">
                  <a:pos x="26" y="0"/>
                </a:cxn>
                <a:cxn ang="0">
                  <a:pos x="6" y="0"/>
                </a:cxn>
                <a:cxn ang="0">
                  <a:pos x="6" y="0"/>
                </a:cxn>
              </a:cxnLst>
              <a:rect l="0" t="0" r="r" b="b"/>
              <a:pathLst>
                <a:path w="30" h="19">
                  <a:moveTo>
                    <a:pt x="6" y="0"/>
                  </a:moveTo>
                  <a:lnTo>
                    <a:pt x="0" y="9"/>
                  </a:lnTo>
                  <a:lnTo>
                    <a:pt x="7" y="17"/>
                  </a:lnTo>
                  <a:lnTo>
                    <a:pt x="21" y="11"/>
                  </a:lnTo>
                  <a:lnTo>
                    <a:pt x="24" y="19"/>
                  </a:lnTo>
                  <a:lnTo>
                    <a:pt x="30" y="13"/>
                  </a:lnTo>
                  <a:lnTo>
                    <a:pt x="26" y="0"/>
                  </a:lnTo>
                  <a:lnTo>
                    <a:pt x="6" y="0"/>
                  </a:lnTo>
                  <a:lnTo>
                    <a:pt x="6"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73" name="Freeform 5781"/>
            <p:cNvSpPr>
              <a:spLocks/>
            </p:cNvSpPr>
            <p:nvPr>
              <p:custDataLst>
                <p:tags r:id="rId151"/>
              </p:custDataLst>
            </p:nvPr>
          </p:nvSpPr>
          <p:spPr bwMode="gray">
            <a:xfrm>
              <a:off x="6776732" y="3010622"/>
              <a:ext cx="48758" cy="60374"/>
            </a:xfrm>
            <a:custGeom>
              <a:avLst/>
              <a:gdLst/>
              <a:ahLst/>
              <a:cxnLst>
                <a:cxn ang="0">
                  <a:pos x="10" y="47"/>
                </a:cxn>
                <a:cxn ang="0">
                  <a:pos x="19" y="47"/>
                </a:cxn>
                <a:cxn ang="0">
                  <a:pos x="19" y="47"/>
                </a:cxn>
                <a:cxn ang="0">
                  <a:pos x="28" y="26"/>
                </a:cxn>
                <a:cxn ang="0">
                  <a:pos x="38" y="24"/>
                </a:cxn>
                <a:cxn ang="0">
                  <a:pos x="38" y="19"/>
                </a:cxn>
                <a:cxn ang="0">
                  <a:pos x="30" y="19"/>
                </a:cxn>
                <a:cxn ang="0">
                  <a:pos x="32" y="0"/>
                </a:cxn>
                <a:cxn ang="0">
                  <a:pos x="8" y="7"/>
                </a:cxn>
                <a:cxn ang="0">
                  <a:pos x="0" y="19"/>
                </a:cxn>
                <a:cxn ang="0">
                  <a:pos x="2" y="34"/>
                </a:cxn>
                <a:cxn ang="0">
                  <a:pos x="8" y="37"/>
                </a:cxn>
                <a:cxn ang="0">
                  <a:pos x="10" y="47"/>
                </a:cxn>
                <a:cxn ang="0">
                  <a:pos x="10" y="47"/>
                </a:cxn>
                <a:cxn ang="0">
                  <a:pos x="10" y="47"/>
                </a:cxn>
              </a:cxnLst>
              <a:rect l="0" t="0" r="r" b="b"/>
              <a:pathLst>
                <a:path w="38" h="47">
                  <a:moveTo>
                    <a:pt x="10" y="47"/>
                  </a:moveTo>
                  <a:lnTo>
                    <a:pt x="19" y="47"/>
                  </a:lnTo>
                  <a:lnTo>
                    <a:pt x="19" y="47"/>
                  </a:lnTo>
                  <a:lnTo>
                    <a:pt x="28" y="26"/>
                  </a:lnTo>
                  <a:lnTo>
                    <a:pt x="38" y="24"/>
                  </a:lnTo>
                  <a:lnTo>
                    <a:pt x="38" y="19"/>
                  </a:lnTo>
                  <a:lnTo>
                    <a:pt x="30" y="19"/>
                  </a:lnTo>
                  <a:lnTo>
                    <a:pt x="32" y="0"/>
                  </a:lnTo>
                  <a:lnTo>
                    <a:pt x="8" y="7"/>
                  </a:lnTo>
                  <a:lnTo>
                    <a:pt x="0" y="19"/>
                  </a:lnTo>
                  <a:lnTo>
                    <a:pt x="2" y="34"/>
                  </a:lnTo>
                  <a:lnTo>
                    <a:pt x="8" y="37"/>
                  </a:lnTo>
                  <a:lnTo>
                    <a:pt x="10" y="47"/>
                  </a:lnTo>
                  <a:lnTo>
                    <a:pt x="10" y="47"/>
                  </a:lnTo>
                  <a:lnTo>
                    <a:pt x="10" y="47"/>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74" name="Freeform 5782"/>
            <p:cNvSpPr>
              <a:spLocks/>
            </p:cNvSpPr>
            <p:nvPr>
              <p:custDataLst>
                <p:tags r:id="rId152"/>
              </p:custDataLst>
            </p:nvPr>
          </p:nvSpPr>
          <p:spPr bwMode="gray">
            <a:xfrm>
              <a:off x="6731824" y="3176330"/>
              <a:ext cx="8982" cy="14130"/>
            </a:xfrm>
            <a:custGeom>
              <a:avLst/>
              <a:gdLst/>
              <a:ahLst/>
              <a:cxnLst>
                <a:cxn ang="0">
                  <a:pos x="0" y="10"/>
                </a:cxn>
                <a:cxn ang="0">
                  <a:pos x="3" y="0"/>
                </a:cxn>
                <a:cxn ang="0">
                  <a:pos x="7" y="11"/>
                </a:cxn>
                <a:cxn ang="0">
                  <a:pos x="7" y="11"/>
                </a:cxn>
                <a:cxn ang="0">
                  <a:pos x="0" y="10"/>
                </a:cxn>
                <a:cxn ang="0">
                  <a:pos x="0" y="10"/>
                </a:cxn>
              </a:cxnLst>
              <a:rect l="0" t="0" r="r" b="b"/>
              <a:pathLst>
                <a:path w="7" h="11">
                  <a:moveTo>
                    <a:pt x="0" y="10"/>
                  </a:moveTo>
                  <a:lnTo>
                    <a:pt x="3" y="0"/>
                  </a:lnTo>
                  <a:lnTo>
                    <a:pt x="7" y="11"/>
                  </a:lnTo>
                  <a:lnTo>
                    <a:pt x="7" y="11"/>
                  </a:lnTo>
                  <a:lnTo>
                    <a:pt x="0" y="10"/>
                  </a:lnTo>
                  <a:lnTo>
                    <a:pt x="0" y="10"/>
                  </a:lnTo>
                  <a:close/>
                </a:path>
              </a:pathLst>
            </a:custGeom>
            <a:solidFill>
              <a:srgbClr val="003755"/>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75" name="Freeform 5783"/>
            <p:cNvSpPr>
              <a:spLocks/>
            </p:cNvSpPr>
            <p:nvPr>
              <p:custDataLst>
                <p:tags r:id="rId153"/>
              </p:custDataLst>
            </p:nvPr>
          </p:nvSpPr>
          <p:spPr bwMode="gray">
            <a:xfrm>
              <a:off x="6798545" y="3203306"/>
              <a:ext cx="142423" cy="57805"/>
            </a:xfrm>
            <a:custGeom>
              <a:avLst/>
              <a:gdLst/>
              <a:ahLst/>
              <a:cxnLst>
                <a:cxn ang="0">
                  <a:pos x="0" y="26"/>
                </a:cxn>
                <a:cxn ang="0">
                  <a:pos x="4" y="28"/>
                </a:cxn>
                <a:cxn ang="0">
                  <a:pos x="6" y="32"/>
                </a:cxn>
                <a:cxn ang="0">
                  <a:pos x="4" y="35"/>
                </a:cxn>
                <a:cxn ang="0">
                  <a:pos x="4" y="35"/>
                </a:cxn>
                <a:cxn ang="0">
                  <a:pos x="13" y="39"/>
                </a:cxn>
                <a:cxn ang="0">
                  <a:pos x="15" y="39"/>
                </a:cxn>
                <a:cxn ang="0">
                  <a:pos x="37" y="34"/>
                </a:cxn>
                <a:cxn ang="0">
                  <a:pos x="39" y="39"/>
                </a:cxn>
                <a:cxn ang="0">
                  <a:pos x="60" y="45"/>
                </a:cxn>
                <a:cxn ang="0">
                  <a:pos x="96" y="37"/>
                </a:cxn>
                <a:cxn ang="0">
                  <a:pos x="111" y="17"/>
                </a:cxn>
                <a:cxn ang="0">
                  <a:pos x="105" y="4"/>
                </a:cxn>
                <a:cxn ang="0">
                  <a:pos x="81" y="0"/>
                </a:cxn>
                <a:cxn ang="0">
                  <a:pos x="75" y="5"/>
                </a:cxn>
                <a:cxn ang="0">
                  <a:pos x="62" y="4"/>
                </a:cxn>
                <a:cxn ang="0">
                  <a:pos x="47" y="17"/>
                </a:cxn>
                <a:cxn ang="0">
                  <a:pos x="49" y="22"/>
                </a:cxn>
                <a:cxn ang="0">
                  <a:pos x="0" y="26"/>
                </a:cxn>
                <a:cxn ang="0">
                  <a:pos x="0" y="26"/>
                </a:cxn>
              </a:cxnLst>
              <a:rect l="0" t="0" r="r" b="b"/>
              <a:pathLst>
                <a:path w="111" h="45">
                  <a:moveTo>
                    <a:pt x="0" y="26"/>
                  </a:moveTo>
                  <a:lnTo>
                    <a:pt x="4" y="28"/>
                  </a:lnTo>
                  <a:lnTo>
                    <a:pt x="6" y="32"/>
                  </a:lnTo>
                  <a:lnTo>
                    <a:pt x="4" y="35"/>
                  </a:lnTo>
                  <a:lnTo>
                    <a:pt x="4" y="35"/>
                  </a:lnTo>
                  <a:lnTo>
                    <a:pt x="13" y="39"/>
                  </a:lnTo>
                  <a:lnTo>
                    <a:pt x="15" y="39"/>
                  </a:lnTo>
                  <a:lnTo>
                    <a:pt x="37" y="34"/>
                  </a:lnTo>
                  <a:lnTo>
                    <a:pt x="39" y="39"/>
                  </a:lnTo>
                  <a:lnTo>
                    <a:pt x="60" y="45"/>
                  </a:lnTo>
                  <a:lnTo>
                    <a:pt x="96" y="37"/>
                  </a:lnTo>
                  <a:lnTo>
                    <a:pt x="111" y="17"/>
                  </a:lnTo>
                  <a:lnTo>
                    <a:pt x="105" y="4"/>
                  </a:lnTo>
                  <a:lnTo>
                    <a:pt x="81" y="0"/>
                  </a:lnTo>
                  <a:lnTo>
                    <a:pt x="75" y="5"/>
                  </a:lnTo>
                  <a:lnTo>
                    <a:pt x="62" y="4"/>
                  </a:lnTo>
                  <a:lnTo>
                    <a:pt x="47" y="17"/>
                  </a:lnTo>
                  <a:lnTo>
                    <a:pt x="49" y="22"/>
                  </a:lnTo>
                  <a:lnTo>
                    <a:pt x="0" y="26"/>
                  </a:lnTo>
                  <a:lnTo>
                    <a:pt x="0" y="26"/>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76" name="Freeform 5784"/>
            <p:cNvSpPr>
              <a:spLocks/>
            </p:cNvSpPr>
            <p:nvPr>
              <p:custDataLst>
                <p:tags r:id="rId154"/>
              </p:custDataLst>
            </p:nvPr>
          </p:nvSpPr>
          <p:spPr bwMode="gray">
            <a:xfrm>
              <a:off x="6733107" y="3234136"/>
              <a:ext cx="82118" cy="41106"/>
            </a:xfrm>
            <a:custGeom>
              <a:avLst/>
              <a:gdLst/>
              <a:ahLst/>
              <a:cxnLst>
                <a:cxn ang="0">
                  <a:pos x="15" y="32"/>
                </a:cxn>
                <a:cxn ang="0">
                  <a:pos x="12" y="23"/>
                </a:cxn>
                <a:cxn ang="0">
                  <a:pos x="2" y="26"/>
                </a:cxn>
                <a:cxn ang="0">
                  <a:pos x="0" y="21"/>
                </a:cxn>
                <a:cxn ang="0">
                  <a:pos x="15" y="2"/>
                </a:cxn>
                <a:cxn ang="0">
                  <a:pos x="23" y="0"/>
                </a:cxn>
                <a:cxn ang="0">
                  <a:pos x="51" y="2"/>
                </a:cxn>
                <a:cxn ang="0">
                  <a:pos x="55" y="11"/>
                </a:cxn>
                <a:cxn ang="0">
                  <a:pos x="64" y="15"/>
                </a:cxn>
                <a:cxn ang="0">
                  <a:pos x="60" y="25"/>
                </a:cxn>
                <a:cxn ang="0">
                  <a:pos x="49" y="23"/>
                </a:cxn>
                <a:cxn ang="0">
                  <a:pos x="44" y="30"/>
                </a:cxn>
                <a:cxn ang="0">
                  <a:pos x="36" y="23"/>
                </a:cxn>
                <a:cxn ang="0">
                  <a:pos x="15" y="32"/>
                </a:cxn>
                <a:cxn ang="0">
                  <a:pos x="15" y="32"/>
                </a:cxn>
                <a:cxn ang="0">
                  <a:pos x="15" y="32"/>
                </a:cxn>
              </a:cxnLst>
              <a:rect l="0" t="0" r="r" b="b"/>
              <a:pathLst>
                <a:path w="64" h="32">
                  <a:moveTo>
                    <a:pt x="15" y="32"/>
                  </a:moveTo>
                  <a:lnTo>
                    <a:pt x="12" y="23"/>
                  </a:lnTo>
                  <a:lnTo>
                    <a:pt x="2" y="26"/>
                  </a:lnTo>
                  <a:lnTo>
                    <a:pt x="0" y="21"/>
                  </a:lnTo>
                  <a:lnTo>
                    <a:pt x="15" y="2"/>
                  </a:lnTo>
                  <a:lnTo>
                    <a:pt x="23" y="0"/>
                  </a:lnTo>
                  <a:lnTo>
                    <a:pt x="51" y="2"/>
                  </a:lnTo>
                  <a:lnTo>
                    <a:pt x="55" y="11"/>
                  </a:lnTo>
                  <a:lnTo>
                    <a:pt x="64" y="15"/>
                  </a:lnTo>
                  <a:lnTo>
                    <a:pt x="60" y="25"/>
                  </a:lnTo>
                  <a:lnTo>
                    <a:pt x="49" y="23"/>
                  </a:lnTo>
                  <a:lnTo>
                    <a:pt x="44" y="30"/>
                  </a:lnTo>
                  <a:lnTo>
                    <a:pt x="36" y="23"/>
                  </a:lnTo>
                  <a:lnTo>
                    <a:pt x="15" y="32"/>
                  </a:lnTo>
                  <a:lnTo>
                    <a:pt x="15" y="32"/>
                  </a:lnTo>
                  <a:lnTo>
                    <a:pt x="15" y="32"/>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77" name="Freeform 5785"/>
            <p:cNvSpPr>
              <a:spLocks/>
            </p:cNvSpPr>
            <p:nvPr>
              <p:custDataLst>
                <p:tags r:id="rId155"/>
              </p:custDataLst>
            </p:nvPr>
          </p:nvSpPr>
          <p:spPr bwMode="gray">
            <a:xfrm>
              <a:off x="6985876" y="3349746"/>
              <a:ext cx="33360" cy="71935"/>
            </a:xfrm>
            <a:custGeom>
              <a:avLst/>
              <a:gdLst/>
              <a:ahLst/>
              <a:cxnLst>
                <a:cxn ang="0">
                  <a:pos x="19" y="19"/>
                </a:cxn>
                <a:cxn ang="0">
                  <a:pos x="26" y="34"/>
                </a:cxn>
                <a:cxn ang="0">
                  <a:pos x="26" y="39"/>
                </a:cxn>
                <a:cxn ang="0">
                  <a:pos x="13" y="54"/>
                </a:cxn>
                <a:cxn ang="0">
                  <a:pos x="13" y="56"/>
                </a:cxn>
                <a:cxn ang="0">
                  <a:pos x="0" y="43"/>
                </a:cxn>
                <a:cxn ang="0">
                  <a:pos x="0" y="15"/>
                </a:cxn>
                <a:cxn ang="0">
                  <a:pos x="0" y="15"/>
                </a:cxn>
                <a:cxn ang="0">
                  <a:pos x="4" y="0"/>
                </a:cxn>
                <a:cxn ang="0">
                  <a:pos x="11" y="4"/>
                </a:cxn>
                <a:cxn ang="0">
                  <a:pos x="19" y="19"/>
                </a:cxn>
                <a:cxn ang="0">
                  <a:pos x="19" y="19"/>
                </a:cxn>
              </a:cxnLst>
              <a:rect l="0" t="0" r="r" b="b"/>
              <a:pathLst>
                <a:path w="26" h="56">
                  <a:moveTo>
                    <a:pt x="19" y="19"/>
                  </a:moveTo>
                  <a:lnTo>
                    <a:pt x="26" y="34"/>
                  </a:lnTo>
                  <a:lnTo>
                    <a:pt x="26" y="39"/>
                  </a:lnTo>
                  <a:lnTo>
                    <a:pt x="13" y="54"/>
                  </a:lnTo>
                  <a:lnTo>
                    <a:pt x="13" y="56"/>
                  </a:lnTo>
                  <a:lnTo>
                    <a:pt x="0" y="43"/>
                  </a:lnTo>
                  <a:lnTo>
                    <a:pt x="0" y="15"/>
                  </a:lnTo>
                  <a:lnTo>
                    <a:pt x="0" y="15"/>
                  </a:lnTo>
                  <a:lnTo>
                    <a:pt x="4" y="0"/>
                  </a:lnTo>
                  <a:lnTo>
                    <a:pt x="11" y="4"/>
                  </a:lnTo>
                  <a:lnTo>
                    <a:pt x="19" y="19"/>
                  </a:lnTo>
                  <a:lnTo>
                    <a:pt x="19" y="1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78" name="Freeform 5786"/>
            <p:cNvSpPr>
              <a:spLocks/>
            </p:cNvSpPr>
            <p:nvPr>
              <p:custDataLst>
                <p:tags r:id="rId156"/>
              </p:custDataLst>
            </p:nvPr>
          </p:nvSpPr>
          <p:spPr bwMode="gray">
            <a:xfrm>
              <a:off x="6921722" y="3212298"/>
              <a:ext cx="121894" cy="65513"/>
            </a:xfrm>
            <a:custGeom>
              <a:avLst/>
              <a:gdLst/>
              <a:ahLst/>
              <a:cxnLst>
                <a:cxn ang="0">
                  <a:pos x="3" y="32"/>
                </a:cxn>
                <a:cxn ang="0">
                  <a:pos x="26" y="51"/>
                </a:cxn>
                <a:cxn ang="0">
                  <a:pos x="59" y="43"/>
                </a:cxn>
                <a:cxn ang="0">
                  <a:pos x="73" y="40"/>
                </a:cxn>
                <a:cxn ang="0">
                  <a:pos x="86" y="15"/>
                </a:cxn>
                <a:cxn ang="0">
                  <a:pos x="95" y="12"/>
                </a:cxn>
                <a:cxn ang="0">
                  <a:pos x="86" y="4"/>
                </a:cxn>
                <a:cxn ang="0">
                  <a:pos x="84" y="2"/>
                </a:cxn>
                <a:cxn ang="0">
                  <a:pos x="65" y="0"/>
                </a:cxn>
                <a:cxn ang="0">
                  <a:pos x="30" y="15"/>
                </a:cxn>
                <a:cxn ang="0">
                  <a:pos x="15" y="10"/>
                </a:cxn>
                <a:cxn ang="0">
                  <a:pos x="0" y="30"/>
                </a:cxn>
                <a:cxn ang="0">
                  <a:pos x="3" y="32"/>
                </a:cxn>
                <a:cxn ang="0">
                  <a:pos x="3" y="32"/>
                </a:cxn>
              </a:cxnLst>
              <a:rect l="0" t="0" r="r" b="b"/>
              <a:pathLst>
                <a:path w="95" h="51">
                  <a:moveTo>
                    <a:pt x="3" y="32"/>
                  </a:moveTo>
                  <a:lnTo>
                    <a:pt x="26" y="51"/>
                  </a:lnTo>
                  <a:lnTo>
                    <a:pt x="59" y="43"/>
                  </a:lnTo>
                  <a:lnTo>
                    <a:pt x="73" y="40"/>
                  </a:lnTo>
                  <a:lnTo>
                    <a:pt x="86" y="15"/>
                  </a:lnTo>
                  <a:lnTo>
                    <a:pt x="95" y="12"/>
                  </a:lnTo>
                  <a:lnTo>
                    <a:pt x="86" y="4"/>
                  </a:lnTo>
                  <a:lnTo>
                    <a:pt x="84" y="2"/>
                  </a:lnTo>
                  <a:lnTo>
                    <a:pt x="65" y="0"/>
                  </a:lnTo>
                  <a:lnTo>
                    <a:pt x="30" y="15"/>
                  </a:lnTo>
                  <a:lnTo>
                    <a:pt x="15" y="10"/>
                  </a:lnTo>
                  <a:lnTo>
                    <a:pt x="0" y="30"/>
                  </a:lnTo>
                  <a:lnTo>
                    <a:pt x="3" y="32"/>
                  </a:lnTo>
                  <a:lnTo>
                    <a:pt x="3" y="3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79" name="Freeform 5787"/>
            <p:cNvSpPr>
              <a:spLocks/>
            </p:cNvSpPr>
            <p:nvPr>
              <p:custDataLst>
                <p:tags r:id="rId157"/>
              </p:custDataLst>
            </p:nvPr>
          </p:nvSpPr>
          <p:spPr bwMode="gray">
            <a:xfrm>
              <a:off x="7544021" y="3650333"/>
              <a:ext cx="35927" cy="34683"/>
            </a:xfrm>
            <a:custGeom>
              <a:avLst/>
              <a:gdLst/>
              <a:ahLst/>
              <a:cxnLst>
                <a:cxn ang="0">
                  <a:pos x="0" y="15"/>
                </a:cxn>
                <a:cxn ang="0">
                  <a:pos x="11" y="0"/>
                </a:cxn>
                <a:cxn ang="0">
                  <a:pos x="28" y="0"/>
                </a:cxn>
                <a:cxn ang="0">
                  <a:pos x="28" y="0"/>
                </a:cxn>
                <a:cxn ang="0">
                  <a:pos x="26" y="8"/>
                </a:cxn>
                <a:cxn ang="0">
                  <a:pos x="17" y="10"/>
                </a:cxn>
                <a:cxn ang="0">
                  <a:pos x="28" y="27"/>
                </a:cxn>
                <a:cxn ang="0">
                  <a:pos x="28" y="25"/>
                </a:cxn>
                <a:cxn ang="0">
                  <a:pos x="0" y="15"/>
                </a:cxn>
                <a:cxn ang="0">
                  <a:pos x="0" y="15"/>
                </a:cxn>
                <a:cxn ang="0">
                  <a:pos x="0" y="15"/>
                </a:cxn>
              </a:cxnLst>
              <a:rect l="0" t="0" r="r" b="b"/>
              <a:pathLst>
                <a:path w="28" h="27">
                  <a:moveTo>
                    <a:pt x="0" y="15"/>
                  </a:moveTo>
                  <a:lnTo>
                    <a:pt x="11" y="0"/>
                  </a:lnTo>
                  <a:lnTo>
                    <a:pt x="28" y="0"/>
                  </a:lnTo>
                  <a:lnTo>
                    <a:pt x="28" y="0"/>
                  </a:lnTo>
                  <a:lnTo>
                    <a:pt x="26" y="8"/>
                  </a:lnTo>
                  <a:lnTo>
                    <a:pt x="17" y="10"/>
                  </a:lnTo>
                  <a:lnTo>
                    <a:pt x="28" y="27"/>
                  </a:lnTo>
                  <a:lnTo>
                    <a:pt x="28" y="25"/>
                  </a:lnTo>
                  <a:lnTo>
                    <a:pt x="0" y="15"/>
                  </a:lnTo>
                  <a:lnTo>
                    <a:pt x="0" y="15"/>
                  </a:lnTo>
                  <a:lnTo>
                    <a:pt x="0" y="1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80" name="Freeform 5788"/>
            <p:cNvSpPr>
              <a:spLocks/>
            </p:cNvSpPr>
            <p:nvPr>
              <p:custDataLst>
                <p:tags r:id="rId158"/>
              </p:custDataLst>
            </p:nvPr>
          </p:nvSpPr>
          <p:spPr bwMode="gray">
            <a:xfrm>
              <a:off x="7508095" y="3663178"/>
              <a:ext cx="35927" cy="14130"/>
            </a:xfrm>
            <a:custGeom>
              <a:avLst/>
              <a:gdLst/>
              <a:ahLst/>
              <a:cxnLst>
                <a:cxn ang="0">
                  <a:pos x="0" y="3"/>
                </a:cxn>
                <a:cxn ang="0">
                  <a:pos x="9" y="0"/>
                </a:cxn>
                <a:cxn ang="0">
                  <a:pos x="28" y="5"/>
                </a:cxn>
                <a:cxn ang="0">
                  <a:pos x="28" y="5"/>
                </a:cxn>
                <a:cxn ang="0">
                  <a:pos x="11" y="11"/>
                </a:cxn>
                <a:cxn ang="0">
                  <a:pos x="0" y="3"/>
                </a:cxn>
                <a:cxn ang="0">
                  <a:pos x="0" y="3"/>
                </a:cxn>
              </a:cxnLst>
              <a:rect l="0" t="0" r="r" b="b"/>
              <a:pathLst>
                <a:path w="28" h="11">
                  <a:moveTo>
                    <a:pt x="0" y="3"/>
                  </a:moveTo>
                  <a:lnTo>
                    <a:pt x="9" y="0"/>
                  </a:lnTo>
                  <a:lnTo>
                    <a:pt x="28" y="5"/>
                  </a:lnTo>
                  <a:lnTo>
                    <a:pt x="28" y="5"/>
                  </a:lnTo>
                  <a:lnTo>
                    <a:pt x="11" y="11"/>
                  </a:lnTo>
                  <a:lnTo>
                    <a:pt x="0" y="3"/>
                  </a:lnTo>
                  <a:lnTo>
                    <a:pt x="0" y="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81" name="Freeform 5789"/>
            <p:cNvSpPr>
              <a:spLocks/>
            </p:cNvSpPr>
            <p:nvPr>
              <p:custDataLst>
                <p:tags r:id="rId159"/>
              </p:custDataLst>
            </p:nvPr>
          </p:nvSpPr>
          <p:spPr bwMode="gray">
            <a:xfrm>
              <a:off x="6344330" y="3511600"/>
              <a:ext cx="239938" cy="191399"/>
            </a:xfrm>
            <a:custGeom>
              <a:avLst/>
              <a:gdLst/>
              <a:ahLst/>
              <a:cxnLst>
                <a:cxn ang="0">
                  <a:pos x="182" y="18"/>
                </a:cxn>
                <a:cxn ang="0">
                  <a:pos x="187" y="63"/>
                </a:cxn>
                <a:cxn ang="0">
                  <a:pos x="148" y="75"/>
                </a:cxn>
                <a:cxn ang="0">
                  <a:pos x="148" y="86"/>
                </a:cxn>
                <a:cxn ang="0">
                  <a:pos x="120" y="106"/>
                </a:cxn>
                <a:cxn ang="0">
                  <a:pos x="79" y="121"/>
                </a:cxn>
                <a:cxn ang="0">
                  <a:pos x="71" y="127"/>
                </a:cxn>
                <a:cxn ang="0">
                  <a:pos x="69" y="149"/>
                </a:cxn>
                <a:cxn ang="0">
                  <a:pos x="0" y="149"/>
                </a:cxn>
                <a:cxn ang="0">
                  <a:pos x="22" y="140"/>
                </a:cxn>
                <a:cxn ang="0">
                  <a:pos x="51" y="112"/>
                </a:cxn>
                <a:cxn ang="0">
                  <a:pos x="54" y="101"/>
                </a:cxn>
                <a:cxn ang="0">
                  <a:pos x="52" y="80"/>
                </a:cxn>
                <a:cxn ang="0">
                  <a:pos x="62" y="61"/>
                </a:cxn>
                <a:cxn ang="0">
                  <a:pos x="75" y="48"/>
                </a:cxn>
                <a:cxn ang="0">
                  <a:pos x="101" y="33"/>
                </a:cxn>
                <a:cxn ang="0">
                  <a:pos x="118" y="1"/>
                </a:cxn>
                <a:cxn ang="0">
                  <a:pos x="125" y="0"/>
                </a:cxn>
                <a:cxn ang="0">
                  <a:pos x="139" y="11"/>
                </a:cxn>
                <a:cxn ang="0">
                  <a:pos x="161" y="9"/>
                </a:cxn>
                <a:cxn ang="0">
                  <a:pos x="176" y="11"/>
                </a:cxn>
                <a:cxn ang="0">
                  <a:pos x="182" y="18"/>
                </a:cxn>
                <a:cxn ang="0">
                  <a:pos x="182" y="18"/>
                </a:cxn>
              </a:cxnLst>
              <a:rect l="0" t="0" r="r" b="b"/>
              <a:pathLst>
                <a:path w="187" h="149">
                  <a:moveTo>
                    <a:pt x="182" y="18"/>
                  </a:moveTo>
                  <a:lnTo>
                    <a:pt x="187" y="63"/>
                  </a:lnTo>
                  <a:lnTo>
                    <a:pt x="148" y="75"/>
                  </a:lnTo>
                  <a:lnTo>
                    <a:pt x="148" y="86"/>
                  </a:lnTo>
                  <a:lnTo>
                    <a:pt x="120" y="106"/>
                  </a:lnTo>
                  <a:lnTo>
                    <a:pt x="79" y="121"/>
                  </a:lnTo>
                  <a:lnTo>
                    <a:pt x="71" y="127"/>
                  </a:lnTo>
                  <a:lnTo>
                    <a:pt x="69" y="149"/>
                  </a:lnTo>
                  <a:lnTo>
                    <a:pt x="0" y="149"/>
                  </a:lnTo>
                  <a:lnTo>
                    <a:pt x="22" y="140"/>
                  </a:lnTo>
                  <a:lnTo>
                    <a:pt x="51" y="112"/>
                  </a:lnTo>
                  <a:lnTo>
                    <a:pt x="54" y="101"/>
                  </a:lnTo>
                  <a:lnTo>
                    <a:pt x="52" y="80"/>
                  </a:lnTo>
                  <a:lnTo>
                    <a:pt x="62" y="61"/>
                  </a:lnTo>
                  <a:lnTo>
                    <a:pt x="75" y="48"/>
                  </a:lnTo>
                  <a:lnTo>
                    <a:pt x="101" y="33"/>
                  </a:lnTo>
                  <a:lnTo>
                    <a:pt x="118" y="1"/>
                  </a:lnTo>
                  <a:lnTo>
                    <a:pt x="125" y="0"/>
                  </a:lnTo>
                  <a:lnTo>
                    <a:pt x="139" y="11"/>
                  </a:lnTo>
                  <a:lnTo>
                    <a:pt x="161" y="9"/>
                  </a:lnTo>
                  <a:lnTo>
                    <a:pt x="176" y="11"/>
                  </a:lnTo>
                  <a:lnTo>
                    <a:pt x="182" y="18"/>
                  </a:lnTo>
                  <a:lnTo>
                    <a:pt x="182" y="1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82" name="Freeform 5790"/>
            <p:cNvSpPr>
              <a:spLocks/>
            </p:cNvSpPr>
            <p:nvPr>
              <p:custDataLst>
                <p:tags r:id="rId160"/>
              </p:custDataLst>
            </p:nvPr>
          </p:nvSpPr>
          <p:spPr bwMode="gray">
            <a:xfrm>
              <a:off x="7453727" y="4037083"/>
              <a:ext cx="30794" cy="44960"/>
            </a:xfrm>
            <a:custGeom>
              <a:avLst/>
              <a:gdLst/>
              <a:ahLst/>
              <a:cxnLst>
                <a:cxn ang="0">
                  <a:pos x="22" y="24"/>
                </a:cxn>
                <a:cxn ang="0">
                  <a:pos x="15" y="20"/>
                </a:cxn>
                <a:cxn ang="0">
                  <a:pos x="24" y="15"/>
                </a:cxn>
                <a:cxn ang="0">
                  <a:pos x="22" y="7"/>
                </a:cxn>
                <a:cxn ang="0">
                  <a:pos x="15" y="0"/>
                </a:cxn>
                <a:cxn ang="0">
                  <a:pos x="15" y="2"/>
                </a:cxn>
                <a:cxn ang="0">
                  <a:pos x="5" y="9"/>
                </a:cxn>
                <a:cxn ang="0">
                  <a:pos x="0" y="28"/>
                </a:cxn>
                <a:cxn ang="0">
                  <a:pos x="0" y="34"/>
                </a:cxn>
                <a:cxn ang="0">
                  <a:pos x="16" y="34"/>
                </a:cxn>
                <a:cxn ang="0">
                  <a:pos x="16" y="35"/>
                </a:cxn>
                <a:cxn ang="0">
                  <a:pos x="22" y="24"/>
                </a:cxn>
                <a:cxn ang="0">
                  <a:pos x="22" y="24"/>
                </a:cxn>
                <a:cxn ang="0">
                  <a:pos x="22" y="24"/>
                </a:cxn>
              </a:cxnLst>
              <a:rect l="0" t="0" r="r" b="b"/>
              <a:pathLst>
                <a:path w="24" h="35">
                  <a:moveTo>
                    <a:pt x="22" y="24"/>
                  </a:moveTo>
                  <a:lnTo>
                    <a:pt x="15" y="20"/>
                  </a:lnTo>
                  <a:lnTo>
                    <a:pt x="24" y="15"/>
                  </a:lnTo>
                  <a:lnTo>
                    <a:pt x="22" y="7"/>
                  </a:lnTo>
                  <a:lnTo>
                    <a:pt x="15" y="0"/>
                  </a:lnTo>
                  <a:lnTo>
                    <a:pt x="15" y="2"/>
                  </a:lnTo>
                  <a:lnTo>
                    <a:pt x="5" y="9"/>
                  </a:lnTo>
                  <a:lnTo>
                    <a:pt x="0" y="28"/>
                  </a:lnTo>
                  <a:lnTo>
                    <a:pt x="0" y="34"/>
                  </a:lnTo>
                  <a:lnTo>
                    <a:pt x="16" y="34"/>
                  </a:lnTo>
                  <a:lnTo>
                    <a:pt x="16" y="35"/>
                  </a:lnTo>
                  <a:lnTo>
                    <a:pt x="22" y="24"/>
                  </a:lnTo>
                  <a:lnTo>
                    <a:pt x="22" y="24"/>
                  </a:lnTo>
                  <a:lnTo>
                    <a:pt x="22" y="2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83" name="Freeform 5791"/>
            <p:cNvSpPr>
              <a:spLocks/>
            </p:cNvSpPr>
            <p:nvPr>
              <p:custDataLst>
                <p:tags r:id="rId161"/>
              </p:custDataLst>
            </p:nvPr>
          </p:nvSpPr>
          <p:spPr bwMode="gray">
            <a:xfrm>
              <a:off x="6254036" y="4015246"/>
              <a:ext cx="62872" cy="21838"/>
            </a:xfrm>
            <a:custGeom>
              <a:avLst/>
              <a:gdLst/>
              <a:ahLst/>
              <a:cxnLst>
                <a:cxn ang="0">
                  <a:pos x="2" y="17"/>
                </a:cxn>
                <a:cxn ang="0">
                  <a:pos x="26" y="10"/>
                </a:cxn>
                <a:cxn ang="0">
                  <a:pos x="47" y="12"/>
                </a:cxn>
                <a:cxn ang="0">
                  <a:pos x="49" y="8"/>
                </a:cxn>
                <a:cxn ang="0">
                  <a:pos x="26" y="0"/>
                </a:cxn>
                <a:cxn ang="0">
                  <a:pos x="2" y="6"/>
                </a:cxn>
                <a:cxn ang="0">
                  <a:pos x="2" y="6"/>
                </a:cxn>
                <a:cxn ang="0">
                  <a:pos x="0" y="15"/>
                </a:cxn>
                <a:cxn ang="0">
                  <a:pos x="2" y="17"/>
                </a:cxn>
                <a:cxn ang="0">
                  <a:pos x="2" y="17"/>
                </a:cxn>
              </a:cxnLst>
              <a:rect l="0" t="0" r="r" b="b"/>
              <a:pathLst>
                <a:path w="49" h="17">
                  <a:moveTo>
                    <a:pt x="2" y="17"/>
                  </a:moveTo>
                  <a:lnTo>
                    <a:pt x="26" y="10"/>
                  </a:lnTo>
                  <a:lnTo>
                    <a:pt x="47" y="12"/>
                  </a:lnTo>
                  <a:lnTo>
                    <a:pt x="49" y="8"/>
                  </a:lnTo>
                  <a:lnTo>
                    <a:pt x="26" y="0"/>
                  </a:lnTo>
                  <a:lnTo>
                    <a:pt x="2" y="6"/>
                  </a:lnTo>
                  <a:lnTo>
                    <a:pt x="2" y="6"/>
                  </a:lnTo>
                  <a:lnTo>
                    <a:pt x="0" y="15"/>
                  </a:lnTo>
                  <a:lnTo>
                    <a:pt x="2" y="17"/>
                  </a:lnTo>
                  <a:lnTo>
                    <a:pt x="2" y="1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84" name="Freeform 5792"/>
            <p:cNvSpPr>
              <a:spLocks/>
            </p:cNvSpPr>
            <p:nvPr>
              <p:custDataLst>
                <p:tags r:id="rId162"/>
              </p:custDataLst>
            </p:nvPr>
          </p:nvSpPr>
          <p:spPr bwMode="gray">
            <a:xfrm>
              <a:off x="7190693" y="4395475"/>
              <a:ext cx="32077" cy="47529"/>
            </a:xfrm>
            <a:custGeom>
              <a:avLst/>
              <a:gdLst/>
              <a:ahLst/>
              <a:cxnLst>
                <a:cxn ang="0">
                  <a:pos x="0" y="6"/>
                </a:cxn>
                <a:cxn ang="0">
                  <a:pos x="25" y="0"/>
                </a:cxn>
                <a:cxn ang="0">
                  <a:pos x="25" y="19"/>
                </a:cxn>
                <a:cxn ang="0">
                  <a:pos x="10" y="37"/>
                </a:cxn>
                <a:cxn ang="0">
                  <a:pos x="6" y="37"/>
                </a:cxn>
                <a:cxn ang="0">
                  <a:pos x="2" y="19"/>
                </a:cxn>
                <a:cxn ang="0">
                  <a:pos x="0" y="6"/>
                </a:cxn>
                <a:cxn ang="0">
                  <a:pos x="0" y="6"/>
                </a:cxn>
              </a:cxnLst>
              <a:rect l="0" t="0" r="r" b="b"/>
              <a:pathLst>
                <a:path w="25" h="37">
                  <a:moveTo>
                    <a:pt x="0" y="6"/>
                  </a:moveTo>
                  <a:lnTo>
                    <a:pt x="25" y="0"/>
                  </a:lnTo>
                  <a:lnTo>
                    <a:pt x="25" y="19"/>
                  </a:lnTo>
                  <a:lnTo>
                    <a:pt x="10" y="37"/>
                  </a:lnTo>
                  <a:lnTo>
                    <a:pt x="6" y="37"/>
                  </a:lnTo>
                  <a:lnTo>
                    <a:pt x="2" y="19"/>
                  </a:lnTo>
                  <a:lnTo>
                    <a:pt x="0" y="6"/>
                  </a:lnTo>
                  <a:lnTo>
                    <a:pt x="0" y="6"/>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85" name="Freeform 5793"/>
            <p:cNvSpPr>
              <a:spLocks/>
            </p:cNvSpPr>
            <p:nvPr>
              <p:custDataLst>
                <p:tags r:id="rId163"/>
              </p:custDataLst>
            </p:nvPr>
          </p:nvSpPr>
          <p:spPr bwMode="gray">
            <a:xfrm>
              <a:off x="7189410" y="4364646"/>
              <a:ext cx="38493" cy="38537"/>
            </a:xfrm>
            <a:custGeom>
              <a:avLst/>
              <a:gdLst/>
              <a:ahLst/>
              <a:cxnLst>
                <a:cxn ang="0">
                  <a:pos x="26" y="24"/>
                </a:cxn>
                <a:cxn ang="0">
                  <a:pos x="1" y="30"/>
                </a:cxn>
                <a:cxn ang="0">
                  <a:pos x="0" y="24"/>
                </a:cxn>
                <a:cxn ang="0">
                  <a:pos x="11" y="3"/>
                </a:cxn>
                <a:cxn ang="0">
                  <a:pos x="22" y="0"/>
                </a:cxn>
                <a:cxn ang="0">
                  <a:pos x="22" y="0"/>
                </a:cxn>
                <a:cxn ang="0">
                  <a:pos x="30" y="13"/>
                </a:cxn>
                <a:cxn ang="0">
                  <a:pos x="26" y="24"/>
                </a:cxn>
                <a:cxn ang="0">
                  <a:pos x="26" y="24"/>
                </a:cxn>
              </a:cxnLst>
              <a:rect l="0" t="0" r="r" b="b"/>
              <a:pathLst>
                <a:path w="30" h="30">
                  <a:moveTo>
                    <a:pt x="26" y="24"/>
                  </a:moveTo>
                  <a:lnTo>
                    <a:pt x="1" y="30"/>
                  </a:lnTo>
                  <a:lnTo>
                    <a:pt x="0" y="24"/>
                  </a:lnTo>
                  <a:lnTo>
                    <a:pt x="11" y="3"/>
                  </a:lnTo>
                  <a:lnTo>
                    <a:pt x="22" y="0"/>
                  </a:lnTo>
                  <a:lnTo>
                    <a:pt x="22" y="0"/>
                  </a:lnTo>
                  <a:lnTo>
                    <a:pt x="30" y="13"/>
                  </a:lnTo>
                  <a:lnTo>
                    <a:pt x="26" y="24"/>
                  </a:lnTo>
                  <a:lnTo>
                    <a:pt x="26" y="2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86" name="Freeform 5794"/>
            <p:cNvSpPr>
              <a:spLocks/>
            </p:cNvSpPr>
            <p:nvPr>
              <p:custDataLst>
                <p:tags r:id="rId164"/>
              </p:custDataLst>
            </p:nvPr>
          </p:nvSpPr>
          <p:spPr bwMode="gray">
            <a:xfrm>
              <a:off x="7212506" y="4951689"/>
              <a:ext cx="24379" cy="30829"/>
            </a:xfrm>
            <a:custGeom>
              <a:avLst/>
              <a:gdLst/>
              <a:ahLst/>
              <a:cxnLst>
                <a:cxn ang="0">
                  <a:pos x="19" y="17"/>
                </a:cxn>
                <a:cxn ang="0">
                  <a:pos x="19" y="0"/>
                </a:cxn>
                <a:cxn ang="0">
                  <a:pos x="6" y="0"/>
                </a:cxn>
                <a:cxn ang="0">
                  <a:pos x="0" y="17"/>
                </a:cxn>
                <a:cxn ang="0">
                  <a:pos x="10" y="24"/>
                </a:cxn>
                <a:cxn ang="0">
                  <a:pos x="19" y="17"/>
                </a:cxn>
                <a:cxn ang="0">
                  <a:pos x="19" y="17"/>
                </a:cxn>
              </a:cxnLst>
              <a:rect l="0" t="0" r="r" b="b"/>
              <a:pathLst>
                <a:path w="19" h="24">
                  <a:moveTo>
                    <a:pt x="19" y="17"/>
                  </a:moveTo>
                  <a:lnTo>
                    <a:pt x="19" y="0"/>
                  </a:lnTo>
                  <a:lnTo>
                    <a:pt x="6" y="0"/>
                  </a:lnTo>
                  <a:lnTo>
                    <a:pt x="0" y="17"/>
                  </a:lnTo>
                  <a:lnTo>
                    <a:pt x="10" y="24"/>
                  </a:lnTo>
                  <a:lnTo>
                    <a:pt x="19" y="17"/>
                  </a:lnTo>
                  <a:lnTo>
                    <a:pt x="19" y="1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87" name="Freeform 5795"/>
            <p:cNvSpPr>
              <a:spLocks/>
            </p:cNvSpPr>
            <p:nvPr>
              <p:custDataLst>
                <p:tags r:id="rId165"/>
              </p:custDataLst>
            </p:nvPr>
          </p:nvSpPr>
          <p:spPr bwMode="gray">
            <a:xfrm>
              <a:off x="6991814" y="4761575"/>
              <a:ext cx="192464" cy="211952"/>
            </a:xfrm>
            <a:custGeom>
              <a:avLst/>
              <a:gdLst/>
              <a:ahLst/>
              <a:cxnLst>
                <a:cxn ang="0">
                  <a:pos x="86" y="0"/>
                </a:cxn>
                <a:cxn ang="0">
                  <a:pos x="99" y="30"/>
                </a:cxn>
                <a:cxn ang="0">
                  <a:pos x="125" y="52"/>
                </a:cxn>
                <a:cxn ang="0">
                  <a:pos x="131" y="71"/>
                </a:cxn>
                <a:cxn ang="0">
                  <a:pos x="150" y="78"/>
                </a:cxn>
                <a:cxn ang="0">
                  <a:pos x="122" y="99"/>
                </a:cxn>
                <a:cxn ang="0">
                  <a:pos x="86" y="142"/>
                </a:cxn>
                <a:cxn ang="0">
                  <a:pos x="71" y="144"/>
                </a:cxn>
                <a:cxn ang="0">
                  <a:pos x="56" y="138"/>
                </a:cxn>
                <a:cxn ang="0">
                  <a:pos x="34" y="163"/>
                </a:cxn>
                <a:cxn ang="0">
                  <a:pos x="19" y="165"/>
                </a:cxn>
                <a:cxn ang="0">
                  <a:pos x="11" y="161"/>
                </a:cxn>
                <a:cxn ang="0">
                  <a:pos x="11" y="140"/>
                </a:cxn>
                <a:cxn ang="0">
                  <a:pos x="0" y="127"/>
                </a:cxn>
                <a:cxn ang="0">
                  <a:pos x="0" y="127"/>
                </a:cxn>
                <a:cxn ang="0">
                  <a:pos x="0" y="80"/>
                </a:cxn>
                <a:cxn ang="0">
                  <a:pos x="17" y="73"/>
                </a:cxn>
                <a:cxn ang="0">
                  <a:pos x="19" y="11"/>
                </a:cxn>
                <a:cxn ang="0">
                  <a:pos x="51" y="5"/>
                </a:cxn>
                <a:cxn ang="0">
                  <a:pos x="56" y="5"/>
                </a:cxn>
                <a:cxn ang="0">
                  <a:pos x="60" y="15"/>
                </a:cxn>
                <a:cxn ang="0">
                  <a:pos x="69" y="5"/>
                </a:cxn>
                <a:cxn ang="0">
                  <a:pos x="86" y="0"/>
                </a:cxn>
                <a:cxn ang="0">
                  <a:pos x="86" y="0"/>
                </a:cxn>
              </a:cxnLst>
              <a:rect l="0" t="0" r="r" b="b"/>
              <a:pathLst>
                <a:path w="150" h="165">
                  <a:moveTo>
                    <a:pt x="86" y="0"/>
                  </a:moveTo>
                  <a:lnTo>
                    <a:pt x="99" y="30"/>
                  </a:lnTo>
                  <a:lnTo>
                    <a:pt x="125" y="52"/>
                  </a:lnTo>
                  <a:lnTo>
                    <a:pt x="131" y="71"/>
                  </a:lnTo>
                  <a:lnTo>
                    <a:pt x="150" y="78"/>
                  </a:lnTo>
                  <a:lnTo>
                    <a:pt x="122" y="99"/>
                  </a:lnTo>
                  <a:lnTo>
                    <a:pt x="86" y="142"/>
                  </a:lnTo>
                  <a:lnTo>
                    <a:pt x="71" y="144"/>
                  </a:lnTo>
                  <a:lnTo>
                    <a:pt x="56" y="138"/>
                  </a:lnTo>
                  <a:lnTo>
                    <a:pt x="34" y="163"/>
                  </a:lnTo>
                  <a:lnTo>
                    <a:pt x="19" y="165"/>
                  </a:lnTo>
                  <a:lnTo>
                    <a:pt x="11" y="161"/>
                  </a:lnTo>
                  <a:lnTo>
                    <a:pt x="11" y="140"/>
                  </a:lnTo>
                  <a:lnTo>
                    <a:pt x="0" y="127"/>
                  </a:lnTo>
                  <a:lnTo>
                    <a:pt x="0" y="127"/>
                  </a:lnTo>
                  <a:lnTo>
                    <a:pt x="0" y="80"/>
                  </a:lnTo>
                  <a:lnTo>
                    <a:pt x="17" y="73"/>
                  </a:lnTo>
                  <a:lnTo>
                    <a:pt x="19" y="11"/>
                  </a:lnTo>
                  <a:lnTo>
                    <a:pt x="51" y="5"/>
                  </a:lnTo>
                  <a:lnTo>
                    <a:pt x="56" y="5"/>
                  </a:lnTo>
                  <a:lnTo>
                    <a:pt x="60" y="15"/>
                  </a:lnTo>
                  <a:lnTo>
                    <a:pt x="69" y="5"/>
                  </a:lnTo>
                  <a:lnTo>
                    <a:pt x="86" y="0"/>
                  </a:lnTo>
                  <a:lnTo>
                    <a:pt x="86"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88" name="Freeform 5798"/>
            <p:cNvSpPr>
              <a:spLocks/>
            </p:cNvSpPr>
            <p:nvPr>
              <p:custDataLst>
                <p:tags r:id="rId166"/>
              </p:custDataLst>
            </p:nvPr>
          </p:nvSpPr>
          <p:spPr bwMode="gray">
            <a:xfrm>
              <a:off x="4986818" y="498370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89" name="Freeform 5799"/>
            <p:cNvSpPr>
              <a:spLocks/>
            </p:cNvSpPr>
            <p:nvPr>
              <p:custDataLst>
                <p:tags r:id="rId167"/>
              </p:custDataLst>
            </p:nvPr>
          </p:nvSpPr>
          <p:spPr bwMode="gray">
            <a:xfrm>
              <a:off x="5009914" y="515969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90" name="Freeform 5800"/>
            <p:cNvSpPr>
              <a:spLocks/>
            </p:cNvSpPr>
            <p:nvPr>
              <p:custDataLst>
                <p:tags r:id="rId168"/>
              </p:custDataLst>
            </p:nvPr>
          </p:nvSpPr>
          <p:spPr bwMode="gray">
            <a:xfrm>
              <a:off x="5047123" y="515712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91" name="Freeform 5801"/>
            <p:cNvSpPr>
              <a:spLocks/>
            </p:cNvSpPr>
            <p:nvPr>
              <p:custDataLst>
                <p:tags r:id="rId169"/>
              </p:custDataLst>
            </p:nvPr>
          </p:nvSpPr>
          <p:spPr bwMode="gray">
            <a:xfrm>
              <a:off x="5204944" y="5349805"/>
              <a:ext cx="19246" cy="38537"/>
            </a:xfrm>
            <a:custGeom>
              <a:avLst/>
              <a:gdLst/>
              <a:ahLst/>
              <a:cxnLst>
                <a:cxn ang="0">
                  <a:pos x="0" y="0"/>
                </a:cxn>
                <a:cxn ang="0">
                  <a:pos x="8" y="28"/>
                </a:cxn>
                <a:cxn ang="0">
                  <a:pos x="15" y="30"/>
                </a:cxn>
                <a:cxn ang="0">
                  <a:pos x="15" y="9"/>
                </a:cxn>
                <a:cxn ang="0">
                  <a:pos x="0" y="0"/>
                </a:cxn>
                <a:cxn ang="0">
                  <a:pos x="0" y="0"/>
                </a:cxn>
              </a:cxnLst>
              <a:rect l="0" t="0" r="r" b="b"/>
              <a:pathLst>
                <a:path w="15" h="30">
                  <a:moveTo>
                    <a:pt x="0" y="0"/>
                  </a:moveTo>
                  <a:lnTo>
                    <a:pt x="8" y="28"/>
                  </a:lnTo>
                  <a:lnTo>
                    <a:pt x="15" y="30"/>
                  </a:lnTo>
                  <a:lnTo>
                    <a:pt x="15" y="9"/>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92" name="Freeform 5802"/>
            <p:cNvSpPr>
              <a:spLocks/>
            </p:cNvSpPr>
            <p:nvPr>
              <p:custDataLst>
                <p:tags r:id="rId170"/>
              </p:custDataLst>
            </p:nvPr>
          </p:nvSpPr>
          <p:spPr bwMode="gray">
            <a:xfrm>
              <a:off x="5537265" y="5570749"/>
              <a:ext cx="59022" cy="21838"/>
            </a:xfrm>
            <a:custGeom>
              <a:avLst/>
              <a:gdLst/>
              <a:ahLst/>
              <a:cxnLst>
                <a:cxn ang="0">
                  <a:pos x="0" y="8"/>
                </a:cxn>
                <a:cxn ang="0">
                  <a:pos x="26" y="17"/>
                </a:cxn>
                <a:cxn ang="0">
                  <a:pos x="46" y="8"/>
                </a:cxn>
                <a:cxn ang="0">
                  <a:pos x="35" y="0"/>
                </a:cxn>
                <a:cxn ang="0">
                  <a:pos x="16" y="0"/>
                </a:cxn>
                <a:cxn ang="0">
                  <a:pos x="5" y="2"/>
                </a:cxn>
                <a:cxn ang="0">
                  <a:pos x="11" y="8"/>
                </a:cxn>
                <a:cxn ang="0">
                  <a:pos x="9" y="12"/>
                </a:cxn>
                <a:cxn ang="0">
                  <a:pos x="0" y="8"/>
                </a:cxn>
                <a:cxn ang="0">
                  <a:pos x="0" y="8"/>
                </a:cxn>
              </a:cxnLst>
              <a:rect l="0" t="0" r="r" b="b"/>
              <a:pathLst>
                <a:path w="46" h="17">
                  <a:moveTo>
                    <a:pt x="0" y="8"/>
                  </a:moveTo>
                  <a:lnTo>
                    <a:pt x="26" y="17"/>
                  </a:lnTo>
                  <a:lnTo>
                    <a:pt x="46" y="8"/>
                  </a:lnTo>
                  <a:lnTo>
                    <a:pt x="35" y="0"/>
                  </a:lnTo>
                  <a:lnTo>
                    <a:pt x="16" y="0"/>
                  </a:lnTo>
                  <a:lnTo>
                    <a:pt x="5" y="2"/>
                  </a:lnTo>
                  <a:lnTo>
                    <a:pt x="11" y="8"/>
                  </a:lnTo>
                  <a:lnTo>
                    <a:pt x="9" y="12"/>
                  </a:lnTo>
                  <a:lnTo>
                    <a:pt x="0" y="8"/>
                  </a:lnTo>
                  <a:lnTo>
                    <a:pt x="0" y="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93" name="Freeform 5803"/>
            <p:cNvSpPr>
              <a:spLocks/>
            </p:cNvSpPr>
            <p:nvPr>
              <p:custDataLst>
                <p:tags r:id="rId171"/>
              </p:custDataLst>
            </p:nvPr>
          </p:nvSpPr>
          <p:spPr bwMode="gray">
            <a:xfrm>
              <a:off x="5312723" y="4105067"/>
              <a:ext cx="17963" cy="16699"/>
            </a:xfrm>
            <a:custGeom>
              <a:avLst/>
              <a:gdLst/>
              <a:ahLst/>
              <a:cxnLst>
                <a:cxn ang="0">
                  <a:pos x="0" y="13"/>
                </a:cxn>
                <a:cxn ang="0">
                  <a:pos x="10" y="13"/>
                </a:cxn>
                <a:cxn ang="0">
                  <a:pos x="14" y="0"/>
                </a:cxn>
                <a:cxn ang="0">
                  <a:pos x="2" y="2"/>
                </a:cxn>
                <a:cxn ang="0">
                  <a:pos x="6" y="12"/>
                </a:cxn>
                <a:cxn ang="0">
                  <a:pos x="0" y="13"/>
                </a:cxn>
                <a:cxn ang="0">
                  <a:pos x="0" y="13"/>
                </a:cxn>
              </a:cxnLst>
              <a:rect l="0" t="0" r="r" b="b"/>
              <a:pathLst>
                <a:path w="14" h="13">
                  <a:moveTo>
                    <a:pt x="0" y="13"/>
                  </a:moveTo>
                  <a:lnTo>
                    <a:pt x="10" y="13"/>
                  </a:lnTo>
                  <a:lnTo>
                    <a:pt x="14" y="0"/>
                  </a:lnTo>
                  <a:lnTo>
                    <a:pt x="2" y="2"/>
                  </a:lnTo>
                  <a:lnTo>
                    <a:pt x="6" y="12"/>
                  </a:lnTo>
                  <a:lnTo>
                    <a:pt x="0" y="13"/>
                  </a:lnTo>
                  <a:lnTo>
                    <a:pt x="0" y="1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94" name="Freeform 5804"/>
            <p:cNvSpPr>
              <a:spLocks/>
            </p:cNvSpPr>
            <p:nvPr>
              <p:custDataLst>
                <p:tags r:id="rId172"/>
              </p:custDataLst>
            </p:nvPr>
          </p:nvSpPr>
          <p:spPr bwMode="gray">
            <a:xfrm>
              <a:off x="5180565" y="407166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95" name="Freeform 5805"/>
            <p:cNvSpPr>
              <a:spLocks/>
            </p:cNvSpPr>
            <p:nvPr>
              <p:custDataLst>
                <p:tags r:id="rId173"/>
              </p:custDataLst>
            </p:nvPr>
          </p:nvSpPr>
          <p:spPr bwMode="gray">
            <a:xfrm>
              <a:off x="5163885" y="4066530"/>
              <a:ext cx="5132" cy="7707"/>
            </a:xfrm>
            <a:custGeom>
              <a:avLst/>
              <a:gdLst/>
              <a:ahLst/>
              <a:cxnLst>
                <a:cxn ang="0">
                  <a:pos x="0" y="0"/>
                </a:cxn>
                <a:cxn ang="0">
                  <a:pos x="4" y="6"/>
                </a:cxn>
                <a:cxn ang="0">
                  <a:pos x="0" y="0"/>
                </a:cxn>
              </a:cxnLst>
              <a:rect l="0" t="0" r="r" b="b"/>
              <a:pathLst>
                <a:path w="4" h="6">
                  <a:moveTo>
                    <a:pt x="0" y="0"/>
                  </a:moveTo>
                  <a:lnTo>
                    <a:pt x="4" y="6"/>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96" name="Line 5806"/>
            <p:cNvSpPr>
              <a:spLocks noChangeShapeType="1"/>
            </p:cNvSpPr>
            <p:nvPr>
              <p:custDataLst>
                <p:tags r:id="rId174"/>
              </p:custDataLst>
            </p:nvPr>
          </p:nvSpPr>
          <p:spPr bwMode="gray">
            <a:xfrm>
              <a:off x="5163885" y="4066530"/>
              <a:ext cx="5132" cy="7707"/>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97" name="Freeform 5807"/>
            <p:cNvSpPr>
              <a:spLocks/>
            </p:cNvSpPr>
            <p:nvPr>
              <p:custDataLst>
                <p:tags r:id="rId175"/>
              </p:custDataLst>
            </p:nvPr>
          </p:nvSpPr>
          <p:spPr bwMode="gray">
            <a:xfrm>
              <a:off x="5147204" y="40626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98" name="Freeform 5809"/>
            <p:cNvSpPr>
              <a:spLocks/>
            </p:cNvSpPr>
            <p:nvPr>
              <p:custDataLst>
                <p:tags r:id="rId176"/>
              </p:custDataLst>
            </p:nvPr>
          </p:nvSpPr>
          <p:spPr bwMode="gray">
            <a:xfrm>
              <a:off x="4902134" y="3837878"/>
              <a:ext cx="11548" cy="15415"/>
            </a:xfrm>
            <a:custGeom>
              <a:avLst/>
              <a:gdLst/>
              <a:ahLst/>
              <a:cxnLst>
                <a:cxn ang="0">
                  <a:pos x="0" y="4"/>
                </a:cxn>
                <a:cxn ang="0">
                  <a:pos x="0" y="12"/>
                </a:cxn>
                <a:cxn ang="0">
                  <a:pos x="9" y="10"/>
                </a:cxn>
                <a:cxn ang="0">
                  <a:pos x="4" y="0"/>
                </a:cxn>
                <a:cxn ang="0">
                  <a:pos x="0" y="4"/>
                </a:cxn>
                <a:cxn ang="0">
                  <a:pos x="0" y="4"/>
                </a:cxn>
              </a:cxnLst>
              <a:rect l="0" t="0" r="r" b="b"/>
              <a:pathLst>
                <a:path w="9" h="12">
                  <a:moveTo>
                    <a:pt x="0" y="4"/>
                  </a:moveTo>
                  <a:lnTo>
                    <a:pt x="0" y="12"/>
                  </a:lnTo>
                  <a:lnTo>
                    <a:pt x="9" y="10"/>
                  </a:lnTo>
                  <a:lnTo>
                    <a:pt x="4" y="0"/>
                  </a:lnTo>
                  <a:lnTo>
                    <a:pt x="0" y="4"/>
                  </a:lnTo>
                  <a:lnTo>
                    <a:pt x="0" y="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699" name="Freeform 5821"/>
            <p:cNvSpPr>
              <a:spLocks/>
            </p:cNvSpPr>
            <p:nvPr>
              <p:custDataLst>
                <p:tags r:id="rId177"/>
              </p:custDataLst>
            </p:nvPr>
          </p:nvSpPr>
          <p:spPr bwMode="gray">
            <a:xfrm>
              <a:off x="5334536" y="403056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00" name="Freeform 5822"/>
            <p:cNvSpPr>
              <a:spLocks/>
            </p:cNvSpPr>
            <p:nvPr>
              <p:custDataLst>
                <p:tags r:id="rId178"/>
              </p:custDataLst>
            </p:nvPr>
          </p:nvSpPr>
          <p:spPr bwMode="gray">
            <a:xfrm>
              <a:off x="5330687" y="404597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01" name="Freeform 5823"/>
            <p:cNvSpPr>
              <a:spLocks/>
            </p:cNvSpPr>
            <p:nvPr>
              <p:custDataLst>
                <p:tags r:id="rId179"/>
              </p:custDataLst>
            </p:nvPr>
          </p:nvSpPr>
          <p:spPr bwMode="gray">
            <a:xfrm>
              <a:off x="5317856" y="407423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02" name="Freeform 5824"/>
            <p:cNvSpPr>
              <a:spLocks/>
            </p:cNvSpPr>
            <p:nvPr>
              <p:custDataLst>
                <p:tags r:id="rId180"/>
              </p:custDataLst>
            </p:nvPr>
          </p:nvSpPr>
          <p:spPr bwMode="gray">
            <a:xfrm>
              <a:off x="5364047" y="404726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03" name="Freeform 5825"/>
            <p:cNvSpPr>
              <a:spLocks/>
            </p:cNvSpPr>
            <p:nvPr>
              <p:custDataLst>
                <p:tags r:id="rId181"/>
              </p:custDataLst>
            </p:nvPr>
          </p:nvSpPr>
          <p:spPr bwMode="gray">
            <a:xfrm>
              <a:off x="5339668" y="409350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04" name="Freeform 5826"/>
            <p:cNvSpPr>
              <a:spLocks/>
            </p:cNvSpPr>
            <p:nvPr>
              <p:custDataLst>
                <p:tags r:id="rId182"/>
              </p:custDataLst>
            </p:nvPr>
          </p:nvSpPr>
          <p:spPr bwMode="gray">
            <a:xfrm>
              <a:off x="5008630" y="3763374"/>
              <a:ext cx="11548" cy="35968"/>
            </a:xfrm>
            <a:custGeom>
              <a:avLst/>
              <a:gdLst/>
              <a:ahLst/>
              <a:cxnLst>
                <a:cxn ang="0">
                  <a:pos x="3" y="0"/>
                </a:cxn>
                <a:cxn ang="0">
                  <a:pos x="0" y="12"/>
                </a:cxn>
                <a:cxn ang="0">
                  <a:pos x="9" y="28"/>
                </a:cxn>
                <a:cxn ang="0">
                  <a:pos x="9" y="10"/>
                </a:cxn>
                <a:cxn ang="0">
                  <a:pos x="3" y="0"/>
                </a:cxn>
                <a:cxn ang="0">
                  <a:pos x="3" y="0"/>
                </a:cxn>
              </a:cxnLst>
              <a:rect l="0" t="0" r="r" b="b"/>
              <a:pathLst>
                <a:path w="9" h="28">
                  <a:moveTo>
                    <a:pt x="3" y="0"/>
                  </a:moveTo>
                  <a:lnTo>
                    <a:pt x="0" y="12"/>
                  </a:lnTo>
                  <a:lnTo>
                    <a:pt x="9" y="28"/>
                  </a:lnTo>
                  <a:lnTo>
                    <a:pt x="9" y="10"/>
                  </a:lnTo>
                  <a:lnTo>
                    <a:pt x="3" y="0"/>
                  </a:lnTo>
                  <a:lnTo>
                    <a:pt x="3"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05" name="Freeform 5828"/>
            <p:cNvSpPr>
              <a:spLocks/>
            </p:cNvSpPr>
            <p:nvPr>
              <p:custDataLst>
                <p:tags r:id="rId183"/>
              </p:custDataLst>
            </p:nvPr>
          </p:nvSpPr>
          <p:spPr bwMode="gray">
            <a:xfrm>
              <a:off x="5006064" y="3727406"/>
              <a:ext cx="21813" cy="5138"/>
            </a:xfrm>
            <a:custGeom>
              <a:avLst/>
              <a:gdLst/>
              <a:ahLst/>
              <a:cxnLst>
                <a:cxn ang="0">
                  <a:pos x="0" y="0"/>
                </a:cxn>
                <a:cxn ang="0">
                  <a:pos x="17" y="4"/>
                </a:cxn>
                <a:cxn ang="0">
                  <a:pos x="0" y="0"/>
                </a:cxn>
              </a:cxnLst>
              <a:rect l="0" t="0" r="r" b="b"/>
              <a:pathLst>
                <a:path w="17" h="4">
                  <a:moveTo>
                    <a:pt x="0" y="0"/>
                  </a:moveTo>
                  <a:lnTo>
                    <a:pt x="17" y="4"/>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06" name="Line 5829"/>
            <p:cNvSpPr>
              <a:spLocks noChangeShapeType="1"/>
            </p:cNvSpPr>
            <p:nvPr>
              <p:custDataLst>
                <p:tags r:id="rId184"/>
              </p:custDataLst>
            </p:nvPr>
          </p:nvSpPr>
          <p:spPr bwMode="gray">
            <a:xfrm>
              <a:off x="5006064" y="3727406"/>
              <a:ext cx="21813" cy="5138"/>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07" name="Freeform 5834"/>
            <p:cNvSpPr>
              <a:spLocks/>
            </p:cNvSpPr>
            <p:nvPr>
              <p:custDataLst>
                <p:tags r:id="rId185"/>
              </p:custDataLst>
            </p:nvPr>
          </p:nvSpPr>
          <p:spPr bwMode="gray">
            <a:xfrm>
              <a:off x="5029160" y="376594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08" name="Freeform 5856"/>
            <p:cNvSpPr>
              <a:spLocks/>
            </p:cNvSpPr>
            <p:nvPr>
              <p:custDataLst>
                <p:tags r:id="rId186"/>
              </p:custDataLst>
            </p:nvPr>
          </p:nvSpPr>
          <p:spPr bwMode="gray">
            <a:xfrm>
              <a:off x="4938060" y="3776220"/>
              <a:ext cx="10265" cy="2569"/>
            </a:xfrm>
            <a:custGeom>
              <a:avLst/>
              <a:gdLst/>
              <a:ahLst/>
              <a:cxnLst>
                <a:cxn ang="0">
                  <a:pos x="0" y="2"/>
                </a:cxn>
                <a:cxn ang="0">
                  <a:pos x="8" y="0"/>
                </a:cxn>
                <a:cxn ang="0">
                  <a:pos x="0" y="2"/>
                </a:cxn>
              </a:cxnLst>
              <a:rect l="0" t="0" r="r" b="b"/>
              <a:pathLst>
                <a:path w="8" h="2">
                  <a:moveTo>
                    <a:pt x="0" y="2"/>
                  </a:moveTo>
                  <a:lnTo>
                    <a:pt x="8" y="0"/>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09" name="Line 5857"/>
            <p:cNvSpPr>
              <a:spLocks noChangeShapeType="1"/>
            </p:cNvSpPr>
            <p:nvPr>
              <p:custDataLst>
                <p:tags r:id="rId187"/>
              </p:custDataLst>
            </p:nvPr>
          </p:nvSpPr>
          <p:spPr bwMode="gray">
            <a:xfrm flipV="1">
              <a:off x="4938060" y="3776220"/>
              <a:ext cx="10265" cy="2569"/>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10" name="Freeform 5858"/>
            <p:cNvSpPr>
              <a:spLocks/>
            </p:cNvSpPr>
            <p:nvPr>
              <p:custDataLst>
                <p:tags r:id="rId188"/>
              </p:custDataLst>
            </p:nvPr>
          </p:nvSpPr>
          <p:spPr bwMode="gray">
            <a:xfrm>
              <a:off x="5195962" y="3385714"/>
              <a:ext cx="39776" cy="12846"/>
            </a:xfrm>
            <a:custGeom>
              <a:avLst/>
              <a:gdLst/>
              <a:ahLst/>
              <a:cxnLst>
                <a:cxn ang="0">
                  <a:pos x="0" y="10"/>
                </a:cxn>
                <a:cxn ang="0">
                  <a:pos x="31" y="2"/>
                </a:cxn>
                <a:cxn ang="0">
                  <a:pos x="28" y="0"/>
                </a:cxn>
                <a:cxn ang="0">
                  <a:pos x="0" y="10"/>
                </a:cxn>
                <a:cxn ang="0">
                  <a:pos x="0" y="10"/>
                </a:cxn>
              </a:cxnLst>
              <a:rect l="0" t="0" r="r" b="b"/>
              <a:pathLst>
                <a:path w="31" h="10">
                  <a:moveTo>
                    <a:pt x="0" y="10"/>
                  </a:moveTo>
                  <a:lnTo>
                    <a:pt x="31" y="2"/>
                  </a:lnTo>
                  <a:lnTo>
                    <a:pt x="28" y="0"/>
                  </a:lnTo>
                  <a:lnTo>
                    <a:pt x="0" y="10"/>
                  </a:lnTo>
                  <a:lnTo>
                    <a:pt x="0" y="1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11" name="Freeform 5859"/>
            <p:cNvSpPr>
              <a:spLocks/>
            </p:cNvSpPr>
            <p:nvPr>
              <p:custDataLst>
                <p:tags r:id="rId189"/>
              </p:custDataLst>
            </p:nvPr>
          </p:nvSpPr>
          <p:spPr bwMode="gray">
            <a:xfrm>
              <a:off x="5457713" y="3184038"/>
              <a:ext cx="43625" cy="16699"/>
            </a:xfrm>
            <a:custGeom>
              <a:avLst/>
              <a:gdLst/>
              <a:ahLst/>
              <a:cxnLst>
                <a:cxn ang="0">
                  <a:pos x="0" y="0"/>
                </a:cxn>
                <a:cxn ang="0">
                  <a:pos x="17" y="13"/>
                </a:cxn>
                <a:cxn ang="0">
                  <a:pos x="34" y="13"/>
                </a:cxn>
                <a:cxn ang="0">
                  <a:pos x="19" y="2"/>
                </a:cxn>
                <a:cxn ang="0">
                  <a:pos x="0" y="0"/>
                </a:cxn>
                <a:cxn ang="0">
                  <a:pos x="0" y="0"/>
                </a:cxn>
              </a:cxnLst>
              <a:rect l="0" t="0" r="r" b="b"/>
              <a:pathLst>
                <a:path w="34" h="13">
                  <a:moveTo>
                    <a:pt x="0" y="0"/>
                  </a:moveTo>
                  <a:lnTo>
                    <a:pt x="17" y="13"/>
                  </a:lnTo>
                  <a:lnTo>
                    <a:pt x="34" y="13"/>
                  </a:lnTo>
                  <a:lnTo>
                    <a:pt x="19" y="2"/>
                  </a:lnTo>
                  <a:lnTo>
                    <a:pt x="0" y="0"/>
                  </a:lnTo>
                  <a:lnTo>
                    <a:pt x="0"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12" name="Freeform 5860"/>
            <p:cNvSpPr>
              <a:spLocks/>
            </p:cNvSpPr>
            <p:nvPr>
              <p:custDataLst>
                <p:tags r:id="rId190"/>
              </p:custDataLst>
            </p:nvPr>
          </p:nvSpPr>
          <p:spPr bwMode="gray">
            <a:xfrm>
              <a:off x="5433334" y="3250835"/>
              <a:ext cx="38493" cy="24407"/>
            </a:xfrm>
            <a:custGeom>
              <a:avLst/>
              <a:gdLst/>
              <a:ahLst/>
              <a:cxnLst>
                <a:cxn ang="0">
                  <a:pos x="0" y="6"/>
                </a:cxn>
                <a:cxn ang="0">
                  <a:pos x="19" y="19"/>
                </a:cxn>
                <a:cxn ang="0">
                  <a:pos x="30" y="8"/>
                </a:cxn>
                <a:cxn ang="0">
                  <a:pos x="11" y="10"/>
                </a:cxn>
                <a:cxn ang="0">
                  <a:pos x="4" y="6"/>
                </a:cxn>
                <a:cxn ang="0">
                  <a:pos x="4" y="0"/>
                </a:cxn>
                <a:cxn ang="0">
                  <a:pos x="0" y="6"/>
                </a:cxn>
                <a:cxn ang="0">
                  <a:pos x="0" y="6"/>
                </a:cxn>
              </a:cxnLst>
              <a:rect l="0" t="0" r="r" b="b"/>
              <a:pathLst>
                <a:path w="30" h="19">
                  <a:moveTo>
                    <a:pt x="0" y="6"/>
                  </a:moveTo>
                  <a:lnTo>
                    <a:pt x="19" y="19"/>
                  </a:lnTo>
                  <a:lnTo>
                    <a:pt x="30" y="8"/>
                  </a:lnTo>
                  <a:lnTo>
                    <a:pt x="11" y="10"/>
                  </a:lnTo>
                  <a:lnTo>
                    <a:pt x="4" y="6"/>
                  </a:lnTo>
                  <a:lnTo>
                    <a:pt x="4"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13" name="Freeform 5861"/>
            <p:cNvSpPr>
              <a:spLocks/>
            </p:cNvSpPr>
            <p:nvPr>
              <p:custDataLst>
                <p:tags r:id="rId191"/>
              </p:custDataLst>
            </p:nvPr>
          </p:nvSpPr>
          <p:spPr bwMode="gray">
            <a:xfrm>
              <a:off x="5279363" y="2897581"/>
              <a:ext cx="38493" cy="14130"/>
            </a:xfrm>
            <a:custGeom>
              <a:avLst/>
              <a:gdLst/>
              <a:ahLst/>
              <a:cxnLst>
                <a:cxn ang="0">
                  <a:pos x="0" y="11"/>
                </a:cxn>
                <a:cxn ang="0">
                  <a:pos x="30" y="0"/>
                </a:cxn>
                <a:cxn ang="0">
                  <a:pos x="10" y="2"/>
                </a:cxn>
                <a:cxn ang="0">
                  <a:pos x="0" y="11"/>
                </a:cxn>
                <a:cxn ang="0">
                  <a:pos x="0" y="11"/>
                </a:cxn>
              </a:cxnLst>
              <a:rect l="0" t="0" r="r" b="b"/>
              <a:pathLst>
                <a:path w="30" h="11">
                  <a:moveTo>
                    <a:pt x="0" y="11"/>
                  </a:moveTo>
                  <a:lnTo>
                    <a:pt x="30" y="0"/>
                  </a:lnTo>
                  <a:lnTo>
                    <a:pt x="10" y="2"/>
                  </a:lnTo>
                  <a:lnTo>
                    <a:pt x="0" y="11"/>
                  </a:lnTo>
                  <a:lnTo>
                    <a:pt x="0"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14" name="Freeform 5862"/>
            <p:cNvSpPr>
              <a:spLocks/>
            </p:cNvSpPr>
            <p:nvPr>
              <p:custDataLst>
                <p:tags r:id="rId192"/>
              </p:custDataLst>
            </p:nvPr>
          </p:nvSpPr>
          <p:spPr bwMode="gray">
            <a:xfrm>
              <a:off x="5330687" y="2906573"/>
              <a:ext cx="23096" cy="17984"/>
            </a:xfrm>
            <a:custGeom>
              <a:avLst/>
              <a:gdLst/>
              <a:ahLst/>
              <a:cxnLst>
                <a:cxn ang="0">
                  <a:pos x="9" y="0"/>
                </a:cxn>
                <a:cxn ang="0">
                  <a:pos x="0" y="10"/>
                </a:cxn>
                <a:cxn ang="0">
                  <a:pos x="3" y="14"/>
                </a:cxn>
                <a:cxn ang="0">
                  <a:pos x="18" y="0"/>
                </a:cxn>
                <a:cxn ang="0">
                  <a:pos x="9" y="0"/>
                </a:cxn>
                <a:cxn ang="0">
                  <a:pos x="9" y="0"/>
                </a:cxn>
              </a:cxnLst>
              <a:rect l="0" t="0" r="r" b="b"/>
              <a:pathLst>
                <a:path w="18" h="14">
                  <a:moveTo>
                    <a:pt x="9" y="0"/>
                  </a:moveTo>
                  <a:lnTo>
                    <a:pt x="0" y="10"/>
                  </a:lnTo>
                  <a:lnTo>
                    <a:pt x="3" y="14"/>
                  </a:lnTo>
                  <a:lnTo>
                    <a:pt x="18" y="0"/>
                  </a:lnTo>
                  <a:lnTo>
                    <a:pt x="9" y="0"/>
                  </a:lnTo>
                  <a:lnTo>
                    <a:pt x="9"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15" name="Freeform 5863"/>
            <p:cNvSpPr>
              <a:spLocks/>
            </p:cNvSpPr>
            <p:nvPr>
              <p:custDataLst>
                <p:tags r:id="rId193"/>
              </p:custDataLst>
            </p:nvPr>
          </p:nvSpPr>
          <p:spPr bwMode="gray">
            <a:xfrm>
              <a:off x="5534698" y="3142932"/>
              <a:ext cx="119328" cy="115610"/>
            </a:xfrm>
            <a:custGeom>
              <a:avLst/>
              <a:gdLst/>
              <a:ahLst/>
              <a:cxnLst>
                <a:cxn ang="0">
                  <a:pos x="0" y="67"/>
                </a:cxn>
                <a:cxn ang="0">
                  <a:pos x="0" y="73"/>
                </a:cxn>
                <a:cxn ang="0">
                  <a:pos x="52" y="73"/>
                </a:cxn>
                <a:cxn ang="0">
                  <a:pos x="43" y="84"/>
                </a:cxn>
                <a:cxn ang="0">
                  <a:pos x="50" y="86"/>
                </a:cxn>
                <a:cxn ang="0">
                  <a:pos x="60" y="77"/>
                </a:cxn>
                <a:cxn ang="0">
                  <a:pos x="73" y="77"/>
                </a:cxn>
                <a:cxn ang="0">
                  <a:pos x="67" y="86"/>
                </a:cxn>
                <a:cxn ang="0">
                  <a:pos x="75" y="81"/>
                </a:cxn>
                <a:cxn ang="0">
                  <a:pos x="73" y="90"/>
                </a:cxn>
                <a:cxn ang="0">
                  <a:pos x="82" y="90"/>
                </a:cxn>
                <a:cxn ang="0">
                  <a:pos x="92" y="71"/>
                </a:cxn>
                <a:cxn ang="0">
                  <a:pos x="84" y="73"/>
                </a:cxn>
                <a:cxn ang="0">
                  <a:pos x="92" y="64"/>
                </a:cxn>
                <a:cxn ang="0">
                  <a:pos x="78" y="73"/>
                </a:cxn>
                <a:cxn ang="0">
                  <a:pos x="77" y="69"/>
                </a:cxn>
                <a:cxn ang="0">
                  <a:pos x="93" y="54"/>
                </a:cxn>
                <a:cxn ang="0">
                  <a:pos x="82" y="56"/>
                </a:cxn>
                <a:cxn ang="0">
                  <a:pos x="80" y="51"/>
                </a:cxn>
                <a:cxn ang="0">
                  <a:pos x="92" y="43"/>
                </a:cxn>
                <a:cxn ang="0">
                  <a:pos x="65" y="41"/>
                </a:cxn>
                <a:cxn ang="0">
                  <a:pos x="60" y="34"/>
                </a:cxn>
                <a:cxn ang="0">
                  <a:pos x="67" y="30"/>
                </a:cxn>
                <a:cxn ang="0">
                  <a:pos x="60" y="28"/>
                </a:cxn>
                <a:cxn ang="0">
                  <a:pos x="47" y="34"/>
                </a:cxn>
                <a:cxn ang="0">
                  <a:pos x="78" y="0"/>
                </a:cxn>
                <a:cxn ang="0">
                  <a:pos x="60" y="6"/>
                </a:cxn>
                <a:cxn ang="0">
                  <a:pos x="11" y="54"/>
                </a:cxn>
                <a:cxn ang="0">
                  <a:pos x="15" y="56"/>
                </a:cxn>
                <a:cxn ang="0">
                  <a:pos x="0" y="67"/>
                </a:cxn>
                <a:cxn ang="0">
                  <a:pos x="0" y="67"/>
                </a:cxn>
              </a:cxnLst>
              <a:rect l="0" t="0" r="r" b="b"/>
              <a:pathLst>
                <a:path w="93" h="90">
                  <a:moveTo>
                    <a:pt x="0" y="67"/>
                  </a:moveTo>
                  <a:lnTo>
                    <a:pt x="0" y="73"/>
                  </a:lnTo>
                  <a:lnTo>
                    <a:pt x="52" y="73"/>
                  </a:lnTo>
                  <a:lnTo>
                    <a:pt x="43" y="84"/>
                  </a:lnTo>
                  <a:lnTo>
                    <a:pt x="50" y="86"/>
                  </a:lnTo>
                  <a:lnTo>
                    <a:pt x="60" y="77"/>
                  </a:lnTo>
                  <a:lnTo>
                    <a:pt x="73" y="77"/>
                  </a:lnTo>
                  <a:lnTo>
                    <a:pt x="67" y="86"/>
                  </a:lnTo>
                  <a:lnTo>
                    <a:pt x="75" y="81"/>
                  </a:lnTo>
                  <a:lnTo>
                    <a:pt x="73" y="90"/>
                  </a:lnTo>
                  <a:lnTo>
                    <a:pt x="82" y="90"/>
                  </a:lnTo>
                  <a:lnTo>
                    <a:pt x="92" y="71"/>
                  </a:lnTo>
                  <a:lnTo>
                    <a:pt x="84" y="73"/>
                  </a:lnTo>
                  <a:lnTo>
                    <a:pt x="92" y="64"/>
                  </a:lnTo>
                  <a:lnTo>
                    <a:pt x="78" y="73"/>
                  </a:lnTo>
                  <a:lnTo>
                    <a:pt x="77" y="69"/>
                  </a:lnTo>
                  <a:lnTo>
                    <a:pt x="93" y="54"/>
                  </a:lnTo>
                  <a:lnTo>
                    <a:pt x="82" y="56"/>
                  </a:lnTo>
                  <a:lnTo>
                    <a:pt x="80" y="51"/>
                  </a:lnTo>
                  <a:lnTo>
                    <a:pt x="92" y="43"/>
                  </a:lnTo>
                  <a:lnTo>
                    <a:pt x="65" y="41"/>
                  </a:lnTo>
                  <a:lnTo>
                    <a:pt x="60" y="34"/>
                  </a:lnTo>
                  <a:lnTo>
                    <a:pt x="67" y="30"/>
                  </a:lnTo>
                  <a:lnTo>
                    <a:pt x="60" y="28"/>
                  </a:lnTo>
                  <a:lnTo>
                    <a:pt x="47" y="34"/>
                  </a:lnTo>
                  <a:lnTo>
                    <a:pt x="78" y="0"/>
                  </a:lnTo>
                  <a:lnTo>
                    <a:pt x="60" y="6"/>
                  </a:lnTo>
                  <a:lnTo>
                    <a:pt x="11" y="54"/>
                  </a:lnTo>
                  <a:lnTo>
                    <a:pt x="15" y="56"/>
                  </a:lnTo>
                  <a:lnTo>
                    <a:pt x="0" y="67"/>
                  </a:lnTo>
                  <a:lnTo>
                    <a:pt x="0" y="6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16" name="Freeform 5864"/>
            <p:cNvSpPr>
              <a:spLocks/>
            </p:cNvSpPr>
            <p:nvPr>
              <p:custDataLst>
                <p:tags r:id="rId194"/>
              </p:custDataLst>
            </p:nvPr>
          </p:nvSpPr>
          <p:spPr bwMode="gray">
            <a:xfrm>
              <a:off x="5248569" y="2828215"/>
              <a:ext cx="112912" cy="59090"/>
            </a:xfrm>
            <a:custGeom>
              <a:avLst/>
              <a:gdLst/>
              <a:ahLst/>
              <a:cxnLst>
                <a:cxn ang="0">
                  <a:pos x="0" y="39"/>
                </a:cxn>
                <a:cxn ang="0">
                  <a:pos x="15" y="39"/>
                </a:cxn>
                <a:cxn ang="0">
                  <a:pos x="11" y="46"/>
                </a:cxn>
                <a:cxn ang="0">
                  <a:pos x="49" y="33"/>
                </a:cxn>
                <a:cxn ang="0">
                  <a:pos x="58" y="33"/>
                </a:cxn>
                <a:cxn ang="0">
                  <a:pos x="71" y="43"/>
                </a:cxn>
                <a:cxn ang="0">
                  <a:pos x="88" y="35"/>
                </a:cxn>
                <a:cxn ang="0">
                  <a:pos x="54" y="7"/>
                </a:cxn>
                <a:cxn ang="0">
                  <a:pos x="56" y="0"/>
                </a:cxn>
                <a:cxn ang="0">
                  <a:pos x="30" y="15"/>
                </a:cxn>
                <a:cxn ang="0">
                  <a:pos x="17" y="31"/>
                </a:cxn>
                <a:cxn ang="0">
                  <a:pos x="0" y="39"/>
                </a:cxn>
                <a:cxn ang="0">
                  <a:pos x="0" y="39"/>
                </a:cxn>
              </a:cxnLst>
              <a:rect l="0" t="0" r="r" b="b"/>
              <a:pathLst>
                <a:path w="88" h="46">
                  <a:moveTo>
                    <a:pt x="0" y="39"/>
                  </a:moveTo>
                  <a:lnTo>
                    <a:pt x="15" y="39"/>
                  </a:lnTo>
                  <a:lnTo>
                    <a:pt x="11" y="46"/>
                  </a:lnTo>
                  <a:lnTo>
                    <a:pt x="49" y="33"/>
                  </a:lnTo>
                  <a:lnTo>
                    <a:pt x="58" y="33"/>
                  </a:lnTo>
                  <a:lnTo>
                    <a:pt x="71" y="43"/>
                  </a:lnTo>
                  <a:lnTo>
                    <a:pt x="88" y="35"/>
                  </a:lnTo>
                  <a:lnTo>
                    <a:pt x="54" y="7"/>
                  </a:lnTo>
                  <a:lnTo>
                    <a:pt x="56" y="0"/>
                  </a:lnTo>
                  <a:lnTo>
                    <a:pt x="30" y="15"/>
                  </a:lnTo>
                  <a:lnTo>
                    <a:pt x="17" y="31"/>
                  </a:lnTo>
                  <a:lnTo>
                    <a:pt x="0" y="39"/>
                  </a:lnTo>
                  <a:lnTo>
                    <a:pt x="0" y="3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17" name="Freeform 5865"/>
            <p:cNvSpPr>
              <a:spLocks/>
            </p:cNvSpPr>
            <p:nvPr>
              <p:custDataLst>
                <p:tags r:id="rId195"/>
              </p:custDataLst>
            </p:nvPr>
          </p:nvSpPr>
          <p:spPr bwMode="gray">
            <a:xfrm>
              <a:off x="5464128" y="2784540"/>
              <a:ext cx="43625" cy="21838"/>
            </a:xfrm>
            <a:custGeom>
              <a:avLst/>
              <a:gdLst/>
              <a:ahLst/>
              <a:cxnLst>
                <a:cxn ang="0">
                  <a:pos x="2" y="9"/>
                </a:cxn>
                <a:cxn ang="0">
                  <a:pos x="0" y="17"/>
                </a:cxn>
                <a:cxn ang="0">
                  <a:pos x="15" y="15"/>
                </a:cxn>
                <a:cxn ang="0">
                  <a:pos x="34" y="5"/>
                </a:cxn>
                <a:cxn ang="0">
                  <a:pos x="32" y="0"/>
                </a:cxn>
                <a:cxn ang="0">
                  <a:pos x="17" y="0"/>
                </a:cxn>
                <a:cxn ang="0">
                  <a:pos x="2" y="9"/>
                </a:cxn>
                <a:cxn ang="0">
                  <a:pos x="2" y="9"/>
                </a:cxn>
              </a:cxnLst>
              <a:rect l="0" t="0" r="r" b="b"/>
              <a:pathLst>
                <a:path w="34" h="17">
                  <a:moveTo>
                    <a:pt x="2" y="9"/>
                  </a:moveTo>
                  <a:lnTo>
                    <a:pt x="0" y="17"/>
                  </a:lnTo>
                  <a:lnTo>
                    <a:pt x="15" y="15"/>
                  </a:lnTo>
                  <a:lnTo>
                    <a:pt x="34" y="5"/>
                  </a:lnTo>
                  <a:lnTo>
                    <a:pt x="32" y="0"/>
                  </a:lnTo>
                  <a:lnTo>
                    <a:pt x="17" y="0"/>
                  </a:lnTo>
                  <a:lnTo>
                    <a:pt x="2" y="9"/>
                  </a:lnTo>
                  <a:lnTo>
                    <a:pt x="2" y="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18" name="Freeform 5866"/>
            <p:cNvSpPr>
              <a:spLocks/>
            </p:cNvSpPr>
            <p:nvPr>
              <p:custDataLst>
                <p:tags r:id="rId196"/>
              </p:custDataLst>
            </p:nvPr>
          </p:nvSpPr>
          <p:spPr bwMode="gray">
            <a:xfrm>
              <a:off x="5342235" y="2674068"/>
              <a:ext cx="355417" cy="242782"/>
            </a:xfrm>
            <a:custGeom>
              <a:avLst/>
              <a:gdLst/>
              <a:ahLst/>
              <a:cxnLst>
                <a:cxn ang="0">
                  <a:pos x="0" y="32"/>
                </a:cxn>
                <a:cxn ang="0">
                  <a:pos x="11" y="52"/>
                </a:cxn>
                <a:cxn ang="0">
                  <a:pos x="26" y="56"/>
                </a:cxn>
                <a:cxn ang="0">
                  <a:pos x="77" y="58"/>
                </a:cxn>
                <a:cxn ang="0">
                  <a:pos x="88" y="65"/>
                </a:cxn>
                <a:cxn ang="0">
                  <a:pos x="118" y="54"/>
                </a:cxn>
                <a:cxn ang="0">
                  <a:pos x="120" y="61"/>
                </a:cxn>
                <a:cxn ang="0">
                  <a:pos x="133" y="69"/>
                </a:cxn>
                <a:cxn ang="0">
                  <a:pos x="122" y="78"/>
                </a:cxn>
                <a:cxn ang="0">
                  <a:pos x="139" y="73"/>
                </a:cxn>
                <a:cxn ang="0">
                  <a:pos x="142" y="80"/>
                </a:cxn>
                <a:cxn ang="0">
                  <a:pos x="154" y="88"/>
                </a:cxn>
                <a:cxn ang="0">
                  <a:pos x="152" y="101"/>
                </a:cxn>
                <a:cxn ang="0">
                  <a:pos x="110" y="118"/>
                </a:cxn>
                <a:cxn ang="0">
                  <a:pos x="116" y="127"/>
                </a:cxn>
                <a:cxn ang="0">
                  <a:pos x="101" y="131"/>
                </a:cxn>
                <a:cxn ang="0">
                  <a:pos x="67" y="129"/>
                </a:cxn>
                <a:cxn ang="0">
                  <a:pos x="45" y="142"/>
                </a:cxn>
                <a:cxn ang="0">
                  <a:pos x="49" y="150"/>
                </a:cxn>
                <a:cxn ang="0">
                  <a:pos x="79" y="146"/>
                </a:cxn>
                <a:cxn ang="0">
                  <a:pos x="110" y="153"/>
                </a:cxn>
                <a:cxn ang="0">
                  <a:pos x="118" y="159"/>
                </a:cxn>
                <a:cxn ang="0">
                  <a:pos x="112" y="165"/>
                </a:cxn>
                <a:cxn ang="0">
                  <a:pos x="122" y="170"/>
                </a:cxn>
                <a:cxn ang="0">
                  <a:pos x="150" y="185"/>
                </a:cxn>
                <a:cxn ang="0">
                  <a:pos x="172" y="189"/>
                </a:cxn>
                <a:cxn ang="0">
                  <a:pos x="176" y="181"/>
                </a:cxn>
                <a:cxn ang="0">
                  <a:pos x="157" y="163"/>
                </a:cxn>
                <a:cxn ang="0">
                  <a:pos x="155" y="155"/>
                </a:cxn>
                <a:cxn ang="0">
                  <a:pos x="187" y="172"/>
                </a:cxn>
                <a:cxn ang="0">
                  <a:pos x="202" y="172"/>
                </a:cxn>
                <a:cxn ang="0">
                  <a:pos x="212" y="161"/>
                </a:cxn>
                <a:cxn ang="0">
                  <a:pos x="206" y="153"/>
                </a:cxn>
                <a:cxn ang="0">
                  <a:pos x="210" y="146"/>
                </a:cxn>
                <a:cxn ang="0">
                  <a:pos x="195" y="125"/>
                </a:cxn>
                <a:cxn ang="0">
                  <a:pos x="204" y="114"/>
                </a:cxn>
                <a:cxn ang="0">
                  <a:pos x="221" y="123"/>
                </a:cxn>
                <a:cxn ang="0">
                  <a:pos x="221" y="131"/>
                </a:cxn>
                <a:cxn ang="0">
                  <a:pos x="232" y="138"/>
                </a:cxn>
                <a:cxn ang="0">
                  <a:pos x="277" y="110"/>
                </a:cxn>
                <a:cxn ang="0">
                  <a:pos x="245" y="88"/>
                </a:cxn>
                <a:cxn ang="0">
                  <a:pos x="227" y="88"/>
                </a:cxn>
                <a:cxn ang="0">
                  <a:pos x="215" y="80"/>
                </a:cxn>
                <a:cxn ang="0">
                  <a:pos x="221" y="73"/>
                </a:cxn>
                <a:cxn ang="0">
                  <a:pos x="238" y="71"/>
                </a:cxn>
                <a:cxn ang="0">
                  <a:pos x="228" y="65"/>
                </a:cxn>
                <a:cxn ang="0">
                  <a:pos x="238" y="58"/>
                </a:cxn>
                <a:cxn ang="0">
                  <a:pos x="212" y="37"/>
                </a:cxn>
                <a:cxn ang="0">
                  <a:pos x="183" y="32"/>
                </a:cxn>
                <a:cxn ang="0">
                  <a:pos x="189" y="18"/>
                </a:cxn>
                <a:cxn ang="0">
                  <a:pos x="154" y="17"/>
                </a:cxn>
                <a:cxn ang="0">
                  <a:pos x="107" y="26"/>
                </a:cxn>
                <a:cxn ang="0">
                  <a:pos x="127" y="3"/>
                </a:cxn>
                <a:cxn ang="0">
                  <a:pos x="109" y="2"/>
                </a:cxn>
                <a:cxn ang="0">
                  <a:pos x="71" y="13"/>
                </a:cxn>
                <a:cxn ang="0">
                  <a:pos x="52" y="32"/>
                </a:cxn>
                <a:cxn ang="0">
                  <a:pos x="47" y="28"/>
                </a:cxn>
                <a:cxn ang="0">
                  <a:pos x="56" y="17"/>
                </a:cxn>
                <a:cxn ang="0">
                  <a:pos x="99" y="2"/>
                </a:cxn>
                <a:cxn ang="0">
                  <a:pos x="65" y="0"/>
                </a:cxn>
                <a:cxn ang="0">
                  <a:pos x="32" y="11"/>
                </a:cxn>
                <a:cxn ang="0">
                  <a:pos x="0" y="32"/>
                </a:cxn>
                <a:cxn ang="0">
                  <a:pos x="0" y="32"/>
                </a:cxn>
              </a:cxnLst>
              <a:rect l="0" t="0" r="r" b="b"/>
              <a:pathLst>
                <a:path w="277" h="189">
                  <a:moveTo>
                    <a:pt x="0" y="32"/>
                  </a:moveTo>
                  <a:lnTo>
                    <a:pt x="11" y="52"/>
                  </a:lnTo>
                  <a:lnTo>
                    <a:pt x="26" y="56"/>
                  </a:lnTo>
                  <a:lnTo>
                    <a:pt x="77" y="58"/>
                  </a:lnTo>
                  <a:lnTo>
                    <a:pt x="88" y="65"/>
                  </a:lnTo>
                  <a:lnTo>
                    <a:pt x="118" y="54"/>
                  </a:lnTo>
                  <a:lnTo>
                    <a:pt x="120" y="61"/>
                  </a:lnTo>
                  <a:lnTo>
                    <a:pt x="133" y="69"/>
                  </a:lnTo>
                  <a:lnTo>
                    <a:pt x="122" y="78"/>
                  </a:lnTo>
                  <a:lnTo>
                    <a:pt x="139" y="73"/>
                  </a:lnTo>
                  <a:lnTo>
                    <a:pt x="142" y="80"/>
                  </a:lnTo>
                  <a:lnTo>
                    <a:pt x="154" y="88"/>
                  </a:lnTo>
                  <a:lnTo>
                    <a:pt x="152" y="101"/>
                  </a:lnTo>
                  <a:lnTo>
                    <a:pt x="110" y="118"/>
                  </a:lnTo>
                  <a:lnTo>
                    <a:pt x="116" y="127"/>
                  </a:lnTo>
                  <a:lnTo>
                    <a:pt x="101" y="131"/>
                  </a:lnTo>
                  <a:lnTo>
                    <a:pt x="67" y="129"/>
                  </a:lnTo>
                  <a:lnTo>
                    <a:pt x="45" y="142"/>
                  </a:lnTo>
                  <a:lnTo>
                    <a:pt x="49" y="150"/>
                  </a:lnTo>
                  <a:lnTo>
                    <a:pt x="79" y="146"/>
                  </a:lnTo>
                  <a:lnTo>
                    <a:pt x="110" y="153"/>
                  </a:lnTo>
                  <a:lnTo>
                    <a:pt x="118" y="159"/>
                  </a:lnTo>
                  <a:lnTo>
                    <a:pt x="112" y="165"/>
                  </a:lnTo>
                  <a:lnTo>
                    <a:pt x="122" y="170"/>
                  </a:lnTo>
                  <a:lnTo>
                    <a:pt x="150" y="185"/>
                  </a:lnTo>
                  <a:lnTo>
                    <a:pt x="172" y="189"/>
                  </a:lnTo>
                  <a:lnTo>
                    <a:pt x="176" y="181"/>
                  </a:lnTo>
                  <a:lnTo>
                    <a:pt x="157" y="163"/>
                  </a:lnTo>
                  <a:lnTo>
                    <a:pt x="155" y="155"/>
                  </a:lnTo>
                  <a:lnTo>
                    <a:pt x="187" y="172"/>
                  </a:lnTo>
                  <a:lnTo>
                    <a:pt x="202" y="172"/>
                  </a:lnTo>
                  <a:lnTo>
                    <a:pt x="212" y="161"/>
                  </a:lnTo>
                  <a:lnTo>
                    <a:pt x="206" y="153"/>
                  </a:lnTo>
                  <a:lnTo>
                    <a:pt x="210" y="146"/>
                  </a:lnTo>
                  <a:lnTo>
                    <a:pt x="195" y="125"/>
                  </a:lnTo>
                  <a:lnTo>
                    <a:pt x="204" y="114"/>
                  </a:lnTo>
                  <a:lnTo>
                    <a:pt x="221" y="123"/>
                  </a:lnTo>
                  <a:lnTo>
                    <a:pt x="221" y="131"/>
                  </a:lnTo>
                  <a:lnTo>
                    <a:pt x="232" y="138"/>
                  </a:lnTo>
                  <a:lnTo>
                    <a:pt x="277" y="110"/>
                  </a:lnTo>
                  <a:lnTo>
                    <a:pt x="245" y="88"/>
                  </a:lnTo>
                  <a:lnTo>
                    <a:pt x="227" y="88"/>
                  </a:lnTo>
                  <a:lnTo>
                    <a:pt x="215" y="80"/>
                  </a:lnTo>
                  <a:lnTo>
                    <a:pt x="221" y="73"/>
                  </a:lnTo>
                  <a:lnTo>
                    <a:pt x="238" y="71"/>
                  </a:lnTo>
                  <a:lnTo>
                    <a:pt x="228" y="65"/>
                  </a:lnTo>
                  <a:lnTo>
                    <a:pt x="238" y="58"/>
                  </a:lnTo>
                  <a:lnTo>
                    <a:pt x="212" y="37"/>
                  </a:lnTo>
                  <a:lnTo>
                    <a:pt x="183" y="32"/>
                  </a:lnTo>
                  <a:lnTo>
                    <a:pt x="189" y="18"/>
                  </a:lnTo>
                  <a:lnTo>
                    <a:pt x="154" y="17"/>
                  </a:lnTo>
                  <a:lnTo>
                    <a:pt x="107" y="26"/>
                  </a:lnTo>
                  <a:lnTo>
                    <a:pt x="127" y="3"/>
                  </a:lnTo>
                  <a:lnTo>
                    <a:pt x="109" y="2"/>
                  </a:lnTo>
                  <a:lnTo>
                    <a:pt x="71" y="13"/>
                  </a:lnTo>
                  <a:lnTo>
                    <a:pt x="52" y="32"/>
                  </a:lnTo>
                  <a:lnTo>
                    <a:pt x="47" y="28"/>
                  </a:lnTo>
                  <a:lnTo>
                    <a:pt x="56" y="17"/>
                  </a:lnTo>
                  <a:lnTo>
                    <a:pt x="99" y="2"/>
                  </a:lnTo>
                  <a:lnTo>
                    <a:pt x="65" y="0"/>
                  </a:lnTo>
                  <a:lnTo>
                    <a:pt x="32" y="11"/>
                  </a:lnTo>
                  <a:lnTo>
                    <a:pt x="0" y="32"/>
                  </a:lnTo>
                  <a:lnTo>
                    <a:pt x="0" y="3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19" name="Freeform 5867"/>
            <p:cNvSpPr>
              <a:spLocks/>
            </p:cNvSpPr>
            <p:nvPr>
              <p:custDataLst>
                <p:tags r:id="rId197"/>
              </p:custDataLst>
            </p:nvPr>
          </p:nvSpPr>
          <p:spPr bwMode="gray">
            <a:xfrm>
              <a:off x="5502621" y="2676637"/>
              <a:ext cx="65438" cy="19268"/>
            </a:xfrm>
            <a:custGeom>
              <a:avLst/>
              <a:gdLst/>
              <a:ahLst/>
              <a:cxnLst>
                <a:cxn ang="0">
                  <a:pos x="12" y="0"/>
                </a:cxn>
                <a:cxn ang="0">
                  <a:pos x="0" y="11"/>
                </a:cxn>
                <a:cxn ang="0">
                  <a:pos x="14" y="15"/>
                </a:cxn>
                <a:cxn ang="0">
                  <a:pos x="43" y="13"/>
                </a:cxn>
                <a:cxn ang="0">
                  <a:pos x="51" y="1"/>
                </a:cxn>
                <a:cxn ang="0">
                  <a:pos x="12" y="0"/>
                </a:cxn>
                <a:cxn ang="0">
                  <a:pos x="12" y="0"/>
                </a:cxn>
              </a:cxnLst>
              <a:rect l="0" t="0" r="r" b="b"/>
              <a:pathLst>
                <a:path w="51" h="15">
                  <a:moveTo>
                    <a:pt x="12" y="0"/>
                  </a:moveTo>
                  <a:lnTo>
                    <a:pt x="0" y="11"/>
                  </a:lnTo>
                  <a:lnTo>
                    <a:pt x="14" y="15"/>
                  </a:lnTo>
                  <a:lnTo>
                    <a:pt x="43" y="13"/>
                  </a:lnTo>
                  <a:lnTo>
                    <a:pt x="51" y="1"/>
                  </a:lnTo>
                  <a:lnTo>
                    <a:pt x="12" y="0"/>
                  </a:lnTo>
                  <a:lnTo>
                    <a:pt x="12"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20" name="Freeform 5868"/>
            <p:cNvSpPr>
              <a:spLocks/>
            </p:cNvSpPr>
            <p:nvPr>
              <p:custDataLst>
                <p:tags r:id="rId198"/>
              </p:custDataLst>
            </p:nvPr>
          </p:nvSpPr>
          <p:spPr bwMode="gray">
            <a:xfrm>
              <a:off x="5243436" y="2603417"/>
              <a:ext cx="21813" cy="12846"/>
            </a:xfrm>
            <a:custGeom>
              <a:avLst/>
              <a:gdLst/>
              <a:ahLst/>
              <a:cxnLst>
                <a:cxn ang="0">
                  <a:pos x="6" y="2"/>
                </a:cxn>
                <a:cxn ang="0">
                  <a:pos x="0" y="8"/>
                </a:cxn>
                <a:cxn ang="0">
                  <a:pos x="13" y="10"/>
                </a:cxn>
                <a:cxn ang="0">
                  <a:pos x="17" y="0"/>
                </a:cxn>
                <a:cxn ang="0">
                  <a:pos x="6" y="2"/>
                </a:cxn>
                <a:cxn ang="0">
                  <a:pos x="6" y="2"/>
                </a:cxn>
              </a:cxnLst>
              <a:rect l="0" t="0" r="r" b="b"/>
              <a:pathLst>
                <a:path w="17" h="10">
                  <a:moveTo>
                    <a:pt x="6" y="2"/>
                  </a:moveTo>
                  <a:lnTo>
                    <a:pt x="0" y="8"/>
                  </a:lnTo>
                  <a:lnTo>
                    <a:pt x="13" y="10"/>
                  </a:lnTo>
                  <a:lnTo>
                    <a:pt x="17" y="0"/>
                  </a:lnTo>
                  <a:lnTo>
                    <a:pt x="6" y="2"/>
                  </a:lnTo>
                  <a:lnTo>
                    <a:pt x="6" y="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21" name="Freeform 5869"/>
            <p:cNvSpPr>
              <a:spLocks/>
            </p:cNvSpPr>
            <p:nvPr>
              <p:custDataLst>
                <p:tags r:id="rId199"/>
              </p:custDataLst>
            </p:nvPr>
          </p:nvSpPr>
          <p:spPr bwMode="gray">
            <a:xfrm>
              <a:off x="5234455" y="2620116"/>
              <a:ext cx="91100" cy="32114"/>
            </a:xfrm>
            <a:custGeom>
              <a:avLst/>
              <a:gdLst/>
              <a:ahLst/>
              <a:cxnLst>
                <a:cxn ang="0">
                  <a:pos x="0" y="2"/>
                </a:cxn>
                <a:cxn ang="0">
                  <a:pos x="0" y="19"/>
                </a:cxn>
                <a:cxn ang="0">
                  <a:pos x="18" y="17"/>
                </a:cxn>
                <a:cxn ang="0">
                  <a:pos x="18" y="25"/>
                </a:cxn>
                <a:cxn ang="0">
                  <a:pos x="45" y="25"/>
                </a:cxn>
                <a:cxn ang="0">
                  <a:pos x="71" y="6"/>
                </a:cxn>
                <a:cxn ang="0">
                  <a:pos x="41" y="0"/>
                </a:cxn>
                <a:cxn ang="0">
                  <a:pos x="20" y="12"/>
                </a:cxn>
                <a:cxn ang="0">
                  <a:pos x="11" y="2"/>
                </a:cxn>
                <a:cxn ang="0">
                  <a:pos x="0" y="2"/>
                </a:cxn>
                <a:cxn ang="0">
                  <a:pos x="0" y="2"/>
                </a:cxn>
              </a:cxnLst>
              <a:rect l="0" t="0" r="r" b="b"/>
              <a:pathLst>
                <a:path w="71" h="25">
                  <a:moveTo>
                    <a:pt x="0" y="2"/>
                  </a:moveTo>
                  <a:lnTo>
                    <a:pt x="0" y="19"/>
                  </a:lnTo>
                  <a:lnTo>
                    <a:pt x="18" y="17"/>
                  </a:lnTo>
                  <a:lnTo>
                    <a:pt x="18" y="25"/>
                  </a:lnTo>
                  <a:lnTo>
                    <a:pt x="45" y="25"/>
                  </a:lnTo>
                  <a:lnTo>
                    <a:pt x="71" y="6"/>
                  </a:lnTo>
                  <a:lnTo>
                    <a:pt x="41" y="0"/>
                  </a:lnTo>
                  <a:lnTo>
                    <a:pt x="20" y="12"/>
                  </a:lnTo>
                  <a:lnTo>
                    <a:pt x="11" y="2"/>
                  </a:lnTo>
                  <a:lnTo>
                    <a:pt x="0" y="2"/>
                  </a:lnTo>
                  <a:lnTo>
                    <a:pt x="0" y="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22" name="Freeform 5870"/>
            <p:cNvSpPr>
              <a:spLocks/>
            </p:cNvSpPr>
            <p:nvPr>
              <p:custDataLst>
                <p:tags r:id="rId200"/>
              </p:custDataLst>
            </p:nvPr>
          </p:nvSpPr>
          <p:spPr bwMode="gray">
            <a:xfrm>
              <a:off x="5199811" y="2644523"/>
              <a:ext cx="19246" cy="5138"/>
            </a:xfrm>
            <a:custGeom>
              <a:avLst/>
              <a:gdLst/>
              <a:ahLst/>
              <a:cxnLst>
                <a:cxn ang="0">
                  <a:pos x="0" y="4"/>
                </a:cxn>
                <a:cxn ang="0">
                  <a:pos x="15" y="4"/>
                </a:cxn>
                <a:cxn ang="0">
                  <a:pos x="14" y="0"/>
                </a:cxn>
                <a:cxn ang="0">
                  <a:pos x="0" y="4"/>
                </a:cxn>
                <a:cxn ang="0">
                  <a:pos x="0" y="4"/>
                </a:cxn>
              </a:cxnLst>
              <a:rect l="0" t="0" r="r" b="b"/>
              <a:pathLst>
                <a:path w="15" h="4">
                  <a:moveTo>
                    <a:pt x="0" y="4"/>
                  </a:moveTo>
                  <a:lnTo>
                    <a:pt x="15" y="4"/>
                  </a:lnTo>
                  <a:lnTo>
                    <a:pt x="14" y="0"/>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23" name="Freeform 5871"/>
            <p:cNvSpPr>
              <a:spLocks/>
            </p:cNvSpPr>
            <p:nvPr>
              <p:custDataLst>
                <p:tags r:id="rId201"/>
              </p:custDataLst>
            </p:nvPr>
          </p:nvSpPr>
          <p:spPr bwMode="gray">
            <a:xfrm>
              <a:off x="5176716" y="2668929"/>
              <a:ext cx="102647" cy="55236"/>
            </a:xfrm>
            <a:custGeom>
              <a:avLst/>
              <a:gdLst/>
              <a:ahLst/>
              <a:cxnLst>
                <a:cxn ang="0">
                  <a:pos x="2" y="19"/>
                </a:cxn>
                <a:cxn ang="0">
                  <a:pos x="0" y="28"/>
                </a:cxn>
                <a:cxn ang="0">
                  <a:pos x="13" y="28"/>
                </a:cxn>
                <a:cxn ang="0">
                  <a:pos x="20" y="43"/>
                </a:cxn>
                <a:cxn ang="0">
                  <a:pos x="58" y="34"/>
                </a:cxn>
                <a:cxn ang="0">
                  <a:pos x="73" y="17"/>
                </a:cxn>
                <a:cxn ang="0">
                  <a:pos x="60" y="15"/>
                </a:cxn>
                <a:cxn ang="0">
                  <a:pos x="78" y="7"/>
                </a:cxn>
                <a:cxn ang="0">
                  <a:pos x="80" y="0"/>
                </a:cxn>
                <a:cxn ang="0">
                  <a:pos x="35" y="4"/>
                </a:cxn>
                <a:cxn ang="0">
                  <a:pos x="28" y="9"/>
                </a:cxn>
                <a:cxn ang="0">
                  <a:pos x="32" y="17"/>
                </a:cxn>
                <a:cxn ang="0">
                  <a:pos x="2" y="19"/>
                </a:cxn>
                <a:cxn ang="0">
                  <a:pos x="2" y="19"/>
                </a:cxn>
              </a:cxnLst>
              <a:rect l="0" t="0" r="r" b="b"/>
              <a:pathLst>
                <a:path w="80" h="43">
                  <a:moveTo>
                    <a:pt x="2" y="19"/>
                  </a:moveTo>
                  <a:lnTo>
                    <a:pt x="0" y="28"/>
                  </a:lnTo>
                  <a:lnTo>
                    <a:pt x="13" y="28"/>
                  </a:lnTo>
                  <a:lnTo>
                    <a:pt x="20" y="43"/>
                  </a:lnTo>
                  <a:lnTo>
                    <a:pt x="58" y="34"/>
                  </a:lnTo>
                  <a:lnTo>
                    <a:pt x="73" y="17"/>
                  </a:lnTo>
                  <a:lnTo>
                    <a:pt x="60" y="15"/>
                  </a:lnTo>
                  <a:lnTo>
                    <a:pt x="78" y="7"/>
                  </a:lnTo>
                  <a:lnTo>
                    <a:pt x="80" y="0"/>
                  </a:lnTo>
                  <a:lnTo>
                    <a:pt x="35" y="4"/>
                  </a:lnTo>
                  <a:lnTo>
                    <a:pt x="28" y="9"/>
                  </a:lnTo>
                  <a:lnTo>
                    <a:pt x="32" y="17"/>
                  </a:lnTo>
                  <a:lnTo>
                    <a:pt x="2" y="19"/>
                  </a:lnTo>
                  <a:lnTo>
                    <a:pt x="2" y="1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24" name="Freeform 5872"/>
            <p:cNvSpPr>
              <a:spLocks/>
            </p:cNvSpPr>
            <p:nvPr>
              <p:custDataLst>
                <p:tags r:id="rId202"/>
              </p:custDataLst>
            </p:nvPr>
          </p:nvSpPr>
          <p:spPr bwMode="gray">
            <a:xfrm>
              <a:off x="5160035" y="2591856"/>
              <a:ext cx="66721" cy="5138"/>
            </a:xfrm>
            <a:custGeom>
              <a:avLst/>
              <a:gdLst/>
              <a:ahLst/>
              <a:cxnLst>
                <a:cxn ang="0">
                  <a:pos x="0" y="4"/>
                </a:cxn>
                <a:cxn ang="0">
                  <a:pos x="52" y="0"/>
                </a:cxn>
                <a:cxn ang="0">
                  <a:pos x="0" y="4"/>
                </a:cxn>
                <a:cxn ang="0">
                  <a:pos x="0" y="4"/>
                </a:cxn>
              </a:cxnLst>
              <a:rect l="0" t="0" r="r" b="b"/>
              <a:pathLst>
                <a:path w="52" h="4">
                  <a:moveTo>
                    <a:pt x="0" y="4"/>
                  </a:moveTo>
                  <a:lnTo>
                    <a:pt x="52" y="0"/>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25" name="Freeform 5873"/>
            <p:cNvSpPr>
              <a:spLocks/>
            </p:cNvSpPr>
            <p:nvPr>
              <p:custDataLst>
                <p:tags r:id="rId203"/>
              </p:custDataLst>
            </p:nvPr>
          </p:nvSpPr>
          <p:spPr bwMode="gray">
            <a:xfrm>
              <a:off x="5125392" y="2599563"/>
              <a:ext cx="21813" cy="3854"/>
            </a:xfrm>
            <a:custGeom>
              <a:avLst/>
              <a:gdLst/>
              <a:ahLst/>
              <a:cxnLst>
                <a:cxn ang="0">
                  <a:pos x="0" y="1"/>
                </a:cxn>
                <a:cxn ang="0">
                  <a:pos x="12" y="3"/>
                </a:cxn>
                <a:cxn ang="0">
                  <a:pos x="17" y="0"/>
                </a:cxn>
                <a:cxn ang="0">
                  <a:pos x="0" y="1"/>
                </a:cxn>
                <a:cxn ang="0">
                  <a:pos x="0" y="1"/>
                </a:cxn>
              </a:cxnLst>
              <a:rect l="0" t="0" r="r" b="b"/>
              <a:pathLst>
                <a:path w="17" h="3">
                  <a:moveTo>
                    <a:pt x="0" y="1"/>
                  </a:moveTo>
                  <a:lnTo>
                    <a:pt x="12" y="3"/>
                  </a:lnTo>
                  <a:lnTo>
                    <a:pt x="17" y="0"/>
                  </a:lnTo>
                  <a:lnTo>
                    <a:pt x="0" y="1"/>
                  </a:lnTo>
                  <a:lnTo>
                    <a:pt x="0" y="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26" name="Freeform 5874"/>
            <p:cNvSpPr>
              <a:spLocks/>
            </p:cNvSpPr>
            <p:nvPr>
              <p:custDataLst>
                <p:tags r:id="rId204"/>
              </p:custDataLst>
            </p:nvPr>
          </p:nvSpPr>
          <p:spPr bwMode="gray">
            <a:xfrm>
              <a:off x="5142072" y="2599563"/>
              <a:ext cx="60305" cy="11561"/>
            </a:xfrm>
            <a:custGeom>
              <a:avLst/>
              <a:gdLst/>
              <a:ahLst/>
              <a:cxnLst>
                <a:cxn ang="0">
                  <a:pos x="4" y="3"/>
                </a:cxn>
                <a:cxn ang="0">
                  <a:pos x="0" y="7"/>
                </a:cxn>
                <a:cxn ang="0">
                  <a:pos x="14" y="9"/>
                </a:cxn>
                <a:cxn ang="0">
                  <a:pos x="47" y="0"/>
                </a:cxn>
                <a:cxn ang="0">
                  <a:pos x="4" y="3"/>
                </a:cxn>
                <a:cxn ang="0">
                  <a:pos x="4" y="3"/>
                </a:cxn>
              </a:cxnLst>
              <a:rect l="0" t="0" r="r" b="b"/>
              <a:pathLst>
                <a:path w="47" h="9">
                  <a:moveTo>
                    <a:pt x="4" y="3"/>
                  </a:moveTo>
                  <a:lnTo>
                    <a:pt x="0" y="7"/>
                  </a:lnTo>
                  <a:lnTo>
                    <a:pt x="14" y="9"/>
                  </a:lnTo>
                  <a:lnTo>
                    <a:pt x="47" y="0"/>
                  </a:lnTo>
                  <a:lnTo>
                    <a:pt x="4" y="3"/>
                  </a:lnTo>
                  <a:lnTo>
                    <a:pt x="4" y="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27" name="Freeform 5875"/>
            <p:cNvSpPr>
              <a:spLocks/>
            </p:cNvSpPr>
            <p:nvPr>
              <p:custDataLst>
                <p:tags r:id="rId205"/>
              </p:custDataLst>
            </p:nvPr>
          </p:nvSpPr>
          <p:spPr bwMode="gray">
            <a:xfrm>
              <a:off x="5008630" y="2632962"/>
              <a:ext cx="38493" cy="11561"/>
            </a:xfrm>
            <a:custGeom>
              <a:avLst/>
              <a:gdLst/>
              <a:ahLst/>
              <a:cxnLst>
                <a:cxn ang="0">
                  <a:pos x="0" y="7"/>
                </a:cxn>
                <a:cxn ang="0">
                  <a:pos x="7" y="9"/>
                </a:cxn>
                <a:cxn ang="0">
                  <a:pos x="30" y="0"/>
                </a:cxn>
                <a:cxn ang="0">
                  <a:pos x="0" y="7"/>
                </a:cxn>
                <a:cxn ang="0">
                  <a:pos x="0" y="7"/>
                </a:cxn>
              </a:cxnLst>
              <a:rect l="0" t="0" r="r" b="b"/>
              <a:pathLst>
                <a:path w="30" h="9">
                  <a:moveTo>
                    <a:pt x="0" y="7"/>
                  </a:moveTo>
                  <a:lnTo>
                    <a:pt x="7" y="9"/>
                  </a:lnTo>
                  <a:lnTo>
                    <a:pt x="30" y="0"/>
                  </a:lnTo>
                  <a:lnTo>
                    <a:pt x="0" y="7"/>
                  </a:lnTo>
                  <a:lnTo>
                    <a:pt x="0" y="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28" name="Freeform 5876"/>
            <p:cNvSpPr>
              <a:spLocks/>
            </p:cNvSpPr>
            <p:nvPr>
              <p:custDataLst>
                <p:tags r:id="rId206"/>
              </p:custDataLst>
            </p:nvPr>
          </p:nvSpPr>
          <p:spPr bwMode="gray">
            <a:xfrm>
              <a:off x="4959873" y="2611124"/>
              <a:ext cx="148839" cy="26976"/>
            </a:xfrm>
            <a:custGeom>
              <a:avLst/>
              <a:gdLst/>
              <a:ahLst/>
              <a:cxnLst>
                <a:cxn ang="0">
                  <a:pos x="0" y="15"/>
                </a:cxn>
                <a:cxn ang="0">
                  <a:pos x="4" y="21"/>
                </a:cxn>
                <a:cxn ang="0">
                  <a:pos x="30" y="21"/>
                </a:cxn>
                <a:cxn ang="0">
                  <a:pos x="62" y="11"/>
                </a:cxn>
                <a:cxn ang="0">
                  <a:pos x="73" y="15"/>
                </a:cxn>
                <a:cxn ang="0">
                  <a:pos x="116" y="0"/>
                </a:cxn>
                <a:cxn ang="0">
                  <a:pos x="77" y="0"/>
                </a:cxn>
                <a:cxn ang="0">
                  <a:pos x="0" y="15"/>
                </a:cxn>
                <a:cxn ang="0">
                  <a:pos x="0" y="15"/>
                </a:cxn>
              </a:cxnLst>
              <a:rect l="0" t="0" r="r" b="b"/>
              <a:pathLst>
                <a:path w="116" h="21">
                  <a:moveTo>
                    <a:pt x="0" y="15"/>
                  </a:moveTo>
                  <a:lnTo>
                    <a:pt x="4" y="21"/>
                  </a:lnTo>
                  <a:lnTo>
                    <a:pt x="30" y="21"/>
                  </a:lnTo>
                  <a:lnTo>
                    <a:pt x="62" y="11"/>
                  </a:lnTo>
                  <a:lnTo>
                    <a:pt x="73" y="15"/>
                  </a:lnTo>
                  <a:lnTo>
                    <a:pt x="116" y="0"/>
                  </a:lnTo>
                  <a:lnTo>
                    <a:pt x="77" y="0"/>
                  </a:lnTo>
                  <a:lnTo>
                    <a:pt x="0" y="15"/>
                  </a:lnTo>
                  <a:lnTo>
                    <a:pt x="0" y="1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29" name="Freeform 5877"/>
            <p:cNvSpPr>
              <a:spLocks/>
            </p:cNvSpPr>
            <p:nvPr>
              <p:custDataLst>
                <p:tags r:id="rId207"/>
              </p:custDataLst>
            </p:nvPr>
          </p:nvSpPr>
          <p:spPr bwMode="gray">
            <a:xfrm>
              <a:off x="5022744" y="2620116"/>
              <a:ext cx="182199" cy="43675"/>
            </a:xfrm>
            <a:custGeom>
              <a:avLst/>
              <a:gdLst/>
              <a:ahLst/>
              <a:cxnLst>
                <a:cxn ang="0">
                  <a:pos x="0" y="21"/>
                </a:cxn>
                <a:cxn ang="0">
                  <a:pos x="20" y="25"/>
                </a:cxn>
                <a:cxn ang="0">
                  <a:pos x="37" y="21"/>
                </a:cxn>
                <a:cxn ang="0">
                  <a:pos x="43" y="27"/>
                </a:cxn>
                <a:cxn ang="0">
                  <a:pos x="24" y="30"/>
                </a:cxn>
                <a:cxn ang="0">
                  <a:pos x="39" y="34"/>
                </a:cxn>
                <a:cxn ang="0">
                  <a:pos x="122" y="25"/>
                </a:cxn>
                <a:cxn ang="0">
                  <a:pos x="142" y="14"/>
                </a:cxn>
                <a:cxn ang="0">
                  <a:pos x="120" y="8"/>
                </a:cxn>
                <a:cxn ang="0">
                  <a:pos x="123" y="0"/>
                </a:cxn>
                <a:cxn ang="0">
                  <a:pos x="95" y="8"/>
                </a:cxn>
                <a:cxn ang="0">
                  <a:pos x="103" y="10"/>
                </a:cxn>
                <a:cxn ang="0">
                  <a:pos x="95" y="14"/>
                </a:cxn>
                <a:cxn ang="0">
                  <a:pos x="95" y="19"/>
                </a:cxn>
                <a:cxn ang="0">
                  <a:pos x="75" y="17"/>
                </a:cxn>
                <a:cxn ang="0">
                  <a:pos x="73" y="10"/>
                </a:cxn>
                <a:cxn ang="0">
                  <a:pos x="47" y="6"/>
                </a:cxn>
                <a:cxn ang="0">
                  <a:pos x="0" y="21"/>
                </a:cxn>
                <a:cxn ang="0">
                  <a:pos x="0" y="21"/>
                </a:cxn>
              </a:cxnLst>
              <a:rect l="0" t="0" r="r" b="b"/>
              <a:pathLst>
                <a:path w="142" h="34">
                  <a:moveTo>
                    <a:pt x="0" y="21"/>
                  </a:moveTo>
                  <a:lnTo>
                    <a:pt x="20" y="25"/>
                  </a:lnTo>
                  <a:lnTo>
                    <a:pt x="37" y="21"/>
                  </a:lnTo>
                  <a:lnTo>
                    <a:pt x="43" y="27"/>
                  </a:lnTo>
                  <a:lnTo>
                    <a:pt x="24" y="30"/>
                  </a:lnTo>
                  <a:lnTo>
                    <a:pt x="39" y="34"/>
                  </a:lnTo>
                  <a:lnTo>
                    <a:pt x="122" y="25"/>
                  </a:lnTo>
                  <a:lnTo>
                    <a:pt x="142" y="14"/>
                  </a:lnTo>
                  <a:lnTo>
                    <a:pt x="120" y="8"/>
                  </a:lnTo>
                  <a:lnTo>
                    <a:pt x="123" y="0"/>
                  </a:lnTo>
                  <a:lnTo>
                    <a:pt x="95" y="8"/>
                  </a:lnTo>
                  <a:lnTo>
                    <a:pt x="103" y="10"/>
                  </a:lnTo>
                  <a:lnTo>
                    <a:pt x="95" y="14"/>
                  </a:lnTo>
                  <a:lnTo>
                    <a:pt x="95" y="19"/>
                  </a:lnTo>
                  <a:lnTo>
                    <a:pt x="75" y="17"/>
                  </a:lnTo>
                  <a:lnTo>
                    <a:pt x="73" y="10"/>
                  </a:lnTo>
                  <a:lnTo>
                    <a:pt x="47" y="6"/>
                  </a:lnTo>
                  <a:lnTo>
                    <a:pt x="0" y="21"/>
                  </a:lnTo>
                  <a:lnTo>
                    <a:pt x="0" y="2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30" name="Freeform 5878"/>
            <p:cNvSpPr>
              <a:spLocks/>
            </p:cNvSpPr>
            <p:nvPr>
              <p:custDataLst>
                <p:tags r:id="rId208"/>
              </p:custDataLst>
            </p:nvPr>
          </p:nvSpPr>
          <p:spPr bwMode="gray">
            <a:xfrm>
              <a:off x="4902134" y="2677921"/>
              <a:ext cx="269449" cy="98911"/>
            </a:xfrm>
            <a:custGeom>
              <a:avLst/>
              <a:gdLst/>
              <a:ahLst/>
              <a:cxnLst>
                <a:cxn ang="0">
                  <a:pos x="9" y="30"/>
                </a:cxn>
                <a:cxn ang="0">
                  <a:pos x="19" y="34"/>
                </a:cxn>
                <a:cxn ang="0">
                  <a:pos x="9" y="40"/>
                </a:cxn>
                <a:cxn ang="0">
                  <a:pos x="15" y="44"/>
                </a:cxn>
                <a:cxn ang="0">
                  <a:pos x="60" y="49"/>
                </a:cxn>
                <a:cxn ang="0">
                  <a:pos x="8" y="53"/>
                </a:cxn>
                <a:cxn ang="0">
                  <a:pos x="0" y="62"/>
                </a:cxn>
                <a:cxn ang="0">
                  <a:pos x="28" y="66"/>
                </a:cxn>
                <a:cxn ang="0">
                  <a:pos x="24" y="77"/>
                </a:cxn>
                <a:cxn ang="0">
                  <a:pos x="124" y="62"/>
                </a:cxn>
                <a:cxn ang="0">
                  <a:pos x="139" y="72"/>
                </a:cxn>
                <a:cxn ang="0">
                  <a:pos x="156" y="70"/>
                </a:cxn>
                <a:cxn ang="0">
                  <a:pos x="197" y="51"/>
                </a:cxn>
                <a:cxn ang="0">
                  <a:pos x="167" y="45"/>
                </a:cxn>
                <a:cxn ang="0">
                  <a:pos x="163" y="40"/>
                </a:cxn>
                <a:cxn ang="0">
                  <a:pos x="174" y="30"/>
                </a:cxn>
                <a:cxn ang="0">
                  <a:pos x="180" y="15"/>
                </a:cxn>
                <a:cxn ang="0">
                  <a:pos x="210" y="4"/>
                </a:cxn>
                <a:cxn ang="0">
                  <a:pos x="187" y="0"/>
                </a:cxn>
                <a:cxn ang="0">
                  <a:pos x="154" y="15"/>
                </a:cxn>
                <a:cxn ang="0">
                  <a:pos x="116" y="10"/>
                </a:cxn>
                <a:cxn ang="0">
                  <a:pos x="94" y="14"/>
                </a:cxn>
                <a:cxn ang="0">
                  <a:pos x="101" y="4"/>
                </a:cxn>
                <a:cxn ang="0">
                  <a:pos x="88" y="4"/>
                </a:cxn>
                <a:cxn ang="0">
                  <a:pos x="39" y="15"/>
                </a:cxn>
                <a:cxn ang="0">
                  <a:pos x="9" y="30"/>
                </a:cxn>
                <a:cxn ang="0">
                  <a:pos x="9" y="30"/>
                </a:cxn>
              </a:cxnLst>
              <a:rect l="0" t="0" r="r" b="b"/>
              <a:pathLst>
                <a:path w="210" h="77">
                  <a:moveTo>
                    <a:pt x="9" y="30"/>
                  </a:moveTo>
                  <a:lnTo>
                    <a:pt x="19" y="34"/>
                  </a:lnTo>
                  <a:lnTo>
                    <a:pt x="9" y="40"/>
                  </a:lnTo>
                  <a:lnTo>
                    <a:pt x="15" y="44"/>
                  </a:lnTo>
                  <a:lnTo>
                    <a:pt x="60" y="49"/>
                  </a:lnTo>
                  <a:lnTo>
                    <a:pt x="8" y="53"/>
                  </a:lnTo>
                  <a:lnTo>
                    <a:pt x="0" y="62"/>
                  </a:lnTo>
                  <a:lnTo>
                    <a:pt x="28" y="66"/>
                  </a:lnTo>
                  <a:lnTo>
                    <a:pt x="24" y="77"/>
                  </a:lnTo>
                  <a:lnTo>
                    <a:pt x="124" y="62"/>
                  </a:lnTo>
                  <a:lnTo>
                    <a:pt x="139" y="72"/>
                  </a:lnTo>
                  <a:lnTo>
                    <a:pt x="156" y="70"/>
                  </a:lnTo>
                  <a:lnTo>
                    <a:pt x="197" y="51"/>
                  </a:lnTo>
                  <a:lnTo>
                    <a:pt x="167" y="45"/>
                  </a:lnTo>
                  <a:lnTo>
                    <a:pt x="163" y="40"/>
                  </a:lnTo>
                  <a:lnTo>
                    <a:pt x="174" y="30"/>
                  </a:lnTo>
                  <a:lnTo>
                    <a:pt x="180" y="15"/>
                  </a:lnTo>
                  <a:lnTo>
                    <a:pt x="210" y="4"/>
                  </a:lnTo>
                  <a:lnTo>
                    <a:pt x="187" y="0"/>
                  </a:lnTo>
                  <a:lnTo>
                    <a:pt x="154" y="15"/>
                  </a:lnTo>
                  <a:lnTo>
                    <a:pt x="116" y="10"/>
                  </a:lnTo>
                  <a:lnTo>
                    <a:pt x="94" y="14"/>
                  </a:lnTo>
                  <a:lnTo>
                    <a:pt x="101" y="4"/>
                  </a:lnTo>
                  <a:lnTo>
                    <a:pt x="88" y="4"/>
                  </a:lnTo>
                  <a:lnTo>
                    <a:pt x="39" y="15"/>
                  </a:lnTo>
                  <a:lnTo>
                    <a:pt x="9" y="30"/>
                  </a:lnTo>
                  <a:lnTo>
                    <a:pt x="9" y="3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31" name="Freeform 5879"/>
            <p:cNvSpPr>
              <a:spLocks/>
            </p:cNvSpPr>
            <p:nvPr>
              <p:custDataLst>
                <p:tags r:id="rId209"/>
              </p:custDataLst>
            </p:nvPr>
          </p:nvSpPr>
          <p:spPr bwMode="gray">
            <a:xfrm>
              <a:off x="4832847" y="2661222"/>
              <a:ext cx="182199" cy="68082"/>
            </a:xfrm>
            <a:custGeom>
              <a:avLst/>
              <a:gdLst/>
              <a:ahLst/>
              <a:cxnLst>
                <a:cxn ang="0">
                  <a:pos x="0" y="36"/>
                </a:cxn>
                <a:cxn ang="0">
                  <a:pos x="9" y="42"/>
                </a:cxn>
                <a:cxn ang="0">
                  <a:pos x="5" y="53"/>
                </a:cxn>
                <a:cxn ang="0">
                  <a:pos x="41" y="47"/>
                </a:cxn>
                <a:cxn ang="0">
                  <a:pos x="78" y="28"/>
                </a:cxn>
                <a:cxn ang="0">
                  <a:pos x="142" y="15"/>
                </a:cxn>
                <a:cxn ang="0">
                  <a:pos x="131" y="4"/>
                </a:cxn>
                <a:cxn ang="0">
                  <a:pos x="95" y="0"/>
                </a:cxn>
                <a:cxn ang="0">
                  <a:pos x="50" y="8"/>
                </a:cxn>
                <a:cxn ang="0">
                  <a:pos x="47" y="15"/>
                </a:cxn>
                <a:cxn ang="0">
                  <a:pos x="0" y="36"/>
                </a:cxn>
                <a:cxn ang="0">
                  <a:pos x="0" y="36"/>
                </a:cxn>
              </a:cxnLst>
              <a:rect l="0" t="0" r="r" b="b"/>
              <a:pathLst>
                <a:path w="142" h="53">
                  <a:moveTo>
                    <a:pt x="0" y="36"/>
                  </a:moveTo>
                  <a:lnTo>
                    <a:pt x="9" y="42"/>
                  </a:lnTo>
                  <a:lnTo>
                    <a:pt x="5" y="53"/>
                  </a:lnTo>
                  <a:lnTo>
                    <a:pt x="41" y="47"/>
                  </a:lnTo>
                  <a:lnTo>
                    <a:pt x="78" y="28"/>
                  </a:lnTo>
                  <a:lnTo>
                    <a:pt x="142" y="15"/>
                  </a:lnTo>
                  <a:lnTo>
                    <a:pt x="131" y="4"/>
                  </a:lnTo>
                  <a:lnTo>
                    <a:pt x="95" y="0"/>
                  </a:lnTo>
                  <a:lnTo>
                    <a:pt x="50" y="8"/>
                  </a:lnTo>
                  <a:lnTo>
                    <a:pt x="47" y="15"/>
                  </a:lnTo>
                  <a:lnTo>
                    <a:pt x="0" y="36"/>
                  </a:lnTo>
                  <a:lnTo>
                    <a:pt x="0" y="36"/>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32" name="Freeform 5885"/>
            <p:cNvSpPr>
              <a:spLocks/>
            </p:cNvSpPr>
            <p:nvPr>
              <p:custDataLst>
                <p:tags r:id="rId210"/>
              </p:custDataLst>
            </p:nvPr>
          </p:nvSpPr>
          <p:spPr bwMode="gray">
            <a:xfrm>
              <a:off x="9680371" y="2878313"/>
              <a:ext cx="55173" cy="11561"/>
            </a:xfrm>
            <a:custGeom>
              <a:avLst/>
              <a:gdLst/>
              <a:ahLst/>
              <a:cxnLst>
                <a:cxn ang="0">
                  <a:pos x="0" y="0"/>
                </a:cxn>
                <a:cxn ang="0">
                  <a:pos x="7" y="6"/>
                </a:cxn>
                <a:cxn ang="0">
                  <a:pos x="37" y="9"/>
                </a:cxn>
                <a:cxn ang="0">
                  <a:pos x="43" y="6"/>
                </a:cxn>
                <a:cxn ang="0">
                  <a:pos x="0" y="0"/>
                </a:cxn>
              </a:cxnLst>
              <a:rect l="0" t="0" r="r" b="b"/>
              <a:pathLst>
                <a:path w="43" h="9">
                  <a:moveTo>
                    <a:pt x="0" y="0"/>
                  </a:moveTo>
                  <a:lnTo>
                    <a:pt x="7" y="6"/>
                  </a:lnTo>
                  <a:lnTo>
                    <a:pt x="37" y="9"/>
                  </a:lnTo>
                  <a:lnTo>
                    <a:pt x="43" y="6"/>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33" name="Freeform 5886"/>
            <p:cNvSpPr>
              <a:spLocks/>
            </p:cNvSpPr>
            <p:nvPr>
              <p:custDataLst>
                <p:tags r:id="rId211"/>
              </p:custDataLst>
            </p:nvPr>
          </p:nvSpPr>
          <p:spPr bwMode="gray">
            <a:xfrm>
              <a:off x="9680371" y="2878313"/>
              <a:ext cx="55173" cy="11561"/>
            </a:xfrm>
            <a:custGeom>
              <a:avLst/>
              <a:gdLst/>
              <a:ahLst/>
              <a:cxnLst>
                <a:cxn ang="0">
                  <a:pos x="0" y="0"/>
                </a:cxn>
                <a:cxn ang="0">
                  <a:pos x="7" y="6"/>
                </a:cxn>
                <a:cxn ang="0">
                  <a:pos x="37" y="9"/>
                </a:cxn>
                <a:cxn ang="0">
                  <a:pos x="43" y="6"/>
                </a:cxn>
              </a:cxnLst>
              <a:rect l="0" t="0" r="r" b="b"/>
              <a:pathLst>
                <a:path w="43" h="9">
                  <a:moveTo>
                    <a:pt x="0" y="0"/>
                  </a:moveTo>
                  <a:lnTo>
                    <a:pt x="7" y="6"/>
                  </a:lnTo>
                  <a:lnTo>
                    <a:pt x="37" y="9"/>
                  </a:lnTo>
                  <a:lnTo>
                    <a:pt x="43" y="6"/>
                  </a:lnTo>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34" name="Freeform 5889"/>
            <p:cNvSpPr>
              <a:spLocks/>
            </p:cNvSpPr>
            <p:nvPr>
              <p:custDataLst>
                <p:tags r:id="rId212"/>
              </p:custDataLst>
            </p:nvPr>
          </p:nvSpPr>
          <p:spPr bwMode="gray">
            <a:xfrm>
              <a:off x="9680371" y="2878313"/>
              <a:ext cx="52607" cy="7707"/>
            </a:xfrm>
            <a:custGeom>
              <a:avLst/>
              <a:gdLst/>
              <a:ahLst/>
              <a:cxnLst>
                <a:cxn ang="0">
                  <a:pos x="41" y="6"/>
                </a:cxn>
                <a:cxn ang="0">
                  <a:pos x="0" y="0"/>
                </a:cxn>
                <a:cxn ang="0">
                  <a:pos x="41" y="6"/>
                </a:cxn>
              </a:cxnLst>
              <a:rect l="0" t="0" r="r" b="b"/>
              <a:pathLst>
                <a:path w="41" h="6">
                  <a:moveTo>
                    <a:pt x="41" y="6"/>
                  </a:moveTo>
                  <a:lnTo>
                    <a:pt x="0" y="0"/>
                  </a:lnTo>
                  <a:lnTo>
                    <a:pt x="41"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35" name="Line 5890"/>
            <p:cNvSpPr>
              <a:spLocks noChangeShapeType="1"/>
            </p:cNvSpPr>
            <p:nvPr>
              <p:custDataLst>
                <p:tags r:id="rId213"/>
              </p:custDataLst>
            </p:nvPr>
          </p:nvSpPr>
          <p:spPr bwMode="gray">
            <a:xfrm flipH="1" flipV="1">
              <a:off x="9680371" y="2878313"/>
              <a:ext cx="52607" cy="7707"/>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36" name="Freeform 5892"/>
            <p:cNvSpPr>
              <a:spLocks/>
            </p:cNvSpPr>
            <p:nvPr>
              <p:custDataLst>
                <p:tags r:id="rId214"/>
              </p:custDataLst>
            </p:nvPr>
          </p:nvSpPr>
          <p:spPr bwMode="gray">
            <a:xfrm>
              <a:off x="3988572" y="2991354"/>
              <a:ext cx="70570" cy="35968"/>
            </a:xfrm>
            <a:custGeom>
              <a:avLst/>
              <a:gdLst/>
              <a:ahLst/>
              <a:cxnLst>
                <a:cxn ang="0">
                  <a:pos x="0" y="21"/>
                </a:cxn>
                <a:cxn ang="0">
                  <a:pos x="0" y="28"/>
                </a:cxn>
                <a:cxn ang="0">
                  <a:pos x="40" y="15"/>
                </a:cxn>
                <a:cxn ang="0">
                  <a:pos x="43" y="11"/>
                </a:cxn>
                <a:cxn ang="0">
                  <a:pos x="38" y="9"/>
                </a:cxn>
                <a:cxn ang="0">
                  <a:pos x="55" y="4"/>
                </a:cxn>
                <a:cxn ang="0">
                  <a:pos x="55" y="0"/>
                </a:cxn>
                <a:cxn ang="0">
                  <a:pos x="0" y="21"/>
                </a:cxn>
                <a:cxn ang="0">
                  <a:pos x="0" y="21"/>
                </a:cxn>
              </a:cxnLst>
              <a:rect l="0" t="0" r="r" b="b"/>
              <a:pathLst>
                <a:path w="55" h="28">
                  <a:moveTo>
                    <a:pt x="0" y="21"/>
                  </a:moveTo>
                  <a:lnTo>
                    <a:pt x="0" y="28"/>
                  </a:lnTo>
                  <a:lnTo>
                    <a:pt x="40" y="15"/>
                  </a:lnTo>
                  <a:lnTo>
                    <a:pt x="43" y="11"/>
                  </a:lnTo>
                  <a:lnTo>
                    <a:pt x="38" y="9"/>
                  </a:lnTo>
                  <a:lnTo>
                    <a:pt x="55" y="4"/>
                  </a:lnTo>
                  <a:lnTo>
                    <a:pt x="55" y="0"/>
                  </a:lnTo>
                  <a:lnTo>
                    <a:pt x="0" y="21"/>
                  </a:lnTo>
                  <a:lnTo>
                    <a:pt x="0" y="2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37" name="Freeform 5893"/>
            <p:cNvSpPr>
              <a:spLocks/>
            </p:cNvSpPr>
            <p:nvPr>
              <p:custDataLst>
                <p:tags r:id="rId215"/>
              </p:custDataLst>
            </p:nvPr>
          </p:nvSpPr>
          <p:spPr bwMode="gray">
            <a:xfrm>
              <a:off x="4282400" y="3085127"/>
              <a:ext cx="35927" cy="50098"/>
            </a:xfrm>
            <a:custGeom>
              <a:avLst/>
              <a:gdLst/>
              <a:ahLst/>
              <a:cxnLst>
                <a:cxn ang="0">
                  <a:pos x="9" y="0"/>
                </a:cxn>
                <a:cxn ang="0">
                  <a:pos x="2" y="11"/>
                </a:cxn>
                <a:cxn ang="0">
                  <a:pos x="0" y="30"/>
                </a:cxn>
                <a:cxn ang="0">
                  <a:pos x="5" y="39"/>
                </a:cxn>
                <a:cxn ang="0">
                  <a:pos x="5" y="24"/>
                </a:cxn>
                <a:cxn ang="0">
                  <a:pos x="28" y="2"/>
                </a:cxn>
                <a:cxn ang="0">
                  <a:pos x="9" y="0"/>
                </a:cxn>
                <a:cxn ang="0">
                  <a:pos x="9" y="0"/>
                </a:cxn>
              </a:cxnLst>
              <a:rect l="0" t="0" r="r" b="b"/>
              <a:pathLst>
                <a:path w="28" h="39">
                  <a:moveTo>
                    <a:pt x="9" y="0"/>
                  </a:moveTo>
                  <a:lnTo>
                    <a:pt x="2" y="11"/>
                  </a:lnTo>
                  <a:lnTo>
                    <a:pt x="0" y="30"/>
                  </a:lnTo>
                  <a:lnTo>
                    <a:pt x="5" y="39"/>
                  </a:lnTo>
                  <a:lnTo>
                    <a:pt x="5" y="24"/>
                  </a:lnTo>
                  <a:lnTo>
                    <a:pt x="28" y="2"/>
                  </a:lnTo>
                  <a:lnTo>
                    <a:pt x="9" y="0"/>
                  </a:lnTo>
                  <a:lnTo>
                    <a:pt x="9"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38" name="Freeform 5894"/>
            <p:cNvSpPr>
              <a:spLocks/>
            </p:cNvSpPr>
            <p:nvPr>
              <p:custDataLst>
                <p:tags r:id="rId216"/>
              </p:custDataLst>
            </p:nvPr>
          </p:nvSpPr>
          <p:spPr bwMode="gray">
            <a:xfrm>
              <a:off x="4313194" y="3162200"/>
              <a:ext cx="55173" cy="55236"/>
            </a:xfrm>
            <a:custGeom>
              <a:avLst/>
              <a:gdLst/>
              <a:ahLst/>
              <a:cxnLst>
                <a:cxn ang="0">
                  <a:pos x="0" y="2"/>
                </a:cxn>
                <a:cxn ang="0">
                  <a:pos x="0" y="11"/>
                </a:cxn>
                <a:cxn ang="0">
                  <a:pos x="11" y="19"/>
                </a:cxn>
                <a:cxn ang="0">
                  <a:pos x="8" y="24"/>
                </a:cxn>
                <a:cxn ang="0">
                  <a:pos x="25" y="32"/>
                </a:cxn>
                <a:cxn ang="0">
                  <a:pos x="21" y="36"/>
                </a:cxn>
                <a:cxn ang="0">
                  <a:pos x="34" y="43"/>
                </a:cxn>
                <a:cxn ang="0">
                  <a:pos x="43" y="41"/>
                </a:cxn>
                <a:cxn ang="0">
                  <a:pos x="34" y="9"/>
                </a:cxn>
                <a:cxn ang="0">
                  <a:pos x="8" y="0"/>
                </a:cxn>
                <a:cxn ang="0">
                  <a:pos x="0" y="2"/>
                </a:cxn>
                <a:cxn ang="0">
                  <a:pos x="0" y="2"/>
                </a:cxn>
              </a:cxnLst>
              <a:rect l="0" t="0" r="r" b="b"/>
              <a:pathLst>
                <a:path w="43" h="43">
                  <a:moveTo>
                    <a:pt x="0" y="2"/>
                  </a:moveTo>
                  <a:lnTo>
                    <a:pt x="0" y="11"/>
                  </a:lnTo>
                  <a:lnTo>
                    <a:pt x="11" y="19"/>
                  </a:lnTo>
                  <a:lnTo>
                    <a:pt x="8" y="24"/>
                  </a:lnTo>
                  <a:lnTo>
                    <a:pt x="25" y="32"/>
                  </a:lnTo>
                  <a:lnTo>
                    <a:pt x="21" y="36"/>
                  </a:lnTo>
                  <a:lnTo>
                    <a:pt x="34" y="43"/>
                  </a:lnTo>
                  <a:lnTo>
                    <a:pt x="43" y="41"/>
                  </a:lnTo>
                  <a:lnTo>
                    <a:pt x="34" y="9"/>
                  </a:lnTo>
                  <a:lnTo>
                    <a:pt x="8" y="0"/>
                  </a:lnTo>
                  <a:lnTo>
                    <a:pt x="0" y="2"/>
                  </a:lnTo>
                  <a:lnTo>
                    <a:pt x="0" y="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39" name="Freeform 5895"/>
            <p:cNvSpPr>
              <a:spLocks/>
            </p:cNvSpPr>
            <p:nvPr>
              <p:custDataLst>
                <p:tags r:id="rId217"/>
              </p:custDataLst>
            </p:nvPr>
          </p:nvSpPr>
          <p:spPr bwMode="gray">
            <a:xfrm>
              <a:off x="6269911" y="2820507"/>
              <a:ext cx="168085" cy="62943"/>
            </a:xfrm>
            <a:custGeom>
              <a:avLst/>
              <a:gdLst/>
              <a:ahLst/>
              <a:cxnLst>
                <a:cxn ang="0">
                  <a:pos x="0" y="15"/>
                </a:cxn>
                <a:cxn ang="0">
                  <a:pos x="26" y="17"/>
                </a:cxn>
                <a:cxn ang="0">
                  <a:pos x="0" y="28"/>
                </a:cxn>
                <a:cxn ang="0">
                  <a:pos x="17" y="28"/>
                </a:cxn>
                <a:cxn ang="0">
                  <a:pos x="22" y="36"/>
                </a:cxn>
                <a:cxn ang="0">
                  <a:pos x="11" y="41"/>
                </a:cxn>
                <a:cxn ang="0">
                  <a:pos x="60" y="49"/>
                </a:cxn>
                <a:cxn ang="0">
                  <a:pos x="116" y="32"/>
                </a:cxn>
                <a:cxn ang="0">
                  <a:pos x="129" y="24"/>
                </a:cxn>
                <a:cxn ang="0">
                  <a:pos x="131" y="15"/>
                </a:cxn>
                <a:cxn ang="0">
                  <a:pos x="120" y="11"/>
                </a:cxn>
                <a:cxn ang="0">
                  <a:pos x="120" y="2"/>
                </a:cxn>
                <a:cxn ang="0">
                  <a:pos x="103" y="0"/>
                </a:cxn>
                <a:cxn ang="0">
                  <a:pos x="84" y="7"/>
                </a:cxn>
                <a:cxn ang="0">
                  <a:pos x="58" y="9"/>
                </a:cxn>
                <a:cxn ang="0">
                  <a:pos x="52" y="6"/>
                </a:cxn>
                <a:cxn ang="0">
                  <a:pos x="49" y="13"/>
                </a:cxn>
                <a:cxn ang="0">
                  <a:pos x="36" y="17"/>
                </a:cxn>
                <a:cxn ang="0">
                  <a:pos x="37" y="7"/>
                </a:cxn>
                <a:cxn ang="0">
                  <a:pos x="21" y="0"/>
                </a:cxn>
                <a:cxn ang="0">
                  <a:pos x="0" y="15"/>
                </a:cxn>
                <a:cxn ang="0">
                  <a:pos x="0" y="15"/>
                </a:cxn>
              </a:cxnLst>
              <a:rect l="0" t="0" r="r" b="b"/>
              <a:pathLst>
                <a:path w="131" h="49">
                  <a:moveTo>
                    <a:pt x="0" y="15"/>
                  </a:moveTo>
                  <a:lnTo>
                    <a:pt x="26" y="17"/>
                  </a:lnTo>
                  <a:lnTo>
                    <a:pt x="0" y="28"/>
                  </a:lnTo>
                  <a:lnTo>
                    <a:pt x="17" y="28"/>
                  </a:lnTo>
                  <a:lnTo>
                    <a:pt x="22" y="36"/>
                  </a:lnTo>
                  <a:lnTo>
                    <a:pt x="11" y="41"/>
                  </a:lnTo>
                  <a:lnTo>
                    <a:pt x="60" y="49"/>
                  </a:lnTo>
                  <a:lnTo>
                    <a:pt x="116" y="32"/>
                  </a:lnTo>
                  <a:lnTo>
                    <a:pt x="129" y="24"/>
                  </a:lnTo>
                  <a:lnTo>
                    <a:pt x="131" y="15"/>
                  </a:lnTo>
                  <a:lnTo>
                    <a:pt x="120" y="11"/>
                  </a:lnTo>
                  <a:lnTo>
                    <a:pt x="120" y="2"/>
                  </a:lnTo>
                  <a:lnTo>
                    <a:pt x="103" y="0"/>
                  </a:lnTo>
                  <a:lnTo>
                    <a:pt x="84" y="7"/>
                  </a:lnTo>
                  <a:lnTo>
                    <a:pt x="58" y="9"/>
                  </a:lnTo>
                  <a:lnTo>
                    <a:pt x="52" y="6"/>
                  </a:lnTo>
                  <a:lnTo>
                    <a:pt x="49" y="13"/>
                  </a:lnTo>
                  <a:lnTo>
                    <a:pt x="36" y="17"/>
                  </a:lnTo>
                  <a:lnTo>
                    <a:pt x="37" y="7"/>
                  </a:lnTo>
                  <a:lnTo>
                    <a:pt x="21" y="0"/>
                  </a:lnTo>
                  <a:lnTo>
                    <a:pt x="0" y="15"/>
                  </a:lnTo>
                  <a:lnTo>
                    <a:pt x="0" y="15"/>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40" name="Freeform 5896"/>
            <p:cNvSpPr>
              <a:spLocks/>
            </p:cNvSpPr>
            <p:nvPr>
              <p:custDataLst>
                <p:tags r:id="rId218"/>
              </p:custDataLst>
            </p:nvPr>
          </p:nvSpPr>
          <p:spPr bwMode="gray">
            <a:xfrm>
              <a:off x="6529095" y="2726735"/>
              <a:ext cx="16680" cy="5138"/>
            </a:xfrm>
            <a:custGeom>
              <a:avLst/>
              <a:gdLst/>
              <a:ahLst/>
              <a:cxnLst>
                <a:cxn ang="0">
                  <a:pos x="0" y="4"/>
                </a:cxn>
                <a:cxn ang="0">
                  <a:pos x="13" y="0"/>
                </a:cxn>
                <a:cxn ang="0">
                  <a:pos x="0" y="4"/>
                </a:cxn>
              </a:cxnLst>
              <a:rect l="0" t="0" r="r" b="b"/>
              <a:pathLst>
                <a:path w="13" h="4">
                  <a:moveTo>
                    <a:pt x="0" y="4"/>
                  </a:moveTo>
                  <a:lnTo>
                    <a:pt x="13" y="0"/>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41" name="Line 5897"/>
            <p:cNvSpPr>
              <a:spLocks noChangeShapeType="1"/>
            </p:cNvSpPr>
            <p:nvPr>
              <p:custDataLst>
                <p:tags r:id="rId219"/>
              </p:custDataLst>
            </p:nvPr>
          </p:nvSpPr>
          <p:spPr bwMode="gray">
            <a:xfrm flipV="1">
              <a:off x="6529095" y="2726735"/>
              <a:ext cx="16680" cy="5138"/>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42" name="Freeform 5898"/>
            <p:cNvSpPr>
              <a:spLocks/>
            </p:cNvSpPr>
            <p:nvPr>
              <p:custDataLst>
                <p:tags r:id="rId220"/>
              </p:custDataLst>
            </p:nvPr>
          </p:nvSpPr>
          <p:spPr bwMode="gray">
            <a:xfrm>
              <a:off x="6407201" y="2644523"/>
              <a:ext cx="14114" cy="7707"/>
            </a:xfrm>
            <a:custGeom>
              <a:avLst/>
              <a:gdLst/>
              <a:ahLst/>
              <a:cxnLst>
                <a:cxn ang="0">
                  <a:pos x="2" y="0"/>
                </a:cxn>
                <a:cxn ang="0">
                  <a:pos x="0" y="6"/>
                </a:cxn>
                <a:cxn ang="0">
                  <a:pos x="11" y="6"/>
                </a:cxn>
                <a:cxn ang="0">
                  <a:pos x="2" y="0"/>
                </a:cxn>
                <a:cxn ang="0">
                  <a:pos x="2" y="0"/>
                </a:cxn>
              </a:cxnLst>
              <a:rect l="0" t="0" r="r" b="b"/>
              <a:pathLst>
                <a:path w="11" h="6">
                  <a:moveTo>
                    <a:pt x="2" y="0"/>
                  </a:moveTo>
                  <a:lnTo>
                    <a:pt x="0" y="6"/>
                  </a:lnTo>
                  <a:lnTo>
                    <a:pt x="11" y="6"/>
                  </a:lnTo>
                  <a:lnTo>
                    <a:pt x="2" y="0"/>
                  </a:lnTo>
                  <a:lnTo>
                    <a:pt x="2"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43" name="Freeform 5899"/>
            <p:cNvSpPr>
              <a:spLocks/>
            </p:cNvSpPr>
            <p:nvPr>
              <p:custDataLst>
                <p:tags r:id="rId221"/>
              </p:custDataLst>
            </p:nvPr>
          </p:nvSpPr>
          <p:spPr bwMode="gray">
            <a:xfrm>
              <a:off x="7470407" y="4624127"/>
              <a:ext cx="155254" cy="319855"/>
            </a:xfrm>
            <a:custGeom>
              <a:avLst/>
              <a:gdLst/>
              <a:ahLst/>
              <a:cxnLst>
                <a:cxn ang="0">
                  <a:pos x="0" y="184"/>
                </a:cxn>
                <a:cxn ang="0">
                  <a:pos x="5" y="230"/>
                </a:cxn>
                <a:cxn ang="0">
                  <a:pos x="18" y="245"/>
                </a:cxn>
                <a:cxn ang="0">
                  <a:pos x="24" y="249"/>
                </a:cxn>
                <a:cxn ang="0">
                  <a:pos x="54" y="242"/>
                </a:cxn>
                <a:cxn ang="0">
                  <a:pos x="60" y="234"/>
                </a:cxn>
                <a:cxn ang="0">
                  <a:pos x="99" y="120"/>
                </a:cxn>
                <a:cxn ang="0">
                  <a:pos x="110" y="64"/>
                </a:cxn>
                <a:cxn ang="0">
                  <a:pos x="116" y="71"/>
                </a:cxn>
                <a:cxn ang="0">
                  <a:pos x="121" y="64"/>
                </a:cxn>
                <a:cxn ang="0">
                  <a:pos x="114" y="19"/>
                </a:cxn>
                <a:cxn ang="0">
                  <a:pos x="105" y="0"/>
                </a:cxn>
                <a:cxn ang="0">
                  <a:pos x="97" y="7"/>
                </a:cxn>
                <a:cxn ang="0">
                  <a:pos x="95" y="24"/>
                </a:cxn>
                <a:cxn ang="0">
                  <a:pos x="82" y="28"/>
                </a:cxn>
                <a:cxn ang="0">
                  <a:pos x="77" y="51"/>
                </a:cxn>
                <a:cxn ang="0">
                  <a:pos x="26" y="77"/>
                </a:cxn>
                <a:cxn ang="0">
                  <a:pos x="15" y="99"/>
                </a:cxn>
                <a:cxn ang="0">
                  <a:pos x="20" y="148"/>
                </a:cxn>
                <a:cxn ang="0">
                  <a:pos x="0" y="184"/>
                </a:cxn>
                <a:cxn ang="0">
                  <a:pos x="0" y="184"/>
                </a:cxn>
              </a:cxnLst>
              <a:rect l="0" t="0" r="r" b="b"/>
              <a:pathLst>
                <a:path w="121" h="249">
                  <a:moveTo>
                    <a:pt x="0" y="184"/>
                  </a:moveTo>
                  <a:lnTo>
                    <a:pt x="5" y="230"/>
                  </a:lnTo>
                  <a:lnTo>
                    <a:pt x="18" y="245"/>
                  </a:lnTo>
                  <a:lnTo>
                    <a:pt x="24" y="249"/>
                  </a:lnTo>
                  <a:lnTo>
                    <a:pt x="54" y="242"/>
                  </a:lnTo>
                  <a:lnTo>
                    <a:pt x="60" y="234"/>
                  </a:lnTo>
                  <a:lnTo>
                    <a:pt x="99" y="120"/>
                  </a:lnTo>
                  <a:lnTo>
                    <a:pt x="110" y="64"/>
                  </a:lnTo>
                  <a:lnTo>
                    <a:pt x="116" y="71"/>
                  </a:lnTo>
                  <a:lnTo>
                    <a:pt x="121" y="64"/>
                  </a:lnTo>
                  <a:lnTo>
                    <a:pt x="114" y="19"/>
                  </a:lnTo>
                  <a:lnTo>
                    <a:pt x="105" y="0"/>
                  </a:lnTo>
                  <a:lnTo>
                    <a:pt x="97" y="7"/>
                  </a:lnTo>
                  <a:lnTo>
                    <a:pt x="95" y="24"/>
                  </a:lnTo>
                  <a:lnTo>
                    <a:pt x="82" y="28"/>
                  </a:lnTo>
                  <a:lnTo>
                    <a:pt x="77" y="51"/>
                  </a:lnTo>
                  <a:lnTo>
                    <a:pt x="26" y="77"/>
                  </a:lnTo>
                  <a:lnTo>
                    <a:pt x="15" y="99"/>
                  </a:lnTo>
                  <a:lnTo>
                    <a:pt x="20" y="148"/>
                  </a:lnTo>
                  <a:lnTo>
                    <a:pt x="0" y="184"/>
                  </a:lnTo>
                  <a:lnTo>
                    <a:pt x="0" y="18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44" name="Freeform 5903"/>
            <p:cNvSpPr>
              <a:spLocks/>
            </p:cNvSpPr>
            <p:nvPr>
              <p:custDataLst>
                <p:tags r:id="rId222"/>
              </p:custDataLst>
            </p:nvPr>
          </p:nvSpPr>
          <p:spPr bwMode="gray">
            <a:xfrm>
              <a:off x="7688533" y="4039652"/>
              <a:ext cx="26945" cy="8992"/>
            </a:xfrm>
            <a:custGeom>
              <a:avLst/>
              <a:gdLst/>
              <a:ahLst/>
              <a:cxnLst>
                <a:cxn ang="0">
                  <a:pos x="0" y="5"/>
                </a:cxn>
                <a:cxn ang="0">
                  <a:pos x="13" y="7"/>
                </a:cxn>
                <a:cxn ang="0">
                  <a:pos x="21" y="2"/>
                </a:cxn>
                <a:cxn ang="0">
                  <a:pos x="6" y="0"/>
                </a:cxn>
                <a:cxn ang="0">
                  <a:pos x="0" y="5"/>
                </a:cxn>
                <a:cxn ang="0">
                  <a:pos x="0" y="5"/>
                </a:cxn>
              </a:cxnLst>
              <a:rect l="0" t="0" r="r" b="b"/>
              <a:pathLst>
                <a:path w="21" h="7">
                  <a:moveTo>
                    <a:pt x="0" y="5"/>
                  </a:moveTo>
                  <a:lnTo>
                    <a:pt x="13" y="7"/>
                  </a:lnTo>
                  <a:lnTo>
                    <a:pt x="21" y="2"/>
                  </a:lnTo>
                  <a:lnTo>
                    <a:pt x="6" y="0"/>
                  </a:lnTo>
                  <a:lnTo>
                    <a:pt x="0" y="5"/>
                  </a:lnTo>
                  <a:lnTo>
                    <a:pt x="0" y="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45" name="Freeform 5904"/>
            <p:cNvSpPr>
              <a:spLocks/>
            </p:cNvSpPr>
            <p:nvPr>
              <p:custDataLst>
                <p:tags r:id="rId223"/>
              </p:custDataLst>
            </p:nvPr>
          </p:nvSpPr>
          <p:spPr bwMode="gray">
            <a:xfrm>
              <a:off x="8521738" y="4045977"/>
              <a:ext cx="5132" cy="33399"/>
            </a:xfrm>
            <a:custGeom>
              <a:avLst/>
              <a:gdLst/>
              <a:ahLst/>
              <a:cxnLst>
                <a:cxn ang="0">
                  <a:pos x="4" y="0"/>
                </a:cxn>
                <a:cxn ang="0">
                  <a:pos x="0" y="26"/>
                </a:cxn>
                <a:cxn ang="0">
                  <a:pos x="4" y="0"/>
                </a:cxn>
              </a:cxnLst>
              <a:rect l="0" t="0" r="r" b="b"/>
              <a:pathLst>
                <a:path w="4" h="26">
                  <a:moveTo>
                    <a:pt x="4" y="0"/>
                  </a:moveTo>
                  <a:lnTo>
                    <a:pt x="0" y="26"/>
                  </a:lnTo>
                  <a:lnTo>
                    <a:pt x="4"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46" name="Line 5905"/>
            <p:cNvSpPr>
              <a:spLocks noChangeShapeType="1"/>
            </p:cNvSpPr>
            <p:nvPr>
              <p:custDataLst>
                <p:tags r:id="rId224"/>
              </p:custDataLst>
            </p:nvPr>
          </p:nvSpPr>
          <p:spPr bwMode="gray">
            <a:xfrm flipH="1">
              <a:off x="8521738" y="4045977"/>
              <a:ext cx="5132" cy="33399"/>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47" name="Freeform 5906"/>
            <p:cNvSpPr>
              <a:spLocks/>
            </p:cNvSpPr>
            <p:nvPr>
              <p:custDataLst>
                <p:tags r:id="rId225"/>
              </p:custDataLst>
            </p:nvPr>
          </p:nvSpPr>
          <p:spPr bwMode="gray">
            <a:xfrm>
              <a:off x="8521738" y="410763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48" name="Freeform 5907"/>
            <p:cNvSpPr>
              <a:spLocks/>
            </p:cNvSpPr>
            <p:nvPr>
              <p:custDataLst>
                <p:tags r:id="rId226"/>
              </p:custDataLst>
            </p:nvPr>
          </p:nvSpPr>
          <p:spPr bwMode="gray">
            <a:xfrm>
              <a:off x="8551249" y="419241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49" name="Freeform 5911"/>
            <p:cNvSpPr>
              <a:spLocks/>
            </p:cNvSpPr>
            <p:nvPr>
              <p:custDataLst>
                <p:tags r:id="rId227"/>
              </p:custDataLst>
            </p:nvPr>
          </p:nvSpPr>
          <p:spPr bwMode="gray">
            <a:xfrm>
              <a:off x="8661595" y="4382532"/>
              <a:ext cx="11548" cy="19268"/>
            </a:xfrm>
            <a:custGeom>
              <a:avLst/>
              <a:gdLst/>
              <a:ahLst/>
              <a:cxnLst>
                <a:cxn ang="0">
                  <a:pos x="0" y="2"/>
                </a:cxn>
                <a:cxn ang="0">
                  <a:pos x="3" y="15"/>
                </a:cxn>
                <a:cxn ang="0">
                  <a:pos x="9" y="13"/>
                </a:cxn>
                <a:cxn ang="0">
                  <a:pos x="3" y="0"/>
                </a:cxn>
                <a:cxn ang="0">
                  <a:pos x="0" y="2"/>
                </a:cxn>
                <a:cxn ang="0">
                  <a:pos x="0" y="2"/>
                </a:cxn>
              </a:cxnLst>
              <a:rect l="0" t="0" r="r" b="b"/>
              <a:pathLst>
                <a:path w="9" h="15">
                  <a:moveTo>
                    <a:pt x="0" y="2"/>
                  </a:moveTo>
                  <a:lnTo>
                    <a:pt x="3" y="15"/>
                  </a:lnTo>
                  <a:lnTo>
                    <a:pt x="9" y="13"/>
                  </a:lnTo>
                  <a:lnTo>
                    <a:pt x="3"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50" name="Freeform 5912"/>
            <p:cNvSpPr>
              <a:spLocks/>
            </p:cNvSpPr>
            <p:nvPr>
              <p:custDataLst>
                <p:tags r:id="rId228"/>
              </p:custDataLst>
            </p:nvPr>
          </p:nvSpPr>
          <p:spPr bwMode="gray">
            <a:xfrm>
              <a:off x="8733448" y="448786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51" name="Freeform 5913"/>
            <p:cNvSpPr>
              <a:spLocks/>
            </p:cNvSpPr>
            <p:nvPr>
              <p:custDataLst>
                <p:tags r:id="rId229"/>
              </p:custDataLst>
            </p:nvPr>
          </p:nvSpPr>
          <p:spPr bwMode="gray">
            <a:xfrm>
              <a:off x="8796320" y="460604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52" name="Freeform 5914"/>
            <p:cNvSpPr>
              <a:spLocks/>
            </p:cNvSpPr>
            <p:nvPr>
              <p:custDataLst>
                <p:tags r:id="rId230"/>
              </p:custDataLst>
            </p:nvPr>
          </p:nvSpPr>
          <p:spPr bwMode="gray">
            <a:xfrm>
              <a:off x="8259987" y="4126904"/>
              <a:ext cx="43625" cy="89919"/>
            </a:xfrm>
            <a:custGeom>
              <a:avLst/>
              <a:gdLst/>
              <a:ahLst/>
              <a:cxnLst>
                <a:cxn ang="0">
                  <a:pos x="0" y="32"/>
                </a:cxn>
                <a:cxn ang="0">
                  <a:pos x="9" y="70"/>
                </a:cxn>
                <a:cxn ang="0">
                  <a:pos x="24" y="68"/>
                </a:cxn>
                <a:cxn ang="0">
                  <a:pos x="32" y="62"/>
                </a:cxn>
                <a:cxn ang="0">
                  <a:pos x="34" y="41"/>
                </a:cxn>
                <a:cxn ang="0">
                  <a:pos x="11" y="6"/>
                </a:cxn>
                <a:cxn ang="0">
                  <a:pos x="2" y="0"/>
                </a:cxn>
                <a:cxn ang="0">
                  <a:pos x="5" y="8"/>
                </a:cxn>
                <a:cxn ang="0">
                  <a:pos x="0" y="32"/>
                </a:cxn>
                <a:cxn ang="0">
                  <a:pos x="0" y="32"/>
                </a:cxn>
              </a:cxnLst>
              <a:rect l="0" t="0" r="r" b="b"/>
              <a:pathLst>
                <a:path w="34" h="70">
                  <a:moveTo>
                    <a:pt x="0" y="32"/>
                  </a:moveTo>
                  <a:lnTo>
                    <a:pt x="9" y="70"/>
                  </a:lnTo>
                  <a:lnTo>
                    <a:pt x="24" y="68"/>
                  </a:lnTo>
                  <a:lnTo>
                    <a:pt x="32" y="62"/>
                  </a:lnTo>
                  <a:lnTo>
                    <a:pt x="34" y="41"/>
                  </a:lnTo>
                  <a:lnTo>
                    <a:pt x="11" y="6"/>
                  </a:lnTo>
                  <a:lnTo>
                    <a:pt x="2" y="0"/>
                  </a:lnTo>
                  <a:lnTo>
                    <a:pt x="5" y="8"/>
                  </a:lnTo>
                  <a:lnTo>
                    <a:pt x="0" y="32"/>
                  </a:lnTo>
                  <a:lnTo>
                    <a:pt x="0" y="3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53" name="Freeform 5915"/>
            <p:cNvSpPr>
              <a:spLocks/>
            </p:cNvSpPr>
            <p:nvPr>
              <p:custDataLst>
                <p:tags r:id="rId231"/>
              </p:custDataLst>
            </p:nvPr>
          </p:nvSpPr>
          <p:spPr bwMode="gray">
            <a:xfrm>
              <a:off x="8834813" y="3886692"/>
              <a:ext cx="44908" cy="41106"/>
            </a:xfrm>
            <a:custGeom>
              <a:avLst/>
              <a:gdLst/>
              <a:ahLst/>
              <a:cxnLst>
                <a:cxn ang="0">
                  <a:pos x="0" y="11"/>
                </a:cxn>
                <a:cxn ang="0">
                  <a:pos x="3" y="28"/>
                </a:cxn>
                <a:cxn ang="0">
                  <a:pos x="18" y="32"/>
                </a:cxn>
                <a:cxn ang="0">
                  <a:pos x="30" y="22"/>
                </a:cxn>
                <a:cxn ang="0">
                  <a:pos x="35" y="0"/>
                </a:cxn>
                <a:cxn ang="0">
                  <a:pos x="13" y="2"/>
                </a:cxn>
                <a:cxn ang="0">
                  <a:pos x="0" y="11"/>
                </a:cxn>
                <a:cxn ang="0">
                  <a:pos x="0" y="11"/>
                </a:cxn>
              </a:cxnLst>
              <a:rect l="0" t="0" r="r" b="b"/>
              <a:pathLst>
                <a:path w="35" h="32">
                  <a:moveTo>
                    <a:pt x="0" y="11"/>
                  </a:moveTo>
                  <a:lnTo>
                    <a:pt x="3" y="28"/>
                  </a:lnTo>
                  <a:lnTo>
                    <a:pt x="18" y="32"/>
                  </a:lnTo>
                  <a:lnTo>
                    <a:pt x="30" y="22"/>
                  </a:lnTo>
                  <a:lnTo>
                    <a:pt x="35" y="0"/>
                  </a:lnTo>
                  <a:lnTo>
                    <a:pt x="13" y="2"/>
                  </a:lnTo>
                  <a:lnTo>
                    <a:pt x="0" y="11"/>
                  </a:lnTo>
                  <a:lnTo>
                    <a:pt x="0" y="1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54" name="Freeform 5916"/>
            <p:cNvSpPr>
              <a:spLocks/>
            </p:cNvSpPr>
            <p:nvPr>
              <p:custDataLst>
                <p:tags r:id="rId232"/>
              </p:custDataLst>
            </p:nvPr>
          </p:nvSpPr>
          <p:spPr bwMode="gray">
            <a:xfrm>
              <a:off x="9052938" y="3760805"/>
              <a:ext cx="28228" cy="77074"/>
            </a:xfrm>
            <a:custGeom>
              <a:avLst/>
              <a:gdLst/>
              <a:ahLst/>
              <a:cxnLst>
                <a:cxn ang="0">
                  <a:pos x="0" y="30"/>
                </a:cxn>
                <a:cxn ang="0">
                  <a:pos x="6" y="49"/>
                </a:cxn>
                <a:cxn ang="0">
                  <a:pos x="15" y="60"/>
                </a:cxn>
                <a:cxn ang="0">
                  <a:pos x="22" y="4"/>
                </a:cxn>
                <a:cxn ang="0">
                  <a:pos x="17" y="0"/>
                </a:cxn>
                <a:cxn ang="0">
                  <a:pos x="9" y="6"/>
                </a:cxn>
                <a:cxn ang="0">
                  <a:pos x="0" y="30"/>
                </a:cxn>
                <a:cxn ang="0">
                  <a:pos x="0" y="30"/>
                </a:cxn>
              </a:cxnLst>
              <a:rect l="0" t="0" r="r" b="b"/>
              <a:pathLst>
                <a:path w="22" h="60">
                  <a:moveTo>
                    <a:pt x="0" y="30"/>
                  </a:moveTo>
                  <a:lnTo>
                    <a:pt x="6" y="49"/>
                  </a:lnTo>
                  <a:lnTo>
                    <a:pt x="15" y="60"/>
                  </a:lnTo>
                  <a:lnTo>
                    <a:pt x="22" y="4"/>
                  </a:lnTo>
                  <a:lnTo>
                    <a:pt x="17" y="0"/>
                  </a:lnTo>
                  <a:lnTo>
                    <a:pt x="9" y="6"/>
                  </a:lnTo>
                  <a:lnTo>
                    <a:pt x="0" y="30"/>
                  </a:lnTo>
                  <a:lnTo>
                    <a:pt x="0" y="3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55" name="Freeform 5917"/>
            <p:cNvSpPr>
              <a:spLocks/>
            </p:cNvSpPr>
            <p:nvPr>
              <p:custDataLst>
                <p:tags r:id="rId233"/>
              </p:custDataLst>
            </p:nvPr>
          </p:nvSpPr>
          <p:spPr bwMode="gray">
            <a:xfrm>
              <a:off x="9177398" y="3559129"/>
              <a:ext cx="51324" cy="65513"/>
            </a:xfrm>
            <a:custGeom>
              <a:avLst/>
              <a:gdLst/>
              <a:ahLst/>
              <a:cxnLst>
                <a:cxn ang="0">
                  <a:pos x="0" y="11"/>
                </a:cxn>
                <a:cxn ang="0">
                  <a:pos x="8" y="19"/>
                </a:cxn>
                <a:cxn ang="0">
                  <a:pos x="14" y="19"/>
                </a:cxn>
                <a:cxn ang="0">
                  <a:pos x="14" y="13"/>
                </a:cxn>
                <a:cxn ang="0">
                  <a:pos x="19" y="19"/>
                </a:cxn>
                <a:cxn ang="0">
                  <a:pos x="23" y="47"/>
                </a:cxn>
                <a:cxn ang="0">
                  <a:pos x="34" y="51"/>
                </a:cxn>
                <a:cxn ang="0">
                  <a:pos x="40" y="43"/>
                </a:cxn>
                <a:cxn ang="0">
                  <a:pos x="40" y="17"/>
                </a:cxn>
                <a:cxn ang="0">
                  <a:pos x="30" y="2"/>
                </a:cxn>
                <a:cxn ang="0">
                  <a:pos x="10" y="0"/>
                </a:cxn>
                <a:cxn ang="0">
                  <a:pos x="0" y="11"/>
                </a:cxn>
                <a:cxn ang="0">
                  <a:pos x="0" y="11"/>
                </a:cxn>
              </a:cxnLst>
              <a:rect l="0" t="0" r="r" b="b"/>
              <a:pathLst>
                <a:path w="40" h="51">
                  <a:moveTo>
                    <a:pt x="0" y="11"/>
                  </a:moveTo>
                  <a:lnTo>
                    <a:pt x="8" y="19"/>
                  </a:lnTo>
                  <a:lnTo>
                    <a:pt x="14" y="19"/>
                  </a:lnTo>
                  <a:lnTo>
                    <a:pt x="14" y="13"/>
                  </a:lnTo>
                  <a:lnTo>
                    <a:pt x="19" y="19"/>
                  </a:lnTo>
                  <a:lnTo>
                    <a:pt x="23" y="47"/>
                  </a:lnTo>
                  <a:lnTo>
                    <a:pt x="34" y="51"/>
                  </a:lnTo>
                  <a:lnTo>
                    <a:pt x="40" y="43"/>
                  </a:lnTo>
                  <a:lnTo>
                    <a:pt x="40" y="17"/>
                  </a:lnTo>
                  <a:lnTo>
                    <a:pt x="30" y="2"/>
                  </a:lnTo>
                  <a:lnTo>
                    <a:pt x="10" y="0"/>
                  </a:lnTo>
                  <a:lnTo>
                    <a:pt x="0" y="11"/>
                  </a:lnTo>
                  <a:lnTo>
                    <a:pt x="0" y="1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56" name="Freeform 5918"/>
            <p:cNvSpPr>
              <a:spLocks/>
            </p:cNvSpPr>
            <p:nvPr>
              <p:custDataLst>
                <p:tags r:id="rId234"/>
              </p:custDataLst>
            </p:nvPr>
          </p:nvSpPr>
          <p:spPr bwMode="gray">
            <a:xfrm>
              <a:off x="9231288" y="3550137"/>
              <a:ext cx="42342" cy="33399"/>
            </a:xfrm>
            <a:custGeom>
              <a:avLst/>
              <a:gdLst/>
              <a:ahLst/>
              <a:cxnLst>
                <a:cxn ang="0">
                  <a:pos x="0" y="15"/>
                </a:cxn>
                <a:cxn ang="0">
                  <a:pos x="15" y="26"/>
                </a:cxn>
                <a:cxn ang="0">
                  <a:pos x="16" y="16"/>
                </a:cxn>
                <a:cxn ang="0">
                  <a:pos x="22" y="13"/>
                </a:cxn>
                <a:cxn ang="0">
                  <a:pos x="28" y="18"/>
                </a:cxn>
                <a:cxn ang="0">
                  <a:pos x="33" y="7"/>
                </a:cxn>
                <a:cxn ang="0">
                  <a:pos x="30" y="0"/>
                </a:cxn>
                <a:cxn ang="0">
                  <a:pos x="15" y="0"/>
                </a:cxn>
                <a:cxn ang="0">
                  <a:pos x="13" y="5"/>
                </a:cxn>
                <a:cxn ang="0">
                  <a:pos x="3" y="3"/>
                </a:cxn>
                <a:cxn ang="0">
                  <a:pos x="0" y="15"/>
                </a:cxn>
                <a:cxn ang="0">
                  <a:pos x="0" y="15"/>
                </a:cxn>
              </a:cxnLst>
              <a:rect l="0" t="0" r="r" b="b"/>
              <a:pathLst>
                <a:path w="33" h="26">
                  <a:moveTo>
                    <a:pt x="0" y="15"/>
                  </a:moveTo>
                  <a:lnTo>
                    <a:pt x="15" y="26"/>
                  </a:lnTo>
                  <a:lnTo>
                    <a:pt x="16" y="16"/>
                  </a:lnTo>
                  <a:lnTo>
                    <a:pt x="22" y="13"/>
                  </a:lnTo>
                  <a:lnTo>
                    <a:pt x="28" y="18"/>
                  </a:lnTo>
                  <a:lnTo>
                    <a:pt x="33" y="7"/>
                  </a:lnTo>
                  <a:lnTo>
                    <a:pt x="30" y="0"/>
                  </a:lnTo>
                  <a:lnTo>
                    <a:pt x="15" y="0"/>
                  </a:lnTo>
                  <a:lnTo>
                    <a:pt x="13" y="5"/>
                  </a:lnTo>
                  <a:lnTo>
                    <a:pt x="3" y="3"/>
                  </a:lnTo>
                  <a:lnTo>
                    <a:pt x="0" y="15"/>
                  </a:lnTo>
                  <a:lnTo>
                    <a:pt x="0" y="15"/>
                  </a:lnTo>
                  <a:close/>
                </a:path>
              </a:pathLst>
            </a:custGeom>
            <a:solidFill>
              <a:srgbClr val="C3E0EB"/>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57" name="Freeform 5919"/>
            <p:cNvSpPr>
              <a:spLocks/>
            </p:cNvSpPr>
            <p:nvPr>
              <p:custDataLst>
                <p:tags r:id="rId235"/>
              </p:custDataLst>
            </p:nvPr>
          </p:nvSpPr>
          <p:spPr bwMode="gray">
            <a:xfrm>
              <a:off x="9195362" y="3379291"/>
              <a:ext cx="179633" cy="190115"/>
            </a:xfrm>
            <a:custGeom>
              <a:avLst/>
              <a:gdLst/>
              <a:ahLst/>
              <a:cxnLst>
                <a:cxn ang="0">
                  <a:pos x="0" y="131"/>
                </a:cxn>
                <a:cxn ang="0">
                  <a:pos x="3" y="138"/>
                </a:cxn>
                <a:cxn ang="0">
                  <a:pos x="20" y="138"/>
                </a:cxn>
                <a:cxn ang="0">
                  <a:pos x="22" y="133"/>
                </a:cxn>
                <a:cxn ang="0">
                  <a:pos x="52" y="121"/>
                </a:cxn>
                <a:cxn ang="0">
                  <a:pos x="67" y="123"/>
                </a:cxn>
                <a:cxn ang="0">
                  <a:pos x="69" y="138"/>
                </a:cxn>
                <a:cxn ang="0">
                  <a:pos x="82" y="148"/>
                </a:cxn>
                <a:cxn ang="0">
                  <a:pos x="89" y="131"/>
                </a:cxn>
                <a:cxn ang="0">
                  <a:pos x="84" y="125"/>
                </a:cxn>
                <a:cxn ang="0">
                  <a:pos x="84" y="118"/>
                </a:cxn>
                <a:cxn ang="0">
                  <a:pos x="95" y="125"/>
                </a:cxn>
                <a:cxn ang="0">
                  <a:pos x="108" y="125"/>
                </a:cxn>
                <a:cxn ang="0">
                  <a:pos x="114" y="116"/>
                </a:cxn>
                <a:cxn ang="0">
                  <a:pos x="119" y="125"/>
                </a:cxn>
                <a:cxn ang="0">
                  <a:pos x="119" y="114"/>
                </a:cxn>
                <a:cxn ang="0">
                  <a:pos x="127" y="108"/>
                </a:cxn>
                <a:cxn ang="0">
                  <a:pos x="131" y="119"/>
                </a:cxn>
                <a:cxn ang="0">
                  <a:pos x="138" y="114"/>
                </a:cxn>
                <a:cxn ang="0">
                  <a:pos x="140" y="104"/>
                </a:cxn>
                <a:cxn ang="0">
                  <a:pos x="121" y="61"/>
                </a:cxn>
                <a:cxn ang="0">
                  <a:pos x="123" y="58"/>
                </a:cxn>
                <a:cxn ang="0">
                  <a:pos x="129" y="58"/>
                </a:cxn>
                <a:cxn ang="0">
                  <a:pos x="127" y="43"/>
                </a:cxn>
                <a:cxn ang="0">
                  <a:pos x="99" y="1"/>
                </a:cxn>
                <a:cxn ang="0">
                  <a:pos x="88" y="0"/>
                </a:cxn>
                <a:cxn ang="0">
                  <a:pos x="97" y="9"/>
                </a:cxn>
                <a:cxn ang="0">
                  <a:pos x="84" y="5"/>
                </a:cxn>
                <a:cxn ang="0">
                  <a:pos x="97" y="45"/>
                </a:cxn>
                <a:cxn ang="0">
                  <a:pos x="93" y="75"/>
                </a:cxn>
                <a:cxn ang="0">
                  <a:pos x="74" y="86"/>
                </a:cxn>
                <a:cxn ang="0">
                  <a:pos x="71" y="73"/>
                </a:cxn>
                <a:cxn ang="0">
                  <a:pos x="67" y="76"/>
                </a:cxn>
                <a:cxn ang="0">
                  <a:pos x="69" y="106"/>
                </a:cxn>
                <a:cxn ang="0">
                  <a:pos x="65" y="108"/>
                </a:cxn>
                <a:cxn ang="0">
                  <a:pos x="56" y="104"/>
                </a:cxn>
                <a:cxn ang="0">
                  <a:pos x="20" y="108"/>
                </a:cxn>
                <a:cxn ang="0">
                  <a:pos x="0" y="131"/>
                </a:cxn>
                <a:cxn ang="0">
                  <a:pos x="0" y="131"/>
                </a:cxn>
              </a:cxnLst>
              <a:rect l="0" t="0" r="r" b="b"/>
              <a:pathLst>
                <a:path w="140" h="148">
                  <a:moveTo>
                    <a:pt x="0" y="131"/>
                  </a:moveTo>
                  <a:lnTo>
                    <a:pt x="3" y="138"/>
                  </a:lnTo>
                  <a:lnTo>
                    <a:pt x="20" y="138"/>
                  </a:lnTo>
                  <a:lnTo>
                    <a:pt x="22" y="133"/>
                  </a:lnTo>
                  <a:lnTo>
                    <a:pt x="52" y="121"/>
                  </a:lnTo>
                  <a:lnTo>
                    <a:pt x="67" y="123"/>
                  </a:lnTo>
                  <a:lnTo>
                    <a:pt x="69" y="138"/>
                  </a:lnTo>
                  <a:lnTo>
                    <a:pt x="82" y="148"/>
                  </a:lnTo>
                  <a:lnTo>
                    <a:pt x="89" y="131"/>
                  </a:lnTo>
                  <a:lnTo>
                    <a:pt x="84" y="125"/>
                  </a:lnTo>
                  <a:lnTo>
                    <a:pt x="84" y="118"/>
                  </a:lnTo>
                  <a:lnTo>
                    <a:pt x="95" y="125"/>
                  </a:lnTo>
                  <a:lnTo>
                    <a:pt x="108" y="125"/>
                  </a:lnTo>
                  <a:lnTo>
                    <a:pt x="114" y="116"/>
                  </a:lnTo>
                  <a:lnTo>
                    <a:pt x="119" y="125"/>
                  </a:lnTo>
                  <a:lnTo>
                    <a:pt x="119" y="114"/>
                  </a:lnTo>
                  <a:lnTo>
                    <a:pt x="127" y="108"/>
                  </a:lnTo>
                  <a:lnTo>
                    <a:pt x="131" y="119"/>
                  </a:lnTo>
                  <a:lnTo>
                    <a:pt x="138" y="114"/>
                  </a:lnTo>
                  <a:lnTo>
                    <a:pt x="140" y="104"/>
                  </a:lnTo>
                  <a:lnTo>
                    <a:pt x="121" y="61"/>
                  </a:lnTo>
                  <a:lnTo>
                    <a:pt x="123" y="58"/>
                  </a:lnTo>
                  <a:lnTo>
                    <a:pt x="129" y="58"/>
                  </a:lnTo>
                  <a:lnTo>
                    <a:pt x="127" y="43"/>
                  </a:lnTo>
                  <a:lnTo>
                    <a:pt x="99" y="1"/>
                  </a:lnTo>
                  <a:lnTo>
                    <a:pt x="88" y="0"/>
                  </a:lnTo>
                  <a:lnTo>
                    <a:pt x="97" y="9"/>
                  </a:lnTo>
                  <a:lnTo>
                    <a:pt x="84" y="5"/>
                  </a:lnTo>
                  <a:lnTo>
                    <a:pt x="97" y="45"/>
                  </a:lnTo>
                  <a:lnTo>
                    <a:pt x="93" y="75"/>
                  </a:lnTo>
                  <a:lnTo>
                    <a:pt x="74" y="86"/>
                  </a:lnTo>
                  <a:lnTo>
                    <a:pt x="71" y="73"/>
                  </a:lnTo>
                  <a:lnTo>
                    <a:pt x="67" y="76"/>
                  </a:lnTo>
                  <a:lnTo>
                    <a:pt x="69" y="106"/>
                  </a:lnTo>
                  <a:lnTo>
                    <a:pt x="65" y="108"/>
                  </a:lnTo>
                  <a:lnTo>
                    <a:pt x="56" y="104"/>
                  </a:lnTo>
                  <a:lnTo>
                    <a:pt x="20" y="108"/>
                  </a:lnTo>
                  <a:lnTo>
                    <a:pt x="0" y="131"/>
                  </a:lnTo>
                  <a:lnTo>
                    <a:pt x="0" y="13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58" name="Freeform 5920"/>
            <p:cNvSpPr>
              <a:spLocks/>
            </p:cNvSpPr>
            <p:nvPr>
              <p:custDataLst>
                <p:tags r:id="rId236"/>
              </p:custDataLst>
            </p:nvPr>
          </p:nvSpPr>
          <p:spPr bwMode="gray">
            <a:xfrm>
              <a:off x="9267215" y="3285518"/>
              <a:ext cx="110346" cy="95057"/>
            </a:xfrm>
            <a:custGeom>
              <a:avLst/>
              <a:gdLst/>
              <a:ahLst/>
              <a:cxnLst>
                <a:cxn ang="0">
                  <a:pos x="5" y="52"/>
                </a:cxn>
                <a:cxn ang="0">
                  <a:pos x="20" y="74"/>
                </a:cxn>
                <a:cxn ang="0">
                  <a:pos x="32" y="65"/>
                </a:cxn>
                <a:cxn ang="0">
                  <a:pos x="15" y="54"/>
                </a:cxn>
                <a:cxn ang="0">
                  <a:pos x="24" y="56"/>
                </a:cxn>
                <a:cxn ang="0">
                  <a:pos x="35" y="52"/>
                </a:cxn>
                <a:cxn ang="0">
                  <a:pos x="62" y="63"/>
                </a:cxn>
                <a:cxn ang="0">
                  <a:pos x="65" y="44"/>
                </a:cxn>
                <a:cxn ang="0">
                  <a:pos x="75" y="44"/>
                </a:cxn>
                <a:cxn ang="0">
                  <a:pos x="86" y="37"/>
                </a:cxn>
                <a:cxn ang="0">
                  <a:pos x="77" y="39"/>
                </a:cxn>
                <a:cxn ang="0">
                  <a:pos x="69" y="31"/>
                </a:cxn>
                <a:cxn ang="0">
                  <a:pos x="67" y="22"/>
                </a:cxn>
                <a:cxn ang="0">
                  <a:pos x="62" y="28"/>
                </a:cxn>
                <a:cxn ang="0">
                  <a:pos x="43" y="24"/>
                </a:cxn>
                <a:cxn ang="0">
                  <a:pos x="3" y="0"/>
                </a:cxn>
                <a:cxn ang="0">
                  <a:pos x="0" y="3"/>
                </a:cxn>
                <a:cxn ang="0">
                  <a:pos x="9" y="13"/>
                </a:cxn>
                <a:cxn ang="0">
                  <a:pos x="20" y="41"/>
                </a:cxn>
                <a:cxn ang="0">
                  <a:pos x="5" y="39"/>
                </a:cxn>
                <a:cxn ang="0">
                  <a:pos x="11" y="44"/>
                </a:cxn>
                <a:cxn ang="0">
                  <a:pos x="5" y="52"/>
                </a:cxn>
                <a:cxn ang="0">
                  <a:pos x="5" y="52"/>
                </a:cxn>
              </a:cxnLst>
              <a:rect l="0" t="0" r="r" b="b"/>
              <a:pathLst>
                <a:path w="86" h="74">
                  <a:moveTo>
                    <a:pt x="5" y="52"/>
                  </a:moveTo>
                  <a:lnTo>
                    <a:pt x="20" y="74"/>
                  </a:lnTo>
                  <a:lnTo>
                    <a:pt x="32" y="65"/>
                  </a:lnTo>
                  <a:lnTo>
                    <a:pt x="15" y="54"/>
                  </a:lnTo>
                  <a:lnTo>
                    <a:pt x="24" y="56"/>
                  </a:lnTo>
                  <a:lnTo>
                    <a:pt x="35" y="52"/>
                  </a:lnTo>
                  <a:lnTo>
                    <a:pt x="62" y="63"/>
                  </a:lnTo>
                  <a:lnTo>
                    <a:pt x="65" y="44"/>
                  </a:lnTo>
                  <a:lnTo>
                    <a:pt x="75" y="44"/>
                  </a:lnTo>
                  <a:lnTo>
                    <a:pt x="86" y="37"/>
                  </a:lnTo>
                  <a:lnTo>
                    <a:pt x="77" y="39"/>
                  </a:lnTo>
                  <a:lnTo>
                    <a:pt x="69" y="31"/>
                  </a:lnTo>
                  <a:lnTo>
                    <a:pt x="67" y="22"/>
                  </a:lnTo>
                  <a:lnTo>
                    <a:pt x="62" y="28"/>
                  </a:lnTo>
                  <a:lnTo>
                    <a:pt x="43" y="24"/>
                  </a:lnTo>
                  <a:lnTo>
                    <a:pt x="3" y="0"/>
                  </a:lnTo>
                  <a:lnTo>
                    <a:pt x="0" y="3"/>
                  </a:lnTo>
                  <a:lnTo>
                    <a:pt x="9" y="13"/>
                  </a:lnTo>
                  <a:lnTo>
                    <a:pt x="20" y="41"/>
                  </a:lnTo>
                  <a:lnTo>
                    <a:pt x="5" y="39"/>
                  </a:lnTo>
                  <a:lnTo>
                    <a:pt x="11" y="44"/>
                  </a:lnTo>
                  <a:lnTo>
                    <a:pt x="5" y="52"/>
                  </a:lnTo>
                  <a:lnTo>
                    <a:pt x="5" y="5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59" name="Freeform 5921"/>
            <p:cNvSpPr>
              <a:spLocks/>
            </p:cNvSpPr>
            <p:nvPr>
              <p:custDataLst>
                <p:tags r:id="rId237"/>
              </p:custDataLst>
            </p:nvPr>
          </p:nvSpPr>
          <p:spPr bwMode="gray">
            <a:xfrm>
              <a:off x="9124792" y="37852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60" name="Freeform 5922"/>
            <p:cNvSpPr>
              <a:spLocks/>
            </p:cNvSpPr>
            <p:nvPr>
              <p:custDataLst>
                <p:tags r:id="rId238"/>
              </p:custDataLst>
            </p:nvPr>
          </p:nvSpPr>
          <p:spPr bwMode="gray">
            <a:xfrm>
              <a:off x="9156869" y="377365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61" name="Freeform 5923"/>
            <p:cNvSpPr>
              <a:spLocks/>
            </p:cNvSpPr>
            <p:nvPr>
              <p:custDataLst>
                <p:tags r:id="rId239"/>
              </p:custDataLst>
            </p:nvPr>
          </p:nvSpPr>
          <p:spPr bwMode="gray">
            <a:xfrm>
              <a:off x="9195362" y="3724837"/>
              <a:ext cx="3849" cy="16699"/>
            </a:xfrm>
            <a:custGeom>
              <a:avLst/>
              <a:gdLst/>
              <a:ahLst/>
              <a:cxnLst>
                <a:cxn ang="0">
                  <a:pos x="0" y="13"/>
                </a:cxn>
                <a:cxn ang="0">
                  <a:pos x="3" y="0"/>
                </a:cxn>
                <a:cxn ang="0">
                  <a:pos x="0" y="13"/>
                </a:cxn>
              </a:cxnLst>
              <a:rect l="0" t="0" r="r" b="b"/>
              <a:pathLst>
                <a:path w="3" h="13">
                  <a:moveTo>
                    <a:pt x="0" y="13"/>
                  </a:moveTo>
                  <a:lnTo>
                    <a:pt x="3" y="0"/>
                  </a:lnTo>
                  <a:lnTo>
                    <a:pt x="0" y="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62" name="Line 5924"/>
            <p:cNvSpPr>
              <a:spLocks noChangeShapeType="1"/>
            </p:cNvSpPr>
            <p:nvPr>
              <p:custDataLst>
                <p:tags r:id="rId240"/>
              </p:custDataLst>
            </p:nvPr>
          </p:nvSpPr>
          <p:spPr bwMode="gray">
            <a:xfrm flipV="1">
              <a:off x="9195362" y="3724837"/>
              <a:ext cx="3849" cy="16699"/>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63" name="Freeform 5925"/>
            <p:cNvSpPr>
              <a:spLocks/>
            </p:cNvSpPr>
            <p:nvPr>
              <p:custDataLst>
                <p:tags r:id="rId241"/>
              </p:custDataLst>
            </p:nvPr>
          </p:nvSpPr>
          <p:spPr bwMode="gray">
            <a:xfrm>
              <a:off x="9214608" y="3686300"/>
              <a:ext cx="3849" cy="7707"/>
            </a:xfrm>
            <a:custGeom>
              <a:avLst/>
              <a:gdLst/>
              <a:ahLst/>
              <a:cxnLst>
                <a:cxn ang="0">
                  <a:pos x="0" y="6"/>
                </a:cxn>
                <a:cxn ang="0">
                  <a:pos x="3" y="0"/>
                </a:cxn>
                <a:cxn ang="0">
                  <a:pos x="0" y="6"/>
                </a:cxn>
              </a:cxnLst>
              <a:rect l="0" t="0" r="r" b="b"/>
              <a:pathLst>
                <a:path w="3" h="6">
                  <a:moveTo>
                    <a:pt x="0" y="6"/>
                  </a:moveTo>
                  <a:lnTo>
                    <a:pt x="3" y="0"/>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64" name="Line 5926"/>
            <p:cNvSpPr>
              <a:spLocks noChangeShapeType="1"/>
            </p:cNvSpPr>
            <p:nvPr>
              <p:custDataLst>
                <p:tags r:id="rId242"/>
              </p:custDataLst>
            </p:nvPr>
          </p:nvSpPr>
          <p:spPr bwMode="gray">
            <a:xfrm flipV="1">
              <a:off x="9214608" y="3686300"/>
              <a:ext cx="3849" cy="7707"/>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65" name="Freeform 5927"/>
            <p:cNvSpPr>
              <a:spLocks/>
            </p:cNvSpPr>
            <p:nvPr>
              <p:custDataLst>
                <p:tags r:id="rId243"/>
              </p:custDataLst>
            </p:nvPr>
          </p:nvSpPr>
          <p:spPr bwMode="gray">
            <a:xfrm>
              <a:off x="9221024" y="364134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66" name="Freeform 5928"/>
            <p:cNvSpPr>
              <a:spLocks/>
            </p:cNvSpPr>
            <p:nvPr>
              <p:custDataLst>
                <p:tags r:id="rId244"/>
              </p:custDataLst>
            </p:nvPr>
          </p:nvSpPr>
          <p:spPr bwMode="gray">
            <a:xfrm>
              <a:off x="9385259" y="357582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67" name="Freeform 5929"/>
            <p:cNvSpPr>
              <a:spLocks/>
            </p:cNvSpPr>
            <p:nvPr>
              <p:custDataLst>
                <p:tags r:id="rId245"/>
              </p:custDataLst>
            </p:nvPr>
          </p:nvSpPr>
          <p:spPr bwMode="gray">
            <a:xfrm>
              <a:off x="9389109" y="358995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68" name="Freeform 5930"/>
            <p:cNvSpPr>
              <a:spLocks/>
            </p:cNvSpPr>
            <p:nvPr>
              <p:custDataLst>
                <p:tags r:id="rId246"/>
              </p:custDataLst>
            </p:nvPr>
          </p:nvSpPr>
          <p:spPr bwMode="gray">
            <a:xfrm>
              <a:off x="9416054" y="363877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69" name="Freeform 5931"/>
            <p:cNvSpPr>
              <a:spLocks/>
            </p:cNvSpPr>
            <p:nvPr>
              <p:custDataLst>
                <p:tags r:id="rId247"/>
              </p:custDataLst>
            </p:nvPr>
          </p:nvSpPr>
          <p:spPr bwMode="gray">
            <a:xfrm>
              <a:off x="9480208" y="371841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70" name="Freeform 5932"/>
            <p:cNvSpPr>
              <a:spLocks/>
            </p:cNvSpPr>
            <p:nvPr>
              <p:custDataLst>
                <p:tags r:id="rId248"/>
              </p:custDataLst>
            </p:nvPr>
          </p:nvSpPr>
          <p:spPr bwMode="gray">
            <a:xfrm>
              <a:off x="9482774" y="37299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71" name="Freeform 5933"/>
            <p:cNvSpPr>
              <a:spLocks/>
            </p:cNvSpPr>
            <p:nvPr>
              <p:custDataLst>
                <p:tags r:id="rId249"/>
              </p:custDataLst>
            </p:nvPr>
          </p:nvSpPr>
          <p:spPr bwMode="gray">
            <a:xfrm>
              <a:off x="9478925" y="377365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72" name="Freeform 5934"/>
            <p:cNvSpPr>
              <a:spLocks/>
            </p:cNvSpPr>
            <p:nvPr>
              <p:custDataLst>
                <p:tags r:id="rId250"/>
              </p:custDataLst>
            </p:nvPr>
          </p:nvSpPr>
          <p:spPr bwMode="gray">
            <a:xfrm>
              <a:off x="9363447" y="3311209"/>
              <a:ext cx="6415" cy="11561"/>
            </a:xfrm>
            <a:custGeom>
              <a:avLst/>
              <a:gdLst/>
              <a:ahLst/>
              <a:cxnLst>
                <a:cxn ang="0">
                  <a:pos x="0" y="9"/>
                </a:cxn>
                <a:cxn ang="0">
                  <a:pos x="5" y="0"/>
                </a:cxn>
                <a:cxn ang="0">
                  <a:pos x="0" y="9"/>
                </a:cxn>
              </a:cxnLst>
              <a:rect l="0" t="0" r="r" b="b"/>
              <a:pathLst>
                <a:path w="5" h="9">
                  <a:moveTo>
                    <a:pt x="0" y="9"/>
                  </a:moveTo>
                  <a:lnTo>
                    <a:pt x="5" y="0"/>
                  </a:lnTo>
                  <a:lnTo>
                    <a:pt x="0" y="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73" name="Line 5935"/>
            <p:cNvSpPr>
              <a:spLocks noChangeShapeType="1"/>
            </p:cNvSpPr>
            <p:nvPr>
              <p:custDataLst>
                <p:tags r:id="rId251"/>
              </p:custDataLst>
            </p:nvPr>
          </p:nvSpPr>
          <p:spPr bwMode="gray">
            <a:xfrm flipV="1">
              <a:off x="9363447" y="3311209"/>
              <a:ext cx="6415" cy="11561"/>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74" name="Freeform 5936"/>
            <p:cNvSpPr>
              <a:spLocks/>
            </p:cNvSpPr>
            <p:nvPr>
              <p:custDataLst>
                <p:tags r:id="rId252"/>
              </p:custDataLst>
            </p:nvPr>
          </p:nvSpPr>
          <p:spPr bwMode="gray">
            <a:xfrm>
              <a:off x="9382693" y="3285518"/>
              <a:ext cx="19246" cy="23122"/>
            </a:xfrm>
            <a:custGeom>
              <a:avLst/>
              <a:gdLst/>
              <a:ahLst/>
              <a:cxnLst>
                <a:cxn ang="0">
                  <a:pos x="0" y="18"/>
                </a:cxn>
                <a:cxn ang="0">
                  <a:pos x="15" y="0"/>
                </a:cxn>
                <a:cxn ang="0">
                  <a:pos x="3" y="1"/>
                </a:cxn>
                <a:cxn ang="0">
                  <a:pos x="0" y="18"/>
                </a:cxn>
                <a:cxn ang="0">
                  <a:pos x="0" y="18"/>
                </a:cxn>
              </a:cxnLst>
              <a:rect l="0" t="0" r="r" b="b"/>
              <a:pathLst>
                <a:path w="15" h="18">
                  <a:moveTo>
                    <a:pt x="0" y="18"/>
                  </a:moveTo>
                  <a:lnTo>
                    <a:pt x="15" y="0"/>
                  </a:lnTo>
                  <a:lnTo>
                    <a:pt x="3" y="1"/>
                  </a:lnTo>
                  <a:lnTo>
                    <a:pt x="0" y="18"/>
                  </a:lnTo>
                  <a:lnTo>
                    <a:pt x="0" y="1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75" name="Freeform 5937"/>
            <p:cNvSpPr>
              <a:spLocks/>
            </p:cNvSpPr>
            <p:nvPr>
              <p:custDataLst>
                <p:tags r:id="rId253"/>
              </p:custDataLst>
            </p:nvPr>
          </p:nvSpPr>
          <p:spPr bwMode="gray">
            <a:xfrm>
              <a:off x="9410921" y="3266250"/>
              <a:ext cx="7699" cy="14130"/>
            </a:xfrm>
            <a:custGeom>
              <a:avLst/>
              <a:gdLst/>
              <a:ahLst/>
              <a:cxnLst>
                <a:cxn ang="0">
                  <a:pos x="0" y="11"/>
                </a:cxn>
                <a:cxn ang="0">
                  <a:pos x="6" y="0"/>
                </a:cxn>
                <a:cxn ang="0">
                  <a:pos x="0" y="11"/>
                </a:cxn>
                <a:cxn ang="0">
                  <a:pos x="0" y="11"/>
                </a:cxn>
              </a:cxnLst>
              <a:rect l="0" t="0" r="r" b="b"/>
              <a:pathLst>
                <a:path w="6" h="11">
                  <a:moveTo>
                    <a:pt x="0" y="11"/>
                  </a:moveTo>
                  <a:lnTo>
                    <a:pt x="6" y="0"/>
                  </a:lnTo>
                  <a:lnTo>
                    <a:pt x="0" y="11"/>
                  </a:lnTo>
                  <a:lnTo>
                    <a:pt x="0"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76" name="Freeform 5938"/>
            <p:cNvSpPr>
              <a:spLocks/>
            </p:cNvSpPr>
            <p:nvPr>
              <p:custDataLst>
                <p:tags r:id="rId254"/>
              </p:custDataLst>
            </p:nvPr>
          </p:nvSpPr>
          <p:spPr bwMode="gray">
            <a:xfrm>
              <a:off x="9432734" y="3246981"/>
              <a:ext cx="2566" cy="6423"/>
            </a:xfrm>
            <a:custGeom>
              <a:avLst/>
              <a:gdLst/>
              <a:ahLst/>
              <a:cxnLst>
                <a:cxn ang="0">
                  <a:pos x="0" y="5"/>
                </a:cxn>
                <a:cxn ang="0">
                  <a:pos x="2" y="0"/>
                </a:cxn>
                <a:cxn ang="0">
                  <a:pos x="0" y="5"/>
                </a:cxn>
              </a:cxnLst>
              <a:rect l="0" t="0" r="r" b="b"/>
              <a:pathLst>
                <a:path w="2" h="5">
                  <a:moveTo>
                    <a:pt x="0" y="5"/>
                  </a:moveTo>
                  <a:lnTo>
                    <a:pt x="2" y="0"/>
                  </a:lnTo>
                  <a:lnTo>
                    <a:pt x="0"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77" name="Line 5939"/>
            <p:cNvSpPr>
              <a:spLocks noChangeShapeType="1"/>
            </p:cNvSpPr>
            <p:nvPr>
              <p:custDataLst>
                <p:tags r:id="rId255"/>
              </p:custDataLst>
            </p:nvPr>
          </p:nvSpPr>
          <p:spPr bwMode="gray">
            <a:xfrm flipV="1">
              <a:off x="9432734" y="3246981"/>
              <a:ext cx="2566" cy="6423"/>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78" name="Freeform 5940"/>
            <p:cNvSpPr>
              <a:spLocks/>
            </p:cNvSpPr>
            <p:nvPr>
              <p:custDataLst>
                <p:tags r:id="rId256"/>
              </p:custDataLst>
            </p:nvPr>
          </p:nvSpPr>
          <p:spPr bwMode="gray">
            <a:xfrm>
              <a:off x="9437866" y="322514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79" name="Freeform 5941"/>
            <p:cNvSpPr>
              <a:spLocks/>
            </p:cNvSpPr>
            <p:nvPr>
              <p:custDataLst>
                <p:tags r:id="rId257"/>
              </p:custDataLst>
            </p:nvPr>
          </p:nvSpPr>
          <p:spPr bwMode="gray">
            <a:xfrm>
              <a:off x="9437866" y="3164769"/>
              <a:ext cx="11548" cy="14130"/>
            </a:xfrm>
            <a:custGeom>
              <a:avLst/>
              <a:gdLst/>
              <a:ahLst/>
              <a:cxnLst>
                <a:cxn ang="0">
                  <a:pos x="0" y="7"/>
                </a:cxn>
                <a:cxn ang="0">
                  <a:pos x="3" y="11"/>
                </a:cxn>
                <a:cxn ang="0">
                  <a:pos x="9" y="9"/>
                </a:cxn>
                <a:cxn ang="0">
                  <a:pos x="5" y="0"/>
                </a:cxn>
                <a:cxn ang="0">
                  <a:pos x="0" y="7"/>
                </a:cxn>
                <a:cxn ang="0">
                  <a:pos x="0" y="7"/>
                </a:cxn>
              </a:cxnLst>
              <a:rect l="0" t="0" r="r" b="b"/>
              <a:pathLst>
                <a:path w="9" h="11">
                  <a:moveTo>
                    <a:pt x="0" y="7"/>
                  </a:moveTo>
                  <a:lnTo>
                    <a:pt x="3" y="11"/>
                  </a:lnTo>
                  <a:lnTo>
                    <a:pt x="9" y="9"/>
                  </a:lnTo>
                  <a:lnTo>
                    <a:pt x="5" y="0"/>
                  </a:lnTo>
                  <a:lnTo>
                    <a:pt x="0" y="7"/>
                  </a:lnTo>
                  <a:lnTo>
                    <a:pt x="0" y="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80" name="Freeform 5942"/>
            <p:cNvSpPr>
              <a:spLocks/>
            </p:cNvSpPr>
            <p:nvPr>
              <p:custDataLst>
                <p:tags r:id="rId258"/>
              </p:custDataLst>
            </p:nvPr>
          </p:nvSpPr>
          <p:spPr bwMode="gray">
            <a:xfrm>
              <a:off x="9399373" y="2974655"/>
              <a:ext cx="14114" cy="14130"/>
            </a:xfrm>
            <a:custGeom>
              <a:avLst/>
              <a:gdLst/>
              <a:ahLst/>
              <a:cxnLst>
                <a:cxn ang="0">
                  <a:pos x="5" y="11"/>
                </a:cxn>
                <a:cxn ang="0">
                  <a:pos x="11" y="5"/>
                </a:cxn>
                <a:cxn ang="0">
                  <a:pos x="3" y="0"/>
                </a:cxn>
                <a:cxn ang="0">
                  <a:pos x="0" y="4"/>
                </a:cxn>
                <a:cxn ang="0">
                  <a:pos x="5" y="11"/>
                </a:cxn>
                <a:cxn ang="0">
                  <a:pos x="5" y="11"/>
                </a:cxn>
              </a:cxnLst>
              <a:rect l="0" t="0" r="r" b="b"/>
              <a:pathLst>
                <a:path w="11" h="11">
                  <a:moveTo>
                    <a:pt x="5" y="11"/>
                  </a:moveTo>
                  <a:lnTo>
                    <a:pt x="11" y="5"/>
                  </a:lnTo>
                  <a:lnTo>
                    <a:pt x="3" y="0"/>
                  </a:lnTo>
                  <a:lnTo>
                    <a:pt x="0" y="4"/>
                  </a:lnTo>
                  <a:lnTo>
                    <a:pt x="5" y="11"/>
                  </a:lnTo>
                  <a:lnTo>
                    <a:pt x="5"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81" name="Freeform 5943"/>
            <p:cNvSpPr>
              <a:spLocks/>
            </p:cNvSpPr>
            <p:nvPr>
              <p:custDataLst>
                <p:tags r:id="rId259"/>
              </p:custDataLst>
            </p:nvPr>
          </p:nvSpPr>
          <p:spPr bwMode="gray">
            <a:xfrm>
              <a:off x="9309557" y="2719027"/>
              <a:ext cx="24379" cy="10276"/>
            </a:xfrm>
            <a:custGeom>
              <a:avLst/>
              <a:gdLst/>
              <a:ahLst/>
              <a:cxnLst>
                <a:cxn ang="0">
                  <a:pos x="6" y="0"/>
                </a:cxn>
                <a:cxn ang="0">
                  <a:pos x="0" y="6"/>
                </a:cxn>
                <a:cxn ang="0">
                  <a:pos x="19" y="8"/>
                </a:cxn>
                <a:cxn ang="0">
                  <a:pos x="6" y="0"/>
                </a:cxn>
              </a:cxnLst>
              <a:rect l="0" t="0" r="r" b="b"/>
              <a:pathLst>
                <a:path w="19" h="8">
                  <a:moveTo>
                    <a:pt x="6" y="0"/>
                  </a:moveTo>
                  <a:lnTo>
                    <a:pt x="0" y="6"/>
                  </a:lnTo>
                  <a:lnTo>
                    <a:pt x="19" y="8"/>
                  </a:lnTo>
                  <a:lnTo>
                    <a:pt x="6"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82" name="Freeform 5944"/>
            <p:cNvSpPr>
              <a:spLocks/>
            </p:cNvSpPr>
            <p:nvPr>
              <p:custDataLst>
                <p:tags r:id="rId260"/>
              </p:custDataLst>
            </p:nvPr>
          </p:nvSpPr>
          <p:spPr bwMode="gray">
            <a:xfrm>
              <a:off x="9309557" y="2719027"/>
              <a:ext cx="24379" cy="10276"/>
            </a:xfrm>
            <a:custGeom>
              <a:avLst/>
              <a:gdLst/>
              <a:ahLst/>
              <a:cxnLst>
                <a:cxn ang="0">
                  <a:pos x="6" y="0"/>
                </a:cxn>
                <a:cxn ang="0">
                  <a:pos x="0" y="6"/>
                </a:cxn>
                <a:cxn ang="0">
                  <a:pos x="19" y="8"/>
                </a:cxn>
              </a:cxnLst>
              <a:rect l="0" t="0" r="r" b="b"/>
              <a:pathLst>
                <a:path w="19" h="8">
                  <a:moveTo>
                    <a:pt x="6" y="0"/>
                  </a:moveTo>
                  <a:lnTo>
                    <a:pt x="0" y="6"/>
                  </a:lnTo>
                  <a:lnTo>
                    <a:pt x="19" y="8"/>
                  </a:lnTo>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83" name="Freeform 5945"/>
            <p:cNvSpPr>
              <a:spLocks/>
            </p:cNvSpPr>
            <p:nvPr>
              <p:custDataLst>
                <p:tags r:id="rId261"/>
              </p:custDataLst>
            </p:nvPr>
          </p:nvSpPr>
          <p:spPr bwMode="gray">
            <a:xfrm>
              <a:off x="9317255" y="2719027"/>
              <a:ext cx="48758" cy="10276"/>
            </a:xfrm>
            <a:custGeom>
              <a:avLst/>
              <a:gdLst/>
              <a:ahLst/>
              <a:cxnLst>
                <a:cxn ang="0">
                  <a:pos x="13" y="8"/>
                </a:cxn>
                <a:cxn ang="0">
                  <a:pos x="38" y="6"/>
                </a:cxn>
                <a:cxn ang="0">
                  <a:pos x="0" y="0"/>
                </a:cxn>
                <a:cxn ang="0">
                  <a:pos x="13" y="8"/>
                </a:cxn>
              </a:cxnLst>
              <a:rect l="0" t="0" r="r" b="b"/>
              <a:pathLst>
                <a:path w="38" h="8">
                  <a:moveTo>
                    <a:pt x="13" y="8"/>
                  </a:moveTo>
                  <a:lnTo>
                    <a:pt x="38" y="6"/>
                  </a:lnTo>
                  <a:lnTo>
                    <a:pt x="0" y="0"/>
                  </a:lnTo>
                  <a:lnTo>
                    <a:pt x="13" y="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84" name="Freeform 5946"/>
            <p:cNvSpPr>
              <a:spLocks/>
            </p:cNvSpPr>
            <p:nvPr>
              <p:custDataLst>
                <p:tags r:id="rId262"/>
              </p:custDataLst>
            </p:nvPr>
          </p:nvSpPr>
          <p:spPr bwMode="gray">
            <a:xfrm>
              <a:off x="9317255" y="2719027"/>
              <a:ext cx="48758" cy="10276"/>
            </a:xfrm>
            <a:custGeom>
              <a:avLst/>
              <a:gdLst/>
              <a:ahLst/>
              <a:cxnLst>
                <a:cxn ang="0">
                  <a:pos x="13" y="8"/>
                </a:cxn>
                <a:cxn ang="0">
                  <a:pos x="38" y="6"/>
                </a:cxn>
                <a:cxn ang="0">
                  <a:pos x="0" y="0"/>
                </a:cxn>
              </a:cxnLst>
              <a:rect l="0" t="0" r="r" b="b"/>
              <a:pathLst>
                <a:path w="38" h="8">
                  <a:moveTo>
                    <a:pt x="13" y="8"/>
                  </a:moveTo>
                  <a:lnTo>
                    <a:pt x="38" y="6"/>
                  </a:lnTo>
                  <a:lnTo>
                    <a:pt x="0" y="0"/>
                  </a:lnTo>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85" name="Freeform 5947"/>
            <p:cNvSpPr>
              <a:spLocks/>
            </p:cNvSpPr>
            <p:nvPr>
              <p:custDataLst>
                <p:tags r:id="rId263"/>
              </p:custDataLst>
            </p:nvPr>
          </p:nvSpPr>
          <p:spPr bwMode="gray">
            <a:xfrm>
              <a:off x="8684691" y="2674068"/>
              <a:ext cx="53890" cy="14130"/>
            </a:xfrm>
            <a:custGeom>
              <a:avLst/>
              <a:gdLst/>
              <a:ahLst/>
              <a:cxnLst>
                <a:cxn ang="0">
                  <a:pos x="2" y="5"/>
                </a:cxn>
                <a:cxn ang="0">
                  <a:pos x="42" y="11"/>
                </a:cxn>
                <a:cxn ang="0">
                  <a:pos x="14" y="0"/>
                </a:cxn>
                <a:cxn ang="0">
                  <a:pos x="0" y="0"/>
                </a:cxn>
                <a:cxn ang="0">
                  <a:pos x="2" y="5"/>
                </a:cxn>
                <a:cxn ang="0">
                  <a:pos x="2" y="5"/>
                </a:cxn>
              </a:cxnLst>
              <a:rect l="0" t="0" r="r" b="b"/>
              <a:pathLst>
                <a:path w="42" h="11">
                  <a:moveTo>
                    <a:pt x="2" y="5"/>
                  </a:moveTo>
                  <a:lnTo>
                    <a:pt x="42" y="11"/>
                  </a:lnTo>
                  <a:lnTo>
                    <a:pt x="14" y="0"/>
                  </a:lnTo>
                  <a:lnTo>
                    <a:pt x="0" y="0"/>
                  </a:lnTo>
                  <a:lnTo>
                    <a:pt x="2" y="5"/>
                  </a:lnTo>
                  <a:lnTo>
                    <a:pt x="2"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86" name="Freeform 5948"/>
            <p:cNvSpPr>
              <a:spLocks/>
            </p:cNvSpPr>
            <p:nvPr>
              <p:custDataLst>
                <p:tags r:id="rId264"/>
              </p:custDataLst>
            </p:nvPr>
          </p:nvSpPr>
          <p:spPr bwMode="gray">
            <a:xfrm>
              <a:off x="8664161" y="2666360"/>
              <a:ext cx="19246" cy="5138"/>
            </a:xfrm>
            <a:custGeom>
              <a:avLst/>
              <a:gdLst/>
              <a:ahLst/>
              <a:cxnLst>
                <a:cxn ang="0">
                  <a:pos x="0" y="0"/>
                </a:cxn>
                <a:cxn ang="0">
                  <a:pos x="15" y="4"/>
                </a:cxn>
                <a:cxn ang="0">
                  <a:pos x="0" y="0"/>
                </a:cxn>
                <a:cxn ang="0">
                  <a:pos x="0" y="0"/>
                </a:cxn>
              </a:cxnLst>
              <a:rect l="0" t="0" r="r" b="b"/>
              <a:pathLst>
                <a:path w="15" h="4">
                  <a:moveTo>
                    <a:pt x="0" y="0"/>
                  </a:moveTo>
                  <a:lnTo>
                    <a:pt x="15" y="4"/>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87" name="Freeform 5949"/>
            <p:cNvSpPr>
              <a:spLocks/>
            </p:cNvSpPr>
            <p:nvPr>
              <p:custDataLst>
                <p:tags r:id="rId265"/>
              </p:custDataLst>
            </p:nvPr>
          </p:nvSpPr>
          <p:spPr bwMode="gray">
            <a:xfrm>
              <a:off x="8716768" y="2641954"/>
              <a:ext cx="79552" cy="16699"/>
            </a:xfrm>
            <a:custGeom>
              <a:avLst/>
              <a:gdLst/>
              <a:ahLst/>
              <a:cxnLst>
                <a:cxn ang="0">
                  <a:pos x="0" y="0"/>
                </a:cxn>
                <a:cxn ang="0">
                  <a:pos x="62" y="13"/>
                </a:cxn>
                <a:cxn ang="0">
                  <a:pos x="58" y="6"/>
                </a:cxn>
                <a:cxn ang="0">
                  <a:pos x="0" y="0"/>
                </a:cxn>
                <a:cxn ang="0">
                  <a:pos x="0" y="0"/>
                </a:cxn>
              </a:cxnLst>
              <a:rect l="0" t="0" r="r" b="b"/>
              <a:pathLst>
                <a:path w="62" h="13">
                  <a:moveTo>
                    <a:pt x="0" y="0"/>
                  </a:moveTo>
                  <a:lnTo>
                    <a:pt x="62" y="13"/>
                  </a:lnTo>
                  <a:lnTo>
                    <a:pt x="58" y="6"/>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88" name="Freeform 5950"/>
            <p:cNvSpPr>
              <a:spLocks/>
            </p:cNvSpPr>
            <p:nvPr>
              <p:custDataLst>
                <p:tags r:id="rId266"/>
              </p:custDataLst>
            </p:nvPr>
          </p:nvSpPr>
          <p:spPr bwMode="gray">
            <a:xfrm>
              <a:off x="8582043" y="2632962"/>
              <a:ext cx="118045" cy="25691"/>
            </a:xfrm>
            <a:custGeom>
              <a:avLst/>
              <a:gdLst/>
              <a:ahLst/>
              <a:cxnLst>
                <a:cxn ang="0">
                  <a:pos x="11" y="11"/>
                </a:cxn>
                <a:cxn ang="0">
                  <a:pos x="45" y="20"/>
                </a:cxn>
                <a:cxn ang="0">
                  <a:pos x="80" y="19"/>
                </a:cxn>
                <a:cxn ang="0">
                  <a:pos x="92" y="9"/>
                </a:cxn>
                <a:cxn ang="0">
                  <a:pos x="43" y="0"/>
                </a:cxn>
                <a:cxn ang="0">
                  <a:pos x="41" y="5"/>
                </a:cxn>
                <a:cxn ang="0">
                  <a:pos x="11" y="0"/>
                </a:cxn>
                <a:cxn ang="0">
                  <a:pos x="0" y="4"/>
                </a:cxn>
                <a:cxn ang="0">
                  <a:pos x="11" y="11"/>
                </a:cxn>
                <a:cxn ang="0">
                  <a:pos x="11" y="11"/>
                </a:cxn>
              </a:cxnLst>
              <a:rect l="0" t="0" r="r" b="b"/>
              <a:pathLst>
                <a:path w="92" h="20">
                  <a:moveTo>
                    <a:pt x="11" y="11"/>
                  </a:moveTo>
                  <a:lnTo>
                    <a:pt x="45" y="20"/>
                  </a:lnTo>
                  <a:lnTo>
                    <a:pt x="80" y="19"/>
                  </a:lnTo>
                  <a:lnTo>
                    <a:pt x="92" y="9"/>
                  </a:lnTo>
                  <a:lnTo>
                    <a:pt x="43" y="0"/>
                  </a:lnTo>
                  <a:lnTo>
                    <a:pt x="41" y="5"/>
                  </a:lnTo>
                  <a:lnTo>
                    <a:pt x="11" y="0"/>
                  </a:lnTo>
                  <a:lnTo>
                    <a:pt x="0" y="4"/>
                  </a:lnTo>
                  <a:lnTo>
                    <a:pt x="11" y="11"/>
                  </a:lnTo>
                  <a:lnTo>
                    <a:pt x="11" y="1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89" name="Freeform 5951"/>
            <p:cNvSpPr>
              <a:spLocks/>
            </p:cNvSpPr>
            <p:nvPr>
              <p:custDataLst>
                <p:tags r:id="rId267"/>
              </p:custDataLst>
            </p:nvPr>
          </p:nvSpPr>
          <p:spPr bwMode="gray">
            <a:xfrm>
              <a:off x="8014916" y="2575157"/>
              <a:ext cx="66721" cy="25691"/>
            </a:xfrm>
            <a:custGeom>
              <a:avLst/>
              <a:gdLst/>
              <a:ahLst/>
              <a:cxnLst>
                <a:cxn ang="0">
                  <a:pos x="0" y="20"/>
                </a:cxn>
                <a:cxn ang="0">
                  <a:pos x="52" y="15"/>
                </a:cxn>
                <a:cxn ang="0">
                  <a:pos x="45" y="7"/>
                </a:cxn>
                <a:cxn ang="0">
                  <a:pos x="7" y="0"/>
                </a:cxn>
                <a:cxn ang="0">
                  <a:pos x="0" y="2"/>
                </a:cxn>
                <a:cxn ang="0">
                  <a:pos x="0" y="20"/>
                </a:cxn>
                <a:cxn ang="0">
                  <a:pos x="0" y="20"/>
                </a:cxn>
              </a:cxnLst>
              <a:rect l="0" t="0" r="r" b="b"/>
              <a:pathLst>
                <a:path w="52" h="20">
                  <a:moveTo>
                    <a:pt x="0" y="20"/>
                  </a:moveTo>
                  <a:lnTo>
                    <a:pt x="52" y="15"/>
                  </a:lnTo>
                  <a:lnTo>
                    <a:pt x="45" y="7"/>
                  </a:lnTo>
                  <a:lnTo>
                    <a:pt x="7" y="0"/>
                  </a:lnTo>
                  <a:lnTo>
                    <a:pt x="0" y="2"/>
                  </a:lnTo>
                  <a:lnTo>
                    <a:pt x="0" y="20"/>
                  </a:lnTo>
                  <a:lnTo>
                    <a:pt x="0" y="2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90" name="Freeform 5952"/>
            <p:cNvSpPr>
              <a:spLocks/>
            </p:cNvSpPr>
            <p:nvPr>
              <p:custDataLst>
                <p:tags r:id="rId268"/>
              </p:custDataLst>
            </p:nvPr>
          </p:nvSpPr>
          <p:spPr bwMode="gray">
            <a:xfrm>
              <a:off x="7866078" y="2545612"/>
              <a:ext cx="138574" cy="38537"/>
            </a:xfrm>
            <a:custGeom>
              <a:avLst/>
              <a:gdLst/>
              <a:ahLst/>
              <a:cxnLst>
                <a:cxn ang="0">
                  <a:pos x="0" y="15"/>
                </a:cxn>
                <a:cxn ang="0">
                  <a:pos x="50" y="27"/>
                </a:cxn>
                <a:cxn ang="0">
                  <a:pos x="108" y="30"/>
                </a:cxn>
                <a:cxn ang="0">
                  <a:pos x="97" y="25"/>
                </a:cxn>
                <a:cxn ang="0">
                  <a:pos x="97" y="19"/>
                </a:cxn>
                <a:cxn ang="0">
                  <a:pos x="30" y="0"/>
                </a:cxn>
                <a:cxn ang="0">
                  <a:pos x="9" y="4"/>
                </a:cxn>
                <a:cxn ang="0">
                  <a:pos x="11" y="10"/>
                </a:cxn>
                <a:cxn ang="0">
                  <a:pos x="0" y="15"/>
                </a:cxn>
                <a:cxn ang="0">
                  <a:pos x="0" y="15"/>
                </a:cxn>
              </a:cxnLst>
              <a:rect l="0" t="0" r="r" b="b"/>
              <a:pathLst>
                <a:path w="108" h="30">
                  <a:moveTo>
                    <a:pt x="0" y="15"/>
                  </a:moveTo>
                  <a:lnTo>
                    <a:pt x="50" y="27"/>
                  </a:lnTo>
                  <a:lnTo>
                    <a:pt x="108" y="30"/>
                  </a:lnTo>
                  <a:lnTo>
                    <a:pt x="97" y="25"/>
                  </a:lnTo>
                  <a:lnTo>
                    <a:pt x="97" y="19"/>
                  </a:lnTo>
                  <a:lnTo>
                    <a:pt x="30" y="0"/>
                  </a:lnTo>
                  <a:lnTo>
                    <a:pt x="9" y="4"/>
                  </a:lnTo>
                  <a:lnTo>
                    <a:pt x="11" y="10"/>
                  </a:lnTo>
                  <a:lnTo>
                    <a:pt x="0" y="15"/>
                  </a:lnTo>
                  <a:lnTo>
                    <a:pt x="0" y="1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91" name="Freeform 5953"/>
            <p:cNvSpPr>
              <a:spLocks/>
            </p:cNvSpPr>
            <p:nvPr>
              <p:custDataLst>
                <p:tags r:id="rId269"/>
              </p:custDataLst>
            </p:nvPr>
          </p:nvSpPr>
          <p:spPr bwMode="gray">
            <a:xfrm>
              <a:off x="7420845" y="2616263"/>
              <a:ext cx="204012" cy="118179"/>
            </a:xfrm>
            <a:custGeom>
              <a:avLst/>
              <a:gdLst/>
              <a:ahLst/>
              <a:cxnLst>
                <a:cxn ang="0">
                  <a:pos x="4" y="78"/>
                </a:cxn>
                <a:cxn ang="0">
                  <a:pos x="34" y="90"/>
                </a:cxn>
                <a:cxn ang="0">
                  <a:pos x="79" y="92"/>
                </a:cxn>
                <a:cxn ang="0">
                  <a:pos x="51" y="80"/>
                </a:cxn>
                <a:cxn ang="0">
                  <a:pos x="43" y="65"/>
                </a:cxn>
                <a:cxn ang="0">
                  <a:pos x="47" y="60"/>
                </a:cxn>
                <a:cxn ang="0">
                  <a:pos x="83" y="28"/>
                </a:cxn>
                <a:cxn ang="0">
                  <a:pos x="159" y="11"/>
                </a:cxn>
                <a:cxn ang="0">
                  <a:pos x="158" y="3"/>
                </a:cxn>
                <a:cxn ang="0">
                  <a:pos x="141" y="0"/>
                </a:cxn>
                <a:cxn ang="0">
                  <a:pos x="118" y="9"/>
                </a:cxn>
                <a:cxn ang="0">
                  <a:pos x="77" y="11"/>
                </a:cxn>
                <a:cxn ang="0">
                  <a:pos x="26" y="28"/>
                </a:cxn>
                <a:cxn ang="0">
                  <a:pos x="25" y="41"/>
                </a:cxn>
                <a:cxn ang="0">
                  <a:pos x="15" y="47"/>
                </a:cxn>
                <a:cxn ang="0">
                  <a:pos x="23" y="52"/>
                </a:cxn>
                <a:cxn ang="0">
                  <a:pos x="6" y="63"/>
                </a:cxn>
                <a:cxn ang="0">
                  <a:pos x="11" y="67"/>
                </a:cxn>
                <a:cxn ang="0">
                  <a:pos x="0" y="71"/>
                </a:cxn>
                <a:cxn ang="0">
                  <a:pos x="4" y="78"/>
                </a:cxn>
                <a:cxn ang="0">
                  <a:pos x="4" y="78"/>
                </a:cxn>
              </a:cxnLst>
              <a:rect l="0" t="0" r="r" b="b"/>
              <a:pathLst>
                <a:path w="159" h="92">
                  <a:moveTo>
                    <a:pt x="4" y="78"/>
                  </a:moveTo>
                  <a:lnTo>
                    <a:pt x="34" y="90"/>
                  </a:lnTo>
                  <a:lnTo>
                    <a:pt x="79" y="92"/>
                  </a:lnTo>
                  <a:lnTo>
                    <a:pt x="51" y="80"/>
                  </a:lnTo>
                  <a:lnTo>
                    <a:pt x="43" y="65"/>
                  </a:lnTo>
                  <a:lnTo>
                    <a:pt x="47" y="60"/>
                  </a:lnTo>
                  <a:lnTo>
                    <a:pt x="83" y="28"/>
                  </a:lnTo>
                  <a:lnTo>
                    <a:pt x="159" y="11"/>
                  </a:lnTo>
                  <a:lnTo>
                    <a:pt x="158" y="3"/>
                  </a:lnTo>
                  <a:lnTo>
                    <a:pt x="141" y="0"/>
                  </a:lnTo>
                  <a:lnTo>
                    <a:pt x="118" y="9"/>
                  </a:lnTo>
                  <a:lnTo>
                    <a:pt x="77" y="11"/>
                  </a:lnTo>
                  <a:lnTo>
                    <a:pt x="26" y="28"/>
                  </a:lnTo>
                  <a:lnTo>
                    <a:pt x="25" y="41"/>
                  </a:lnTo>
                  <a:lnTo>
                    <a:pt x="15" y="47"/>
                  </a:lnTo>
                  <a:lnTo>
                    <a:pt x="23" y="52"/>
                  </a:lnTo>
                  <a:lnTo>
                    <a:pt x="6" y="63"/>
                  </a:lnTo>
                  <a:lnTo>
                    <a:pt x="11" y="67"/>
                  </a:lnTo>
                  <a:lnTo>
                    <a:pt x="0" y="71"/>
                  </a:lnTo>
                  <a:lnTo>
                    <a:pt x="4" y="78"/>
                  </a:lnTo>
                  <a:lnTo>
                    <a:pt x="4" y="7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92" name="Freeform 5954"/>
            <p:cNvSpPr>
              <a:spLocks/>
            </p:cNvSpPr>
            <p:nvPr>
              <p:custDataLst>
                <p:tags r:id="rId270"/>
              </p:custDataLst>
            </p:nvPr>
          </p:nvSpPr>
          <p:spPr bwMode="gray">
            <a:xfrm>
              <a:off x="7395183" y="2757564"/>
              <a:ext cx="28228" cy="14130"/>
            </a:xfrm>
            <a:custGeom>
              <a:avLst/>
              <a:gdLst/>
              <a:ahLst/>
              <a:cxnLst>
                <a:cxn ang="0">
                  <a:pos x="5" y="11"/>
                </a:cxn>
                <a:cxn ang="0">
                  <a:pos x="18" y="10"/>
                </a:cxn>
                <a:cxn ang="0">
                  <a:pos x="22" y="4"/>
                </a:cxn>
                <a:cxn ang="0">
                  <a:pos x="7" y="0"/>
                </a:cxn>
                <a:cxn ang="0">
                  <a:pos x="0" y="4"/>
                </a:cxn>
                <a:cxn ang="0">
                  <a:pos x="5" y="11"/>
                </a:cxn>
                <a:cxn ang="0">
                  <a:pos x="5" y="11"/>
                </a:cxn>
              </a:cxnLst>
              <a:rect l="0" t="0" r="r" b="b"/>
              <a:pathLst>
                <a:path w="22" h="11">
                  <a:moveTo>
                    <a:pt x="5" y="11"/>
                  </a:moveTo>
                  <a:lnTo>
                    <a:pt x="18" y="10"/>
                  </a:lnTo>
                  <a:lnTo>
                    <a:pt x="22" y="4"/>
                  </a:lnTo>
                  <a:lnTo>
                    <a:pt x="7" y="0"/>
                  </a:lnTo>
                  <a:lnTo>
                    <a:pt x="0" y="4"/>
                  </a:lnTo>
                  <a:lnTo>
                    <a:pt x="5" y="11"/>
                  </a:lnTo>
                  <a:lnTo>
                    <a:pt x="5" y="1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93" name="Freeform 5955"/>
            <p:cNvSpPr>
              <a:spLocks/>
            </p:cNvSpPr>
            <p:nvPr>
              <p:custDataLst>
                <p:tags r:id="rId271"/>
              </p:custDataLst>
            </p:nvPr>
          </p:nvSpPr>
          <p:spPr bwMode="gray">
            <a:xfrm>
              <a:off x="7411863" y="2544327"/>
              <a:ext cx="107780" cy="20553"/>
            </a:xfrm>
            <a:custGeom>
              <a:avLst/>
              <a:gdLst/>
              <a:ahLst/>
              <a:cxnLst>
                <a:cxn ang="0">
                  <a:pos x="0" y="16"/>
                </a:cxn>
                <a:cxn ang="0">
                  <a:pos x="52" y="13"/>
                </a:cxn>
                <a:cxn ang="0">
                  <a:pos x="60" y="11"/>
                </a:cxn>
                <a:cxn ang="0">
                  <a:pos x="56" y="5"/>
                </a:cxn>
                <a:cxn ang="0">
                  <a:pos x="84" y="5"/>
                </a:cxn>
                <a:cxn ang="0">
                  <a:pos x="75" y="0"/>
                </a:cxn>
                <a:cxn ang="0">
                  <a:pos x="0" y="16"/>
                </a:cxn>
                <a:cxn ang="0">
                  <a:pos x="0" y="16"/>
                </a:cxn>
              </a:cxnLst>
              <a:rect l="0" t="0" r="r" b="b"/>
              <a:pathLst>
                <a:path w="84" h="16">
                  <a:moveTo>
                    <a:pt x="0" y="16"/>
                  </a:moveTo>
                  <a:lnTo>
                    <a:pt x="52" y="13"/>
                  </a:lnTo>
                  <a:lnTo>
                    <a:pt x="60" y="11"/>
                  </a:lnTo>
                  <a:lnTo>
                    <a:pt x="56" y="5"/>
                  </a:lnTo>
                  <a:lnTo>
                    <a:pt x="84" y="5"/>
                  </a:lnTo>
                  <a:lnTo>
                    <a:pt x="75" y="0"/>
                  </a:lnTo>
                  <a:lnTo>
                    <a:pt x="0" y="16"/>
                  </a:lnTo>
                  <a:lnTo>
                    <a:pt x="0" y="16"/>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94" name="Freeform 5956"/>
            <p:cNvSpPr>
              <a:spLocks/>
            </p:cNvSpPr>
            <p:nvPr>
              <p:custDataLst>
                <p:tags r:id="rId272"/>
              </p:custDataLst>
            </p:nvPr>
          </p:nvSpPr>
          <p:spPr bwMode="gray">
            <a:xfrm>
              <a:off x="7382352" y="2539189"/>
              <a:ext cx="52607" cy="14130"/>
            </a:xfrm>
            <a:custGeom>
              <a:avLst/>
              <a:gdLst/>
              <a:ahLst/>
              <a:cxnLst>
                <a:cxn ang="0">
                  <a:pos x="0" y="11"/>
                </a:cxn>
                <a:cxn ang="0">
                  <a:pos x="41" y="11"/>
                </a:cxn>
                <a:cxn ang="0">
                  <a:pos x="32" y="9"/>
                </a:cxn>
                <a:cxn ang="0">
                  <a:pos x="41" y="5"/>
                </a:cxn>
                <a:cxn ang="0">
                  <a:pos x="34" y="0"/>
                </a:cxn>
                <a:cxn ang="0">
                  <a:pos x="17" y="4"/>
                </a:cxn>
                <a:cxn ang="0">
                  <a:pos x="21" y="7"/>
                </a:cxn>
                <a:cxn ang="0">
                  <a:pos x="0" y="11"/>
                </a:cxn>
                <a:cxn ang="0">
                  <a:pos x="0" y="11"/>
                </a:cxn>
              </a:cxnLst>
              <a:rect l="0" t="0" r="r" b="b"/>
              <a:pathLst>
                <a:path w="41" h="11">
                  <a:moveTo>
                    <a:pt x="0" y="11"/>
                  </a:moveTo>
                  <a:lnTo>
                    <a:pt x="41" y="11"/>
                  </a:lnTo>
                  <a:lnTo>
                    <a:pt x="32" y="9"/>
                  </a:lnTo>
                  <a:lnTo>
                    <a:pt x="41" y="5"/>
                  </a:lnTo>
                  <a:lnTo>
                    <a:pt x="34" y="0"/>
                  </a:lnTo>
                  <a:lnTo>
                    <a:pt x="17" y="4"/>
                  </a:lnTo>
                  <a:lnTo>
                    <a:pt x="21" y="7"/>
                  </a:lnTo>
                  <a:lnTo>
                    <a:pt x="0" y="11"/>
                  </a:lnTo>
                  <a:lnTo>
                    <a:pt x="0" y="1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95" name="Freeform 5957"/>
            <p:cNvSpPr>
              <a:spLocks/>
            </p:cNvSpPr>
            <p:nvPr>
              <p:custDataLst>
                <p:tags r:id="rId273"/>
              </p:custDataLst>
            </p:nvPr>
          </p:nvSpPr>
          <p:spPr bwMode="gray">
            <a:xfrm>
              <a:off x="7373370" y="2561027"/>
              <a:ext cx="21813" cy="0"/>
            </a:xfrm>
            <a:custGeom>
              <a:avLst/>
              <a:gdLst/>
              <a:ahLst/>
              <a:cxnLst>
                <a:cxn ang="0">
                  <a:pos x="0" y="0"/>
                </a:cxn>
                <a:cxn ang="0">
                  <a:pos x="17" y="0"/>
                </a:cxn>
                <a:cxn ang="0">
                  <a:pos x="0" y="0"/>
                </a:cxn>
                <a:cxn ang="0">
                  <a:pos x="0" y="0"/>
                </a:cxn>
              </a:cxnLst>
              <a:rect l="0" t="0" r="r" b="b"/>
              <a:pathLst>
                <a:path w="17">
                  <a:moveTo>
                    <a:pt x="0" y="0"/>
                  </a:moveTo>
                  <a:lnTo>
                    <a:pt x="17" y="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96" name="Freeform 5958"/>
            <p:cNvSpPr>
              <a:spLocks/>
            </p:cNvSpPr>
            <p:nvPr>
              <p:custDataLst>
                <p:tags r:id="rId274"/>
              </p:custDataLst>
            </p:nvPr>
          </p:nvSpPr>
          <p:spPr bwMode="gray">
            <a:xfrm>
              <a:off x="7257892" y="2550750"/>
              <a:ext cx="85967" cy="14130"/>
            </a:xfrm>
            <a:custGeom>
              <a:avLst/>
              <a:gdLst/>
              <a:ahLst/>
              <a:cxnLst>
                <a:cxn ang="0">
                  <a:pos x="0" y="4"/>
                </a:cxn>
                <a:cxn ang="0">
                  <a:pos x="43" y="11"/>
                </a:cxn>
                <a:cxn ang="0">
                  <a:pos x="58" y="11"/>
                </a:cxn>
                <a:cxn ang="0">
                  <a:pos x="56" y="6"/>
                </a:cxn>
                <a:cxn ang="0">
                  <a:pos x="67" y="4"/>
                </a:cxn>
                <a:cxn ang="0">
                  <a:pos x="22" y="0"/>
                </a:cxn>
                <a:cxn ang="0">
                  <a:pos x="0" y="4"/>
                </a:cxn>
                <a:cxn ang="0">
                  <a:pos x="0" y="4"/>
                </a:cxn>
              </a:cxnLst>
              <a:rect l="0" t="0" r="r" b="b"/>
              <a:pathLst>
                <a:path w="67" h="11">
                  <a:moveTo>
                    <a:pt x="0" y="4"/>
                  </a:moveTo>
                  <a:lnTo>
                    <a:pt x="43" y="11"/>
                  </a:lnTo>
                  <a:lnTo>
                    <a:pt x="58" y="11"/>
                  </a:lnTo>
                  <a:lnTo>
                    <a:pt x="56" y="6"/>
                  </a:lnTo>
                  <a:lnTo>
                    <a:pt x="67" y="4"/>
                  </a:lnTo>
                  <a:lnTo>
                    <a:pt x="22" y="0"/>
                  </a:lnTo>
                  <a:lnTo>
                    <a:pt x="0" y="4"/>
                  </a:lnTo>
                  <a:lnTo>
                    <a:pt x="0" y="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97" name="Freeform 5959"/>
            <p:cNvSpPr>
              <a:spLocks/>
            </p:cNvSpPr>
            <p:nvPr>
              <p:custDataLst>
                <p:tags r:id="rId275"/>
              </p:custDataLst>
            </p:nvPr>
          </p:nvSpPr>
          <p:spPr bwMode="gray">
            <a:xfrm>
              <a:off x="6826773" y="2558457"/>
              <a:ext cx="209144" cy="66797"/>
            </a:xfrm>
            <a:custGeom>
              <a:avLst/>
              <a:gdLst/>
              <a:ahLst/>
              <a:cxnLst>
                <a:cxn ang="0">
                  <a:pos x="0" y="9"/>
                </a:cxn>
                <a:cxn ang="0">
                  <a:pos x="6" y="22"/>
                </a:cxn>
                <a:cxn ang="0">
                  <a:pos x="23" y="30"/>
                </a:cxn>
                <a:cxn ang="0">
                  <a:pos x="44" y="30"/>
                </a:cxn>
                <a:cxn ang="0">
                  <a:pos x="29" y="33"/>
                </a:cxn>
                <a:cxn ang="0">
                  <a:pos x="30" y="39"/>
                </a:cxn>
                <a:cxn ang="0">
                  <a:pos x="64" y="52"/>
                </a:cxn>
                <a:cxn ang="0">
                  <a:pos x="83" y="26"/>
                </a:cxn>
                <a:cxn ang="0">
                  <a:pos x="96" y="22"/>
                </a:cxn>
                <a:cxn ang="0">
                  <a:pos x="113" y="33"/>
                </a:cxn>
                <a:cxn ang="0">
                  <a:pos x="104" y="39"/>
                </a:cxn>
                <a:cxn ang="0">
                  <a:pos x="124" y="43"/>
                </a:cxn>
                <a:cxn ang="0">
                  <a:pos x="145" y="35"/>
                </a:cxn>
                <a:cxn ang="0">
                  <a:pos x="83" y="17"/>
                </a:cxn>
                <a:cxn ang="0">
                  <a:pos x="79" y="9"/>
                </a:cxn>
                <a:cxn ang="0">
                  <a:pos x="132" y="17"/>
                </a:cxn>
                <a:cxn ang="0">
                  <a:pos x="163" y="7"/>
                </a:cxn>
                <a:cxn ang="0">
                  <a:pos x="162" y="3"/>
                </a:cxn>
                <a:cxn ang="0">
                  <a:pos x="90" y="0"/>
                </a:cxn>
                <a:cxn ang="0">
                  <a:pos x="45" y="9"/>
                </a:cxn>
                <a:cxn ang="0">
                  <a:pos x="0" y="9"/>
                </a:cxn>
                <a:cxn ang="0">
                  <a:pos x="0" y="9"/>
                </a:cxn>
              </a:cxnLst>
              <a:rect l="0" t="0" r="r" b="b"/>
              <a:pathLst>
                <a:path w="163" h="52">
                  <a:moveTo>
                    <a:pt x="0" y="9"/>
                  </a:moveTo>
                  <a:lnTo>
                    <a:pt x="6" y="22"/>
                  </a:lnTo>
                  <a:lnTo>
                    <a:pt x="23" y="30"/>
                  </a:lnTo>
                  <a:lnTo>
                    <a:pt x="44" y="30"/>
                  </a:lnTo>
                  <a:lnTo>
                    <a:pt x="29" y="33"/>
                  </a:lnTo>
                  <a:lnTo>
                    <a:pt x="30" y="39"/>
                  </a:lnTo>
                  <a:lnTo>
                    <a:pt x="64" y="52"/>
                  </a:lnTo>
                  <a:lnTo>
                    <a:pt x="83" y="26"/>
                  </a:lnTo>
                  <a:lnTo>
                    <a:pt x="96" y="22"/>
                  </a:lnTo>
                  <a:lnTo>
                    <a:pt x="113" y="33"/>
                  </a:lnTo>
                  <a:lnTo>
                    <a:pt x="104" y="39"/>
                  </a:lnTo>
                  <a:lnTo>
                    <a:pt x="124" y="43"/>
                  </a:lnTo>
                  <a:lnTo>
                    <a:pt x="145" y="35"/>
                  </a:lnTo>
                  <a:lnTo>
                    <a:pt x="83" y="17"/>
                  </a:lnTo>
                  <a:lnTo>
                    <a:pt x="79" y="9"/>
                  </a:lnTo>
                  <a:lnTo>
                    <a:pt x="132" y="17"/>
                  </a:lnTo>
                  <a:lnTo>
                    <a:pt x="163" y="7"/>
                  </a:lnTo>
                  <a:lnTo>
                    <a:pt x="162" y="3"/>
                  </a:lnTo>
                  <a:lnTo>
                    <a:pt x="90" y="0"/>
                  </a:lnTo>
                  <a:lnTo>
                    <a:pt x="45" y="9"/>
                  </a:lnTo>
                  <a:lnTo>
                    <a:pt x="0" y="9"/>
                  </a:lnTo>
                  <a:lnTo>
                    <a:pt x="0" y="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98" name="Freeform 5960"/>
            <p:cNvSpPr>
              <a:spLocks/>
            </p:cNvSpPr>
            <p:nvPr>
              <p:custDataLst>
                <p:tags r:id="rId276"/>
              </p:custDataLst>
            </p:nvPr>
          </p:nvSpPr>
          <p:spPr bwMode="gray">
            <a:xfrm>
              <a:off x="6526529" y="2905288"/>
              <a:ext cx="16680" cy="6423"/>
            </a:xfrm>
            <a:custGeom>
              <a:avLst/>
              <a:gdLst/>
              <a:ahLst/>
              <a:cxnLst>
                <a:cxn ang="0">
                  <a:pos x="0" y="5"/>
                </a:cxn>
                <a:cxn ang="0">
                  <a:pos x="13" y="0"/>
                </a:cxn>
                <a:cxn ang="0">
                  <a:pos x="0" y="5"/>
                </a:cxn>
                <a:cxn ang="0">
                  <a:pos x="0" y="5"/>
                </a:cxn>
              </a:cxnLst>
              <a:rect l="0" t="0" r="r" b="b"/>
              <a:pathLst>
                <a:path w="13" h="5">
                  <a:moveTo>
                    <a:pt x="0" y="5"/>
                  </a:moveTo>
                  <a:lnTo>
                    <a:pt x="13" y="0"/>
                  </a:lnTo>
                  <a:lnTo>
                    <a:pt x="0" y="5"/>
                  </a:lnTo>
                  <a:lnTo>
                    <a:pt x="0"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799" name="Freeform 5961"/>
            <p:cNvSpPr>
              <a:spLocks/>
            </p:cNvSpPr>
            <p:nvPr>
              <p:custDataLst>
                <p:tags r:id="rId277"/>
              </p:custDataLst>
            </p:nvPr>
          </p:nvSpPr>
          <p:spPr bwMode="gray">
            <a:xfrm>
              <a:off x="6534228" y="291941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00" name="Freeform 5962"/>
            <p:cNvSpPr>
              <a:spLocks/>
            </p:cNvSpPr>
            <p:nvPr>
              <p:custDataLst>
                <p:tags r:id="rId278"/>
              </p:custDataLst>
            </p:nvPr>
          </p:nvSpPr>
          <p:spPr bwMode="gray">
            <a:xfrm>
              <a:off x="6531661" y="292455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01" name="Freeform 5963"/>
            <p:cNvSpPr>
              <a:spLocks/>
            </p:cNvSpPr>
            <p:nvPr>
              <p:custDataLst>
                <p:tags r:id="rId279"/>
              </p:custDataLst>
            </p:nvPr>
          </p:nvSpPr>
          <p:spPr bwMode="gray">
            <a:xfrm>
              <a:off x="6618912" y="2947679"/>
              <a:ext cx="3849" cy="10276"/>
            </a:xfrm>
            <a:custGeom>
              <a:avLst/>
              <a:gdLst/>
              <a:ahLst/>
              <a:cxnLst>
                <a:cxn ang="0">
                  <a:pos x="0" y="4"/>
                </a:cxn>
                <a:cxn ang="0">
                  <a:pos x="3" y="0"/>
                </a:cxn>
                <a:cxn ang="0">
                  <a:pos x="3" y="8"/>
                </a:cxn>
                <a:cxn ang="0">
                  <a:pos x="0" y="4"/>
                </a:cxn>
                <a:cxn ang="0">
                  <a:pos x="0" y="4"/>
                </a:cxn>
              </a:cxnLst>
              <a:rect l="0" t="0" r="r" b="b"/>
              <a:pathLst>
                <a:path w="3" h="8">
                  <a:moveTo>
                    <a:pt x="0" y="4"/>
                  </a:moveTo>
                  <a:lnTo>
                    <a:pt x="3" y="0"/>
                  </a:lnTo>
                  <a:lnTo>
                    <a:pt x="3" y="8"/>
                  </a:lnTo>
                  <a:lnTo>
                    <a:pt x="0" y="4"/>
                  </a:lnTo>
                  <a:lnTo>
                    <a:pt x="0" y="4"/>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02" name="Freeform 5964"/>
            <p:cNvSpPr>
              <a:spLocks/>
            </p:cNvSpPr>
            <p:nvPr>
              <p:custDataLst>
                <p:tags r:id="rId280"/>
              </p:custDataLst>
            </p:nvPr>
          </p:nvSpPr>
          <p:spPr bwMode="gray">
            <a:xfrm>
              <a:off x="6620195" y="294511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03" name="Freeform 5965"/>
            <p:cNvSpPr>
              <a:spLocks/>
            </p:cNvSpPr>
            <p:nvPr>
              <p:custDataLst>
                <p:tags r:id="rId281"/>
              </p:custDataLst>
            </p:nvPr>
          </p:nvSpPr>
          <p:spPr bwMode="gray">
            <a:xfrm>
              <a:off x="6627893" y="294254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04" name="Freeform 5966"/>
            <p:cNvSpPr>
              <a:spLocks/>
            </p:cNvSpPr>
            <p:nvPr>
              <p:custDataLst>
                <p:tags r:id="rId282"/>
              </p:custDataLst>
            </p:nvPr>
          </p:nvSpPr>
          <p:spPr bwMode="gray">
            <a:xfrm>
              <a:off x="6586834" y="2974655"/>
              <a:ext cx="10265" cy="5138"/>
            </a:xfrm>
            <a:custGeom>
              <a:avLst/>
              <a:gdLst/>
              <a:ahLst/>
              <a:cxnLst>
                <a:cxn ang="0">
                  <a:pos x="0" y="0"/>
                </a:cxn>
                <a:cxn ang="0">
                  <a:pos x="8" y="4"/>
                </a:cxn>
                <a:cxn ang="0">
                  <a:pos x="0" y="0"/>
                </a:cxn>
              </a:cxnLst>
              <a:rect l="0" t="0" r="r" b="b"/>
              <a:pathLst>
                <a:path w="8" h="4">
                  <a:moveTo>
                    <a:pt x="0" y="0"/>
                  </a:moveTo>
                  <a:lnTo>
                    <a:pt x="8" y="4"/>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05" name="Line 5967"/>
            <p:cNvSpPr>
              <a:spLocks noChangeShapeType="1"/>
            </p:cNvSpPr>
            <p:nvPr>
              <p:custDataLst>
                <p:tags r:id="rId283"/>
              </p:custDataLst>
            </p:nvPr>
          </p:nvSpPr>
          <p:spPr bwMode="gray">
            <a:xfrm>
              <a:off x="6586834" y="2974655"/>
              <a:ext cx="10265" cy="5138"/>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06" name="Freeform 5968"/>
            <p:cNvSpPr>
              <a:spLocks/>
            </p:cNvSpPr>
            <p:nvPr>
              <p:custDataLst>
                <p:tags r:id="rId284"/>
              </p:custDataLst>
            </p:nvPr>
          </p:nvSpPr>
          <p:spPr bwMode="gray">
            <a:xfrm>
              <a:off x="6597099" y="297465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07" name="Freeform 5969"/>
            <p:cNvSpPr>
              <a:spLocks/>
            </p:cNvSpPr>
            <p:nvPr>
              <p:custDataLst>
                <p:tags r:id="rId285"/>
              </p:custDataLst>
            </p:nvPr>
          </p:nvSpPr>
          <p:spPr bwMode="gray">
            <a:xfrm>
              <a:off x="6514981" y="2988785"/>
              <a:ext cx="21813" cy="21838"/>
            </a:xfrm>
            <a:custGeom>
              <a:avLst/>
              <a:gdLst/>
              <a:ahLst/>
              <a:cxnLst>
                <a:cxn ang="0">
                  <a:pos x="0" y="17"/>
                </a:cxn>
                <a:cxn ang="0">
                  <a:pos x="7" y="15"/>
                </a:cxn>
                <a:cxn ang="0">
                  <a:pos x="17" y="0"/>
                </a:cxn>
                <a:cxn ang="0">
                  <a:pos x="6" y="6"/>
                </a:cxn>
                <a:cxn ang="0">
                  <a:pos x="0" y="17"/>
                </a:cxn>
                <a:cxn ang="0">
                  <a:pos x="0" y="17"/>
                </a:cxn>
              </a:cxnLst>
              <a:rect l="0" t="0" r="r" b="b"/>
              <a:pathLst>
                <a:path w="17" h="17">
                  <a:moveTo>
                    <a:pt x="0" y="17"/>
                  </a:moveTo>
                  <a:lnTo>
                    <a:pt x="7" y="15"/>
                  </a:lnTo>
                  <a:lnTo>
                    <a:pt x="17" y="0"/>
                  </a:lnTo>
                  <a:lnTo>
                    <a:pt x="6" y="6"/>
                  </a:lnTo>
                  <a:lnTo>
                    <a:pt x="0" y="17"/>
                  </a:lnTo>
                  <a:lnTo>
                    <a:pt x="0"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08" name="Freeform 5970"/>
            <p:cNvSpPr>
              <a:spLocks/>
            </p:cNvSpPr>
            <p:nvPr>
              <p:custDataLst>
                <p:tags r:id="rId286"/>
              </p:custDataLst>
            </p:nvPr>
          </p:nvSpPr>
          <p:spPr bwMode="gray">
            <a:xfrm>
              <a:off x="6512415" y="301833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09" name="Freeform 5971"/>
            <p:cNvSpPr>
              <a:spLocks/>
            </p:cNvSpPr>
            <p:nvPr>
              <p:custDataLst>
                <p:tags r:id="rId287"/>
              </p:custDataLst>
            </p:nvPr>
          </p:nvSpPr>
          <p:spPr bwMode="gray">
            <a:xfrm>
              <a:off x="6947383" y="3002915"/>
              <a:ext cx="19246" cy="16699"/>
            </a:xfrm>
            <a:custGeom>
              <a:avLst/>
              <a:gdLst/>
              <a:ahLst/>
              <a:cxnLst>
                <a:cxn ang="0">
                  <a:pos x="0" y="6"/>
                </a:cxn>
                <a:cxn ang="0">
                  <a:pos x="2" y="13"/>
                </a:cxn>
                <a:cxn ang="0">
                  <a:pos x="10" y="10"/>
                </a:cxn>
                <a:cxn ang="0">
                  <a:pos x="15" y="0"/>
                </a:cxn>
                <a:cxn ang="0">
                  <a:pos x="0" y="6"/>
                </a:cxn>
                <a:cxn ang="0">
                  <a:pos x="0" y="6"/>
                </a:cxn>
              </a:cxnLst>
              <a:rect l="0" t="0" r="r" b="b"/>
              <a:pathLst>
                <a:path w="15" h="13">
                  <a:moveTo>
                    <a:pt x="0" y="6"/>
                  </a:moveTo>
                  <a:lnTo>
                    <a:pt x="2" y="13"/>
                  </a:lnTo>
                  <a:lnTo>
                    <a:pt x="10" y="10"/>
                  </a:lnTo>
                  <a:lnTo>
                    <a:pt x="15"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10" name="Freeform 5972"/>
            <p:cNvSpPr>
              <a:spLocks/>
            </p:cNvSpPr>
            <p:nvPr>
              <p:custDataLst>
                <p:tags r:id="rId288"/>
              </p:custDataLst>
            </p:nvPr>
          </p:nvSpPr>
          <p:spPr bwMode="gray">
            <a:xfrm>
              <a:off x="6974328" y="295024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11" name="Freeform 5973"/>
            <p:cNvSpPr>
              <a:spLocks/>
            </p:cNvSpPr>
            <p:nvPr>
              <p:custDataLst>
                <p:tags r:id="rId289"/>
              </p:custDataLst>
            </p:nvPr>
          </p:nvSpPr>
          <p:spPr bwMode="gray">
            <a:xfrm>
              <a:off x="7010255" y="2986216"/>
              <a:ext cx="24379" cy="12846"/>
            </a:xfrm>
            <a:custGeom>
              <a:avLst/>
              <a:gdLst/>
              <a:ahLst/>
              <a:cxnLst>
                <a:cxn ang="0">
                  <a:pos x="0" y="6"/>
                </a:cxn>
                <a:cxn ang="0">
                  <a:pos x="5" y="10"/>
                </a:cxn>
                <a:cxn ang="0">
                  <a:pos x="19" y="2"/>
                </a:cxn>
                <a:cxn ang="0">
                  <a:pos x="5" y="0"/>
                </a:cxn>
                <a:cxn ang="0">
                  <a:pos x="0" y="6"/>
                </a:cxn>
                <a:cxn ang="0">
                  <a:pos x="0" y="6"/>
                </a:cxn>
              </a:cxnLst>
              <a:rect l="0" t="0" r="r" b="b"/>
              <a:pathLst>
                <a:path w="19" h="10">
                  <a:moveTo>
                    <a:pt x="0" y="6"/>
                  </a:moveTo>
                  <a:lnTo>
                    <a:pt x="5" y="10"/>
                  </a:lnTo>
                  <a:lnTo>
                    <a:pt x="19" y="2"/>
                  </a:lnTo>
                  <a:lnTo>
                    <a:pt x="5"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12" name="Freeform 5974"/>
            <p:cNvSpPr>
              <a:spLocks/>
            </p:cNvSpPr>
            <p:nvPr>
              <p:custDataLst>
                <p:tags r:id="rId290"/>
              </p:custDataLst>
            </p:nvPr>
          </p:nvSpPr>
          <p:spPr bwMode="gray">
            <a:xfrm>
              <a:off x="7016670" y="2977224"/>
              <a:ext cx="12831" cy="3854"/>
            </a:xfrm>
            <a:custGeom>
              <a:avLst/>
              <a:gdLst/>
              <a:ahLst/>
              <a:cxnLst>
                <a:cxn ang="0">
                  <a:pos x="0" y="3"/>
                </a:cxn>
                <a:cxn ang="0">
                  <a:pos x="10" y="3"/>
                </a:cxn>
                <a:cxn ang="0">
                  <a:pos x="2" y="0"/>
                </a:cxn>
                <a:cxn ang="0">
                  <a:pos x="0" y="3"/>
                </a:cxn>
                <a:cxn ang="0">
                  <a:pos x="0" y="3"/>
                </a:cxn>
              </a:cxnLst>
              <a:rect l="0" t="0" r="r" b="b"/>
              <a:pathLst>
                <a:path w="10" h="3">
                  <a:moveTo>
                    <a:pt x="0" y="3"/>
                  </a:moveTo>
                  <a:lnTo>
                    <a:pt x="10" y="3"/>
                  </a:lnTo>
                  <a:lnTo>
                    <a:pt x="2" y="0"/>
                  </a:lnTo>
                  <a:lnTo>
                    <a:pt x="0" y="3"/>
                  </a:lnTo>
                  <a:lnTo>
                    <a:pt x="0" y="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13" name="Freeform 5975"/>
            <p:cNvSpPr>
              <a:spLocks/>
            </p:cNvSpPr>
            <p:nvPr>
              <p:custDataLst>
                <p:tags r:id="rId291"/>
              </p:custDataLst>
            </p:nvPr>
          </p:nvSpPr>
          <p:spPr bwMode="gray">
            <a:xfrm>
              <a:off x="6526529" y="2986216"/>
              <a:ext cx="137291" cy="192684"/>
            </a:xfrm>
            <a:custGeom>
              <a:avLst/>
              <a:gdLst/>
              <a:ahLst/>
              <a:cxnLst>
                <a:cxn ang="0">
                  <a:pos x="0" y="150"/>
                </a:cxn>
                <a:cxn ang="0">
                  <a:pos x="15" y="144"/>
                </a:cxn>
                <a:cxn ang="0">
                  <a:pos x="27" y="148"/>
                </a:cxn>
                <a:cxn ang="0">
                  <a:pos x="30" y="141"/>
                </a:cxn>
                <a:cxn ang="0">
                  <a:pos x="40" y="139"/>
                </a:cxn>
                <a:cxn ang="0">
                  <a:pos x="51" y="143"/>
                </a:cxn>
                <a:cxn ang="0">
                  <a:pos x="92" y="137"/>
                </a:cxn>
                <a:cxn ang="0">
                  <a:pos x="100" y="128"/>
                </a:cxn>
                <a:cxn ang="0">
                  <a:pos x="88" y="128"/>
                </a:cxn>
                <a:cxn ang="0">
                  <a:pos x="107" y="107"/>
                </a:cxn>
                <a:cxn ang="0">
                  <a:pos x="96" y="100"/>
                </a:cxn>
                <a:cxn ang="0">
                  <a:pos x="83" y="101"/>
                </a:cxn>
                <a:cxn ang="0">
                  <a:pos x="87" y="96"/>
                </a:cxn>
                <a:cxn ang="0">
                  <a:pos x="77" y="73"/>
                </a:cxn>
                <a:cxn ang="0">
                  <a:pos x="68" y="70"/>
                </a:cxn>
                <a:cxn ang="0">
                  <a:pos x="58" y="49"/>
                </a:cxn>
                <a:cxn ang="0">
                  <a:pos x="42" y="45"/>
                </a:cxn>
                <a:cxn ang="0">
                  <a:pos x="62" y="23"/>
                </a:cxn>
                <a:cxn ang="0">
                  <a:pos x="62" y="17"/>
                </a:cxn>
                <a:cxn ang="0">
                  <a:pos x="32" y="19"/>
                </a:cxn>
                <a:cxn ang="0">
                  <a:pos x="49" y="6"/>
                </a:cxn>
                <a:cxn ang="0">
                  <a:pos x="47" y="0"/>
                </a:cxn>
                <a:cxn ang="0">
                  <a:pos x="23" y="2"/>
                </a:cxn>
                <a:cxn ang="0">
                  <a:pos x="10" y="21"/>
                </a:cxn>
                <a:cxn ang="0">
                  <a:pos x="13" y="25"/>
                </a:cxn>
                <a:cxn ang="0">
                  <a:pos x="6" y="40"/>
                </a:cxn>
                <a:cxn ang="0">
                  <a:pos x="13" y="38"/>
                </a:cxn>
                <a:cxn ang="0">
                  <a:pos x="12" y="45"/>
                </a:cxn>
                <a:cxn ang="0">
                  <a:pos x="2" y="49"/>
                </a:cxn>
                <a:cxn ang="0">
                  <a:pos x="10" y="49"/>
                </a:cxn>
                <a:cxn ang="0">
                  <a:pos x="10" y="55"/>
                </a:cxn>
                <a:cxn ang="0">
                  <a:pos x="17" y="49"/>
                </a:cxn>
                <a:cxn ang="0">
                  <a:pos x="21" y="55"/>
                </a:cxn>
                <a:cxn ang="0">
                  <a:pos x="15" y="64"/>
                </a:cxn>
                <a:cxn ang="0">
                  <a:pos x="19" y="70"/>
                </a:cxn>
                <a:cxn ang="0">
                  <a:pos x="40" y="64"/>
                </a:cxn>
                <a:cxn ang="0">
                  <a:pos x="36" y="71"/>
                </a:cxn>
                <a:cxn ang="0">
                  <a:pos x="47" y="77"/>
                </a:cxn>
                <a:cxn ang="0">
                  <a:pos x="42" y="92"/>
                </a:cxn>
                <a:cxn ang="0">
                  <a:pos x="21" y="92"/>
                </a:cxn>
                <a:cxn ang="0">
                  <a:pos x="17" y="101"/>
                </a:cxn>
                <a:cxn ang="0">
                  <a:pos x="27" y="101"/>
                </a:cxn>
                <a:cxn ang="0">
                  <a:pos x="25" y="111"/>
                </a:cxn>
                <a:cxn ang="0">
                  <a:pos x="8" y="118"/>
                </a:cxn>
                <a:cxn ang="0">
                  <a:pos x="12" y="122"/>
                </a:cxn>
                <a:cxn ang="0">
                  <a:pos x="34" y="128"/>
                </a:cxn>
                <a:cxn ang="0">
                  <a:pos x="43" y="122"/>
                </a:cxn>
                <a:cxn ang="0">
                  <a:pos x="38" y="129"/>
                </a:cxn>
                <a:cxn ang="0">
                  <a:pos x="23" y="129"/>
                </a:cxn>
                <a:cxn ang="0">
                  <a:pos x="0" y="150"/>
                </a:cxn>
                <a:cxn ang="0">
                  <a:pos x="0" y="150"/>
                </a:cxn>
              </a:cxnLst>
              <a:rect l="0" t="0" r="r" b="b"/>
              <a:pathLst>
                <a:path w="107" h="150">
                  <a:moveTo>
                    <a:pt x="0" y="150"/>
                  </a:moveTo>
                  <a:lnTo>
                    <a:pt x="15" y="144"/>
                  </a:lnTo>
                  <a:lnTo>
                    <a:pt x="27" y="148"/>
                  </a:lnTo>
                  <a:lnTo>
                    <a:pt x="30" y="141"/>
                  </a:lnTo>
                  <a:lnTo>
                    <a:pt x="40" y="139"/>
                  </a:lnTo>
                  <a:lnTo>
                    <a:pt x="51" y="143"/>
                  </a:lnTo>
                  <a:lnTo>
                    <a:pt x="92" y="137"/>
                  </a:lnTo>
                  <a:lnTo>
                    <a:pt x="100" y="128"/>
                  </a:lnTo>
                  <a:lnTo>
                    <a:pt x="88" y="128"/>
                  </a:lnTo>
                  <a:lnTo>
                    <a:pt x="107" y="107"/>
                  </a:lnTo>
                  <a:lnTo>
                    <a:pt x="96" y="100"/>
                  </a:lnTo>
                  <a:lnTo>
                    <a:pt x="83" y="101"/>
                  </a:lnTo>
                  <a:lnTo>
                    <a:pt x="87" y="96"/>
                  </a:lnTo>
                  <a:lnTo>
                    <a:pt x="77" y="73"/>
                  </a:lnTo>
                  <a:lnTo>
                    <a:pt x="68" y="70"/>
                  </a:lnTo>
                  <a:lnTo>
                    <a:pt x="58" y="49"/>
                  </a:lnTo>
                  <a:lnTo>
                    <a:pt x="42" y="45"/>
                  </a:lnTo>
                  <a:lnTo>
                    <a:pt x="62" y="23"/>
                  </a:lnTo>
                  <a:lnTo>
                    <a:pt x="62" y="17"/>
                  </a:lnTo>
                  <a:lnTo>
                    <a:pt x="32" y="19"/>
                  </a:lnTo>
                  <a:lnTo>
                    <a:pt x="49" y="6"/>
                  </a:lnTo>
                  <a:lnTo>
                    <a:pt x="47" y="0"/>
                  </a:lnTo>
                  <a:lnTo>
                    <a:pt x="23" y="2"/>
                  </a:lnTo>
                  <a:lnTo>
                    <a:pt x="10" y="21"/>
                  </a:lnTo>
                  <a:lnTo>
                    <a:pt x="13" y="25"/>
                  </a:lnTo>
                  <a:lnTo>
                    <a:pt x="6" y="40"/>
                  </a:lnTo>
                  <a:lnTo>
                    <a:pt x="13" y="38"/>
                  </a:lnTo>
                  <a:lnTo>
                    <a:pt x="12" y="45"/>
                  </a:lnTo>
                  <a:lnTo>
                    <a:pt x="2" y="49"/>
                  </a:lnTo>
                  <a:lnTo>
                    <a:pt x="10" y="49"/>
                  </a:lnTo>
                  <a:lnTo>
                    <a:pt x="10" y="55"/>
                  </a:lnTo>
                  <a:lnTo>
                    <a:pt x="17" y="49"/>
                  </a:lnTo>
                  <a:lnTo>
                    <a:pt x="21" y="55"/>
                  </a:lnTo>
                  <a:lnTo>
                    <a:pt x="15" y="64"/>
                  </a:lnTo>
                  <a:lnTo>
                    <a:pt x="19" y="70"/>
                  </a:lnTo>
                  <a:lnTo>
                    <a:pt x="40" y="64"/>
                  </a:lnTo>
                  <a:lnTo>
                    <a:pt x="36" y="71"/>
                  </a:lnTo>
                  <a:lnTo>
                    <a:pt x="47" y="77"/>
                  </a:lnTo>
                  <a:lnTo>
                    <a:pt x="42" y="92"/>
                  </a:lnTo>
                  <a:lnTo>
                    <a:pt x="21" y="92"/>
                  </a:lnTo>
                  <a:lnTo>
                    <a:pt x="17" y="101"/>
                  </a:lnTo>
                  <a:lnTo>
                    <a:pt x="27" y="101"/>
                  </a:lnTo>
                  <a:lnTo>
                    <a:pt x="25" y="111"/>
                  </a:lnTo>
                  <a:lnTo>
                    <a:pt x="8" y="118"/>
                  </a:lnTo>
                  <a:lnTo>
                    <a:pt x="12" y="122"/>
                  </a:lnTo>
                  <a:lnTo>
                    <a:pt x="34" y="128"/>
                  </a:lnTo>
                  <a:lnTo>
                    <a:pt x="43" y="122"/>
                  </a:lnTo>
                  <a:lnTo>
                    <a:pt x="38" y="129"/>
                  </a:lnTo>
                  <a:lnTo>
                    <a:pt x="23" y="129"/>
                  </a:lnTo>
                  <a:lnTo>
                    <a:pt x="0" y="150"/>
                  </a:lnTo>
                  <a:lnTo>
                    <a:pt x="0" y="15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14" name="Freeform 5976"/>
            <p:cNvSpPr>
              <a:spLocks/>
            </p:cNvSpPr>
            <p:nvPr>
              <p:custDataLst>
                <p:tags r:id="rId292"/>
              </p:custDataLst>
            </p:nvPr>
          </p:nvSpPr>
          <p:spPr bwMode="gray">
            <a:xfrm>
              <a:off x="6781864" y="3342039"/>
              <a:ext cx="14114" cy="38537"/>
            </a:xfrm>
            <a:custGeom>
              <a:avLst/>
              <a:gdLst/>
              <a:ahLst/>
              <a:cxnLst>
                <a:cxn ang="0">
                  <a:pos x="0" y="10"/>
                </a:cxn>
                <a:cxn ang="0">
                  <a:pos x="0" y="23"/>
                </a:cxn>
                <a:cxn ang="0">
                  <a:pos x="7" y="30"/>
                </a:cxn>
                <a:cxn ang="0">
                  <a:pos x="11" y="0"/>
                </a:cxn>
                <a:cxn ang="0">
                  <a:pos x="0" y="10"/>
                </a:cxn>
                <a:cxn ang="0">
                  <a:pos x="0" y="10"/>
                </a:cxn>
              </a:cxnLst>
              <a:rect l="0" t="0" r="r" b="b"/>
              <a:pathLst>
                <a:path w="11" h="30">
                  <a:moveTo>
                    <a:pt x="0" y="10"/>
                  </a:moveTo>
                  <a:lnTo>
                    <a:pt x="0" y="23"/>
                  </a:lnTo>
                  <a:lnTo>
                    <a:pt x="7" y="30"/>
                  </a:lnTo>
                  <a:lnTo>
                    <a:pt x="11" y="0"/>
                  </a:lnTo>
                  <a:lnTo>
                    <a:pt x="0" y="10"/>
                  </a:lnTo>
                  <a:lnTo>
                    <a:pt x="0" y="1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15" name="Freeform 5977"/>
            <p:cNvSpPr>
              <a:spLocks/>
            </p:cNvSpPr>
            <p:nvPr>
              <p:custDataLst>
                <p:tags r:id="rId293"/>
              </p:custDataLst>
            </p:nvPr>
          </p:nvSpPr>
          <p:spPr bwMode="gray">
            <a:xfrm>
              <a:off x="6771600" y="3383144"/>
              <a:ext cx="29511" cy="57805"/>
            </a:xfrm>
            <a:custGeom>
              <a:avLst/>
              <a:gdLst/>
              <a:ahLst/>
              <a:cxnLst>
                <a:cxn ang="0">
                  <a:pos x="0" y="6"/>
                </a:cxn>
                <a:cxn ang="0">
                  <a:pos x="4" y="38"/>
                </a:cxn>
                <a:cxn ang="0">
                  <a:pos x="10" y="45"/>
                </a:cxn>
                <a:cxn ang="0">
                  <a:pos x="21" y="38"/>
                </a:cxn>
                <a:cxn ang="0">
                  <a:pos x="23" y="8"/>
                </a:cxn>
                <a:cxn ang="0">
                  <a:pos x="17" y="0"/>
                </a:cxn>
                <a:cxn ang="0">
                  <a:pos x="0" y="6"/>
                </a:cxn>
                <a:cxn ang="0">
                  <a:pos x="0" y="6"/>
                </a:cxn>
              </a:cxnLst>
              <a:rect l="0" t="0" r="r" b="b"/>
              <a:pathLst>
                <a:path w="23" h="45">
                  <a:moveTo>
                    <a:pt x="0" y="6"/>
                  </a:moveTo>
                  <a:lnTo>
                    <a:pt x="4" y="38"/>
                  </a:lnTo>
                  <a:lnTo>
                    <a:pt x="10" y="45"/>
                  </a:lnTo>
                  <a:lnTo>
                    <a:pt x="21" y="38"/>
                  </a:lnTo>
                  <a:lnTo>
                    <a:pt x="23" y="8"/>
                  </a:lnTo>
                  <a:lnTo>
                    <a:pt x="17" y="0"/>
                  </a:lnTo>
                  <a:lnTo>
                    <a:pt x="0" y="6"/>
                  </a:lnTo>
                  <a:lnTo>
                    <a:pt x="0" y="6"/>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16" name="Freeform 5978"/>
            <p:cNvSpPr>
              <a:spLocks/>
            </p:cNvSpPr>
            <p:nvPr>
              <p:custDataLst>
                <p:tags r:id="rId294"/>
              </p:custDataLst>
            </p:nvPr>
          </p:nvSpPr>
          <p:spPr bwMode="gray">
            <a:xfrm>
              <a:off x="6853718" y="3453795"/>
              <a:ext cx="62872" cy="38537"/>
            </a:xfrm>
            <a:custGeom>
              <a:avLst/>
              <a:gdLst/>
              <a:ahLst/>
              <a:cxnLst>
                <a:cxn ang="0">
                  <a:pos x="0" y="5"/>
                </a:cxn>
                <a:cxn ang="0">
                  <a:pos x="4" y="15"/>
                </a:cxn>
                <a:cxn ang="0">
                  <a:pos x="43" y="30"/>
                </a:cxn>
                <a:cxn ang="0">
                  <a:pos x="49" y="0"/>
                </a:cxn>
                <a:cxn ang="0">
                  <a:pos x="28" y="5"/>
                </a:cxn>
                <a:cxn ang="0">
                  <a:pos x="6" y="2"/>
                </a:cxn>
                <a:cxn ang="0">
                  <a:pos x="0" y="5"/>
                </a:cxn>
                <a:cxn ang="0">
                  <a:pos x="0" y="5"/>
                </a:cxn>
              </a:cxnLst>
              <a:rect l="0" t="0" r="r" b="b"/>
              <a:pathLst>
                <a:path w="49" h="30">
                  <a:moveTo>
                    <a:pt x="0" y="5"/>
                  </a:moveTo>
                  <a:lnTo>
                    <a:pt x="4" y="15"/>
                  </a:lnTo>
                  <a:lnTo>
                    <a:pt x="43" y="30"/>
                  </a:lnTo>
                  <a:lnTo>
                    <a:pt x="49" y="0"/>
                  </a:lnTo>
                  <a:lnTo>
                    <a:pt x="28" y="5"/>
                  </a:lnTo>
                  <a:lnTo>
                    <a:pt x="6" y="2"/>
                  </a:lnTo>
                  <a:lnTo>
                    <a:pt x="0" y="5"/>
                  </a:lnTo>
                  <a:lnTo>
                    <a:pt x="0" y="5"/>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17" name="Freeform 5979"/>
            <p:cNvSpPr>
              <a:spLocks/>
            </p:cNvSpPr>
            <p:nvPr>
              <p:custDataLst>
                <p:tags r:id="rId295"/>
              </p:custDataLst>
            </p:nvPr>
          </p:nvSpPr>
          <p:spPr bwMode="gray">
            <a:xfrm>
              <a:off x="7021803" y="3453795"/>
              <a:ext cx="43625" cy="42390"/>
            </a:xfrm>
            <a:custGeom>
              <a:avLst/>
              <a:gdLst/>
              <a:ahLst/>
              <a:cxnLst>
                <a:cxn ang="0">
                  <a:pos x="0" y="9"/>
                </a:cxn>
                <a:cxn ang="0">
                  <a:pos x="10" y="17"/>
                </a:cxn>
                <a:cxn ang="0">
                  <a:pos x="11" y="28"/>
                </a:cxn>
                <a:cxn ang="0">
                  <a:pos x="21" y="33"/>
                </a:cxn>
                <a:cxn ang="0">
                  <a:pos x="25" y="28"/>
                </a:cxn>
                <a:cxn ang="0">
                  <a:pos x="32" y="33"/>
                </a:cxn>
                <a:cxn ang="0">
                  <a:pos x="25" y="17"/>
                </a:cxn>
                <a:cxn ang="0">
                  <a:pos x="34" y="18"/>
                </a:cxn>
                <a:cxn ang="0">
                  <a:pos x="28" y="7"/>
                </a:cxn>
                <a:cxn ang="0">
                  <a:pos x="11" y="0"/>
                </a:cxn>
                <a:cxn ang="0">
                  <a:pos x="0" y="9"/>
                </a:cxn>
                <a:cxn ang="0">
                  <a:pos x="0" y="9"/>
                </a:cxn>
              </a:cxnLst>
              <a:rect l="0" t="0" r="r" b="b"/>
              <a:pathLst>
                <a:path w="34" h="33">
                  <a:moveTo>
                    <a:pt x="0" y="9"/>
                  </a:moveTo>
                  <a:lnTo>
                    <a:pt x="10" y="17"/>
                  </a:lnTo>
                  <a:lnTo>
                    <a:pt x="11" y="28"/>
                  </a:lnTo>
                  <a:lnTo>
                    <a:pt x="21" y="33"/>
                  </a:lnTo>
                  <a:lnTo>
                    <a:pt x="25" y="28"/>
                  </a:lnTo>
                  <a:lnTo>
                    <a:pt x="32" y="33"/>
                  </a:lnTo>
                  <a:lnTo>
                    <a:pt x="25" y="17"/>
                  </a:lnTo>
                  <a:lnTo>
                    <a:pt x="34" y="18"/>
                  </a:lnTo>
                  <a:lnTo>
                    <a:pt x="28" y="7"/>
                  </a:lnTo>
                  <a:lnTo>
                    <a:pt x="11" y="0"/>
                  </a:lnTo>
                  <a:lnTo>
                    <a:pt x="0" y="9"/>
                  </a:lnTo>
                  <a:lnTo>
                    <a:pt x="0" y="9"/>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18" name="Freeform 5980"/>
            <p:cNvSpPr>
              <a:spLocks/>
            </p:cNvSpPr>
            <p:nvPr>
              <p:custDataLst>
                <p:tags r:id="rId296"/>
              </p:custDataLst>
            </p:nvPr>
          </p:nvSpPr>
          <p:spPr bwMode="gray">
            <a:xfrm>
              <a:off x="7073126" y="3515454"/>
              <a:ext cx="55173" cy="16699"/>
            </a:xfrm>
            <a:custGeom>
              <a:avLst/>
              <a:gdLst/>
              <a:ahLst/>
              <a:cxnLst>
                <a:cxn ang="0">
                  <a:pos x="0" y="8"/>
                </a:cxn>
                <a:cxn ang="0">
                  <a:pos x="20" y="13"/>
                </a:cxn>
                <a:cxn ang="0">
                  <a:pos x="41" y="12"/>
                </a:cxn>
                <a:cxn ang="0">
                  <a:pos x="43" y="8"/>
                </a:cxn>
                <a:cxn ang="0">
                  <a:pos x="33" y="10"/>
                </a:cxn>
                <a:cxn ang="0">
                  <a:pos x="33" y="6"/>
                </a:cxn>
                <a:cxn ang="0">
                  <a:pos x="1" y="0"/>
                </a:cxn>
                <a:cxn ang="0">
                  <a:pos x="0" y="8"/>
                </a:cxn>
                <a:cxn ang="0">
                  <a:pos x="0" y="8"/>
                </a:cxn>
              </a:cxnLst>
              <a:rect l="0" t="0" r="r" b="b"/>
              <a:pathLst>
                <a:path w="43" h="13">
                  <a:moveTo>
                    <a:pt x="0" y="8"/>
                  </a:moveTo>
                  <a:lnTo>
                    <a:pt x="20" y="13"/>
                  </a:lnTo>
                  <a:lnTo>
                    <a:pt x="41" y="12"/>
                  </a:lnTo>
                  <a:lnTo>
                    <a:pt x="43" y="8"/>
                  </a:lnTo>
                  <a:lnTo>
                    <a:pt x="33" y="10"/>
                  </a:lnTo>
                  <a:lnTo>
                    <a:pt x="33" y="6"/>
                  </a:lnTo>
                  <a:lnTo>
                    <a:pt x="1" y="0"/>
                  </a:lnTo>
                  <a:lnTo>
                    <a:pt x="0" y="8"/>
                  </a:lnTo>
                  <a:lnTo>
                    <a:pt x="0" y="8"/>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19" name="Freeform 5981"/>
            <p:cNvSpPr>
              <a:spLocks/>
            </p:cNvSpPr>
            <p:nvPr>
              <p:custDataLst>
                <p:tags r:id="rId297"/>
              </p:custDataLst>
            </p:nvPr>
          </p:nvSpPr>
          <p:spPr bwMode="gray">
            <a:xfrm>
              <a:off x="7245061" y="3515454"/>
              <a:ext cx="43625" cy="24407"/>
            </a:xfrm>
            <a:custGeom>
              <a:avLst/>
              <a:gdLst/>
              <a:ahLst/>
              <a:cxnLst>
                <a:cxn ang="0">
                  <a:pos x="0" y="12"/>
                </a:cxn>
                <a:cxn ang="0">
                  <a:pos x="4" y="19"/>
                </a:cxn>
                <a:cxn ang="0">
                  <a:pos x="19" y="17"/>
                </a:cxn>
                <a:cxn ang="0">
                  <a:pos x="29" y="13"/>
                </a:cxn>
                <a:cxn ang="0">
                  <a:pos x="27" y="8"/>
                </a:cxn>
                <a:cxn ang="0">
                  <a:pos x="34" y="0"/>
                </a:cxn>
                <a:cxn ang="0">
                  <a:pos x="0" y="12"/>
                </a:cxn>
                <a:cxn ang="0">
                  <a:pos x="0" y="12"/>
                </a:cxn>
              </a:cxnLst>
              <a:rect l="0" t="0" r="r" b="b"/>
              <a:pathLst>
                <a:path w="34" h="19">
                  <a:moveTo>
                    <a:pt x="0" y="12"/>
                  </a:moveTo>
                  <a:lnTo>
                    <a:pt x="4" y="19"/>
                  </a:lnTo>
                  <a:lnTo>
                    <a:pt x="19" y="17"/>
                  </a:lnTo>
                  <a:lnTo>
                    <a:pt x="29" y="13"/>
                  </a:lnTo>
                  <a:lnTo>
                    <a:pt x="27" y="8"/>
                  </a:lnTo>
                  <a:lnTo>
                    <a:pt x="34" y="0"/>
                  </a:lnTo>
                  <a:lnTo>
                    <a:pt x="0" y="12"/>
                  </a:lnTo>
                  <a:lnTo>
                    <a:pt x="0" y="1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20" name="Freeform 5982"/>
            <p:cNvSpPr>
              <a:spLocks/>
            </p:cNvSpPr>
            <p:nvPr>
              <p:custDataLst>
                <p:tags r:id="rId298"/>
              </p:custDataLst>
            </p:nvPr>
          </p:nvSpPr>
          <p:spPr bwMode="gray">
            <a:xfrm>
              <a:off x="6639441" y="343709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21" name="Freeform 5983"/>
            <p:cNvSpPr>
              <a:spLocks/>
            </p:cNvSpPr>
            <p:nvPr>
              <p:custDataLst>
                <p:tags r:id="rId299"/>
              </p:custDataLst>
            </p:nvPr>
          </p:nvSpPr>
          <p:spPr bwMode="gray">
            <a:xfrm>
              <a:off x="6658688" y="3415258"/>
              <a:ext cx="21813" cy="14130"/>
            </a:xfrm>
            <a:custGeom>
              <a:avLst/>
              <a:gdLst/>
              <a:ahLst/>
              <a:cxnLst>
                <a:cxn ang="0">
                  <a:pos x="0" y="5"/>
                </a:cxn>
                <a:cxn ang="0">
                  <a:pos x="12" y="11"/>
                </a:cxn>
                <a:cxn ang="0">
                  <a:pos x="17" y="5"/>
                </a:cxn>
                <a:cxn ang="0">
                  <a:pos x="10" y="0"/>
                </a:cxn>
                <a:cxn ang="0">
                  <a:pos x="0" y="5"/>
                </a:cxn>
                <a:cxn ang="0">
                  <a:pos x="0" y="5"/>
                </a:cxn>
              </a:cxnLst>
              <a:rect l="0" t="0" r="r" b="b"/>
              <a:pathLst>
                <a:path w="17" h="11">
                  <a:moveTo>
                    <a:pt x="0" y="5"/>
                  </a:moveTo>
                  <a:lnTo>
                    <a:pt x="12" y="11"/>
                  </a:lnTo>
                  <a:lnTo>
                    <a:pt x="17" y="5"/>
                  </a:lnTo>
                  <a:lnTo>
                    <a:pt x="10" y="0"/>
                  </a:lnTo>
                  <a:lnTo>
                    <a:pt x="0" y="5"/>
                  </a:lnTo>
                  <a:lnTo>
                    <a:pt x="0" y="5"/>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22" name="Freeform 5984"/>
            <p:cNvSpPr>
              <a:spLocks/>
            </p:cNvSpPr>
            <p:nvPr>
              <p:custDataLst>
                <p:tags r:id="rId300"/>
              </p:custDataLst>
            </p:nvPr>
          </p:nvSpPr>
          <p:spPr bwMode="gray">
            <a:xfrm>
              <a:off x="6693331" y="341525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23" name="Freeform 5985"/>
            <p:cNvSpPr>
              <a:spLocks/>
            </p:cNvSpPr>
            <p:nvPr>
              <p:custDataLst>
                <p:tags r:id="rId301"/>
              </p:custDataLst>
            </p:nvPr>
          </p:nvSpPr>
          <p:spPr bwMode="gray">
            <a:xfrm>
              <a:off x="6846019" y="348976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24" name="Freeform 5986"/>
            <p:cNvSpPr>
              <a:spLocks/>
            </p:cNvSpPr>
            <p:nvPr>
              <p:custDataLst>
                <p:tags r:id="rId302"/>
              </p:custDataLst>
            </p:nvPr>
          </p:nvSpPr>
          <p:spPr bwMode="gray">
            <a:xfrm>
              <a:off x="6894777" y="351160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25" name="Freeform 5987"/>
            <p:cNvSpPr>
              <a:spLocks/>
            </p:cNvSpPr>
            <p:nvPr>
              <p:custDataLst>
                <p:tags r:id="rId303"/>
              </p:custDataLst>
            </p:nvPr>
          </p:nvSpPr>
          <p:spPr bwMode="gray">
            <a:xfrm>
              <a:off x="7012821" y="3456364"/>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26" name="Freeform 5988"/>
            <p:cNvSpPr>
              <a:spLocks/>
            </p:cNvSpPr>
            <p:nvPr>
              <p:custDataLst>
                <p:tags r:id="rId304"/>
              </p:custDataLst>
            </p:nvPr>
          </p:nvSpPr>
          <p:spPr bwMode="gray">
            <a:xfrm>
              <a:off x="7016670" y="346535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27" name="Freeform 5989"/>
            <p:cNvSpPr>
              <a:spLocks/>
            </p:cNvSpPr>
            <p:nvPr>
              <p:custDataLst>
                <p:tags r:id="rId305"/>
              </p:custDataLst>
            </p:nvPr>
          </p:nvSpPr>
          <p:spPr bwMode="gray">
            <a:xfrm>
              <a:off x="7109053" y="349875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28" name="Freeform 5990"/>
            <p:cNvSpPr>
              <a:spLocks/>
            </p:cNvSpPr>
            <p:nvPr>
              <p:custDataLst>
                <p:tags r:id="rId306"/>
              </p:custDataLst>
            </p:nvPr>
          </p:nvSpPr>
          <p:spPr bwMode="gray">
            <a:xfrm>
              <a:off x="7098788" y="341782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29" name="Freeform 5991"/>
            <p:cNvSpPr>
              <a:spLocks/>
            </p:cNvSpPr>
            <p:nvPr>
              <p:custDataLst>
                <p:tags r:id="rId307"/>
              </p:custDataLst>
            </p:nvPr>
          </p:nvSpPr>
          <p:spPr bwMode="gray">
            <a:xfrm>
              <a:off x="6245532" y="367987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30" name="Freeform 5992"/>
            <p:cNvSpPr>
              <a:spLocks/>
            </p:cNvSpPr>
            <p:nvPr>
              <p:custDataLst>
                <p:tags r:id="rId308"/>
              </p:custDataLst>
            </p:nvPr>
          </p:nvSpPr>
          <p:spPr bwMode="gray">
            <a:xfrm>
              <a:off x="6264778" y="3682447"/>
              <a:ext cx="14114" cy="14130"/>
            </a:xfrm>
            <a:custGeom>
              <a:avLst/>
              <a:gdLst/>
              <a:ahLst/>
              <a:cxnLst>
                <a:cxn ang="0">
                  <a:pos x="0" y="5"/>
                </a:cxn>
                <a:cxn ang="0">
                  <a:pos x="4" y="11"/>
                </a:cxn>
                <a:cxn ang="0">
                  <a:pos x="11" y="0"/>
                </a:cxn>
                <a:cxn ang="0">
                  <a:pos x="0" y="5"/>
                </a:cxn>
                <a:cxn ang="0">
                  <a:pos x="0" y="5"/>
                </a:cxn>
              </a:cxnLst>
              <a:rect l="0" t="0" r="r" b="b"/>
              <a:pathLst>
                <a:path w="11" h="11">
                  <a:moveTo>
                    <a:pt x="0" y="5"/>
                  </a:moveTo>
                  <a:lnTo>
                    <a:pt x="4" y="11"/>
                  </a:lnTo>
                  <a:lnTo>
                    <a:pt x="11" y="0"/>
                  </a:lnTo>
                  <a:lnTo>
                    <a:pt x="0" y="5"/>
                  </a:lnTo>
                  <a:lnTo>
                    <a:pt x="0"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31" name="Freeform 5993"/>
            <p:cNvSpPr>
              <a:spLocks/>
            </p:cNvSpPr>
            <p:nvPr>
              <p:custDataLst>
                <p:tags r:id="rId309"/>
              </p:custDataLst>
            </p:nvPr>
          </p:nvSpPr>
          <p:spPr bwMode="gray">
            <a:xfrm>
              <a:off x="6286591" y="3694008"/>
              <a:ext cx="10265" cy="8992"/>
            </a:xfrm>
            <a:custGeom>
              <a:avLst/>
              <a:gdLst/>
              <a:ahLst/>
              <a:cxnLst>
                <a:cxn ang="0">
                  <a:pos x="0" y="2"/>
                </a:cxn>
                <a:cxn ang="0">
                  <a:pos x="2" y="7"/>
                </a:cxn>
                <a:cxn ang="0">
                  <a:pos x="8" y="6"/>
                </a:cxn>
                <a:cxn ang="0">
                  <a:pos x="6" y="0"/>
                </a:cxn>
                <a:cxn ang="0">
                  <a:pos x="0" y="2"/>
                </a:cxn>
                <a:cxn ang="0">
                  <a:pos x="0" y="2"/>
                </a:cxn>
              </a:cxnLst>
              <a:rect l="0" t="0" r="r" b="b"/>
              <a:pathLst>
                <a:path w="8" h="7">
                  <a:moveTo>
                    <a:pt x="0" y="2"/>
                  </a:moveTo>
                  <a:lnTo>
                    <a:pt x="2" y="7"/>
                  </a:lnTo>
                  <a:lnTo>
                    <a:pt x="8" y="6"/>
                  </a:lnTo>
                  <a:lnTo>
                    <a:pt x="6"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32" name="Freeform 5994"/>
            <p:cNvSpPr>
              <a:spLocks/>
            </p:cNvSpPr>
            <p:nvPr>
              <p:custDataLst>
                <p:tags r:id="rId310"/>
              </p:custDataLst>
            </p:nvPr>
          </p:nvSpPr>
          <p:spPr bwMode="gray">
            <a:xfrm>
              <a:off x="6317385" y="3669601"/>
              <a:ext cx="17963" cy="24407"/>
            </a:xfrm>
            <a:custGeom>
              <a:avLst/>
              <a:gdLst/>
              <a:ahLst/>
              <a:cxnLst>
                <a:cxn ang="0">
                  <a:pos x="0" y="19"/>
                </a:cxn>
                <a:cxn ang="0">
                  <a:pos x="6" y="17"/>
                </a:cxn>
                <a:cxn ang="0">
                  <a:pos x="8" y="6"/>
                </a:cxn>
                <a:cxn ang="0">
                  <a:pos x="14" y="0"/>
                </a:cxn>
                <a:cxn ang="0">
                  <a:pos x="0" y="19"/>
                </a:cxn>
                <a:cxn ang="0">
                  <a:pos x="0" y="19"/>
                </a:cxn>
              </a:cxnLst>
              <a:rect l="0" t="0" r="r" b="b"/>
              <a:pathLst>
                <a:path w="14" h="19">
                  <a:moveTo>
                    <a:pt x="0" y="19"/>
                  </a:moveTo>
                  <a:lnTo>
                    <a:pt x="6" y="17"/>
                  </a:lnTo>
                  <a:lnTo>
                    <a:pt x="8" y="6"/>
                  </a:lnTo>
                  <a:lnTo>
                    <a:pt x="14" y="0"/>
                  </a:lnTo>
                  <a:lnTo>
                    <a:pt x="0" y="19"/>
                  </a:lnTo>
                  <a:lnTo>
                    <a:pt x="0" y="19"/>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33" name="Freeform 5998"/>
            <p:cNvSpPr>
              <a:spLocks/>
            </p:cNvSpPr>
            <p:nvPr>
              <p:custDataLst>
                <p:tags r:id="rId311"/>
              </p:custDataLst>
            </p:nvPr>
          </p:nvSpPr>
          <p:spPr bwMode="gray">
            <a:xfrm>
              <a:off x="8884853" y="4616321"/>
              <a:ext cx="823745" cy="670540"/>
            </a:xfrm>
            <a:custGeom>
              <a:avLst/>
              <a:gdLst/>
              <a:ahLst/>
              <a:cxnLst>
                <a:cxn ang="0">
                  <a:pos x="19" y="445"/>
                </a:cxn>
                <a:cxn ang="0">
                  <a:pos x="79" y="427"/>
                </a:cxn>
                <a:cxn ang="0">
                  <a:pos x="146" y="410"/>
                </a:cxn>
                <a:cxn ang="0">
                  <a:pos x="268" y="384"/>
                </a:cxn>
                <a:cxn ang="0">
                  <a:pos x="301" y="410"/>
                </a:cxn>
                <a:cxn ang="0">
                  <a:pos x="311" y="445"/>
                </a:cxn>
                <a:cxn ang="0">
                  <a:pos x="356" y="419"/>
                </a:cxn>
                <a:cxn ang="0">
                  <a:pos x="341" y="449"/>
                </a:cxn>
                <a:cxn ang="0">
                  <a:pos x="356" y="445"/>
                </a:cxn>
                <a:cxn ang="0">
                  <a:pos x="354" y="457"/>
                </a:cxn>
                <a:cxn ang="0">
                  <a:pos x="361" y="479"/>
                </a:cxn>
                <a:cxn ang="0">
                  <a:pos x="369" y="509"/>
                </a:cxn>
                <a:cxn ang="0">
                  <a:pos x="395" y="517"/>
                </a:cxn>
                <a:cxn ang="0">
                  <a:pos x="423" y="509"/>
                </a:cxn>
                <a:cxn ang="0">
                  <a:pos x="429" y="513"/>
                </a:cxn>
                <a:cxn ang="0">
                  <a:pos x="476" y="500"/>
                </a:cxn>
                <a:cxn ang="0">
                  <a:pos x="528" y="460"/>
                </a:cxn>
                <a:cxn ang="0">
                  <a:pos x="635" y="329"/>
                </a:cxn>
                <a:cxn ang="0">
                  <a:pos x="631" y="245"/>
                </a:cxn>
                <a:cxn ang="0">
                  <a:pos x="622" y="219"/>
                </a:cxn>
                <a:cxn ang="0">
                  <a:pos x="607" y="213"/>
                </a:cxn>
                <a:cxn ang="0">
                  <a:pos x="582" y="159"/>
                </a:cxn>
                <a:cxn ang="0">
                  <a:pos x="566" y="119"/>
                </a:cxn>
                <a:cxn ang="0">
                  <a:pos x="562" y="76"/>
                </a:cxn>
                <a:cxn ang="0">
                  <a:pos x="537" y="65"/>
                </a:cxn>
                <a:cxn ang="0">
                  <a:pos x="526" y="0"/>
                </a:cxn>
                <a:cxn ang="0">
                  <a:pos x="496" y="97"/>
                </a:cxn>
                <a:cxn ang="0">
                  <a:pos x="476" y="127"/>
                </a:cxn>
                <a:cxn ang="0">
                  <a:pos x="457" y="114"/>
                </a:cxn>
                <a:cxn ang="0">
                  <a:pos x="418" y="95"/>
                </a:cxn>
                <a:cxn ang="0">
                  <a:pos x="404" y="76"/>
                </a:cxn>
                <a:cxn ang="0">
                  <a:pos x="416" y="46"/>
                </a:cxn>
                <a:cxn ang="0">
                  <a:pos x="434" y="29"/>
                </a:cxn>
                <a:cxn ang="0">
                  <a:pos x="418" y="33"/>
                </a:cxn>
                <a:cxn ang="0">
                  <a:pos x="406" y="28"/>
                </a:cxn>
                <a:cxn ang="0">
                  <a:pos x="365" y="18"/>
                </a:cxn>
                <a:cxn ang="0">
                  <a:pos x="339" y="28"/>
                </a:cxn>
                <a:cxn ang="0">
                  <a:pos x="324" y="50"/>
                </a:cxn>
                <a:cxn ang="0">
                  <a:pos x="305" y="67"/>
                </a:cxn>
                <a:cxn ang="0">
                  <a:pos x="309" y="82"/>
                </a:cxn>
                <a:cxn ang="0">
                  <a:pos x="285" y="82"/>
                </a:cxn>
                <a:cxn ang="0">
                  <a:pos x="275" y="59"/>
                </a:cxn>
                <a:cxn ang="0">
                  <a:pos x="249" y="71"/>
                </a:cxn>
                <a:cxn ang="0">
                  <a:pos x="219" y="103"/>
                </a:cxn>
                <a:cxn ang="0">
                  <a:pos x="208" y="108"/>
                </a:cxn>
                <a:cxn ang="0">
                  <a:pos x="202" y="123"/>
                </a:cxn>
                <a:cxn ang="0">
                  <a:pos x="183" y="121"/>
                </a:cxn>
                <a:cxn ang="0">
                  <a:pos x="155" y="164"/>
                </a:cxn>
                <a:cxn ang="0">
                  <a:pos x="43" y="213"/>
                </a:cxn>
                <a:cxn ang="0">
                  <a:pos x="30" y="219"/>
                </a:cxn>
                <a:cxn ang="0">
                  <a:pos x="22" y="241"/>
                </a:cxn>
                <a:cxn ang="0">
                  <a:pos x="19" y="273"/>
                </a:cxn>
                <a:cxn ang="0">
                  <a:pos x="13" y="282"/>
                </a:cxn>
                <a:cxn ang="0">
                  <a:pos x="26" y="385"/>
                </a:cxn>
                <a:cxn ang="0">
                  <a:pos x="4" y="419"/>
                </a:cxn>
                <a:cxn ang="0">
                  <a:pos x="0" y="430"/>
                </a:cxn>
              </a:cxnLst>
              <a:rect l="0" t="0" r="r" b="b"/>
              <a:pathLst>
                <a:path w="642" h="522">
                  <a:moveTo>
                    <a:pt x="0" y="430"/>
                  </a:moveTo>
                  <a:lnTo>
                    <a:pt x="19" y="445"/>
                  </a:lnTo>
                  <a:lnTo>
                    <a:pt x="45" y="445"/>
                  </a:lnTo>
                  <a:lnTo>
                    <a:pt x="79" y="427"/>
                  </a:lnTo>
                  <a:lnTo>
                    <a:pt x="133" y="425"/>
                  </a:lnTo>
                  <a:lnTo>
                    <a:pt x="146" y="410"/>
                  </a:lnTo>
                  <a:lnTo>
                    <a:pt x="185" y="393"/>
                  </a:lnTo>
                  <a:lnTo>
                    <a:pt x="268" y="384"/>
                  </a:lnTo>
                  <a:lnTo>
                    <a:pt x="307" y="402"/>
                  </a:lnTo>
                  <a:lnTo>
                    <a:pt x="301" y="410"/>
                  </a:lnTo>
                  <a:lnTo>
                    <a:pt x="311" y="414"/>
                  </a:lnTo>
                  <a:lnTo>
                    <a:pt x="311" y="445"/>
                  </a:lnTo>
                  <a:lnTo>
                    <a:pt x="360" y="406"/>
                  </a:lnTo>
                  <a:lnTo>
                    <a:pt x="356" y="419"/>
                  </a:lnTo>
                  <a:lnTo>
                    <a:pt x="328" y="451"/>
                  </a:lnTo>
                  <a:lnTo>
                    <a:pt x="341" y="449"/>
                  </a:lnTo>
                  <a:lnTo>
                    <a:pt x="354" y="432"/>
                  </a:lnTo>
                  <a:lnTo>
                    <a:pt x="356" y="445"/>
                  </a:lnTo>
                  <a:lnTo>
                    <a:pt x="343" y="459"/>
                  </a:lnTo>
                  <a:lnTo>
                    <a:pt x="354" y="457"/>
                  </a:lnTo>
                  <a:lnTo>
                    <a:pt x="360" y="462"/>
                  </a:lnTo>
                  <a:lnTo>
                    <a:pt x="361" y="479"/>
                  </a:lnTo>
                  <a:lnTo>
                    <a:pt x="356" y="488"/>
                  </a:lnTo>
                  <a:lnTo>
                    <a:pt x="369" y="509"/>
                  </a:lnTo>
                  <a:lnTo>
                    <a:pt x="388" y="509"/>
                  </a:lnTo>
                  <a:lnTo>
                    <a:pt x="395" y="517"/>
                  </a:lnTo>
                  <a:lnTo>
                    <a:pt x="427" y="498"/>
                  </a:lnTo>
                  <a:lnTo>
                    <a:pt x="423" y="509"/>
                  </a:lnTo>
                  <a:lnTo>
                    <a:pt x="433" y="505"/>
                  </a:lnTo>
                  <a:lnTo>
                    <a:pt x="429" y="513"/>
                  </a:lnTo>
                  <a:lnTo>
                    <a:pt x="436" y="522"/>
                  </a:lnTo>
                  <a:lnTo>
                    <a:pt x="476" y="500"/>
                  </a:lnTo>
                  <a:lnTo>
                    <a:pt x="506" y="492"/>
                  </a:lnTo>
                  <a:lnTo>
                    <a:pt x="528" y="460"/>
                  </a:lnTo>
                  <a:lnTo>
                    <a:pt x="611" y="372"/>
                  </a:lnTo>
                  <a:lnTo>
                    <a:pt x="635" y="329"/>
                  </a:lnTo>
                  <a:lnTo>
                    <a:pt x="642" y="282"/>
                  </a:lnTo>
                  <a:lnTo>
                    <a:pt x="631" y="245"/>
                  </a:lnTo>
                  <a:lnTo>
                    <a:pt x="622" y="236"/>
                  </a:lnTo>
                  <a:lnTo>
                    <a:pt x="622" y="219"/>
                  </a:lnTo>
                  <a:lnTo>
                    <a:pt x="611" y="207"/>
                  </a:lnTo>
                  <a:lnTo>
                    <a:pt x="607" y="213"/>
                  </a:lnTo>
                  <a:lnTo>
                    <a:pt x="599" y="176"/>
                  </a:lnTo>
                  <a:lnTo>
                    <a:pt x="582" y="159"/>
                  </a:lnTo>
                  <a:lnTo>
                    <a:pt x="566" y="151"/>
                  </a:lnTo>
                  <a:lnTo>
                    <a:pt x="566" y="119"/>
                  </a:lnTo>
                  <a:lnTo>
                    <a:pt x="560" y="106"/>
                  </a:lnTo>
                  <a:lnTo>
                    <a:pt x="562" y="76"/>
                  </a:lnTo>
                  <a:lnTo>
                    <a:pt x="552" y="65"/>
                  </a:lnTo>
                  <a:lnTo>
                    <a:pt x="537" y="65"/>
                  </a:lnTo>
                  <a:lnTo>
                    <a:pt x="532" y="5"/>
                  </a:lnTo>
                  <a:lnTo>
                    <a:pt x="526" y="0"/>
                  </a:lnTo>
                  <a:lnTo>
                    <a:pt x="519" y="9"/>
                  </a:lnTo>
                  <a:lnTo>
                    <a:pt x="496" y="97"/>
                  </a:lnTo>
                  <a:lnTo>
                    <a:pt x="485" y="123"/>
                  </a:lnTo>
                  <a:lnTo>
                    <a:pt x="476" y="127"/>
                  </a:lnTo>
                  <a:lnTo>
                    <a:pt x="466" y="131"/>
                  </a:lnTo>
                  <a:lnTo>
                    <a:pt x="457" y="114"/>
                  </a:lnTo>
                  <a:lnTo>
                    <a:pt x="431" y="95"/>
                  </a:lnTo>
                  <a:lnTo>
                    <a:pt x="418" y="95"/>
                  </a:lnTo>
                  <a:lnTo>
                    <a:pt x="416" y="86"/>
                  </a:lnTo>
                  <a:lnTo>
                    <a:pt x="404" y="76"/>
                  </a:lnTo>
                  <a:lnTo>
                    <a:pt x="414" y="63"/>
                  </a:lnTo>
                  <a:lnTo>
                    <a:pt x="416" y="46"/>
                  </a:lnTo>
                  <a:lnTo>
                    <a:pt x="425" y="46"/>
                  </a:lnTo>
                  <a:lnTo>
                    <a:pt x="434" y="29"/>
                  </a:lnTo>
                  <a:lnTo>
                    <a:pt x="427" y="24"/>
                  </a:lnTo>
                  <a:lnTo>
                    <a:pt x="418" y="33"/>
                  </a:lnTo>
                  <a:lnTo>
                    <a:pt x="416" y="24"/>
                  </a:lnTo>
                  <a:lnTo>
                    <a:pt x="406" y="28"/>
                  </a:lnTo>
                  <a:lnTo>
                    <a:pt x="361" y="11"/>
                  </a:lnTo>
                  <a:lnTo>
                    <a:pt x="365" y="18"/>
                  </a:lnTo>
                  <a:lnTo>
                    <a:pt x="360" y="28"/>
                  </a:lnTo>
                  <a:lnTo>
                    <a:pt x="339" y="28"/>
                  </a:lnTo>
                  <a:lnTo>
                    <a:pt x="328" y="35"/>
                  </a:lnTo>
                  <a:lnTo>
                    <a:pt x="324" y="50"/>
                  </a:lnTo>
                  <a:lnTo>
                    <a:pt x="316" y="52"/>
                  </a:lnTo>
                  <a:lnTo>
                    <a:pt x="305" y="67"/>
                  </a:lnTo>
                  <a:lnTo>
                    <a:pt x="313" y="74"/>
                  </a:lnTo>
                  <a:lnTo>
                    <a:pt x="309" y="82"/>
                  </a:lnTo>
                  <a:lnTo>
                    <a:pt x="294" y="74"/>
                  </a:lnTo>
                  <a:lnTo>
                    <a:pt x="285" y="82"/>
                  </a:lnTo>
                  <a:lnTo>
                    <a:pt x="281" y="67"/>
                  </a:lnTo>
                  <a:lnTo>
                    <a:pt x="275" y="59"/>
                  </a:lnTo>
                  <a:lnTo>
                    <a:pt x="266" y="58"/>
                  </a:lnTo>
                  <a:lnTo>
                    <a:pt x="249" y="71"/>
                  </a:lnTo>
                  <a:lnTo>
                    <a:pt x="240" y="71"/>
                  </a:lnTo>
                  <a:lnTo>
                    <a:pt x="219" y="103"/>
                  </a:lnTo>
                  <a:lnTo>
                    <a:pt x="212" y="99"/>
                  </a:lnTo>
                  <a:lnTo>
                    <a:pt x="208" y="108"/>
                  </a:lnTo>
                  <a:lnTo>
                    <a:pt x="212" y="114"/>
                  </a:lnTo>
                  <a:lnTo>
                    <a:pt x="202" y="123"/>
                  </a:lnTo>
                  <a:lnTo>
                    <a:pt x="198" y="104"/>
                  </a:lnTo>
                  <a:lnTo>
                    <a:pt x="183" y="121"/>
                  </a:lnTo>
                  <a:lnTo>
                    <a:pt x="183" y="136"/>
                  </a:lnTo>
                  <a:lnTo>
                    <a:pt x="155" y="164"/>
                  </a:lnTo>
                  <a:lnTo>
                    <a:pt x="77" y="185"/>
                  </a:lnTo>
                  <a:lnTo>
                    <a:pt x="43" y="213"/>
                  </a:lnTo>
                  <a:lnTo>
                    <a:pt x="39" y="204"/>
                  </a:lnTo>
                  <a:lnTo>
                    <a:pt x="30" y="219"/>
                  </a:lnTo>
                  <a:lnTo>
                    <a:pt x="30" y="234"/>
                  </a:lnTo>
                  <a:lnTo>
                    <a:pt x="22" y="241"/>
                  </a:lnTo>
                  <a:lnTo>
                    <a:pt x="26" y="288"/>
                  </a:lnTo>
                  <a:lnTo>
                    <a:pt x="19" y="273"/>
                  </a:lnTo>
                  <a:lnTo>
                    <a:pt x="19" y="290"/>
                  </a:lnTo>
                  <a:lnTo>
                    <a:pt x="13" y="282"/>
                  </a:lnTo>
                  <a:lnTo>
                    <a:pt x="26" y="337"/>
                  </a:lnTo>
                  <a:lnTo>
                    <a:pt x="26" y="385"/>
                  </a:lnTo>
                  <a:lnTo>
                    <a:pt x="17" y="414"/>
                  </a:lnTo>
                  <a:lnTo>
                    <a:pt x="4" y="419"/>
                  </a:lnTo>
                  <a:lnTo>
                    <a:pt x="0" y="430"/>
                  </a:lnTo>
                  <a:lnTo>
                    <a:pt x="0" y="43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34" name="Freeform 5999"/>
            <p:cNvSpPr>
              <a:spLocks/>
            </p:cNvSpPr>
            <p:nvPr>
              <p:custDataLst>
                <p:tags r:id="rId312"/>
              </p:custDataLst>
            </p:nvPr>
          </p:nvSpPr>
          <p:spPr bwMode="gray">
            <a:xfrm>
              <a:off x="9290311" y="5205934"/>
              <a:ext cx="29511" cy="8992"/>
            </a:xfrm>
            <a:custGeom>
              <a:avLst/>
              <a:gdLst/>
              <a:ahLst/>
              <a:cxnLst>
                <a:cxn ang="0">
                  <a:pos x="0" y="3"/>
                </a:cxn>
                <a:cxn ang="0">
                  <a:pos x="2" y="7"/>
                </a:cxn>
                <a:cxn ang="0">
                  <a:pos x="14" y="7"/>
                </a:cxn>
                <a:cxn ang="0">
                  <a:pos x="23" y="3"/>
                </a:cxn>
                <a:cxn ang="0">
                  <a:pos x="15" y="0"/>
                </a:cxn>
                <a:cxn ang="0">
                  <a:pos x="0" y="3"/>
                </a:cxn>
                <a:cxn ang="0">
                  <a:pos x="0" y="3"/>
                </a:cxn>
              </a:cxnLst>
              <a:rect l="0" t="0" r="r" b="b"/>
              <a:pathLst>
                <a:path w="23" h="7">
                  <a:moveTo>
                    <a:pt x="0" y="3"/>
                  </a:moveTo>
                  <a:lnTo>
                    <a:pt x="2" y="7"/>
                  </a:lnTo>
                  <a:lnTo>
                    <a:pt x="14" y="7"/>
                  </a:lnTo>
                  <a:lnTo>
                    <a:pt x="23" y="3"/>
                  </a:lnTo>
                  <a:lnTo>
                    <a:pt x="15" y="0"/>
                  </a:lnTo>
                  <a:lnTo>
                    <a:pt x="0" y="3"/>
                  </a:lnTo>
                  <a:lnTo>
                    <a:pt x="0" y="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35" name="Freeform 6000"/>
            <p:cNvSpPr>
              <a:spLocks/>
            </p:cNvSpPr>
            <p:nvPr>
              <p:custDataLst>
                <p:tags r:id="rId313"/>
              </p:custDataLst>
            </p:nvPr>
          </p:nvSpPr>
          <p:spPr bwMode="gray">
            <a:xfrm>
              <a:off x="9377561" y="5322829"/>
              <a:ext cx="79552" cy="68082"/>
            </a:xfrm>
            <a:custGeom>
              <a:avLst/>
              <a:gdLst/>
              <a:ahLst/>
              <a:cxnLst>
                <a:cxn ang="0">
                  <a:pos x="13" y="0"/>
                </a:cxn>
                <a:cxn ang="0">
                  <a:pos x="0" y="42"/>
                </a:cxn>
                <a:cxn ang="0">
                  <a:pos x="4" y="51"/>
                </a:cxn>
                <a:cxn ang="0">
                  <a:pos x="11" y="53"/>
                </a:cxn>
                <a:cxn ang="0">
                  <a:pos x="30" y="40"/>
                </a:cxn>
                <a:cxn ang="0">
                  <a:pos x="34" y="45"/>
                </a:cxn>
                <a:cxn ang="0">
                  <a:pos x="62" y="6"/>
                </a:cxn>
                <a:cxn ang="0">
                  <a:pos x="28" y="10"/>
                </a:cxn>
                <a:cxn ang="0">
                  <a:pos x="13" y="0"/>
                </a:cxn>
                <a:cxn ang="0">
                  <a:pos x="13" y="0"/>
                </a:cxn>
              </a:cxnLst>
              <a:rect l="0" t="0" r="r" b="b"/>
              <a:pathLst>
                <a:path w="62" h="53">
                  <a:moveTo>
                    <a:pt x="13" y="0"/>
                  </a:moveTo>
                  <a:lnTo>
                    <a:pt x="0" y="42"/>
                  </a:lnTo>
                  <a:lnTo>
                    <a:pt x="4" y="51"/>
                  </a:lnTo>
                  <a:lnTo>
                    <a:pt x="11" y="53"/>
                  </a:lnTo>
                  <a:lnTo>
                    <a:pt x="30" y="40"/>
                  </a:lnTo>
                  <a:lnTo>
                    <a:pt x="34" y="45"/>
                  </a:lnTo>
                  <a:lnTo>
                    <a:pt x="62" y="6"/>
                  </a:lnTo>
                  <a:lnTo>
                    <a:pt x="28" y="10"/>
                  </a:lnTo>
                  <a:lnTo>
                    <a:pt x="13" y="0"/>
                  </a:lnTo>
                  <a:lnTo>
                    <a:pt x="13"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36" name="Freeform 6001"/>
            <p:cNvSpPr>
              <a:spLocks/>
            </p:cNvSpPr>
            <p:nvPr>
              <p:custDataLst>
                <p:tags r:id="rId314"/>
              </p:custDataLst>
            </p:nvPr>
          </p:nvSpPr>
          <p:spPr bwMode="gray">
            <a:xfrm>
              <a:off x="9958802" y="5176389"/>
              <a:ext cx="129592" cy="165708"/>
            </a:xfrm>
            <a:custGeom>
              <a:avLst/>
              <a:gdLst/>
              <a:ahLst/>
              <a:cxnLst>
                <a:cxn ang="0">
                  <a:pos x="10" y="90"/>
                </a:cxn>
                <a:cxn ang="0">
                  <a:pos x="21" y="101"/>
                </a:cxn>
                <a:cxn ang="0">
                  <a:pos x="0" y="126"/>
                </a:cxn>
                <a:cxn ang="0">
                  <a:pos x="4" y="129"/>
                </a:cxn>
                <a:cxn ang="0">
                  <a:pos x="15" y="127"/>
                </a:cxn>
                <a:cxn ang="0">
                  <a:pos x="62" y="88"/>
                </a:cxn>
                <a:cxn ang="0">
                  <a:pos x="88" y="75"/>
                </a:cxn>
                <a:cxn ang="0">
                  <a:pos x="101" y="60"/>
                </a:cxn>
                <a:cxn ang="0">
                  <a:pos x="96" y="56"/>
                </a:cxn>
                <a:cxn ang="0">
                  <a:pos x="79" y="66"/>
                </a:cxn>
                <a:cxn ang="0">
                  <a:pos x="64" y="60"/>
                </a:cxn>
                <a:cxn ang="0">
                  <a:pos x="71" y="43"/>
                </a:cxn>
                <a:cxn ang="0">
                  <a:pos x="66" y="39"/>
                </a:cxn>
                <a:cxn ang="0">
                  <a:pos x="60" y="51"/>
                </a:cxn>
                <a:cxn ang="0">
                  <a:pos x="54" y="47"/>
                </a:cxn>
                <a:cxn ang="0">
                  <a:pos x="62" y="17"/>
                </a:cxn>
                <a:cxn ang="0">
                  <a:pos x="60" y="11"/>
                </a:cxn>
                <a:cxn ang="0">
                  <a:pos x="53" y="9"/>
                </a:cxn>
                <a:cxn ang="0">
                  <a:pos x="49" y="0"/>
                </a:cxn>
                <a:cxn ang="0">
                  <a:pos x="47" y="45"/>
                </a:cxn>
                <a:cxn ang="0">
                  <a:pos x="54" y="47"/>
                </a:cxn>
                <a:cxn ang="0">
                  <a:pos x="28" y="81"/>
                </a:cxn>
                <a:cxn ang="0">
                  <a:pos x="10" y="90"/>
                </a:cxn>
                <a:cxn ang="0">
                  <a:pos x="10" y="90"/>
                </a:cxn>
              </a:cxnLst>
              <a:rect l="0" t="0" r="r" b="b"/>
              <a:pathLst>
                <a:path w="101" h="129">
                  <a:moveTo>
                    <a:pt x="10" y="90"/>
                  </a:moveTo>
                  <a:lnTo>
                    <a:pt x="21" y="101"/>
                  </a:lnTo>
                  <a:lnTo>
                    <a:pt x="0" y="126"/>
                  </a:lnTo>
                  <a:lnTo>
                    <a:pt x="4" y="129"/>
                  </a:lnTo>
                  <a:lnTo>
                    <a:pt x="15" y="127"/>
                  </a:lnTo>
                  <a:lnTo>
                    <a:pt x="62" y="88"/>
                  </a:lnTo>
                  <a:lnTo>
                    <a:pt x="88" y="75"/>
                  </a:lnTo>
                  <a:lnTo>
                    <a:pt x="101" y="60"/>
                  </a:lnTo>
                  <a:lnTo>
                    <a:pt x="96" y="56"/>
                  </a:lnTo>
                  <a:lnTo>
                    <a:pt x="79" y="66"/>
                  </a:lnTo>
                  <a:lnTo>
                    <a:pt x="64" y="60"/>
                  </a:lnTo>
                  <a:lnTo>
                    <a:pt x="71" y="43"/>
                  </a:lnTo>
                  <a:lnTo>
                    <a:pt x="66" y="39"/>
                  </a:lnTo>
                  <a:lnTo>
                    <a:pt x="60" y="51"/>
                  </a:lnTo>
                  <a:lnTo>
                    <a:pt x="54" y="47"/>
                  </a:lnTo>
                  <a:lnTo>
                    <a:pt x="62" y="17"/>
                  </a:lnTo>
                  <a:lnTo>
                    <a:pt x="60" y="11"/>
                  </a:lnTo>
                  <a:lnTo>
                    <a:pt x="53" y="9"/>
                  </a:lnTo>
                  <a:lnTo>
                    <a:pt x="49" y="0"/>
                  </a:lnTo>
                  <a:lnTo>
                    <a:pt x="47" y="45"/>
                  </a:lnTo>
                  <a:lnTo>
                    <a:pt x="54" y="47"/>
                  </a:lnTo>
                  <a:lnTo>
                    <a:pt x="28" y="81"/>
                  </a:lnTo>
                  <a:lnTo>
                    <a:pt x="10" y="90"/>
                  </a:lnTo>
                  <a:lnTo>
                    <a:pt x="10" y="9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37" name="Freeform 6002"/>
            <p:cNvSpPr>
              <a:spLocks/>
            </p:cNvSpPr>
            <p:nvPr>
              <p:custDataLst>
                <p:tags r:id="rId315"/>
              </p:custDataLst>
            </p:nvPr>
          </p:nvSpPr>
          <p:spPr bwMode="gray">
            <a:xfrm>
              <a:off x="9723996" y="5322829"/>
              <a:ext cx="225824" cy="140017"/>
            </a:xfrm>
            <a:custGeom>
              <a:avLst/>
              <a:gdLst/>
              <a:ahLst/>
              <a:cxnLst>
                <a:cxn ang="0">
                  <a:pos x="0" y="96"/>
                </a:cxn>
                <a:cxn ang="0">
                  <a:pos x="0" y="100"/>
                </a:cxn>
                <a:cxn ang="0">
                  <a:pos x="11" y="100"/>
                </a:cxn>
                <a:cxn ang="0">
                  <a:pos x="11" y="105"/>
                </a:cxn>
                <a:cxn ang="0">
                  <a:pos x="24" y="109"/>
                </a:cxn>
                <a:cxn ang="0">
                  <a:pos x="48" y="101"/>
                </a:cxn>
                <a:cxn ang="0">
                  <a:pos x="93" y="68"/>
                </a:cxn>
                <a:cxn ang="0">
                  <a:pos x="125" y="57"/>
                </a:cxn>
                <a:cxn ang="0">
                  <a:pos x="129" y="45"/>
                </a:cxn>
                <a:cxn ang="0">
                  <a:pos x="170" y="21"/>
                </a:cxn>
                <a:cxn ang="0">
                  <a:pos x="176" y="12"/>
                </a:cxn>
                <a:cxn ang="0">
                  <a:pos x="172" y="10"/>
                </a:cxn>
                <a:cxn ang="0">
                  <a:pos x="174" y="4"/>
                </a:cxn>
                <a:cxn ang="0">
                  <a:pos x="159" y="12"/>
                </a:cxn>
                <a:cxn ang="0">
                  <a:pos x="164" y="4"/>
                </a:cxn>
                <a:cxn ang="0">
                  <a:pos x="159" y="0"/>
                </a:cxn>
                <a:cxn ang="0">
                  <a:pos x="149" y="4"/>
                </a:cxn>
                <a:cxn ang="0">
                  <a:pos x="110" y="36"/>
                </a:cxn>
                <a:cxn ang="0">
                  <a:pos x="52" y="62"/>
                </a:cxn>
                <a:cxn ang="0">
                  <a:pos x="0" y="96"/>
                </a:cxn>
                <a:cxn ang="0">
                  <a:pos x="0" y="96"/>
                </a:cxn>
              </a:cxnLst>
              <a:rect l="0" t="0" r="r" b="b"/>
              <a:pathLst>
                <a:path w="176" h="109">
                  <a:moveTo>
                    <a:pt x="0" y="96"/>
                  </a:moveTo>
                  <a:lnTo>
                    <a:pt x="0" y="100"/>
                  </a:lnTo>
                  <a:lnTo>
                    <a:pt x="11" y="100"/>
                  </a:lnTo>
                  <a:lnTo>
                    <a:pt x="11" y="105"/>
                  </a:lnTo>
                  <a:lnTo>
                    <a:pt x="24" y="109"/>
                  </a:lnTo>
                  <a:lnTo>
                    <a:pt x="48" y="101"/>
                  </a:lnTo>
                  <a:lnTo>
                    <a:pt x="93" y="68"/>
                  </a:lnTo>
                  <a:lnTo>
                    <a:pt x="125" y="57"/>
                  </a:lnTo>
                  <a:lnTo>
                    <a:pt x="129" y="45"/>
                  </a:lnTo>
                  <a:lnTo>
                    <a:pt x="170" y="21"/>
                  </a:lnTo>
                  <a:lnTo>
                    <a:pt x="176" y="12"/>
                  </a:lnTo>
                  <a:lnTo>
                    <a:pt x="172" y="10"/>
                  </a:lnTo>
                  <a:lnTo>
                    <a:pt x="174" y="4"/>
                  </a:lnTo>
                  <a:lnTo>
                    <a:pt x="159" y="12"/>
                  </a:lnTo>
                  <a:lnTo>
                    <a:pt x="164" y="4"/>
                  </a:lnTo>
                  <a:lnTo>
                    <a:pt x="159" y="0"/>
                  </a:lnTo>
                  <a:lnTo>
                    <a:pt x="149" y="4"/>
                  </a:lnTo>
                  <a:lnTo>
                    <a:pt x="110" y="36"/>
                  </a:lnTo>
                  <a:lnTo>
                    <a:pt x="52" y="62"/>
                  </a:lnTo>
                  <a:lnTo>
                    <a:pt x="0" y="96"/>
                  </a:lnTo>
                  <a:lnTo>
                    <a:pt x="0" y="96"/>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38" name="Freeform 6003"/>
            <p:cNvSpPr>
              <a:spLocks/>
            </p:cNvSpPr>
            <p:nvPr>
              <p:custDataLst>
                <p:tags r:id="rId316"/>
              </p:custDataLst>
            </p:nvPr>
          </p:nvSpPr>
          <p:spPr bwMode="gray">
            <a:xfrm>
              <a:off x="9718863" y="5462846"/>
              <a:ext cx="19246" cy="16699"/>
            </a:xfrm>
            <a:custGeom>
              <a:avLst/>
              <a:gdLst/>
              <a:ahLst/>
              <a:cxnLst>
                <a:cxn ang="0">
                  <a:pos x="0" y="13"/>
                </a:cxn>
                <a:cxn ang="0">
                  <a:pos x="13" y="7"/>
                </a:cxn>
                <a:cxn ang="0">
                  <a:pos x="15" y="0"/>
                </a:cxn>
                <a:cxn ang="0">
                  <a:pos x="0" y="13"/>
                </a:cxn>
                <a:cxn ang="0">
                  <a:pos x="0" y="13"/>
                </a:cxn>
              </a:cxnLst>
              <a:rect l="0" t="0" r="r" b="b"/>
              <a:pathLst>
                <a:path w="15" h="13">
                  <a:moveTo>
                    <a:pt x="0" y="13"/>
                  </a:moveTo>
                  <a:lnTo>
                    <a:pt x="13" y="7"/>
                  </a:lnTo>
                  <a:lnTo>
                    <a:pt x="15" y="0"/>
                  </a:lnTo>
                  <a:lnTo>
                    <a:pt x="0" y="13"/>
                  </a:lnTo>
                  <a:lnTo>
                    <a:pt x="0" y="13"/>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39" name="Freeform 6004"/>
            <p:cNvSpPr>
              <a:spLocks/>
            </p:cNvSpPr>
            <p:nvPr>
              <p:custDataLst>
                <p:tags r:id="rId317"/>
              </p:custDataLst>
            </p:nvPr>
          </p:nvSpPr>
          <p:spPr bwMode="gray">
            <a:xfrm>
              <a:off x="8587176" y="4225815"/>
              <a:ext cx="228390" cy="269757"/>
            </a:xfrm>
            <a:custGeom>
              <a:avLst/>
              <a:gdLst/>
              <a:ahLst/>
              <a:cxnLst>
                <a:cxn ang="0">
                  <a:pos x="0" y="0"/>
                </a:cxn>
                <a:cxn ang="0">
                  <a:pos x="5" y="17"/>
                </a:cxn>
                <a:cxn ang="0">
                  <a:pos x="26" y="36"/>
                </a:cxn>
                <a:cxn ang="0">
                  <a:pos x="41" y="60"/>
                </a:cxn>
                <a:cxn ang="0">
                  <a:pos x="58" y="71"/>
                </a:cxn>
                <a:cxn ang="0">
                  <a:pos x="65" y="99"/>
                </a:cxn>
                <a:cxn ang="0">
                  <a:pos x="84" y="118"/>
                </a:cxn>
                <a:cxn ang="0">
                  <a:pos x="91" y="142"/>
                </a:cxn>
                <a:cxn ang="0">
                  <a:pos x="105" y="163"/>
                </a:cxn>
                <a:cxn ang="0">
                  <a:pos x="148" y="208"/>
                </a:cxn>
                <a:cxn ang="0">
                  <a:pos x="153" y="210"/>
                </a:cxn>
                <a:cxn ang="0">
                  <a:pos x="163" y="206"/>
                </a:cxn>
                <a:cxn ang="0">
                  <a:pos x="168" y="210"/>
                </a:cxn>
                <a:cxn ang="0">
                  <a:pos x="178" y="159"/>
                </a:cxn>
                <a:cxn ang="0">
                  <a:pos x="168" y="148"/>
                </a:cxn>
                <a:cxn ang="0">
                  <a:pos x="159" y="148"/>
                </a:cxn>
                <a:cxn ang="0">
                  <a:pos x="149" y="124"/>
                </a:cxn>
                <a:cxn ang="0">
                  <a:pos x="140" y="124"/>
                </a:cxn>
                <a:cxn ang="0">
                  <a:pos x="134" y="118"/>
                </a:cxn>
                <a:cxn ang="0">
                  <a:pos x="140" y="101"/>
                </a:cxn>
                <a:cxn ang="0">
                  <a:pos x="127" y="94"/>
                </a:cxn>
                <a:cxn ang="0">
                  <a:pos x="127" y="84"/>
                </a:cxn>
                <a:cxn ang="0">
                  <a:pos x="97" y="62"/>
                </a:cxn>
                <a:cxn ang="0">
                  <a:pos x="90" y="64"/>
                </a:cxn>
                <a:cxn ang="0">
                  <a:pos x="35" y="8"/>
                </a:cxn>
                <a:cxn ang="0">
                  <a:pos x="0" y="0"/>
                </a:cxn>
                <a:cxn ang="0">
                  <a:pos x="0" y="0"/>
                </a:cxn>
              </a:cxnLst>
              <a:rect l="0" t="0" r="r" b="b"/>
              <a:pathLst>
                <a:path w="178" h="210">
                  <a:moveTo>
                    <a:pt x="0" y="0"/>
                  </a:moveTo>
                  <a:lnTo>
                    <a:pt x="5" y="17"/>
                  </a:lnTo>
                  <a:lnTo>
                    <a:pt x="26" y="36"/>
                  </a:lnTo>
                  <a:lnTo>
                    <a:pt x="41" y="60"/>
                  </a:lnTo>
                  <a:lnTo>
                    <a:pt x="58" y="71"/>
                  </a:lnTo>
                  <a:lnTo>
                    <a:pt x="65" y="99"/>
                  </a:lnTo>
                  <a:lnTo>
                    <a:pt x="84" y="118"/>
                  </a:lnTo>
                  <a:lnTo>
                    <a:pt x="91" y="142"/>
                  </a:lnTo>
                  <a:lnTo>
                    <a:pt x="105" y="163"/>
                  </a:lnTo>
                  <a:lnTo>
                    <a:pt x="148" y="208"/>
                  </a:lnTo>
                  <a:lnTo>
                    <a:pt x="153" y="210"/>
                  </a:lnTo>
                  <a:lnTo>
                    <a:pt x="163" y="206"/>
                  </a:lnTo>
                  <a:lnTo>
                    <a:pt x="168" y="210"/>
                  </a:lnTo>
                  <a:lnTo>
                    <a:pt x="178" y="159"/>
                  </a:lnTo>
                  <a:lnTo>
                    <a:pt x="168" y="148"/>
                  </a:lnTo>
                  <a:lnTo>
                    <a:pt x="159" y="148"/>
                  </a:lnTo>
                  <a:lnTo>
                    <a:pt x="149" y="124"/>
                  </a:lnTo>
                  <a:lnTo>
                    <a:pt x="140" y="124"/>
                  </a:lnTo>
                  <a:lnTo>
                    <a:pt x="134" y="118"/>
                  </a:lnTo>
                  <a:lnTo>
                    <a:pt x="140" y="101"/>
                  </a:lnTo>
                  <a:lnTo>
                    <a:pt x="127" y="94"/>
                  </a:lnTo>
                  <a:lnTo>
                    <a:pt x="127" y="84"/>
                  </a:lnTo>
                  <a:lnTo>
                    <a:pt x="97" y="62"/>
                  </a:lnTo>
                  <a:lnTo>
                    <a:pt x="90" y="64"/>
                  </a:lnTo>
                  <a:lnTo>
                    <a:pt x="35" y="8"/>
                  </a:lnTo>
                  <a:lnTo>
                    <a:pt x="0" y="0"/>
                  </a:lnTo>
                  <a:lnTo>
                    <a:pt x="0"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endParaRPr lang="en-GB" kern="0" dirty="0">
                <a:solidFill>
                  <a:sysClr val="windowText" lastClr="000000"/>
                </a:solidFill>
              </a:endParaRPr>
            </a:p>
          </p:txBody>
        </p:sp>
        <p:sp>
          <p:nvSpPr>
            <p:cNvPr id="840" name="Freeform 6005"/>
            <p:cNvSpPr>
              <a:spLocks/>
            </p:cNvSpPr>
            <p:nvPr>
              <p:custDataLst>
                <p:tags r:id="rId318"/>
              </p:custDataLst>
            </p:nvPr>
          </p:nvSpPr>
          <p:spPr bwMode="gray">
            <a:xfrm>
              <a:off x="8796320" y="4498142"/>
              <a:ext cx="184765" cy="64228"/>
            </a:xfrm>
            <a:custGeom>
              <a:avLst/>
              <a:gdLst/>
              <a:ahLst/>
              <a:cxnLst>
                <a:cxn ang="0">
                  <a:pos x="0" y="15"/>
                </a:cxn>
                <a:cxn ang="0">
                  <a:pos x="41" y="33"/>
                </a:cxn>
                <a:cxn ang="0">
                  <a:pos x="67" y="33"/>
                </a:cxn>
                <a:cxn ang="0">
                  <a:pos x="112" y="47"/>
                </a:cxn>
                <a:cxn ang="0">
                  <a:pos x="121" y="43"/>
                </a:cxn>
                <a:cxn ang="0">
                  <a:pos x="144" y="50"/>
                </a:cxn>
                <a:cxn ang="0">
                  <a:pos x="144" y="33"/>
                </a:cxn>
                <a:cxn ang="0">
                  <a:pos x="119" y="32"/>
                </a:cxn>
                <a:cxn ang="0">
                  <a:pos x="114" y="18"/>
                </a:cxn>
                <a:cxn ang="0">
                  <a:pos x="88" y="9"/>
                </a:cxn>
                <a:cxn ang="0">
                  <a:pos x="82" y="18"/>
                </a:cxn>
                <a:cxn ang="0">
                  <a:pos x="60" y="17"/>
                </a:cxn>
                <a:cxn ang="0">
                  <a:pos x="33" y="2"/>
                </a:cxn>
                <a:cxn ang="0">
                  <a:pos x="11" y="0"/>
                </a:cxn>
                <a:cxn ang="0">
                  <a:pos x="0" y="15"/>
                </a:cxn>
                <a:cxn ang="0">
                  <a:pos x="0" y="15"/>
                </a:cxn>
              </a:cxnLst>
              <a:rect l="0" t="0" r="r" b="b"/>
              <a:pathLst>
                <a:path w="144" h="50">
                  <a:moveTo>
                    <a:pt x="0" y="15"/>
                  </a:moveTo>
                  <a:lnTo>
                    <a:pt x="41" y="33"/>
                  </a:lnTo>
                  <a:lnTo>
                    <a:pt x="67" y="33"/>
                  </a:lnTo>
                  <a:lnTo>
                    <a:pt x="112" y="47"/>
                  </a:lnTo>
                  <a:lnTo>
                    <a:pt x="121" y="43"/>
                  </a:lnTo>
                  <a:lnTo>
                    <a:pt x="144" y="50"/>
                  </a:lnTo>
                  <a:lnTo>
                    <a:pt x="144" y="33"/>
                  </a:lnTo>
                  <a:lnTo>
                    <a:pt x="119" y="32"/>
                  </a:lnTo>
                  <a:lnTo>
                    <a:pt x="114" y="18"/>
                  </a:lnTo>
                  <a:lnTo>
                    <a:pt x="88" y="9"/>
                  </a:lnTo>
                  <a:lnTo>
                    <a:pt x="82" y="18"/>
                  </a:lnTo>
                  <a:lnTo>
                    <a:pt x="60" y="17"/>
                  </a:lnTo>
                  <a:lnTo>
                    <a:pt x="33" y="2"/>
                  </a:lnTo>
                  <a:lnTo>
                    <a:pt x="11" y="0"/>
                  </a:lnTo>
                  <a:lnTo>
                    <a:pt x="0" y="15"/>
                  </a:lnTo>
                  <a:lnTo>
                    <a:pt x="0" y="15"/>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41" name="Freeform 6006"/>
            <p:cNvSpPr>
              <a:spLocks/>
            </p:cNvSpPr>
            <p:nvPr>
              <p:custDataLst>
                <p:tags r:id="rId319"/>
              </p:custDataLst>
            </p:nvPr>
          </p:nvSpPr>
          <p:spPr bwMode="gray">
            <a:xfrm>
              <a:off x="8981085" y="4548240"/>
              <a:ext cx="25662" cy="16699"/>
            </a:xfrm>
            <a:custGeom>
              <a:avLst/>
              <a:gdLst/>
              <a:ahLst/>
              <a:cxnLst>
                <a:cxn ang="0">
                  <a:pos x="0" y="4"/>
                </a:cxn>
                <a:cxn ang="0">
                  <a:pos x="11" y="13"/>
                </a:cxn>
                <a:cxn ang="0">
                  <a:pos x="20" y="6"/>
                </a:cxn>
                <a:cxn ang="0">
                  <a:pos x="15" y="0"/>
                </a:cxn>
                <a:cxn ang="0">
                  <a:pos x="0" y="4"/>
                </a:cxn>
                <a:cxn ang="0">
                  <a:pos x="0" y="4"/>
                </a:cxn>
              </a:cxnLst>
              <a:rect l="0" t="0" r="r" b="b"/>
              <a:pathLst>
                <a:path w="20" h="13">
                  <a:moveTo>
                    <a:pt x="0" y="4"/>
                  </a:moveTo>
                  <a:lnTo>
                    <a:pt x="11" y="13"/>
                  </a:lnTo>
                  <a:lnTo>
                    <a:pt x="20" y="6"/>
                  </a:lnTo>
                  <a:lnTo>
                    <a:pt x="15" y="0"/>
                  </a:lnTo>
                  <a:lnTo>
                    <a:pt x="0" y="4"/>
                  </a:lnTo>
                  <a:lnTo>
                    <a:pt x="0" y="4"/>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42" name="Freeform 6007"/>
            <p:cNvSpPr>
              <a:spLocks/>
            </p:cNvSpPr>
            <p:nvPr>
              <p:custDataLst>
                <p:tags r:id="rId320"/>
              </p:custDataLst>
            </p:nvPr>
          </p:nvSpPr>
          <p:spPr bwMode="gray">
            <a:xfrm>
              <a:off x="9011879" y="4550809"/>
              <a:ext cx="161670" cy="24407"/>
            </a:xfrm>
            <a:custGeom>
              <a:avLst/>
              <a:gdLst/>
              <a:ahLst/>
              <a:cxnLst>
                <a:cxn ang="0">
                  <a:pos x="0" y="17"/>
                </a:cxn>
                <a:cxn ang="0">
                  <a:pos x="19" y="19"/>
                </a:cxn>
                <a:cxn ang="0">
                  <a:pos x="58" y="9"/>
                </a:cxn>
                <a:cxn ang="0">
                  <a:pos x="98" y="15"/>
                </a:cxn>
                <a:cxn ang="0">
                  <a:pos x="126" y="6"/>
                </a:cxn>
                <a:cxn ang="0">
                  <a:pos x="114" y="2"/>
                </a:cxn>
                <a:cxn ang="0">
                  <a:pos x="105" y="11"/>
                </a:cxn>
                <a:cxn ang="0">
                  <a:pos x="75" y="2"/>
                </a:cxn>
                <a:cxn ang="0">
                  <a:pos x="58" y="9"/>
                </a:cxn>
                <a:cxn ang="0">
                  <a:pos x="30" y="0"/>
                </a:cxn>
                <a:cxn ang="0">
                  <a:pos x="34" y="7"/>
                </a:cxn>
                <a:cxn ang="0">
                  <a:pos x="10" y="4"/>
                </a:cxn>
                <a:cxn ang="0">
                  <a:pos x="2" y="6"/>
                </a:cxn>
                <a:cxn ang="0">
                  <a:pos x="0" y="17"/>
                </a:cxn>
                <a:cxn ang="0">
                  <a:pos x="0" y="17"/>
                </a:cxn>
              </a:cxnLst>
              <a:rect l="0" t="0" r="r" b="b"/>
              <a:pathLst>
                <a:path w="126" h="19">
                  <a:moveTo>
                    <a:pt x="0" y="17"/>
                  </a:moveTo>
                  <a:lnTo>
                    <a:pt x="19" y="19"/>
                  </a:lnTo>
                  <a:lnTo>
                    <a:pt x="58" y="9"/>
                  </a:lnTo>
                  <a:lnTo>
                    <a:pt x="98" y="15"/>
                  </a:lnTo>
                  <a:lnTo>
                    <a:pt x="126" y="6"/>
                  </a:lnTo>
                  <a:lnTo>
                    <a:pt x="114" y="2"/>
                  </a:lnTo>
                  <a:lnTo>
                    <a:pt x="105" y="11"/>
                  </a:lnTo>
                  <a:lnTo>
                    <a:pt x="75" y="2"/>
                  </a:lnTo>
                  <a:lnTo>
                    <a:pt x="58" y="9"/>
                  </a:lnTo>
                  <a:lnTo>
                    <a:pt x="30" y="0"/>
                  </a:lnTo>
                  <a:lnTo>
                    <a:pt x="34" y="7"/>
                  </a:lnTo>
                  <a:lnTo>
                    <a:pt x="10" y="4"/>
                  </a:lnTo>
                  <a:lnTo>
                    <a:pt x="2" y="6"/>
                  </a:lnTo>
                  <a:lnTo>
                    <a:pt x="0" y="17"/>
                  </a:lnTo>
                  <a:lnTo>
                    <a:pt x="0" y="17"/>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43" name="Freeform 6008"/>
            <p:cNvSpPr>
              <a:spLocks/>
            </p:cNvSpPr>
            <p:nvPr>
              <p:custDataLst>
                <p:tags r:id="rId321"/>
              </p:custDataLst>
            </p:nvPr>
          </p:nvSpPr>
          <p:spPr bwMode="gray">
            <a:xfrm>
              <a:off x="9187663" y="4550809"/>
              <a:ext cx="16680" cy="7707"/>
            </a:xfrm>
            <a:custGeom>
              <a:avLst/>
              <a:gdLst/>
              <a:ahLst/>
              <a:cxnLst>
                <a:cxn ang="0">
                  <a:pos x="0" y="6"/>
                </a:cxn>
                <a:cxn ang="0">
                  <a:pos x="13" y="4"/>
                </a:cxn>
                <a:cxn ang="0">
                  <a:pos x="4" y="0"/>
                </a:cxn>
                <a:cxn ang="0">
                  <a:pos x="0" y="6"/>
                </a:cxn>
                <a:cxn ang="0">
                  <a:pos x="0" y="6"/>
                </a:cxn>
              </a:cxnLst>
              <a:rect l="0" t="0" r="r" b="b"/>
              <a:pathLst>
                <a:path w="13" h="6">
                  <a:moveTo>
                    <a:pt x="0" y="6"/>
                  </a:moveTo>
                  <a:lnTo>
                    <a:pt x="13" y="4"/>
                  </a:lnTo>
                  <a:lnTo>
                    <a:pt x="4"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44" name="Freeform 6009"/>
            <p:cNvSpPr>
              <a:spLocks/>
            </p:cNvSpPr>
            <p:nvPr>
              <p:custDataLst>
                <p:tags r:id="rId322"/>
              </p:custDataLst>
            </p:nvPr>
          </p:nvSpPr>
          <p:spPr bwMode="gray">
            <a:xfrm>
              <a:off x="9218457" y="4539248"/>
              <a:ext cx="16680" cy="8992"/>
            </a:xfrm>
            <a:custGeom>
              <a:avLst/>
              <a:gdLst/>
              <a:ahLst/>
              <a:cxnLst>
                <a:cxn ang="0">
                  <a:pos x="0" y="7"/>
                </a:cxn>
                <a:cxn ang="0">
                  <a:pos x="10" y="7"/>
                </a:cxn>
                <a:cxn ang="0">
                  <a:pos x="13" y="0"/>
                </a:cxn>
                <a:cxn ang="0">
                  <a:pos x="4" y="1"/>
                </a:cxn>
                <a:cxn ang="0">
                  <a:pos x="0" y="7"/>
                </a:cxn>
                <a:cxn ang="0">
                  <a:pos x="0" y="7"/>
                </a:cxn>
              </a:cxnLst>
              <a:rect l="0" t="0" r="r" b="b"/>
              <a:pathLst>
                <a:path w="13" h="7">
                  <a:moveTo>
                    <a:pt x="0" y="7"/>
                  </a:moveTo>
                  <a:lnTo>
                    <a:pt x="10" y="7"/>
                  </a:lnTo>
                  <a:lnTo>
                    <a:pt x="13" y="0"/>
                  </a:lnTo>
                  <a:lnTo>
                    <a:pt x="4" y="1"/>
                  </a:lnTo>
                  <a:lnTo>
                    <a:pt x="0" y="7"/>
                  </a:lnTo>
                  <a:lnTo>
                    <a:pt x="0" y="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45" name="Freeform 6010"/>
            <p:cNvSpPr>
              <a:spLocks/>
            </p:cNvSpPr>
            <p:nvPr>
              <p:custDataLst>
                <p:tags r:id="rId323"/>
              </p:custDataLst>
            </p:nvPr>
          </p:nvSpPr>
          <p:spPr bwMode="gray">
            <a:xfrm>
              <a:off x="9074751" y="4581638"/>
              <a:ext cx="38493" cy="21838"/>
            </a:xfrm>
            <a:custGeom>
              <a:avLst/>
              <a:gdLst/>
              <a:ahLst/>
              <a:cxnLst>
                <a:cxn ang="0">
                  <a:pos x="0" y="0"/>
                </a:cxn>
                <a:cxn ang="0">
                  <a:pos x="2" y="6"/>
                </a:cxn>
                <a:cxn ang="0">
                  <a:pos x="22" y="17"/>
                </a:cxn>
                <a:cxn ang="0">
                  <a:pos x="30" y="12"/>
                </a:cxn>
                <a:cxn ang="0">
                  <a:pos x="17" y="0"/>
                </a:cxn>
                <a:cxn ang="0">
                  <a:pos x="0" y="0"/>
                </a:cxn>
                <a:cxn ang="0">
                  <a:pos x="0" y="0"/>
                </a:cxn>
              </a:cxnLst>
              <a:rect l="0" t="0" r="r" b="b"/>
              <a:pathLst>
                <a:path w="30" h="17">
                  <a:moveTo>
                    <a:pt x="0" y="0"/>
                  </a:moveTo>
                  <a:lnTo>
                    <a:pt x="2" y="6"/>
                  </a:lnTo>
                  <a:lnTo>
                    <a:pt x="22" y="17"/>
                  </a:lnTo>
                  <a:lnTo>
                    <a:pt x="30" y="12"/>
                  </a:lnTo>
                  <a:lnTo>
                    <a:pt x="17" y="0"/>
                  </a:lnTo>
                  <a:lnTo>
                    <a:pt x="0" y="0"/>
                  </a:lnTo>
                  <a:lnTo>
                    <a:pt x="0"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46" name="Freeform 6011"/>
            <p:cNvSpPr>
              <a:spLocks/>
            </p:cNvSpPr>
            <p:nvPr>
              <p:custDataLst>
                <p:tags r:id="rId324"/>
              </p:custDataLst>
            </p:nvPr>
          </p:nvSpPr>
          <p:spPr bwMode="gray">
            <a:xfrm>
              <a:off x="9328803" y="4526402"/>
              <a:ext cx="12831" cy="21838"/>
            </a:xfrm>
            <a:custGeom>
              <a:avLst/>
              <a:gdLst/>
              <a:ahLst/>
              <a:cxnLst>
                <a:cxn ang="0">
                  <a:pos x="0" y="17"/>
                </a:cxn>
                <a:cxn ang="0">
                  <a:pos x="8" y="11"/>
                </a:cxn>
                <a:cxn ang="0">
                  <a:pos x="10" y="0"/>
                </a:cxn>
                <a:cxn ang="0">
                  <a:pos x="0" y="17"/>
                </a:cxn>
                <a:cxn ang="0">
                  <a:pos x="0" y="17"/>
                </a:cxn>
              </a:cxnLst>
              <a:rect l="0" t="0" r="r" b="b"/>
              <a:pathLst>
                <a:path w="10" h="17">
                  <a:moveTo>
                    <a:pt x="0" y="17"/>
                  </a:moveTo>
                  <a:lnTo>
                    <a:pt x="8" y="11"/>
                  </a:lnTo>
                  <a:lnTo>
                    <a:pt x="10" y="0"/>
                  </a:lnTo>
                  <a:lnTo>
                    <a:pt x="0" y="17"/>
                  </a:lnTo>
                  <a:lnTo>
                    <a:pt x="0" y="1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47" name="Freeform 6012"/>
            <p:cNvSpPr>
              <a:spLocks/>
            </p:cNvSpPr>
            <p:nvPr>
              <p:custDataLst>
                <p:tags r:id="rId325"/>
              </p:custDataLst>
            </p:nvPr>
          </p:nvSpPr>
          <p:spPr bwMode="gray">
            <a:xfrm>
              <a:off x="9391675" y="4487866"/>
              <a:ext cx="14114" cy="35968"/>
            </a:xfrm>
            <a:custGeom>
              <a:avLst/>
              <a:gdLst/>
              <a:ahLst/>
              <a:cxnLst>
                <a:cxn ang="0">
                  <a:pos x="0" y="28"/>
                </a:cxn>
                <a:cxn ang="0">
                  <a:pos x="11" y="10"/>
                </a:cxn>
                <a:cxn ang="0">
                  <a:pos x="9" y="0"/>
                </a:cxn>
                <a:cxn ang="0">
                  <a:pos x="0" y="28"/>
                </a:cxn>
                <a:cxn ang="0">
                  <a:pos x="0" y="28"/>
                </a:cxn>
              </a:cxnLst>
              <a:rect l="0" t="0" r="r" b="b"/>
              <a:pathLst>
                <a:path w="11" h="28">
                  <a:moveTo>
                    <a:pt x="0" y="28"/>
                  </a:moveTo>
                  <a:lnTo>
                    <a:pt x="11" y="10"/>
                  </a:lnTo>
                  <a:lnTo>
                    <a:pt x="9" y="0"/>
                  </a:lnTo>
                  <a:lnTo>
                    <a:pt x="0" y="28"/>
                  </a:lnTo>
                  <a:lnTo>
                    <a:pt x="0" y="28"/>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48" name="Freeform 6013"/>
            <p:cNvSpPr>
              <a:spLocks/>
            </p:cNvSpPr>
            <p:nvPr>
              <p:custDataLst>
                <p:tags r:id="rId326"/>
              </p:custDataLst>
            </p:nvPr>
          </p:nvSpPr>
          <p:spPr bwMode="gray">
            <a:xfrm>
              <a:off x="8855342" y="426435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49" name="Freeform 6014"/>
            <p:cNvSpPr>
              <a:spLocks/>
            </p:cNvSpPr>
            <p:nvPr>
              <p:custDataLst>
                <p:tags r:id="rId327"/>
              </p:custDataLst>
            </p:nvPr>
          </p:nvSpPr>
          <p:spPr bwMode="gray">
            <a:xfrm>
              <a:off x="8780923" y="433114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50" name="Freeform 6015"/>
            <p:cNvSpPr>
              <a:spLocks/>
            </p:cNvSpPr>
            <p:nvPr>
              <p:custDataLst>
                <p:tags r:id="rId328"/>
              </p:custDataLst>
            </p:nvPr>
          </p:nvSpPr>
          <p:spPr bwMode="gray">
            <a:xfrm>
              <a:off x="8796320" y="4394093"/>
              <a:ext cx="30794" cy="35968"/>
            </a:xfrm>
            <a:custGeom>
              <a:avLst/>
              <a:gdLst/>
              <a:ahLst/>
              <a:cxnLst>
                <a:cxn ang="0">
                  <a:pos x="0" y="8"/>
                </a:cxn>
                <a:cxn ang="0">
                  <a:pos x="9" y="11"/>
                </a:cxn>
                <a:cxn ang="0">
                  <a:pos x="11" y="23"/>
                </a:cxn>
                <a:cxn ang="0">
                  <a:pos x="22" y="28"/>
                </a:cxn>
                <a:cxn ang="0">
                  <a:pos x="24" y="19"/>
                </a:cxn>
                <a:cxn ang="0">
                  <a:pos x="18" y="19"/>
                </a:cxn>
                <a:cxn ang="0">
                  <a:pos x="13" y="0"/>
                </a:cxn>
                <a:cxn ang="0">
                  <a:pos x="0" y="8"/>
                </a:cxn>
                <a:cxn ang="0">
                  <a:pos x="0" y="8"/>
                </a:cxn>
              </a:cxnLst>
              <a:rect l="0" t="0" r="r" b="b"/>
              <a:pathLst>
                <a:path w="24" h="28">
                  <a:moveTo>
                    <a:pt x="0" y="8"/>
                  </a:moveTo>
                  <a:lnTo>
                    <a:pt x="9" y="11"/>
                  </a:lnTo>
                  <a:lnTo>
                    <a:pt x="11" y="23"/>
                  </a:lnTo>
                  <a:lnTo>
                    <a:pt x="22" y="28"/>
                  </a:lnTo>
                  <a:lnTo>
                    <a:pt x="24" y="19"/>
                  </a:lnTo>
                  <a:lnTo>
                    <a:pt x="18" y="19"/>
                  </a:lnTo>
                  <a:lnTo>
                    <a:pt x="13" y="0"/>
                  </a:lnTo>
                  <a:lnTo>
                    <a:pt x="0" y="8"/>
                  </a:lnTo>
                  <a:lnTo>
                    <a:pt x="0" y="8"/>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51" name="Freeform 6016"/>
            <p:cNvSpPr>
              <a:spLocks/>
            </p:cNvSpPr>
            <p:nvPr>
              <p:custDataLst>
                <p:tags r:id="rId329"/>
              </p:custDataLst>
            </p:nvPr>
          </p:nvSpPr>
          <p:spPr bwMode="gray">
            <a:xfrm>
              <a:off x="8846360" y="4418499"/>
              <a:ext cx="11548" cy="16699"/>
            </a:xfrm>
            <a:custGeom>
              <a:avLst/>
              <a:gdLst/>
              <a:ahLst/>
              <a:cxnLst>
                <a:cxn ang="0">
                  <a:pos x="0" y="11"/>
                </a:cxn>
                <a:cxn ang="0">
                  <a:pos x="6" y="13"/>
                </a:cxn>
                <a:cxn ang="0">
                  <a:pos x="9" y="4"/>
                </a:cxn>
                <a:cxn ang="0">
                  <a:pos x="2" y="0"/>
                </a:cxn>
                <a:cxn ang="0">
                  <a:pos x="0" y="11"/>
                </a:cxn>
                <a:cxn ang="0">
                  <a:pos x="0" y="11"/>
                </a:cxn>
              </a:cxnLst>
              <a:rect l="0" t="0" r="r" b="b"/>
              <a:pathLst>
                <a:path w="9" h="13">
                  <a:moveTo>
                    <a:pt x="0" y="11"/>
                  </a:moveTo>
                  <a:lnTo>
                    <a:pt x="6" y="13"/>
                  </a:lnTo>
                  <a:lnTo>
                    <a:pt x="9" y="4"/>
                  </a:lnTo>
                  <a:lnTo>
                    <a:pt x="2" y="0"/>
                  </a:lnTo>
                  <a:lnTo>
                    <a:pt x="0" y="11"/>
                  </a:lnTo>
                  <a:lnTo>
                    <a:pt x="0" y="11"/>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52" name="Freeform 6017"/>
            <p:cNvSpPr>
              <a:spLocks/>
            </p:cNvSpPr>
            <p:nvPr>
              <p:custDataLst>
                <p:tags r:id="rId330"/>
              </p:custDataLst>
            </p:nvPr>
          </p:nvSpPr>
          <p:spPr bwMode="gray">
            <a:xfrm>
              <a:off x="8951574" y="4523833"/>
              <a:ext cx="21813" cy="0"/>
            </a:xfrm>
            <a:custGeom>
              <a:avLst/>
              <a:gdLst/>
              <a:ahLst/>
              <a:cxnLst>
                <a:cxn ang="0">
                  <a:pos x="0" y="0"/>
                </a:cxn>
                <a:cxn ang="0">
                  <a:pos x="17" y="0"/>
                </a:cxn>
                <a:cxn ang="0">
                  <a:pos x="0" y="0"/>
                </a:cxn>
              </a:cxnLst>
              <a:rect l="0" t="0" r="r" b="b"/>
              <a:pathLst>
                <a:path w="17">
                  <a:moveTo>
                    <a:pt x="0" y="0"/>
                  </a:moveTo>
                  <a:lnTo>
                    <a:pt x="17"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53" name="Line 6018"/>
            <p:cNvSpPr>
              <a:spLocks noChangeShapeType="1"/>
            </p:cNvSpPr>
            <p:nvPr>
              <p:custDataLst>
                <p:tags r:id="rId331"/>
              </p:custDataLst>
            </p:nvPr>
          </p:nvSpPr>
          <p:spPr bwMode="gray">
            <a:xfrm>
              <a:off x="8951574" y="4523833"/>
              <a:ext cx="21813" cy="0"/>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54" name="Freeform 6019"/>
            <p:cNvSpPr>
              <a:spLocks/>
            </p:cNvSpPr>
            <p:nvPr>
              <p:custDataLst>
                <p:tags r:id="rId332"/>
              </p:custDataLst>
            </p:nvPr>
          </p:nvSpPr>
          <p:spPr bwMode="gray">
            <a:xfrm>
              <a:off x="9079883" y="4319588"/>
              <a:ext cx="134725" cy="173416"/>
            </a:xfrm>
            <a:custGeom>
              <a:avLst/>
              <a:gdLst/>
              <a:ahLst/>
              <a:cxnLst>
                <a:cxn ang="0">
                  <a:pos x="0" y="84"/>
                </a:cxn>
                <a:cxn ang="0">
                  <a:pos x="1" y="96"/>
                </a:cxn>
                <a:cxn ang="0">
                  <a:pos x="11" y="96"/>
                </a:cxn>
                <a:cxn ang="0">
                  <a:pos x="13" y="105"/>
                </a:cxn>
                <a:cxn ang="0">
                  <a:pos x="9" y="135"/>
                </a:cxn>
                <a:cxn ang="0">
                  <a:pos x="22" y="133"/>
                </a:cxn>
                <a:cxn ang="0">
                  <a:pos x="22" y="86"/>
                </a:cxn>
                <a:cxn ang="0">
                  <a:pos x="30" y="81"/>
                </a:cxn>
                <a:cxn ang="0">
                  <a:pos x="37" y="81"/>
                </a:cxn>
                <a:cxn ang="0">
                  <a:pos x="33" y="96"/>
                </a:cxn>
                <a:cxn ang="0">
                  <a:pos x="45" y="107"/>
                </a:cxn>
                <a:cxn ang="0">
                  <a:pos x="43" y="118"/>
                </a:cxn>
                <a:cxn ang="0">
                  <a:pos x="48" y="122"/>
                </a:cxn>
                <a:cxn ang="0">
                  <a:pos x="56" y="116"/>
                </a:cxn>
                <a:cxn ang="0">
                  <a:pos x="54" y="129"/>
                </a:cxn>
                <a:cxn ang="0">
                  <a:pos x="60" y="135"/>
                </a:cxn>
                <a:cxn ang="0">
                  <a:pos x="67" y="129"/>
                </a:cxn>
                <a:cxn ang="0">
                  <a:pos x="69" y="120"/>
                </a:cxn>
                <a:cxn ang="0">
                  <a:pos x="52" y="96"/>
                </a:cxn>
                <a:cxn ang="0">
                  <a:pos x="58" y="90"/>
                </a:cxn>
                <a:cxn ang="0">
                  <a:pos x="43" y="66"/>
                </a:cxn>
                <a:cxn ang="0">
                  <a:pos x="67" y="49"/>
                </a:cxn>
                <a:cxn ang="0">
                  <a:pos x="76" y="49"/>
                </a:cxn>
                <a:cxn ang="0">
                  <a:pos x="71" y="41"/>
                </a:cxn>
                <a:cxn ang="0">
                  <a:pos x="30" y="56"/>
                </a:cxn>
                <a:cxn ang="0">
                  <a:pos x="28" y="49"/>
                </a:cxn>
                <a:cxn ang="0">
                  <a:pos x="20" y="45"/>
                </a:cxn>
                <a:cxn ang="0">
                  <a:pos x="20" y="34"/>
                </a:cxn>
                <a:cxn ang="0">
                  <a:pos x="31" y="23"/>
                </a:cxn>
                <a:cxn ang="0">
                  <a:pos x="76" y="26"/>
                </a:cxn>
                <a:cxn ang="0">
                  <a:pos x="93" y="21"/>
                </a:cxn>
                <a:cxn ang="0">
                  <a:pos x="105" y="4"/>
                </a:cxn>
                <a:cxn ang="0">
                  <a:pos x="101" y="0"/>
                </a:cxn>
                <a:cxn ang="0">
                  <a:pos x="84" y="15"/>
                </a:cxn>
                <a:cxn ang="0">
                  <a:pos x="67" y="15"/>
                </a:cxn>
                <a:cxn ang="0">
                  <a:pos x="33" y="8"/>
                </a:cxn>
                <a:cxn ang="0">
                  <a:pos x="30" y="17"/>
                </a:cxn>
                <a:cxn ang="0">
                  <a:pos x="18" y="17"/>
                </a:cxn>
                <a:cxn ang="0">
                  <a:pos x="16" y="41"/>
                </a:cxn>
                <a:cxn ang="0">
                  <a:pos x="0" y="84"/>
                </a:cxn>
                <a:cxn ang="0">
                  <a:pos x="0" y="84"/>
                </a:cxn>
              </a:cxnLst>
              <a:rect l="0" t="0" r="r" b="b"/>
              <a:pathLst>
                <a:path w="105" h="135">
                  <a:moveTo>
                    <a:pt x="0" y="84"/>
                  </a:moveTo>
                  <a:lnTo>
                    <a:pt x="1" y="96"/>
                  </a:lnTo>
                  <a:lnTo>
                    <a:pt x="11" y="96"/>
                  </a:lnTo>
                  <a:lnTo>
                    <a:pt x="13" y="105"/>
                  </a:lnTo>
                  <a:lnTo>
                    <a:pt x="9" y="135"/>
                  </a:lnTo>
                  <a:lnTo>
                    <a:pt x="22" y="133"/>
                  </a:lnTo>
                  <a:lnTo>
                    <a:pt x="22" y="86"/>
                  </a:lnTo>
                  <a:lnTo>
                    <a:pt x="30" y="81"/>
                  </a:lnTo>
                  <a:lnTo>
                    <a:pt x="37" y="81"/>
                  </a:lnTo>
                  <a:lnTo>
                    <a:pt x="33" y="96"/>
                  </a:lnTo>
                  <a:lnTo>
                    <a:pt x="45" y="107"/>
                  </a:lnTo>
                  <a:lnTo>
                    <a:pt x="43" y="118"/>
                  </a:lnTo>
                  <a:lnTo>
                    <a:pt x="48" y="122"/>
                  </a:lnTo>
                  <a:lnTo>
                    <a:pt x="56" y="116"/>
                  </a:lnTo>
                  <a:lnTo>
                    <a:pt x="54" y="129"/>
                  </a:lnTo>
                  <a:lnTo>
                    <a:pt x="60" y="135"/>
                  </a:lnTo>
                  <a:lnTo>
                    <a:pt x="67" y="129"/>
                  </a:lnTo>
                  <a:lnTo>
                    <a:pt x="69" y="120"/>
                  </a:lnTo>
                  <a:lnTo>
                    <a:pt x="52" y="96"/>
                  </a:lnTo>
                  <a:lnTo>
                    <a:pt x="58" y="90"/>
                  </a:lnTo>
                  <a:lnTo>
                    <a:pt x="43" y="66"/>
                  </a:lnTo>
                  <a:lnTo>
                    <a:pt x="67" y="49"/>
                  </a:lnTo>
                  <a:lnTo>
                    <a:pt x="76" y="49"/>
                  </a:lnTo>
                  <a:lnTo>
                    <a:pt x="71" y="41"/>
                  </a:lnTo>
                  <a:lnTo>
                    <a:pt x="30" y="56"/>
                  </a:lnTo>
                  <a:lnTo>
                    <a:pt x="28" y="49"/>
                  </a:lnTo>
                  <a:lnTo>
                    <a:pt x="20" y="45"/>
                  </a:lnTo>
                  <a:lnTo>
                    <a:pt x="20" y="34"/>
                  </a:lnTo>
                  <a:lnTo>
                    <a:pt x="31" y="23"/>
                  </a:lnTo>
                  <a:lnTo>
                    <a:pt x="76" y="26"/>
                  </a:lnTo>
                  <a:lnTo>
                    <a:pt x="93" y="21"/>
                  </a:lnTo>
                  <a:lnTo>
                    <a:pt x="105" y="4"/>
                  </a:lnTo>
                  <a:lnTo>
                    <a:pt x="101" y="0"/>
                  </a:lnTo>
                  <a:lnTo>
                    <a:pt x="84" y="15"/>
                  </a:lnTo>
                  <a:lnTo>
                    <a:pt x="67" y="15"/>
                  </a:lnTo>
                  <a:lnTo>
                    <a:pt x="33" y="8"/>
                  </a:lnTo>
                  <a:lnTo>
                    <a:pt x="30" y="17"/>
                  </a:lnTo>
                  <a:lnTo>
                    <a:pt x="18" y="17"/>
                  </a:lnTo>
                  <a:lnTo>
                    <a:pt x="16" y="41"/>
                  </a:lnTo>
                  <a:lnTo>
                    <a:pt x="0" y="84"/>
                  </a:lnTo>
                  <a:lnTo>
                    <a:pt x="0" y="84"/>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55" name="Freeform 6020"/>
            <p:cNvSpPr>
              <a:spLocks/>
            </p:cNvSpPr>
            <p:nvPr>
              <p:custDataLst>
                <p:tags r:id="rId333"/>
              </p:custDataLst>
            </p:nvPr>
          </p:nvSpPr>
          <p:spPr bwMode="gray">
            <a:xfrm>
              <a:off x="9256950" y="4308027"/>
              <a:ext cx="29511" cy="74504"/>
            </a:xfrm>
            <a:custGeom>
              <a:avLst/>
              <a:gdLst/>
              <a:ahLst/>
              <a:cxnLst>
                <a:cxn ang="0">
                  <a:pos x="0" y="20"/>
                </a:cxn>
                <a:cxn ang="0">
                  <a:pos x="4" y="43"/>
                </a:cxn>
                <a:cxn ang="0">
                  <a:pos x="19" y="58"/>
                </a:cxn>
                <a:cxn ang="0">
                  <a:pos x="10" y="41"/>
                </a:cxn>
                <a:cxn ang="0">
                  <a:pos x="11" y="32"/>
                </a:cxn>
                <a:cxn ang="0">
                  <a:pos x="19" y="32"/>
                </a:cxn>
                <a:cxn ang="0">
                  <a:pos x="15" y="24"/>
                </a:cxn>
                <a:cxn ang="0">
                  <a:pos x="23" y="20"/>
                </a:cxn>
                <a:cxn ang="0">
                  <a:pos x="23" y="11"/>
                </a:cxn>
                <a:cxn ang="0">
                  <a:pos x="11" y="17"/>
                </a:cxn>
                <a:cxn ang="0">
                  <a:pos x="10" y="0"/>
                </a:cxn>
                <a:cxn ang="0">
                  <a:pos x="4" y="5"/>
                </a:cxn>
                <a:cxn ang="0">
                  <a:pos x="0" y="20"/>
                </a:cxn>
                <a:cxn ang="0">
                  <a:pos x="0" y="20"/>
                </a:cxn>
              </a:cxnLst>
              <a:rect l="0" t="0" r="r" b="b"/>
              <a:pathLst>
                <a:path w="23" h="58">
                  <a:moveTo>
                    <a:pt x="0" y="20"/>
                  </a:moveTo>
                  <a:lnTo>
                    <a:pt x="4" y="43"/>
                  </a:lnTo>
                  <a:lnTo>
                    <a:pt x="19" y="58"/>
                  </a:lnTo>
                  <a:lnTo>
                    <a:pt x="10" y="41"/>
                  </a:lnTo>
                  <a:lnTo>
                    <a:pt x="11" y="32"/>
                  </a:lnTo>
                  <a:lnTo>
                    <a:pt x="19" y="32"/>
                  </a:lnTo>
                  <a:lnTo>
                    <a:pt x="15" y="24"/>
                  </a:lnTo>
                  <a:lnTo>
                    <a:pt x="23" y="20"/>
                  </a:lnTo>
                  <a:lnTo>
                    <a:pt x="23" y="11"/>
                  </a:lnTo>
                  <a:lnTo>
                    <a:pt x="11" y="17"/>
                  </a:lnTo>
                  <a:lnTo>
                    <a:pt x="10" y="0"/>
                  </a:lnTo>
                  <a:lnTo>
                    <a:pt x="4" y="5"/>
                  </a:lnTo>
                  <a:lnTo>
                    <a:pt x="0" y="20"/>
                  </a:lnTo>
                  <a:lnTo>
                    <a:pt x="0" y="2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56" name="Freeform 6021"/>
            <p:cNvSpPr>
              <a:spLocks/>
            </p:cNvSpPr>
            <p:nvPr>
              <p:custDataLst>
                <p:tags r:id="rId334"/>
              </p:custDataLst>
            </p:nvPr>
          </p:nvSpPr>
          <p:spPr bwMode="gray">
            <a:xfrm>
              <a:off x="9228722" y="4435199"/>
              <a:ext cx="23096" cy="16699"/>
            </a:xfrm>
            <a:custGeom>
              <a:avLst/>
              <a:gdLst/>
              <a:ahLst/>
              <a:cxnLst>
                <a:cxn ang="0">
                  <a:pos x="0" y="2"/>
                </a:cxn>
                <a:cxn ang="0">
                  <a:pos x="13" y="13"/>
                </a:cxn>
                <a:cxn ang="0">
                  <a:pos x="18" y="8"/>
                </a:cxn>
                <a:cxn ang="0">
                  <a:pos x="17" y="0"/>
                </a:cxn>
                <a:cxn ang="0">
                  <a:pos x="0" y="2"/>
                </a:cxn>
                <a:cxn ang="0">
                  <a:pos x="0" y="2"/>
                </a:cxn>
              </a:cxnLst>
              <a:rect l="0" t="0" r="r" b="b"/>
              <a:pathLst>
                <a:path w="18" h="13">
                  <a:moveTo>
                    <a:pt x="0" y="2"/>
                  </a:moveTo>
                  <a:lnTo>
                    <a:pt x="13" y="13"/>
                  </a:lnTo>
                  <a:lnTo>
                    <a:pt x="18" y="8"/>
                  </a:lnTo>
                  <a:lnTo>
                    <a:pt x="17" y="0"/>
                  </a:lnTo>
                  <a:lnTo>
                    <a:pt x="0" y="2"/>
                  </a:lnTo>
                  <a:lnTo>
                    <a:pt x="0" y="2"/>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57" name="Freeform 6022"/>
            <p:cNvSpPr>
              <a:spLocks/>
            </p:cNvSpPr>
            <p:nvPr>
              <p:custDataLst>
                <p:tags r:id="rId335"/>
              </p:custDataLst>
            </p:nvPr>
          </p:nvSpPr>
          <p:spPr bwMode="gray">
            <a:xfrm>
              <a:off x="9269781" y="4426207"/>
              <a:ext cx="57739" cy="25691"/>
            </a:xfrm>
            <a:custGeom>
              <a:avLst/>
              <a:gdLst/>
              <a:ahLst/>
              <a:cxnLst>
                <a:cxn ang="0">
                  <a:pos x="0" y="7"/>
                </a:cxn>
                <a:cxn ang="0">
                  <a:pos x="45" y="20"/>
                </a:cxn>
                <a:cxn ang="0">
                  <a:pos x="39" y="3"/>
                </a:cxn>
                <a:cxn ang="0">
                  <a:pos x="24" y="0"/>
                </a:cxn>
                <a:cxn ang="0">
                  <a:pos x="5" y="1"/>
                </a:cxn>
                <a:cxn ang="0">
                  <a:pos x="0" y="7"/>
                </a:cxn>
                <a:cxn ang="0">
                  <a:pos x="0" y="7"/>
                </a:cxn>
              </a:cxnLst>
              <a:rect l="0" t="0" r="r" b="b"/>
              <a:pathLst>
                <a:path w="45" h="20">
                  <a:moveTo>
                    <a:pt x="0" y="7"/>
                  </a:moveTo>
                  <a:lnTo>
                    <a:pt x="45" y="20"/>
                  </a:lnTo>
                  <a:lnTo>
                    <a:pt x="39" y="3"/>
                  </a:lnTo>
                  <a:lnTo>
                    <a:pt x="24" y="0"/>
                  </a:lnTo>
                  <a:lnTo>
                    <a:pt x="5" y="1"/>
                  </a:lnTo>
                  <a:lnTo>
                    <a:pt x="0" y="7"/>
                  </a:lnTo>
                  <a:lnTo>
                    <a:pt x="0" y="7"/>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58" name="Freeform 6023"/>
            <p:cNvSpPr>
              <a:spLocks/>
            </p:cNvSpPr>
            <p:nvPr>
              <p:custDataLst>
                <p:tags r:id="rId336"/>
              </p:custDataLst>
            </p:nvPr>
          </p:nvSpPr>
          <p:spPr bwMode="gray">
            <a:xfrm>
              <a:off x="9196645" y="4401800"/>
              <a:ext cx="17963" cy="0"/>
            </a:xfrm>
            <a:custGeom>
              <a:avLst/>
              <a:gdLst/>
              <a:ahLst/>
              <a:cxnLst>
                <a:cxn ang="0">
                  <a:pos x="0" y="0"/>
                </a:cxn>
                <a:cxn ang="0">
                  <a:pos x="14" y="0"/>
                </a:cxn>
                <a:cxn ang="0">
                  <a:pos x="0" y="0"/>
                </a:cxn>
              </a:cxnLst>
              <a:rect l="0" t="0" r="r" b="b"/>
              <a:pathLst>
                <a:path w="14">
                  <a:moveTo>
                    <a:pt x="0" y="0"/>
                  </a:moveTo>
                  <a:lnTo>
                    <a:pt x="14"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59" name="Line 6024"/>
            <p:cNvSpPr>
              <a:spLocks noChangeShapeType="1"/>
            </p:cNvSpPr>
            <p:nvPr>
              <p:custDataLst>
                <p:tags r:id="rId337"/>
              </p:custDataLst>
            </p:nvPr>
          </p:nvSpPr>
          <p:spPr bwMode="gray">
            <a:xfrm>
              <a:off x="9196645" y="4401800"/>
              <a:ext cx="17963" cy="0"/>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60" name="Freeform 6025"/>
            <p:cNvSpPr>
              <a:spLocks/>
            </p:cNvSpPr>
            <p:nvPr>
              <p:custDataLst>
                <p:tags r:id="rId338"/>
              </p:custDataLst>
            </p:nvPr>
          </p:nvSpPr>
          <p:spPr bwMode="gray">
            <a:xfrm>
              <a:off x="9256950" y="4391524"/>
              <a:ext cx="16680" cy="7707"/>
            </a:xfrm>
            <a:custGeom>
              <a:avLst/>
              <a:gdLst/>
              <a:ahLst/>
              <a:cxnLst>
                <a:cxn ang="0">
                  <a:pos x="0" y="6"/>
                </a:cxn>
                <a:cxn ang="0">
                  <a:pos x="13" y="6"/>
                </a:cxn>
                <a:cxn ang="0">
                  <a:pos x="4" y="0"/>
                </a:cxn>
                <a:cxn ang="0">
                  <a:pos x="0" y="6"/>
                </a:cxn>
                <a:cxn ang="0">
                  <a:pos x="0" y="6"/>
                </a:cxn>
              </a:cxnLst>
              <a:rect l="0" t="0" r="r" b="b"/>
              <a:pathLst>
                <a:path w="13" h="6">
                  <a:moveTo>
                    <a:pt x="0" y="6"/>
                  </a:moveTo>
                  <a:lnTo>
                    <a:pt x="13" y="6"/>
                  </a:lnTo>
                  <a:lnTo>
                    <a:pt x="4"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61" name="Freeform 6026"/>
            <p:cNvSpPr>
              <a:spLocks/>
            </p:cNvSpPr>
            <p:nvPr>
              <p:custDataLst>
                <p:tags r:id="rId339"/>
              </p:custDataLst>
            </p:nvPr>
          </p:nvSpPr>
          <p:spPr bwMode="gray">
            <a:xfrm>
              <a:off x="9317255" y="440436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62" name="Freeform 6027"/>
            <p:cNvSpPr>
              <a:spLocks/>
            </p:cNvSpPr>
            <p:nvPr>
              <p:custDataLst>
                <p:tags r:id="rId340"/>
              </p:custDataLst>
            </p:nvPr>
          </p:nvSpPr>
          <p:spPr bwMode="gray">
            <a:xfrm>
              <a:off x="9319822" y="4360694"/>
              <a:ext cx="19246" cy="8992"/>
            </a:xfrm>
            <a:custGeom>
              <a:avLst/>
              <a:gdLst/>
              <a:ahLst/>
              <a:cxnLst>
                <a:cxn ang="0">
                  <a:pos x="0" y="2"/>
                </a:cxn>
                <a:cxn ang="0">
                  <a:pos x="7" y="7"/>
                </a:cxn>
                <a:cxn ang="0">
                  <a:pos x="15" y="4"/>
                </a:cxn>
                <a:cxn ang="0">
                  <a:pos x="7" y="0"/>
                </a:cxn>
                <a:cxn ang="0">
                  <a:pos x="0" y="2"/>
                </a:cxn>
                <a:cxn ang="0">
                  <a:pos x="0" y="2"/>
                </a:cxn>
              </a:cxnLst>
              <a:rect l="0" t="0" r="r" b="b"/>
              <a:pathLst>
                <a:path w="15" h="7">
                  <a:moveTo>
                    <a:pt x="0" y="2"/>
                  </a:moveTo>
                  <a:lnTo>
                    <a:pt x="7" y="7"/>
                  </a:lnTo>
                  <a:lnTo>
                    <a:pt x="15" y="4"/>
                  </a:lnTo>
                  <a:lnTo>
                    <a:pt x="7"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63" name="Freeform 6028"/>
            <p:cNvSpPr>
              <a:spLocks/>
            </p:cNvSpPr>
            <p:nvPr>
              <p:custDataLst>
                <p:tags r:id="rId341"/>
              </p:custDataLst>
            </p:nvPr>
          </p:nvSpPr>
          <p:spPr bwMode="gray">
            <a:xfrm>
              <a:off x="9425035" y="4377393"/>
              <a:ext cx="19246" cy="10276"/>
            </a:xfrm>
            <a:custGeom>
              <a:avLst/>
              <a:gdLst/>
              <a:ahLst/>
              <a:cxnLst>
                <a:cxn ang="0">
                  <a:pos x="0" y="0"/>
                </a:cxn>
                <a:cxn ang="0">
                  <a:pos x="8" y="8"/>
                </a:cxn>
                <a:cxn ang="0">
                  <a:pos x="15" y="8"/>
                </a:cxn>
                <a:cxn ang="0">
                  <a:pos x="10" y="0"/>
                </a:cxn>
                <a:cxn ang="0">
                  <a:pos x="0" y="0"/>
                </a:cxn>
                <a:cxn ang="0">
                  <a:pos x="0" y="0"/>
                </a:cxn>
              </a:cxnLst>
              <a:rect l="0" t="0" r="r" b="b"/>
              <a:pathLst>
                <a:path w="15" h="8">
                  <a:moveTo>
                    <a:pt x="0" y="0"/>
                  </a:moveTo>
                  <a:lnTo>
                    <a:pt x="8" y="8"/>
                  </a:lnTo>
                  <a:lnTo>
                    <a:pt x="15" y="8"/>
                  </a:lnTo>
                  <a:lnTo>
                    <a:pt x="10" y="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64" name="Freeform 6029"/>
            <p:cNvSpPr>
              <a:spLocks/>
            </p:cNvSpPr>
            <p:nvPr>
              <p:custDataLst>
                <p:tags r:id="rId342"/>
              </p:custDataLst>
            </p:nvPr>
          </p:nvSpPr>
          <p:spPr bwMode="gray">
            <a:xfrm>
              <a:off x="9074751" y="3922659"/>
              <a:ext cx="98798" cy="132310"/>
            </a:xfrm>
            <a:custGeom>
              <a:avLst/>
              <a:gdLst/>
              <a:ahLst/>
              <a:cxnLst>
                <a:cxn ang="0">
                  <a:pos x="0" y="41"/>
                </a:cxn>
                <a:cxn ang="0">
                  <a:pos x="7" y="69"/>
                </a:cxn>
                <a:cxn ang="0">
                  <a:pos x="22" y="73"/>
                </a:cxn>
                <a:cxn ang="0">
                  <a:pos x="19" y="88"/>
                </a:cxn>
                <a:cxn ang="0">
                  <a:pos x="28" y="90"/>
                </a:cxn>
                <a:cxn ang="0">
                  <a:pos x="37" y="84"/>
                </a:cxn>
                <a:cxn ang="0">
                  <a:pos x="52" y="99"/>
                </a:cxn>
                <a:cxn ang="0">
                  <a:pos x="50" y="84"/>
                </a:cxn>
                <a:cxn ang="0">
                  <a:pos x="65" y="101"/>
                </a:cxn>
                <a:cxn ang="0">
                  <a:pos x="77" y="103"/>
                </a:cxn>
                <a:cxn ang="0">
                  <a:pos x="67" y="88"/>
                </a:cxn>
                <a:cxn ang="0">
                  <a:pos x="71" y="88"/>
                </a:cxn>
                <a:cxn ang="0">
                  <a:pos x="54" y="79"/>
                </a:cxn>
                <a:cxn ang="0">
                  <a:pos x="45" y="84"/>
                </a:cxn>
                <a:cxn ang="0">
                  <a:pos x="37" y="81"/>
                </a:cxn>
                <a:cxn ang="0">
                  <a:pos x="28" y="58"/>
                </a:cxn>
                <a:cxn ang="0">
                  <a:pos x="41" y="26"/>
                </a:cxn>
                <a:cxn ang="0">
                  <a:pos x="35" y="19"/>
                </a:cxn>
                <a:cxn ang="0">
                  <a:pos x="34" y="0"/>
                </a:cxn>
                <a:cxn ang="0">
                  <a:pos x="28" y="4"/>
                </a:cxn>
                <a:cxn ang="0">
                  <a:pos x="7" y="0"/>
                </a:cxn>
                <a:cxn ang="0">
                  <a:pos x="7" y="45"/>
                </a:cxn>
                <a:cxn ang="0">
                  <a:pos x="0" y="41"/>
                </a:cxn>
                <a:cxn ang="0">
                  <a:pos x="0" y="41"/>
                </a:cxn>
              </a:cxnLst>
              <a:rect l="0" t="0" r="r" b="b"/>
              <a:pathLst>
                <a:path w="77" h="103">
                  <a:moveTo>
                    <a:pt x="0" y="41"/>
                  </a:moveTo>
                  <a:lnTo>
                    <a:pt x="7" y="69"/>
                  </a:lnTo>
                  <a:lnTo>
                    <a:pt x="22" y="73"/>
                  </a:lnTo>
                  <a:lnTo>
                    <a:pt x="19" y="88"/>
                  </a:lnTo>
                  <a:lnTo>
                    <a:pt x="28" y="90"/>
                  </a:lnTo>
                  <a:lnTo>
                    <a:pt x="37" y="84"/>
                  </a:lnTo>
                  <a:lnTo>
                    <a:pt x="52" y="99"/>
                  </a:lnTo>
                  <a:lnTo>
                    <a:pt x="50" y="84"/>
                  </a:lnTo>
                  <a:lnTo>
                    <a:pt x="65" y="101"/>
                  </a:lnTo>
                  <a:lnTo>
                    <a:pt x="77" y="103"/>
                  </a:lnTo>
                  <a:lnTo>
                    <a:pt x="67" y="88"/>
                  </a:lnTo>
                  <a:lnTo>
                    <a:pt x="71" y="88"/>
                  </a:lnTo>
                  <a:lnTo>
                    <a:pt x="54" y="79"/>
                  </a:lnTo>
                  <a:lnTo>
                    <a:pt x="45" y="84"/>
                  </a:lnTo>
                  <a:lnTo>
                    <a:pt x="37" y="81"/>
                  </a:lnTo>
                  <a:lnTo>
                    <a:pt x="28" y="58"/>
                  </a:lnTo>
                  <a:lnTo>
                    <a:pt x="41" y="26"/>
                  </a:lnTo>
                  <a:lnTo>
                    <a:pt x="35" y="19"/>
                  </a:lnTo>
                  <a:lnTo>
                    <a:pt x="34" y="0"/>
                  </a:lnTo>
                  <a:lnTo>
                    <a:pt x="28" y="4"/>
                  </a:lnTo>
                  <a:lnTo>
                    <a:pt x="7" y="0"/>
                  </a:lnTo>
                  <a:lnTo>
                    <a:pt x="7" y="45"/>
                  </a:lnTo>
                  <a:lnTo>
                    <a:pt x="0" y="41"/>
                  </a:lnTo>
                  <a:lnTo>
                    <a:pt x="0" y="41"/>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65" name="Freeform 6030"/>
            <p:cNvSpPr>
              <a:spLocks/>
            </p:cNvSpPr>
            <p:nvPr>
              <p:custDataLst>
                <p:tags r:id="rId343"/>
              </p:custDataLst>
            </p:nvPr>
          </p:nvSpPr>
          <p:spPr bwMode="gray">
            <a:xfrm>
              <a:off x="9038824" y="4093506"/>
              <a:ext cx="47474" cy="66797"/>
            </a:xfrm>
            <a:custGeom>
              <a:avLst/>
              <a:gdLst/>
              <a:ahLst/>
              <a:cxnLst>
                <a:cxn ang="0">
                  <a:pos x="0" y="52"/>
                </a:cxn>
                <a:cxn ang="0">
                  <a:pos x="37" y="13"/>
                </a:cxn>
                <a:cxn ang="0">
                  <a:pos x="33" y="0"/>
                </a:cxn>
                <a:cxn ang="0">
                  <a:pos x="28" y="13"/>
                </a:cxn>
                <a:cxn ang="0">
                  <a:pos x="0" y="52"/>
                </a:cxn>
                <a:cxn ang="0">
                  <a:pos x="0" y="52"/>
                </a:cxn>
              </a:cxnLst>
              <a:rect l="0" t="0" r="r" b="b"/>
              <a:pathLst>
                <a:path w="37" h="52">
                  <a:moveTo>
                    <a:pt x="0" y="52"/>
                  </a:moveTo>
                  <a:lnTo>
                    <a:pt x="37" y="13"/>
                  </a:lnTo>
                  <a:lnTo>
                    <a:pt x="33" y="0"/>
                  </a:lnTo>
                  <a:lnTo>
                    <a:pt x="28" y="13"/>
                  </a:lnTo>
                  <a:lnTo>
                    <a:pt x="0" y="52"/>
                  </a:lnTo>
                  <a:lnTo>
                    <a:pt x="0" y="5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66" name="Freeform 6031"/>
            <p:cNvSpPr>
              <a:spLocks/>
            </p:cNvSpPr>
            <p:nvPr>
              <p:custDataLst>
                <p:tags r:id="rId344"/>
              </p:custDataLst>
            </p:nvPr>
          </p:nvSpPr>
          <p:spPr bwMode="gray">
            <a:xfrm>
              <a:off x="9096564" y="4043408"/>
              <a:ext cx="25662" cy="28260"/>
            </a:xfrm>
            <a:custGeom>
              <a:avLst/>
              <a:gdLst/>
              <a:ahLst/>
              <a:cxnLst>
                <a:cxn ang="0">
                  <a:pos x="0" y="0"/>
                </a:cxn>
                <a:cxn ang="0">
                  <a:pos x="13" y="22"/>
                </a:cxn>
                <a:cxn ang="0">
                  <a:pos x="20" y="15"/>
                </a:cxn>
                <a:cxn ang="0">
                  <a:pos x="18" y="7"/>
                </a:cxn>
                <a:cxn ang="0">
                  <a:pos x="13" y="2"/>
                </a:cxn>
                <a:cxn ang="0">
                  <a:pos x="0" y="0"/>
                </a:cxn>
                <a:cxn ang="0">
                  <a:pos x="0" y="0"/>
                </a:cxn>
              </a:cxnLst>
              <a:rect l="0" t="0" r="r" b="b"/>
              <a:pathLst>
                <a:path w="20" h="22">
                  <a:moveTo>
                    <a:pt x="0" y="0"/>
                  </a:moveTo>
                  <a:lnTo>
                    <a:pt x="13" y="22"/>
                  </a:lnTo>
                  <a:lnTo>
                    <a:pt x="20" y="15"/>
                  </a:lnTo>
                  <a:lnTo>
                    <a:pt x="18" y="7"/>
                  </a:lnTo>
                  <a:lnTo>
                    <a:pt x="13" y="2"/>
                  </a:lnTo>
                  <a:lnTo>
                    <a:pt x="0" y="0"/>
                  </a:lnTo>
                  <a:lnTo>
                    <a:pt x="0"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67" name="Freeform 6032"/>
            <p:cNvSpPr>
              <a:spLocks/>
            </p:cNvSpPr>
            <p:nvPr>
              <p:custDataLst>
                <p:tags r:id="rId345"/>
              </p:custDataLst>
            </p:nvPr>
          </p:nvSpPr>
          <p:spPr bwMode="gray">
            <a:xfrm>
              <a:off x="9177398" y="4062676"/>
              <a:ext cx="32077" cy="57805"/>
            </a:xfrm>
            <a:custGeom>
              <a:avLst/>
              <a:gdLst/>
              <a:ahLst/>
              <a:cxnLst>
                <a:cxn ang="0">
                  <a:pos x="0" y="0"/>
                </a:cxn>
                <a:cxn ang="0">
                  <a:pos x="14" y="15"/>
                </a:cxn>
                <a:cxn ang="0">
                  <a:pos x="12" y="22"/>
                </a:cxn>
                <a:cxn ang="0">
                  <a:pos x="4" y="20"/>
                </a:cxn>
                <a:cxn ang="0">
                  <a:pos x="6" y="31"/>
                </a:cxn>
                <a:cxn ang="0">
                  <a:pos x="12" y="33"/>
                </a:cxn>
                <a:cxn ang="0">
                  <a:pos x="12" y="45"/>
                </a:cxn>
                <a:cxn ang="0">
                  <a:pos x="19" y="43"/>
                </a:cxn>
                <a:cxn ang="0">
                  <a:pos x="14" y="28"/>
                </a:cxn>
                <a:cxn ang="0">
                  <a:pos x="25" y="28"/>
                </a:cxn>
                <a:cxn ang="0">
                  <a:pos x="21" y="9"/>
                </a:cxn>
                <a:cxn ang="0">
                  <a:pos x="15" y="0"/>
                </a:cxn>
                <a:cxn ang="0">
                  <a:pos x="0" y="0"/>
                </a:cxn>
                <a:cxn ang="0">
                  <a:pos x="0" y="0"/>
                </a:cxn>
              </a:cxnLst>
              <a:rect l="0" t="0" r="r" b="b"/>
              <a:pathLst>
                <a:path w="25" h="45">
                  <a:moveTo>
                    <a:pt x="0" y="0"/>
                  </a:moveTo>
                  <a:lnTo>
                    <a:pt x="14" y="15"/>
                  </a:lnTo>
                  <a:lnTo>
                    <a:pt x="12" y="22"/>
                  </a:lnTo>
                  <a:lnTo>
                    <a:pt x="4" y="20"/>
                  </a:lnTo>
                  <a:lnTo>
                    <a:pt x="6" y="31"/>
                  </a:lnTo>
                  <a:lnTo>
                    <a:pt x="12" y="33"/>
                  </a:lnTo>
                  <a:lnTo>
                    <a:pt x="12" y="45"/>
                  </a:lnTo>
                  <a:lnTo>
                    <a:pt x="19" y="43"/>
                  </a:lnTo>
                  <a:lnTo>
                    <a:pt x="14" y="28"/>
                  </a:lnTo>
                  <a:lnTo>
                    <a:pt x="25" y="28"/>
                  </a:lnTo>
                  <a:lnTo>
                    <a:pt x="21" y="9"/>
                  </a:lnTo>
                  <a:lnTo>
                    <a:pt x="15" y="0"/>
                  </a:lnTo>
                  <a:lnTo>
                    <a:pt x="0" y="0"/>
                  </a:lnTo>
                  <a:lnTo>
                    <a:pt x="0"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68" name="Freeform 6033"/>
            <p:cNvSpPr>
              <a:spLocks/>
            </p:cNvSpPr>
            <p:nvPr>
              <p:custDataLst>
                <p:tags r:id="rId346"/>
              </p:custDataLst>
            </p:nvPr>
          </p:nvSpPr>
          <p:spPr bwMode="gray">
            <a:xfrm>
              <a:off x="9129924" y="4079376"/>
              <a:ext cx="60305" cy="66797"/>
            </a:xfrm>
            <a:custGeom>
              <a:avLst/>
              <a:gdLst/>
              <a:ahLst/>
              <a:cxnLst>
                <a:cxn ang="0">
                  <a:pos x="2" y="24"/>
                </a:cxn>
                <a:cxn ang="0">
                  <a:pos x="17" y="26"/>
                </a:cxn>
                <a:cxn ang="0">
                  <a:pos x="19" y="33"/>
                </a:cxn>
                <a:cxn ang="0">
                  <a:pos x="11" y="39"/>
                </a:cxn>
                <a:cxn ang="0">
                  <a:pos x="22" y="52"/>
                </a:cxn>
                <a:cxn ang="0">
                  <a:pos x="28" y="48"/>
                </a:cxn>
                <a:cxn ang="0">
                  <a:pos x="24" y="39"/>
                </a:cxn>
                <a:cxn ang="0">
                  <a:pos x="30" y="43"/>
                </a:cxn>
                <a:cxn ang="0">
                  <a:pos x="34" y="35"/>
                </a:cxn>
                <a:cxn ang="0">
                  <a:pos x="37" y="43"/>
                </a:cxn>
                <a:cxn ang="0">
                  <a:pos x="47" y="41"/>
                </a:cxn>
                <a:cxn ang="0">
                  <a:pos x="45" y="32"/>
                </a:cxn>
                <a:cxn ang="0">
                  <a:pos x="36" y="32"/>
                </a:cxn>
                <a:cxn ang="0">
                  <a:pos x="36" y="15"/>
                </a:cxn>
                <a:cxn ang="0">
                  <a:pos x="26" y="26"/>
                </a:cxn>
                <a:cxn ang="0">
                  <a:pos x="21" y="5"/>
                </a:cxn>
                <a:cxn ang="0">
                  <a:pos x="11" y="5"/>
                </a:cxn>
                <a:cxn ang="0">
                  <a:pos x="9" y="2"/>
                </a:cxn>
                <a:cxn ang="0">
                  <a:pos x="0" y="0"/>
                </a:cxn>
                <a:cxn ang="0">
                  <a:pos x="2" y="24"/>
                </a:cxn>
                <a:cxn ang="0">
                  <a:pos x="2" y="24"/>
                </a:cxn>
              </a:cxnLst>
              <a:rect l="0" t="0" r="r" b="b"/>
              <a:pathLst>
                <a:path w="47" h="52">
                  <a:moveTo>
                    <a:pt x="2" y="24"/>
                  </a:moveTo>
                  <a:lnTo>
                    <a:pt x="17" y="26"/>
                  </a:lnTo>
                  <a:lnTo>
                    <a:pt x="19" y="33"/>
                  </a:lnTo>
                  <a:lnTo>
                    <a:pt x="11" y="39"/>
                  </a:lnTo>
                  <a:lnTo>
                    <a:pt x="22" y="52"/>
                  </a:lnTo>
                  <a:lnTo>
                    <a:pt x="28" y="48"/>
                  </a:lnTo>
                  <a:lnTo>
                    <a:pt x="24" y="39"/>
                  </a:lnTo>
                  <a:lnTo>
                    <a:pt x="30" y="43"/>
                  </a:lnTo>
                  <a:lnTo>
                    <a:pt x="34" y="35"/>
                  </a:lnTo>
                  <a:lnTo>
                    <a:pt x="37" y="43"/>
                  </a:lnTo>
                  <a:lnTo>
                    <a:pt x="47" y="41"/>
                  </a:lnTo>
                  <a:lnTo>
                    <a:pt x="45" y="32"/>
                  </a:lnTo>
                  <a:lnTo>
                    <a:pt x="36" y="32"/>
                  </a:lnTo>
                  <a:lnTo>
                    <a:pt x="36" y="15"/>
                  </a:lnTo>
                  <a:lnTo>
                    <a:pt x="26" y="26"/>
                  </a:lnTo>
                  <a:lnTo>
                    <a:pt x="21" y="5"/>
                  </a:lnTo>
                  <a:lnTo>
                    <a:pt x="11" y="5"/>
                  </a:lnTo>
                  <a:lnTo>
                    <a:pt x="9" y="2"/>
                  </a:lnTo>
                  <a:lnTo>
                    <a:pt x="0" y="0"/>
                  </a:lnTo>
                  <a:lnTo>
                    <a:pt x="2" y="24"/>
                  </a:lnTo>
                  <a:lnTo>
                    <a:pt x="2" y="24"/>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69" name="Freeform 6034"/>
            <p:cNvSpPr>
              <a:spLocks/>
            </p:cNvSpPr>
            <p:nvPr>
              <p:custDataLst>
                <p:tags r:id="rId347"/>
              </p:custDataLst>
            </p:nvPr>
          </p:nvSpPr>
          <p:spPr bwMode="gray">
            <a:xfrm>
              <a:off x="9138906" y="4129473"/>
              <a:ext cx="96232" cy="98911"/>
            </a:xfrm>
            <a:custGeom>
              <a:avLst/>
              <a:gdLst/>
              <a:ahLst/>
              <a:cxnLst>
                <a:cxn ang="0">
                  <a:pos x="0" y="47"/>
                </a:cxn>
                <a:cxn ang="0">
                  <a:pos x="2" y="54"/>
                </a:cxn>
                <a:cxn ang="0">
                  <a:pos x="10" y="38"/>
                </a:cxn>
                <a:cxn ang="0">
                  <a:pos x="14" y="36"/>
                </a:cxn>
                <a:cxn ang="0">
                  <a:pos x="15" y="43"/>
                </a:cxn>
                <a:cxn ang="0">
                  <a:pos x="27" y="36"/>
                </a:cxn>
                <a:cxn ang="0">
                  <a:pos x="34" y="39"/>
                </a:cxn>
                <a:cxn ang="0">
                  <a:pos x="38" y="43"/>
                </a:cxn>
                <a:cxn ang="0">
                  <a:pos x="34" y="60"/>
                </a:cxn>
                <a:cxn ang="0">
                  <a:pos x="59" y="77"/>
                </a:cxn>
                <a:cxn ang="0">
                  <a:pos x="64" y="68"/>
                </a:cxn>
                <a:cxn ang="0">
                  <a:pos x="55" y="54"/>
                </a:cxn>
                <a:cxn ang="0">
                  <a:pos x="59" y="51"/>
                </a:cxn>
                <a:cxn ang="0">
                  <a:pos x="62" y="43"/>
                </a:cxn>
                <a:cxn ang="0">
                  <a:pos x="70" y="62"/>
                </a:cxn>
                <a:cxn ang="0">
                  <a:pos x="75" y="45"/>
                </a:cxn>
                <a:cxn ang="0">
                  <a:pos x="70" y="17"/>
                </a:cxn>
                <a:cxn ang="0">
                  <a:pos x="53" y="0"/>
                </a:cxn>
                <a:cxn ang="0">
                  <a:pos x="55" y="11"/>
                </a:cxn>
                <a:cxn ang="0">
                  <a:pos x="51" y="17"/>
                </a:cxn>
                <a:cxn ang="0">
                  <a:pos x="45" y="13"/>
                </a:cxn>
                <a:cxn ang="0">
                  <a:pos x="44" y="23"/>
                </a:cxn>
                <a:cxn ang="0">
                  <a:pos x="30" y="30"/>
                </a:cxn>
                <a:cxn ang="0">
                  <a:pos x="29" y="23"/>
                </a:cxn>
                <a:cxn ang="0">
                  <a:pos x="17" y="23"/>
                </a:cxn>
                <a:cxn ang="0">
                  <a:pos x="2" y="36"/>
                </a:cxn>
                <a:cxn ang="0">
                  <a:pos x="0" y="47"/>
                </a:cxn>
                <a:cxn ang="0">
                  <a:pos x="0" y="47"/>
                </a:cxn>
              </a:cxnLst>
              <a:rect l="0" t="0" r="r" b="b"/>
              <a:pathLst>
                <a:path w="75" h="77">
                  <a:moveTo>
                    <a:pt x="0" y="47"/>
                  </a:moveTo>
                  <a:lnTo>
                    <a:pt x="2" y="54"/>
                  </a:lnTo>
                  <a:lnTo>
                    <a:pt x="10" y="38"/>
                  </a:lnTo>
                  <a:lnTo>
                    <a:pt x="14" y="36"/>
                  </a:lnTo>
                  <a:lnTo>
                    <a:pt x="15" y="43"/>
                  </a:lnTo>
                  <a:lnTo>
                    <a:pt x="27" y="36"/>
                  </a:lnTo>
                  <a:lnTo>
                    <a:pt x="34" y="39"/>
                  </a:lnTo>
                  <a:lnTo>
                    <a:pt x="38" y="43"/>
                  </a:lnTo>
                  <a:lnTo>
                    <a:pt x="34" y="60"/>
                  </a:lnTo>
                  <a:lnTo>
                    <a:pt x="59" y="77"/>
                  </a:lnTo>
                  <a:lnTo>
                    <a:pt x="64" y="68"/>
                  </a:lnTo>
                  <a:lnTo>
                    <a:pt x="55" y="54"/>
                  </a:lnTo>
                  <a:lnTo>
                    <a:pt x="59" y="51"/>
                  </a:lnTo>
                  <a:lnTo>
                    <a:pt x="62" y="43"/>
                  </a:lnTo>
                  <a:lnTo>
                    <a:pt x="70" y="62"/>
                  </a:lnTo>
                  <a:lnTo>
                    <a:pt x="75" y="45"/>
                  </a:lnTo>
                  <a:lnTo>
                    <a:pt x="70" y="17"/>
                  </a:lnTo>
                  <a:lnTo>
                    <a:pt x="53" y="0"/>
                  </a:lnTo>
                  <a:lnTo>
                    <a:pt x="55" y="11"/>
                  </a:lnTo>
                  <a:lnTo>
                    <a:pt x="51" y="17"/>
                  </a:lnTo>
                  <a:lnTo>
                    <a:pt x="45" y="13"/>
                  </a:lnTo>
                  <a:lnTo>
                    <a:pt x="44" y="23"/>
                  </a:lnTo>
                  <a:lnTo>
                    <a:pt x="30" y="30"/>
                  </a:lnTo>
                  <a:lnTo>
                    <a:pt x="29" y="23"/>
                  </a:lnTo>
                  <a:lnTo>
                    <a:pt x="17" y="23"/>
                  </a:lnTo>
                  <a:lnTo>
                    <a:pt x="2" y="36"/>
                  </a:lnTo>
                  <a:lnTo>
                    <a:pt x="0" y="47"/>
                  </a:lnTo>
                  <a:lnTo>
                    <a:pt x="0" y="47"/>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70" name="Freeform 6035"/>
            <p:cNvSpPr>
              <a:spLocks/>
            </p:cNvSpPr>
            <p:nvPr>
              <p:custDataLst>
                <p:tags r:id="rId348"/>
              </p:custDataLst>
            </p:nvPr>
          </p:nvSpPr>
          <p:spPr bwMode="gray">
            <a:xfrm>
              <a:off x="9689352" y="4459605"/>
              <a:ext cx="89816" cy="47529"/>
            </a:xfrm>
            <a:custGeom>
              <a:avLst/>
              <a:gdLst/>
              <a:ahLst/>
              <a:cxnLst>
                <a:cxn ang="0">
                  <a:pos x="0" y="24"/>
                </a:cxn>
                <a:cxn ang="0">
                  <a:pos x="15" y="37"/>
                </a:cxn>
                <a:cxn ang="0">
                  <a:pos x="38" y="37"/>
                </a:cxn>
                <a:cxn ang="0">
                  <a:pos x="62" y="26"/>
                </a:cxn>
                <a:cxn ang="0">
                  <a:pos x="70" y="9"/>
                </a:cxn>
                <a:cxn ang="0">
                  <a:pos x="68" y="0"/>
                </a:cxn>
                <a:cxn ang="0">
                  <a:pos x="55" y="0"/>
                </a:cxn>
                <a:cxn ang="0">
                  <a:pos x="57" y="13"/>
                </a:cxn>
                <a:cxn ang="0">
                  <a:pos x="51" y="13"/>
                </a:cxn>
                <a:cxn ang="0">
                  <a:pos x="43" y="24"/>
                </a:cxn>
                <a:cxn ang="0">
                  <a:pos x="0" y="24"/>
                </a:cxn>
                <a:cxn ang="0">
                  <a:pos x="0" y="24"/>
                </a:cxn>
              </a:cxnLst>
              <a:rect l="0" t="0" r="r" b="b"/>
              <a:pathLst>
                <a:path w="70" h="37">
                  <a:moveTo>
                    <a:pt x="0" y="24"/>
                  </a:moveTo>
                  <a:lnTo>
                    <a:pt x="15" y="37"/>
                  </a:lnTo>
                  <a:lnTo>
                    <a:pt x="38" y="37"/>
                  </a:lnTo>
                  <a:lnTo>
                    <a:pt x="62" y="26"/>
                  </a:lnTo>
                  <a:lnTo>
                    <a:pt x="70" y="9"/>
                  </a:lnTo>
                  <a:lnTo>
                    <a:pt x="68" y="0"/>
                  </a:lnTo>
                  <a:lnTo>
                    <a:pt x="55" y="0"/>
                  </a:lnTo>
                  <a:lnTo>
                    <a:pt x="57" y="13"/>
                  </a:lnTo>
                  <a:lnTo>
                    <a:pt x="51" y="13"/>
                  </a:lnTo>
                  <a:lnTo>
                    <a:pt x="43" y="24"/>
                  </a:lnTo>
                  <a:lnTo>
                    <a:pt x="0" y="24"/>
                  </a:lnTo>
                  <a:lnTo>
                    <a:pt x="0" y="2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71" name="Freeform 6036"/>
            <p:cNvSpPr>
              <a:spLocks/>
            </p:cNvSpPr>
            <p:nvPr>
              <p:custDataLst>
                <p:tags r:id="rId349"/>
              </p:custDataLst>
            </p:nvPr>
          </p:nvSpPr>
          <p:spPr bwMode="gray">
            <a:xfrm>
              <a:off x="9661124" y="4408223"/>
              <a:ext cx="8982" cy="0"/>
            </a:xfrm>
            <a:custGeom>
              <a:avLst/>
              <a:gdLst/>
              <a:ahLst/>
              <a:cxnLst>
                <a:cxn ang="0">
                  <a:pos x="0" y="0"/>
                </a:cxn>
                <a:cxn ang="0">
                  <a:pos x="7" y="0"/>
                </a:cxn>
                <a:cxn ang="0">
                  <a:pos x="0" y="0"/>
                </a:cxn>
              </a:cxnLst>
              <a:rect l="0" t="0" r="r" b="b"/>
              <a:pathLst>
                <a:path w="7">
                  <a:moveTo>
                    <a:pt x="0" y="0"/>
                  </a:moveTo>
                  <a:lnTo>
                    <a:pt x="7"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72" name="Line 6037"/>
            <p:cNvSpPr>
              <a:spLocks noChangeShapeType="1"/>
            </p:cNvSpPr>
            <p:nvPr>
              <p:custDataLst>
                <p:tags r:id="rId350"/>
              </p:custDataLst>
            </p:nvPr>
          </p:nvSpPr>
          <p:spPr bwMode="gray">
            <a:xfrm>
              <a:off x="9661124" y="4408223"/>
              <a:ext cx="8982" cy="0"/>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73" name="Freeform 6038"/>
            <p:cNvSpPr>
              <a:spLocks/>
            </p:cNvSpPr>
            <p:nvPr>
              <p:custDataLst>
                <p:tags r:id="rId351"/>
              </p:custDataLst>
            </p:nvPr>
          </p:nvSpPr>
          <p:spPr bwMode="gray">
            <a:xfrm>
              <a:off x="9747091" y="4421068"/>
              <a:ext cx="43625" cy="55236"/>
            </a:xfrm>
            <a:custGeom>
              <a:avLst/>
              <a:gdLst/>
              <a:ahLst/>
              <a:cxnLst>
                <a:cxn ang="0">
                  <a:pos x="0" y="0"/>
                </a:cxn>
                <a:cxn ang="0">
                  <a:pos x="23" y="20"/>
                </a:cxn>
                <a:cxn ang="0">
                  <a:pos x="32" y="43"/>
                </a:cxn>
                <a:cxn ang="0">
                  <a:pos x="34" y="24"/>
                </a:cxn>
                <a:cxn ang="0">
                  <a:pos x="12" y="5"/>
                </a:cxn>
                <a:cxn ang="0">
                  <a:pos x="0" y="0"/>
                </a:cxn>
                <a:cxn ang="0">
                  <a:pos x="0" y="0"/>
                </a:cxn>
              </a:cxnLst>
              <a:rect l="0" t="0" r="r" b="b"/>
              <a:pathLst>
                <a:path w="34" h="43">
                  <a:moveTo>
                    <a:pt x="0" y="0"/>
                  </a:moveTo>
                  <a:lnTo>
                    <a:pt x="23" y="20"/>
                  </a:lnTo>
                  <a:lnTo>
                    <a:pt x="32" y="43"/>
                  </a:lnTo>
                  <a:lnTo>
                    <a:pt x="34" y="24"/>
                  </a:lnTo>
                  <a:lnTo>
                    <a:pt x="12" y="5"/>
                  </a:lnTo>
                  <a:lnTo>
                    <a:pt x="0" y="0"/>
                  </a:lnTo>
                  <a:lnTo>
                    <a:pt x="0" y="0"/>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74" name="Freeform 6059"/>
            <p:cNvSpPr>
              <a:spLocks/>
            </p:cNvSpPr>
            <p:nvPr>
              <p:custDataLst>
                <p:tags r:id="rId352"/>
              </p:custDataLst>
            </p:nvPr>
          </p:nvSpPr>
          <p:spPr bwMode="gray">
            <a:xfrm>
              <a:off x="9783018" y="510702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75" name="Freeform 6060"/>
            <p:cNvSpPr>
              <a:spLocks/>
            </p:cNvSpPr>
            <p:nvPr>
              <p:custDataLst>
                <p:tags r:id="rId353"/>
              </p:custDataLst>
            </p:nvPr>
          </p:nvSpPr>
          <p:spPr bwMode="gray">
            <a:xfrm>
              <a:off x="10071714" y="5396049"/>
              <a:ext cx="16680" cy="8992"/>
            </a:xfrm>
            <a:custGeom>
              <a:avLst/>
              <a:gdLst/>
              <a:ahLst/>
              <a:cxnLst>
                <a:cxn ang="0">
                  <a:pos x="2" y="0"/>
                </a:cxn>
                <a:cxn ang="0">
                  <a:pos x="6" y="1"/>
                </a:cxn>
                <a:cxn ang="0">
                  <a:pos x="0" y="7"/>
                </a:cxn>
                <a:cxn ang="0">
                  <a:pos x="13" y="0"/>
                </a:cxn>
                <a:cxn ang="0">
                  <a:pos x="2" y="0"/>
                </a:cxn>
                <a:cxn ang="0">
                  <a:pos x="2" y="0"/>
                </a:cxn>
              </a:cxnLst>
              <a:rect l="0" t="0" r="r" b="b"/>
              <a:pathLst>
                <a:path w="13" h="7">
                  <a:moveTo>
                    <a:pt x="2" y="0"/>
                  </a:moveTo>
                  <a:lnTo>
                    <a:pt x="6" y="1"/>
                  </a:lnTo>
                  <a:lnTo>
                    <a:pt x="0" y="7"/>
                  </a:lnTo>
                  <a:lnTo>
                    <a:pt x="13" y="0"/>
                  </a:lnTo>
                  <a:lnTo>
                    <a:pt x="2" y="0"/>
                  </a:lnTo>
                  <a:lnTo>
                    <a:pt x="2"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76" name="Freeform 6062"/>
            <p:cNvSpPr>
              <a:spLocks/>
            </p:cNvSpPr>
            <p:nvPr>
              <p:custDataLst>
                <p:tags r:id="rId354"/>
              </p:custDataLst>
            </p:nvPr>
          </p:nvSpPr>
          <p:spPr bwMode="gray">
            <a:xfrm>
              <a:off x="9876684" y="55322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77" name="Freeform 6073"/>
            <p:cNvSpPr>
              <a:spLocks/>
            </p:cNvSpPr>
            <p:nvPr>
              <p:custDataLst>
                <p:tags r:id="rId355"/>
              </p:custDataLst>
            </p:nvPr>
          </p:nvSpPr>
          <p:spPr bwMode="gray">
            <a:xfrm>
              <a:off x="9336502" y="428875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78" name="Freeform 6074"/>
            <p:cNvSpPr>
              <a:spLocks/>
            </p:cNvSpPr>
            <p:nvPr>
              <p:custDataLst>
                <p:tags r:id="rId356"/>
              </p:custDataLst>
            </p:nvPr>
          </p:nvSpPr>
          <p:spPr bwMode="gray">
            <a:xfrm>
              <a:off x="9358314" y="425664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79" name="Freeform 6075"/>
            <p:cNvSpPr>
              <a:spLocks/>
            </p:cNvSpPr>
            <p:nvPr>
              <p:custDataLst>
                <p:tags r:id="rId357"/>
              </p:custDataLst>
            </p:nvPr>
          </p:nvSpPr>
          <p:spPr bwMode="gray">
            <a:xfrm>
              <a:off x="9355748" y="423352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80" name="Freeform 6076"/>
            <p:cNvSpPr>
              <a:spLocks/>
            </p:cNvSpPr>
            <p:nvPr>
              <p:custDataLst>
                <p:tags r:id="rId358"/>
              </p:custDataLst>
            </p:nvPr>
          </p:nvSpPr>
          <p:spPr bwMode="gray">
            <a:xfrm>
              <a:off x="9394241" y="419755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81" name="Freeform 6077"/>
            <p:cNvSpPr>
              <a:spLocks/>
            </p:cNvSpPr>
            <p:nvPr>
              <p:custDataLst>
                <p:tags r:id="rId359"/>
              </p:custDataLst>
            </p:nvPr>
          </p:nvSpPr>
          <p:spPr bwMode="gray">
            <a:xfrm>
              <a:off x="9396807" y="419498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82" name="Freeform 6078"/>
            <p:cNvSpPr>
              <a:spLocks/>
            </p:cNvSpPr>
            <p:nvPr>
              <p:custDataLst>
                <p:tags r:id="rId360"/>
              </p:custDataLst>
            </p:nvPr>
          </p:nvSpPr>
          <p:spPr bwMode="gray">
            <a:xfrm>
              <a:off x="9401940" y="418214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83" name="Freeform 6079"/>
            <p:cNvSpPr>
              <a:spLocks/>
            </p:cNvSpPr>
            <p:nvPr>
              <p:custDataLst>
                <p:tags r:id="rId361"/>
              </p:custDataLst>
            </p:nvPr>
          </p:nvSpPr>
          <p:spPr bwMode="gray">
            <a:xfrm>
              <a:off x="9473793" y="413461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84" name="Freeform 6080"/>
            <p:cNvSpPr>
              <a:spLocks/>
            </p:cNvSpPr>
            <p:nvPr>
              <p:custDataLst>
                <p:tags r:id="rId362"/>
              </p:custDataLst>
            </p:nvPr>
          </p:nvSpPr>
          <p:spPr bwMode="gray">
            <a:xfrm>
              <a:off x="9502021" y="412176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85" name="Freeform 6095"/>
            <p:cNvSpPr>
              <a:spLocks/>
            </p:cNvSpPr>
            <p:nvPr>
              <p:custDataLst>
                <p:tags r:id="rId363"/>
              </p:custDataLst>
            </p:nvPr>
          </p:nvSpPr>
          <p:spPr bwMode="gray">
            <a:xfrm>
              <a:off x="5251135" y="3032460"/>
              <a:ext cx="23096" cy="16699"/>
            </a:xfrm>
            <a:custGeom>
              <a:avLst/>
              <a:gdLst/>
              <a:ahLst/>
              <a:cxnLst>
                <a:cxn ang="0">
                  <a:pos x="3" y="5"/>
                </a:cxn>
                <a:cxn ang="0">
                  <a:pos x="13" y="4"/>
                </a:cxn>
                <a:cxn ang="0">
                  <a:pos x="0" y="11"/>
                </a:cxn>
                <a:cxn ang="0">
                  <a:pos x="13" y="7"/>
                </a:cxn>
                <a:cxn ang="0">
                  <a:pos x="9" y="13"/>
                </a:cxn>
                <a:cxn ang="0">
                  <a:pos x="18" y="0"/>
                </a:cxn>
                <a:cxn ang="0">
                  <a:pos x="3" y="5"/>
                </a:cxn>
                <a:cxn ang="0">
                  <a:pos x="3" y="5"/>
                </a:cxn>
              </a:cxnLst>
              <a:rect l="0" t="0" r="r" b="b"/>
              <a:pathLst>
                <a:path w="18" h="13">
                  <a:moveTo>
                    <a:pt x="3" y="5"/>
                  </a:moveTo>
                  <a:lnTo>
                    <a:pt x="13" y="4"/>
                  </a:lnTo>
                  <a:lnTo>
                    <a:pt x="0" y="11"/>
                  </a:lnTo>
                  <a:lnTo>
                    <a:pt x="13" y="7"/>
                  </a:lnTo>
                  <a:lnTo>
                    <a:pt x="9" y="13"/>
                  </a:lnTo>
                  <a:lnTo>
                    <a:pt x="18" y="0"/>
                  </a:lnTo>
                  <a:lnTo>
                    <a:pt x="3" y="5"/>
                  </a:lnTo>
                  <a:lnTo>
                    <a:pt x="3" y="5"/>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86" name="Freeform 6096"/>
            <p:cNvSpPr>
              <a:spLocks/>
            </p:cNvSpPr>
            <p:nvPr>
              <p:custDataLst>
                <p:tags r:id="rId364"/>
              </p:custDataLst>
            </p:nvPr>
          </p:nvSpPr>
          <p:spPr bwMode="gray">
            <a:xfrm>
              <a:off x="5176716" y="3109533"/>
              <a:ext cx="19246" cy="8992"/>
            </a:xfrm>
            <a:custGeom>
              <a:avLst/>
              <a:gdLst/>
              <a:ahLst/>
              <a:cxnLst>
                <a:cxn ang="0">
                  <a:pos x="0" y="2"/>
                </a:cxn>
                <a:cxn ang="0">
                  <a:pos x="15" y="7"/>
                </a:cxn>
                <a:cxn ang="0">
                  <a:pos x="15" y="0"/>
                </a:cxn>
                <a:cxn ang="0">
                  <a:pos x="0" y="2"/>
                </a:cxn>
                <a:cxn ang="0">
                  <a:pos x="0" y="2"/>
                </a:cxn>
              </a:cxnLst>
              <a:rect l="0" t="0" r="r" b="b"/>
              <a:pathLst>
                <a:path w="15" h="7">
                  <a:moveTo>
                    <a:pt x="0" y="2"/>
                  </a:moveTo>
                  <a:lnTo>
                    <a:pt x="15" y="7"/>
                  </a:lnTo>
                  <a:lnTo>
                    <a:pt x="15" y="0"/>
                  </a:lnTo>
                  <a:lnTo>
                    <a:pt x="0" y="2"/>
                  </a:lnTo>
                  <a:lnTo>
                    <a:pt x="0" y="2"/>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87" name="Freeform 6099"/>
            <p:cNvSpPr>
              <a:spLocks/>
            </p:cNvSpPr>
            <p:nvPr>
              <p:custDataLst>
                <p:tags r:id="rId365"/>
              </p:custDataLst>
            </p:nvPr>
          </p:nvSpPr>
          <p:spPr bwMode="gray">
            <a:xfrm>
              <a:off x="9441715" y="319046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88" name="Freeform 6100"/>
            <p:cNvSpPr>
              <a:spLocks/>
            </p:cNvSpPr>
            <p:nvPr>
              <p:custDataLst>
                <p:tags r:id="rId366"/>
              </p:custDataLst>
            </p:nvPr>
          </p:nvSpPr>
          <p:spPr bwMode="gray">
            <a:xfrm>
              <a:off x="9132490" y="3082558"/>
              <a:ext cx="156537" cy="192684"/>
            </a:xfrm>
            <a:custGeom>
              <a:avLst/>
              <a:gdLst/>
              <a:ahLst/>
              <a:cxnLst>
                <a:cxn ang="0">
                  <a:pos x="5" y="17"/>
                </a:cxn>
                <a:cxn ang="0">
                  <a:pos x="82" y="113"/>
                </a:cxn>
                <a:cxn ang="0">
                  <a:pos x="93" y="137"/>
                </a:cxn>
                <a:cxn ang="0">
                  <a:pos x="105" y="150"/>
                </a:cxn>
                <a:cxn ang="0">
                  <a:pos x="105" y="137"/>
                </a:cxn>
                <a:cxn ang="0">
                  <a:pos x="122" y="143"/>
                </a:cxn>
                <a:cxn ang="0">
                  <a:pos x="84" y="105"/>
                </a:cxn>
                <a:cxn ang="0">
                  <a:pos x="80" y="88"/>
                </a:cxn>
                <a:cxn ang="0">
                  <a:pos x="99" y="92"/>
                </a:cxn>
                <a:cxn ang="0">
                  <a:pos x="11" y="6"/>
                </a:cxn>
                <a:cxn ang="0">
                  <a:pos x="0" y="0"/>
                </a:cxn>
                <a:cxn ang="0">
                  <a:pos x="9" y="8"/>
                </a:cxn>
                <a:cxn ang="0">
                  <a:pos x="5" y="17"/>
                </a:cxn>
                <a:cxn ang="0">
                  <a:pos x="5" y="17"/>
                </a:cxn>
              </a:cxnLst>
              <a:rect l="0" t="0" r="r" b="b"/>
              <a:pathLst>
                <a:path w="122" h="150">
                  <a:moveTo>
                    <a:pt x="5" y="17"/>
                  </a:moveTo>
                  <a:lnTo>
                    <a:pt x="82" y="113"/>
                  </a:lnTo>
                  <a:lnTo>
                    <a:pt x="93" y="137"/>
                  </a:lnTo>
                  <a:lnTo>
                    <a:pt x="105" y="150"/>
                  </a:lnTo>
                  <a:lnTo>
                    <a:pt x="105" y="137"/>
                  </a:lnTo>
                  <a:lnTo>
                    <a:pt x="122" y="143"/>
                  </a:lnTo>
                  <a:lnTo>
                    <a:pt x="84" y="105"/>
                  </a:lnTo>
                  <a:lnTo>
                    <a:pt x="80" y="88"/>
                  </a:lnTo>
                  <a:lnTo>
                    <a:pt x="99" y="92"/>
                  </a:lnTo>
                  <a:lnTo>
                    <a:pt x="11" y="6"/>
                  </a:lnTo>
                  <a:lnTo>
                    <a:pt x="0" y="0"/>
                  </a:lnTo>
                  <a:lnTo>
                    <a:pt x="9" y="8"/>
                  </a:lnTo>
                  <a:lnTo>
                    <a:pt x="5" y="17"/>
                  </a:lnTo>
                  <a:lnTo>
                    <a:pt x="5" y="1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89" name="Freeform 6101"/>
            <p:cNvSpPr>
              <a:spLocks/>
            </p:cNvSpPr>
            <p:nvPr>
              <p:custDataLst>
                <p:tags r:id="rId367"/>
              </p:custDataLst>
            </p:nvPr>
          </p:nvSpPr>
          <p:spPr bwMode="gray">
            <a:xfrm>
              <a:off x="6815225" y="334974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90" name="Freeform 6102"/>
            <p:cNvSpPr>
              <a:spLocks/>
            </p:cNvSpPr>
            <p:nvPr>
              <p:custDataLst>
                <p:tags r:id="rId368"/>
              </p:custDataLst>
            </p:nvPr>
          </p:nvSpPr>
          <p:spPr bwMode="gray">
            <a:xfrm>
              <a:off x="7144980" y="3518023"/>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91" name="Freeform 6103"/>
            <p:cNvSpPr>
              <a:spLocks/>
            </p:cNvSpPr>
            <p:nvPr>
              <p:custDataLst>
                <p:tags r:id="rId369"/>
              </p:custDataLst>
            </p:nvPr>
          </p:nvSpPr>
          <p:spPr bwMode="gray">
            <a:xfrm>
              <a:off x="7153961" y="3496186"/>
              <a:ext cx="10265" cy="15415"/>
            </a:xfrm>
            <a:custGeom>
              <a:avLst/>
              <a:gdLst/>
              <a:ahLst/>
              <a:cxnLst>
                <a:cxn ang="0">
                  <a:pos x="0" y="6"/>
                </a:cxn>
                <a:cxn ang="0">
                  <a:pos x="2" y="12"/>
                </a:cxn>
                <a:cxn ang="0">
                  <a:pos x="8" y="0"/>
                </a:cxn>
                <a:cxn ang="0">
                  <a:pos x="0" y="6"/>
                </a:cxn>
                <a:cxn ang="0">
                  <a:pos x="0" y="6"/>
                </a:cxn>
              </a:cxnLst>
              <a:rect l="0" t="0" r="r" b="b"/>
              <a:pathLst>
                <a:path w="8" h="12">
                  <a:moveTo>
                    <a:pt x="0" y="6"/>
                  </a:moveTo>
                  <a:lnTo>
                    <a:pt x="2" y="12"/>
                  </a:lnTo>
                  <a:lnTo>
                    <a:pt x="8" y="0"/>
                  </a:lnTo>
                  <a:lnTo>
                    <a:pt x="0" y="6"/>
                  </a:lnTo>
                  <a:lnTo>
                    <a:pt x="0"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92" name="Freeform 6104"/>
            <p:cNvSpPr>
              <a:spLocks/>
            </p:cNvSpPr>
            <p:nvPr>
              <p:custDataLst>
                <p:tags r:id="rId370"/>
              </p:custDataLst>
            </p:nvPr>
          </p:nvSpPr>
          <p:spPr bwMode="gray">
            <a:xfrm>
              <a:off x="7092373" y="3492332"/>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93" name="Freeform 6105"/>
            <p:cNvSpPr>
              <a:spLocks/>
            </p:cNvSpPr>
            <p:nvPr>
              <p:custDataLst>
                <p:tags r:id="rId371"/>
              </p:custDataLst>
            </p:nvPr>
          </p:nvSpPr>
          <p:spPr bwMode="gray">
            <a:xfrm>
              <a:off x="7109053" y="348462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94" name="Freeform 6106"/>
            <p:cNvSpPr>
              <a:spLocks/>
            </p:cNvSpPr>
            <p:nvPr>
              <p:custDataLst>
                <p:tags r:id="rId372"/>
              </p:custDataLst>
            </p:nvPr>
          </p:nvSpPr>
          <p:spPr bwMode="gray">
            <a:xfrm>
              <a:off x="7101355" y="347049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95" name="Freeform 6107"/>
            <p:cNvSpPr>
              <a:spLocks/>
            </p:cNvSpPr>
            <p:nvPr>
              <p:custDataLst>
                <p:tags r:id="rId373"/>
              </p:custDataLst>
            </p:nvPr>
          </p:nvSpPr>
          <p:spPr bwMode="gray">
            <a:xfrm>
              <a:off x="7115469" y="3431958"/>
              <a:ext cx="7699" cy="2569"/>
            </a:xfrm>
            <a:custGeom>
              <a:avLst/>
              <a:gdLst/>
              <a:ahLst/>
              <a:cxnLst>
                <a:cxn ang="0">
                  <a:pos x="0" y="0"/>
                </a:cxn>
                <a:cxn ang="0">
                  <a:pos x="6" y="2"/>
                </a:cxn>
                <a:cxn ang="0">
                  <a:pos x="0" y="0"/>
                </a:cxn>
              </a:cxnLst>
              <a:rect l="0" t="0" r="r" b="b"/>
              <a:pathLst>
                <a:path w="6" h="2">
                  <a:moveTo>
                    <a:pt x="0" y="0"/>
                  </a:moveTo>
                  <a:lnTo>
                    <a:pt x="6" y="2"/>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96" name="Line 6108"/>
            <p:cNvSpPr>
              <a:spLocks noChangeShapeType="1"/>
            </p:cNvSpPr>
            <p:nvPr>
              <p:custDataLst>
                <p:tags r:id="rId374"/>
              </p:custDataLst>
            </p:nvPr>
          </p:nvSpPr>
          <p:spPr bwMode="gray">
            <a:xfrm>
              <a:off x="7115469" y="3431958"/>
              <a:ext cx="7699" cy="2569"/>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97" name="Freeform 6109"/>
            <p:cNvSpPr>
              <a:spLocks/>
            </p:cNvSpPr>
            <p:nvPr>
              <p:custDataLst>
                <p:tags r:id="rId375"/>
              </p:custDataLst>
            </p:nvPr>
          </p:nvSpPr>
          <p:spPr bwMode="gray">
            <a:xfrm>
              <a:off x="7118035" y="3448657"/>
              <a:ext cx="0" cy="5138"/>
            </a:xfrm>
            <a:custGeom>
              <a:avLst/>
              <a:gdLst/>
              <a:ahLst/>
              <a:cxnLst>
                <a:cxn ang="0">
                  <a:pos x="0" y="0"/>
                </a:cxn>
                <a:cxn ang="0">
                  <a:pos x="0" y="4"/>
                </a:cxn>
                <a:cxn ang="0">
                  <a:pos x="0" y="0"/>
                </a:cxn>
              </a:cxnLst>
              <a:rect l="0" t="0" r="r" b="b"/>
              <a:pathLst>
                <a:path h="4">
                  <a:moveTo>
                    <a:pt x="0" y="0"/>
                  </a:moveTo>
                  <a:lnTo>
                    <a:pt x="0" y="4"/>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98" name="Line 6110"/>
            <p:cNvSpPr>
              <a:spLocks noChangeShapeType="1"/>
            </p:cNvSpPr>
            <p:nvPr>
              <p:custDataLst>
                <p:tags r:id="rId376"/>
              </p:custDataLst>
            </p:nvPr>
          </p:nvSpPr>
          <p:spPr bwMode="gray">
            <a:xfrm>
              <a:off x="7118035" y="3448657"/>
              <a:ext cx="0" cy="5138"/>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899" name="Freeform 6111"/>
            <p:cNvSpPr>
              <a:spLocks/>
            </p:cNvSpPr>
            <p:nvPr>
              <p:custDataLst>
                <p:tags r:id="rId377"/>
              </p:custDataLst>
            </p:nvPr>
          </p:nvSpPr>
          <p:spPr bwMode="gray">
            <a:xfrm>
              <a:off x="7132149" y="346535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00" name="Freeform 6112"/>
            <p:cNvSpPr>
              <a:spLocks/>
            </p:cNvSpPr>
            <p:nvPr>
              <p:custDataLst>
                <p:tags r:id="rId378"/>
              </p:custDataLst>
            </p:nvPr>
          </p:nvSpPr>
          <p:spPr bwMode="gray">
            <a:xfrm>
              <a:off x="6717232" y="433510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01" name="Freeform 6113"/>
            <p:cNvSpPr>
              <a:spLocks/>
            </p:cNvSpPr>
            <p:nvPr>
              <p:custDataLst>
                <p:tags r:id="rId379"/>
              </p:custDataLst>
            </p:nvPr>
          </p:nvSpPr>
          <p:spPr bwMode="gray">
            <a:xfrm>
              <a:off x="6758291" y="4251605"/>
              <a:ext cx="10265" cy="8992"/>
            </a:xfrm>
            <a:custGeom>
              <a:avLst/>
              <a:gdLst/>
              <a:ahLst/>
              <a:cxnLst>
                <a:cxn ang="0">
                  <a:pos x="0" y="7"/>
                </a:cxn>
                <a:cxn ang="0">
                  <a:pos x="4" y="7"/>
                </a:cxn>
                <a:cxn ang="0">
                  <a:pos x="8" y="1"/>
                </a:cxn>
                <a:cxn ang="0">
                  <a:pos x="4" y="0"/>
                </a:cxn>
                <a:cxn ang="0">
                  <a:pos x="0" y="7"/>
                </a:cxn>
                <a:cxn ang="0">
                  <a:pos x="0" y="7"/>
                </a:cxn>
              </a:cxnLst>
              <a:rect l="0" t="0" r="r" b="b"/>
              <a:pathLst>
                <a:path w="8" h="7">
                  <a:moveTo>
                    <a:pt x="0" y="7"/>
                  </a:moveTo>
                  <a:lnTo>
                    <a:pt x="4" y="7"/>
                  </a:lnTo>
                  <a:lnTo>
                    <a:pt x="8" y="1"/>
                  </a:lnTo>
                  <a:lnTo>
                    <a:pt x="4" y="0"/>
                  </a:lnTo>
                  <a:lnTo>
                    <a:pt x="0" y="7"/>
                  </a:lnTo>
                  <a:lnTo>
                    <a:pt x="0" y="7"/>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02" name="Freeform 6114"/>
            <p:cNvSpPr>
              <a:spLocks/>
            </p:cNvSpPr>
            <p:nvPr>
              <p:custDataLst>
                <p:tags r:id="rId380"/>
              </p:custDataLst>
            </p:nvPr>
          </p:nvSpPr>
          <p:spPr bwMode="gray">
            <a:xfrm>
              <a:off x="9298009" y="4627882"/>
              <a:ext cx="30794" cy="16699"/>
            </a:xfrm>
            <a:custGeom>
              <a:avLst/>
              <a:gdLst/>
              <a:ahLst/>
              <a:cxnLst>
                <a:cxn ang="0">
                  <a:pos x="0" y="9"/>
                </a:cxn>
                <a:cxn ang="0">
                  <a:pos x="15" y="13"/>
                </a:cxn>
                <a:cxn ang="0">
                  <a:pos x="24" y="6"/>
                </a:cxn>
                <a:cxn ang="0">
                  <a:pos x="23" y="0"/>
                </a:cxn>
                <a:cxn ang="0">
                  <a:pos x="8" y="0"/>
                </a:cxn>
                <a:cxn ang="0">
                  <a:pos x="0" y="9"/>
                </a:cxn>
                <a:cxn ang="0">
                  <a:pos x="0" y="9"/>
                </a:cxn>
              </a:cxnLst>
              <a:rect l="0" t="0" r="r" b="b"/>
              <a:pathLst>
                <a:path w="24" h="13">
                  <a:moveTo>
                    <a:pt x="0" y="9"/>
                  </a:moveTo>
                  <a:lnTo>
                    <a:pt x="15" y="13"/>
                  </a:lnTo>
                  <a:lnTo>
                    <a:pt x="24" y="6"/>
                  </a:lnTo>
                  <a:lnTo>
                    <a:pt x="23" y="0"/>
                  </a:lnTo>
                  <a:lnTo>
                    <a:pt x="8" y="0"/>
                  </a:lnTo>
                  <a:lnTo>
                    <a:pt x="0" y="9"/>
                  </a:lnTo>
                  <a:lnTo>
                    <a:pt x="0" y="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03" name="Freeform 6115"/>
            <p:cNvSpPr>
              <a:spLocks/>
            </p:cNvSpPr>
            <p:nvPr>
              <p:custDataLst>
                <p:tags r:id="rId381"/>
              </p:custDataLst>
            </p:nvPr>
          </p:nvSpPr>
          <p:spPr bwMode="gray">
            <a:xfrm>
              <a:off x="9165851" y="4558516"/>
              <a:ext cx="82118" cy="47529"/>
            </a:xfrm>
            <a:custGeom>
              <a:avLst/>
              <a:gdLst/>
              <a:ahLst/>
              <a:cxnLst>
                <a:cxn ang="0">
                  <a:pos x="0" y="37"/>
                </a:cxn>
                <a:cxn ang="0">
                  <a:pos x="17" y="31"/>
                </a:cxn>
                <a:cxn ang="0">
                  <a:pos x="32" y="16"/>
                </a:cxn>
                <a:cxn ang="0">
                  <a:pos x="64" y="0"/>
                </a:cxn>
                <a:cxn ang="0">
                  <a:pos x="28" y="5"/>
                </a:cxn>
                <a:cxn ang="0">
                  <a:pos x="8" y="18"/>
                </a:cxn>
                <a:cxn ang="0">
                  <a:pos x="0" y="37"/>
                </a:cxn>
                <a:cxn ang="0">
                  <a:pos x="0" y="37"/>
                </a:cxn>
              </a:cxnLst>
              <a:rect l="0" t="0" r="r" b="b"/>
              <a:pathLst>
                <a:path w="64" h="37">
                  <a:moveTo>
                    <a:pt x="0" y="37"/>
                  </a:moveTo>
                  <a:lnTo>
                    <a:pt x="17" y="31"/>
                  </a:lnTo>
                  <a:lnTo>
                    <a:pt x="32" y="16"/>
                  </a:lnTo>
                  <a:lnTo>
                    <a:pt x="64" y="0"/>
                  </a:lnTo>
                  <a:lnTo>
                    <a:pt x="28" y="5"/>
                  </a:lnTo>
                  <a:lnTo>
                    <a:pt x="8" y="18"/>
                  </a:lnTo>
                  <a:lnTo>
                    <a:pt x="0" y="37"/>
                  </a:lnTo>
                  <a:lnTo>
                    <a:pt x="0" y="37"/>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04" name="Freeform 6116"/>
            <p:cNvSpPr>
              <a:spLocks/>
            </p:cNvSpPr>
            <p:nvPr>
              <p:custDataLst>
                <p:tags r:id="rId382"/>
              </p:custDataLst>
            </p:nvPr>
          </p:nvSpPr>
          <p:spPr bwMode="gray">
            <a:xfrm>
              <a:off x="9100413" y="42373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05" name="Freeform 6117"/>
            <p:cNvSpPr>
              <a:spLocks/>
            </p:cNvSpPr>
            <p:nvPr>
              <p:custDataLst>
                <p:tags r:id="rId383"/>
              </p:custDataLst>
            </p:nvPr>
          </p:nvSpPr>
          <p:spPr bwMode="gray">
            <a:xfrm>
              <a:off x="9122225" y="421810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06" name="Freeform 6118"/>
            <p:cNvSpPr>
              <a:spLocks/>
            </p:cNvSpPr>
            <p:nvPr>
              <p:custDataLst>
                <p:tags r:id="rId384"/>
              </p:custDataLst>
            </p:nvPr>
          </p:nvSpPr>
          <p:spPr bwMode="gray">
            <a:xfrm>
              <a:off x="5072785" y="3275242"/>
              <a:ext cx="26945" cy="10276"/>
            </a:xfrm>
            <a:custGeom>
              <a:avLst/>
              <a:gdLst/>
              <a:ahLst/>
              <a:cxnLst>
                <a:cxn ang="0">
                  <a:pos x="0" y="0"/>
                </a:cxn>
                <a:cxn ang="0">
                  <a:pos x="15" y="8"/>
                </a:cxn>
                <a:cxn ang="0">
                  <a:pos x="21" y="0"/>
                </a:cxn>
                <a:cxn ang="0">
                  <a:pos x="0" y="0"/>
                </a:cxn>
                <a:cxn ang="0">
                  <a:pos x="0" y="0"/>
                </a:cxn>
              </a:cxnLst>
              <a:rect l="0" t="0" r="r" b="b"/>
              <a:pathLst>
                <a:path w="21" h="8">
                  <a:moveTo>
                    <a:pt x="0" y="0"/>
                  </a:moveTo>
                  <a:lnTo>
                    <a:pt x="15" y="8"/>
                  </a:lnTo>
                  <a:lnTo>
                    <a:pt x="21" y="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07" name="Freeform 6119"/>
            <p:cNvSpPr>
              <a:spLocks/>
            </p:cNvSpPr>
            <p:nvPr>
              <p:custDataLst>
                <p:tags r:id="rId385"/>
              </p:custDataLst>
            </p:nvPr>
          </p:nvSpPr>
          <p:spPr bwMode="gray">
            <a:xfrm>
              <a:off x="7402403" y="448667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08" name="Freeform 6120"/>
            <p:cNvSpPr>
              <a:spLocks/>
            </p:cNvSpPr>
            <p:nvPr>
              <p:custDataLst>
                <p:tags r:id="rId386"/>
              </p:custDataLst>
            </p:nvPr>
          </p:nvSpPr>
          <p:spPr bwMode="gray">
            <a:xfrm>
              <a:off x="9031126" y="3063289"/>
              <a:ext cx="12831" cy="12846"/>
            </a:xfrm>
            <a:custGeom>
              <a:avLst/>
              <a:gdLst/>
              <a:ahLst/>
              <a:cxnLst>
                <a:cxn ang="0">
                  <a:pos x="2" y="6"/>
                </a:cxn>
                <a:cxn ang="0">
                  <a:pos x="10" y="10"/>
                </a:cxn>
                <a:cxn ang="0">
                  <a:pos x="10" y="4"/>
                </a:cxn>
                <a:cxn ang="0">
                  <a:pos x="0" y="0"/>
                </a:cxn>
                <a:cxn ang="0">
                  <a:pos x="2" y="6"/>
                </a:cxn>
                <a:cxn ang="0">
                  <a:pos x="2" y="6"/>
                </a:cxn>
              </a:cxnLst>
              <a:rect l="0" t="0" r="r" b="b"/>
              <a:pathLst>
                <a:path w="10" h="10">
                  <a:moveTo>
                    <a:pt x="2" y="6"/>
                  </a:moveTo>
                  <a:lnTo>
                    <a:pt x="10" y="10"/>
                  </a:lnTo>
                  <a:lnTo>
                    <a:pt x="10" y="4"/>
                  </a:lnTo>
                  <a:lnTo>
                    <a:pt x="0" y="0"/>
                  </a:lnTo>
                  <a:lnTo>
                    <a:pt x="2" y="6"/>
                  </a:lnTo>
                  <a:lnTo>
                    <a:pt x="2" y="6"/>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09" name="Freeform 6121"/>
            <p:cNvSpPr>
              <a:spLocks/>
            </p:cNvSpPr>
            <p:nvPr>
              <p:custDataLst>
                <p:tags r:id="rId387"/>
              </p:custDataLst>
            </p:nvPr>
          </p:nvSpPr>
          <p:spPr bwMode="gray">
            <a:xfrm>
              <a:off x="6584268" y="2981077"/>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10" name="Freeform 6122"/>
            <p:cNvSpPr>
              <a:spLocks/>
            </p:cNvSpPr>
            <p:nvPr>
              <p:custDataLst>
                <p:tags r:id="rId388"/>
              </p:custDataLst>
            </p:nvPr>
          </p:nvSpPr>
          <p:spPr bwMode="gray">
            <a:xfrm>
              <a:off x="6810092" y="3054297"/>
              <a:ext cx="12831" cy="11561"/>
            </a:xfrm>
            <a:custGeom>
              <a:avLst/>
              <a:gdLst/>
              <a:ahLst/>
              <a:cxnLst>
                <a:cxn ang="0">
                  <a:pos x="0" y="2"/>
                </a:cxn>
                <a:cxn ang="0">
                  <a:pos x="0" y="9"/>
                </a:cxn>
                <a:cxn ang="0">
                  <a:pos x="10" y="9"/>
                </a:cxn>
                <a:cxn ang="0">
                  <a:pos x="4" y="0"/>
                </a:cxn>
                <a:cxn ang="0">
                  <a:pos x="0" y="2"/>
                </a:cxn>
                <a:cxn ang="0">
                  <a:pos x="0" y="2"/>
                </a:cxn>
              </a:cxnLst>
              <a:rect l="0" t="0" r="r" b="b"/>
              <a:pathLst>
                <a:path w="10" h="9">
                  <a:moveTo>
                    <a:pt x="0" y="2"/>
                  </a:moveTo>
                  <a:lnTo>
                    <a:pt x="0" y="9"/>
                  </a:lnTo>
                  <a:lnTo>
                    <a:pt x="10" y="9"/>
                  </a:lnTo>
                  <a:lnTo>
                    <a:pt x="4" y="0"/>
                  </a:lnTo>
                  <a:lnTo>
                    <a:pt x="0" y="2"/>
                  </a:lnTo>
                  <a:lnTo>
                    <a:pt x="0" y="2"/>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11" name="Freeform 6123"/>
            <p:cNvSpPr>
              <a:spLocks/>
            </p:cNvSpPr>
            <p:nvPr>
              <p:custDataLst>
                <p:tags r:id="rId389"/>
              </p:custDataLst>
            </p:nvPr>
          </p:nvSpPr>
          <p:spPr bwMode="gray">
            <a:xfrm>
              <a:off x="6826773" y="3041452"/>
              <a:ext cx="26945" cy="21838"/>
            </a:xfrm>
            <a:custGeom>
              <a:avLst/>
              <a:gdLst/>
              <a:ahLst/>
              <a:cxnLst>
                <a:cxn ang="0">
                  <a:pos x="0" y="8"/>
                </a:cxn>
                <a:cxn ang="0">
                  <a:pos x="4" y="15"/>
                </a:cxn>
                <a:cxn ang="0">
                  <a:pos x="12" y="17"/>
                </a:cxn>
                <a:cxn ang="0">
                  <a:pos x="19" y="15"/>
                </a:cxn>
                <a:cxn ang="0">
                  <a:pos x="15" y="12"/>
                </a:cxn>
                <a:cxn ang="0">
                  <a:pos x="21" y="8"/>
                </a:cxn>
                <a:cxn ang="0">
                  <a:pos x="19" y="0"/>
                </a:cxn>
                <a:cxn ang="0">
                  <a:pos x="0" y="8"/>
                </a:cxn>
                <a:cxn ang="0">
                  <a:pos x="0" y="8"/>
                </a:cxn>
              </a:cxnLst>
              <a:rect l="0" t="0" r="r" b="b"/>
              <a:pathLst>
                <a:path w="21" h="17">
                  <a:moveTo>
                    <a:pt x="0" y="8"/>
                  </a:moveTo>
                  <a:lnTo>
                    <a:pt x="4" y="15"/>
                  </a:lnTo>
                  <a:lnTo>
                    <a:pt x="12" y="17"/>
                  </a:lnTo>
                  <a:lnTo>
                    <a:pt x="19" y="15"/>
                  </a:lnTo>
                  <a:lnTo>
                    <a:pt x="15" y="12"/>
                  </a:lnTo>
                  <a:lnTo>
                    <a:pt x="21" y="8"/>
                  </a:lnTo>
                  <a:lnTo>
                    <a:pt x="19" y="0"/>
                  </a:lnTo>
                  <a:lnTo>
                    <a:pt x="0" y="8"/>
                  </a:lnTo>
                  <a:lnTo>
                    <a:pt x="0" y="8"/>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12" name="Freeform 6124"/>
            <p:cNvSpPr>
              <a:spLocks/>
            </p:cNvSpPr>
            <p:nvPr>
              <p:custDataLst>
                <p:tags r:id="rId390"/>
              </p:custDataLst>
            </p:nvPr>
          </p:nvSpPr>
          <p:spPr bwMode="gray">
            <a:xfrm>
              <a:off x="6826773" y="3070997"/>
              <a:ext cx="19246" cy="5138"/>
            </a:xfrm>
            <a:custGeom>
              <a:avLst/>
              <a:gdLst/>
              <a:ahLst/>
              <a:cxnLst>
                <a:cxn ang="0">
                  <a:pos x="0" y="0"/>
                </a:cxn>
                <a:cxn ang="0">
                  <a:pos x="4" y="4"/>
                </a:cxn>
                <a:cxn ang="0">
                  <a:pos x="15" y="0"/>
                </a:cxn>
                <a:cxn ang="0">
                  <a:pos x="0" y="0"/>
                </a:cxn>
                <a:cxn ang="0">
                  <a:pos x="0" y="0"/>
                </a:cxn>
              </a:cxnLst>
              <a:rect l="0" t="0" r="r" b="b"/>
              <a:pathLst>
                <a:path w="15" h="4">
                  <a:moveTo>
                    <a:pt x="0" y="0"/>
                  </a:moveTo>
                  <a:lnTo>
                    <a:pt x="4" y="4"/>
                  </a:lnTo>
                  <a:lnTo>
                    <a:pt x="15" y="0"/>
                  </a:ln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13" name="Freeform 6125"/>
            <p:cNvSpPr>
              <a:spLocks/>
            </p:cNvSpPr>
            <p:nvPr>
              <p:custDataLst>
                <p:tags r:id="rId391"/>
              </p:custDataLst>
            </p:nvPr>
          </p:nvSpPr>
          <p:spPr bwMode="gray">
            <a:xfrm>
              <a:off x="6894777" y="306585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14" name="Freeform 6126"/>
            <p:cNvSpPr>
              <a:spLocks/>
            </p:cNvSpPr>
            <p:nvPr>
              <p:custDataLst>
                <p:tags r:id="rId392"/>
              </p:custDataLst>
            </p:nvPr>
          </p:nvSpPr>
          <p:spPr bwMode="gray">
            <a:xfrm>
              <a:off x="7132954" y="5013348"/>
              <a:ext cx="48758" cy="48813"/>
            </a:xfrm>
            <a:custGeom>
              <a:avLst/>
              <a:gdLst/>
              <a:ahLst/>
              <a:cxnLst>
                <a:cxn ang="0">
                  <a:pos x="38" y="15"/>
                </a:cxn>
                <a:cxn ang="0">
                  <a:pos x="32" y="27"/>
                </a:cxn>
                <a:cxn ang="0">
                  <a:pos x="12" y="38"/>
                </a:cxn>
                <a:cxn ang="0">
                  <a:pos x="0" y="21"/>
                </a:cxn>
                <a:cxn ang="0">
                  <a:pos x="21" y="0"/>
                </a:cxn>
                <a:cxn ang="0">
                  <a:pos x="30" y="2"/>
                </a:cxn>
                <a:cxn ang="0">
                  <a:pos x="38" y="15"/>
                </a:cxn>
                <a:cxn ang="0">
                  <a:pos x="38" y="15"/>
                </a:cxn>
              </a:cxnLst>
              <a:rect l="0" t="0" r="r" b="b"/>
              <a:pathLst>
                <a:path w="38" h="38">
                  <a:moveTo>
                    <a:pt x="38" y="15"/>
                  </a:moveTo>
                  <a:lnTo>
                    <a:pt x="32" y="27"/>
                  </a:lnTo>
                  <a:lnTo>
                    <a:pt x="12" y="38"/>
                  </a:lnTo>
                  <a:lnTo>
                    <a:pt x="0" y="21"/>
                  </a:lnTo>
                  <a:lnTo>
                    <a:pt x="21" y="0"/>
                  </a:lnTo>
                  <a:lnTo>
                    <a:pt x="30" y="2"/>
                  </a:lnTo>
                  <a:lnTo>
                    <a:pt x="38" y="15"/>
                  </a:lnTo>
                  <a:lnTo>
                    <a:pt x="38" y="1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15" name="Freeform 6127"/>
            <p:cNvSpPr>
              <a:spLocks/>
            </p:cNvSpPr>
            <p:nvPr>
              <p:custDataLst>
                <p:tags r:id="rId393"/>
              </p:custDataLst>
            </p:nvPr>
          </p:nvSpPr>
          <p:spPr bwMode="gray">
            <a:xfrm>
              <a:off x="5113844" y="3515454"/>
              <a:ext cx="14114" cy="12846"/>
            </a:xfrm>
            <a:custGeom>
              <a:avLst/>
              <a:gdLst/>
              <a:ahLst/>
              <a:cxnLst>
                <a:cxn ang="0">
                  <a:pos x="0" y="10"/>
                </a:cxn>
                <a:cxn ang="0">
                  <a:pos x="11" y="0"/>
                </a:cxn>
                <a:cxn ang="0">
                  <a:pos x="0" y="10"/>
                </a:cxn>
              </a:cxnLst>
              <a:rect l="0" t="0" r="r" b="b"/>
              <a:pathLst>
                <a:path w="11" h="10">
                  <a:moveTo>
                    <a:pt x="0" y="10"/>
                  </a:moveTo>
                  <a:lnTo>
                    <a:pt x="11" y="0"/>
                  </a:lnTo>
                  <a:lnTo>
                    <a:pt x="0" y="1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16" name="Line 6128"/>
            <p:cNvSpPr>
              <a:spLocks noChangeShapeType="1"/>
            </p:cNvSpPr>
            <p:nvPr>
              <p:custDataLst>
                <p:tags r:id="rId394"/>
              </p:custDataLst>
            </p:nvPr>
          </p:nvSpPr>
          <p:spPr bwMode="gray">
            <a:xfrm flipV="1">
              <a:off x="5113844" y="3515454"/>
              <a:ext cx="14114" cy="12846"/>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17" name="Freeform 6129"/>
            <p:cNvSpPr>
              <a:spLocks/>
            </p:cNvSpPr>
            <p:nvPr>
              <p:custDataLst>
                <p:tags r:id="rId395"/>
              </p:custDataLst>
            </p:nvPr>
          </p:nvSpPr>
          <p:spPr bwMode="gray">
            <a:xfrm>
              <a:off x="8928478" y="3828887"/>
              <a:ext cx="14114" cy="7707"/>
            </a:xfrm>
            <a:custGeom>
              <a:avLst/>
              <a:gdLst/>
              <a:ahLst/>
              <a:cxnLst>
                <a:cxn ang="0">
                  <a:pos x="0" y="0"/>
                </a:cxn>
                <a:cxn ang="0">
                  <a:pos x="1" y="6"/>
                </a:cxn>
                <a:cxn ang="0">
                  <a:pos x="11" y="6"/>
                </a:cxn>
                <a:cxn ang="0">
                  <a:pos x="11" y="0"/>
                </a:cxn>
                <a:cxn ang="0">
                  <a:pos x="0" y="0"/>
                </a:cxn>
              </a:cxnLst>
              <a:rect l="0" t="0" r="r" b="b"/>
              <a:pathLst>
                <a:path w="11" h="6">
                  <a:moveTo>
                    <a:pt x="0" y="0"/>
                  </a:moveTo>
                  <a:lnTo>
                    <a:pt x="1" y="6"/>
                  </a:lnTo>
                  <a:lnTo>
                    <a:pt x="11" y="6"/>
                  </a:lnTo>
                  <a:lnTo>
                    <a:pt x="11" y="0"/>
                  </a:lnTo>
                  <a:lnTo>
                    <a:pt x="0"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18" name="Freeform 6130"/>
            <p:cNvSpPr>
              <a:spLocks/>
            </p:cNvSpPr>
            <p:nvPr>
              <p:custDataLst>
                <p:tags r:id="rId396"/>
              </p:custDataLst>
            </p:nvPr>
          </p:nvSpPr>
          <p:spPr bwMode="gray">
            <a:xfrm>
              <a:off x="8928478" y="3828887"/>
              <a:ext cx="14114" cy="7707"/>
            </a:xfrm>
            <a:custGeom>
              <a:avLst/>
              <a:gdLst/>
              <a:ahLst/>
              <a:cxnLst>
                <a:cxn ang="0">
                  <a:pos x="0" y="0"/>
                </a:cxn>
                <a:cxn ang="0">
                  <a:pos x="1" y="6"/>
                </a:cxn>
                <a:cxn ang="0">
                  <a:pos x="11" y="6"/>
                </a:cxn>
                <a:cxn ang="0">
                  <a:pos x="11" y="0"/>
                </a:cxn>
              </a:cxnLst>
              <a:rect l="0" t="0" r="r" b="b"/>
              <a:pathLst>
                <a:path w="11" h="6">
                  <a:moveTo>
                    <a:pt x="0" y="0"/>
                  </a:moveTo>
                  <a:lnTo>
                    <a:pt x="1" y="6"/>
                  </a:lnTo>
                  <a:lnTo>
                    <a:pt x="11" y="6"/>
                  </a:lnTo>
                  <a:lnTo>
                    <a:pt x="11" y="0"/>
                  </a:lnTo>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19" name="Freeform 6131"/>
            <p:cNvSpPr>
              <a:spLocks/>
            </p:cNvSpPr>
            <p:nvPr>
              <p:custDataLst>
                <p:tags r:id="rId397"/>
              </p:custDataLst>
            </p:nvPr>
          </p:nvSpPr>
          <p:spPr bwMode="gray">
            <a:xfrm>
              <a:off x="8928478" y="3828887"/>
              <a:ext cx="14114" cy="0"/>
            </a:xfrm>
            <a:custGeom>
              <a:avLst/>
              <a:gdLst/>
              <a:ahLst/>
              <a:cxnLst>
                <a:cxn ang="0">
                  <a:pos x="11" y="0"/>
                </a:cxn>
                <a:cxn ang="0">
                  <a:pos x="0" y="0"/>
                </a:cxn>
                <a:cxn ang="0">
                  <a:pos x="11" y="0"/>
                </a:cxn>
              </a:cxnLst>
              <a:rect l="0" t="0" r="r" b="b"/>
              <a:pathLst>
                <a:path w="11">
                  <a:moveTo>
                    <a:pt x="11" y="0"/>
                  </a:moveTo>
                  <a:lnTo>
                    <a:pt x="0" y="0"/>
                  </a:lnTo>
                  <a:lnTo>
                    <a:pt x="11" y="0"/>
                  </a:lnTo>
                  <a:close/>
                </a:path>
              </a:pathLst>
            </a:custGeom>
            <a:grp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20" name="Line 6132"/>
            <p:cNvSpPr>
              <a:spLocks noChangeShapeType="1"/>
            </p:cNvSpPr>
            <p:nvPr>
              <p:custDataLst>
                <p:tags r:id="rId398"/>
              </p:custDataLst>
            </p:nvPr>
          </p:nvSpPr>
          <p:spPr bwMode="gray">
            <a:xfrm flipH="1">
              <a:off x="8928478" y="3828887"/>
              <a:ext cx="14114" cy="0"/>
            </a:xfrm>
            <a:prstGeom prst="line">
              <a:avLst/>
            </a:prstGeom>
            <a:grp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21" name="Freeform 6133"/>
            <p:cNvSpPr>
              <a:spLocks/>
            </p:cNvSpPr>
            <p:nvPr>
              <p:custDataLst>
                <p:tags r:id="rId399"/>
              </p:custDataLst>
            </p:nvPr>
          </p:nvSpPr>
          <p:spPr bwMode="gray">
            <a:xfrm>
              <a:off x="6445694" y="3065858"/>
              <a:ext cx="80835" cy="79643"/>
            </a:xfrm>
            <a:custGeom>
              <a:avLst/>
              <a:gdLst/>
              <a:ahLst/>
              <a:cxnLst>
                <a:cxn ang="0">
                  <a:pos x="39" y="9"/>
                </a:cxn>
                <a:cxn ang="0">
                  <a:pos x="46" y="17"/>
                </a:cxn>
                <a:cxn ang="0">
                  <a:pos x="60" y="11"/>
                </a:cxn>
                <a:cxn ang="0">
                  <a:pos x="63" y="19"/>
                </a:cxn>
                <a:cxn ang="0">
                  <a:pos x="63" y="36"/>
                </a:cxn>
                <a:cxn ang="0">
                  <a:pos x="56" y="51"/>
                </a:cxn>
                <a:cxn ang="0">
                  <a:pos x="9" y="62"/>
                </a:cxn>
                <a:cxn ang="0">
                  <a:pos x="0" y="51"/>
                </a:cxn>
                <a:cxn ang="0">
                  <a:pos x="9" y="51"/>
                </a:cxn>
                <a:cxn ang="0">
                  <a:pos x="22" y="34"/>
                </a:cxn>
                <a:cxn ang="0">
                  <a:pos x="7" y="28"/>
                </a:cxn>
                <a:cxn ang="0">
                  <a:pos x="17" y="23"/>
                </a:cxn>
                <a:cxn ang="0">
                  <a:pos x="9" y="19"/>
                </a:cxn>
                <a:cxn ang="0">
                  <a:pos x="13" y="13"/>
                </a:cxn>
                <a:cxn ang="0">
                  <a:pos x="30" y="13"/>
                </a:cxn>
                <a:cxn ang="0">
                  <a:pos x="35" y="9"/>
                </a:cxn>
                <a:cxn ang="0">
                  <a:pos x="30" y="8"/>
                </a:cxn>
                <a:cxn ang="0">
                  <a:pos x="35" y="0"/>
                </a:cxn>
                <a:cxn ang="0">
                  <a:pos x="45" y="0"/>
                </a:cxn>
                <a:cxn ang="0">
                  <a:pos x="39" y="9"/>
                </a:cxn>
                <a:cxn ang="0">
                  <a:pos x="39" y="9"/>
                </a:cxn>
              </a:cxnLst>
              <a:rect l="0" t="0" r="r" b="b"/>
              <a:pathLst>
                <a:path w="63" h="62">
                  <a:moveTo>
                    <a:pt x="39" y="9"/>
                  </a:moveTo>
                  <a:lnTo>
                    <a:pt x="46" y="17"/>
                  </a:lnTo>
                  <a:lnTo>
                    <a:pt x="60" y="11"/>
                  </a:lnTo>
                  <a:lnTo>
                    <a:pt x="63" y="19"/>
                  </a:lnTo>
                  <a:lnTo>
                    <a:pt x="63" y="36"/>
                  </a:lnTo>
                  <a:lnTo>
                    <a:pt x="56" y="51"/>
                  </a:lnTo>
                  <a:lnTo>
                    <a:pt x="9" y="62"/>
                  </a:lnTo>
                  <a:lnTo>
                    <a:pt x="0" y="51"/>
                  </a:lnTo>
                  <a:lnTo>
                    <a:pt x="9" y="51"/>
                  </a:lnTo>
                  <a:lnTo>
                    <a:pt x="22" y="34"/>
                  </a:lnTo>
                  <a:lnTo>
                    <a:pt x="7" y="28"/>
                  </a:lnTo>
                  <a:lnTo>
                    <a:pt x="17" y="23"/>
                  </a:lnTo>
                  <a:lnTo>
                    <a:pt x="9" y="19"/>
                  </a:lnTo>
                  <a:lnTo>
                    <a:pt x="13" y="13"/>
                  </a:lnTo>
                  <a:lnTo>
                    <a:pt x="30" y="13"/>
                  </a:lnTo>
                  <a:lnTo>
                    <a:pt x="35" y="9"/>
                  </a:lnTo>
                  <a:lnTo>
                    <a:pt x="30" y="8"/>
                  </a:lnTo>
                  <a:lnTo>
                    <a:pt x="35" y="0"/>
                  </a:lnTo>
                  <a:lnTo>
                    <a:pt x="45" y="0"/>
                  </a:lnTo>
                  <a:lnTo>
                    <a:pt x="39" y="9"/>
                  </a:lnTo>
                  <a:lnTo>
                    <a:pt x="39" y="9"/>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22" name="Freeform 6134"/>
            <p:cNvSpPr>
              <a:spLocks/>
            </p:cNvSpPr>
            <p:nvPr>
              <p:custDataLst>
                <p:tags r:id="rId400"/>
              </p:custDataLst>
            </p:nvPr>
          </p:nvSpPr>
          <p:spPr bwMode="gray">
            <a:xfrm>
              <a:off x="6694614" y="3096688"/>
              <a:ext cx="68004" cy="65513"/>
            </a:xfrm>
            <a:custGeom>
              <a:avLst/>
              <a:gdLst/>
              <a:ahLst/>
              <a:cxnLst>
                <a:cxn ang="0">
                  <a:pos x="0" y="40"/>
                </a:cxn>
                <a:cxn ang="0">
                  <a:pos x="17" y="15"/>
                </a:cxn>
                <a:cxn ang="0">
                  <a:pos x="21" y="14"/>
                </a:cxn>
                <a:cxn ang="0">
                  <a:pos x="21" y="21"/>
                </a:cxn>
                <a:cxn ang="0">
                  <a:pos x="27" y="25"/>
                </a:cxn>
                <a:cxn ang="0">
                  <a:pos x="32" y="21"/>
                </a:cxn>
                <a:cxn ang="0">
                  <a:pos x="27" y="8"/>
                </a:cxn>
                <a:cxn ang="0">
                  <a:pos x="53" y="0"/>
                </a:cxn>
                <a:cxn ang="0">
                  <a:pos x="44" y="19"/>
                </a:cxn>
                <a:cxn ang="0">
                  <a:pos x="47" y="25"/>
                </a:cxn>
                <a:cxn ang="0">
                  <a:pos x="32" y="32"/>
                </a:cxn>
                <a:cxn ang="0">
                  <a:pos x="32" y="51"/>
                </a:cxn>
                <a:cxn ang="0">
                  <a:pos x="21" y="40"/>
                </a:cxn>
                <a:cxn ang="0">
                  <a:pos x="21" y="40"/>
                </a:cxn>
                <a:cxn ang="0">
                  <a:pos x="0" y="40"/>
                </a:cxn>
                <a:cxn ang="0">
                  <a:pos x="0" y="40"/>
                </a:cxn>
                <a:cxn ang="0">
                  <a:pos x="0" y="40"/>
                </a:cxn>
              </a:cxnLst>
              <a:rect l="0" t="0" r="r" b="b"/>
              <a:pathLst>
                <a:path w="53" h="51">
                  <a:moveTo>
                    <a:pt x="0" y="40"/>
                  </a:moveTo>
                  <a:lnTo>
                    <a:pt x="17" y="15"/>
                  </a:lnTo>
                  <a:lnTo>
                    <a:pt x="21" y="14"/>
                  </a:lnTo>
                  <a:lnTo>
                    <a:pt x="21" y="21"/>
                  </a:lnTo>
                  <a:lnTo>
                    <a:pt x="27" y="25"/>
                  </a:lnTo>
                  <a:lnTo>
                    <a:pt x="32" y="21"/>
                  </a:lnTo>
                  <a:lnTo>
                    <a:pt x="27" y="8"/>
                  </a:lnTo>
                  <a:lnTo>
                    <a:pt x="53" y="0"/>
                  </a:lnTo>
                  <a:lnTo>
                    <a:pt x="44" y="19"/>
                  </a:lnTo>
                  <a:lnTo>
                    <a:pt x="47" y="25"/>
                  </a:lnTo>
                  <a:lnTo>
                    <a:pt x="32" y="32"/>
                  </a:lnTo>
                  <a:lnTo>
                    <a:pt x="32" y="51"/>
                  </a:lnTo>
                  <a:lnTo>
                    <a:pt x="21" y="40"/>
                  </a:lnTo>
                  <a:lnTo>
                    <a:pt x="21" y="40"/>
                  </a:lnTo>
                  <a:lnTo>
                    <a:pt x="0" y="40"/>
                  </a:lnTo>
                  <a:lnTo>
                    <a:pt x="0" y="40"/>
                  </a:lnTo>
                  <a:lnTo>
                    <a:pt x="0" y="4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23" name="Freeform 6135"/>
            <p:cNvSpPr>
              <a:spLocks/>
            </p:cNvSpPr>
            <p:nvPr>
              <p:custDataLst>
                <p:tags r:id="rId401"/>
              </p:custDataLst>
            </p:nvPr>
          </p:nvSpPr>
          <p:spPr bwMode="gray">
            <a:xfrm>
              <a:off x="6933269" y="3178900"/>
              <a:ext cx="101364" cy="52667"/>
            </a:xfrm>
            <a:custGeom>
              <a:avLst/>
              <a:gdLst/>
              <a:ahLst/>
              <a:cxnLst>
                <a:cxn ang="0">
                  <a:pos x="0" y="23"/>
                </a:cxn>
                <a:cxn ang="0">
                  <a:pos x="6" y="36"/>
                </a:cxn>
                <a:cxn ang="0">
                  <a:pos x="21" y="41"/>
                </a:cxn>
                <a:cxn ang="0">
                  <a:pos x="56" y="26"/>
                </a:cxn>
                <a:cxn ang="0">
                  <a:pos x="75" y="28"/>
                </a:cxn>
                <a:cxn ang="0">
                  <a:pos x="79" y="17"/>
                </a:cxn>
                <a:cxn ang="0">
                  <a:pos x="65" y="11"/>
                </a:cxn>
                <a:cxn ang="0">
                  <a:pos x="45" y="15"/>
                </a:cxn>
                <a:cxn ang="0">
                  <a:pos x="17" y="0"/>
                </a:cxn>
                <a:cxn ang="0">
                  <a:pos x="0" y="23"/>
                </a:cxn>
                <a:cxn ang="0">
                  <a:pos x="0" y="23"/>
                </a:cxn>
              </a:cxnLst>
              <a:rect l="0" t="0" r="r" b="b"/>
              <a:pathLst>
                <a:path w="79" h="41">
                  <a:moveTo>
                    <a:pt x="0" y="23"/>
                  </a:moveTo>
                  <a:lnTo>
                    <a:pt x="6" y="36"/>
                  </a:lnTo>
                  <a:lnTo>
                    <a:pt x="21" y="41"/>
                  </a:lnTo>
                  <a:lnTo>
                    <a:pt x="56" y="26"/>
                  </a:lnTo>
                  <a:lnTo>
                    <a:pt x="75" y="28"/>
                  </a:lnTo>
                  <a:lnTo>
                    <a:pt x="79" y="17"/>
                  </a:lnTo>
                  <a:lnTo>
                    <a:pt x="65" y="11"/>
                  </a:lnTo>
                  <a:lnTo>
                    <a:pt x="45" y="15"/>
                  </a:lnTo>
                  <a:lnTo>
                    <a:pt x="17" y="0"/>
                  </a:lnTo>
                  <a:lnTo>
                    <a:pt x="0" y="23"/>
                  </a:lnTo>
                  <a:lnTo>
                    <a:pt x="0" y="2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24" name="Freeform 6136"/>
            <p:cNvSpPr>
              <a:spLocks/>
            </p:cNvSpPr>
            <p:nvPr>
              <p:custDataLst>
                <p:tags r:id="rId402"/>
              </p:custDataLst>
            </p:nvPr>
          </p:nvSpPr>
          <p:spPr bwMode="gray">
            <a:xfrm>
              <a:off x="6844736" y="3151924"/>
              <a:ext cx="110346" cy="57805"/>
            </a:xfrm>
            <a:custGeom>
              <a:avLst/>
              <a:gdLst/>
              <a:ahLst/>
              <a:cxnLst>
                <a:cxn ang="0">
                  <a:pos x="86" y="21"/>
                </a:cxn>
                <a:cxn ang="0">
                  <a:pos x="69" y="14"/>
                </a:cxn>
                <a:cxn ang="0">
                  <a:pos x="67" y="19"/>
                </a:cxn>
                <a:cxn ang="0">
                  <a:pos x="52" y="8"/>
                </a:cxn>
                <a:cxn ang="0">
                  <a:pos x="37" y="6"/>
                </a:cxn>
                <a:cxn ang="0">
                  <a:pos x="31" y="0"/>
                </a:cxn>
                <a:cxn ang="0">
                  <a:pos x="0" y="15"/>
                </a:cxn>
                <a:cxn ang="0">
                  <a:pos x="7" y="30"/>
                </a:cxn>
                <a:cxn ang="0">
                  <a:pos x="26" y="44"/>
                </a:cxn>
                <a:cxn ang="0">
                  <a:pos x="39" y="45"/>
                </a:cxn>
                <a:cxn ang="0">
                  <a:pos x="45" y="40"/>
                </a:cxn>
                <a:cxn ang="0">
                  <a:pos x="69" y="44"/>
                </a:cxn>
                <a:cxn ang="0">
                  <a:pos x="86" y="21"/>
                </a:cxn>
                <a:cxn ang="0">
                  <a:pos x="86" y="21"/>
                </a:cxn>
              </a:cxnLst>
              <a:rect l="0" t="0" r="r" b="b"/>
              <a:pathLst>
                <a:path w="86" h="45">
                  <a:moveTo>
                    <a:pt x="86" y="21"/>
                  </a:moveTo>
                  <a:lnTo>
                    <a:pt x="69" y="14"/>
                  </a:lnTo>
                  <a:lnTo>
                    <a:pt x="67" y="19"/>
                  </a:lnTo>
                  <a:lnTo>
                    <a:pt x="52" y="8"/>
                  </a:lnTo>
                  <a:lnTo>
                    <a:pt x="37" y="6"/>
                  </a:lnTo>
                  <a:lnTo>
                    <a:pt x="31" y="0"/>
                  </a:lnTo>
                  <a:lnTo>
                    <a:pt x="0" y="15"/>
                  </a:lnTo>
                  <a:lnTo>
                    <a:pt x="7" y="30"/>
                  </a:lnTo>
                  <a:lnTo>
                    <a:pt x="26" y="44"/>
                  </a:lnTo>
                  <a:lnTo>
                    <a:pt x="39" y="45"/>
                  </a:lnTo>
                  <a:lnTo>
                    <a:pt x="45" y="40"/>
                  </a:lnTo>
                  <a:lnTo>
                    <a:pt x="69" y="44"/>
                  </a:lnTo>
                  <a:lnTo>
                    <a:pt x="86" y="21"/>
                  </a:lnTo>
                  <a:lnTo>
                    <a:pt x="86" y="21"/>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25" name="Freeform 6137"/>
            <p:cNvSpPr>
              <a:spLocks noEditPoints="1"/>
            </p:cNvSpPr>
            <p:nvPr>
              <p:custDataLst>
                <p:tags r:id="rId403"/>
              </p:custDataLst>
            </p:nvPr>
          </p:nvSpPr>
          <p:spPr bwMode="gray">
            <a:xfrm>
              <a:off x="4299080" y="2668929"/>
              <a:ext cx="1343398" cy="700085"/>
            </a:xfrm>
            <a:custGeom>
              <a:avLst/>
              <a:gdLst/>
              <a:ahLst/>
              <a:cxnLst>
                <a:cxn ang="0">
                  <a:pos x="1041" y="333"/>
                </a:cxn>
                <a:cxn ang="0">
                  <a:pos x="1017" y="313"/>
                </a:cxn>
                <a:cxn ang="0">
                  <a:pos x="1004" y="273"/>
                </a:cxn>
                <a:cxn ang="0">
                  <a:pos x="927" y="255"/>
                </a:cxn>
                <a:cxn ang="0">
                  <a:pos x="895" y="184"/>
                </a:cxn>
                <a:cxn ang="0">
                  <a:pos x="820" y="212"/>
                </a:cxn>
                <a:cxn ang="0">
                  <a:pos x="787" y="292"/>
                </a:cxn>
                <a:cxn ang="0">
                  <a:pos x="680" y="347"/>
                </a:cxn>
                <a:cxn ang="0">
                  <a:pos x="599" y="247"/>
                </a:cxn>
                <a:cxn ang="0">
                  <a:pos x="657" y="180"/>
                </a:cxn>
                <a:cxn ang="0">
                  <a:pos x="785" y="122"/>
                </a:cxn>
                <a:cxn ang="0">
                  <a:pos x="862" y="99"/>
                </a:cxn>
                <a:cxn ang="0">
                  <a:pos x="839" y="65"/>
                </a:cxn>
                <a:cxn ang="0">
                  <a:pos x="790" y="73"/>
                </a:cxn>
                <a:cxn ang="0">
                  <a:pos x="768" y="34"/>
                </a:cxn>
                <a:cxn ang="0">
                  <a:pos x="815" y="0"/>
                </a:cxn>
                <a:cxn ang="0">
                  <a:pos x="732" y="71"/>
                </a:cxn>
                <a:cxn ang="0">
                  <a:pos x="684" y="86"/>
                </a:cxn>
                <a:cxn ang="0">
                  <a:pos x="674" y="84"/>
                </a:cxn>
                <a:cxn ang="0">
                  <a:pos x="538" y="90"/>
                </a:cxn>
                <a:cxn ang="0">
                  <a:pos x="455" y="95"/>
                </a:cxn>
                <a:cxn ang="0">
                  <a:pos x="399" y="65"/>
                </a:cxn>
                <a:cxn ang="0">
                  <a:pos x="358" y="69"/>
                </a:cxn>
                <a:cxn ang="0">
                  <a:pos x="268" y="71"/>
                </a:cxn>
                <a:cxn ang="0">
                  <a:pos x="0" y="221"/>
                </a:cxn>
                <a:cxn ang="0">
                  <a:pos x="58" y="243"/>
                </a:cxn>
                <a:cxn ang="0">
                  <a:pos x="24" y="328"/>
                </a:cxn>
                <a:cxn ang="0">
                  <a:pos x="67" y="416"/>
                </a:cxn>
                <a:cxn ang="0">
                  <a:pos x="524" y="435"/>
                </a:cxn>
                <a:cxn ang="0">
                  <a:pos x="588" y="461"/>
                </a:cxn>
                <a:cxn ang="0">
                  <a:pos x="637" y="496"/>
                </a:cxn>
                <a:cxn ang="0">
                  <a:pos x="569" y="545"/>
                </a:cxn>
                <a:cxn ang="0">
                  <a:pos x="641" y="511"/>
                </a:cxn>
                <a:cxn ang="0">
                  <a:pos x="781" y="483"/>
                </a:cxn>
                <a:cxn ang="0">
                  <a:pos x="867" y="476"/>
                </a:cxn>
                <a:cxn ang="0">
                  <a:pos x="869" y="496"/>
                </a:cxn>
                <a:cxn ang="0">
                  <a:pos x="918" y="474"/>
                </a:cxn>
                <a:cxn ang="0">
                  <a:pos x="869" y="442"/>
                </a:cxn>
                <a:cxn ang="0">
                  <a:pos x="832" y="425"/>
                </a:cxn>
                <a:cxn ang="0">
                  <a:pos x="871" y="397"/>
                </a:cxn>
                <a:cxn ang="0">
                  <a:pos x="1047" y="343"/>
                </a:cxn>
                <a:cxn ang="0">
                  <a:pos x="395" y="110"/>
                </a:cxn>
                <a:cxn ang="0">
                  <a:pos x="363" y="135"/>
                </a:cxn>
                <a:cxn ang="0">
                  <a:pos x="354" y="125"/>
                </a:cxn>
                <a:cxn ang="0">
                  <a:pos x="365" y="184"/>
                </a:cxn>
                <a:cxn ang="0">
                  <a:pos x="435" y="184"/>
                </a:cxn>
                <a:cxn ang="0">
                  <a:pos x="397" y="228"/>
                </a:cxn>
                <a:cxn ang="0">
                  <a:pos x="431" y="375"/>
                </a:cxn>
                <a:cxn ang="0">
                  <a:pos x="431" y="352"/>
                </a:cxn>
                <a:cxn ang="0">
                  <a:pos x="438" y="348"/>
                </a:cxn>
                <a:cxn ang="0">
                  <a:pos x="463" y="369"/>
                </a:cxn>
                <a:cxn ang="0">
                  <a:pos x="459" y="332"/>
                </a:cxn>
                <a:cxn ang="0">
                  <a:pos x="451" y="283"/>
                </a:cxn>
              </a:cxnLst>
              <a:rect l="0" t="0" r="r" b="b"/>
              <a:pathLst>
                <a:path w="1047" h="545">
                  <a:moveTo>
                    <a:pt x="834" y="485"/>
                  </a:moveTo>
                  <a:lnTo>
                    <a:pt x="834" y="485"/>
                  </a:lnTo>
                  <a:lnTo>
                    <a:pt x="832" y="485"/>
                  </a:lnTo>
                  <a:lnTo>
                    <a:pt x="834" y="485"/>
                  </a:lnTo>
                  <a:close/>
                  <a:moveTo>
                    <a:pt x="1041" y="333"/>
                  </a:moveTo>
                  <a:lnTo>
                    <a:pt x="1032" y="333"/>
                  </a:lnTo>
                  <a:lnTo>
                    <a:pt x="1034" y="326"/>
                  </a:lnTo>
                  <a:lnTo>
                    <a:pt x="1021" y="324"/>
                  </a:lnTo>
                  <a:lnTo>
                    <a:pt x="1036" y="318"/>
                  </a:lnTo>
                  <a:lnTo>
                    <a:pt x="1017" y="313"/>
                  </a:lnTo>
                  <a:lnTo>
                    <a:pt x="1017" y="307"/>
                  </a:lnTo>
                  <a:lnTo>
                    <a:pt x="1002" y="305"/>
                  </a:lnTo>
                  <a:lnTo>
                    <a:pt x="1002" y="298"/>
                  </a:lnTo>
                  <a:lnTo>
                    <a:pt x="991" y="288"/>
                  </a:lnTo>
                  <a:lnTo>
                    <a:pt x="1004" y="273"/>
                  </a:lnTo>
                  <a:lnTo>
                    <a:pt x="989" y="219"/>
                  </a:lnTo>
                  <a:lnTo>
                    <a:pt x="972" y="228"/>
                  </a:lnTo>
                  <a:lnTo>
                    <a:pt x="972" y="234"/>
                  </a:lnTo>
                  <a:lnTo>
                    <a:pt x="965" y="242"/>
                  </a:lnTo>
                  <a:lnTo>
                    <a:pt x="927" y="255"/>
                  </a:lnTo>
                  <a:lnTo>
                    <a:pt x="916" y="238"/>
                  </a:lnTo>
                  <a:lnTo>
                    <a:pt x="933" y="208"/>
                  </a:lnTo>
                  <a:lnTo>
                    <a:pt x="907" y="202"/>
                  </a:lnTo>
                  <a:lnTo>
                    <a:pt x="914" y="197"/>
                  </a:lnTo>
                  <a:lnTo>
                    <a:pt x="895" y="184"/>
                  </a:lnTo>
                  <a:lnTo>
                    <a:pt x="848" y="182"/>
                  </a:lnTo>
                  <a:lnTo>
                    <a:pt x="837" y="187"/>
                  </a:lnTo>
                  <a:lnTo>
                    <a:pt x="832" y="193"/>
                  </a:lnTo>
                  <a:lnTo>
                    <a:pt x="837" y="197"/>
                  </a:lnTo>
                  <a:lnTo>
                    <a:pt x="820" y="212"/>
                  </a:lnTo>
                  <a:lnTo>
                    <a:pt x="824" y="215"/>
                  </a:lnTo>
                  <a:lnTo>
                    <a:pt x="817" y="230"/>
                  </a:lnTo>
                  <a:lnTo>
                    <a:pt x="790" y="245"/>
                  </a:lnTo>
                  <a:lnTo>
                    <a:pt x="800" y="253"/>
                  </a:lnTo>
                  <a:lnTo>
                    <a:pt x="787" y="292"/>
                  </a:lnTo>
                  <a:lnTo>
                    <a:pt x="734" y="317"/>
                  </a:lnTo>
                  <a:lnTo>
                    <a:pt x="727" y="360"/>
                  </a:lnTo>
                  <a:lnTo>
                    <a:pt x="699" y="375"/>
                  </a:lnTo>
                  <a:lnTo>
                    <a:pt x="697" y="380"/>
                  </a:lnTo>
                  <a:lnTo>
                    <a:pt x="680" y="347"/>
                  </a:lnTo>
                  <a:lnTo>
                    <a:pt x="702" y="311"/>
                  </a:lnTo>
                  <a:lnTo>
                    <a:pt x="667" y="305"/>
                  </a:lnTo>
                  <a:lnTo>
                    <a:pt x="609" y="272"/>
                  </a:lnTo>
                  <a:lnTo>
                    <a:pt x="588" y="277"/>
                  </a:lnTo>
                  <a:lnTo>
                    <a:pt x="599" y="247"/>
                  </a:lnTo>
                  <a:lnTo>
                    <a:pt x="583" y="247"/>
                  </a:lnTo>
                  <a:lnTo>
                    <a:pt x="583" y="240"/>
                  </a:lnTo>
                  <a:lnTo>
                    <a:pt x="616" y="206"/>
                  </a:lnTo>
                  <a:lnTo>
                    <a:pt x="652" y="189"/>
                  </a:lnTo>
                  <a:lnTo>
                    <a:pt x="657" y="180"/>
                  </a:lnTo>
                  <a:lnTo>
                    <a:pt x="686" y="176"/>
                  </a:lnTo>
                  <a:lnTo>
                    <a:pt x="708" y="157"/>
                  </a:lnTo>
                  <a:lnTo>
                    <a:pt x="727" y="157"/>
                  </a:lnTo>
                  <a:lnTo>
                    <a:pt x="757" y="142"/>
                  </a:lnTo>
                  <a:lnTo>
                    <a:pt x="785" y="122"/>
                  </a:lnTo>
                  <a:lnTo>
                    <a:pt x="779" y="118"/>
                  </a:lnTo>
                  <a:lnTo>
                    <a:pt x="796" y="116"/>
                  </a:lnTo>
                  <a:lnTo>
                    <a:pt x="813" y="122"/>
                  </a:lnTo>
                  <a:lnTo>
                    <a:pt x="850" y="109"/>
                  </a:lnTo>
                  <a:lnTo>
                    <a:pt x="862" y="99"/>
                  </a:lnTo>
                  <a:lnTo>
                    <a:pt x="848" y="95"/>
                  </a:lnTo>
                  <a:lnTo>
                    <a:pt x="878" y="75"/>
                  </a:lnTo>
                  <a:lnTo>
                    <a:pt x="865" y="73"/>
                  </a:lnTo>
                  <a:lnTo>
                    <a:pt x="867" y="67"/>
                  </a:lnTo>
                  <a:lnTo>
                    <a:pt x="839" y="65"/>
                  </a:lnTo>
                  <a:lnTo>
                    <a:pt x="819" y="92"/>
                  </a:lnTo>
                  <a:lnTo>
                    <a:pt x="783" y="105"/>
                  </a:lnTo>
                  <a:lnTo>
                    <a:pt x="781" y="95"/>
                  </a:lnTo>
                  <a:lnTo>
                    <a:pt x="794" y="80"/>
                  </a:lnTo>
                  <a:lnTo>
                    <a:pt x="790" y="73"/>
                  </a:lnTo>
                  <a:lnTo>
                    <a:pt x="770" y="84"/>
                  </a:lnTo>
                  <a:lnTo>
                    <a:pt x="766" y="69"/>
                  </a:lnTo>
                  <a:lnTo>
                    <a:pt x="757" y="65"/>
                  </a:lnTo>
                  <a:lnTo>
                    <a:pt x="775" y="60"/>
                  </a:lnTo>
                  <a:lnTo>
                    <a:pt x="768" y="34"/>
                  </a:lnTo>
                  <a:lnTo>
                    <a:pt x="781" y="28"/>
                  </a:lnTo>
                  <a:lnTo>
                    <a:pt x="781" y="22"/>
                  </a:lnTo>
                  <a:lnTo>
                    <a:pt x="807" y="21"/>
                  </a:lnTo>
                  <a:lnTo>
                    <a:pt x="843" y="4"/>
                  </a:lnTo>
                  <a:lnTo>
                    <a:pt x="815" y="0"/>
                  </a:lnTo>
                  <a:lnTo>
                    <a:pt x="779" y="7"/>
                  </a:lnTo>
                  <a:lnTo>
                    <a:pt x="757" y="36"/>
                  </a:lnTo>
                  <a:lnTo>
                    <a:pt x="716" y="56"/>
                  </a:lnTo>
                  <a:lnTo>
                    <a:pt x="719" y="65"/>
                  </a:lnTo>
                  <a:lnTo>
                    <a:pt x="732" y="71"/>
                  </a:lnTo>
                  <a:lnTo>
                    <a:pt x="719" y="77"/>
                  </a:lnTo>
                  <a:lnTo>
                    <a:pt x="717" y="84"/>
                  </a:lnTo>
                  <a:lnTo>
                    <a:pt x="684" y="101"/>
                  </a:lnTo>
                  <a:lnTo>
                    <a:pt x="676" y="95"/>
                  </a:lnTo>
                  <a:lnTo>
                    <a:pt x="684" y="86"/>
                  </a:lnTo>
                  <a:lnTo>
                    <a:pt x="704" y="80"/>
                  </a:lnTo>
                  <a:lnTo>
                    <a:pt x="702" y="73"/>
                  </a:lnTo>
                  <a:lnTo>
                    <a:pt x="693" y="65"/>
                  </a:lnTo>
                  <a:lnTo>
                    <a:pt x="661" y="77"/>
                  </a:lnTo>
                  <a:lnTo>
                    <a:pt x="674" y="84"/>
                  </a:lnTo>
                  <a:lnTo>
                    <a:pt x="652" y="99"/>
                  </a:lnTo>
                  <a:lnTo>
                    <a:pt x="616" y="97"/>
                  </a:lnTo>
                  <a:lnTo>
                    <a:pt x="592" y="88"/>
                  </a:lnTo>
                  <a:lnTo>
                    <a:pt x="586" y="79"/>
                  </a:lnTo>
                  <a:lnTo>
                    <a:pt x="538" y="90"/>
                  </a:lnTo>
                  <a:lnTo>
                    <a:pt x="547" y="94"/>
                  </a:lnTo>
                  <a:lnTo>
                    <a:pt x="536" y="99"/>
                  </a:lnTo>
                  <a:lnTo>
                    <a:pt x="519" y="94"/>
                  </a:lnTo>
                  <a:lnTo>
                    <a:pt x="479" y="99"/>
                  </a:lnTo>
                  <a:lnTo>
                    <a:pt x="455" y="95"/>
                  </a:lnTo>
                  <a:lnTo>
                    <a:pt x="478" y="90"/>
                  </a:lnTo>
                  <a:lnTo>
                    <a:pt x="478" y="82"/>
                  </a:lnTo>
                  <a:lnTo>
                    <a:pt x="436" y="75"/>
                  </a:lnTo>
                  <a:lnTo>
                    <a:pt x="418" y="65"/>
                  </a:lnTo>
                  <a:lnTo>
                    <a:pt x="399" y="65"/>
                  </a:lnTo>
                  <a:lnTo>
                    <a:pt x="384" y="71"/>
                  </a:lnTo>
                  <a:lnTo>
                    <a:pt x="376" y="71"/>
                  </a:lnTo>
                  <a:lnTo>
                    <a:pt x="386" y="62"/>
                  </a:lnTo>
                  <a:lnTo>
                    <a:pt x="363" y="71"/>
                  </a:lnTo>
                  <a:lnTo>
                    <a:pt x="358" y="69"/>
                  </a:lnTo>
                  <a:lnTo>
                    <a:pt x="361" y="60"/>
                  </a:lnTo>
                  <a:lnTo>
                    <a:pt x="356" y="52"/>
                  </a:lnTo>
                  <a:lnTo>
                    <a:pt x="324" y="65"/>
                  </a:lnTo>
                  <a:lnTo>
                    <a:pt x="328" y="58"/>
                  </a:lnTo>
                  <a:lnTo>
                    <a:pt x="268" y="71"/>
                  </a:lnTo>
                  <a:lnTo>
                    <a:pt x="251" y="69"/>
                  </a:lnTo>
                  <a:lnTo>
                    <a:pt x="225" y="80"/>
                  </a:lnTo>
                  <a:lnTo>
                    <a:pt x="185" y="67"/>
                  </a:lnTo>
                  <a:lnTo>
                    <a:pt x="2" y="217"/>
                  </a:lnTo>
                  <a:lnTo>
                    <a:pt x="0" y="221"/>
                  </a:lnTo>
                  <a:lnTo>
                    <a:pt x="22" y="219"/>
                  </a:lnTo>
                  <a:lnTo>
                    <a:pt x="17" y="223"/>
                  </a:lnTo>
                  <a:lnTo>
                    <a:pt x="22" y="242"/>
                  </a:lnTo>
                  <a:lnTo>
                    <a:pt x="62" y="228"/>
                  </a:lnTo>
                  <a:lnTo>
                    <a:pt x="58" y="243"/>
                  </a:lnTo>
                  <a:lnTo>
                    <a:pt x="64" y="247"/>
                  </a:lnTo>
                  <a:lnTo>
                    <a:pt x="52" y="281"/>
                  </a:lnTo>
                  <a:lnTo>
                    <a:pt x="67" y="294"/>
                  </a:lnTo>
                  <a:lnTo>
                    <a:pt x="51" y="311"/>
                  </a:lnTo>
                  <a:lnTo>
                    <a:pt x="24" y="328"/>
                  </a:lnTo>
                  <a:lnTo>
                    <a:pt x="26" y="352"/>
                  </a:lnTo>
                  <a:lnTo>
                    <a:pt x="34" y="358"/>
                  </a:lnTo>
                  <a:lnTo>
                    <a:pt x="26" y="376"/>
                  </a:lnTo>
                  <a:lnTo>
                    <a:pt x="47" y="391"/>
                  </a:lnTo>
                  <a:lnTo>
                    <a:pt x="67" y="416"/>
                  </a:lnTo>
                  <a:lnTo>
                    <a:pt x="455" y="416"/>
                  </a:lnTo>
                  <a:lnTo>
                    <a:pt x="465" y="408"/>
                  </a:lnTo>
                  <a:lnTo>
                    <a:pt x="468" y="421"/>
                  </a:lnTo>
                  <a:lnTo>
                    <a:pt x="526" y="435"/>
                  </a:lnTo>
                  <a:lnTo>
                    <a:pt x="524" y="435"/>
                  </a:lnTo>
                  <a:lnTo>
                    <a:pt x="560" y="416"/>
                  </a:lnTo>
                  <a:lnTo>
                    <a:pt x="581" y="420"/>
                  </a:lnTo>
                  <a:lnTo>
                    <a:pt x="583" y="436"/>
                  </a:lnTo>
                  <a:lnTo>
                    <a:pt x="596" y="436"/>
                  </a:lnTo>
                  <a:lnTo>
                    <a:pt x="588" y="461"/>
                  </a:lnTo>
                  <a:lnTo>
                    <a:pt x="594" y="465"/>
                  </a:lnTo>
                  <a:lnTo>
                    <a:pt x="592" y="465"/>
                  </a:lnTo>
                  <a:lnTo>
                    <a:pt x="639" y="472"/>
                  </a:lnTo>
                  <a:lnTo>
                    <a:pt x="644" y="491"/>
                  </a:lnTo>
                  <a:lnTo>
                    <a:pt x="637" y="496"/>
                  </a:lnTo>
                  <a:lnTo>
                    <a:pt x="622" y="485"/>
                  </a:lnTo>
                  <a:lnTo>
                    <a:pt x="603" y="519"/>
                  </a:lnTo>
                  <a:lnTo>
                    <a:pt x="592" y="523"/>
                  </a:lnTo>
                  <a:lnTo>
                    <a:pt x="592" y="523"/>
                  </a:lnTo>
                  <a:lnTo>
                    <a:pt x="569" y="545"/>
                  </a:lnTo>
                  <a:lnTo>
                    <a:pt x="601" y="532"/>
                  </a:lnTo>
                  <a:lnTo>
                    <a:pt x="642" y="528"/>
                  </a:lnTo>
                  <a:lnTo>
                    <a:pt x="642" y="519"/>
                  </a:lnTo>
                  <a:lnTo>
                    <a:pt x="631" y="519"/>
                  </a:lnTo>
                  <a:lnTo>
                    <a:pt x="641" y="511"/>
                  </a:lnTo>
                  <a:lnTo>
                    <a:pt x="678" y="508"/>
                  </a:lnTo>
                  <a:lnTo>
                    <a:pt x="695" y="500"/>
                  </a:lnTo>
                  <a:lnTo>
                    <a:pt x="717" y="489"/>
                  </a:lnTo>
                  <a:lnTo>
                    <a:pt x="762" y="489"/>
                  </a:lnTo>
                  <a:lnTo>
                    <a:pt x="781" y="483"/>
                  </a:lnTo>
                  <a:lnTo>
                    <a:pt x="813" y="444"/>
                  </a:lnTo>
                  <a:lnTo>
                    <a:pt x="834" y="450"/>
                  </a:lnTo>
                  <a:lnTo>
                    <a:pt x="826" y="476"/>
                  </a:lnTo>
                  <a:lnTo>
                    <a:pt x="834" y="485"/>
                  </a:lnTo>
                  <a:lnTo>
                    <a:pt x="867" y="476"/>
                  </a:lnTo>
                  <a:lnTo>
                    <a:pt x="865" y="481"/>
                  </a:lnTo>
                  <a:lnTo>
                    <a:pt x="875" y="481"/>
                  </a:lnTo>
                  <a:lnTo>
                    <a:pt x="839" y="504"/>
                  </a:lnTo>
                  <a:lnTo>
                    <a:pt x="843" y="515"/>
                  </a:lnTo>
                  <a:lnTo>
                    <a:pt x="869" y="496"/>
                  </a:lnTo>
                  <a:lnTo>
                    <a:pt x="918" y="485"/>
                  </a:lnTo>
                  <a:lnTo>
                    <a:pt x="942" y="470"/>
                  </a:lnTo>
                  <a:lnTo>
                    <a:pt x="935" y="465"/>
                  </a:lnTo>
                  <a:lnTo>
                    <a:pt x="937" y="451"/>
                  </a:lnTo>
                  <a:lnTo>
                    <a:pt x="918" y="474"/>
                  </a:lnTo>
                  <a:lnTo>
                    <a:pt x="892" y="474"/>
                  </a:lnTo>
                  <a:lnTo>
                    <a:pt x="875" y="465"/>
                  </a:lnTo>
                  <a:lnTo>
                    <a:pt x="875" y="457"/>
                  </a:lnTo>
                  <a:lnTo>
                    <a:pt x="882" y="438"/>
                  </a:lnTo>
                  <a:lnTo>
                    <a:pt x="869" y="442"/>
                  </a:lnTo>
                  <a:lnTo>
                    <a:pt x="863" y="433"/>
                  </a:lnTo>
                  <a:lnTo>
                    <a:pt x="895" y="425"/>
                  </a:lnTo>
                  <a:lnTo>
                    <a:pt x="897" y="420"/>
                  </a:lnTo>
                  <a:lnTo>
                    <a:pt x="888" y="412"/>
                  </a:lnTo>
                  <a:lnTo>
                    <a:pt x="832" y="425"/>
                  </a:lnTo>
                  <a:lnTo>
                    <a:pt x="785" y="455"/>
                  </a:lnTo>
                  <a:lnTo>
                    <a:pt x="824" y="423"/>
                  </a:lnTo>
                  <a:lnTo>
                    <a:pt x="848" y="410"/>
                  </a:lnTo>
                  <a:lnTo>
                    <a:pt x="858" y="410"/>
                  </a:lnTo>
                  <a:lnTo>
                    <a:pt x="871" y="397"/>
                  </a:lnTo>
                  <a:lnTo>
                    <a:pt x="912" y="391"/>
                  </a:lnTo>
                  <a:lnTo>
                    <a:pt x="968" y="395"/>
                  </a:lnTo>
                  <a:lnTo>
                    <a:pt x="995" y="376"/>
                  </a:lnTo>
                  <a:lnTo>
                    <a:pt x="1041" y="361"/>
                  </a:lnTo>
                  <a:lnTo>
                    <a:pt x="1047" y="343"/>
                  </a:lnTo>
                  <a:lnTo>
                    <a:pt x="1041" y="333"/>
                  </a:lnTo>
                  <a:close/>
                  <a:moveTo>
                    <a:pt x="346" y="122"/>
                  </a:moveTo>
                  <a:lnTo>
                    <a:pt x="305" y="124"/>
                  </a:lnTo>
                  <a:lnTo>
                    <a:pt x="386" y="107"/>
                  </a:lnTo>
                  <a:lnTo>
                    <a:pt x="395" y="110"/>
                  </a:lnTo>
                  <a:lnTo>
                    <a:pt x="367" y="118"/>
                  </a:lnTo>
                  <a:lnTo>
                    <a:pt x="403" y="118"/>
                  </a:lnTo>
                  <a:lnTo>
                    <a:pt x="380" y="131"/>
                  </a:lnTo>
                  <a:lnTo>
                    <a:pt x="363" y="127"/>
                  </a:lnTo>
                  <a:lnTo>
                    <a:pt x="363" y="135"/>
                  </a:lnTo>
                  <a:lnTo>
                    <a:pt x="333" y="144"/>
                  </a:lnTo>
                  <a:lnTo>
                    <a:pt x="352" y="131"/>
                  </a:lnTo>
                  <a:lnTo>
                    <a:pt x="328" y="142"/>
                  </a:lnTo>
                  <a:lnTo>
                    <a:pt x="309" y="142"/>
                  </a:lnTo>
                  <a:lnTo>
                    <a:pt x="354" y="125"/>
                  </a:lnTo>
                  <a:lnTo>
                    <a:pt x="346" y="122"/>
                  </a:lnTo>
                  <a:close/>
                  <a:moveTo>
                    <a:pt x="324" y="204"/>
                  </a:moveTo>
                  <a:lnTo>
                    <a:pt x="339" y="204"/>
                  </a:lnTo>
                  <a:lnTo>
                    <a:pt x="367" y="193"/>
                  </a:lnTo>
                  <a:lnTo>
                    <a:pt x="365" y="184"/>
                  </a:lnTo>
                  <a:lnTo>
                    <a:pt x="380" y="184"/>
                  </a:lnTo>
                  <a:lnTo>
                    <a:pt x="388" y="191"/>
                  </a:lnTo>
                  <a:lnTo>
                    <a:pt x="431" y="176"/>
                  </a:lnTo>
                  <a:lnTo>
                    <a:pt x="435" y="180"/>
                  </a:lnTo>
                  <a:lnTo>
                    <a:pt x="435" y="184"/>
                  </a:lnTo>
                  <a:lnTo>
                    <a:pt x="406" y="189"/>
                  </a:lnTo>
                  <a:lnTo>
                    <a:pt x="360" y="208"/>
                  </a:lnTo>
                  <a:lnTo>
                    <a:pt x="332" y="210"/>
                  </a:lnTo>
                  <a:lnTo>
                    <a:pt x="324" y="204"/>
                  </a:lnTo>
                  <a:close/>
                  <a:moveTo>
                    <a:pt x="397" y="228"/>
                  </a:moveTo>
                  <a:lnTo>
                    <a:pt x="420" y="238"/>
                  </a:lnTo>
                  <a:lnTo>
                    <a:pt x="360" y="247"/>
                  </a:lnTo>
                  <a:lnTo>
                    <a:pt x="397" y="228"/>
                  </a:lnTo>
                  <a:close/>
                  <a:moveTo>
                    <a:pt x="438" y="369"/>
                  </a:moveTo>
                  <a:lnTo>
                    <a:pt x="431" y="375"/>
                  </a:lnTo>
                  <a:lnTo>
                    <a:pt x="433" y="393"/>
                  </a:lnTo>
                  <a:lnTo>
                    <a:pt x="421" y="395"/>
                  </a:lnTo>
                  <a:lnTo>
                    <a:pt x="429" y="376"/>
                  </a:lnTo>
                  <a:lnTo>
                    <a:pt x="418" y="365"/>
                  </a:lnTo>
                  <a:lnTo>
                    <a:pt x="431" y="352"/>
                  </a:lnTo>
                  <a:lnTo>
                    <a:pt x="429" y="348"/>
                  </a:lnTo>
                  <a:lnTo>
                    <a:pt x="420" y="352"/>
                  </a:lnTo>
                  <a:lnTo>
                    <a:pt x="421" y="343"/>
                  </a:lnTo>
                  <a:lnTo>
                    <a:pt x="433" y="343"/>
                  </a:lnTo>
                  <a:lnTo>
                    <a:pt x="438" y="348"/>
                  </a:lnTo>
                  <a:lnTo>
                    <a:pt x="423" y="369"/>
                  </a:lnTo>
                  <a:lnTo>
                    <a:pt x="438" y="369"/>
                  </a:lnTo>
                  <a:close/>
                  <a:moveTo>
                    <a:pt x="468" y="376"/>
                  </a:moveTo>
                  <a:lnTo>
                    <a:pt x="448" y="391"/>
                  </a:lnTo>
                  <a:lnTo>
                    <a:pt x="463" y="369"/>
                  </a:lnTo>
                  <a:lnTo>
                    <a:pt x="455" y="373"/>
                  </a:lnTo>
                  <a:lnTo>
                    <a:pt x="459" y="363"/>
                  </a:lnTo>
                  <a:lnTo>
                    <a:pt x="450" y="363"/>
                  </a:lnTo>
                  <a:lnTo>
                    <a:pt x="451" y="339"/>
                  </a:lnTo>
                  <a:lnTo>
                    <a:pt x="459" y="332"/>
                  </a:lnTo>
                  <a:lnTo>
                    <a:pt x="474" y="333"/>
                  </a:lnTo>
                  <a:lnTo>
                    <a:pt x="468" y="376"/>
                  </a:lnTo>
                  <a:close/>
                  <a:moveTo>
                    <a:pt x="474" y="264"/>
                  </a:moveTo>
                  <a:lnTo>
                    <a:pt x="463" y="268"/>
                  </a:lnTo>
                  <a:lnTo>
                    <a:pt x="451" y="283"/>
                  </a:lnTo>
                  <a:lnTo>
                    <a:pt x="436" y="287"/>
                  </a:lnTo>
                  <a:lnTo>
                    <a:pt x="474" y="255"/>
                  </a:lnTo>
                  <a:lnTo>
                    <a:pt x="474" y="264"/>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26" name="Freeform 6138"/>
            <p:cNvSpPr>
              <a:spLocks noEditPoints="1"/>
            </p:cNvSpPr>
            <p:nvPr>
              <p:custDataLst>
                <p:tags r:id="rId404"/>
              </p:custDataLst>
            </p:nvPr>
          </p:nvSpPr>
          <p:spPr bwMode="gray">
            <a:xfrm>
              <a:off x="7476018" y="3056866"/>
              <a:ext cx="740344" cy="331416"/>
            </a:xfrm>
            <a:custGeom>
              <a:avLst/>
              <a:gdLst/>
              <a:ahLst/>
              <a:cxnLst>
                <a:cxn ang="0">
                  <a:pos x="564" y="101"/>
                </a:cxn>
                <a:cxn ang="0">
                  <a:pos x="545" y="103"/>
                </a:cxn>
                <a:cxn ang="0">
                  <a:pos x="484" y="84"/>
                </a:cxn>
                <a:cxn ang="0">
                  <a:pos x="465" y="82"/>
                </a:cxn>
                <a:cxn ang="0">
                  <a:pos x="392" y="26"/>
                </a:cxn>
                <a:cxn ang="0">
                  <a:pos x="377" y="22"/>
                </a:cxn>
                <a:cxn ang="0">
                  <a:pos x="352" y="35"/>
                </a:cxn>
                <a:cxn ang="0">
                  <a:pos x="336" y="26"/>
                </a:cxn>
                <a:cxn ang="0">
                  <a:pos x="317" y="22"/>
                </a:cxn>
                <a:cxn ang="0">
                  <a:pos x="304" y="3"/>
                </a:cxn>
                <a:cxn ang="0">
                  <a:pos x="272" y="9"/>
                </a:cxn>
                <a:cxn ang="0">
                  <a:pos x="201" y="26"/>
                </a:cxn>
                <a:cxn ang="0">
                  <a:pos x="182" y="33"/>
                </a:cxn>
                <a:cxn ang="0">
                  <a:pos x="186" y="43"/>
                </a:cxn>
                <a:cxn ang="0">
                  <a:pos x="188" y="56"/>
                </a:cxn>
                <a:cxn ang="0">
                  <a:pos x="203" y="73"/>
                </a:cxn>
                <a:cxn ang="0">
                  <a:pos x="174" y="84"/>
                </a:cxn>
                <a:cxn ang="0">
                  <a:pos x="135" y="76"/>
                </a:cxn>
                <a:cxn ang="0">
                  <a:pos x="105" y="76"/>
                </a:cxn>
                <a:cxn ang="0">
                  <a:pos x="88" y="69"/>
                </a:cxn>
                <a:cxn ang="0">
                  <a:pos x="62" y="69"/>
                </a:cxn>
                <a:cxn ang="0">
                  <a:pos x="32" y="76"/>
                </a:cxn>
                <a:cxn ang="0">
                  <a:pos x="28" y="95"/>
                </a:cxn>
                <a:cxn ang="0">
                  <a:pos x="8" y="88"/>
                </a:cxn>
                <a:cxn ang="0">
                  <a:pos x="8" y="125"/>
                </a:cxn>
                <a:cxn ang="0">
                  <a:pos x="26" y="136"/>
                </a:cxn>
                <a:cxn ang="0">
                  <a:pos x="32" y="157"/>
                </a:cxn>
                <a:cxn ang="0">
                  <a:pos x="43" y="157"/>
                </a:cxn>
                <a:cxn ang="0">
                  <a:pos x="94" y="148"/>
                </a:cxn>
                <a:cxn ang="0">
                  <a:pos x="124" y="181"/>
                </a:cxn>
                <a:cxn ang="0">
                  <a:pos x="81" y="187"/>
                </a:cxn>
                <a:cxn ang="0">
                  <a:pos x="70" y="193"/>
                </a:cxn>
                <a:cxn ang="0">
                  <a:pos x="77" y="202"/>
                </a:cxn>
                <a:cxn ang="0">
                  <a:pos x="107" y="226"/>
                </a:cxn>
                <a:cxn ang="0">
                  <a:pos x="109" y="241"/>
                </a:cxn>
                <a:cxn ang="0">
                  <a:pos x="131" y="234"/>
                </a:cxn>
                <a:cxn ang="0">
                  <a:pos x="165" y="254"/>
                </a:cxn>
                <a:cxn ang="0">
                  <a:pos x="186" y="174"/>
                </a:cxn>
                <a:cxn ang="0">
                  <a:pos x="188" y="170"/>
                </a:cxn>
                <a:cxn ang="0">
                  <a:pos x="201" y="163"/>
                </a:cxn>
                <a:cxn ang="0">
                  <a:pos x="204" y="159"/>
                </a:cxn>
                <a:cxn ang="0">
                  <a:pos x="221" y="172"/>
                </a:cxn>
                <a:cxn ang="0">
                  <a:pos x="227" y="193"/>
                </a:cxn>
                <a:cxn ang="0">
                  <a:pos x="227" y="202"/>
                </a:cxn>
                <a:cxn ang="0">
                  <a:pos x="287" y="209"/>
                </a:cxn>
                <a:cxn ang="0">
                  <a:pos x="311" y="241"/>
                </a:cxn>
                <a:cxn ang="0">
                  <a:pos x="326" y="254"/>
                </a:cxn>
                <a:cxn ang="0">
                  <a:pos x="379" y="239"/>
                </a:cxn>
                <a:cxn ang="0">
                  <a:pos x="382" y="228"/>
                </a:cxn>
                <a:cxn ang="0">
                  <a:pos x="416" y="222"/>
                </a:cxn>
                <a:cxn ang="0">
                  <a:pos x="444" y="224"/>
                </a:cxn>
                <a:cxn ang="0">
                  <a:pos x="519" y="236"/>
                </a:cxn>
                <a:cxn ang="0">
                  <a:pos x="504" y="191"/>
                </a:cxn>
                <a:cxn ang="0">
                  <a:pos x="532" y="183"/>
                </a:cxn>
                <a:cxn ang="0">
                  <a:pos x="560" y="153"/>
                </a:cxn>
                <a:cxn ang="0">
                  <a:pos x="564" y="125"/>
                </a:cxn>
                <a:cxn ang="0">
                  <a:pos x="577" y="112"/>
                </a:cxn>
                <a:cxn ang="0">
                  <a:pos x="454" y="157"/>
                </a:cxn>
                <a:cxn ang="0">
                  <a:pos x="410" y="168"/>
                </a:cxn>
                <a:cxn ang="0">
                  <a:pos x="401" y="176"/>
                </a:cxn>
                <a:cxn ang="0">
                  <a:pos x="414" y="155"/>
                </a:cxn>
                <a:cxn ang="0">
                  <a:pos x="465" y="163"/>
                </a:cxn>
              </a:cxnLst>
              <a:rect l="0" t="0" r="r" b="b"/>
              <a:pathLst>
                <a:path w="577" h="258">
                  <a:moveTo>
                    <a:pt x="577" y="112"/>
                  </a:moveTo>
                  <a:lnTo>
                    <a:pt x="564" y="101"/>
                  </a:lnTo>
                  <a:lnTo>
                    <a:pt x="560" y="106"/>
                  </a:lnTo>
                  <a:lnTo>
                    <a:pt x="545" y="103"/>
                  </a:lnTo>
                  <a:lnTo>
                    <a:pt x="512" y="80"/>
                  </a:lnTo>
                  <a:lnTo>
                    <a:pt x="484" y="84"/>
                  </a:lnTo>
                  <a:lnTo>
                    <a:pt x="470" y="73"/>
                  </a:lnTo>
                  <a:lnTo>
                    <a:pt x="465" y="82"/>
                  </a:lnTo>
                  <a:lnTo>
                    <a:pt x="416" y="39"/>
                  </a:lnTo>
                  <a:lnTo>
                    <a:pt x="392" y="26"/>
                  </a:lnTo>
                  <a:lnTo>
                    <a:pt x="392" y="18"/>
                  </a:lnTo>
                  <a:lnTo>
                    <a:pt x="377" y="22"/>
                  </a:lnTo>
                  <a:lnTo>
                    <a:pt x="367" y="33"/>
                  </a:lnTo>
                  <a:lnTo>
                    <a:pt x="352" y="35"/>
                  </a:lnTo>
                  <a:lnTo>
                    <a:pt x="352" y="24"/>
                  </a:lnTo>
                  <a:lnTo>
                    <a:pt x="336" y="26"/>
                  </a:lnTo>
                  <a:lnTo>
                    <a:pt x="328" y="18"/>
                  </a:lnTo>
                  <a:lnTo>
                    <a:pt x="317" y="22"/>
                  </a:lnTo>
                  <a:lnTo>
                    <a:pt x="315" y="13"/>
                  </a:lnTo>
                  <a:lnTo>
                    <a:pt x="304" y="3"/>
                  </a:lnTo>
                  <a:lnTo>
                    <a:pt x="279" y="0"/>
                  </a:lnTo>
                  <a:lnTo>
                    <a:pt x="272" y="9"/>
                  </a:lnTo>
                  <a:lnTo>
                    <a:pt x="244" y="13"/>
                  </a:lnTo>
                  <a:lnTo>
                    <a:pt x="201" y="26"/>
                  </a:lnTo>
                  <a:lnTo>
                    <a:pt x="178" y="26"/>
                  </a:lnTo>
                  <a:lnTo>
                    <a:pt x="182" y="33"/>
                  </a:lnTo>
                  <a:lnTo>
                    <a:pt x="189" y="33"/>
                  </a:lnTo>
                  <a:lnTo>
                    <a:pt x="186" y="43"/>
                  </a:lnTo>
                  <a:lnTo>
                    <a:pt x="182" y="46"/>
                  </a:lnTo>
                  <a:lnTo>
                    <a:pt x="188" y="56"/>
                  </a:lnTo>
                  <a:lnTo>
                    <a:pt x="176" y="63"/>
                  </a:lnTo>
                  <a:lnTo>
                    <a:pt x="203" y="73"/>
                  </a:lnTo>
                  <a:lnTo>
                    <a:pt x="197" y="84"/>
                  </a:lnTo>
                  <a:lnTo>
                    <a:pt x="174" y="84"/>
                  </a:lnTo>
                  <a:lnTo>
                    <a:pt x="156" y="76"/>
                  </a:lnTo>
                  <a:lnTo>
                    <a:pt x="135" y="76"/>
                  </a:lnTo>
                  <a:lnTo>
                    <a:pt x="122" y="86"/>
                  </a:lnTo>
                  <a:lnTo>
                    <a:pt x="105" y="76"/>
                  </a:lnTo>
                  <a:lnTo>
                    <a:pt x="105" y="86"/>
                  </a:lnTo>
                  <a:lnTo>
                    <a:pt x="88" y="69"/>
                  </a:lnTo>
                  <a:lnTo>
                    <a:pt x="68" y="65"/>
                  </a:lnTo>
                  <a:lnTo>
                    <a:pt x="62" y="69"/>
                  </a:lnTo>
                  <a:lnTo>
                    <a:pt x="47" y="67"/>
                  </a:lnTo>
                  <a:lnTo>
                    <a:pt x="32" y="76"/>
                  </a:lnTo>
                  <a:lnTo>
                    <a:pt x="21" y="86"/>
                  </a:lnTo>
                  <a:lnTo>
                    <a:pt x="28" y="95"/>
                  </a:lnTo>
                  <a:lnTo>
                    <a:pt x="23" y="99"/>
                  </a:lnTo>
                  <a:lnTo>
                    <a:pt x="8" y="88"/>
                  </a:lnTo>
                  <a:lnTo>
                    <a:pt x="0" y="123"/>
                  </a:lnTo>
                  <a:lnTo>
                    <a:pt x="8" y="125"/>
                  </a:lnTo>
                  <a:lnTo>
                    <a:pt x="15" y="136"/>
                  </a:lnTo>
                  <a:lnTo>
                    <a:pt x="26" y="136"/>
                  </a:lnTo>
                  <a:lnTo>
                    <a:pt x="41" y="155"/>
                  </a:lnTo>
                  <a:lnTo>
                    <a:pt x="32" y="157"/>
                  </a:lnTo>
                  <a:lnTo>
                    <a:pt x="45" y="163"/>
                  </a:lnTo>
                  <a:lnTo>
                    <a:pt x="43" y="157"/>
                  </a:lnTo>
                  <a:lnTo>
                    <a:pt x="70" y="146"/>
                  </a:lnTo>
                  <a:lnTo>
                    <a:pt x="94" y="148"/>
                  </a:lnTo>
                  <a:lnTo>
                    <a:pt x="113" y="161"/>
                  </a:lnTo>
                  <a:lnTo>
                    <a:pt x="124" y="181"/>
                  </a:lnTo>
                  <a:lnTo>
                    <a:pt x="88" y="179"/>
                  </a:lnTo>
                  <a:lnTo>
                    <a:pt x="81" y="187"/>
                  </a:lnTo>
                  <a:lnTo>
                    <a:pt x="86" y="194"/>
                  </a:lnTo>
                  <a:lnTo>
                    <a:pt x="70" y="193"/>
                  </a:lnTo>
                  <a:lnTo>
                    <a:pt x="68" y="198"/>
                  </a:lnTo>
                  <a:lnTo>
                    <a:pt x="77" y="202"/>
                  </a:lnTo>
                  <a:lnTo>
                    <a:pt x="98" y="226"/>
                  </a:lnTo>
                  <a:lnTo>
                    <a:pt x="107" y="226"/>
                  </a:lnTo>
                  <a:lnTo>
                    <a:pt x="107" y="237"/>
                  </a:lnTo>
                  <a:lnTo>
                    <a:pt x="109" y="241"/>
                  </a:lnTo>
                  <a:lnTo>
                    <a:pt x="118" y="236"/>
                  </a:lnTo>
                  <a:lnTo>
                    <a:pt x="131" y="234"/>
                  </a:lnTo>
                  <a:lnTo>
                    <a:pt x="156" y="254"/>
                  </a:lnTo>
                  <a:lnTo>
                    <a:pt x="165" y="254"/>
                  </a:lnTo>
                  <a:lnTo>
                    <a:pt x="148" y="185"/>
                  </a:lnTo>
                  <a:lnTo>
                    <a:pt x="186" y="174"/>
                  </a:lnTo>
                  <a:lnTo>
                    <a:pt x="186" y="176"/>
                  </a:lnTo>
                  <a:lnTo>
                    <a:pt x="188" y="170"/>
                  </a:lnTo>
                  <a:lnTo>
                    <a:pt x="199" y="170"/>
                  </a:lnTo>
                  <a:lnTo>
                    <a:pt x="201" y="163"/>
                  </a:lnTo>
                  <a:lnTo>
                    <a:pt x="204" y="164"/>
                  </a:lnTo>
                  <a:lnTo>
                    <a:pt x="204" y="159"/>
                  </a:lnTo>
                  <a:lnTo>
                    <a:pt x="225" y="155"/>
                  </a:lnTo>
                  <a:lnTo>
                    <a:pt x="221" y="172"/>
                  </a:lnTo>
                  <a:lnTo>
                    <a:pt x="236" y="187"/>
                  </a:lnTo>
                  <a:lnTo>
                    <a:pt x="227" y="193"/>
                  </a:lnTo>
                  <a:lnTo>
                    <a:pt x="229" y="202"/>
                  </a:lnTo>
                  <a:lnTo>
                    <a:pt x="227" y="202"/>
                  </a:lnTo>
                  <a:lnTo>
                    <a:pt x="244" y="213"/>
                  </a:lnTo>
                  <a:lnTo>
                    <a:pt x="287" y="209"/>
                  </a:lnTo>
                  <a:lnTo>
                    <a:pt x="309" y="222"/>
                  </a:lnTo>
                  <a:lnTo>
                    <a:pt x="311" y="241"/>
                  </a:lnTo>
                  <a:lnTo>
                    <a:pt x="321" y="243"/>
                  </a:lnTo>
                  <a:lnTo>
                    <a:pt x="326" y="254"/>
                  </a:lnTo>
                  <a:lnTo>
                    <a:pt x="356" y="258"/>
                  </a:lnTo>
                  <a:lnTo>
                    <a:pt x="379" y="239"/>
                  </a:lnTo>
                  <a:lnTo>
                    <a:pt x="380" y="234"/>
                  </a:lnTo>
                  <a:lnTo>
                    <a:pt x="382" y="228"/>
                  </a:lnTo>
                  <a:lnTo>
                    <a:pt x="416" y="232"/>
                  </a:lnTo>
                  <a:lnTo>
                    <a:pt x="416" y="222"/>
                  </a:lnTo>
                  <a:lnTo>
                    <a:pt x="424" y="219"/>
                  </a:lnTo>
                  <a:lnTo>
                    <a:pt x="444" y="224"/>
                  </a:lnTo>
                  <a:lnTo>
                    <a:pt x="502" y="226"/>
                  </a:lnTo>
                  <a:lnTo>
                    <a:pt x="519" y="236"/>
                  </a:lnTo>
                  <a:lnTo>
                    <a:pt x="523" y="219"/>
                  </a:lnTo>
                  <a:lnTo>
                    <a:pt x="504" y="191"/>
                  </a:lnTo>
                  <a:lnTo>
                    <a:pt x="508" y="185"/>
                  </a:lnTo>
                  <a:lnTo>
                    <a:pt x="532" y="183"/>
                  </a:lnTo>
                  <a:lnTo>
                    <a:pt x="530" y="146"/>
                  </a:lnTo>
                  <a:lnTo>
                    <a:pt x="560" y="153"/>
                  </a:lnTo>
                  <a:lnTo>
                    <a:pt x="568" y="148"/>
                  </a:lnTo>
                  <a:lnTo>
                    <a:pt x="564" y="125"/>
                  </a:lnTo>
                  <a:lnTo>
                    <a:pt x="575" y="119"/>
                  </a:lnTo>
                  <a:lnTo>
                    <a:pt x="577" y="112"/>
                  </a:lnTo>
                  <a:close/>
                  <a:moveTo>
                    <a:pt x="465" y="163"/>
                  </a:moveTo>
                  <a:lnTo>
                    <a:pt x="454" y="157"/>
                  </a:lnTo>
                  <a:lnTo>
                    <a:pt x="422" y="161"/>
                  </a:lnTo>
                  <a:lnTo>
                    <a:pt x="410" y="168"/>
                  </a:lnTo>
                  <a:lnTo>
                    <a:pt x="416" y="187"/>
                  </a:lnTo>
                  <a:lnTo>
                    <a:pt x="401" y="176"/>
                  </a:lnTo>
                  <a:lnTo>
                    <a:pt x="401" y="164"/>
                  </a:lnTo>
                  <a:lnTo>
                    <a:pt x="414" y="155"/>
                  </a:lnTo>
                  <a:lnTo>
                    <a:pt x="480" y="155"/>
                  </a:lnTo>
                  <a:lnTo>
                    <a:pt x="465" y="163"/>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27" name="Freeform 6139"/>
            <p:cNvSpPr>
              <a:spLocks noEditPoints="1"/>
            </p:cNvSpPr>
            <p:nvPr>
              <p:custDataLst>
                <p:tags r:id="rId405"/>
              </p:custDataLst>
            </p:nvPr>
          </p:nvSpPr>
          <p:spPr bwMode="gray">
            <a:xfrm>
              <a:off x="7093656" y="2603417"/>
              <a:ext cx="2548222" cy="779728"/>
            </a:xfrm>
            <a:custGeom>
              <a:avLst/>
              <a:gdLst/>
              <a:ahLst/>
              <a:cxnLst>
                <a:cxn ang="0">
                  <a:pos x="1890" y="184"/>
                </a:cxn>
                <a:cxn ang="0">
                  <a:pos x="1904" y="158"/>
                </a:cxn>
                <a:cxn ang="0">
                  <a:pos x="1653" y="120"/>
                </a:cxn>
                <a:cxn ang="0">
                  <a:pos x="1430" y="100"/>
                </a:cxn>
                <a:cxn ang="0">
                  <a:pos x="1214" y="94"/>
                </a:cxn>
                <a:cxn ang="0">
                  <a:pos x="1044" y="58"/>
                </a:cxn>
                <a:cxn ang="0">
                  <a:pos x="909" y="45"/>
                </a:cxn>
                <a:cxn ang="0">
                  <a:pos x="868" y="58"/>
                </a:cxn>
                <a:cxn ang="0">
                  <a:pos x="770" y="0"/>
                </a:cxn>
                <a:cxn ang="0">
                  <a:pos x="568" y="60"/>
                </a:cxn>
                <a:cxn ang="0">
                  <a:pos x="532" y="94"/>
                </a:cxn>
                <a:cxn ang="0">
                  <a:pos x="560" y="150"/>
                </a:cxn>
                <a:cxn ang="0">
                  <a:pos x="504" y="98"/>
                </a:cxn>
                <a:cxn ang="0">
                  <a:pos x="448" y="107"/>
                </a:cxn>
                <a:cxn ang="0">
                  <a:pos x="373" y="133"/>
                </a:cxn>
                <a:cxn ang="0">
                  <a:pos x="240" y="150"/>
                </a:cxn>
                <a:cxn ang="0">
                  <a:pos x="188" y="141"/>
                </a:cxn>
                <a:cxn ang="0">
                  <a:pos x="160" y="199"/>
                </a:cxn>
                <a:cxn ang="0">
                  <a:pos x="81" y="176"/>
                </a:cxn>
                <a:cxn ang="0">
                  <a:pos x="27" y="118"/>
                </a:cxn>
                <a:cxn ang="0">
                  <a:pos x="25" y="193"/>
                </a:cxn>
                <a:cxn ang="0">
                  <a:pos x="14" y="285"/>
                </a:cxn>
                <a:cxn ang="0">
                  <a:pos x="62" y="364"/>
                </a:cxn>
                <a:cxn ang="0">
                  <a:pos x="118" y="416"/>
                </a:cxn>
                <a:cxn ang="0">
                  <a:pos x="199" y="467"/>
                </a:cxn>
                <a:cxn ang="0">
                  <a:pos x="201" y="501"/>
                </a:cxn>
                <a:cxn ang="0">
                  <a:pos x="220" y="566"/>
                </a:cxn>
                <a:cxn ang="0">
                  <a:pos x="349" y="596"/>
                </a:cxn>
                <a:cxn ang="0">
                  <a:pos x="330" y="510"/>
                </a:cxn>
                <a:cxn ang="0">
                  <a:pos x="321" y="452"/>
                </a:cxn>
                <a:cxn ang="0">
                  <a:pos x="386" y="422"/>
                </a:cxn>
                <a:cxn ang="0">
                  <a:pos x="495" y="437"/>
                </a:cxn>
                <a:cxn ang="0">
                  <a:pos x="480" y="386"/>
                </a:cxn>
                <a:cxn ang="0">
                  <a:pos x="613" y="366"/>
                </a:cxn>
                <a:cxn ang="0">
                  <a:pos x="675" y="375"/>
                </a:cxn>
                <a:cxn ang="0">
                  <a:pos x="810" y="433"/>
                </a:cxn>
                <a:cxn ang="0">
                  <a:pos x="888" y="459"/>
                </a:cxn>
                <a:cxn ang="0">
                  <a:pos x="1019" y="411"/>
                </a:cxn>
                <a:cxn ang="0">
                  <a:pos x="1282" y="450"/>
                </a:cxn>
                <a:cxn ang="0">
                  <a:pos x="1340" y="388"/>
                </a:cxn>
                <a:cxn ang="0">
                  <a:pos x="1531" y="491"/>
                </a:cxn>
                <a:cxn ang="0">
                  <a:pos x="1564" y="568"/>
                </a:cxn>
                <a:cxn ang="0">
                  <a:pos x="1632" y="527"/>
                </a:cxn>
                <a:cxn ang="0">
                  <a:pos x="1533" y="388"/>
                </a:cxn>
                <a:cxn ang="0">
                  <a:pos x="1512" y="293"/>
                </a:cxn>
                <a:cxn ang="0">
                  <a:pos x="1682" y="289"/>
                </a:cxn>
                <a:cxn ang="0">
                  <a:pos x="1729" y="248"/>
                </a:cxn>
                <a:cxn ang="0">
                  <a:pos x="1742" y="309"/>
                </a:cxn>
                <a:cxn ang="0">
                  <a:pos x="1834" y="399"/>
                </a:cxn>
                <a:cxn ang="0">
                  <a:pos x="1827" y="343"/>
                </a:cxn>
                <a:cxn ang="0">
                  <a:pos x="1776" y="278"/>
                </a:cxn>
                <a:cxn ang="0">
                  <a:pos x="1860" y="268"/>
                </a:cxn>
                <a:cxn ang="0">
                  <a:pos x="53" y="276"/>
                </a:cxn>
                <a:cxn ang="0">
                  <a:pos x="107" y="259"/>
                </a:cxn>
                <a:cxn ang="0">
                  <a:pos x="107" y="235"/>
                </a:cxn>
                <a:cxn ang="0">
                  <a:pos x="1085" y="420"/>
                </a:cxn>
              </a:cxnLst>
              <a:rect l="0" t="0" r="r" b="b"/>
              <a:pathLst>
                <a:path w="1986" h="607">
                  <a:moveTo>
                    <a:pt x="1857" y="197"/>
                  </a:moveTo>
                  <a:lnTo>
                    <a:pt x="1874" y="197"/>
                  </a:lnTo>
                  <a:lnTo>
                    <a:pt x="1883" y="191"/>
                  </a:lnTo>
                  <a:lnTo>
                    <a:pt x="1877" y="182"/>
                  </a:lnTo>
                  <a:lnTo>
                    <a:pt x="1862" y="176"/>
                  </a:lnTo>
                  <a:lnTo>
                    <a:pt x="1866" y="171"/>
                  </a:lnTo>
                  <a:lnTo>
                    <a:pt x="1890" y="184"/>
                  </a:lnTo>
                  <a:lnTo>
                    <a:pt x="1924" y="186"/>
                  </a:lnTo>
                  <a:lnTo>
                    <a:pt x="1986" y="205"/>
                  </a:lnTo>
                  <a:lnTo>
                    <a:pt x="1969" y="184"/>
                  </a:lnTo>
                  <a:lnTo>
                    <a:pt x="1982" y="184"/>
                  </a:lnTo>
                  <a:lnTo>
                    <a:pt x="1984" y="175"/>
                  </a:lnTo>
                  <a:lnTo>
                    <a:pt x="1941" y="161"/>
                  </a:lnTo>
                  <a:lnTo>
                    <a:pt x="1904" y="158"/>
                  </a:lnTo>
                  <a:lnTo>
                    <a:pt x="1791" y="128"/>
                  </a:lnTo>
                  <a:lnTo>
                    <a:pt x="1729" y="116"/>
                  </a:lnTo>
                  <a:lnTo>
                    <a:pt x="1658" y="111"/>
                  </a:lnTo>
                  <a:lnTo>
                    <a:pt x="1684" y="128"/>
                  </a:lnTo>
                  <a:lnTo>
                    <a:pt x="1675" y="131"/>
                  </a:lnTo>
                  <a:lnTo>
                    <a:pt x="1641" y="120"/>
                  </a:lnTo>
                  <a:lnTo>
                    <a:pt x="1653" y="120"/>
                  </a:lnTo>
                  <a:lnTo>
                    <a:pt x="1649" y="116"/>
                  </a:lnTo>
                  <a:lnTo>
                    <a:pt x="1632" y="113"/>
                  </a:lnTo>
                  <a:lnTo>
                    <a:pt x="1630" y="122"/>
                  </a:lnTo>
                  <a:lnTo>
                    <a:pt x="1551" y="120"/>
                  </a:lnTo>
                  <a:lnTo>
                    <a:pt x="1531" y="109"/>
                  </a:lnTo>
                  <a:lnTo>
                    <a:pt x="1503" y="100"/>
                  </a:lnTo>
                  <a:lnTo>
                    <a:pt x="1430" y="100"/>
                  </a:lnTo>
                  <a:lnTo>
                    <a:pt x="1373" y="81"/>
                  </a:lnTo>
                  <a:lnTo>
                    <a:pt x="1255" y="72"/>
                  </a:lnTo>
                  <a:lnTo>
                    <a:pt x="1252" y="75"/>
                  </a:lnTo>
                  <a:lnTo>
                    <a:pt x="1252" y="79"/>
                  </a:lnTo>
                  <a:lnTo>
                    <a:pt x="1276" y="90"/>
                  </a:lnTo>
                  <a:lnTo>
                    <a:pt x="1224" y="87"/>
                  </a:lnTo>
                  <a:lnTo>
                    <a:pt x="1214" y="94"/>
                  </a:lnTo>
                  <a:lnTo>
                    <a:pt x="1180" y="85"/>
                  </a:lnTo>
                  <a:lnTo>
                    <a:pt x="1190" y="98"/>
                  </a:lnTo>
                  <a:lnTo>
                    <a:pt x="1186" y="102"/>
                  </a:lnTo>
                  <a:lnTo>
                    <a:pt x="1139" y="85"/>
                  </a:lnTo>
                  <a:lnTo>
                    <a:pt x="1136" y="72"/>
                  </a:lnTo>
                  <a:lnTo>
                    <a:pt x="1113" y="64"/>
                  </a:lnTo>
                  <a:lnTo>
                    <a:pt x="1044" y="58"/>
                  </a:lnTo>
                  <a:lnTo>
                    <a:pt x="1059" y="68"/>
                  </a:lnTo>
                  <a:lnTo>
                    <a:pt x="1021" y="68"/>
                  </a:lnTo>
                  <a:lnTo>
                    <a:pt x="1001" y="66"/>
                  </a:lnTo>
                  <a:lnTo>
                    <a:pt x="997" y="58"/>
                  </a:lnTo>
                  <a:lnTo>
                    <a:pt x="941" y="60"/>
                  </a:lnTo>
                  <a:lnTo>
                    <a:pt x="924" y="47"/>
                  </a:lnTo>
                  <a:lnTo>
                    <a:pt x="909" y="45"/>
                  </a:lnTo>
                  <a:lnTo>
                    <a:pt x="905" y="49"/>
                  </a:lnTo>
                  <a:lnTo>
                    <a:pt x="931" y="58"/>
                  </a:lnTo>
                  <a:lnTo>
                    <a:pt x="894" y="53"/>
                  </a:lnTo>
                  <a:lnTo>
                    <a:pt x="890" y="57"/>
                  </a:lnTo>
                  <a:lnTo>
                    <a:pt x="903" y="60"/>
                  </a:lnTo>
                  <a:lnTo>
                    <a:pt x="866" y="66"/>
                  </a:lnTo>
                  <a:lnTo>
                    <a:pt x="868" y="58"/>
                  </a:lnTo>
                  <a:lnTo>
                    <a:pt x="913" y="34"/>
                  </a:lnTo>
                  <a:lnTo>
                    <a:pt x="907" y="28"/>
                  </a:lnTo>
                  <a:lnTo>
                    <a:pt x="864" y="15"/>
                  </a:lnTo>
                  <a:lnTo>
                    <a:pt x="815" y="17"/>
                  </a:lnTo>
                  <a:lnTo>
                    <a:pt x="819" y="10"/>
                  </a:lnTo>
                  <a:lnTo>
                    <a:pt x="796" y="4"/>
                  </a:lnTo>
                  <a:lnTo>
                    <a:pt x="770" y="0"/>
                  </a:lnTo>
                  <a:lnTo>
                    <a:pt x="750" y="10"/>
                  </a:lnTo>
                  <a:lnTo>
                    <a:pt x="744" y="23"/>
                  </a:lnTo>
                  <a:lnTo>
                    <a:pt x="680" y="23"/>
                  </a:lnTo>
                  <a:lnTo>
                    <a:pt x="639" y="34"/>
                  </a:lnTo>
                  <a:lnTo>
                    <a:pt x="624" y="43"/>
                  </a:lnTo>
                  <a:lnTo>
                    <a:pt x="637" y="55"/>
                  </a:lnTo>
                  <a:lnTo>
                    <a:pt x="568" y="60"/>
                  </a:lnTo>
                  <a:lnTo>
                    <a:pt x="585" y="77"/>
                  </a:lnTo>
                  <a:lnTo>
                    <a:pt x="615" y="85"/>
                  </a:lnTo>
                  <a:lnTo>
                    <a:pt x="602" y="87"/>
                  </a:lnTo>
                  <a:lnTo>
                    <a:pt x="547" y="73"/>
                  </a:lnTo>
                  <a:lnTo>
                    <a:pt x="536" y="85"/>
                  </a:lnTo>
                  <a:lnTo>
                    <a:pt x="572" y="98"/>
                  </a:lnTo>
                  <a:lnTo>
                    <a:pt x="532" y="94"/>
                  </a:lnTo>
                  <a:lnTo>
                    <a:pt x="521" y="77"/>
                  </a:lnTo>
                  <a:lnTo>
                    <a:pt x="508" y="94"/>
                  </a:lnTo>
                  <a:lnTo>
                    <a:pt x="529" y="103"/>
                  </a:lnTo>
                  <a:lnTo>
                    <a:pt x="529" y="118"/>
                  </a:lnTo>
                  <a:lnTo>
                    <a:pt x="536" y="128"/>
                  </a:lnTo>
                  <a:lnTo>
                    <a:pt x="547" y="131"/>
                  </a:lnTo>
                  <a:lnTo>
                    <a:pt x="560" y="150"/>
                  </a:lnTo>
                  <a:lnTo>
                    <a:pt x="549" y="161"/>
                  </a:lnTo>
                  <a:lnTo>
                    <a:pt x="532" y="173"/>
                  </a:lnTo>
                  <a:lnTo>
                    <a:pt x="516" y="165"/>
                  </a:lnTo>
                  <a:lnTo>
                    <a:pt x="534" y="154"/>
                  </a:lnTo>
                  <a:lnTo>
                    <a:pt x="536" y="135"/>
                  </a:lnTo>
                  <a:lnTo>
                    <a:pt x="521" y="128"/>
                  </a:lnTo>
                  <a:lnTo>
                    <a:pt x="504" y="98"/>
                  </a:lnTo>
                  <a:lnTo>
                    <a:pt x="491" y="90"/>
                  </a:lnTo>
                  <a:lnTo>
                    <a:pt x="491" y="73"/>
                  </a:lnTo>
                  <a:lnTo>
                    <a:pt x="474" y="66"/>
                  </a:lnTo>
                  <a:lnTo>
                    <a:pt x="465" y="60"/>
                  </a:lnTo>
                  <a:lnTo>
                    <a:pt x="454" y="62"/>
                  </a:lnTo>
                  <a:lnTo>
                    <a:pt x="439" y="94"/>
                  </a:lnTo>
                  <a:lnTo>
                    <a:pt x="448" y="107"/>
                  </a:lnTo>
                  <a:lnTo>
                    <a:pt x="448" y="118"/>
                  </a:lnTo>
                  <a:lnTo>
                    <a:pt x="482" y="131"/>
                  </a:lnTo>
                  <a:lnTo>
                    <a:pt x="480" y="141"/>
                  </a:lnTo>
                  <a:lnTo>
                    <a:pt x="351" y="105"/>
                  </a:lnTo>
                  <a:lnTo>
                    <a:pt x="349" y="111"/>
                  </a:lnTo>
                  <a:lnTo>
                    <a:pt x="386" y="128"/>
                  </a:lnTo>
                  <a:lnTo>
                    <a:pt x="373" y="133"/>
                  </a:lnTo>
                  <a:lnTo>
                    <a:pt x="375" y="139"/>
                  </a:lnTo>
                  <a:lnTo>
                    <a:pt x="366" y="137"/>
                  </a:lnTo>
                  <a:lnTo>
                    <a:pt x="362" y="128"/>
                  </a:lnTo>
                  <a:lnTo>
                    <a:pt x="319" y="135"/>
                  </a:lnTo>
                  <a:lnTo>
                    <a:pt x="317" y="143"/>
                  </a:lnTo>
                  <a:lnTo>
                    <a:pt x="300" y="128"/>
                  </a:lnTo>
                  <a:lnTo>
                    <a:pt x="240" y="150"/>
                  </a:lnTo>
                  <a:lnTo>
                    <a:pt x="242" y="158"/>
                  </a:lnTo>
                  <a:lnTo>
                    <a:pt x="233" y="161"/>
                  </a:lnTo>
                  <a:lnTo>
                    <a:pt x="201" y="154"/>
                  </a:lnTo>
                  <a:lnTo>
                    <a:pt x="220" y="146"/>
                  </a:lnTo>
                  <a:lnTo>
                    <a:pt x="212" y="141"/>
                  </a:lnTo>
                  <a:lnTo>
                    <a:pt x="176" y="133"/>
                  </a:lnTo>
                  <a:lnTo>
                    <a:pt x="188" y="141"/>
                  </a:lnTo>
                  <a:lnTo>
                    <a:pt x="188" y="158"/>
                  </a:lnTo>
                  <a:lnTo>
                    <a:pt x="197" y="160"/>
                  </a:lnTo>
                  <a:lnTo>
                    <a:pt x="201" y="169"/>
                  </a:lnTo>
                  <a:lnTo>
                    <a:pt x="195" y="173"/>
                  </a:lnTo>
                  <a:lnTo>
                    <a:pt x="173" y="169"/>
                  </a:lnTo>
                  <a:lnTo>
                    <a:pt x="145" y="184"/>
                  </a:lnTo>
                  <a:lnTo>
                    <a:pt x="160" y="199"/>
                  </a:lnTo>
                  <a:lnTo>
                    <a:pt x="113" y="190"/>
                  </a:lnTo>
                  <a:lnTo>
                    <a:pt x="107" y="195"/>
                  </a:lnTo>
                  <a:lnTo>
                    <a:pt x="128" y="201"/>
                  </a:lnTo>
                  <a:lnTo>
                    <a:pt x="130" y="210"/>
                  </a:lnTo>
                  <a:lnTo>
                    <a:pt x="115" y="210"/>
                  </a:lnTo>
                  <a:lnTo>
                    <a:pt x="87" y="199"/>
                  </a:lnTo>
                  <a:lnTo>
                    <a:pt x="81" y="176"/>
                  </a:lnTo>
                  <a:lnTo>
                    <a:pt x="49" y="158"/>
                  </a:lnTo>
                  <a:lnTo>
                    <a:pt x="126" y="175"/>
                  </a:lnTo>
                  <a:lnTo>
                    <a:pt x="160" y="165"/>
                  </a:lnTo>
                  <a:lnTo>
                    <a:pt x="152" y="150"/>
                  </a:lnTo>
                  <a:lnTo>
                    <a:pt x="100" y="130"/>
                  </a:lnTo>
                  <a:lnTo>
                    <a:pt x="51" y="116"/>
                  </a:lnTo>
                  <a:lnTo>
                    <a:pt x="27" y="118"/>
                  </a:lnTo>
                  <a:lnTo>
                    <a:pt x="6" y="128"/>
                  </a:lnTo>
                  <a:lnTo>
                    <a:pt x="2" y="130"/>
                  </a:lnTo>
                  <a:lnTo>
                    <a:pt x="2" y="141"/>
                  </a:lnTo>
                  <a:lnTo>
                    <a:pt x="21" y="148"/>
                  </a:lnTo>
                  <a:lnTo>
                    <a:pt x="14" y="160"/>
                  </a:lnTo>
                  <a:lnTo>
                    <a:pt x="27" y="176"/>
                  </a:lnTo>
                  <a:lnTo>
                    <a:pt x="25" y="193"/>
                  </a:lnTo>
                  <a:lnTo>
                    <a:pt x="36" y="205"/>
                  </a:lnTo>
                  <a:lnTo>
                    <a:pt x="34" y="214"/>
                  </a:lnTo>
                  <a:lnTo>
                    <a:pt x="51" y="229"/>
                  </a:lnTo>
                  <a:lnTo>
                    <a:pt x="8" y="266"/>
                  </a:lnTo>
                  <a:lnTo>
                    <a:pt x="15" y="266"/>
                  </a:lnTo>
                  <a:lnTo>
                    <a:pt x="29" y="276"/>
                  </a:lnTo>
                  <a:lnTo>
                    <a:pt x="14" y="285"/>
                  </a:lnTo>
                  <a:lnTo>
                    <a:pt x="12" y="291"/>
                  </a:lnTo>
                  <a:lnTo>
                    <a:pt x="0" y="294"/>
                  </a:lnTo>
                  <a:lnTo>
                    <a:pt x="12" y="308"/>
                  </a:lnTo>
                  <a:lnTo>
                    <a:pt x="10" y="315"/>
                  </a:lnTo>
                  <a:lnTo>
                    <a:pt x="23" y="339"/>
                  </a:lnTo>
                  <a:lnTo>
                    <a:pt x="60" y="351"/>
                  </a:lnTo>
                  <a:lnTo>
                    <a:pt x="62" y="364"/>
                  </a:lnTo>
                  <a:lnTo>
                    <a:pt x="77" y="381"/>
                  </a:lnTo>
                  <a:lnTo>
                    <a:pt x="90" y="386"/>
                  </a:lnTo>
                  <a:lnTo>
                    <a:pt x="85" y="394"/>
                  </a:lnTo>
                  <a:lnTo>
                    <a:pt x="72" y="394"/>
                  </a:lnTo>
                  <a:lnTo>
                    <a:pt x="81" y="411"/>
                  </a:lnTo>
                  <a:lnTo>
                    <a:pt x="107" y="407"/>
                  </a:lnTo>
                  <a:lnTo>
                    <a:pt x="118" y="416"/>
                  </a:lnTo>
                  <a:lnTo>
                    <a:pt x="117" y="424"/>
                  </a:lnTo>
                  <a:lnTo>
                    <a:pt x="128" y="426"/>
                  </a:lnTo>
                  <a:lnTo>
                    <a:pt x="137" y="441"/>
                  </a:lnTo>
                  <a:lnTo>
                    <a:pt x="163" y="441"/>
                  </a:lnTo>
                  <a:lnTo>
                    <a:pt x="173" y="448"/>
                  </a:lnTo>
                  <a:lnTo>
                    <a:pt x="205" y="457"/>
                  </a:lnTo>
                  <a:lnTo>
                    <a:pt x="199" y="467"/>
                  </a:lnTo>
                  <a:lnTo>
                    <a:pt x="205" y="469"/>
                  </a:lnTo>
                  <a:lnTo>
                    <a:pt x="201" y="471"/>
                  </a:lnTo>
                  <a:lnTo>
                    <a:pt x="203" y="487"/>
                  </a:lnTo>
                  <a:lnTo>
                    <a:pt x="191" y="486"/>
                  </a:lnTo>
                  <a:lnTo>
                    <a:pt x="184" y="491"/>
                  </a:lnTo>
                  <a:lnTo>
                    <a:pt x="184" y="501"/>
                  </a:lnTo>
                  <a:lnTo>
                    <a:pt x="201" y="501"/>
                  </a:lnTo>
                  <a:lnTo>
                    <a:pt x="178" y="510"/>
                  </a:lnTo>
                  <a:lnTo>
                    <a:pt x="186" y="516"/>
                  </a:lnTo>
                  <a:lnTo>
                    <a:pt x="176" y="532"/>
                  </a:lnTo>
                  <a:lnTo>
                    <a:pt x="169" y="534"/>
                  </a:lnTo>
                  <a:lnTo>
                    <a:pt x="169" y="538"/>
                  </a:lnTo>
                  <a:lnTo>
                    <a:pt x="171" y="538"/>
                  </a:lnTo>
                  <a:lnTo>
                    <a:pt x="220" y="566"/>
                  </a:lnTo>
                  <a:lnTo>
                    <a:pt x="261" y="572"/>
                  </a:lnTo>
                  <a:lnTo>
                    <a:pt x="278" y="583"/>
                  </a:lnTo>
                  <a:lnTo>
                    <a:pt x="296" y="581"/>
                  </a:lnTo>
                  <a:lnTo>
                    <a:pt x="317" y="594"/>
                  </a:lnTo>
                  <a:lnTo>
                    <a:pt x="332" y="607"/>
                  </a:lnTo>
                  <a:lnTo>
                    <a:pt x="341" y="607"/>
                  </a:lnTo>
                  <a:lnTo>
                    <a:pt x="349" y="596"/>
                  </a:lnTo>
                  <a:lnTo>
                    <a:pt x="330" y="575"/>
                  </a:lnTo>
                  <a:lnTo>
                    <a:pt x="328" y="562"/>
                  </a:lnTo>
                  <a:lnTo>
                    <a:pt x="313" y="544"/>
                  </a:lnTo>
                  <a:lnTo>
                    <a:pt x="323" y="519"/>
                  </a:lnTo>
                  <a:lnTo>
                    <a:pt x="332" y="523"/>
                  </a:lnTo>
                  <a:lnTo>
                    <a:pt x="343" y="516"/>
                  </a:lnTo>
                  <a:lnTo>
                    <a:pt x="330" y="510"/>
                  </a:lnTo>
                  <a:lnTo>
                    <a:pt x="339" y="508"/>
                  </a:lnTo>
                  <a:lnTo>
                    <a:pt x="324" y="489"/>
                  </a:lnTo>
                  <a:lnTo>
                    <a:pt x="313" y="489"/>
                  </a:lnTo>
                  <a:lnTo>
                    <a:pt x="306" y="478"/>
                  </a:lnTo>
                  <a:lnTo>
                    <a:pt x="298" y="476"/>
                  </a:lnTo>
                  <a:lnTo>
                    <a:pt x="306" y="441"/>
                  </a:lnTo>
                  <a:lnTo>
                    <a:pt x="321" y="452"/>
                  </a:lnTo>
                  <a:lnTo>
                    <a:pt x="326" y="448"/>
                  </a:lnTo>
                  <a:lnTo>
                    <a:pt x="319" y="439"/>
                  </a:lnTo>
                  <a:lnTo>
                    <a:pt x="330" y="429"/>
                  </a:lnTo>
                  <a:lnTo>
                    <a:pt x="345" y="420"/>
                  </a:lnTo>
                  <a:lnTo>
                    <a:pt x="360" y="422"/>
                  </a:lnTo>
                  <a:lnTo>
                    <a:pt x="366" y="418"/>
                  </a:lnTo>
                  <a:lnTo>
                    <a:pt x="386" y="422"/>
                  </a:lnTo>
                  <a:lnTo>
                    <a:pt x="403" y="439"/>
                  </a:lnTo>
                  <a:lnTo>
                    <a:pt x="403" y="429"/>
                  </a:lnTo>
                  <a:lnTo>
                    <a:pt x="420" y="439"/>
                  </a:lnTo>
                  <a:lnTo>
                    <a:pt x="433" y="429"/>
                  </a:lnTo>
                  <a:lnTo>
                    <a:pt x="454" y="429"/>
                  </a:lnTo>
                  <a:lnTo>
                    <a:pt x="472" y="437"/>
                  </a:lnTo>
                  <a:lnTo>
                    <a:pt x="495" y="437"/>
                  </a:lnTo>
                  <a:lnTo>
                    <a:pt x="501" y="426"/>
                  </a:lnTo>
                  <a:lnTo>
                    <a:pt x="474" y="416"/>
                  </a:lnTo>
                  <a:lnTo>
                    <a:pt x="486" y="409"/>
                  </a:lnTo>
                  <a:lnTo>
                    <a:pt x="480" y="399"/>
                  </a:lnTo>
                  <a:lnTo>
                    <a:pt x="484" y="396"/>
                  </a:lnTo>
                  <a:lnTo>
                    <a:pt x="487" y="386"/>
                  </a:lnTo>
                  <a:lnTo>
                    <a:pt x="480" y="386"/>
                  </a:lnTo>
                  <a:lnTo>
                    <a:pt x="476" y="379"/>
                  </a:lnTo>
                  <a:lnTo>
                    <a:pt x="499" y="379"/>
                  </a:lnTo>
                  <a:lnTo>
                    <a:pt x="542" y="366"/>
                  </a:lnTo>
                  <a:lnTo>
                    <a:pt x="570" y="362"/>
                  </a:lnTo>
                  <a:lnTo>
                    <a:pt x="577" y="353"/>
                  </a:lnTo>
                  <a:lnTo>
                    <a:pt x="602" y="356"/>
                  </a:lnTo>
                  <a:lnTo>
                    <a:pt x="613" y="366"/>
                  </a:lnTo>
                  <a:lnTo>
                    <a:pt x="615" y="375"/>
                  </a:lnTo>
                  <a:lnTo>
                    <a:pt x="626" y="371"/>
                  </a:lnTo>
                  <a:lnTo>
                    <a:pt x="634" y="379"/>
                  </a:lnTo>
                  <a:lnTo>
                    <a:pt x="650" y="377"/>
                  </a:lnTo>
                  <a:lnTo>
                    <a:pt x="650" y="388"/>
                  </a:lnTo>
                  <a:lnTo>
                    <a:pt x="665" y="386"/>
                  </a:lnTo>
                  <a:lnTo>
                    <a:pt x="675" y="375"/>
                  </a:lnTo>
                  <a:lnTo>
                    <a:pt x="690" y="371"/>
                  </a:lnTo>
                  <a:lnTo>
                    <a:pt x="690" y="379"/>
                  </a:lnTo>
                  <a:lnTo>
                    <a:pt x="714" y="392"/>
                  </a:lnTo>
                  <a:lnTo>
                    <a:pt x="763" y="435"/>
                  </a:lnTo>
                  <a:lnTo>
                    <a:pt x="768" y="426"/>
                  </a:lnTo>
                  <a:lnTo>
                    <a:pt x="782" y="437"/>
                  </a:lnTo>
                  <a:lnTo>
                    <a:pt x="810" y="433"/>
                  </a:lnTo>
                  <a:lnTo>
                    <a:pt x="843" y="456"/>
                  </a:lnTo>
                  <a:lnTo>
                    <a:pt x="858" y="459"/>
                  </a:lnTo>
                  <a:lnTo>
                    <a:pt x="862" y="454"/>
                  </a:lnTo>
                  <a:lnTo>
                    <a:pt x="875" y="465"/>
                  </a:lnTo>
                  <a:lnTo>
                    <a:pt x="873" y="472"/>
                  </a:lnTo>
                  <a:lnTo>
                    <a:pt x="885" y="467"/>
                  </a:lnTo>
                  <a:lnTo>
                    <a:pt x="888" y="459"/>
                  </a:lnTo>
                  <a:lnTo>
                    <a:pt x="929" y="439"/>
                  </a:lnTo>
                  <a:lnTo>
                    <a:pt x="965" y="441"/>
                  </a:lnTo>
                  <a:lnTo>
                    <a:pt x="982" y="450"/>
                  </a:lnTo>
                  <a:lnTo>
                    <a:pt x="1019" y="448"/>
                  </a:lnTo>
                  <a:lnTo>
                    <a:pt x="1018" y="437"/>
                  </a:lnTo>
                  <a:lnTo>
                    <a:pt x="1008" y="424"/>
                  </a:lnTo>
                  <a:lnTo>
                    <a:pt x="1019" y="411"/>
                  </a:lnTo>
                  <a:lnTo>
                    <a:pt x="1062" y="422"/>
                  </a:lnTo>
                  <a:lnTo>
                    <a:pt x="1089" y="442"/>
                  </a:lnTo>
                  <a:lnTo>
                    <a:pt x="1124" y="439"/>
                  </a:lnTo>
                  <a:lnTo>
                    <a:pt x="1199" y="463"/>
                  </a:lnTo>
                  <a:lnTo>
                    <a:pt x="1239" y="457"/>
                  </a:lnTo>
                  <a:lnTo>
                    <a:pt x="1255" y="444"/>
                  </a:lnTo>
                  <a:lnTo>
                    <a:pt x="1282" y="450"/>
                  </a:lnTo>
                  <a:lnTo>
                    <a:pt x="1306" y="457"/>
                  </a:lnTo>
                  <a:lnTo>
                    <a:pt x="1321" y="448"/>
                  </a:lnTo>
                  <a:lnTo>
                    <a:pt x="1315" y="422"/>
                  </a:lnTo>
                  <a:lnTo>
                    <a:pt x="1319" y="416"/>
                  </a:lnTo>
                  <a:lnTo>
                    <a:pt x="1304" y="399"/>
                  </a:lnTo>
                  <a:lnTo>
                    <a:pt x="1310" y="394"/>
                  </a:lnTo>
                  <a:lnTo>
                    <a:pt x="1340" y="388"/>
                  </a:lnTo>
                  <a:lnTo>
                    <a:pt x="1381" y="399"/>
                  </a:lnTo>
                  <a:lnTo>
                    <a:pt x="1424" y="433"/>
                  </a:lnTo>
                  <a:lnTo>
                    <a:pt x="1443" y="456"/>
                  </a:lnTo>
                  <a:lnTo>
                    <a:pt x="1469" y="459"/>
                  </a:lnTo>
                  <a:lnTo>
                    <a:pt x="1497" y="471"/>
                  </a:lnTo>
                  <a:lnTo>
                    <a:pt x="1516" y="489"/>
                  </a:lnTo>
                  <a:lnTo>
                    <a:pt x="1531" y="491"/>
                  </a:lnTo>
                  <a:lnTo>
                    <a:pt x="1561" y="476"/>
                  </a:lnTo>
                  <a:lnTo>
                    <a:pt x="1570" y="493"/>
                  </a:lnTo>
                  <a:lnTo>
                    <a:pt x="1566" y="497"/>
                  </a:lnTo>
                  <a:lnTo>
                    <a:pt x="1572" y="538"/>
                  </a:lnTo>
                  <a:lnTo>
                    <a:pt x="1555" y="536"/>
                  </a:lnTo>
                  <a:lnTo>
                    <a:pt x="1548" y="546"/>
                  </a:lnTo>
                  <a:lnTo>
                    <a:pt x="1564" y="568"/>
                  </a:lnTo>
                  <a:lnTo>
                    <a:pt x="1566" y="583"/>
                  </a:lnTo>
                  <a:lnTo>
                    <a:pt x="1570" y="583"/>
                  </a:lnTo>
                  <a:lnTo>
                    <a:pt x="1572" y="570"/>
                  </a:lnTo>
                  <a:lnTo>
                    <a:pt x="1598" y="581"/>
                  </a:lnTo>
                  <a:lnTo>
                    <a:pt x="1619" y="568"/>
                  </a:lnTo>
                  <a:lnTo>
                    <a:pt x="1619" y="551"/>
                  </a:lnTo>
                  <a:lnTo>
                    <a:pt x="1632" y="527"/>
                  </a:lnTo>
                  <a:lnTo>
                    <a:pt x="1636" y="476"/>
                  </a:lnTo>
                  <a:lnTo>
                    <a:pt x="1609" y="431"/>
                  </a:lnTo>
                  <a:lnTo>
                    <a:pt x="1591" y="392"/>
                  </a:lnTo>
                  <a:lnTo>
                    <a:pt x="1551" y="375"/>
                  </a:lnTo>
                  <a:lnTo>
                    <a:pt x="1542" y="375"/>
                  </a:lnTo>
                  <a:lnTo>
                    <a:pt x="1542" y="384"/>
                  </a:lnTo>
                  <a:lnTo>
                    <a:pt x="1533" y="388"/>
                  </a:lnTo>
                  <a:lnTo>
                    <a:pt x="1525" y="373"/>
                  </a:lnTo>
                  <a:lnTo>
                    <a:pt x="1518" y="375"/>
                  </a:lnTo>
                  <a:lnTo>
                    <a:pt x="1520" y="383"/>
                  </a:lnTo>
                  <a:lnTo>
                    <a:pt x="1506" y="368"/>
                  </a:lnTo>
                  <a:lnTo>
                    <a:pt x="1482" y="362"/>
                  </a:lnTo>
                  <a:lnTo>
                    <a:pt x="1495" y="345"/>
                  </a:lnTo>
                  <a:lnTo>
                    <a:pt x="1512" y="293"/>
                  </a:lnTo>
                  <a:lnTo>
                    <a:pt x="1529" y="287"/>
                  </a:lnTo>
                  <a:lnTo>
                    <a:pt x="1598" y="289"/>
                  </a:lnTo>
                  <a:lnTo>
                    <a:pt x="1593" y="279"/>
                  </a:lnTo>
                  <a:lnTo>
                    <a:pt x="1598" y="279"/>
                  </a:lnTo>
                  <a:lnTo>
                    <a:pt x="1624" y="281"/>
                  </a:lnTo>
                  <a:lnTo>
                    <a:pt x="1638" y="294"/>
                  </a:lnTo>
                  <a:lnTo>
                    <a:pt x="1682" y="289"/>
                  </a:lnTo>
                  <a:lnTo>
                    <a:pt x="1664" y="283"/>
                  </a:lnTo>
                  <a:lnTo>
                    <a:pt x="1658" y="276"/>
                  </a:lnTo>
                  <a:lnTo>
                    <a:pt x="1662" y="248"/>
                  </a:lnTo>
                  <a:lnTo>
                    <a:pt x="1701" y="244"/>
                  </a:lnTo>
                  <a:lnTo>
                    <a:pt x="1705" y="253"/>
                  </a:lnTo>
                  <a:lnTo>
                    <a:pt x="1722" y="266"/>
                  </a:lnTo>
                  <a:lnTo>
                    <a:pt x="1729" y="248"/>
                  </a:lnTo>
                  <a:lnTo>
                    <a:pt x="1737" y="248"/>
                  </a:lnTo>
                  <a:lnTo>
                    <a:pt x="1726" y="233"/>
                  </a:lnTo>
                  <a:lnTo>
                    <a:pt x="1744" y="233"/>
                  </a:lnTo>
                  <a:lnTo>
                    <a:pt x="1741" y="238"/>
                  </a:lnTo>
                  <a:lnTo>
                    <a:pt x="1759" y="261"/>
                  </a:lnTo>
                  <a:lnTo>
                    <a:pt x="1746" y="268"/>
                  </a:lnTo>
                  <a:lnTo>
                    <a:pt x="1742" y="309"/>
                  </a:lnTo>
                  <a:lnTo>
                    <a:pt x="1729" y="313"/>
                  </a:lnTo>
                  <a:lnTo>
                    <a:pt x="1739" y="326"/>
                  </a:lnTo>
                  <a:lnTo>
                    <a:pt x="1733" y="328"/>
                  </a:lnTo>
                  <a:lnTo>
                    <a:pt x="1752" y="356"/>
                  </a:lnTo>
                  <a:lnTo>
                    <a:pt x="1838" y="433"/>
                  </a:lnTo>
                  <a:lnTo>
                    <a:pt x="1844" y="420"/>
                  </a:lnTo>
                  <a:lnTo>
                    <a:pt x="1834" y="399"/>
                  </a:lnTo>
                  <a:lnTo>
                    <a:pt x="1838" y="394"/>
                  </a:lnTo>
                  <a:lnTo>
                    <a:pt x="1847" y="394"/>
                  </a:lnTo>
                  <a:lnTo>
                    <a:pt x="1832" y="377"/>
                  </a:lnTo>
                  <a:lnTo>
                    <a:pt x="1834" y="371"/>
                  </a:lnTo>
                  <a:lnTo>
                    <a:pt x="1849" y="369"/>
                  </a:lnTo>
                  <a:lnTo>
                    <a:pt x="1851" y="366"/>
                  </a:lnTo>
                  <a:lnTo>
                    <a:pt x="1827" y="343"/>
                  </a:lnTo>
                  <a:lnTo>
                    <a:pt x="1842" y="341"/>
                  </a:lnTo>
                  <a:lnTo>
                    <a:pt x="1823" y="328"/>
                  </a:lnTo>
                  <a:lnTo>
                    <a:pt x="1814" y="315"/>
                  </a:lnTo>
                  <a:lnTo>
                    <a:pt x="1799" y="313"/>
                  </a:lnTo>
                  <a:lnTo>
                    <a:pt x="1789" y="306"/>
                  </a:lnTo>
                  <a:lnTo>
                    <a:pt x="1787" y="293"/>
                  </a:lnTo>
                  <a:lnTo>
                    <a:pt x="1776" y="278"/>
                  </a:lnTo>
                  <a:lnTo>
                    <a:pt x="1795" y="278"/>
                  </a:lnTo>
                  <a:lnTo>
                    <a:pt x="1804" y="270"/>
                  </a:lnTo>
                  <a:lnTo>
                    <a:pt x="1815" y="279"/>
                  </a:lnTo>
                  <a:lnTo>
                    <a:pt x="1815" y="272"/>
                  </a:lnTo>
                  <a:lnTo>
                    <a:pt x="1827" y="266"/>
                  </a:lnTo>
                  <a:lnTo>
                    <a:pt x="1866" y="276"/>
                  </a:lnTo>
                  <a:lnTo>
                    <a:pt x="1860" y="268"/>
                  </a:lnTo>
                  <a:lnTo>
                    <a:pt x="1887" y="240"/>
                  </a:lnTo>
                  <a:lnTo>
                    <a:pt x="1900" y="233"/>
                  </a:lnTo>
                  <a:lnTo>
                    <a:pt x="1930" y="238"/>
                  </a:lnTo>
                  <a:lnTo>
                    <a:pt x="1930" y="231"/>
                  </a:lnTo>
                  <a:lnTo>
                    <a:pt x="1857" y="197"/>
                  </a:lnTo>
                  <a:close/>
                  <a:moveTo>
                    <a:pt x="72" y="272"/>
                  </a:moveTo>
                  <a:lnTo>
                    <a:pt x="53" y="276"/>
                  </a:lnTo>
                  <a:lnTo>
                    <a:pt x="36" y="257"/>
                  </a:lnTo>
                  <a:lnTo>
                    <a:pt x="45" y="248"/>
                  </a:lnTo>
                  <a:lnTo>
                    <a:pt x="53" y="248"/>
                  </a:lnTo>
                  <a:lnTo>
                    <a:pt x="70" y="255"/>
                  </a:lnTo>
                  <a:lnTo>
                    <a:pt x="75" y="266"/>
                  </a:lnTo>
                  <a:lnTo>
                    <a:pt x="72" y="272"/>
                  </a:lnTo>
                  <a:close/>
                  <a:moveTo>
                    <a:pt x="107" y="259"/>
                  </a:moveTo>
                  <a:lnTo>
                    <a:pt x="107" y="253"/>
                  </a:lnTo>
                  <a:lnTo>
                    <a:pt x="92" y="246"/>
                  </a:lnTo>
                  <a:lnTo>
                    <a:pt x="94" y="240"/>
                  </a:lnTo>
                  <a:lnTo>
                    <a:pt x="102" y="240"/>
                  </a:lnTo>
                  <a:lnTo>
                    <a:pt x="88" y="227"/>
                  </a:lnTo>
                  <a:lnTo>
                    <a:pt x="100" y="231"/>
                  </a:lnTo>
                  <a:lnTo>
                    <a:pt x="107" y="235"/>
                  </a:lnTo>
                  <a:lnTo>
                    <a:pt x="120" y="257"/>
                  </a:lnTo>
                  <a:lnTo>
                    <a:pt x="107" y="259"/>
                  </a:lnTo>
                  <a:close/>
                  <a:moveTo>
                    <a:pt x="1134" y="401"/>
                  </a:moveTo>
                  <a:lnTo>
                    <a:pt x="1117" y="411"/>
                  </a:lnTo>
                  <a:lnTo>
                    <a:pt x="1119" y="420"/>
                  </a:lnTo>
                  <a:lnTo>
                    <a:pt x="1102" y="426"/>
                  </a:lnTo>
                  <a:lnTo>
                    <a:pt x="1085" y="420"/>
                  </a:lnTo>
                  <a:lnTo>
                    <a:pt x="1107" y="416"/>
                  </a:lnTo>
                  <a:lnTo>
                    <a:pt x="1126" y="379"/>
                  </a:lnTo>
                  <a:lnTo>
                    <a:pt x="1122" y="347"/>
                  </a:lnTo>
                  <a:lnTo>
                    <a:pt x="1130" y="351"/>
                  </a:lnTo>
                  <a:lnTo>
                    <a:pt x="1141" y="379"/>
                  </a:lnTo>
                  <a:lnTo>
                    <a:pt x="1134" y="401"/>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28" name="Freeform 6140"/>
            <p:cNvSpPr>
              <a:spLocks noEditPoints="1"/>
            </p:cNvSpPr>
            <p:nvPr>
              <p:custDataLst>
                <p:tags r:id="rId406"/>
              </p:custDataLst>
            </p:nvPr>
          </p:nvSpPr>
          <p:spPr bwMode="gray">
            <a:xfrm>
              <a:off x="7203524" y="4243897"/>
              <a:ext cx="110346" cy="124602"/>
            </a:xfrm>
            <a:custGeom>
              <a:avLst/>
              <a:gdLst/>
              <a:ahLst/>
              <a:cxnLst>
                <a:cxn ang="0">
                  <a:pos x="75" y="2"/>
                </a:cxn>
                <a:cxn ang="0">
                  <a:pos x="69" y="0"/>
                </a:cxn>
                <a:cxn ang="0">
                  <a:pos x="35" y="7"/>
                </a:cxn>
                <a:cxn ang="0">
                  <a:pos x="19" y="7"/>
                </a:cxn>
                <a:cxn ang="0">
                  <a:pos x="17" y="24"/>
                </a:cxn>
                <a:cxn ang="0">
                  <a:pos x="26" y="34"/>
                </a:cxn>
                <a:cxn ang="0">
                  <a:pos x="13" y="51"/>
                </a:cxn>
                <a:cxn ang="0">
                  <a:pos x="4" y="66"/>
                </a:cxn>
                <a:cxn ang="0">
                  <a:pos x="0" y="97"/>
                </a:cxn>
                <a:cxn ang="0">
                  <a:pos x="11" y="94"/>
                </a:cxn>
                <a:cxn ang="0">
                  <a:pos x="32" y="92"/>
                </a:cxn>
                <a:cxn ang="0">
                  <a:pos x="34" y="77"/>
                </a:cxn>
                <a:cxn ang="0">
                  <a:pos x="52" y="69"/>
                </a:cxn>
                <a:cxn ang="0">
                  <a:pos x="69" y="73"/>
                </a:cxn>
                <a:cxn ang="0">
                  <a:pos x="69" y="71"/>
                </a:cxn>
                <a:cxn ang="0">
                  <a:pos x="86" y="36"/>
                </a:cxn>
                <a:cxn ang="0">
                  <a:pos x="75" y="2"/>
                </a:cxn>
                <a:cxn ang="0">
                  <a:pos x="69" y="92"/>
                </a:cxn>
                <a:cxn ang="0">
                  <a:pos x="69" y="92"/>
                </a:cxn>
                <a:cxn ang="0">
                  <a:pos x="67" y="92"/>
                </a:cxn>
                <a:cxn ang="0">
                  <a:pos x="69" y="92"/>
                </a:cxn>
              </a:cxnLst>
              <a:rect l="0" t="0" r="r" b="b"/>
              <a:pathLst>
                <a:path w="86" h="97">
                  <a:moveTo>
                    <a:pt x="75" y="2"/>
                  </a:moveTo>
                  <a:lnTo>
                    <a:pt x="69" y="0"/>
                  </a:lnTo>
                  <a:lnTo>
                    <a:pt x="35" y="7"/>
                  </a:lnTo>
                  <a:lnTo>
                    <a:pt x="19" y="7"/>
                  </a:lnTo>
                  <a:lnTo>
                    <a:pt x="17" y="24"/>
                  </a:lnTo>
                  <a:lnTo>
                    <a:pt x="26" y="34"/>
                  </a:lnTo>
                  <a:lnTo>
                    <a:pt x="13" y="51"/>
                  </a:lnTo>
                  <a:lnTo>
                    <a:pt x="4" y="66"/>
                  </a:lnTo>
                  <a:lnTo>
                    <a:pt x="0" y="97"/>
                  </a:lnTo>
                  <a:lnTo>
                    <a:pt x="11" y="94"/>
                  </a:lnTo>
                  <a:lnTo>
                    <a:pt x="32" y="92"/>
                  </a:lnTo>
                  <a:lnTo>
                    <a:pt x="34" y="77"/>
                  </a:lnTo>
                  <a:lnTo>
                    <a:pt x="52" y="69"/>
                  </a:lnTo>
                  <a:lnTo>
                    <a:pt x="69" y="73"/>
                  </a:lnTo>
                  <a:lnTo>
                    <a:pt x="69" y="71"/>
                  </a:lnTo>
                  <a:lnTo>
                    <a:pt x="86" y="36"/>
                  </a:lnTo>
                  <a:lnTo>
                    <a:pt x="75" y="2"/>
                  </a:lnTo>
                  <a:close/>
                  <a:moveTo>
                    <a:pt x="69" y="92"/>
                  </a:moveTo>
                  <a:lnTo>
                    <a:pt x="69" y="92"/>
                  </a:lnTo>
                  <a:lnTo>
                    <a:pt x="67" y="92"/>
                  </a:lnTo>
                  <a:lnTo>
                    <a:pt x="69" y="92"/>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29" name="Freeform 6141"/>
            <p:cNvSpPr>
              <a:spLocks/>
            </p:cNvSpPr>
            <p:nvPr>
              <p:custDataLst>
                <p:tags r:id="rId407"/>
              </p:custDataLst>
            </p:nvPr>
          </p:nvSpPr>
          <p:spPr bwMode="gray">
            <a:xfrm>
              <a:off x="7208656" y="4588159"/>
              <a:ext cx="215560" cy="385368"/>
            </a:xfrm>
            <a:custGeom>
              <a:avLst/>
              <a:gdLst/>
              <a:ahLst/>
              <a:cxnLst>
                <a:cxn ang="0">
                  <a:pos x="146" y="15"/>
                </a:cxn>
                <a:cxn ang="0">
                  <a:pos x="103" y="22"/>
                </a:cxn>
                <a:cxn ang="0">
                  <a:pos x="78" y="21"/>
                </a:cxn>
                <a:cxn ang="0">
                  <a:pos x="76" y="43"/>
                </a:cxn>
                <a:cxn ang="0">
                  <a:pos x="80" y="62"/>
                </a:cxn>
                <a:cxn ang="0">
                  <a:pos x="93" y="80"/>
                </a:cxn>
                <a:cxn ang="0">
                  <a:pos x="91" y="97"/>
                </a:cxn>
                <a:cxn ang="0">
                  <a:pos x="78" y="118"/>
                </a:cxn>
                <a:cxn ang="0">
                  <a:pos x="67" y="99"/>
                </a:cxn>
                <a:cxn ang="0">
                  <a:pos x="69" y="75"/>
                </a:cxn>
                <a:cxn ang="0">
                  <a:pos x="56" y="75"/>
                </a:cxn>
                <a:cxn ang="0">
                  <a:pos x="48" y="65"/>
                </a:cxn>
                <a:cxn ang="0">
                  <a:pos x="0" y="84"/>
                </a:cxn>
                <a:cxn ang="0">
                  <a:pos x="1" y="94"/>
                </a:cxn>
                <a:cxn ang="0">
                  <a:pos x="1" y="101"/>
                </a:cxn>
                <a:cxn ang="0">
                  <a:pos x="18" y="101"/>
                </a:cxn>
                <a:cxn ang="0">
                  <a:pos x="41" y="114"/>
                </a:cxn>
                <a:cxn ang="0">
                  <a:pos x="43" y="127"/>
                </a:cxn>
                <a:cxn ang="0">
                  <a:pos x="41" y="174"/>
                </a:cxn>
                <a:cxn ang="0">
                  <a:pos x="18" y="223"/>
                </a:cxn>
                <a:cxn ang="0">
                  <a:pos x="22" y="283"/>
                </a:cxn>
                <a:cxn ang="0">
                  <a:pos x="22" y="300"/>
                </a:cxn>
                <a:cxn ang="0">
                  <a:pos x="35" y="300"/>
                </a:cxn>
                <a:cxn ang="0">
                  <a:pos x="37" y="290"/>
                </a:cxn>
                <a:cxn ang="0">
                  <a:pos x="31" y="288"/>
                </a:cxn>
                <a:cxn ang="0">
                  <a:pos x="37" y="277"/>
                </a:cxn>
                <a:cxn ang="0">
                  <a:pos x="74" y="258"/>
                </a:cxn>
                <a:cxn ang="0">
                  <a:pos x="80" y="221"/>
                </a:cxn>
                <a:cxn ang="0">
                  <a:pos x="69" y="185"/>
                </a:cxn>
                <a:cxn ang="0">
                  <a:pos x="71" y="176"/>
                </a:cxn>
                <a:cxn ang="0">
                  <a:pos x="114" y="129"/>
                </a:cxn>
                <a:cxn ang="0">
                  <a:pos x="140" y="122"/>
                </a:cxn>
                <a:cxn ang="0">
                  <a:pos x="168" y="86"/>
                </a:cxn>
                <a:cxn ang="0">
                  <a:pos x="168" y="0"/>
                </a:cxn>
                <a:cxn ang="0">
                  <a:pos x="146" y="15"/>
                </a:cxn>
              </a:cxnLst>
              <a:rect l="0" t="0" r="r" b="b"/>
              <a:pathLst>
                <a:path w="168" h="300">
                  <a:moveTo>
                    <a:pt x="146" y="15"/>
                  </a:moveTo>
                  <a:lnTo>
                    <a:pt x="103" y="22"/>
                  </a:lnTo>
                  <a:lnTo>
                    <a:pt x="78" y="21"/>
                  </a:lnTo>
                  <a:lnTo>
                    <a:pt x="76" y="43"/>
                  </a:lnTo>
                  <a:lnTo>
                    <a:pt x="80" y="62"/>
                  </a:lnTo>
                  <a:lnTo>
                    <a:pt x="93" y="80"/>
                  </a:lnTo>
                  <a:lnTo>
                    <a:pt x="91" y="97"/>
                  </a:lnTo>
                  <a:lnTo>
                    <a:pt x="78" y="118"/>
                  </a:lnTo>
                  <a:lnTo>
                    <a:pt x="67" y="99"/>
                  </a:lnTo>
                  <a:lnTo>
                    <a:pt x="69" y="75"/>
                  </a:lnTo>
                  <a:lnTo>
                    <a:pt x="56" y="75"/>
                  </a:lnTo>
                  <a:lnTo>
                    <a:pt x="48" y="65"/>
                  </a:lnTo>
                  <a:lnTo>
                    <a:pt x="0" y="84"/>
                  </a:lnTo>
                  <a:lnTo>
                    <a:pt x="1" y="94"/>
                  </a:lnTo>
                  <a:lnTo>
                    <a:pt x="1" y="101"/>
                  </a:lnTo>
                  <a:lnTo>
                    <a:pt x="18" y="101"/>
                  </a:lnTo>
                  <a:lnTo>
                    <a:pt x="41" y="114"/>
                  </a:lnTo>
                  <a:lnTo>
                    <a:pt x="43" y="127"/>
                  </a:lnTo>
                  <a:lnTo>
                    <a:pt x="41" y="174"/>
                  </a:lnTo>
                  <a:lnTo>
                    <a:pt x="18" y="223"/>
                  </a:lnTo>
                  <a:lnTo>
                    <a:pt x="22" y="283"/>
                  </a:lnTo>
                  <a:lnTo>
                    <a:pt x="22" y="300"/>
                  </a:lnTo>
                  <a:lnTo>
                    <a:pt x="35" y="300"/>
                  </a:lnTo>
                  <a:lnTo>
                    <a:pt x="37" y="290"/>
                  </a:lnTo>
                  <a:lnTo>
                    <a:pt x="31" y="288"/>
                  </a:lnTo>
                  <a:lnTo>
                    <a:pt x="37" y="277"/>
                  </a:lnTo>
                  <a:lnTo>
                    <a:pt x="74" y="258"/>
                  </a:lnTo>
                  <a:lnTo>
                    <a:pt x="80" y="221"/>
                  </a:lnTo>
                  <a:lnTo>
                    <a:pt x="69" y="185"/>
                  </a:lnTo>
                  <a:lnTo>
                    <a:pt x="71" y="176"/>
                  </a:lnTo>
                  <a:lnTo>
                    <a:pt x="114" y="129"/>
                  </a:lnTo>
                  <a:lnTo>
                    <a:pt x="140" y="122"/>
                  </a:lnTo>
                  <a:lnTo>
                    <a:pt x="168" y="86"/>
                  </a:lnTo>
                  <a:lnTo>
                    <a:pt x="168" y="0"/>
                  </a:lnTo>
                  <a:lnTo>
                    <a:pt x="146" y="1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30" name="Freeform 6142"/>
            <p:cNvSpPr>
              <a:spLocks/>
            </p:cNvSpPr>
            <p:nvPr>
              <p:custDataLst>
                <p:tags r:id="rId408"/>
              </p:custDataLst>
            </p:nvPr>
          </p:nvSpPr>
          <p:spPr bwMode="gray">
            <a:xfrm>
              <a:off x="7292057" y="4229767"/>
              <a:ext cx="162953" cy="220944"/>
            </a:xfrm>
            <a:custGeom>
              <a:avLst/>
              <a:gdLst/>
              <a:ahLst/>
              <a:cxnLst>
                <a:cxn ang="0">
                  <a:pos x="114" y="99"/>
                </a:cxn>
                <a:cxn ang="0">
                  <a:pos x="114" y="35"/>
                </a:cxn>
                <a:cxn ang="0">
                  <a:pos x="127" y="13"/>
                </a:cxn>
                <a:cxn ang="0">
                  <a:pos x="111" y="7"/>
                </a:cxn>
                <a:cxn ang="0">
                  <a:pos x="81" y="20"/>
                </a:cxn>
                <a:cxn ang="0">
                  <a:pos x="62" y="17"/>
                </a:cxn>
                <a:cxn ang="0">
                  <a:pos x="43" y="0"/>
                </a:cxn>
                <a:cxn ang="0">
                  <a:pos x="30" y="0"/>
                </a:cxn>
                <a:cxn ang="0">
                  <a:pos x="8" y="0"/>
                </a:cxn>
                <a:cxn ang="0">
                  <a:pos x="0" y="11"/>
                </a:cxn>
                <a:cxn ang="0">
                  <a:pos x="6" y="13"/>
                </a:cxn>
                <a:cxn ang="0">
                  <a:pos x="17" y="47"/>
                </a:cxn>
                <a:cxn ang="0">
                  <a:pos x="0" y="82"/>
                </a:cxn>
                <a:cxn ang="0">
                  <a:pos x="0" y="84"/>
                </a:cxn>
                <a:cxn ang="0">
                  <a:pos x="4" y="93"/>
                </a:cxn>
                <a:cxn ang="0">
                  <a:pos x="0" y="103"/>
                </a:cxn>
                <a:cxn ang="0">
                  <a:pos x="0" y="103"/>
                </a:cxn>
                <a:cxn ang="0">
                  <a:pos x="4" y="103"/>
                </a:cxn>
                <a:cxn ang="0">
                  <a:pos x="58" y="138"/>
                </a:cxn>
                <a:cxn ang="0">
                  <a:pos x="64" y="153"/>
                </a:cxn>
                <a:cxn ang="0">
                  <a:pos x="86" y="172"/>
                </a:cxn>
                <a:cxn ang="0">
                  <a:pos x="101" y="140"/>
                </a:cxn>
                <a:cxn ang="0">
                  <a:pos x="101" y="131"/>
                </a:cxn>
                <a:cxn ang="0">
                  <a:pos x="109" y="131"/>
                </a:cxn>
                <a:cxn ang="0">
                  <a:pos x="124" y="116"/>
                </a:cxn>
                <a:cxn ang="0">
                  <a:pos x="124" y="116"/>
                </a:cxn>
                <a:cxn ang="0">
                  <a:pos x="114" y="99"/>
                </a:cxn>
              </a:cxnLst>
              <a:rect l="0" t="0" r="r" b="b"/>
              <a:pathLst>
                <a:path w="127" h="172">
                  <a:moveTo>
                    <a:pt x="114" y="99"/>
                  </a:moveTo>
                  <a:lnTo>
                    <a:pt x="114" y="35"/>
                  </a:lnTo>
                  <a:lnTo>
                    <a:pt x="127" y="13"/>
                  </a:lnTo>
                  <a:lnTo>
                    <a:pt x="111" y="7"/>
                  </a:lnTo>
                  <a:lnTo>
                    <a:pt x="81" y="20"/>
                  </a:lnTo>
                  <a:lnTo>
                    <a:pt x="62" y="17"/>
                  </a:lnTo>
                  <a:lnTo>
                    <a:pt x="43" y="0"/>
                  </a:lnTo>
                  <a:lnTo>
                    <a:pt x="30" y="0"/>
                  </a:lnTo>
                  <a:lnTo>
                    <a:pt x="8" y="0"/>
                  </a:lnTo>
                  <a:lnTo>
                    <a:pt x="0" y="11"/>
                  </a:lnTo>
                  <a:lnTo>
                    <a:pt x="6" y="13"/>
                  </a:lnTo>
                  <a:lnTo>
                    <a:pt x="17" y="47"/>
                  </a:lnTo>
                  <a:lnTo>
                    <a:pt x="0" y="82"/>
                  </a:lnTo>
                  <a:lnTo>
                    <a:pt x="0" y="84"/>
                  </a:lnTo>
                  <a:lnTo>
                    <a:pt x="4" y="93"/>
                  </a:lnTo>
                  <a:lnTo>
                    <a:pt x="0" y="103"/>
                  </a:lnTo>
                  <a:lnTo>
                    <a:pt x="0" y="103"/>
                  </a:lnTo>
                  <a:lnTo>
                    <a:pt x="4" y="103"/>
                  </a:lnTo>
                  <a:lnTo>
                    <a:pt x="58" y="138"/>
                  </a:lnTo>
                  <a:lnTo>
                    <a:pt x="64" y="153"/>
                  </a:lnTo>
                  <a:lnTo>
                    <a:pt x="86" y="172"/>
                  </a:lnTo>
                  <a:lnTo>
                    <a:pt x="101" y="140"/>
                  </a:lnTo>
                  <a:lnTo>
                    <a:pt x="101" y="131"/>
                  </a:lnTo>
                  <a:lnTo>
                    <a:pt x="109" y="131"/>
                  </a:lnTo>
                  <a:lnTo>
                    <a:pt x="124" y="116"/>
                  </a:lnTo>
                  <a:lnTo>
                    <a:pt x="124" y="116"/>
                  </a:lnTo>
                  <a:lnTo>
                    <a:pt x="114" y="99"/>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31" name="Freeform 6143"/>
            <p:cNvSpPr>
              <a:spLocks/>
            </p:cNvSpPr>
            <p:nvPr>
              <p:custDataLst>
                <p:tags r:id="rId409"/>
              </p:custDataLst>
            </p:nvPr>
          </p:nvSpPr>
          <p:spPr bwMode="gray">
            <a:xfrm>
              <a:off x="7198392" y="4362077"/>
              <a:ext cx="225824" cy="254343"/>
            </a:xfrm>
            <a:custGeom>
              <a:avLst/>
              <a:gdLst/>
              <a:ahLst/>
              <a:cxnLst>
                <a:cxn ang="0">
                  <a:pos x="165" y="167"/>
                </a:cxn>
                <a:cxn ang="0">
                  <a:pos x="159" y="146"/>
                </a:cxn>
                <a:cxn ang="0">
                  <a:pos x="163" y="112"/>
                </a:cxn>
                <a:cxn ang="0">
                  <a:pos x="150" y="95"/>
                </a:cxn>
                <a:cxn ang="0">
                  <a:pos x="159" y="69"/>
                </a:cxn>
                <a:cxn ang="0">
                  <a:pos x="137" y="50"/>
                </a:cxn>
                <a:cxn ang="0">
                  <a:pos x="131" y="35"/>
                </a:cxn>
                <a:cxn ang="0">
                  <a:pos x="77" y="0"/>
                </a:cxn>
                <a:cxn ang="0">
                  <a:pos x="71" y="0"/>
                </a:cxn>
                <a:cxn ang="0">
                  <a:pos x="60" y="20"/>
                </a:cxn>
                <a:cxn ang="0">
                  <a:pos x="69" y="22"/>
                </a:cxn>
                <a:cxn ang="0">
                  <a:pos x="64" y="28"/>
                </a:cxn>
                <a:cxn ang="0">
                  <a:pos x="43" y="26"/>
                </a:cxn>
                <a:cxn ang="0">
                  <a:pos x="38" y="34"/>
                </a:cxn>
                <a:cxn ang="0">
                  <a:pos x="34" y="20"/>
                </a:cxn>
                <a:cxn ang="0">
                  <a:pos x="36" y="0"/>
                </a:cxn>
                <a:cxn ang="0">
                  <a:pos x="15" y="2"/>
                </a:cxn>
                <a:cxn ang="0">
                  <a:pos x="23" y="15"/>
                </a:cxn>
                <a:cxn ang="0">
                  <a:pos x="19" y="26"/>
                </a:cxn>
                <a:cxn ang="0">
                  <a:pos x="19" y="45"/>
                </a:cxn>
                <a:cxn ang="0">
                  <a:pos x="4" y="63"/>
                </a:cxn>
                <a:cxn ang="0">
                  <a:pos x="0" y="63"/>
                </a:cxn>
                <a:cxn ang="0">
                  <a:pos x="8" y="88"/>
                </a:cxn>
                <a:cxn ang="0">
                  <a:pos x="4" y="97"/>
                </a:cxn>
                <a:cxn ang="0">
                  <a:pos x="17" y="108"/>
                </a:cxn>
                <a:cxn ang="0">
                  <a:pos x="23" y="137"/>
                </a:cxn>
                <a:cxn ang="0">
                  <a:pos x="26" y="140"/>
                </a:cxn>
                <a:cxn ang="0">
                  <a:pos x="26" y="140"/>
                </a:cxn>
                <a:cxn ang="0">
                  <a:pos x="56" y="155"/>
                </a:cxn>
                <a:cxn ang="0">
                  <a:pos x="71" y="159"/>
                </a:cxn>
                <a:cxn ang="0">
                  <a:pos x="73" y="159"/>
                </a:cxn>
                <a:cxn ang="0">
                  <a:pos x="73" y="159"/>
                </a:cxn>
                <a:cxn ang="0">
                  <a:pos x="79" y="165"/>
                </a:cxn>
                <a:cxn ang="0">
                  <a:pos x="86" y="197"/>
                </a:cxn>
                <a:cxn ang="0">
                  <a:pos x="111" y="198"/>
                </a:cxn>
                <a:cxn ang="0">
                  <a:pos x="154" y="191"/>
                </a:cxn>
                <a:cxn ang="0">
                  <a:pos x="176" y="176"/>
                </a:cxn>
                <a:cxn ang="0">
                  <a:pos x="165" y="167"/>
                </a:cxn>
              </a:cxnLst>
              <a:rect l="0" t="0" r="r" b="b"/>
              <a:pathLst>
                <a:path w="176" h="198">
                  <a:moveTo>
                    <a:pt x="165" y="167"/>
                  </a:moveTo>
                  <a:lnTo>
                    <a:pt x="159" y="146"/>
                  </a:lnTo>
                  <a:lnTo>
                    <a:pt x="163" y="112"/>
                  </a:lnTo>
                  <a:lnTo>
                    <a:pt x="150" y="95"/>
                  </a:lnTo>
                  <a:lnTo>
                    <a:pt x="159" y="69"/>
                  </a:lnTo>
                  <a:lnTo>
                    <a:pt x="137" y="50"/>
                  </a:lnTo>
                  <a:lnTo>
                    <a:pt x="131" y="35"/>
                  </a:lnTo>
                  <a:lnTo>
                    <a:pt x="77" y="0"/>
                  </a:lnTo>
                  <a:lnTo>
                    <a:pt x="71" y="0"/>
                  </a:lnTo>
                  <a:lnTo>
                    <a:pt x="60" y="20"/>
                  </a:lnTo>
                  <a:lnTo>
                    <a:pt x="69" y="22"/>
                  </a:lnTo>
                  <a:lnTo>
                    <a:pt x="64" y="28"/>
                  </a:lnTo>
                  <a:lnTo>
                    <a:pt x="43" y="26"/>
                  </a:lnTo>
                  <a:lnTo>
                    <a:pt x="38" y="34"/>
                  </a:lnTo>
                  <a:lnTo>
                    <a:pt x="34" y="20"/>
                  </a:lnTo>
                  <a:lnTo>
                    <a:pt x="36" y="0"/>
                  </a:lnTo>
                  <a:lnTo>
                    <a:pt x="15" y="2"/>
                  </a:lnTo>
                  <a:lnTo>
                    <a:pt x="23" y="15"/>
                  </a:lnTo>
                  <a:lnTo>
                    <a:pt x="19" y="26"/>
                  </a:lnTo>
                  <a:lnTo>
                    <a:pt x="19" y="45"/>
                  </a:lnTo>
                  <a:lnTo>
                    <a:pt x="4" y="63"/>
                  </a:lnTo>
                  <a:lnTo>
                    <a:pt x="0" y="63"/>
                  </a:lnTo>
                  <a:lnTo>
                    <a:pt x="8" y="88"/>
                  </a:lnTo>
                  <a:lnTo>
                    <a:pt x="4" y="97"/>
                  </a:lnTo>
                  <a:lnTo>
                    <a:pt x="17" y="108"/>
                  </a:lnTo>
                  <a:lnTo>
                    <a:pt x="23" y="137"/>
                  </a:lnTo>
                  <a:lnTo>
                    <a:pt x="26" y="140"/>
                  </a:lnTo>
                  <a:lnTo>
                    <a:pt x="26" y="140"/>
                  </a:lnTo>
                  <a:lnTo>
                    <a:pt x="56" y="155"/>
                  </a:lnTo>
                  <a:lnTo>
                    <a:pt x="71" y="159"/>
                  </a:lnTo>
                  <a:lnTo>
                    <a:pt x="73" y="159"/>
                  </a:lnTo>
                  <a:lnTo>
                    <a:pt x="73" y="159"/>
                  </a:lnTo>
                  <a:lnTo>
                    <a:pt x="79" y="165"/>
                  </a:lnTo>
                  <a:lnTo>
                    <a:pt x="86" y="197"/>
                  </a:lnTo>
                  <a:lnTo>
                    <a:pt x="111" y="198"/>
                  </a:lnTo>
                  <a:lnTo>
                    <a:pt x="154" y="191"/>
                  </a:lnTo>
                  <a:lnTo>
                    <a:pt x="176" y="176"/>
                  </a:lnTo>
                  <a:lnTo>
                    <a:pt x="165" y="167"/>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32" name="Freeform 6144"/>
            <p:cNvSpPr>
              <a:spLocks/>
            </p:cNvSpPr>
            <p:nvPr>
              <p:custDataLst>
                <p:tags r:id="rId410"/>
              </p:custDataLst>
            </p:nvPr>
          </p:nvSpPr>
          <p:spPr bwMode="gray">
            <a:xfrm>
              <a:off x="7665915" y="3280380"/>
              <a:ext cx="351567" cy="201676"/>
            </a:xfrm>
            <a:custGeom>
              <a:avLst/>
              <a:gdLst/>
              <a:ahLst/>
              <a:cxnLst>
                <a:cxn ang="0">
                  <a:pos x="247" y="75"/>
                </a:cxn>
                <a:cxn ang="0">
                  <a:pos x="246" y="82"/>
                </a:cxn>
                <a:cxn ang="0">
                  <a:pos x="227" y="77"/>
                </a:cxn>
                <a:cxn ang="0">
                  <a:pos x="238" y="63"/>
                </a:cxn>
                <a:cxn ang="0">
                  <a:pos x="232" y="60"/>
                </a:cxn>
                <a:cxn ang="0">
                  <a:pos x="231" y="65"/>
                </a:cxn>
                <a:cxn ang="0">
                  <a:pos x="208" y="84"/>
                </a:cxn>
                <a:cxn ang="0">
                  <a:pos x="178" y="80"/>
                </a:cxn>
                <a:cxn ang="0">
                  <a:pos x="173" y="69"/>
                </a:cxn>
                <a:cxn ang="0">
                  <a:pos x="163" y="67"/>
                </a:cxn>
                <a:cxn ang="0">
                  <a:pos x="161" y="48"/>
                </a:cxn>
                <a:cxn ang="0">
                  <a:pos x="139" y="35"/>
                </a:cxn>
                <a:cxn ang="0">
                  <a:pos x="96" y="39"/>
                </a:cxn>
                <a:cxn ang="0">
                  <a:pos x="79" y="28"/>
                </a:cxn>
                <a:cxn ang="0">
                  <a:pos x="75" y="35"/>
                </a:cxn>
                <a:cxn ang="0">
                  <a:pos x="43" y="35"/>
                </a:cxn>
                <a:cxn ang="0">
                  <a:pos x="34" y="13"/>
                </a:cxn>
                <a:cxn ang="0">
                  <a:pos x="38" y="2"/>
                </a:cxn>
                <a:cxn ang="0">
                  <a:pos x="38" y="0"/>
                </a:cxn>
                <a:cxn ang="0">
                  <a:pos x="0" y="11"/>
                </a:cxn>
                <a:cxn ang="0">
                  <a:pos x="17" y="80"/>
                </a:cxn>
                <a:cxn ang="0">
                  <a:pos x="30" y="80"/>
                </a:cxn>
                <a:cxn ang="0">
                  <a:pos x="28" y="67"/>
                </a:cxn>
                <a:cxn ang="0">
                  <a:pos x="41" y="58"/>
                </a:cxn>
                <a:cxn ang="0">
                  <a:pos x="43" y="56"/>
                </a:cxn>
                <a:cxn ang="0">
                  <a:pos x="49" y="52"/>
                </a:cxn>
                <a:cxn ang="0">
                  <a:pos x="71" y="62"/>
                </a:cxn>
                <a:cxn ang="0">
                  <a:pos x="77" y="78"/>
                </a:cxn>
                <a:cxn ang="0">
                  <a:pos x="105" y="82"/>
                </a:cxn>
                <a:cxn ang="0">
                  <a:pos x="120" y="107"/>
                </a:cxn>
                <a:cxn ang="0">
                  <a:pos x="171" y="135"/>
                </a:cxn>
                <a:cxn ang="0">
                  <a:pos x="186" y="138"/>
                </a:cxn>
                <a:cxn ang="0">
                  <a:pos x="189" y="152"/>
                </a:cxn>
                <a:cxn ang="0">
                  <a:pos x="208" y="157"/>
                </a:cxn>
                <a:cxn ang="0">
                  <a:pos x="214" y="137"/>
                </a:cxn>
                <a:cxn ang="0">
                  <a:pos x="206" y="122"/>
                </a:cxn>
                <a:cxn ang="0">
                  <a:pos x="193" y="116"/>
                </a:cxn>
                <a:cxn ang="0">
                  <a:pos x="195" y="110"/>
                </a:cxn>
                <a:cxn ang="0">
                  <a:pos x="210" y="110"/>
                </a:cxn>
                <a:cxn ang="0">
                  <a:pos x="212" y="103"/>
                </a:cxn>
                <a:cxn ang="0">
                  <a:pos x="219" y="99"/>
                </a:cxn>
                <a:cxn ang="0">
                  <a:pos x="217" y="90"/>
                </a:cxn>
                <a:cxn ang="0">
                  <a:pos x="232" y="84"/>
                </a:cxn>
                <a:cxn ang="0">
                  <a:pos x="238" y="99"/>
                </a:cxn>
                <a:cxn ang="0">
                  <a:pos x="244" y="99"/>
                </a:cxn>
                <a:cxn ang="0">
                  <a:pos x="259" y="97"/>
                </a:cxn>
                <a:cxn ang="0">
                  <a:pos x="274" y="88"/>
                </a:cxn>
                <a:cxn ang="0">
                  <a:pos x="247" y="75"/>
                </a:cxn>
              </a:cxnLst>
              <a:rect l="0" t="0" r="r" b="b"/>
              <a:pathLst>
                <a:path w="274" h="157">
                  <a:moveTo>
                    <a:pt x="247" y="75"/>
                  </a:moveTo>
                  <a:lnTo>
                    <a:pt x="246" y="82"/>
                  </a:lnTo>
                  <a:lnTo>
                    <a:pt x="227" y="77"/>
                  </a:lnTo>
                  <a:lnTo>
                    <a:pt x="238" y="63"/>
                  </a:lnTo>
                  <a:lnTo>
                    <a:pt x="232" y="60"/>
                  </a:lnTo>
                  <a:lnTo>
                    <a:pt x="231" y="65"/>
                  </a:lnTo>
                  <a:lnTo>
                    <a:pt x="208" y="84"/>
                  </a:lnTo>
                  <a:lnTo>
                    <a:pt x="178" y="80"/>
                  </a:lnTo>
                  <a:lnTo>
                    <a:pt x="173" y="69"/>
                  </a:lnTo>
                  <a:lnTo>
                    <a:pt x="163" y="67"/>
                  </a:lnTo>
                  <a:lnTo>
                    <a:pt x="161" y="48"/>
                  </a:lnTo>
                  <a:lnTo>
                    <a:pt x="139" y="35"/>
                  </a:lnTo>
                  <a:lnTo>
                    <a:pt x="96" y="39"/>
                  </a:lnTo>
                  <a:lnTo>
                    <a:pt x="79" y="28"/>
                  </a:lnTo>
                  <a:lnTo>
                    <a:pt x="75" y="35"/>
                  </a:lnTo>
                  <a:lnTo>
                    <a:pt x="43" y="35"/>
                  </a:lnTo>
                  <a:lnTo>
                    <a:pt x="34" y="13"/>
                  </a:lnTo>
                  <a:lnTo>
                    <a:pt x="38" y="2"/>
                  </a:lnTo>
                  <a:lnTo>
                    <a:pt x="38" y="0"/>
                  </a:lnTo>
                  <a:lnTo>
                    <a:pt x="0" y="11"/>
                  </a:lnTo>
                  <a:lnTo>
                    <a:pt x="17" y="80"/>
                  </a:lnTo>
                  <a:lnTo>
                    <a:pt x="30" y="80"/>
                  </a:lnTo>
                  <a:lnTo>
                    <a:pt x="28" y="67"/>
                  </a:lnTo>
                  <a:lnTo>
                    <a:pt x="41" y="58"/>
                  </a:lnTo>
                  <a:lnTo>
                    <a:pt x="43" y="56"/>
                  </a:lnTo>
                  <a:lnTo>
                    <a:pt x="49" y="52"/>
                  </a:lnTo>
                  <a:lnTo>
                    <a:pt x="71" y="62"/>
                  </a:lnTo>
                  <a:lnTo>
                    <a:pt x="77" y="78"/>
                  </a:lnTo>
                  <a:lnTo>
                    <a:pt x="105" y="82"/>
                  </a:lnTo>
                  <a:lnTo>
                    <a:pt x="120" y="107"/>
                  </a:lnTo>
                  <a:lnTo>
                    <a:pt x="171" y="135"/>
                  </a:lnTo>
                  <a:lnTo>
                    <a:pt x="186" y="138"/>
                  </a:lnTo>
                  <a:lnTo>
                    <a:pt x="189" y="152"/>
                  </a:lnTo>
                  <a:lnTo>
                    <a:pt x="208" y="157"/>
                  </a:lnTo>
                  <a:lnTo>
                    <a:pt x="214" y="137"/>
                  </a:lnTo>
                  <a:lnTo>
                    <a:pt x="206" y="122"/>
                  </a:lnTo>
                  <a:lnTo>
                    <a:pt x="193" y="116"/>
                  </a:lnTo>
                  <a:lnTo>
                    <a:pt x="195" y="110"/>
                  </a:lnTo>
                  <a:lnTo>
                    <a:pt x="210" y="110"/>
                  </a:lnTo>
                  <a:lnTo>
                    <a:pt x="212" y="103"/>
                  </a:lnTo>
                  <a:lnTo>
                    <a:pt x="219" y="99"/>
                  </a:lnTo>
                  <a:lnTo>
                    <a:pt x="217" y="90"/>
                  </a:lnTo>
                  <a:lnTo>
                    <a:pt x="232" y="84"/>
                  </a:lnTo>
                  <a:lnTo>
                    <a:pt x="238" y="99"/>
                  </a:lnTo>
                  <a:lnTo>
                    <a:pt x="244" y="99"/>
                  </a:lnTo>
                  <a:lnTo>
                    <a:pt x="259" y="97"/>
                  </a:lnTo>
                  <a:lnTo>
                    <a:pt x="274" y="88"/>
                  </a:lnTo>
                  <a:lnTo>
                    <a:pt x="247" y="75"/>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933" name="Freeform 6145"/>
            <p:cNvSpPr>
              <a:spLocks/>
            </p:cNvSpPr>
            <p:nvPr>
              <p:custDataLst>
                <p:tags r:id="rId411"/>
              </p:custDataLst>
            </p:nvPr>
          </p:nvSpPr>
          <p:spPr bwMode="gray">
            <a:xfrm>
              <a:off x="7955894" y="3475633"/>
              <a:ext cx="637697" cy="707792"/>
            </a:xfrm>
            <a:custGeom>
              <a:avLst/>
              <a:gdLst/>
              <a:ahLst/>
              <a:cxnLst>
                <a:cxn ang="0">
                  <a:pos x="428" y="154"/>
                </a:cxn>
                <a:cxn ang="0">
                  <a:pos x="412" y="177"/>
                </a:cxn>
                <a:cxn ang="0">
                  <a:pos x="374" y="191"/>
                </a:cxn>
                <a:cxn ang="0">
                  <a:pos x="356" y="173"/>
                </a:cxn>
                <a:cxn ang="0">
                  <a:pos x="345" y="193"/>
                </a:cxn>
                <a:cxn ang="0">
                  <a:pos x="308" y="198"/>
                </a:cxn>
                <a:cxn ang="0">
                  <a:pos x="285" y="185"/>
                </a:cxn>
                <a:cxn ang="0">
                  <a:pos x="239" y="175"/>
                </a:cxn>
                <a:cxn ang="0">
                  <a:pos x="212" y="164"/>
                </a:cxn>
                <a:cxn ang="0">
                  <a:pos x="218" y="135"/>
                </a:cxn>
                <a:cxn ang="0">
                  <a:pos x="191" y="110"/>
                </a:cxn>
                <a:cxn ang="0">
                  <a:pos x="185" y="92"/>
                </a:cxn>
                <a:cxn ang="0">
                  <a:pos x="187" y="67"/>
                </a:cxn>
                <a:cxn ang="0">
                  <a:pos x="206" y="31"/>
                </a:cxn>
                <a:cxn ang="0">
                  <a:pos x="164" y="33"/>
                </a:cxn>
                <a:cxn ang="0">
                  <a:pos x="123" y="4"/>
                </a:cxn>
                <a:cxn ang="0">
                  <a:pos x="94" y="23"/>
                </a:cxn>
                <a:cxn ang="0">
                  <a:pos x="108" y="40"/>
                </a:cxn>
                <a:cxn ang="0">
                  <a:pos x="102" y="79"/>
                </a:cxn>
                <a:cxn ang="0">
                  <a:pos x="127" y="94"/>
                </a:cxn>
                <a:cxn ang="0">
                  <a:pos x="110" y="119"/>
                </a:cxn>
                <a:cxn ang="0">
                  <a:pos x="75" y="158"/>
                </a:cxn>
                <a:cxn ang="0">
                  <a:pos x="46" y="171"/>
                </a:cxn>
                <a:cxn ang="0">
                  <a:pos x="31" y="198"/>
                </a:cxn>
                <a:cxn ang="0">
                  <a:pos x="46" y="223"/>
                </a:cxn>
                <a:cxn ang="0">
                  <a:pos x="35" y="239"/>
                </a:cxn>
                <a:cxn ang="0">
                  <a:pos x="8" y="243"/>
                </a:cxn>
                <a:cxn ang="0">
                  <a:pos x="15" y="262"/>
                </a:cxn>
                <a:cxn ang="0">
                  <a:pos x="46" y="260"/>
                </a:cxn>
                <a:cxn ang="0">
                  <a:pos x="21" y="279"/>
                </a:cxn>
                <a:cxn ang="0">
                  <a:pos x="54" y="304"/>
                </a:cxn>
                <a:cxn ang="0">
                  <a:pos x="69" y="279"/>
                </a:cxn>
                <a:cxn ang="0">
                  <a:pos x="81" y="302"/>
                </a:cxn>
                <a:cxn ang="0">
                  <a:pos x="85" y="370"/>
                </a:cxn>
                <a:cxn ang="0">
                  <a:pos x="102" y="424"/>
                </a:cxn>
                <a:cxn ang="0">
                  <a:pos x="110" y="451"/>
                </a:cxn>
                <a:cxn ang="0">
                  <a:pos x="135" y="503"/>
                </a:cxn>
                <a:cxn ang="0">
                  <a:pos x="164" y="551"/>
                </a:cxn>
                <a:cxn ang="0">
                  <a:pos x="193" y="530"/>
                </a:cxn>
                <a:cxn ang="0">
                  <a:pos x="198" y="514"/>
                </a:cxn>
                <a:cxn ang="0">
                  <a:pos x="210" y="493"/>
                </a:cxn>
                <a:cxn ang="0">
                  <a:pos x="218" y="453"/>
                </a:cxn>
                <a:cxn ang="0">
                  <a:pos x="214" y="426"/>
                </a:cxn>
                <a:cxn ang="0">
                  <a:pos x="237" y="393"/>
                </a:cxn>
                <a:cxn ang="0">
                  <a:pos x="268" y="368"/>
                </a:cxn>
                <a:cxn ang="0">
                  <a:pos x="299" y="333"/>
                </a:cxn>
                <a:cxn ang="0">
                  <a:pos x="331" y="308"/>
                </a:cxn>
                <a:cxn ang="0">
                  <a:pos x="351" y="285"/>
                </a:cxn>
                <a:cxn ang="0">
                  <a:pos x="358" y="250"/>
                </a:cxn>
                <a:cxn ang="0">
                  <a:pos x="351" y="220"/>
                </a:cxn>
                <a:cxn ang="0">
                  <a:pos x="345" y="210"/>
                </a:cxn>
                <a:cxn ang="0">
                  <a:pos x="368" y="206"/>
                </a:cxn>
                <a:cxn ang="0">
                  <a:pos x="376" y="216"/>
                </a:cxn>
                <a:cxn ang="0">
                  <a:pos x="422" y="220"/>
                </a:cxn>
                <a:cxn ang="0">
                  <a:pos x="401" y="245"/>
                </a:cxn>
                <a:cxn ang="0">
                  <a:pos x="418" y="245"/>
                </a:cxn>
                <a:cxn ang="0">
                  <a:pos x="437" y="275"/>
                </a:cxn>
                <a:cxn ang="0">
                  <a:pos x="441" y="241"/>
                </a:cxn>
                <a:cxn ang="0">
                  <a:pos x="460" y="214"/>
                </a:cxn>
                <a:cxn ang="0">
                  <a:pos x="472" y="179"/>
                </a:cxn>
                <a:cxn ang="0">
                  <a:pos x="491" y="160"/>
                </a:cxn>
                <a:cxn ang="0">
                  <a:pos x="480" y="135"/>
                </a:cxn>
              </a:cxnLst>
              <a:rect l="0" t="0" r="r" b="b"/>
              <a:pathLst>
                <a:path w="497" h="551">
                  <a:moveTo>
                    <a:pt x="476" y="131"/>
                  </a:moveTo>
                  <a:lnTo>
                    <a:pt x="472" y="131"/>
                  </a:lnTo>
                  <a:lnTo>
                    <a:pt x="466" y="133"/>
                  </a:lnTo>
                  <a:lnTo>
                    <a:pt x="464" y="135"/>
                  </a:lnTo>
                  <a:lnTo>
                    <a:pt x="462" y="139"/>
                  </a:lnTo>
                  <a:lnTo>
                    <a:pt x="458" y="137"/>
                  </a:lnTo>
                  <a:lnTo>
                    <a:pt x="453" y="137"/>
                  </a:lnTo>
                  <a:lnTo>
                    <a:pt x="451" y="135"/>
                  </a:lnTo>
                  <a:lnTo>
                    <a:pt x="447" y="135"/>
                  </a:lnTo>
                  <a:lnTo>
                    <a:pt x="443" y="139"/>
                  </a:lnTo>
                  <a:lnTo>
                    <a:pt x="430" y="152"/>
                  </a:lnTo>
                  <a:lnTo>
                    <a:pt x="428" y="154"/>
                  </a:lnTo>
                  <a:lnTo>
                    <a:pt x="422" y="160"/>
                  </a:lnTo>
                  <a:lnTo>
                    <a:pt x="418" y="166"/>
                  </a:lnTo>
                  <a:lnTo>
                    <a:pt x="416" y="168"/>
                  </a:lnTo>
                  <a:lnTo>
                    <a:pt x="403" y="168"/>
                  </a:lnTo>
                  <a:lnTo>
                    <a:pt x="403" y="166"/>
                  </a:lnTo>
                  <a:lnTo>
                    <a:pt x="399" y="166"/>
                  </a:lnTo>
                  <a:lnTo>
                    <a:pt x="399" y="168"/>
                  </a:lnTo>
                  <a:lnTo>
                    <a:pt x="399" y="173"/>
                  </a:lnTo>
                  <a:lnTo>
                    <a:pt x="403" y="175"/>
                  </a:lnTo>
                  <a:lnTo>
                    <a:pt x="406" y="173"/>
                  </a:lnTo>
                  <a:lnTo>
                    <a:pt x="410" y="175"/>
                  </a:lnTo>
                  <a:lnTo>
                    <a:pt x="412" y="177"/>
                  </a:lnTo>
                  <a:lnTo>
                    <a:pt x="410" y="179"/>
                  </a:lnTo>
                  <a:lnTo>
                    <a:pt x="412" y="183"/>
                  </a:lnTo>
                  <a:lnTo>
                    <a:pt x="410" y="185"/>
                  </a:lnTo>
                  <a:lnTo>
                    <a:pt x="406" y="187"/>
                  </a:lnTo>
                  <a:lnTo>
                    <a:pt x="403" y="187"/>
                  </a:lnTo>
                  <a:lnTo>
                    <a:pt x="393" y="187"/>
                  </a:lnTo>
                  <a:lnTo>
                    <a:pt x="389" y="189"/>
                  </a:lnTo>
                  <a:lnTo>
                    <a:pt x="385" y="189"/>
                  </a:lnTo>
                  <a:lnTo>
                    <a:pt x="383" y="187"/>
                  </a:lnTo>
                  <a:lnTo>
                    <a:pt x="378" y="189"/>
                  </a:lnTo>
                  <a:lnTo>
                    <a:pt x="376" y="191"/>
                  </a:lnTo>
                  <a:lnTo>
                    <a:pt x="374" y="191"/>
                  </a:lnTo>
                  <a:lnTo>
                    <a:pt x="370" y="191"/>
                  </a:lnTo>
                  <a:lnTo>
                    <a:pt x="366" y="189"/>
                  </a:lnTo>
                  <a:lnTo>
                    <a:pt x="364" y="191"/>
                  </a:lnTo>
                  <a:lnTo>
                    <a:pt x="360" y="189"/>
                  </a:lnTo>
                  <a:lnTo>
                    <a:pt x="358" y="187"/>
                  </a:lnTo>
                  <a:lnTo>
                    <a:pt x="354" y="185"/>
                  </a:lnTo>
                  <a:lnTo>
                    <a:pt x="354" y="183"/>
                  </a:lnTo>
                  <a:lnTo>
                    <a:pt x="356" y="181"/>
                  </a:lnTo>
                  <a:lnTo>
                    <a:pt x="356" y="181"/>
                  </a:lnTo>
                  <a:lnTo>
                    <a:pt x="354" y="179"/>
                  </a:lnTo>
                  <a:lnTo>
                    <a:pt x="354" y="175"/>
                  </a:lnTo>
                  <a:lnTo>
                    <a:pt x="356" y="173"/>
                  </a:lnTo>
                  <a:lnTo>
                    <a:pt x="356" y="171"/>
                  </a:lnTo>
                  <a:lnTo>
                    <a:pt x="354" y="168"/>
                  </a:lnTo>
                  <a:lnTo>
                    <a:pt x="354" y="166"/>
                  </a:lnTo>
                  <a:lnTo>
                    <a:pt x="349" y="166"/>
                  </a:lnTo>
                  <a:lnTo>
                    <a:pt x="345" y="168"/>
                  </a:lnTo>
                  <a:lnTo>
                    <a:pt x="345" y="171"/>
                  </a:lnTo>
                  <a:lnTo>
                    <a:pt x="341" y="171"/>
                  </a:lnTo>
                  <a:lnTo>
                    <a:pt x="341" y="183"/>
                  </a:lnTo>
                  <a:lnTo>
                    <a:pt x="343" y="185"/>
                  </a:lnTo>
                  <a:lnTo>
                    <a:pt x="341" y="189"/>
                  </a:lnTo>
                  <a:lnTo>
                    <a:pt x="343" y="189"/>
                  </a:lnTo>
                  <a:lnTo>
                    <a:pt x="345" y="193"/>
                  </a:lnTo>
                  <a:lnTo>
                    <a:pt x="343" y="193"/>
                  </a:lnTo>
                  <a:lnTo>
                    <a:pt x="345" y="198"/>
                  </a:lnTo>
                  <a:lnTo>
                    <a:pt x="343" y="200"/>
                  </a:lnTo>
                  <a:lnTo>
                    <a:pt x="329" y="200"/>
                  </a:lnTo>
                  <a:lnTo>
                    <a:pt x="326" y="198"/>
                  </a:lnTo>
                  <a:lnTo>
                    <a:pt x="324" y="200"/>
                  </a:lnTo>
                  <a:lnTo>
                    <a:pt x="322" y="202"/>
                  </a:lnTo>
                  <a:lnTo>
                    <a:pt x="320" y="200"/>
                  </a:lnTo>
                  <a:lnTo>
                    <a:pt x="318" y="200"/>
                  </a:lnTo>
                  <a:lnTo>
                    <a:pt x="314" y="198"/>
                  </a:lnTo>
                  <a:lnTo>
                    <a:pt x="312" y="198"/>
                  </a:lnTo>
                  <a:lnTo>
                    <a:pt x="308" y="198"/>
                  </a:lnTo>
                  <a:lnTo>
                    <a:pt x="306" y="198"/>
                  </a:lnTo>
                  <a:lnTo>
                    <a:pt x="306" y="196"/>
                  </a:lnTo>
                  <a:lnTo>
                    <a:pt x="302" y="193"/>
                  </a:lnTo>
                  <a:lnTo>
                    <a:pt x="299" y="193"/>
                  </a:lnTo>
                  <a:lnTo>
                    <a:pt x="297" y="193"/>
                  </a:lnTo>
                  <a:lnTo>
                    <a:pt x="295" y="196"/>
                  </a:lnTo>
                  <a:lnTo>
                    <a:pt x="293" y="193"/>
                  </a:lnTo>
                  <a:lnTo>
                    <a:pt x="291" y="193"/>
                  </a:lnTo>
                  <a:lnTo>
                    <a:pt x="289" y="191"/>
                  </a:lnTo>
                  <a:lnTo>
                    <a:pt x="285" y="189"/>
                  </a:lnTo>
                  <a:lnTo>
                    <a:pt x="285" y="187"/>
                  </a:lnTo>
                  <a:lnTo>
                    <a:pt x="285" y="185"/>
                  </a:lnTo>
                  <a:lnTo>
                    <a:pt x="279" y="185"/>
                  </a:lnTo>
                  <a:lnTo>
                    <a:pt x="277" y="183"/>
                  </a:lnTo>
                  <a:lnTo>
                    <a:pt x="275" y="183"/>
                  </a:lnTo>
                  <a:lnTo>
                    <a:pt x="272" y="185"/>
                  </a:lnTo>
                  <a:lnTo>
                    <a:pt x="266" y="183"/>
                  </a:lnTo>
                  <a:lnTo>
                    <a:pt x="264" y="183"/>
                  </a:lnTo>
                  <a:lnTo>
                    <a:pt x="262" y="185"/>
                  </a:lnTo>
                  <a:lnTo>
                    <a:pt x="252" y="183"/>
                  </a:lnTo>
                  <a:lnTo>
                    <a:pt x="252" y="179"/>
                  </a:lnTo>
                  <a:lnTo>
                    <a:pt x="245" y="179"/>
                  </a:lnTo>
                  <a:lnTo>
                    <a:pt x="243" y="177"/>
                  </a:lnTo>
                  <a:lnTo>
                    <a:pt x="239" y="175"/>
                  </a:lnTo>
                  <a:lnTo>
                    <a:pt x="237" y="175"/>
                  </a:lnTo>
                  <a:lnTo>
                    <a:pt x="233" y="175"/>
                  </a:lnTo>
                  <a:lnTo>
                    <a:pt x="233" y="173"/>
                  </a:lnTo>
                  <a:lnTo>
                    <a:pt x="231" y="171"/>
                  </a:lnTo>
                  <a:lnTo>
                    <a:pt x="227" y="171"/>
                  </a:lnTo>
                  <a:lnTo>
                    <a:pt x="227" y="168"/>
                  </a:lnTo>
                  <a:lnTo>
                    <a:pt x="225" y="166"/>
                  </a:lnTo>
                  <a:lnTo>
                    <a:pt x="223" y="166"/>
                  </a:lnTo>
                  <a:lnTo>
                    <a:pt x="218" y="164"/>
                  </a:lnTo>
                  <a:lnTo>
                    <a:pt x="216" y="162"/>
                  </a:lnTo>
                  <a:lnTo>
                    <a:pt x="214" y="162"/>
                  </a:lnTo>
                  <a:lnTo>
                    <a:pt x="212" y="164"/>
                  </a:lnTo>
                  <a:lnTo>
                    <a:pt x="208" y="160"/>
                  </a:lnTo>
                  <a:lnTo>
                    <a:pt x="206" y="158"/>
                  </a:lnTo>
                  <a:lnTo>
                    <a:pt x="206" y="154"/>
                  </a:lnTo>
                  <a:lnTo>
                    <a:pt x="210" y="152"/>
                  </a:lnTo>
                  <a:lnTo>
                    <a:pt x="210" y="150"/>
                  </a:lnTo>
                  <a:lnTo>
                    <a:pt x="206" y="148"/>
                  </a:lnTo>
                  <a:lnTo>
                    <a:pt x="210" y="146"/>
                  </a:lnTo>
                  <a:lnTo>
                    <a:pt x="212" y="144"/>
                  </a:lnTo>
                  <a:lnTo>
                    <a:pt x="210" y="141"/>
                  </a:lnTo>
                  <a:lnTo>
                    <a:pt x="210" y="139"/>
                  </a:lnTo>
                  <a:lnTo>
                    <a:pt x="212" y="139"/>
                  </a:lnTo>
                  <a:lnTo>
                    <a:pt x="218" y="135"/>
                  </a:lnTo>
                  <a:lnTo>
                    <a:pt x="216" y="131"/>
                  </a:lnTo>
                  <a:lnTo>
                    <a:pt x="214" y="129"/>
                  </a:lnTo>
                  <a:lnTo>
                    <a:pt x="208" y="127"/>
                  </a:lnTo>
                  <a:lnTo>
                    <a:pt x="208" y="123"/>
                  </a:lnTo>
                  <a:lnTo>
                    <a:pt x="204" y="121"/>
                  </a:lnTo>
                  <a:lnTo>
                    <a:pt x="202" y="119"/>
                  </a:lnTo>
                  <a:lnTo>
                    <a:pt x="200" y="119"/>
                  </a:lnTo>
                  <a:lnTo>
                    <a:pt x="195" y="119"/>
                  </a:lnTo>
                  <a:lnTo>
                    <a:pt x="195" y="117"/>
                  </a:lnTo>
                  <a:lnTo>
                    <a:pt x="193" y="114"/>
                  </a:lnTo>
                  <a:lnTo>
                    <a:pt x="191" y="112"/>
                  </a:lnTo>
                  <a:lnTo>
                    <a:pt x="191" y="110"/>
                  </a:lnTo>
                  <a:lnTo>
                    <a:pt x="187" y="108"/>
                  </a:lnTo>
                  <a:lnTo>
                    <a:pt x="185" y="110"/>
                  </a:lnTo>
                  <a:lnTo>
                    <a:pt x="185" y="108"/>
                  </a:lnTo>
                  <a:lnTo>
                    <a:pt x="183" y="104"/>
                  </a:lnTo>
                  <a:lnTo>
                    <a:pt x="183" y="102"/>
                  </a:lnTo>
                  <a:lnTo>
                    <a:pt x="181" y="96"/>
                  </a:lnTo>
                  <a:lnTo>
                    <a:pt x="179" y="94"/>
                  </a:lnTo>
                  <a:lnTo>
                    <a:pt x="177" y="92"/>
                  </a:lnTo>
                  <a:lnTo>
                    <a:pt x="179" y="87"/>
                  </a:lnTo>
                  <a:lnTo>
                    <a:pt x="179" y="87"/>
                  </a:lnTo>
                  <a:lnTo>
                    <a:pt x="183" y="87"/>
                  </a:lnTo>
                  <a:lnTo>
                    <a:pt x="185" y="92"/>
                  </a:lnTo>
                  <a:lnTo>
                    <a:pt x="189" y="92"/>
                  </a:lnTo>
                  <a:lnTo>
                    <a:pt x="189" y="87"/>
                  </a:lnTo>
                  <a:lnTo>
                    <a:pt x="193" y="87"/>
                  </a:lnTo>
                  <a:lnTo>
                    <a:pt x="198" y="85"/>
                  </a:lnTo>
                  <a:lnTo>
                    <a:pt x="195" y="83"/>
                  </a:lnTo>
                  <a:lnTo>
                    <a:pt x="193" y="79"/>
                  </a:lnTo>
                  <a:lnTo>
                    <a:pt x="193" y="75"/>
                  </a:lnTo>
                  <a:lnTo>
                    <a:pt x="191" y="75"/>
                  </a:lnTo>
                  <a:lnTo>
                    <a:pt x="185" y="73"/>
                  </a:lnTo>
                  <a:lnTo>
                    <a:pt x="185" y="69"/>
                  </a:lnTo>
                  <a:lnTo>
                    <a:pt x="187" y="69"/>
                  </a:lnTo>
                  <a:lnTo>
                    <a:pt x="187" y="67"/>
                  </a:lnTo>
                  <a:lnTo>
                    <a:pt x="185" y="62"/>
                  </a:lnTo>
                  <a:lnTo>
                    <a:pt x="185" y="60"/>
                  </a:lnTo>
                  <a:lnTo>
                    <a:pt x="193" y="58"/>
                  </a:lnTo>
                  <a:lnTo>
                    <a:pt x="193" y="56"/>
                  </a:lnTo>
                  <a:lnTo>
                    <a:pt x="193" y="50"/>
                  </a:lnTo>
                  <a:lnTo>
                    <a:pt x="198" y="50"/>
                  </a:lnTo>
                  <a:lnTo>
                    <a:pt x="198" y="48"/>
                  </a:lnTo>
                  <a:lnTo>
                    <a:pt x="202" y="46"/>
                  </a:lnTo>
                  <a:lnTo>
                    <a:pt x="204" y="42"/>
                  </a:lnTo>
                  <a:lnTo>
                    <a:pt x="204" y="38"/>
                  </a:lnTo>
                  <a:lnTo>
                    <a:pt x="206" y="35"/>
                  </a:lnTo>
                  <a:lnTo>
                    <a:pt x="206" y="31"/>
                  </a:lnTo>
                  <a:lnTo>
                    <a:pt x="204" y="27"/>
                  </a:lnTo>
                  <a:lnTo>
                    <a:pt x="202" y="27"/>
                  </a:lnTo>
                  <a:lnTo>
                    <a:pt x="198" y="27"/>
                  </a:lnTo>
                  <a:lnTo>
                    <a:pt x="191" y="21"/>
                  </a:lnTo>
                  <a:lnTo>
                    <a:pt x="187" y="23"/>
                  </a:lnTo>
                  <a:lnTo>
                    <a:pt x="187" y="25"/>
                  </a:lnTo>
                  <a:lnTo>
                    <a:pt x="185" y="25"/>
                  </a:lnTo>
                  <a:lnTo>
                    <a:pt x="179" y="25"/>
                  </a:lnTo>
                  <a:lnTo>
                    <a:pt x="177" y="27"/>
                  </a:lnTo>
                  <a:lnTo>
                    <a:pt x="173" y="29"/>
                  </a:lnTo>
                  <a:lnTo>
                    <a:pt x="168" y="33"/>
                  </a:lnTo>
                  <a:lnTo>
                    <a:pt x="164" y="33"/>
                  </a:lnTo>
                  <a:lnTo>
                    <a:pt x="160" y="31"/>
                  </a:lnTo>
                  <a:lnTo>
                    <a:pt x="160" y="27"/>
                  </a:lnTo>
                  <a:lnTo>
                    <a:pt x="156" y="27"/>
                  </a:lnTo>
                  <a:lnTo>
                    <a:pt x="152" y="27"/>
                  </a:lnTo>
                  <a:lnTo>
                    <a:pt x="150" y="25"/>
                  </a:lnTo>
                  <a:lnTo>
                    <a:pt x="150" y="21"/>
                  </a:lnTo>
                  <a:lnTo>
                    <a:pt x="141" y="15"/>
                  </a:lnTo>
                  <a:lnTo>
                    <a:pt x="137" y="13"/>
                  </a:lnTo>
                  <a:lnTo>
                    <a:pt x="131" y="6"/>
                  </a:lnTo>
                  <a:lnTo>
                    <a:pt x="129" y="0"/>
                  </a:lnTo>
                  <a:lnTo>
                    <a:pt x="127" y="2"/>
                  </a:lnTo>
                  <a:lnTo>
                    <a:pt x="123" y="4"/>
                  </a:lnTo>
                  <a:lnTo>
                    <a:pt x="119" y="2"/>
                  </a:lnTo>
                  <a:lnTo>
                    <a:pt x="114" y="0"/>
                  </a:lnTo>
                  <a:lnTo>
                    <a:pt x="108" y="4"/>
                  </a:lnTo>
                  <a:lnTo>
                    <a:pt x="102" y="2"/>
                  </a:lnTo>
                  <a:lnTo>
                    <a:pt x="100" y="6"/>
                  </a:lnTo>
                  <a:lnTo>
                    <a:pt x="94" y="6"/>
                  </a:lnTo>
                  <a:lnTo>
                    <a:pt x="94" y="10"/>
                  </a:lnTo>
                  <a:lnTo>
                    <a:pt x="85" y="17"/>
                  </a:lnTo>
                  <a:lnTo>
                    <a:pt x="85" y="21"/>
                  </a:lnTo>
                  <a:lnTo>
                    <a:pt x="85" y="23"/>
                  </a:lnTo>
                  <a:lnTo>
                    <a:pt x="89" y="23"/>
                  </a:lnTo>
                  <a:lnTo>
                    <a:pt x="94" y="23"/>
                  </a:lnTo>
                  <a:lnTo>
                    <a:pt x="94" y="25"/>
                  </a:lnTo>
                  <a:lnTo>
                    <a:pt x="96" y="29"/>
                  </a:lnTo>
                  <a:lnTo>
                    <a:pt x="98" y="29"/>
                  </a:lnTo>
                  <a:lnTo>
                    <a:pt x="100" y="29"/>
                  </a:lnTo>
                  <a:lnTo>
                    <a:pt x="102" y="29"/>
                  </a:lnTo>
                  <a:lnTo>
                    <a:pt x="102" y="31"/>
                  </a:lnTo>
                  <a:lnTo>
                    <a:pt x="102" y="33"/>
                  </a:lnTo>
                  <a:lnTo>
                    <a:pt x="102" y="35"/>
                  </a:lnTo>
                  <a:lnTo>
                    <a:pt x="104" y="35"/>
                  </a:lnTo>
                  <a:lnTo>
                    <a:pt x="106" y="38"/>
                  </a:lnTo>
                  <a:lnTo>
                    <a:pt x="106" y="38"/>
                  </a:lnTo>
                  <a:lnTo>
                    <a:pt x="108" y="40"/>
                  </a:lnTo>
                  <a:lnTo>
                    <a:pt x="108" y="42"/>
                  </a:lnTo>
                  <a:lnTo>
                    <a:pt x="108" y="42"/>
                  </a:lnTo>
                  <a:lnTo>
                    <a:pt x="102" y="44"/>
                  </a:lnTo>
                  <a:lnTo>
                    <a:pt x="102" y="48"/>
                  </a:lnTo>
                  <a:lnTo>
                    <a:pt x="98" y="50"/>
                  </a:lnTo>
                  <a:lnTo>
                    <a:pt x="96" y="52"/>
                  </a:lnTo>
                  <a:lnTo>
                    <a:pt x="98" y="52"/>
                  </a:lnTo>
                  <a:lnTo>
                    <a:pt x="98" y="58"/>
                  </a:lnTo>
                  <a:lnTo>
                    <a:pt x="100" y="62"/>
                  </a:lnTo>
                  <a:lnTo>
                    <a:pt x="98" y="69"/>
                  </a:lnTo>
                  <a:lnTo>
                    <a:pt x="100" y="77"/>
                  </a:lnTo>
                  <a:lnTo>
                    <a:pt x="102" y="79"/>
                  </a:lnTo>
                  <a:lnTo>
                    <a:pt x="106" y="79"/>
                  </a:lnTo>
                  <a:lnTo>
                    <a:pt x="108" y="81"/>
                  </a:lnTo>
                  <a:lnTo>
                    <a:pt x="110" y="81"/>
                  </a:lnTo>
                  <a:lnTo>
                    <a:pt x="112" y="83"/>
                  </a:lnTo>
                  <a:lnTo>
                    <a:pt x="114" y="83"/>
                  </a:lnTo>
                  <a:lnTo>
                    <a:pt x="116" y="85"/>
                  </a:lnTo>
                  <a:lnTo>
                    <a:pt x="116" y="87"/>
                  </a:lnTo>
                  <a:lnTo>
                    <a:pt x="116" y="89"/>
                  </a:lnTo>
                  <a:lnTo>
                    <a:pt x="119" y="89"/>
                  </a:lnTo>
                  <a:lnTo>
                    <a:pt x="123" y="89"/>
                  </a:lnTo>
                  <a:lnTo>
                    <a:pt x="125" y="89"/>
                  </a:lnTo>
                  <a:lnTo>
                    <a:pt x="127" y="94"/>
                  </a:lnTo>
                  <a:lnTo>
                    <a:pt x="127" y="98"/>
                  </a:lnTo>
                  <a:lnTo>
                    <a:pt x="121" y="98"/>
                  </a:lnTo>
                  <a:lnTo>
                    <a:pt x="116" y="100"/>
                  </a:lnTo>
                  <a:lnTo>
                    <a:pt x="114" y="102"/>
                  </a:lnTo>
                  <a:lnTo>
                    <a:pt x="114" y="102"/>
                  </a:lnTo>
                  <a:lnTo>
                    <a:pt x="114" y="104"/>
                  </a:lnTo>
                  <a:lnTo>
                    <a:pt x="116" y="106"/>
                  </a:lnTo>
                  <a:lnTo>
                    <a:pt x="116" y="108"/>
                  </a:lnTo>
                  <a:lnTo>
                    <a:pt x="112" y="110"/>
                  </a:lnTo>
                  <a:lnTo>
                    <a:pt x="112" y="112"/>
                  </a:lnTo>
                  <a:lnTo>
                    <a:pt x="116" y="114"/>
                  </a:lnTo>
                  <a:lnTo>
                    <a:pt x="110" y="119"/>
                  </a:lnTo>
                  <a:lnTo>
                    <a:pt x="110" y="121"/>
                  </a:lnTo>
                  <a:lnTo>
                    <a:pt x="106" y="125"/>
                  </a:lnTo>
                  <a:lnTo>
                    <a:pt x="104" y="127"/>
                  </a:lnTo>
                  <a:lnTo>
                    <a:pt x="104" y="131"/>
                  </a:lnTo>
                  <a:lnTo>
                    <a:pt x="102" y="133"/>
                  </a:lnTo>
                  <a:lnTo>
                    <a:pt x="96" y="135"/>
                  </a:lnTo>
                  <a:lnTo>
                    <a:pt x="94" y="141"/>
                  </a:lnTo>
                  <a:lnTo>
                    <a:pt x="87" y="152"/>
                  </a:lnTo>
                  <a:lnTo>
                    <a:pt x="85" y="154"/>
                  </a:lnTo>
                  <a:lnTo>
                    <a:pt x="83" y="156"/>
                  </a:lnTo>
                  <a:lnTo>
                    <a:pt x="77" y="158"/>
                  </a:lnTo>
                  <a:lnTo>
                    <a:pt x="75" y="158"/>
                  </a:lnTo>
                  <a:lnTo>
                    <a:pt x="75" y="164"/>
                  </a:lnTo>
                  <a:lnTo>
                    <a:pt x="73" y="166"/>
                  </a:lnTo>
                  <a:lnTo>
                    <a:pt x="71" y="166"/>
                  </a:lnTo>
                  <a:lnTo>
                    <a:pt x="69" y="168"/>
                  </a:lnTo>
                  <a:lnTo>
                    <a:pt x="69" y="171"/>
                  </a:lnTo>
                  <a:lnTo>
                    <a:pt x="67" y="173"/>
                  </a:lnTo>
                  <a:lnTo>
                    <a:pt x="56" y="175"/>
                  </a:lnTo>
                  <a:lnTo>
                    <a:pt x="54" y="175"/>
                  </a:lnTo>
                  <a:lnTo>
                    <a:pt x="52" y="177"/>
                  </a:lnTo>
                  <a:lnTo>
                    <a:pt x="48" y="175"/>
                  </a:lnTo>
                  <a:lnTo>
                    <a:pt x="48" y="173"/>
                  </a:lnTo>
                  <a:lnTo>
                    <a:pt x="46" y="171"/>
                  </a:lnTo>
                  <a:lnTo>
                    <a:pt x="46" y="171"/>
                  </a:lnTo>
                  <a:lnTo>
                    <a:pt x="40" y="173"/>
                  </a:lnTo>
                  <a:lnTo>
                    <a:pt x="37" y="175"/>
                  </a:lnTo>
                  <a:lnTo>
                    <a:pt x="35" y="181"/>
                  </a:lnTo>
                  <a:lnTo>
                    <a:pt x="31" y="183"/>
                  </a:lnTo>
                  <a:lnTo>
                    <a:pt x="29" y="185"/>
                  </a:lnTo>
                  <a:lnTo>
                    <a:pt x="27" y="187"/>
                  </a:lnTo>
                  <a:lnTo>
                    <a:pt x="27" y="189"/>
                  </a:lnTo>
                  <a:lnTo>
                    <a:pt x="27" y="193"/>
                  </a:lnTo>
                  <a:lnTo>
                    <a:pt x="27" y="193"/>
                  </a:lnTo>
                  <a:lnTo>
                    <a:pt x="29" y="196"/>
                  </a:lnTo>
                  <a:lnTo>
                    <a:pt x="31" y="198"/>
                  </a:lnTo>
                  <a:lnTo>
                    <a:pt x="35" y="196"/>
                  </a:lnTo>
                  <a:lnTo>
                    <a:pt x="37" y="198"/>
                  </a:lnTo>
                  <a:lnTo>
                    <a:pt x="37" y="200"/>
                  </a:lnTo>
                  <a:lnTo>
                    <a:pt x="37" y="206"/>
                  </a:lnTo>
                  <a:lnTo>
                    <a:pt x="35" y="206"/>
                  </a:lnTo>
                  <a:lnTo>
                    <a:pt x="35" y="210"/>
                  </a:lnTo>
                  <a:lnTo>
                    <a:pt x="37" y="212"/>
                  </a:lnTo>
                  <a:lnTo>
                    <a:pt x="40" y="214"/>
                  </a:lnTo>
                  <a:lnTo>
                    <a:pt x="40" y="214"/>
                  </a:lnTo>
                  <a:lnTo>
                    <a:pt x="42" y="214"/>
                  </a:lnTo>
                  <a:lnTo>
                    <a:pt x="46" y="214"/>
                  </a:lnTo>
                  <a:lnTo>
                    <a:pt x="46" y="223"/>
                  </a:lnTo>
                  <a:lnTo>
                    <a:pt x="48" y="225"/>
                  </a:lnTo>
                  <a:lnTo>
                    <a:pt x="48" y="225"/>
                  </a:lnTo>
                  <a:lnTo>
                    <a:pt x="48" y="229"/>
                  </a:lnTo>
                  <a:lnTo>
                    <a:pt x="50" y="231"/>
                  </a:lnTo>
                  <a:lnTo>
                    <a:pt x="52" y="233"/>
                  </a:lnTo>
                  <a:lnTo>
                    <a:pt x="50" y="237"/>
                  </a:lnTo>
                  <a:lnTo>
                    <a:pt x="50" y="237"/>
                  </a:lnTo>
                  <a:lnTo>
                    <a:pt x="48" y="239"/>
                  </a:lnTo>
                  <a:lnTo>
                    <a:pt x="44" y="241"/>
                  </a:lnTo>
                  <a:lnTo>
                    <a:pt x="42" y="237"/>
                  </a:lnTo>
                  <a:lnTo>
                    <a:pt x="37" y="239"/>
                  </a:lnTo>
                  <a:lnTo>
                    <a:pt x="35" y="239"/>
                  </a:lnTo>
                  <a:lnTo>
                    <a:pt x="35" y="241"/>
                  </a:lnTo>
                  <a:lnTo>
                    <a:pt x="31" y="241"/>
                  </a:lnTo>
                  <a:lnTo>
                    <a:pt x="27" y="241"/>
                  </a:lnTo>
                  <a:lnTo>
                    <a:pt x="27" y="239"/>
                  </a:lnTo>
                  <a:lnTo>
                    <a:pt x="25" y="239"/>
                  </a:lnTo>
                  <a:lnTo>
                    <a:pt x="21" y="237"/>
                  </a:lnTo>
                  <a:lnTo>
                    <a:pt x="17" y="237"/>
                  </a:lnTo>
                  <a:lnTo>
                    <a:pt x="15" y="239"/>
                  </a:lnTo>
                  <a:lnTo>
                    <a:pt x="15" y="237"/>
                  </a:lnTo>
                  <a:lnTo>
                    <a:pt x="12" y="237"/>
                  </a:lnTo>
                  <a:lnTo>
                    <a:pt x="10" y="243"/>
                  </a:lnTo>
                  <a:lnTo>
                    <a:pt x="8" y="243"/>
                  </a:lnTo>
                  <a:lnTo>
                    <a:pt x="6" y="243"/>
                  </a:lnTo>
                  <a:lnTo>
                    <a:pt x="2" y="243"/>
                  </a:lnTo>
                  <a:lnTo>
                    <a:pt x="0" y="245"/>
                  </a:lnTo>
                  <a:lnTo>
                    <a:pt x="0" y="247"/>
                  </a:lnTo>
                  <a:lnTo>
                    <a:pt x="0" y="250"/>
                  </a:lnTo>
                  <a:lnTo>
                    <a:pt x="4" y="252"/>
                  </a:lnTo>
                  <a:lnTo>
                    <a:pt x="4" y="252"/>
                  </a:lnTo>
                  <a:lnTo>
                    <a:pt x="6" y="254"/>
                  </a:lnTo>
                  <a:lnTo>
                    <a:pt x="8" y="256"/>
                  </a:lnTo>
                  <a:lnTo>
                    <a:pt x="10" y="260"/>
                  </a:lnTo>
                  <a:lnTo>
                    <a:pt x="10" y="262"/>
                  </a:lnTo>
                  <a:lnTo>
                    <a:pt x="15" y="262"/>
                  </a:lnTo>
                  <a:lnTo>
                    <a:pt x="19" y="264"/>
                  </a:lnTo>
                  <a:lnTo>
                    <a:pt x="23" y="266"/>
                  </a:lnTo>
                  <a:lnTo>
                    <a:pt x="25" y="266"/>
                  </a:lnTo>
                  <a:lnTo>
                    <a:pt x="27" y="266"/>
                  </a:lnTo>
                  <a:lnTo>
                    <a:pt x="33" y="262"/>
                  </a:lnTo>
                  <a:lnTo>
                    <a:pt x="33" y="262"/>
                  </a:lnTo>
                  <a:lnTo>
                    <a:pt x="35" y="260"/>
                  </a:lnTo>
                  <a:lnTo>
                    <a:pt x="37" y="258"/>
                  </a:lnTo>
                  <a:lnTo>
                    <a:pt x="37" y="258"/>
                  </a:lnTo>
                  <a:lnTo>
                    <a:pt x="40" y="260"/>
                  </a:lnTo>
                  <a:lnTo>
                    <a:pt x="44" y="260"/>
                  </a:lnTo>
                  <a:lnTo>
                    <a:pt x="46" y="260"/>
                  </a:lnTo>
                  <a:lnTo>
                    <a:pt x="46" y="262"/>
                  </a:lnTo>
                  <a:lnTo>
                    <a:pt x="46" y="262"/>
                  </a:lnTo>
                  <a:lnTo>
                    <a:pt x="44" y="264"/>
                  </a:lnTo>
                  <a:lnTo>
                    <a:pt x="42" y="266"/>
                  </a:lnTo>
                  <a:lnTo>
                    <a:pt x="42" y="268"/>
                  </a:lnTo>
                  <a:lnTo>
                    <a:pt x="37" y="270"/>
                  </a:lnTo>
                  <a:lnTo>
                    <a:pt x="35" y="272"/>
                  </a:lnTo>
                  <a:lnTo>
                    <a:pt x="35" y="275"/>
                  </a:lnTo>
                  <a:lnTo>
                    <a:pt x="29" y="275"/>
                  </a:lnTo>
                  <a:lnTo>
                    <a:pt x="29" y="277"/>
                  </a:lnTo>
                  <a:lnTo>
                    <a:pt x="23" y="279"/>
                  </a:lnTo>
                  <a:lnTo>
                    <a:pt x="21" y="279"/>
                  </a:lnTo>
                  <a:lnTo>
                    <a:pt x="17" y="279"/>
                  </a:lnTo>
                  <a:lnTo>
                    <a:pt x="17" y="279"/>
                  </a:lnTo>
                  <a:lnTo>
                    <a:pt x="19" y="283"/>
                  </a:lnTo>
                  <a:lnTo>
                    <a:pt x="21" y="283"/>
                  </a:lnTo>
                  <a:lnTo>
                    <a:pt x="21" y="285"/>
                  </a:lnTo>
                  <a:lnTo>
                    <a:pt x="23" y="289"/>
                  </a:lnTo>
                  <a:lnTo>
                    <a:pt x="37" y="304"/>
                  </a:lnTo>
                  <a:lnTo>
                    <a:pt x="42" y="306"/>
                  </a:lnTo>
                  <a:lnTo>
                    <a:pt x="46" y="308"/>
                  </a:lnTo>
                  <a:lnTo>
                    <a:pt x="48" y="306"/>
                  </a:lnTo>
                  <a:lnTo>
                    <a:pt x="50" y="306"/>
                  </a:lnTo>
                  <a:lnTo>
                    <a:pt x="54" y="304"/>
                  </a:lnTo>
                  <a:lnTo>
                    <a:pt x="56" y="302"/>
                  </a:lnTo>
                  <a:lnTo>
                    <a:pt x="62" y="299"/>
                  </a:lnTo>
                  <a:lnTo>
                    <a:pt x="67" y="297"/>
                  </a:lnTo>
                  <a:lnTo>
                    <a:pt x="69" y="295"/>
                  </a:lnTo>
                  <a:lnTo>
                    <a:pt x="69" y="291"/>
                  </a:lnTo>
                  <a:lnTo>
                    <a:pt x="67" y="291"/>
                  </a:lnTo>
                  <a:lnTo>
                    <a:pt x="67" y="289"/>
                  </a:lnTo>
                  <a:lnTo>
                    <a:pt x="64" y="287"/>
                  </a:lnTo>
                  <a:lnTo>
                    <a:pt x="64" y="285"/>
                  </a:lnTo>
                  <a:lnTo>
                    <a:pt x="67" y="283"/>
                  </a:lnTo>
                  <a:lnTo>
                    <a:pt x="69" y="283"/>
                  </a:lnTo>
                  <a:lnTo>
                    <a:pt x="69" y="279"/>
                  </a:lnTo>
                  <a:lnTo>
                    <a:pt x="71" y="277"/>
                  </a:lnTo>
                  <a:lnTo>
                    <a:pt x="75" y="277"/>
                  </a:lnTo>
                  <a:lnTo>
                    <a:pt x="77" y="279"/>
                  </a:lnTo>
                  <a:lnTo>
                    <a:pt x="81" y="279"/>
                  </a:lnTo>
                  <a:lnTo>
                    <a:pt x="83" y="281"/>
                  </a:lnTo>
                  <a:lnTo>
                    <a:pt x="81" y="285"/>
                  </a:lnTo>
                  <a:lnTo>
                    <a:pt x="79" y="287"/>
                  </a:lnTo>
                  <a:lnTo>
                    <a:pt x="79" y="289"/>
                  </a:lnTo>
                  <a:lnTo>
                    <a:pt x="83" y="291"/>
                  </a:lnTo>
                  <a:lnTo>
                    <a:pt x="83" y="293"/>
                  </a:lnTo>
                  <a:lnTo>
                    <a:pt x="79" y="295"/>
                  </a:lnTo>
                  <a:lnTo>
                    <a:pt x="81" y="302"/>
                  </a:lnTo>
                  <a:lnTo>
                    <a:pt x="83" y="304"/>
                  </a:lnTo>
                  <a:lnTo>
                    <a:pt x="83" y="308"/>
                  </a:lnTo>
                  <a:lnTo>
                    <a:pt x="83" y="308"/>
                  </a:lnTo>
                  <a:lnTo>
                    <a:pt x="81" y="316"/>
                  </a:lnTo>
                  <a:lnTo>
                    <a:pt x="81" y="318"/>
                  </a:lnTo>
                  <a:lnTo>
                    <a:pt x="81" y="320"/>
                  </a:lnTo>
                  <a:lnTo>
                    <a:pt x="77" y="326"/>
                  </a:lnTo>
                  <a:lnTo>
                    <a:pt x="79" y="335"/>
                  </a:lnTo>
                  <a:lnTo>
                    <a:pt x="79" y="354"/>
                  </a:lnTo>
                  <a:lnTo>
                    <a:pt x="81" y="356"/>
                  </a:lnTo>
                  <a:lnTo>
                    <a:pt x="83" y="366"/>
                  </a:lnTo>
                  <a:lnTo>
                    <a:pt x="85" y="370"/>
                  </a:lnTo>
                  <a:lnTo>
                    <a:pt x="85" y="374"/>
                  </a:lnTo>
                  <a:lnTo>
                    <a:pt x="85" y="376"/>
                  </a:lnTo>
                  <a:lnTo>
                    <a:pt x="87" y="387"/>
                  </a:lnTo>
                  <a:lnTo>
                    <a:pt x="89" y="389"/>
                  </a:lnTo>
                  <a:lnTo>
                    <a:pt x="87" y="391"/>
                  </a:lnTo>
                  <a:lnTo>
                    <a:pt x="89" y="399"/>
                  </a:lnTo>
                  <a:lnTo>
                    <a:pt x="89" y="399"/>
                  </a:lnTo>
                  <a:lnTo>
                    <a:pt x="94" y="405"/>
                  </a:lnTo>
                  <a:lnTo>
                    <a:pt x="94" y="410"/>
                  </a:lnTo>
                  <a:lnTo>
                    <a:pt x="94" y="412"/>
                  </a:lnTo>
                  <a:lnTo>
                    <a:pt x="96" y="416"/>
                  </a:lnTo>
                  <a:lnTo>
                    <a:pt x="102" y="424"/>
                  </a:lnTo>
                  <a:lnTo>
                    <a:pt x="102" y="426"/>
                  </a:lnTo>
                  <a:lnTo>
                    <a:pt x="104" y="426"/>
                  </a:lnTo>
                  <a:lnTo>
                    <a:pt x="104" y="430"/>
                  </a:lnTo>
                  <a:lnTo>
                    <a:pt x="106" y="430"/>
                  </a:lnTo>
                  <a:lnTo>
                    <a:pt x="108" y="432"/>
                  </a:lnTo>
                  <a:lnTo>
                    <a:pt x="106" y="435"/>
                  </a:lnTo>
                  <a:lnTo>
                    <a:pt x="104" y="437"/>
                  </a:lnTo>
                  <a:lnTo>
                    <a:pt x="108" y="439"/>
                  </a:lnTo>
                  <a:lnTo>
                    <a:pt x="110" y="443"/>
                  </a:lnTo>
                  <a:lnTo>
                    <a:pt x="112" y="445"/>
                  </a:lnTo>
                  <a:lnTo>
                    <a:pt x="112" y="449"/>
                  </a:lnTo>
                  <a:lnTo>
                    <a:pt x="110" y="451"/>
                  </a:lnTo>
                  <a:lnTo>
                    <a:pt x="112" y="453"/>
                  </a:lnTo>
                  <a:lnTo>
                    <a:pt x="114" y="462"/>
                  </a:lnTo>
                  <a:lnTo>
                    <a:pt x="116" y="470"/>
                  </a:lnTo>
                  <a:lnTo>
                    <a:pt x="119" y="470"/>
                  </a:lnTo>
                  <a:lnTo>
                    <a:pt x="119" y="474"/>
                  </a:lnTo>
                  <a:lnTo>
                    <a:pt x="121" y="476"/>
                  </a:lnTo>
                  <a:lnTo>
                    <a:pt x="127" y="482"/>
                  </a:lnTo>
                  <a:lnTo>
                    <a:pt x="127" y="487"/>
                  </a:lnTo>
                  <a:lnTo>
                    <a:pt x="129" y="487"/>
                  </a:lnTo>
                  <a:lnTo>
                    <a:pt x="133" y="493"/>
                  </a:lnTo>
                  <a:lnTo>
                    <a:pt x="133" y="497"/>
                  </a:lnTo>
                  <a:lnTo>
                    <a:pt x="135" y="503"/>
                  </a:lnTo>
                  <a:lnTo>
                    <a:pt x="135" y="503"/>
                  </a:lnTo>
                  <a:lnTo>
                    <a:pt x="137" y="509"/>
                  </a:lnTo>
                  <a:lnTo>
                    <a:pt x="139" y="511"/>
                  </a:lnTo>
                  <a:lnTo>
                    <a:pt x="141" y="518"/>
                  </a:lnTo>
                  <a:lnTo>
                    <a:pt x="141" y="520"/>
                  </a:lnTo>
                  <a:lnTo>
                    <a:pt x="141" y="524"/>
                  </a:lnTo>
                  <a:lnTo>
                    <a:pt x="143" y="528"/>
                  </a:lnTo>
                  <a:lnTo>
                    <a:pt x="143" y="530"/>
                  </a:lnTo>
                  <a:lnTo>
                    <a:pt x="146" y="534"/>
                  </a:lnTo>
                  <a:lnTo>
                    <a:pt x="156" y="547"/>
                  </a:lnTo>
                  <a:lnTo>
                    <a:pt x="158" y="549"/>
                  </a:lnTo>
                  <a:lnTo>
                    <a:pt x="164" y="551"/>
                  </a:lnTo>
                  <a:lnTo>
                    <a:pt x="166" y="551"/>
                  </a:lnTo>
                  <a:lnTo>
                    <a:pt x="171" y="549"/>
                  </a:lnTo>
                  <a:lnTo>
                    <a:pt x="173" y="547"/>
                  </a:lnTo>
                  <a:lnTo>
                    <a:pt x="175" y="547"/>
                  </a:lnTo>
                  <a:lnTo>
                    <a:pt x="177" y="545"/>
                  </a:lnTo>
                  <a:lnTo>
                    <a:pt x="177" y="543"/>
                  </a:lnTo>
                  <a:lnTo>
                    <a:pt x="177" y="539"/>
                  </a:lnTo>
                  <a:lnTo>
                    <a:pt x="179" y="536"/>
                  </a:lnTo>
                  <a:lnTo>
                    <a:pt x="179" y="534"/>
                  </a:lnTo>
                  <a:lnTo>
                    <a:pt x="181" y="532"/>
                  </a:lnTo>
                  <a:lnTo>
                    <a:pt x="191" y="530"/>
                  </a:lnTo>
                  <a:lnTo>
                    <a:pt x="193" y="530"/>
                  </a:lnTo>
                  <a:lnTo>
                    <a:pt x="198" y="530"/>
                  </a:lnTo>
                  <a:lnTo>
                    <a:pt x="200" y="530"/>
                  </a:lnTo>
                  <a:lnTo>
                    <a:pt x="204" y="530"/>
                  </a:lnTo>
                  <a:lnTo>
                    <a:pt x="202" y="528"/>
                  </a:lnTo>
                  <a:lnTo>
                    <a:pt x="200" y="528"/>
                  </a:lnTo>
                  <a:lnTo>
                    <a:pt x="195" y="528"/>
                  </a:lnTo>
                  <a:lnTo>
                    <a:pt x="193" y="526"/>
                  </a:lnTo>
                  <a:lnTo>
                    <a:pt x="193" y="522"/>
                  </a:lnTo>
                  <a:lnTo>
                    <a:pt x="193" y="520"/>
                  </a:lnTo>
                  <a:lnTo>
                    <a:pt x="195" y="518"/>
                  </a:lnTo>
                  <a:lnTo>
                    <a:pt x="198" y="516"/>
                  </a:lnTo>
                  <a:lnTo>
                    <a:pt x="198" y="514"/>
                  </a:lnTo>
                  <a:lnTo>
                    <a:pt x="200" y="509"/>
                  </a:lnTo>
                  <a:lnTo>
                    <a:pt x="200" y="509"/>
                  </a:lnTo>
                  <a:lnTo>
                    <a:pt x="204" y="507"/>
                  </a:lnTo>
                  <a:lnTo>
                    <a:pt x="208" y="509"/>
                  </a:lnTo>
                  <a:lnTo>
                    <a:pt x="210" y="509"/>
                  </a:lnTo>
                  <a:lnTo>
                    <a:pt x="210" y="505"/>
                  </a:lnTo>
                  <a:lnTo>
                    <a:pt x="210" y="503"/>
                  </a:lnTo>
                  <a:lnTo>
                    <a:pt x="210" y="499"/>
                  </a:lnTo>
                  <a:lnTo>
                    <a:pt x="206" y="497"/>
                  </a:lnTo>
                  <a:lnTo>
                    <a:pt x="206" y="495"/>
                  </a:lnTo>
                  <a:lnTo>
                    <a:pt x="210" y="495"/>
                  </a:lnTo>
                  <a:lnTo>
                    <a:pt x="210" y="493"/>
                  </a:lnTo>
                  <a:lnTo>
                    <a:pt x="210" y="491"/>
                  </a:lnTo>
                  <a:lnTo>
                    <a:pt x="208" y="487"/>
                  </a:lnTo>
                  <a:lnTo>
                    <a:pt x="208" y="484"/>
                  </a:lnTo>
                  <a:lnTo>
                    <a:pt x="208" y="482"/>
                  </a:lnTo>
                  <a:lnTo>
                    <a:pt x="206" y="480"/>
                  </a:lnTo>
                  <a:lnTo>
                    <a:pt x="208" y="476"/>
                  </a:lnTo>
                  <a:lnTo>
                    <a:pt x="212" y="472"/>
                  </a:lnTo>
                  <a:lnTo>
                    <a:pt x="214" y="470"/>
                  </a:lnTo>
                  <a:lnTo>
                    <a:pt x="214" y="468"/>
                  </a:lnTo>
                  <a:lnTo>
                    <a:pt x="216" y="462"/>
                  </a:lnTo>
                  <a:lnTo>
                    <a:pt x="216" y="457"/>
                  </a:lnTo>
                  <a:lnTo>
                    <a:pt x="218" y="453"/>
                  </a:lnTo>
                  <a:lnTo>
                    <a:pt x="216" y="451"/>
                  </a:lnTo>
                  <a:lnTo>
                    <a:pt x="216" y="447"/>
                  </a:lnTo>
                  <a:lnTo>
                    <a:pt x="216" y="445"/>
                  </a:lnTo>
                  <a:lnTo>
                    <a:pt x="214" y="441"/>
                  </a:lnTo>
                  <a:lnTo>
                    <a:pt x="214" y="439"/>
                  </a:lnTo>
                  <a:lnTo>
                    <a:pt x="212" y="435"/>
                  </a:lnTo>
                  <a:lnTo>
                    <a:pt x="212" y="432"/>
                  </a:lnTo>
                  <a:lnTo>
                    <a:pt x="214" y="432"/>
                  </a:lnTo>
                  <a:lnTo>
                    <a:pt x="214" y="430"/>
                  </a:lnTo>
                  <a:lnTo>
                    <a:pt x="214" y="428"/>
                  </a:lnTo>
                  <a:lnTo>
                    <a:pt x="212" y="428"/>
                  </a:lnTo>
                  <a:lnTo>
                    <a:pt x="214" y="426"/>
                  </a:lnTo>
                  <a:lnTo>
                    <a:pt x="212" y="424"/>
                  </a:lnTo>
                  <a:lnTo>
                    <a:pt x="212" y="420"/>
                  </a:lnTo>
                  <a:lnTo>
                    <a:pt x="212" y="414"/>
                  </a:lnTo>
                  <a:lnTo>
                    <a:pt x="216" y="405"/>
                  </a:lnTo>
                  <a:lnTo>
                    <a:pt x="220" y="401"/>
                  </a:lnTo>
                  <a:lnTo>
                    <a:pt x="225" y="403"/>
                  </a:lnTo>
                  <a:lnTo>
                    <a:pt x="227" y="405"/>
                  </a:lnTo>
                  <a:lnTo>
                    <a:pt x="229" y="405"/>
                  </a:lnTo>
                  <a:lnTo>
                    <a:pt x="229" y="403"/>
                  </a:lnTo>
                  <a:lnTo>
                    <a:pt x="233" y="397"/>
                  </a:lnTo>
                  <a:lnTo>
                    <a:pt x="233" y="393"/>
                  </a:lnTo>
                  <a:lnTo>
                    <a:pt x="237" y="393"/>
                  </a:lnTo>
                  <a:lnTo>
                    <a:pt x="239" y="393"/>
                  </a:lnTo>
                  <a:lnTo>
                    <a:pt x="243" y="393"/>
                  </a:lnTo>
                  <a:lnTo>
                    <a:pt x="245" y="391"/>
                  </a:lnTo>
                  <a:lnTo>
                    <a:pt x="252" y="389"/>
                  </a:lnTo>
                  <a:lnTo>
                    <a:pt x="254" y="387"/>
                  </a:lnTo>
                  <a:lnTo>
                    <a:pt x="254" y="385"/>
                  </a:lnTo>
                  <a:lnTo>
                    <a:pt x="252" y="383"/>
                  </a:lnTo>
                  <a:lnTo>
                    <a:pt x="252" y="381"/>
                  </a:lnTo>
                  <a:lnTo>
                    <a:pt x="258" y="372"/>
                  </a:lnTo>
                  <a:lnTo>
                    <a:pt x="262" y="372"/>
                  </a:lnTo>
                  <a:lnTo>
                    <a:pt x="262" y="370"/>
                  </a:lnTo>
                  <a:lnTo>
                    <a:pt x="268" y="368"/>
                  </a:lnTo>
                  <a:lnTo>
                    <a:pt x="270" y="366"/>
                  </a:lnTo>
                  <a:lnTo>
                    <a:pt x="272" y="364"/>
                  </a:lnTo>
                  <a:lnTo>
                    <a:pt x="275" y="358"/>
                  </a:lnTo>
                  <a:lnTo>
                    <a:pt x="277" y="358"/>
                  </a:lnTo>
                  <a:lnTo>
                    <a:pt x="281" y="356"/>
                  </a:lnTo>
                  <a:lnTo>
                    <a:pt x="283" y="354"/>
                  </a:lnTo>
                  <a:lnTo>
                    <a:pt x="285" y="351"/>
                  </a:lnTo>
                  <a:lnTo>
                    <a:pt x="289" y="347"/>
                  </a:lnTo>
                  <a:lnTo>
                    <a:pt x="289" y="345"/>
                  </a:lnTo>
                  <a:lnTo>
                    <a:pt x="289" y="343"/>
                  </a:lnTo>
                  <a:lnTo>
                    <a:pt x="297" y="337"/>
                  </a:lnTo>
                  <a:lnTo>
                    <a:pt x="299" y="333"/>
                  </a:lnTo>
                  <a:lnTo>
                    <a:pt x="302" y="329"/>
                  </a:lnTo>
                  <a:lnTo>
                    <a:pt x="304" y="326"/>
                  </a:lnTo>
                  <a:lnTo>
                    <a:pt x="306" y="324"/>
                  </a:lnTo>
                  <a:lnTo>
                    <a:pt x="308" y="324"/>
                  </a:lnTo>
                  <a:lnTo>
                    <a:pt x="310" y="326"/>
                  </a:lnTo>
                  <a:lnTo>
                    <a:pt x="316" y="324"/>
                  </a:lnTo>
                  <a:lnTo>
                    <a:pt x="318" y="322"/>
                  </a:lnTo>
                  <a:lnTo>
                    <a:pt x="320" y="322"/>
                  </a:lnTo>
                  <a:lnTo>
                    <a:pt x="329" y="314"/>
                  </a:lnTo>
                  <a:lnTo>
                    <a:pt x="331" y="310"/>
                  </a:lnTo>
                  <a:lnTo>
                    <a:pt x="333" y="308"/>
                  </a:lnTo>
                  <a:lnTo>
                    <a:pt x="331" y="308"/>
                  </a:lnTo>
                  <a:lnTo>
                    <a:pt x="333" y="306"/>
                  </a:lnTo>
                  <a:lnTo>
                    <a:pt x="331" y="304"/>
                  </a:lnTo>
                  <a:lnTo>
                    <a:pt x="329" y="299"/>
                  </a:lnTo>
                  <a:lnTo>
                    <a:pt x="331" y="297"/>
                  </a:lnTo>
                  <a:lnTo>
                    <a:pt x="331" y="295"/>
                  </a:lnTo>
                  <a:lnTo>
                    <a:pt x="333" y="293"/>
                  </a:lnTo>
                  <a:lnTo>
                    <a:pt x="335" y="289"/>
                  </a:lnTo>
                  <a:lnTo>
                    <a:pt x="337" y="289"/>
                  </a:lnTo>
                  <a:lnTo>
                    <a:pt x="345" y="287"/>
                  </a:lnTo>
                  <a:lnTo>
                    <a:pt x="347" y="285"/>
                  </a:lnTo>
                  <a:lnTo>
                    <a:pt x="347" y="283"/>
                  </a:lnTo>
                  <a:lnTo>
                    <a:pt x="351" y="285"/>
                  </a:lnTo>
                  <a:lnTo>
                    <a:pt x="356" y="285"/>
                  </a:lnTo>
                  <a:lnTo>
                    <a:pt x="360" y="287"/>
                  </a:lnTo>
                  <a:lnTo>
                    <a:pt x="364" y="287"/>
                  </a:lnTo>
                  <a:lnTo>
                    <a:pt x="366" y="283"/>
                  </a:lnTo>
                  <a:lnTo>
                    <a:pt x="366" y="281"/>
                  </a:lnTo>
                  <a:lnTo>
                    <a:pt x="366" y="277"/>
                  </a:lnTo>
                  <a:lnTo>
                    <a:pt x="366" y="275"/>
                  </a:lnTo>
                  <a:lnTo>
                    <a:pt x="366" y="272"/>
                  </a:lnTo>
                  <a:lnTo>
                    <a:pt x="362" y="262"/>
                  </a:lnTo>
                  <a:lnTo>
                    <a:pt x="362" y="256"/>
                  </a:lnTo>
                  <a:lnTo>
                    <a:pt x="360" y="252"/>
                  </a:lnTo>
                  <a:lnTo>
                    <a:pt x="358" y="250"/>
                  </a:lnTo>
                  <a:lnTo>
                    <a:pt x="356" y="247"/>
                  </a:lnTo>
                  <a:lnTo>
                    <a:pt x="360" y="243"/>
                  </a:lnTo>
                  <a:lnTo>
                    <a:pt x="360" y="237"/>
                  </a:lnTo>
                  <a:lnTo>
                    <a:pt x="356" y="237"/>
                  </a:lnTo>
                  <a:lnTo>
                    <a:pt x="351" y="237"/>
                  </a:lnTo>
                  <a:lnTo>
                    <a:pt x="347" y="235"/>
                  </a:lnTo>
                  <a:lnTo>
                    <a:pt x="345" y="233"/>
                  </a:lnTo>
                  <a:lnTo>
                    <a:pt x="347" y="229"/>
                  </a:lnTo>
                  <a:lnTo>
                    <a:pt x="349" y="229"/>
                  </a:lnTo>
                  <a:lnTo>
                    <a:pt x="351" y="227"/>
                  </a:lnTo>
                  <a:lnTo>
                    <a:pt x="351" y="225"/>
                  </a:lnTo>
                  <a:lnTo>
                    <a:pt x="351" y="220"/>
                  </a:lnTo>
                  <a:lnTo>
                    <a:pt x="356" y="223"/>
                  </a:lnTo>
                  <a:lnTo>
                    <a:pt x="360" y="220"/>
                  </a:lnTo>
                  <a:lnTo>
                    <a:pt x="362" y="218"/>
                  </a:lnTo>
                  <a:lnTo>
                    <a:pt x="360" y="218"/>
                  </a:lnTo>
                  <a:lnTo>
                    <a:pt x="358" y="216"/>
                  </a:lnTo>
                  <a:lnTo>
                    <a:pt x="356" y="216"/>
                  </a:lnTo>
                  <a:lnTo>
                    <a:pt x="354" y="216"/>
                  </a:lnTo>
                  <a:lnTo>
                    <a:pt x="351" y="216"/>
                  </a:lnTo>
                  <a:lnTo>
                    <a:pt x="351" y="214"/>
                  </a:lnTo>
                  <a:lnTo>
                    <a:pt x="351" y="212"/>
                  </a:lnTo>
                  <a:lnTo>
                    <a:pt x="347" y="210"/>
                  </a:lnTo>
                  <a:lnTo>
                    <a:pt x="345" y="210"/>
                  </a:lnTo>
                  <a:lnTo>
                    <a:pt x="345" y="204"/>
                  </a:lnTo>
                  <a:lnTo>
                    <a:pt x="347" y="202"/>
                  </a:lnTo>
                  <a:lnTo>
                    <a:pt x="347" y="200"/>
                  </a:lnTo>
                  <a:lnTo>
                    <a:pt x="349" y="198"/>
                  </a:lnTo>
                  <a:lnTo>
                    <a:pt x="356" y="200"/>
                  </a:lnTo>
                  <a:lnTo>
                    <a:pt x="358" y="200"/>
                  </a:lnTo>
                  <a:lnTo>
                    <a:pt x="358" y="200"/>
                  </a:lnTo>
                  <a:lnTo>
                    <a:pt x="358" y="198"/>
                  </a:lnTo>
                  <a:lnTo>
                    <a:pt x="360" y="200"/>
                  </a:lnTo>
                  <a:lnTo>
                    <a:pt x="364" y="204"/>
                  </a:lnTo>
                  <a:lnTo>
                    <a:pt x="364" y="204"/>
                  </a:lnTo>
                  <a:lnTo>
                    <a:pt x="368" y="206"/>
                  </a:lnTo>
                  <a:lnTo>
                    <a:pt x="370" y="206"/>
                  </a:lnTo>
                  <a:lnTo>
                    <a:pt x="370" y="204"/>
                  </a:lnTo>
                  <a:lnTo>
                    <a:pt x="372" y="204"/>
                  </a:lnTo>
                  <a:lnTo>
                    <a:pt x="374" y="204"/>
                  </a:lnTo>
                  <a:lnTo>
                    <a:pt x="376" y="206"/>
                  </a:lnTo>
                  <a:lnTo>
                    <a:pt x="376" y="208"/>
                  </a:lnTo>
                  <a:lnTo>
                    <a:pt x="374" y="210"/>
                  </a:lnTo>
                  <a:lnTo>
                    <a:pt x="374" y="212"/>
                  </a:lnTo>
                  <a:lnTo>
                    <a:pt x="376" y="212"/>
                  </a:lnTo>
                  <a:lnTo>
                    <a:pt x="378" y="214"/>
                  </a:lnTo>
                  <a:lnTo>
                    <a:pt x="376" y="214"/>
                  </a:lnTo>
                  <a:lnTo>
                    <a:pt x="376" y="216"/>
                  </a:lnTo>
                  <a:lnTo>
                    <a:pt x="376" y="218"/>
                  </a:lnTo>
                  <a:lnTo>
                    <a:pt x="383" y="220"/>
                  </a:lnTo>
                  <a:lnTo>
                    <a:pt x="385" y="220"/>
                  </a:lnTo>
                  <a:lnTo>
                    <a:pt x="389" y="220"/>
                  </a:lnTo>
                  <a:lnTo>
                    <a:pt x="395" y="218"/>
                  </a:lnTo>
                  <a:lnTo>
                    <a:pt x="399" y="218"/>
                  </a:lnTo>
                  <a:lnTo>
                    <a:pt x="406" y="218"/>
                  </a:lnTo>
                  <a:lnTo>
                    <a:pt x="408" y="216"/>
                  </a:lnTo>
                  <a:lnTo>
                    <a:pt x="414" y="216"/>
                  </a:lnTo>
                  <a:lnTo>
                    <a:pt x="416" y="218"/>
                  </a:lnTo>
                  <a:lnTo>
                    <a:pt x="418" y="218"/>
                  </a:lnTo>
                  <a:lnTo>
                    <a:pt x="422" y="220"/>
                  </a:lnTo>
                  <a:lnTo>
                    <a:pt x="420" y="223"/>
                  </a:lnTo>
                  <a:lnTo>
                    <a:pt x="418" y="223"/>
                  </a:lnTo>
                  <a:lnTo>
                    <a:pt x="418" y="225"/>
                  </a:lnTo>
                  <a:lnTo>
                    <a:pt x="418" y="229"/>
                  </a:lnTo>
                  <a:lnTo>
                    <a:pt x="418" y="231"/>
                  </a:lnTo>
                  <a:lnTo>
                    <a:pt x="416" y="233"/>
                  </a:lnTo>
                  <a:lnTo>
                    <a:pt x="414" y="235"/>
                  </a:lnTo>
                  <a:lnTo>
                    <a:pt x="410" y="237"/>
                  </a:lnTo>
                  <a:lnTo>
                    <a:pt x="410" y="237"/>
                  </a:lnTo>
                  <a:lnTo>
                    <a:pt x="408" y="239"/>
                  </a:lnTo>
                  <a:lnTo>
                    <a:pt x="406" y="239"/>
                  </a:lnTo>
                  <a:lnTo>
                    <a:pt x="401" y="245"/>
                  </a:lnTo>
                  <a:lnTo>
                    <a:pt x="401" y="247"/>
                  </a:lnTo>
                  <a:lnTo>
                    <a:pt x="403" y="247"/>
                  </a:lnTo>
                  <a:lnTo>
                    <a:pt x="410" y="258"/>
                  </a:lnTo>
                  <a:lnTo>
                    <a:pt x="412" y="260"/>
                  </a:lnTo>
                  <a:lnTo>
                    <a:pt x="414" y="258"/>
                  </a:lnTo>
                  <a:lnTo>
                    <a:pt x="414" y="256"/>
                  </a:lnTo>
                  <a:lnTo>
                    <a:pt x="414" y="252"/>
                  </a:lnTo>
                  <a:lnTo>
                    <a:pt x="414" y="250"/>
                  </a:lnTo>
                  <a:lnTo>
                    <a:pt x="416" y="250"/>
                  </a:lnTo>
                  <a:lnTo>
                    <a:pt x="416" y="247"/>
                  </a:lnTo>
                  <a:lnTo>
                    <a:pt x="416" y="247"/>
                  </a:lnTo>
                  <a:lnTo>
                    <a:pt x="418" y="245"/>
                  </a:lnTo>
                  <a:lnTo>
                    <a:pt x="420" y="245"/>
                  </a:lnTo>
                  <a:lnTo>
                    <a:pt x="422" y="250"/>
                  </a:lnTo>
                  <a:lnTo>
                    <a:pt x="422" y="250"/>
                  </a:lnTo>
                  <a:lnTo>
                    <a:pt x="424" y="258"/>
                  </a:lnTo>
                  <a:lnTo>
                    <a:pt x="426" y="262"/>
                  </a:lnTo>
                  <a:lnTo>
                    <a:pt x="428" y="268"/>
                  </a:lnTo>
                  <a:lnTo>
                    <a:pt x="428" y="270"/>
                  </a:lnTo>
                  <a:lnTo>
                    <a:pt x="430" y="275"/>
                  </a:lnTo>
                  <a:lnTo>
                    <a:pt x="433" y="272"/>
                  </a:lnTo>
                  <a:lnTo>
                    <a:pt x="435" y="275"/>
                  </a:lnTo>
                  <a:lnTo>
                    <a:pt x="437" y="277"/>
                  </a:lnTo>
                  <a:lnTo>
                    <a:pt x="437" y="275"/>
                  </a:lnTo>
                  <a:lnTo>
                    <a:pt x="437" y="272"/>
                  </a:lnTo>
                  <a:lnTo>
                    <a:pt x="439" y="270"/>
                  </a:lnTo>
                  <a:lnTo>
                    <a:pt x="441" y="268"/>
                  </a:lnTo>
                  <a:lnTo>
                    <a:pt x="439" y="266"/>
                  </a:lnTo>
                  <a:lnTo>
                    <a:pt x="437" y="264"/>
                  </a:lnTo>
                  <a:lnTo>
                    <a:pt x="437" y="262"/>
                  </a:lnTo>
                  <a:lnTo>
                    <a:pt x="437" y="258"/>
                  </a:lnTo>
                  <a:lnTo>
                    <a:pt x="437" y="254"/>
                  </a:lnTo>
                  <a:lnTo>
                    <a:pt x="441" y="254"/>
                  </a:lnTo>
                  <a:lnTo>
                    <a:pt x="441" y="252"/>
                  </a:lnTo>
                  <a:lnTo>
                    <a:pt x="443" y="247"/>
                  </a:lnTo>
                  <a:lnTo>
                    <a:pt x="441" y="241"/>
                  </a:lnTo>
                  <a:lnTo>
                    <a:pt x="441" y="239"/>
                  </a:lnTo>
                  <a:lnTo>
                    <a:pt x="441" y="237"/>
                  </a:lnTo>
                  <a:lnTo>
                    <a:pt x="451" y="239"/>
                  </a:lnTo>
                  <a:lnTo>
                    <a:pt x="453" y="235"/>
                  </a:lnTo>
                  <a:lnTo>
                    <a:pt x="455" y="233"/>
                  </a:lnTo>
                  <a:lnTo>
                    <a:pt x="453" y="231"/>
                  </a:lnTo>
                  <a:lnTo>
                    <a:pt x="458" y="225"/>
                  </a:lnTo>
                  <a:lnTo>
                    <a:pt x="458" y="223"/>
                  </a:lnTo>
                  <a:lnTo>
                    <a:pt x="458" y="220"/>
                  </a:lnTo>
                  <a:lnTo>
                    <a:pt x="460" y="218"/>
                  </a:lnTo>
                  <a:lnTo>
                    <a:pt x="460" y="216"/>
                  </a:lnTo>
                  <a:lnTo>
                    <a:pt x="460" y="214"/>
                  </a:lnTo>
                  <a:lnTo>
                    <a:pt x="458" y="212"/>
                  </a:lnTo>
                  <a:lnTo>
                    <a:pt x="458" y="208"/>
                  </a:lnTo>
                  <a:lnTo>
                    <a:pt x="460" y="208"/>
                  </a:lnTo>
                  <a:lnTo>
                    <a:pt x="464" y="206"/>
                  </a:lnTo>
                  <a:lnTo>
                    <a:pt x="464" y="198"/>
                  </a:lnTo>
                  <a:lnTo>
                    <a:pt x="464" y="193"/>
                  </a:lnTo>
                  <a:lnTo>
                    <a:pt x="462" y="187"/>
                  </a:lnTo>
                  <a:lnTo>
                    <a:pt x="464" y="187"/>
                  </a:lnTo>
                  <a:lnTo>
                    <a:pt x="464" y="183"/>
                  </a:lnTo>
                  <a:lnTo>
                    <a:pt x="468" y="183"/>
                  </a:lnTo>
                  <a:lnTo>
                    <a:pt x="470" y="179"/>
                  </a:lnTo>
                  <a:lnTo>
                    <a:pt x="472" y="179"/>
                  </a:lnTo>
                  <a:lnTo>
                    <a:pt x="476" y="175"/>
                  </a:lnTo>
                  <a:lnTo>
                    <a:pt x="476" y="173"/>
                  </a:lnTo>
                  <a:lnTo>
                    <a:pt x="480" y="171"/>
                  </a:lnTo>
                  <a:lnTo>
                    <a:pt x="482" y="168"/>
                  </a:lnTo>
                  <a:lnTo>
                    <a:pt x="485" y="168"/>
                  </a:lnTo>
                  <a:lnTo>
                    <a:pt x="489" y="168"/>
                  </a:lnTo>
                  <a:lnTo>
                    <a:pt x="493" y="171"/>
                  </a:lnTo>
                  <a:lnTo>
                    <a:pt x="495" y="171"/>
                  </a:lnTo>
                  <a:lnTo>
                    <a:pt x="495" y="168"/>
                  </a:lnTo>
                  <a:lnTo>
                    <a:pt x="491" y="166"/>
                  </a:lnTo>
                  <a:lnTo>
                    <a:pt x="491" y="164"/>
                  </a:lnTo>
                  <a:lnTo>
                    <a:pt x="491" y="160"/>
                  </a:lnTo>
                  <a:lnTo>
                    <a:pt x="497" y="156"/>
                  </a:lnTo>
                  <a:lnTo>
                    <a:pt x="497" y="150"/>
                  </a:lnTo>
                  <a:lnTo>
                    <a:pt x="491" y="148"/>
                  </a:lnTo>
                  <a:lnTo>
                    <a:pt x="487" y="148"/>
                  </a:lnTo>
                  <a:lnTo>
                    <a:pt x="485" y="146"/>
                  </a:lnTo>
                  <a:lnTo>
                    <a:pt x="480" y="150"/>
                  </a:lnTo>
                  <a:lnTo>
                    <a:pt x="478" y="150"/>
                  </a:lnTo>
                  <a:lnTo>
                    <a:pt x="478" y="148"/>
                  </a:lnTo>
                  <a:lnTo>
                    <a:pt x="478" y="144"/>
                  </a:lnTo>
                  <a:lnTo>
                    <a:pt x="482" y="144"/>
                  </a:lnTo>
                  <a:lnTo>
                    <a:pt x="482" y="139"/>
                  </a:lnTo>
                  <a:lnTo>
                    <a:pt x="480" y="135"/>
                  </a:lnTo>
                  <a:lnTo>
                    <a:pt x="474" y="135"/>
                  </a:lnTo>
                  <a:lnTo>
                    <a:pt x="476" y="133"/>
                  </a:lnTo>
                  <a:lnTo>
                    <a:pt x="476" y="131"/>
                  </a:lnTo>
                  <a:lnTo>
                    <a:pt x="476" y="131"/>
                  </a:lnTo>
                  <a:close/>
                </a:path>
              </a:pathLst>
            </a:custGeom>
            <a:solidFill>
              <a:schemeClr val="tx1">
                <a:lumMod val="50000"/>
                <a:lumOff val="50000"/>
              </a:schemeClr>
            </a:solidFill>
            <a:ln w="9525" cap="flat" cmpd="sng">
              <a:solidFill>
                <a:srgbClr val="FFFFFF"/>
              </a:solidFill>
              <a:prstDash val="solid"/>
              <a:miter lim="800000"/>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grpSp>
      <p:sp>
        <p:nvSpPr>
          <p:cNvPr id="408" name="Freeform 6016"/>
          <p:cNvSpPr>
            <a:spLocks/>
          </p:cNvSpPr>
          <p:nvPr>
            <p:custDataLst>
              <p:tags r:id="rId2"/>
            </p:custDataLst>
          </p:nvPr>
        </p:nvSpPr>
        <p:spPr bwMode="gray">
          <a:xfrm>
            <a:off x="9318435" y="4396887"/>
            <a:ext cx="20157" cy="29147"/>
          </a:xfrm>
          <a:custGeom>
            <a:avLst/>
            <a:gdLst/>
            <a:ahLst/>
            <a:cxnLst>
              <a:cxn ang="0">
                <a:pos x="0" y="11"/>
              </a:cxn>
              <a:cxn ang="0">
                <a:pos x="6" y="13"/>
              </a:cxn>
              <a:cxn ang="0">
                <a:pos x="9" y="4"/>
              </a:cxn>
              <a:cxn ang="0">
                <a:pos x="2" y="0"/>
              </a:cxn>
              <a:cxn ang="0">
                <a:pos x="0" y="11"/>
              </a:cxn>
              <a:cxn ang="0">
                <a:pos x="0" y="11"/>
              </a:cxn>
            </a:cxnLst>
            <a:rect l="0" t="0" r="r" b="b"/>
            <a:pathLst>
              <a:path w="9" h="13">
                <a:moveTo>
                  <a:pt x="0" y="11"/>
                </a:moveTo>
                <a:lnTo>
                  <a:pt x="6" y="13"/>
                </a:lnTo>
                <a:lnTo>
                  <a:pt x="9" y="4"/>
                </a:lnTo>
                <a:lnTo>
                  <a:pt x="2" y="0"/>
                </a:lnTo>
                <a:lnTo>
                  <a:pt x="0" y="11"/>
                </a:lnTo>
                <a:lnTo>
                  <a:pt x="0" y="11"/>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2" name="Title 1"/>
          <p:cNvSpPr>
            <a:spLocks noGrp="1"/>
          </p:cNvSpPr>
          <p:nvPr>
            <p:ph type="title"/>
          </p:nvPr>
        </p:nvSpPr>
        <p:spPr/>
        <p:txBody>
          <a:bodyPr/>
          <a:lstStyle/>
          <a:p>
            <a:r>
              <a:rPr lang="en-US" dirty="0"/>
              <a:t>Engagement with companies domiciled in </a:t>
            </a:r>
            <a:r>
              <a:rPr lang="en-US" dirty="0" smtClean="0"/>
              <a:t>32 countries</a:t>
            </a:r>
            <a:endParaRPr lang="en-GB" dirty="0"/>
          </a:p>
        </p:txBody>
      </p:sp>
      <p:grpSp>
        <p:nvGrpSpPr>
          <p:cNvPr id="414" name="Group 413"/>
          <p:cNvGrpSpPr/>
          <p:nvPr/>
        </p:nvGrpSpPr>
        <p:grpSpPr>
          <a:xfrm>
            <a:off x="429768" y="192024"/>
            <a:ext cx="3010402" cy="429768"/>
            <a:chOff x="430039" y="1182986"/>
            <a:chExt cx="3010402" cy="420262"/>
          </a:xfrm>
        </p:grpSpPr>
        <p:grpSp>
          <p:nvGrpSpPr>
            <p:cNvPr id="415" name="Group 414"/>
            <p:cNvGrpSpPr>
              <a:grpSpLocks noChangeAspect="1"/>
            </p:cNvGrpSpPr>
            <p:nvPr/>
          </p:nvGrpSpPr>
          <p:grpSpPr>
            <a:xfrm>
              <a:off x="430039" y="1182986"/>
              <a:ext cx="3010402" cy="420262"/>
              <a:chOff x="487322" y="2968380"/>
              <a:chExt cx="7651443" cy="1004907"/>
            </a:xfrm>
          </p:grpSpPr>
          <p:sp>
            <p:nvSpPr>
              <p:cNvPr id="419" name="Rectangle 418"/>
              <p:cNvSpPr/>
              <p:nvPr/>
            </p:nvSpPr>
            <p:spPr>
              <a:xfrm>
                <a:off x="487322" y="2968380"/>
                <a:ext cx="7651443" cy="1004907"/>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420" name="Oval 419"/>
              <p:cNvSpPr/>
              <p:nvPr/>
            </p:nvSpPr>
            <p:spPr>
              <a:xfrm>
                <a:off x="502545" y="3137616"/>
                <a:ext cx="666434"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chemeClr val="tx1"/>
                  </a:solidFill>
                </a:endParaRPr>
              </a:p>
            </p:txBody>
          </p:sp>
          <p:sp>
            <p:nvSpPr>
              <p:cNvPr id="421" name="International"/>
              <p:cNvSpPr>
                <a:spLocks noChangeAspect="1"/>
              </p:cNvSpPr>
              <p:nvPr>
                <p:custDataLst>
                  <p:tags r:id="rId8"/>
                </p:custDataLst>
              </p:nvPr>
            </p:nvSpPr>
            <p:spPr bwMode="auto">
              <a:xfrm>
                <a:off x="647508" y="3290833"/>
                <a:ext cx="360970" cy="360000"/>
              </a:xfrm>
              <a:custGeom>
                <a:avLst/>
                <a:gdLst>
                  <a:gd name="connsiteX0" fmla="*/ 844615 w 1184276"/>
                  <a:gd name="connsiteY0" fmla="*/ 915988 h 1181100"/>
                  <a:gd name="connsiteX1" fmla="*/ 715963 w 1184276"/>
                  <a:gd name="connsiteY1" fmla="*/ 1127126 h 1181100"/>
                  <a:gd name="connsiteX2" fmla="*/ 992188 w 1184276"/>
                  <a:gd name="connsiteY2" fmla="*/ 968773 h 1181100"/>
                  <a:gd name="connsiteX3" fmla="*/ 844615 w 1184276"/>
                  <a:gd name="connsiteY3" fmla="*/ 915988 h 1181100"/>
                  <a:gd name="connsiteX4" fmla="*/ 340508 w 1184276"/>
                  <a:gd name="connsiteY4" fmla="*/ 915988 h 1181100"/>
                  <a:gd name="connsiteX5" fmla="*/ 192088 w 1184276"/>
                  <a:gd name="connsiteY5" fmla="*/ 968773 h 1181100"/>
                  <a:gd name="connsiteX6" fmla="*/ 469901 w 1184276"/>
                  <a:gd name="connsiteY6" fmla="*/ 1127126 h 1181100"/>
                  <a:gd name="connsiteX7" fmla="*/ 340508 w 1184276"/>
                  <a:gd name="connsiteY7" fmla="*/ 915988 h 1181100"/>
                  <a:gd name="connsiteX8" fmla="*/ 612775 w 1184276"/>
                  <a:gd name="connsiteY8" fmla="*/ 885825 h 1181100"/>
                  <a:gd name="connsiteX9" fmla="*/ 612775 w 1184276"/>
                  <a:gd name="connsiteY9" fmla="*/ 1138238 h 1181100"/>
                  <a:gd name="connsiteX10" fmla="*/ 806450 w 1184276"/>
                  <a:gd name="connsiteY10" fmla="*/ 904662 h 1181100"/>
                  <a:gd name="connsiteX11" fmla="*/ 612775 w 1184276"/>
                  <a:gd name="connsiteY11" fmla="*/ 885825 h 1181100"/>
                  <a:gd name="connsiteX12" fmla="*/ 571500 w 1184276"/>
                  <a:gd name="connsiteY12" fmla="*/ 885825 h 1181100"/>
                  <a:gd name="connsiteX13" fmla="*/ 377825 w 1184276"/>
                  <a:gd name="connsiteY13" fmla="*/ 904662 h 1181100"/>
                  <a:gd name="connsiteX14" fmla="*/ 571500 w 1184276"/>
                  <a:gd name="connsiteY14" fmla="*/ 1138238 h 1181100"/>
                  <a:gd name="connsiteX15" fmla="*/ 893471 w 1184276"/>
                  <a:gd name="connsiteY15" fmla="*/ 609600 h 1181100"/>
                  <a:gd name="connsiteX16" fmla="*/ 855663 w 1184276"/>
                  <a:gd name="connsiteY16" fmla="*/ 877779 h 1181100"/>
                  <a:gd name="connsiteX17" fmla="*/ 1018236 w 1184276"/>
                  <a:gd name="connsiteY17" fmla="*/ 938213 h 1181100"/>
                  <a:gd name="connsiteX18" fmla="*/ 1143001 w 1184276"/>
                  <a:gd name="connsiteY18" fmla="*/ 609600 h 1181100"/>
                  <a:gd name="connsiteX19" fmla="*/ 893471 w 1184276"/>
                  <a:gd name="connsiteY19" fmla="*/ 609600 h 1181100"/>
                  <a:gd name="connsiteX20" fmla="*/ 612775 w 1184276"/>
                  <a:gd name="connsiteY20" fmla="*/ 609600 h 1181100"/>
                  <a:gd name="connsiteX21" fmla="*/ 612775 w 1184276"/>
                  <a:gd name="connsiteY21" fmla="*/ 844083 h 1181100"/>
                  <a:gd name="connsiteX22" fmla="*/ 817712 w 1184276"/>
                  <a:gd name="connsiteY22" fmla="*/ 866775 h 1181100"/>
                  <a:gd name="connsiteX23" fmla="*/ 855663 w 1184276"/>
                  <a:gd name="connsiteY23" fmla="*/ 609600 h 1181100"/>
                  <a:gd name="connsiteX24" fmla="*/ 612775 w 1184276"/>
                  <a:gd name="connsiteY24" fmla="*/ 609600 h 1181100"/>
                  <a:gd name="connsiteX25" fmla="*/ 328613 w 1184276"/>
                  <a:gd name="connsiteY25" fmla="*/ 609600 h 1181100"/>
                  <a:gd name="connsiteX26" fmla="*/ 366564 w 1184276"/>
                  <a:gd name="connsiteY26" fmla="*/ 866775 h 1181100"/>
                  <a:gd name="connsiteX27" fmla="*/ 571501 w 1184276"/>
                  <a:gd name="connsiteY27" fmla="*/ 844083 h 1181100"/>
                  <a:gd name="connsiteX28" fmla="*/ 571501 w 1184276"/>
                  <a:gd name="connsiteY28" fmla="*/ 609600 h 1181100"/>
                  <a:gd name="connsiteX29" fmla="*/ 328613 w 1184276"/>
                  <a:gd name="connsiteY29" fmla="*/ 609600 h 1181100"/>
                  <a:gd name="connsiteX30" fmla="*/ 41275 w 1184276"/>
                  <a:gd name="connsiteY30" fmla="*/ 609600 h 1181100"/>
                  <a:gd name="connsiteX31" fmla="*/ 166040 w 1184276"/>
                  <a:gd name="connsiteY31" fmla="*/ 938213 h 1181100"/>
                  <a:gd name="connsiteX32" fmla="*/ 328613 w 1184276"/>
                  <a:gd name="connsiteY32" fmla="*/ 874001 h 1181100"/>
                  <a:gd name="connsiteX33" fmla="*/ 290805 w 1184276"/>
                  <a:gd name="connsiteY33" fmla="*/ 609600 h 1181100"/>
                  <a:gd name="connsiteX34" fmla="*/ 41275 w 1184276"/>
                  <a:gd name="connsiteY34" fmla="*/ 609600 h 1181100"/>
                  <a:gd name="connsiteX35" fmla="*/ 817712 w 1184276"/>
                  <a:gd name="connsiteY35" fmla="*/ 314325 h 1181100"/>
                  <a:gd name="connsiteX36" fmla="*/ 612775 w 1184276"/>
                  <a:gd name="connsiteY36" fmla="*/ 337017 h 1181100"/>
                  <a:gd name="connsiteX37" fmla="*/ 612775 w 1184276"/>
                  <a:gd name="connsiteY37" fmla="*/ 571500 h 1181100"/>
                  <a:gd name="connsiteX38" fmla="*/ 855663 w 1184276"/>
                  <a:gd name="connsiteY38" fmla="*/ 571500 h 1181100"/>
                  <a:gd name="connsiteX39" fmla="*/ 817712 w 1184276"/>
                  <a:gd name="connsiteY39" fmla="*/ 314325 h 1181100"/>
                  <a:gd name="connsiteX40" fmla="*/ 366564 w 1184276"/>
                  <a:gd name="connsiteY40" fmla="*/ 314325 h 1181100"/>
                  <a:gd name="connsiteX41" fmla="*/ 328613 w 1184276"/>
                  <a:gd name="connsiteY41" fmla="*/ 571500 h 1181100"/>
                  <a:gd name="connsiteX42" fmla="*/ 571501 w 1184276"/>
                  <a:gd name="connsiteY42" fmla="*/ 571500 h 1181100"/>
                  <a:gd name="connsiteX43" fmla="*/ 571501 w 1184276"/>
                  <a:gd name="connsiteY43" fmla="*/ 337017 h 1181100"/>
                  <a:gd name="connsiteX44" fmla="*/ 366564 w 1184276"/>
                  <a:gd name="connsiteY44" fmla="*/ 314325 h 1181100"/>
                  <a:gd name="connsiteX45" fmla="*/ 1018236 w 1184276"/>
                  <a:gd name="connsiteY45" fmla="*/ 241300 h 1181100"/>
                  <a:gd name="connsiteX46" fmla="*/ 855663 w 1184276"/>
                  <a:gd name="connsiteY46" fmla="*/ 302026 h 1181100"/>
                  <a:gd name="connsiteX47" fmla="*/ 893471 w 1184276"/>
                  <a:gd name="connsiteY47" fmla="*/ 571500 h 1181100"/>
                  <a:gd name="connsiteX48" fmla="*/ 1143001 w 1184276"/>
                  <a:gd name="connsiteY48" fmla="*/ 571500 h 1181100"/>
                  <a:gd name="connsiteX49" fmla="*/ 1018236 w 1184276"/>
                  <a:gd name="connsiteY49" fmla="*/ 241300 h 1181100"/>
                  <a:gd name="connsiteX50" fmla="*/ 166040 w 1184276"/>
                  <a:gd name="connsiteY50" fmla="*/ 241300 h 1181100"/>
                  <a:gd name="connsiteX51" fmla="*/ 41275 w 1184276"/>
                  <a:gd name="connsiteY51" fmla="*/ 571500 h 1181100"/>
                  <a:gd name="connsiteX52" fmla="*/ 290805 w 1184276"/>
                  <a:gd name="connsiteY52" fmla="*/ 571500 h 1181100"/>
                  <a:gd name="connsiteX53" fmla="*/ 328613 w 1184276"/>
                  <a:gd name="connsiteY53" fmla="*/ 305822 h 1181100"/>
                  <a:gd name="connsiteX54" fmla="*/ 166040 w 1184276"/>
                  <a:gd name="connsiteY54" fmla="*/ 241300 h 1181100"/>
                  <a:gd name="connsiteX55" fmla="*/ 715963 w 1184276"/>
                  <a:gd name="connsiteY55" fmla="*/ 52388 h 1181100"/>
                  <a:gd name="connsiteX56" fmla="*/ 844615 w 1184276"/>
                  <a:gd name="connsiteY56" fmla="*/ 268288 h 1181100"/>
                  <a:gd name="connsiteX57" fmla="*/ 992188 w 1184276"/>
                  <a:gd name="connsiteY57" fmla="*/ 211472 h 1181100"/>
                  <a:gd name="connsiteX58" fmla="*/ 715963 w 1184276"/>
                  <a:gd name="connsiteY58" fmla="*/ 52388 h 1181100"/>
                  <a:gd name="connsiteX59" fmla="*/ 469901 w 1184276"/>
                  <a:gd name="connsiteY59" fmla="*/ 52388 h 1181100"/>
                  <a:gd name="connsiteX60" fmla="*/ 192088 w 1184276"/>
                  <a:gd name="connsiteY60" fmla="*/ 211932 h 1181100"/>
                  <a:gd name="connsiteX61" fmla="*/ 340508 w 1184276"/>
                  <a:gd name="connsiteY61" fmla="*/ 265113 h 1181100"/>
                  <a:gd name="connsiteX62" fmla="*/ 469901 w 1184276"/>
                  <a:gd name="connsiteY62" fmla="*/ 52388 h 1181100"/>
                  <a:gd name="connsiteX63" fmla="*/ 612775 w 1184276"/>
                  <a:gd name="connsiteY63" fmla="*/ 44450 h 1181100"/>
                  <a:gd name="connsiteX64" fmla="*/ 612775 w 1184276"/>
                  <a:gd name="connsiteY64" fmla="*/ 298450 h 1181100"/>
                  <a:gd name="connsiteX65" fmla="*/ 806450 w 1184276"/>
                  <a:gd name="connsiteY65" fmla="*/ 275704 h 1181100"/>
                  <a:gd name="connsiteX66" fmla="*/ 612775 w 1184276"/>
                  <a:gd name="connsiteY66" fmla="*/ 44450 h 1181100"/>
                  <a:gd name="connsiteX67" fmla="*/ 571500 w 1184276"/>
                  <a:gd name="connsiteY67" fmla="*/ 44450 h 1181100"/>
                  <a:gd name="connsiteX68" fmla="*/ 377825 w 1184276"/>
                  <a:gd name="connsiteY68" fmla="*/ 275704 h 1181100"/>
                  <a:gd name="connsiteX69" fmla="*/ 571500 w 1184276"/>
                  <a:gd name="connsiteY69" fmla="*/ 298450 h 1181100"/>
                  <a:gd name="connsiteX70" fmla="*/ 592138 w 1184276"/>
                  <a:gd name="connsiteY70" fmla="*/ 0 h 1181100"/>
                  <a:gd name="connsiteX71" fmla="*/ 1184276 w 1184276"/>
                  <a:gd name="connsiteY71" fmla="*/ 590550 h 1181100"/>
                  <a:gd name="connsiteX72" fmla="*/ 592138 w 1184276"/>
                  <a:gd name="connsiteY72" fmla="*/ 1181100 h 1181100"/>
                  <a:gd name="connsiteX73" fmla="*/ 0 w 1184276"/>
                  <a:gd name="connsiteY73" fmla="*/ 590550 h 1181100"/>
                  <a:gd name="connsiteX74" fmla="*/ 592138 w 1184276"/>
                  <a:gd name="connsiteY74" fmla="*/ 0 h 118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184276" h="1181100">
                    <a:moveTo>
                      <a:pt x="844615" y="915988"/>
                    </a:moveTo>
                    <a:cubicBezTo>
                      <a:pt x="814344" y="1006476"/>
                      <a:pt x="768937" y="1081882"/>
                      <a:pt x="715963" y="1127126"/>
                    </a:cubicBezTo>
                    <a:cubicBezTo>
                      <a:pt x="825696" y="1100734"/>
                      <a:pt x="920294" y="1047949"/>
                      <a:pt x="992188" y="968773"/>
                    </a:cubicBezTo>
                    <a:cubicBezTo>
                      <a:pt x="950565" y="946151"/>
                      <a:pt x="901375" y="927299"/>
                      <a:pt x="844615" y="915988"/>
                    </a:cubicBezTo>
                    <a:close/>
                    <a:moveTo>
                      <a:pt x="340508" y="915988"/>
                    </a:moveTo>
                    <a:cubicBezTo>
                      <a:pt x="283424" y="927299"/>
                      <a:pt x="233950" y="946151"/>
                      <a:pt x="192088" y="968773"/>
                    </a:cubicBezTo>
                    <a:cubicBezTo>
                      <a:pt x="264395" y="1047949"/>
                      <a:pt x="359537" y="1100734"/>
                      <a:pt x="469901" y="1127126"/>
                    </a:cubicBezTo>
                    <a:cubicBezTo>
                      <a:pt x="416622" y="1081882"/>
                      <a:pt x="370954" y="1006476"/>
                      <a:pt x="340508" y="915988"/>
                    </a:cubicBezTo>
                    <a:close/>
                    <a:moveTo>
                      <a:pt x="612775" y="885825"/>
                    </a:moveTo>
                    <a:cubicBezTo>
                      <a:pt x="612775" y="885825"/>
                      <a:pt x="612775" y="885825"/>
                      <a:pt x="612775" y="1138238"/>
                    </a:cubicBezTo>
                    <a:cubicBezTo>
                      <a:pt x="692523" y="1123169"/>
                      <a:pt x="760879" y="1032752"/>
                      <a:pt x="806450" y="904662"/>
                    </a:cubicBezTo>
                    <a:cubicBezTo>
                      <a:pt x="745689" y="893360"/>
                      <a:pt x="681131" y="885825"/>
                      <a:pt x="612775" y="885825"/>
                    </a:cubicBezTo>
                    <a:close/>
                    <a:moveTo>
                      <a:pt x="571500" y="885825"/>
                    </a:moveTo>
                    <a:cubicBezTo>
                      <a:pt x="503144" y="885825"/>
                      <a:pt x="438586" y="893360"/>
                      <a:pt x="377825" y="904662"/>
                    </a:cubicBezTo>
                    <a:cubicBezTo>
                      <a:pt x="423395" y="1032752"/>
                      <a:pt x="495549" y="1123169"/>
                      <a:pt x="571500" y="1138238"/>
                    </a:cubicBezTo>
                    <a:close/>
                    <a:moveTo>
                      <a:pt x="893471" y="609600"/>
                    </a:moveTo>
                    <a:cubicBezTo>
                      <a:pt x="893471" y="707806"/>
                      <a:pt x="878348" y="798458"/>
                      <a:pt x="855663" y="877779"/>
                    </a:cubicBezTo>
                    <a:cubicBezTo>
                      <a:pt x="916155" y="892887"/>
                      <a:pt x="972867" y="911773"/>
                      <a:pt x="1018236" y="938213"/>
                    </a:cubicBezTo>
                    <a:cubicBezTo>
                      <a:pt x="1093851" y="847561"/>
                      <a:pt x="1139220" y="734246"/>
                      <a:pt x="1143001" y="609600"/>
                    </a:cubicBezTo>
                    <a:cubicBezTo>
                      <a:pt x="1143001" y="609600"/>
                      <a:pt x="1143001" y="609600"/>
                      <a:pt x="893471" y="609600"/>
                    </a:cubicBezTo>
                    <a:close/>
                    <a:moveTo>
                      <a:pt x="612775" y="609600"/>
                    </a:moveTo>
                    <a:lnTo>
                      <a:pt x="612775" y="844083"/>
                    </a:lnTo>
                    <a:cubicBezTo>
                      <a:pt x="684882" y="847865"/>
                      <a:pt x="753194" y="855429"/>
                      <a:pt x="817712" y="866775"/>
                    </a:cubicBezTo>
                    <a:cubicBezTo>
                      <a:pt x="840482" y="791135"/>
                      <a:pt x="851868" y="704150"/>
                      <a:pt x="855663" y="609600"/>
                    </a:cubicBezTo>
                    <a:cubicBezTo>
                      <a:pt x="855663" y="609600"/>
                      <a:pt x="855663" y="609600"/>
                      <a:pt x="612775" y="609600"/>
                    </a:cubicBezTo>
                    <a:close/>
                    <a:moveTo>
                      <a:pt x="328613" y="609600"/>
                    </a:moveTo>
                    <a:cubicBezTo>
                      <a:pt x="332408" y="704150"/>
                      <a:pt x="343793" y="791135"/>
                      <a:pt x="366564" y="866775"/>
                    </a:cubicBezTo>
                    <a:cubicBezTo>
                      <a:pt x="431081" y="855429"/>
                      <a:pt x="499393" y="847865"/>
                      <a:pt x="571501" y="844083"/>
                    </a:cubicBezTo>
                    <a:lnTo>
                      <a:pt x="571501" y="609600"/>
                    </a:lnTo>
                    <a:cubicBezTo>
                      <a:pt x="571501" y="609600"/>
                      <a:pt x="571501" y="609600"/>
                      <a:pt x="328613" y="609600"/>
                    </a:cubicBezTo>
                    <a:close/>
                    <a:moveTo>
                      <a:pt x="41275" y="609600"/>
                    </a:moveTo>
                    <a:cubicBezTo>
                      <a:pt x="45056" y="734246"/>
                      <a:pt x="90425" y="847561"/>
                      <a:pt x="166040" y="938213"/>
                    </a:cubicBezTo>
                    <a:cubicBezTo>
                      <a:pt x="211409" y="911773"/>
                      <a:pt x="268121" y="892887"/>
                      <a:pt x="328613" y="874001"/>
                    </a:cubicBezTo>
                    <a:cubicBezTo>
                      <a:pt x="305928" y="798458"/>
                      <a:pt x="294586" y="707806"/>
                      <a:pt x="290805" y="609600"/>
                    </a:cubicBezTo>
                    <a:cubicBezTo>
                      <a:pt x="290805" y="609600"/>
                      <a:pt x="290805" y="609600"/>
                      <a:pt x="41275" y="609600"/>
                    </a:cubicBezTo>
                    <a:close/>
                    <a:moveTo>
                      <a:pt x="817712" y="314325"/>
                    </a:moveTo>
                    <a:cubicBezTo>
                      <a:pt x="753194" y="325671"/>
                      <a:pt x="684882" y="337017"/>
                      <a:pt x="612775" y="337017"/>
                    </a:cubicBezTo>
                    <a:lnTo>
                      <a:pt x="612775" y="571500"/>
                    </a:lnTo>
                    <a:cubicBezTo>
                      <a:pt x="612775" y="571500"/>
                      <a:pt x="612775" y="571500"/>
                      <a:pt x="855663" y="571500"/>
                    </a:cubicBezTo>
                    <a:cubicBezTo>
                      <a:pt x="851868" y="476950"/>
                      <a:pt x="840482" y="389965"/>
                      <a:pt x="817712" y="314325"/>
                    </a:cubicBezTo>
                    <a:close/>
                    <a:moveTo>
                      <a:pt x="366564" y="314325"/>
                    </a:moveTo>
                    <a:cubicBezTo>
                      <a:pt x="343793" y="389965"/>
                      <a:pt x="332408" y="476950"/>
                      <a:pt x="328613" y="571500"/>
                    </a:cubicBezTo>
                    <a:cubicBezTo>
                      <a:pt x="328613" y="571500"/>
                      <a:pt x="328613" y="571500"/>
                      <a:pt x="571501" y="571500"/>
                    </a:cubicBezTo>
                    <a:lnTo>
                      <a:pt x="571501" y="337017"/>
                    </a:lnTo>
                    <a:cubicBezTo>
                      <a:pt x="499393" y="337017"/>
                      <a:pt x="431081" y="329453"/>
                      <a:pt x="366564" y="314325"/>
                    </a:cubicBezTo>
                    <a:close/>
                    <a:moveTo>
                      <a:pt x="1018236" y="241300"/>
                    </a:moveTo>
                    <a:cubicBezTo>
                      <a:pt x="972867" y="267868"/>
                      <a:pt x="916155" y="286845"/>
                      <a:pt x="855663" y="302026"/>
                    </a:cubicBezTo>
                    <a:cubicBezTo>
                      <a:pt x="878348" y="381730"/>
                      <a:pt x="893471" y="472819"/>
                      <a:pt x="893471" y="571500"/>
                    </a:cubicBezTo>
                    <a:cubicBezTo>
                      <a:pt x="893471" y="571500"/>
                      <a:pt x="893471" y="571500"/>
                      <a:pt x="1143001" y="571500"/>
                    </a:cubicBezTo>
                    <a:cubicBezTo>
                      <a:pt x="1139220" y="446252"/>
                      <a:pt x="1093851" y="332390"/>
                      <a:pt x="1018236" y="241300"/>
                    </a:cubicBezTo>
                    <a:close/>
                    <a:moveTo>
                      <a:pt x="166040" y="241300"/>
                    </a:moveTo>
                    <a:cubicBezTo>
                      <a:pt x="90425" y="332390"/>
                      <a:pt x="45056" y="446252"/>
                      <a:pt x="41275" y="571500"/>
                    </a:cubicBezTo>
                    <a:cubicBezTo>
                      <a:pt x="41275" y="571500"/>
                      <a:pt x="41275" y="571500"/>
                      <a:pt x="290805" y="571500"/>
                    </a:cubicBezTo>
                    <a:cubicBezTo>
                      <a:pt x="294586" y="472819"/>
                      <a:pt x="305928" y="381730"/>
                      <a:pt x="328613" y="305822"/>
                    </a:cubicBezTo>
                    <a:cubicBezTo>
                      <a:pt x="268121" y="286845"/>
                      <a:pt x="211409" y="267868"/>
                      <a:pt x="166040" y="241300"/>
                    </a:cubicBezTo>
                    <a:close/>
                    <a:moveTo>
                      <a:pt x="715963" y="52388"/>
                    </a:moveTo>
                    <a:cubicBezTo>
                      <a:pt x="768937" y="97841"/>
                      <a:pt x="814344" y="173595"/>
                      <a:pt x="844615" y="268288"/>
                    </a:cubicBezTo>
                    <a:cubicBezTo>
                      <a:pt x="901375" y="253137"/>
                      <a:pt x="950565" y="234198"/>
                      <a:pt x="992188" y="211472"/>
                    </a:cubicBezTo>
                    <a:cubicBezTo>
                      <a:pt x="920294" y="135718"/>
                      <a:pt x="825696" y="78902"/>
                      <a:pt x="715963" y="52388"/>
                    </a:cubicBezTo>
                    <a:close/>
                    <a:moveTo>
                      <a:pt x="469901" y="52388"/>
                    </a:moveTo>
                    <a:cubicBezTo>
                      <a:pt x="359537" y="78978"/>
                      <a:pt x="264395" y="132160"/>
                      <a:pt x="192088" y="211932"/>
                    </a:cubicBezTo>
                    <a:cubicBezTo>
                      <a:pt x="233950" y="234724"/>
                      <a:pt x="283424" y="253717"/>
                      <a:pt x="340508" y="265113"/>
                    </a:cubicBezTo>
                    <a:cubicBezTo>
                      <a:pt x="370954" y="173945"/>
                      <a:pt x="416622" y="97972"/>
                      <a:pt x="469901" y="52388"/>
                    </a:cubicBezTo>
                    <a:close/>
                    <a:moveTo>
                      <a:pt x="612775" y="44450"/>
                    </a:moveTo>
                    <a:lnTo>
                      <a:pt x="612775" y="298450"/>
                    </a:lnTo>
                    <a:cubicBezTo>
                      <a:pt x="681131" y="294659"/>
                      <a:pt x="745689" y="287077"/>
                      <a:pt x="806450" y="275704"/>
                    </a:cubicBezTo>
                    <a:cubicBezTo>
                      <a:pt x="760879" y="146808"/>
                      <a:pt x="692523" y="55823"/>
                      <a:pt x="612775" y="44450"/>
                    </a:cubicBezTo>
                    <a:close/>
                    <a:moveTo>
                      <a:pt x="571500" y="44450"/>
                    </a:moveTo>
                    <a:cubicBezTo>
                      <a:pt x="495549" y="55823"/>
                      <a:pt x="423395" y="146808"/>
                      <a:pt x="377825" y="275704"/>
                    </a:cubicBezTo>
                    <a:cubicBezTo>
                      <a:pt x="438586" y="287077"/>
                      <a:pt x="503144" y="294659"/>
                      <a:pt x="571500" y="298450"/>
                    </a:cubicBezTo>
                    <a:close/>
                    <a:moveTo>
                      <a:pt x="592138" y="0"/>
                    </a:moveTo>
                    <a:cubicBezTo>
                      <a:pt x="919167" y="0"/>
                      <a:pt x="1184276" y="264398"/>
                      <a:pt x="1184276" y="590550"/>
                    </a:cubicBezTo>
                    <a:cubicBezTo>
                      <a:pt x="1184276" y="916702"/>
                      <a:pt x="919167" y="1181100"/>
                      <a:pt x="592138" y="1181100"/>
                    </a:cubicBezTo>
                    <a:cubicBezTo>
                      <a:pt x="265109" y="1181100"/>
                      <a:pt x="0" y="916702"/>
                      <a:pt x="0" y="590550"/>
                    </a:cubicBezTo>
                    <a:cubicBezTo>
                      <a:pt x="0" y="264398"/>
                      <a:pt x="265109" y="0"/>
                      <a:pt x="592138" y="0"/>
                    </a:cubicBezTo>
                    <a:close/>
                  </a:path>
                </a:pathLst>
              </a:custGeom>
              <a:solidFill>
                <a:schemeClr val="bg1"/>
              </a:solidFill>
              <a:ln>
                <a:noFill/>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t" anchorCtr="0" compatLnSpc="1">
                <a:prstTxWarp prst="textNoShape">
                  <a:avLst/>
                </a:prstTxWarp>
                <a:noAutofit/>
              </a:bodyPr>
              <a:lstStyle/>
              <a:p>
                <a:endParaRPr lang="en-GB" sz="1600" dirty="0">
                  <a:solidFill>
                    <a:srgbClr val="000000"/>
                  </a:solidFill>
                </a:endParaRPr>
              </a:p>
            </p:txBody>
          </p:sp>
          <p:sp>
            <p:nvSpPr>
              <p:cNvPr id="422" name="Rectangle 421"/>
              <p:cNvSpPr/>
              <p:nvPr/>
            </p:nvSpPr>
            <p:spPr>
              <a:xfrm>
                <a:off x="1356306" y="3231293"/>
                <a:ext cx="38326" cy="479080"/>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rgbClr val="000000"/>
                  </a:solidFill>
                </a:endParaRPr>
              </a:p>
            </p:txBody>
          </p:sp>
        </p:grpSp>
        <p:grpSp>
          <p:nvGrpSpPr>
            <p:cNvPr id="416" name="Group 415"/>
            <p:cNvGrpSpPr/>
            <p:nvPr/>
          </p:nvGrpSpPr>
          <p:grpSpPr>
            <a:xfrm>
              <a:off x="834955" y="1279941"/>
              <a:ext cx="2418483" cy="229294"/>
              <a:chOff x="834955" y="1279941"/>
              <a:chExt cx="2418483" cy="229294"/>
            </a:xfrm>
          </p:grpSpPr>
          <p:sp>
            <p:nvSpPr>
              <p:cNvPr id="417" name="TextBox 416"/>
              <p:cNvSpPr txBox="1"/>
              <p:nvPr/>
            </p:nvSpPr>
            <p:spPr>
              <a:xfrm>
                <a:off x="834955" y="1321289"/>
                <a:ext cx="1135933" cy="153888"/>
              </a:xfrm>
              <a:prstGeom prst="rect">
                <a:avLst/>
              </a:prstGeom>
              <a:noFill/>
            </p:spPr>
            <p:txBody>
              <a:bodyPr wrap="square" lIns="0" tIns="0" rIns="0" bIns="0" rtlCol="0" anchor="ctr" anchorCtr="0">
                <a:spAutoFit/>
              </a:bodyPr>
              <a:lstStyle/>
              <a:p>
                <a:r>
                  <a:rPr lang="en-US" sz="1000" b="1" dirty="0" smtClean="0">
                    <a:solidFill>
                      <a:srgbClr val="003755"/>
                    </a:solidFill>
                  </a:rPr>
                  <a:t>Country domiciles</a:t>
                </a:r>
                <a:endParaRPr lang="en-US" sz="1000" b="1" dirty="0">
                  <a:solidFill>
                    <a:srgbClr val="003755"/>
                  </a:solidFill>
                </a:endParaRPr>
              </a:p>
            </p:txBody>
          </p:sp>
          <p:sp>
            <p:nvSpPr>
              <p:cNvPr id="418" name="TextBox 417"/>
              <p:cNvSpPr txBox="1"/>
              <p:nvPr/>
            </p:nvSpPr>
            <p:spPr>
              <a:xfrm>
                <a:off x="2463448" y="1279941"/>
                <a:ext cx="789990" cy="229294"/>
              </a:xfrm>
              <a:prstGeom prst="rect">
                <a:avLst/>
              </a:prstGeom>
              <a:noFill/>
            </p:spPr>
            <p:txBody>
              <a:bodyPr wrap="square" rtlCol="0" anchor="ctr" anchorCtr="0">
                <a:spAutoFit/>
              </a:bodyPr>
              <a:lstStyle/>
              <a:p>
                <a:pPr algn="ctr">
                  <a:lnSpc>
                    <a:spcPct val="89000"/>
                  </a:lnSpc>
                </a:pPr>
                <a:r>
                  <a:rPr lang="en-US" sz="1000" b="1" dirty="0" smtClean="0">
                    <a:solidFill>
                      <a:schemeClr val="tx2"/>
                    </a:solidFill>
                    <a:ea typeface="Open Sans" panose="020B0606030504020204" pitchFamily="34" charset="0"/>
                    <a:cs typeface="Open Sans" panose="020B0606030504020204" pitchFamily="34" charset="0"/>
                  </a:rPr>
                  <a:t>32</a:t>
                </a:r>
                <a:endParaRPr lang="en-US" sz="1000" b="1" dirty="0">
                  <a:solidFill>
                    <a:srgbClr val="003755"/>
                  </a:solidFill>
                  <a:ea typeface="Open Sans" panose="020B0606030504020204" pitchFamily="34" charset="0"/>
                  <a:cs typeface="Open Sans" panose="020B0606030504020204" pitchFamily="34" charset="0"/>
                </a:endParaRPr>
              </a:p>
            </p:txBody>
          </p:sp>
        </p:grpSp>
      </p:grpSp>
      <p:sp>
        <p:nvSpPr>
          <p:cNvPr id="423" name="Freeform 5969"/>
          <p:cNvSpPr>
            <a:spLocks/>
          </p:cNvSpPr>
          <p:nvPr>
            <p:custDataLst>
              <p:tags r:id="rId3"/>
            </p:custDataLst>
          </p:nvPr>
        </p:nvSpPr>
        <p:spPr bwMode="gray">
          <a:xfrm>
            <a:off x="5550829" y="2230643"/>
            <a:ext cx="38074" cy="38117"/>
          </a:xfrm>
          <a:custGeom>
            <a:avLst/>
            <a:gdLst/>
            <a:ahLst/>
            <a:cxnLst>
              <a:cxn ang="0">
                <a:pos x="0" y="17"/>
              </a:cxn>
              <a:cxn ang="0">
                <a:pos x="7" y="15"/>
              </a:cxn>
              <a:cxn ang="0">
                <a:pos x="17" y="0"/>
              </a:cxn>
              <a:cxn ang="0">
                <a:pos x="6" y="6"/>
              </a:cxn>
              <a:cxn ang="0">
                <a:pos x="0" y="17"/>
              </a:cxn>
              <a:cxn ang="0">
                <a:pos x="0" y="17"/>
              </a:cxn>
            </a:cxnLst>
            <a:rect l="0" t="0" r="r" b="b"/>
            <a:pathLst>
              <a:path w="17" h="17">
                <a:moveTo>
                  <a:pt x="0" y="17"/>
                </a:moveTo>
                <a:lnTo>
                  <a:pt x="7" y="15"/>
                </a:lnTo>
                <a:lnTo>
                  <a:pt x="17" y="0"/>
                </a:lnTo>
                <a:lnTo>
                  <a:pt x="6" y="6"/>
                </a:lnTo>
                <a:lnTo>
                  <a:pt x="0" y="17"/>
                </a:lnTo>
                <a:lnTo>
                  <a:pt x="0" y="17"/>
                </a:lnTo>
                <a:close/>
              </a:path>
            </a:pathLst>
          </a:custGeom>
          <a:solidFill>
            <a:srgbClr val="C3E0EB"/>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424" name="Freeform 5969"/>
          <p:cNvSpPr>
            <a:spLocks/>
          </p:cNvSpPr>
          <p:nvPr>
            <p:custDataLst>
              <p:tags r:id="rId4"/>
            </p:custDataLst>
          </p:nvPr>
        </p:nvSpPr>
        <p:spPr bwMode="gray">
          <a:xfrm>
            <a:off x="5369610" y="1952683"/>
            <a:ext cx="38074" cy="38117"/>
          </a:xfrm>
          <a:custGeom>
            <a:avLst/>
            <a:gdLst/>
            <a:ahLst/>
            <a:cxnLst>
              <a:cxn ang="0">
                <a:pos x="0" y="17"/>
              </a:cxn>
              <a:cxn ang="0">
                <a:pos x="7" y="15"/>
              </a:cxn>
              <a:cxn ang="0">
                <a:pos x="17" y="0"/>
              </a:cxn>
              <a:cxn ang="0">
                <a:pos x="6" y="6"/>
              </a:cxn>
              <a:cxn ang="0">
                <a:pos x="0" y="17"/>
              </a:cxn>
              <a:cxn ang="0">
                <a:pos x="0" y="17"/>
              </a:cxn>
            </a:cxnLst>
            <a:rect l="0" t="0" r="r" b="b"/>
            <a:pathLst>
              <a:path w="17" h="17">
                <a:moveTo>
                  <a:pt x="0" y="17"/>
                </a:moveTo>
                <a:lnTo>
                  <a:pt x="7" y="15"/>
                </a:lnTo>
                <a:lnTo>
                  <a:pt x="17" y="0"/>
                </a:lnTo>
                <a:lnTo>
                  <a:pt x="6" y="6"/>
                </a:lnTo>
                <a:lnTo>
                  <a:pt x="0" y="17"/>
                </a:lnTo>
                <a:lnTo>
                  <a:pt x="0" y="17"/>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425" name="Line 6132"/>
          <p:cNvSpPr>
            <a:spLocks noChangeShapeType="1"/>
          </p:cNvSpPr>
          <p:nvPr>
            <p:custDataLst>
              <p:tags r:id="rId5"/>
            </p:custDataLst>
          </p:nvPr>
        </p:nvSpPr>
        <p:spPr bwMode="gray">
          <a:xfrm flipH="1">
            <a:off x="9763489" y="3697006"/>
            <a:ext cx="24635" cy="0"/>
          </a:xfrm>
          <a:prstGeom prst="line">
            <a:avLst/>
          </a:prstGeom>
          <a:solidFill>
            <a:srgbClr val="C3E0EB"/>
          </a:solidFill>
          <a:ln w="9525">
            <a:solidFill>
              <a:srgbClr val="FFFFFF"/>
            </a:solidFill>
            <a:round/>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426" name="Freeform 6016"/>
          <p:cNvSpPr>
            <a:spLocks/>
          </p:cNvSpPr>
          <p:nvPr>
            <p:custDataLst>
              <p:tags r:id="rId6"/>
            </p:custDataLst>
          </p:nvPr>
        </p:nvSpPr>
        <p:spPr bwMode="gray">
          <a:xfrm>
            <a:off x="9616034" y="3521065"/>
            <a:ext cx="20157" cy="29147"/>
          </a:xfrm>
          <a:custGeom>
            <a:avLst/>
            <a:gdLst/>
            <a:ahLst/>
            <a:cxnLst>
              <a:cxn ang="0">
                <a:pos x="0" y="11"/>
              </a:cxn>
              <a:cxn ang="0">
                <a:pos x="6" y="13"/>
              </a:cxn>
              <a:cxn ang="0">
                <a:pos x="9" y="4"/>
              </a:cxn>
              <a:cxn ang="0">
                <a:pos x="2" y="0"/>
              </a:cxn>
              <a:cxn ang="0">
                <a:pos x="0" y="11"/>
              </a:cxn>
              <a:cxn ang="0">
                <a:pos x="0" y="11"/>
              </a:cxn>
            </a:cxnLst>
            <a:rect l="0" t="0" r="r" b="b"/>
            <a:pathLst>
              <a:path w="9" h="13">
                <a:moveTo>
                  <a:pt x="0" y="11"/>
                </a:moveTo>
                <a:lnTo>
                  <a:pt x="6" y="13"/>
                </a:lnTo>
                <a:lnTo>
                  <a:pt x="9" y="4"/>
                </a:lnTo>
                <a:lnTo>
                  <a:pt x="2" y="0"/>
                </a:lnTo>
                <a:lnTo>
                  <a:pt x="0" y="11"/>
                </a:lnTo>
                <a:lnTo>
                  <a:pt x="0" y="11"/>
                </a:lnTo>
                <a:close/>
              </a:path>
            </a:pathLst>
          </a:custGeom>
          <a:solidFill>
            <a:srgbClr val="A8D2E0"/>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427" name="Freeform 5826"/>
          <p:cNvSpPr>
            <a:spLocks/>
          </p:cNvSpPr>
          <p:nvPr>
            <p:custDataLst>
              <p:tags r:id="rId7"/>
            </p:custDataLst>
          </p:nvPr>
        </p:nvSpPr>
        <p:spPr bwMode="gray">
          <a:xfrm>
            <a:off x="2886727" y="3306150"/>
            <a:ext cx="20157" cy="62781"/>
          </a:xfrm>
          <a:custGeom>
            <a:avLst/>
            <a:gdLst/>
            <a:ahLst/>
            <a:cxnLst>
              <a:cxn ang="0">
                <a:pos x="3" y="0"/>
              </a:cxn>
              <a:cxn ang="0">
                <a:pos x="0" y="12"/>
              </a:cxn>
              <a:cxn ang="0">
                <a:pos x="9" y="28"/>
              </a:cxn>
              <a:cxn ang="0">
                <a:pos x="9" y="10"/>
              </a:cxn>
              <a:cxn ang="0">
                <a:pos x="3" y="0"/>
              </a:cxn>
              <a:cxn ang="0">
                <a:pos x="3" y="0"/>
              </a:cxn>
            </a:cxnLst>
            <a:rect l="0" t="0" r="r" b="b"/>
            <a:pathLst>
              <a:path w="9" h="28">
                <a:moveTo>
                  <a:pt x="3" y="0"/>
                </a:moveTo>
                <a:lnTo>
                  <a:pt x="0" y="12"/>
                </a:lnTo>
                <a:lnTo>
                  <a:pt x="9" y="28"/>
                </a:lnTo>
                <a:lnTo>
                  <a:pt x="9" y="10"/>
                </a:lnTo>
                <a:lnTo>
                  <a:pt x="3" y="0"/>
                </a:lnTo>
                <a:lnTo>
                  <a:pt x="3" y="0"/>
                </a:lnTo>
                <a:close/>
              </a:path>
            </a:pathLst>
          </a:custGeom>
          <a:solidFill>
            <a:schemeClr val="tx1">
              <a:lumMod val="50000"/>
              <a:lumOff val="50000"/>
            </a:schemeClr>
          </a:solidFill>
          <a:ln w="9525" cap="flat" cmpd="sng">
            <a:solidFill>
              <a:srgbClr val="FFFFFF"/>
            </a:solidFill>
            <a:prstDash val="solid"/>
            <a:round/>
            <a:headEnd type="none" w="med" len="med"/>
            <a:tailEnd type="none" w="med" len="me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Tree>
    <p:extLst>
      <p:ext uri="{BB962C8B-B14F-4D97-AF65-F5344CB8AC3E}">
        <p14:creationId xmlns:p14="http://schemas.microsoft.com/office/powerpoint/2010/main" val="34070980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98"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dirty="0" smtClean="0"/>
              <a:t>Split between ESG engagement themes </a:t>
            </a:r>
            <a:endParaRPr lang="en-GB" dirty="0"/>
          </a:p>
        </p:txBody>
      </p:sp>
      <p:graphicFrame>
        <p:nvGraphicFramePr>
          <p:cNvPr id="16" name="Chart 15"/>
          <p:cNvGraphicFramePr/>
          <p:nvPr>
            <p:extLst>
              <p:ext uri="{D42A27DB-BD31-4B8C-83A1-F6EECF244321}">
                <p14:modId xmlns:p14="http://schemas.microsoft.com/office/powerpoint/2010/main" val="1293295384"/>
              </p:ext>
            </p:extLst>
          </p:nvPr>
        </p:nvGraphicFramePr>
        <p:xfrm>
          <a:off x="859887" y="1828748"/>
          <a:ext cx="10476825" cy="4170524"/>
        </p:xfrm>
        <a:graphic>
          <a:graphicData uri="http://schemas.openxmlformats.org/drawingml/2006/chart">
            <c:chart xmlns:c="http://schemas.openxmlformats.org/drawingml/2006/chart" xmlns:r="http://schemas.openxmlformats.org/officeDocument/2006/relationships" r:id="rId7"/>
          </a:graphicData>
        </a:graphic>
      </p:graphicFrame>
      <p:grpSp>
        <p:nvGrpSpPr>
          <p:cNvPr id="6" name="Group 5"/>
          <p:cNvGrpSpPr/>
          <p:nvPr/>
        </p:nvGrpSpPr>
        <p:grpSpPr>
          <a:xfrm>
            <a:off x="431900" y="192024"/>
            <a:ext cx="3003820" cy="429768"/>
            <a:chOff x="430039" y="1689276"/>
            <a:chExt cx="3003820" cy="420908"/>
          </a:xfrm>
        </p:grpSpPr>
        <p:grpSp>
          <p:nvGrpSpPr>
            <p:cNvPr id="8" name="Group 7"/>
            <p:cNvGrpSpPr>
              <a:grpSpLocks noChangeAspect="1"/>
            </p:cNvGrpSpPr>
            <p:nvPr/>
          </p:nvGrpSpPr>
          <p:grpSpPr>
            <a:xfrm>
              <a:off x="430039" y="1689276"/>
              <a:ext cx="3003820" cy="420908"/>
              <a:chOff x="456953" y="3890814"/>
              <a:chExt cx="7707433" cy="1080000"/>
            </a:xfrm>
          </p:grpSpPr>
          <p:sp>
            <p:nvSpPr>
              <p:cNvPr id="10" name="Rectangle 9"/>
              <p:cNvSpPr/>
              <p:nvPr/>
            </p:nvSpPr>
            <p:spPr>
              <a:xfrm>
                <a:off x="456953" y="3890814"/>
                <a:ext cx="7707433" cy="1080000"/>
              </a:xfrm>
              <a:prstGeom prst="rect">
                <a:avLst/>
              </a:prstGeom>
              <a:solidFill>
                <a:srgbClr val="F7FAFC"/>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dirty="0" smtClean="0">
                  <a:solidFill>
                    <a:schemeClr val="tx1"/>
                  </a:solidFill>
                </a:endParaRPr>
              </a:p>
            </p:txBody>
          </p:sp>
          <p:sp>
            <p:nvSpPr>
              <p:cNvPr id="11" name="Rectangle 10"/>
              <p:cNvSpPr/>
              <p:nvPr/>
            </p:nvSpPr>
            <p:spPr>
              <a:xfrm>
                <a:off x="977532" y="3890814"/>
                <a:ext cx="6373676" cy="10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1400" dirty="0">
                  <a:solidFill>
                    <a:srgbClr val="000000"/>
                  </a:solidFill>
                </a:endParaRPr>
              </a:p>
            </p:txBody>
          </p:sp>
          <p:sp>
            <p:nvSpPr>
              <p:cNvPr id="12" name="Oval 11"/>
              <p:cNvSpPr/>
              <p:nvPr/>
            </p:nvSpPr>
            <p:spPr>
              <a:xfrm>
                <a:off x="475491" y="4097596"/>
                <a:ext cx="666435" cy="666434"/>
              </a:xfrm>
              <a:prstGeom prst="ellipse">
                <a:avLst/>
              </a:prstGeom>
              <a:solidFill>
                <a:srgbClr val="003755"/>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chemeClr val="tx1"/>
                  </a:solidFill>
                </a:endParaRPr>
              </a:p>
            </p:txBody>
          </p:sp>
          <p:sp>
            <p:nvSpPr>
              <p:cNvPr id="13" name="TextBox 12"/>
              <p:cNvSpPr txBox="1"/>
              <p:nvPr/>
            </p:nvSpPr>
            <p:spPr>
              <a:xfrm>
                <a:off x="1487368" y="4233382"/>
                <a:ext cx="3557258" cy="394858"/>
              </a:xfrm>
              <a:prstGeom prst="rect">
                <a:avLst/>
              </a:prstGeom>
              <a:noFill/>
            </p:spPr>
            <p:txBody>
              <a:bodyPr wrap="square" lIns="0" tIns="0" rIns="0" bIns="0" rtlCol="0">
                <a:spAutoFit/>
              </a:bodyPr>
              <a:lstStyle/>
              <a:p>
                <a:r>
                  <a:rPr lang="en-US" sz="1000" b="1" dirty="0">
                    <a:solidFill>
                      <a:srgbClr val="003755"/>
                    </a:solidFill>
                  </a:rPr>
                  <a:t>ESG engagement topics</a:t>
                </a:r>
              </a:p>
            </p:txBody>
          </p:sp>
          <p:sp>
            <p:nvSpPr>
              <p:cNvPr id="15" name="Magnifiying glass"/>
              <p:cNvSpPr>
                <a:spLocks noChangeAspect="1"/>
              </p:cNvSpPr>
              <p:nvPr>
                <p:custDataLst>
                  <p:tags r:id="rId3"/>
                </p:custDataLst>
              </p:nvPr>
            </p:nvSpPr>
            <p:spPr bwMode="auto">
              <a:xfrm>
                <a:off x="661290" y="4250814"/>
                <a:ext cx="360630" cy="360000"/>
              </a:xfrm>
              <a:custGeom>
                <a:avLst/>
                <a:gdLst>
                  <a:gd name="connsiteX0" fmla="*/ 464226 w 1478978"/>
                  <a:gd name="connsiteY0" fmla="*/ 57150 h 1476375"/>
                  <a:gd name="connsiteX1" fmla="*/ 176915 w 1478978"/>
                  <a:gd name="connsiteY1" fmla="*/ 177916 h 1476375"/>
                  <a:gd name="connsiteX2" fmla="*/ 176915 w 1478978"/>
                  <a:gd name="connsiteY2" fmla="*/ 751552 h 1476375"/>
                  <a:gd name="connsiteX3" fmla="*/ 237402 w 1478978"/>
                  <a:gd name="connsiteY3" fmla="*/ 800613 h 1476375"/>
                  <a:gd name="connsiteX4" fmla="*/ 305449 w 1478978"/>
                  <a:gd name="connsiteY4" fmla="*/ 838352 h 1476375"/>
                  <a:gd name="connsiteX5" fmla="*/ 626783 w 1478978"/>
                  <a:gd name="connsiteY5" fmla="*/ 842126 h 1476375"/>
                  <a:gd name="connsiteX6" fmla="*/ 694830 w 1478978"/>
                  <a:gd name="connsiteY6" fmla="*/ 800613 h 1476375"/>
                  <a:gd name="connsiteX7" fmla="*/ 777999 w 1478978"/>
                  <a:gd name="connsiteY7" fmla="*/ 725134 h 1476375"/>
                  <a:gd name="connsiteX8" fmla="*/ 751536 w 1478978"/>
                  <a:gd name="connsiteY8" fmla="*/ 177916 h 1476375"/>
                  <a:gd name="connsiteX9" fmla="*/ 464226 w 1478978"/>
                  <a:gd name="connsiteY9" fmla="*/ 57150 h 1476375"/>
                  <a:gd name="connsiteX10" fmla="*/ 464957 w 1478978"/>
                  <a:gd name="connsiteY10" fmla="*/ 0 h 1476375"/>
                  <a:gd name="connsiteX11" fmla="*/ 793828 w 1478978"/>
                  <a:gd name="connsiteY11" fmla="*/ 135932 h 1476375"/>
                  <a:gd name="connsiteX12" fmla="*/ 835410 w 1478978"/>
                  <a:gd name="connsiteY12" fmla="*/ 743851 h 1476375"/>
                  <a:gd name="connsiteX13" fmla="*/ 884552 w 1478978"/>
                  <a:gd name="connsiteY13" fmla="*/ 792938 h 1476375"/>
                  <a:gd name="connsiteX14" fmla="*/ 911013 w 1478978"/>
                  <a:gd name="connsiteY14" fmla="*/ 766507 h 1476375"/>
                  <a:gd name="connsiteX15" fmla="*/ 929913 w 1478978"/>
                  <a:gd name="connsiteY15" fmla="*/ 758955 h 1476375"/>
                  <a:gd name="connsiteX16" fmla="*/ 948814 w 1478978"/>
                  <a:gd name="connsiteY16" fmla="*/ 766507 h 1476375"/>
                  <a:gd name="connsiteX17" fmla="*/ 1470473 w 1478978"/>
                  <a:gd name="connsiteY17" fmla="*/ 1291356 h 1476375"/>
                  <a:gd name="connsiteX18" fmla="*/ 1470473 w 1478978"/>
                  <a:gd name="connsiteY18" fmla="*/ 1325339 h 1476375"/>
                  <a:gd name="connsiteX19" fmla="*/ 1326828 w 1478978"/>
                  <a:gd name="connsiteY19" fmla="*/ 1468823 h 1476375"/>
                  <a:gd name="connsiteX20" fmla="*/ 1311707 w 1478978"/>
                  <a:gd name="connsiteY20" fmla="*/ 1476375 h 1476375"/>
                  <a:gd name="connsiteX21" fmla="*/ 1292806 w 1478978"/>
                  <a:gd name="connsiteY21" fmla="*/ 1468823 h 1476375"/>
                  <a:gd name="connsiteX22" fmla="*/ 767367 w 1478978"/>
                  <a:gd name="connsiteY22" fmla="*/ 947750 h 1476375"/>
                  <a:gd name="connsiteX23" fmla="*/ 759807 w 1478978"/>
                  <a:gd name="connsiteY23" fmla="*/ 928870 h 1476375"/>
                  <a:gd name="connsiteX24" fmla="*/ 767367 w 1478978"/>
                  <a:gd name="connsiteY24" fmla="*/ 909991 h 1476375"/>
                  <a:gd name="connsiteX25" fmla="*/ 793828 w 1478978"/>
                  <a:gd name="connsiteY25" fmla="*/ 883560 h 1476375"/>
                  <a:gd name="connsiteX26" fmla="*/ 744687 w 1478978"/>
                  <a:gd name="connsiteY26" fmla="*/ 834473 h 1476375"/>
                  <a:gd name="connsiteX27" fmla="*/ 729566 w 1478978"/>
                  <a:gd name="connsiteY27" fmla="*/ 845801 h 1476375"/>
                  <a:gd name="connsiteX28" fmla="*/ 650183 w 1478978"/>
                  <a:gd name="connsiteY28" fmla="*/ 891111 h 1476375"/>
                  <a:gd name="connsiteX29" fmla="*/ 283510 w 1478978"/>
                  <a:gd name="connsiteY29" fmla="*/ 891111 h 1476375"/>
                  <a:gd name="connsiteX30" fmla="*/ 204127 w 1478978"/>
                  <a:gd name="connsiteY30" fmla="*/ 849577 h 1476375"/>
                  <a:gd name="connsiteX31" fmla="*/ 136085 w 1478978"/>
                  <a:gd name="connsiteY31" fmla="*/ 792938 h 1476375"/>
                  <a:gd name="connsiteX32" fmla="*/ 136085 w 1478978"/>
                  <a:gd name="connsiteY32" fmla="*/ 135932 h 1476375"/>
                  <a:gd name="connsiteX33" fmla="*/ 464957 w 1478978"/>
                  <a:gd name="connsiteY33" fmla="*/ 0 h 1476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78978" h="1476375">
                    <a:moveTo>
                      <a:pt x="464226" y="57150"/>
                    </a:moveTo>
                    <a:cubicBezTo>
                      <a:pt x="354594" y="57150"/>
                      <a:pt x="252523" y="98663"/>
                      <a:pt x="176915" y="177916"/>
                    </a:cubicBezTo>
                    <a:cubicBezTo>
                      <a:pt x="18138" y="336420"/>
                      <a:pt x="18138" y="593047"/>
                      <a:pt x="176915" y="751552"/>
                    </a:cubicBezTo>
                    <a:cubicBezTo>
                      <a:pt x="195817" y="770422"/>
                      <a:pt x="214719" y="785517"/>
                      <a:pt x="237402" y="800613"/>
                    </a:cubicBezTo>
                    <a:cubicBezTo>
                      <a:pt x="256304" y="815709"/>
                      <a:pt x="278986" y="827030"/>
                      <a:pt x="305449" y="838352"/>
                    </a:cubicBezTo>
                    <a:cubicBezTo>
                      <a:pt x="407520" y="883639"/>
                      <a:pt x="524712" y="887413"/>
                      <a:pt x="626783" y="842126"/>
                    </a:cubicBezTo>
                    <a:cubicBezTo>
                      <a:pt x="653246" y="830804"/>
                      <a:pt x="672148" y="815709"/>
                      <a:pt x="694830" y="800613"/>
                    </a:cubicBezTo>
                    <a:cubicBezTo>
                      <a:pt x="747756" y="766648"/>
                      <a:pt x="777999" y="725134"/>
                      <a:pt x="777999" y="725134"/>
                    </a:cubicBezTo>
                    <a:cubicBezTo>
                      <a:pt x="910313" y="566630"/>
                      <a:pt x="902752" y="325099"/>
                      <a:pt x="751536" y="177916"/>
                    </a:cubicBezTo>
                    <a:cubicBezTo>
                      <a:pt x="675928" y="98663"/>
                      <a:pt x="573857" y="57150"/>
                      <a:pt x="464226" y="57150"/>
                    </a:cubicBezTo>
                    <a:close/>
                    <a:moveTo>
                      <a:pt x="464957" y="0"/>
                    </a:moveTo>
                    <a:cubicBezTo>
                      <a:pt x="589701" y="0"/>
                      <a:pt x="706885" y="49087"/>
                      <a:pt x="793828" y="135932"/>
                    </a:cubicBezTo>
                    <a:cubicBezTo>
                      <a:pt x="956374" y="298296"/>
                      <a:pt x="975275" y="562609"/>
                      <a:pt x="835410" y="743851"/>
                    </a:cubicBezTo>
                    <a:cubicBezTo>
                      <a:pt x="884552" y="792938"/>
                      <a:pt x="884552" y="792938"/>
                      <a:pt x="884552" y="792938"/>
                    </a:cubicBezTo>
                    <a:cubicBezTo>
                      <a:pt x="911013" y="766507"/>
                      <a:pt x="911013" y="766507"/>
                      <a:pt x="911013" y="766507"/>
                    </a:cubicBezTo>
                    <a:cubicBezTo>
                      <a:pt x="914793" y="762731"/>
                      <a:pt x="922353" y="758955"/>
                      <a:pt x="929913" y="758955"/>
                    </a:cubicBezTo>
                    <a:cubicBezTo>
                      <a:pt x="937474" y="758955"/>
                      <a:pt x="941254" y="762731"/>
                      <a:pt x="948814" y="766507"/>
                    </a:cubicBezTo>
                    <a:cubicBezTo>
                      <a:pt x="1470473" y="1291356"/>
                      <a:pt x="1470473" y="1291356"/>
                      <a:pt x="1470473" y="1291356"/>
                    </a:cubicBezTo>
                    <a:cubicBezTo>
                      <a:pt x="1481813" y="1298908"/>
                      <a:pt x="1481813" y="1317788"/>
                      <a:pt x="1470473" y="1325339"/>
                    </a:cubicBezTo>
                    <a:cubicBezTo>
                      <a:pt x="1326828" y="1468823"/>
                      <a:pt x="1326828" y="1468823"/>
                      <a:pt x="1326828" y="1468823"/>
                    </a:cubicBezTo>
                    <a:cubicBezTo>
                      <a:pt x="1323047" y="1472599"/>
                      <a:pt x="1315487" y="1476375"/>
                      <a:pt x="1311707" y="1476375"/>
                    </a:cubicBezTo>
                    <a:cubicBezTo>
                      <a:pt x="1304147" y="1476375"/>
                      <a:pt x="1296587" y="1472599"/>
                      <a:pt x="1292806" y="1468823"/>
                    </a:cubicBezTo>
                    <a:cubicBezTo>
                      <a:pt x="767367" y="947750"/>
                      <a:pt x="767367" y="947750"/>
                      <a:pt x="767367" y="947750"/>
                    </a:cubicBezTo>
                    <a:cubicBezTo>
                      <a:pt x="763587" y="940198"/>
                      <a:pt x="759807" y="932646"/>
                      <a:pt x="759807" y="928870"/>
                    </a:cubicBezTo>
                    <a:cubicBezTo>
                      <a:pt x="759807" y="921319"/>
                      <a:pt x="763587" y="913767"/>
                      <a:pt x="767367" y="909991"/>
                    </a:cubicBezTo>
                    <a:cubicBezTo>
                      <a:pt x="793828" y="883560"/>
                      <a:pt x="793828" y="883560"/>
                      <a:pt x="793828" y="883560"/>
                    </a:cubicBezTo>
                    <a:cubicBezTo>
                      <a:pt x="744687" y="834473"/>
                      <a:pt x="744687" y="834473"/>
                      <a:pt x="744687" y="834473"/>
                    </a:cubicBezTo>
                    <a:cubicBezTo>
                      <a:pt x="740907" y="838249"/>
                      <a:pt x="733346" y="842025"/>
                      <a:pt x="729566" y="845801"/>
                    </a:cubicBezTo>
                    <a:cubicBezTo>
                      <a:pt x="703105" y="864680"/>
                      <a:pt x="676644" y="879784"/>
                      <a:pt x="650183" y="891111"/>
                    </a:cubicBezTo>
                    <a:cubicBezTo>
                      <a:pt x="532999" y="940198"/>
                      <a:pt x="400694" y="940198"/>
                      <a:pt x="283510" y="891111"/>
                    </a:cubicBezTo>
                    <a:cubicBezTo>
                      <a:pt x="257049" y="879784"/>
                      <a:pt x="230588" y="864680"/>
                      <a:pt x="204127" y="849577"/>
                    </a:cubicBezTo>
                    <a:cubicBezTo>
                      <a:pt x="181446" y="830697"/>
                      <a:pt x="158766" y="811818"/>
                      <a:pt x="136085" y="792938"/>
                    </a:cubicBezTo>
                    <a:cubicBezTo>
                      <a:pt x="-45362" y="611695"/>
                      <a:pt x="-45362" y="317175"/>
                      <a:pt x="136085" y="135932"/>
                    </a:cubicBezTo>
                    <a:cubicBezTo>
                      <a:pt x="226808" y="49087"/>
                      <a:pt x="340212" y="0"/>
                      <a:pt x="464957" y="0"/>
                    </a:cubicBezTo>
                    <a:close/>
                  </a:path>
                </a:pathLst>
              </a:custGeom>
              <a:solidFill>
                <a:schemeClr val="bg1"/>
              </a:solidFill>
              <a:ln>
                <a:noFill/>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anchor="t" anchorCtr="0" compatLnSpc="1">
                <a:prstTxWarp prst="textNoShape">
                  <a:avLst/>
                </a:prstTxWarp>
                <a:noAutofit/>
              </a:bodyPr>
              <a:lstStyle/>
              <a:p>
                <a:endParaRPr lang="en-GB" sz="1600" dirty="0">
                  <a:solidFill>
                    <a:srgbClr val="000000"/>
                  </a:solidFill>
                </a:endParaRPr>
              </a:p>
            </p:txBody>
          </p:sp>
          <p:sp>
            <p:nvSpPr>
              <p:cNvPr id="17" name="Rectangle 16"/>
              <p:cNvSpPr/>
              <p:nvPr/>
            </p:nvSpPr>
            <p:spPr>
              <a:xfrm>
                <a:off x="1337960" y="4191274"/>
                <a:ext cx="38327" cy="479081"/>
              </a:xfrm>
              <a:prstGeom prst="rect">
                <a:avLst/>
              </a:prstGeom>
              <a:solidFill>
                <a:srgbClr val="003755"/>
              </a:solidFill>
              <a:ln w="1270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200" dirty="0" smtClean="0">
                  <a:solidFill>
                    <a:srgbClr val="000000"/>
                  </a:solidFill>
                </a:endParaRPr>
              </a:p>
            </p:txBody>
          </p:sp>
        </p:grpSp>
        <p:sp>
          <p:nvSpPr>
            <p:cNvPr id="9" name="TextBox 8"/>
            <p:cNvSpPr txBox="1"/>
            <p:nvPr/>
          </p:nvSpPr>
          <p:spPr>
            <a:xfrm>
              <a:off x="2463448" y="1785081"/>
              <a:ext cx="789990" cy="229294"/>
            </a:xfrm>
            <a:prstGeom prst="rect">
              <a:avLst/>
            </a:prstGeom>
            <a:noFill/>
          </p:spPr>
          <p:txBody>
            <a:bodyPr wrap="square" rtlCol="0" anchor="ctr" anchorCtr="0">
              <a:spAutoFit/>
            </a:bodyPr>
            <a:lstStyle/>
            <a:p>
              <a:pPr algn="ctr">
                <a:lnSpc>
                  <a:spcPct val="89000"/>
                </a:lnSpc>
              </a:pPr>
              <a:r>
                <a:rPr lang="en-US" sz="1000" b="1" dirty="0" smtClean="0">
                  <a:solidFill>
                    <a:schemeClr val="tx2"/>
                  </a:solidFill>
                  <a:ea typeface="Open Sans" panose="020B0606030504020204" pitchFamily="34" charset="0"/>
                  <a:cs typeface="Open Sans" panose="020B0606030504020204" pitchFamily="34" charset="0"/>
                </a:rPr>
                <a:t>90</a:t>
              </a:r>
              <a:endParaRPr lang="en-US" sz="1000" b="1" dirty="0">
                <a:solidFill>
                  <a:srgbClr val="003755"/>
                </a:solidFill>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28281308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55&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 name="MIO_CHANGETRACKING" val="true"/>
  <p:tag name="UNDO_REDO_REVISION" val="1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MIO_GUID" val="83593372-2db5-4c05-9b08-9e611dbed500"/>
</p:tagLst>
</file>

<file path=ppt/tags/tag1000.xml><?xml version="1.0" encoding="utf-8"?>
<p:tagLst xmlns:a="http://schemas.openxmlformats.org/drawingml/2006/main" xmlns:r="http://schemas.openxmlformats.org/officeDocument/2006/relationships" xmlns:p="http://schemas.openxmlformats.org/presentationml/2006/main">
  <p:tag name="MIO_GUID" val="8d07647f-f394-4eba-97e3-9373b7d5921e"/>
</p:tagLst>
</file>

<file path=ppt/tags/tag1001.xml><?xml version="1.0" encoding="utf-8"?>
<p:tagLst xmlns:a="http://schemas.openxmlformats.org/drawingml/2006/main" xmlns:r="http://schemas.openxmlformats.org/officeDocument/2006/relationships" xmlns:p="http://schemas.openxmlformats.org/presentationml/2006/main">
  <p:tag name="MIO_GUID" val="e7956538-2a22-46c7-96d8-5d60e8498852"/>
</p:tagLst>
</file>

<file path=ppt/tags/tag1002.xml><?xml version="1.0" encoding="utf-8"?>
<p:tagLst xmlns:a="http://schemas.openxmlformats.org/drawingml/2006/main" xmlns:r="http://schemas.openxmlformats.org/officeDocument/2006/relationships" xmlns:p="http://schemas.openxmlformats.org/presentationml/2006/main">
  <p:tag name="MIO_GUID" val="a2424b4b-7afd-4110-8818-c31a13ac53ee"/>
</p:tagLst>
</file>

<file path=ppt/tags/tag1003.xml><?xml version="1.0" encoding="utf-8"?>
<p:tagLst xmlns:a="http://schemas.openxmlformats.org/drawingml/2006/main" xmlns:r="http://schemas.openxmlformats.org/officeDocument/2006/relationships" xmlns:p="http://schemas.openxmlformats.org/presentationml/2006/main">
  <p:tag name="MIO_GUID" val="8fd1422e-5604-4cb6-90f1-644ee770f2c3"/>
</p:tagLst>
</file>

<file path=ppt/tags/tag1004.xml><?xml version="1.0" encoding="utf-8"?>
<p:tagLst xmlns:a="http://schemas.openxmlformats.org/drawingml/2006/main" xmlns:r="http://schemas.openxmlformats.org/officeDocument/2006/relationships" xmlns:p="http://schemas.openxmlformats.org/presentationml/2006/main">
  <p:tag name="MIO_GUID" val="6012fbe5-720c-412b-93c5-e742273e71b8"/>
</p:tagLst>
</file>

<file path=ppt/tags/tag1005.xml><?xml version="1.0" encoding="utf-8"?>
<p:tagLst xmlns:a="http://schemas.openxmlformats.org/drawingml/2006/main" xmlns:r="http://schemas.openxmlformats.org/officeDocument/2006/relationships" xmlns:p="http://schemas.openxmlformats.org/presentationml/2006/main">
  <p:tag name="MIO_GUID" val="0649159b-18ac-4df2-a3d8-e61e039f0b61"/>
</p:tagLst>
</file>

<file path=ppt/tags/tag1006.xml><?xml version="1.0" encoding="utf-8"?>
<p:tagLst xmlns:a="http://schemas.openxmlformats.org/drawingml/2006/main" xmlns:r="http://schemas.openxmlformats.org/officeDocument/2006/relationships" xmlns:p="http://schemas.openxmlformats.org/presentationml/2006/main">
  <p:tag name="MIO_GUID" val="8e12d019-074a-4dd2-97ca-583f69d9a236"/>
</p:tagLst>
</file>

<file path=ppt/tags/tag1007.xml><?xml version="1.0" encoding="utf-8"?>
<p:tagLst xmlns:a="http://schemas.openxmlformats.org/drawingml/2006/main" xmlns:r="http://schemas.openxmlformats.org/officeDocument/2006/relationships" xmlns:p="http://schemas.openxmlformats.org/presentationml/2006/main">
  <p:tag name="MIO_GUID" val="54a7ed82-6337-4536-825c-818c0aaf31b0"/>
</p:tagLst>
</file>

<file path=ppt/tags/tag1008.xml><?xml version="1.0" encoding="utf-8"?>
<p:tagLst xmlns:a="http://schemas.openxmlformats.org/drawingml/2006/main" xmlns:r="http://schemas.openxmlformats.org/officeDocument/2006/relationships" xmlns:p="http://schemas.openxmlformats.org/presentationml/2006/main">
  <p:tag name="MIO_GUID" val="8b5e85ec-3557-4696-9104-d25601166b72"/>
</p:tagLst>
</file>

<file path=ppt/tags/tag1009.xml><?xml version="1.0" encoding="utf-8"?>
<p:tagLst xmlns:a="http://schemas.openxmlformats.org/drawingml/2006/main" xmlns:r="http://schemas.openxmlformats.org/officeDocument/2006/relationships" xmlns:p="http://schemas.openxmlformats.org/presentationml/2006/main">
  <p:tag name="MIO_GUID" val="935be170-d542-4755-851f-f53dbb67bbbe"/>
</p:tagLst>
</file>

<file path=ppt/tags/tag101.xml><?xml version="1.0" encoding="utf-8"?>
<p:tagLst xmlns:a="http://schemas.openxmlformats.org/drawingml/2006/main" xmlns:r="http://schemas.openxmlformats.org/officeDocument/2006/relationships" xmlns:p="http://schemas.openxmlformats.org/presentationml/2006/main">
  <p:tag name="MIO_GUID" val="48e8dc27-3b32-415d-9da1-2274fc5f7c39"/>
</p:tagLst>
</file>

<file path=ppt/tags/tag1010.xml><?xml version="1.0" encoding="utf-8"?>
<p:tagLst xmlns:a="http://schemas.openxmlformats.org/drawingml/2006/main" xmlns:r="http://schemas.openxmlformats.org/officeDocument/2006/relationships" xmlns:p="http://schemas.openxmlformats.org/presentationml/2006/main">
  <p:tag name="MIO_GUID" val="cfe8792e-965f-4d7a-86c5-4c7a5512160b"/>
</p:tagLst>
</file>

<file path=ppt/tags/tag1011.xml><?xml version="1.0" encoding="utf-8"?>
<p:tagLst xmlns:a="http://schemas.openxmlformats.org/drawingml/2006/main" xmlns:r="http://schemas.openxmlformats.org/officeDocument/2006/relationships" xmlns:p="http://schemas.openxmlformats.org/presentationml/2006/main">
  <p:tag name="MIO_GUID" val="d6db844a-33fa-4624-831e-9827d8590626"/>
</p:tagLst>
</file>

<file path=ppt/tags/tag1012.xml><?xml version="1.0" encoding="utf-8"?>
<p:tagLst xmlns:a="http://schemas.openxmlformats.org/drawingml/2006/main" xmlns:r="http://schemas.openxmlformats.org/officeDocument/2006/relationships" xmlns:p="http://schemas.openxmlformats.org/presentationml/2006/main">
  <p:tag name="MIO_GUID" val="aa8161a3-c5b7-454c-b311-52837e3a6f4b"/>
</p:tagLst>
</file>

<file path=ppt/tags/tag1013.xml><?xml version="1.0" encoding="utf-8"?>
<p:tagLst xmlns:a="http://schemas.openxmlformats.org/drawingml/2006/main" xmlns:r="http://schemas.openxmlformats.org/officeDocument/2006/relationships" xmlns:p="http://schemas.openxmlformats.org/presentationml/2006/main">
  <p:tag name="MIO_GUID" val="f50be525-62f0-4b08-b5d2-abc523382529"/>
</p:tagLst>
</file>

<file path=ppt/tags/tag1014.xml><?xml version="1.0" encoding="utf-8"?>
<p:tagLst xmlns:a="http://schemas.openxmlformats.org/drawingml/2006/main" xmlns:r="http://schemas.openxmlformats.org/officeDocument/2006/relationships" xmlns:p="http://schemas.openxmlformats.org/presentationml/2006/main">
  <p:tag name="MIO_GUID" val="5b09a408-741a-4a71-b075-c78c759efe84"/>
</p:tagLst>
</file>

<file path=ppt/tags/tag1015.xml><?xml version="1.0" encoding="utf-8"?>
<p:tagLst xmlns:a="http://schemas.openxmlformats.org/drawingml/2006/main" xmlns:r="http://schemas.openxmlformats.org/officeDocument/2006/relationships" xmlns:p="http://schemas.openxmlformats.org/presentationml/2006/main">
  <p:tag name="MIO_GUID" val="654fb5a7-c2df-4bbd-9fa7-a77430d0ebf7"/>
</p:tagLst>
</file>

<file path=ppt/tags/tag1016.xml><?xml version="1.0" encoding="utf-8"?>
<p:tagLst xmlns:a="http://schemas.openxmlformats.org/drawingml/2006/main" xmlns:r="http://schemas.openxmlformats.org/officeDocument/2006/relationships" xmlns:p="http://schemas.openxmlformats.org/presentationml/2006/main">
  <p:tag name="MIO_GUID" val="ca223956-4f04-4b86-962a-2aaed056d7e9"/>
</p:tagLst>
</file>

<file path=ppt/tags/tag1017.xml><?xml version="1.0" encoding="utf-8"?>
<p:tagLst xmlns:a="http://schemas.openxmlformats.org/drawingml/2006/main" xmlns:r="http://schemas.openxmlformats.org/officeDocument/2006/relationships" xmlns:p="http://schemas.openxmlformats.org/presentationml/2006/main">
  <p:tag name="MIO_GUID" val="f399154b-92a2-401d-8b34-b12f50159869"/>
</p:tagLst>
</file>

<file path=ppt/tags/tag1018.xml><?xml version="1.0" encoding="utf-8"?>
<p:tagLst xmlns:a="http://schemas.openxmlformats.org/drawingml/2006/main" xmlns:r="http://schemas.openxmlformats.org/officeDocument/2006/relationships" xmlns:p="http://schemas.openxmlformats.org/presentationml/2006/main">
  <p:tag name="MIO_GUID" val="6e8d9a3e-1c78-4878-8c9e-cc28ef6c06a7"/>
</p:tagLst>
</file>

<file path=ppt/tags/tag1019.xml><?xml version="1.0" encoding="utf-8"?>
<p:tagLst xmlns:a="http://schemas.openxmlformats.org/drawingml/2006/main" xmlns:r="http://schemas.openxmlformats.org/officeDocument/2006/relationships" xmlns:p="http://schemas.openxmlformats.org/presentationml/2006/main">
  <p:tag name="MIO_GUID" val="0bab30d8-59e9-4831-87be-4655843ae140"/>
</p:tagLst>
</file>

<file path=ppt/tags/tag102.xml><?xml version="1.0" encoding="utf-8"?>
<p:tagLst xmlns:a="http://schemas.openxmlformats.org/drawingml/2006/main" xmlns:r="http://schemas.openxmlformats.org/officeDocument/2006/relationships" xmlns:p="http://schemas.openxmlformats.org/presentationml/2006/main">
  <p:tag name="MIO_GUID" val="764b047a-f0d6-4b6b-a78d-b096ded7095e"/>
</p:tagLst>
</file>

<file path=ppt/tags/tag1020.xml><?xml version="1.0" encoding="utf-8"?>
<p:tagLst xmlns:a="http://schemas.openxmlformats.org/drawingml/2006/main" xmlns:r="http://schemas.openxmlformats.org/officeDocument/2006/relationships" xmlns:p="http://schemas.openxmlformats.org/presentationml/2006/main">
  <p:tag name="MIO_GUID" val="801b11b9-bf82-43d1-b7bb-b87534989b7b"/>
</p:tagLst>
</file>

<file path=ppt/tags/tag1021.xml><?xml version="1.0" encoding="utf-8"?>
<p:tagLst xmlns:a="http://schemas.openxmlformats.org/drawingml/2006/main" xmlns:r="http://schemas.openxmlformats.org/officeDocument/2006/relationships" xmlns:p="http://schemas.openxmlformats.org/presentationml/2006/main">
  <p:tag name="MIO_GUID" val="8db730db-78ff-4833-bf89-46489ef09b81"/>
</p:tagLst>
</file>

<file path=ppt/tags/tag1022.xml><?xml version="1.0" encoding="utf-8"?>
<p:tagLst xmlns:a="http://schemas.openxmlformats.org/drawingml/2006/main" xmlns:r="http://schemas.openxmlformats.org/officeDocument/2006/relationships" xmlns:p="http://schemas.openxmlformats.org/presentationml/2006/main">
  <p:tag name="MIO_GUID" val="f834bbba-fd97-4ca5-9c34-cd70c6254bd5"/>
</p:tagLst>
</file>

<file path=ppt/tags/tag1023.xml><?xml version="1.0" encoding="utf-8"?>
<p:tagLst xmlns:a="http://schemas.openxmlformats.org/drawingml/2006/main" xmlns:r="http://schemas.openxmlformats.org/officeDocument/2006/relationships" xmlns:p="http://schemas.openxmlformats.org/presentationml/2006/main">
  <p:tag name="MIO_GUID" val="304e6601-6a8b-42b5-978c-b95c0787b7c5"/>
</p:tagLst>
</file>

<file path=ppt/tags/tag1024.xml><?xml version="1.0" encoding="utf-8"?>
<p:tagLst xmlns:a="http://schemas.openxmlformats.org/drawingml/2006/main" xmlns:r="http://schemas.openxmlformats.org/officeDocument/2006/relationships" xmlns:p="http://schemas.openxmlformats.org/presentationml/2006/main">
  <p:tag name="MIO_GUID" val="d4d6e9cc-15c3-487a-b489-675722e32b5b"/>
</p:tagLst>
</file>

<file path=ppt/tags/tag1025.xml><?xml version="1.0" encoding="utf-8"?>
<p:tagLst xmlns:a="http://schemas.openxmlformats.org/drawingml/2006/main" xmlns:r="http://schemas.openxmlformats.org/officeDocument/2006/relationships" xmlns:p="http://schemas.openxmlformats.org/presentationml/2006/main">
  <p:tag name="MIO_GUID" val="cd6282f0-be22-4f8c-8088-62db2adbcdb2"/>
</p:tagLst>
</file>

<file path=ppt/tags/tag1026.xml><?xml version="1.0" encoding="utf-8"?>
<p:tagLst xmlns:a="http://schemas.openxmlformats.org/drawingml/2006/main" xmlns:r="http://schemas.openxmlformats.org/officeDocument/2006/relationships" xmlns:p="http://schemas.openxmlformats.org/presentationml/2006/main">
  <p:tag name="MIO_GUID" val="c024089f-3d4d-4122-804b-8d70f826915b"/>
</p:tagLst>
</file>

<file path=ppt/tags/tag1027.xml><?xml version="1.0" encoding="utf-8"?>
<p:tagLst xmlns:a="http://schemas.openxmlformats.org/drawingml/2006/main" xmlns:r="http://schemas.openxmlformats.org/officeDocument/2006/relationships" xmlns:p="http://schemas.openxmlformats.org/presentationml/2006/main">
  <p:tag name="MIO_GUID" val="e0dc3827-f225-4a22-a8ac-f77a1405d4ce"/>
</p:tagLst>
</file>

<file path=ppt/tags/tag1028.xml><?xml version="1.0" encoding="utf-8"?>
<p:tagLst xmlns:a="http://schemas.openxmlformats.org/drawingml/2006/main" xmlns:r="http://schemas.openxmlformats.org/officeDocument/2006/relationships" xmlns:p="http://schemas.openxmlformats.org/presentationml/2006/main">
  <p:tag name="MIO_GUID" val="63f32e73-8c9b-44a5-a39a-d1db91f5d3fb"/>
</p:tagLst>
</file>

<file path=ppt/tags/tag1029.xml><?xml version="1.0" encoding="utf-8"?>
<p:tagLst xmlns:a="http://schemas.openxmlformats.org/drawingml/2006/main" xmlns:r="http://schemas.openxmlformats.org/officeDocument/2006/relationships" xmlns:p="http://schemas.openxmlformats.org/presentationml/2006/main">
  <p:tag name="MIO_GUID" val="c49f5545-8920-4852-bfa2-d16ddc3ec3a7"/>
</p:tagLst>
</file>

<file path=ppt/tags/tag103.xml><?xml version="1.0" encoding="utf-8"?>
<p:tagLst xmlns:a="http://schemas.openxmlformats.org/drawingml/2006/main" xmlns:r="http://schemas.openxmlformats.org/officeDocument/2006/relationships" xmlns:p="http://schemas.openxmlformats.org/presentationml/2006/main">
  <p:tag name="MIO_GUID" val="9310352c-6e42-4b70-8e45-8b4efb8c1de2"/>
</p:tagLst>
</file>

<file path=ppt/tags/tag1030.xml><?xml version="1.0" encoding="utf-8"?>
<p:tagLst xmlns:a="http://schemas.openxmlformats.org/drawingml/2006/main" xmlns:r="http://schemas.openxmlformats.org/officeDocument/2006/relationships" xmlns:p="http://schemas.openxmlformats.org/presentationml/2006/main">
  <p:tag name="MIO_GUID" val="765fc063-a000-4173-9a21-e14d192c9d2d"/>
</p:tagLst>
</file>

<file path=ppt/tags/tag1031.xml><?xml version="1.0" encoding="utf-8"?>
<p:tagLst xmlns:a="http://schemas.openxmlformats.org/drawingml/2006/main" xmlns:r="http://schemas.openxmlformats.org/officeDocument/2006/relationships" xmlns:p="http://schemas.openxmlformats.org/presentationml/2006/main">
  <p:tag name="MIO_GUID" val="af2ab7d6-2f51-4307-941b-0142e5382cac"/>
</p:tagLst>
</file>

<file path=ppt/tags/tag1032.xml><?xml version="1.0" encoding="utf-8"?>
<p:tagLst xmlns:a="http://schemas.openxmlformats.org/drawingml/2006/main" xmlns:r="http://schemas.openxmlformats.org/officeDocument/2006/relationships" xmlns:p="http://schemas.openxmlformats.org/presentationml/2006/main">
  <p:tag name="MIO_GUID" val="c6750edc-cc57-41b1-b5eb-2a4cabde8569"/>
</p:tagLst>
</file>

<file path=ppt/tags/tag1033.xml><?xml version="1.0" encoding="utf-8"?>
<p:tagLst xmlns:a="http://schemas.openxmlformats.org/drawingml/2006/main" xmlns:r="http://schemas.openxmlformats.org/officeDocument/2006/relationships" xmlns:p="http://schemas.openxmlformats.org/presentationml/2006/main">
  <p:tag name="MIO_GUID" val="3e437d61-4e0c-452c-9f38-06fb5c5b6a36"/>
</p:tagLst>
</file>

<file path=ppt/tags/tag1034.xml><?xml version="1.0" encoding="utf-8"?>
<p:tagLst xmlns:a="http://schemas.openxmlformats.org/drawingml/2006/main" xmlns:r="http://schemas.openxmlformats.org/officeDocument/2006/relationships" xmlns:p="http://schemas.openxmlformats.org/presentationml/2006/main">
  <p:tag name="MIO_GUID" val="a331dd06-cb66-48b9-be5e-092eb026c789"/>
</p:tagLst>
</file>

<file path=ppt/tags/tag1035.xml><?xml version="1.0" encoding="utf-8"?>
<p:tagLst xmlns:a="http://schemas.openxmlformats.org/drawingml/2006/main" xmlns:r="http://schemas.openxmlformats.org/officeDocument/2006/relationships" xmlns:p="http://schemas.openxmlformats.org/presentationml/2006/main">
  <p:tag name="MIO_GUID" val="5e1787c1-cad4-44b2-b316-7090aac22e36"/>
</p:tagLst>
</file>

<file path=ppt/tags/tag1036.xml><?xml version="1.0" encoding="utf-8"?>
<p:tagLst xmlns:a="http://schemas.openxmlformats.org/drawingml/2006/main" xmlns:r="http://schemas.openxmlformats.org/officeDocument/2006/relationships" xmlns:p="http://schemas.openxmlformats.org/presentationml/2006/main">
  <p:tag name="MIO_GUID" val="9c03e3b6-6266-4a5a-ae30-375ce25eb12c"/>
</p:tagLst>
</file>

<file path=ppt/tags/tag1037.xml><?xml version="1.0" encoding="utf-8"?>
<p:tagLst xmlns:a="http://schemas.openxmlformats.org/drawingml/2006/main" xmlns:r="http://schemas.openxmlformats.org/officeDocument/2006/relationships" xmlns:p="http://schemas.openxmlformats.org/presentationml/2006/main">
  <p:tag name="MIO_GUID" val="1afe7a99-35cf-4936-a784-1679bedca3d7"/>
</p:tagLst>
</file>

<file path=ppt/tags/tag1038.xml><?xml version="1.0" encoding="utf-8"?>
<p:tagLst xmlns:a="http://schemas.openxmlformats.org/drawingml/2006/main" xmlns:r="http://schemas.openxmlformats.org/officeDocument/2006/relationships" xmlns:p="http://schemas.openxmlformats.org/presentationml/2006/main">
  <p:tag name="MIO_GUID" val="bbdedd8f-d32b-447b-a882-9f712c34149a"/>
</p:tagLst>
</file>

<file path=ppt/tags/tag1039.xml><?xml version="1.0" encoding="utf-8"?>
<p:tagLst xmlns:a="http://schemas.openxmlformats.org/drawingml/2006/main" xmlns:r="http://schemas.openxmlformats.org/officeDocument/2006/relationships" xmlns:p="http://schemas.openxmlformats.org/presentationml/2006/main">
  <p:tag name="MIO_GUID" val="3c7a5ebc-d510-4aca-b67d-ce39936b1f71"/>
</p:tagLst>
</file>

<file path=ppt/tags/tag104.xml><?xml version="1.0" encoding="utf-8"?>
<p:tagLst xmlns:a="http://schemas.openxmlformats.org/drawingml/2006/main" xmlns:r="http://schemas.openxmlformats.org/officeDocument/2006/relationships" xmlns:p="http://schemas.openxmlformats.org/presentationml/2006/main">
  <p:tag name="MIO_GUID" val="290cbcd6-db1d-438d-b78c-5650edbf4e1b"/>
</p:tagLst>
</file>

<file path=ppt/tags/tag1040.xml><?xml version="1.0" encoding="utf-8"?>
<p:tagLst xmlns:a="http://schemas.openxmlformats.org/drawingml/2006/main" xmlns:r="http://schemas.openxmlformats.org/officeDocument/2006/relationships" xmlns:p="http://schemas.openxmlformats.org/presentationml/2006/main">
  <p:tag name="MIO_GUID" val="35c8ffe6-a6e4-41e5-86e3-8b821dca8fed"/>
</p:tagLst>
</file>

<file path=ppt/tags/tag1041.xml><?xml version="1.0" encoding="utf-8"?>
<p:tagLst xmlns:a="http://schemas.openxmlformats.org/drawingml/2006/main" xmlns:r="http://schemas.openxmlformats.org/officeDocument/2006/relationships" xmlns:p="http://schemas.openxmlformats.org/presentationml/2006/main">
  <p:tag name="MIO_GUID" val="172a2fed-b6a5-4a80-936b-4aa904936c88"/>
</p:tagLst>
</file>

<file path=ppt/tags/tag1042.xml><?xml version="1.0" encoding="utf-8"?>
<p:tagLst xmlns:a="http://schemas.openxmlformats.org/drawingml/2006/main" xmlns:r="http://schemas.openxmlformats.org/officeDocument/2006/relationships" xmlns:p="http://schemas.openxmlformats.org/presentationml/2006/main">
  <p:tag name="MIO_GUID" val="f4e07df1-8eee-4039-b857-e8c5a6b71458"/>
</p:tagLst>
</file>

<file path=ppt/tags/tag1043.xml><?xml version="1.0" encoding="utf-8"?>
<p:tagLst xmlns:a="http://schemas.openxmlformats.org/drawingml/2006/main" xmlns:r="http://schemas.openxmlformats.org/officeDocument/2006/relationships" xmlns:p="http://schemas.openxmlformats.org/presentationml/2006/main">
  <p:tag name="MIO_GUID" val="95b21a77-27f9-4c78-bb95-d2f2ca8a32be"/>
</p:tagLst>
</file>

<file path=ppt/tags/tag1044.xml><?xml version="1.0" encoding="utf-8"?>
<p:tagLst xmlns:a="http://schemas.openxmlformats.org/drawingml/2006/main" xmlns:r="http://schemas.openxmlformats.org/officeDocument/2006/relationships" xmlns:p="http://schemas.openxmlformats.org/presentationml/2006/main">
  <p:tag name="MIO_GUID" val="13d1b220-baa2-4621-a3c4-87488c3fa8fc"/>
</p:tagLst>
</file>

<file path=ppt/tags/tag1045.xml><?xml version="1.0" encoding="utf-8"?>
<p:tagLst xmlns:a="http://schemas.openxmlformats.org/drawingml/2006/main" xmlns:r="http://schemas.openxmlformats.org/officeDocument/2006/relationships" xmlns:p="http://schemas.openxmlformats.org/presentationml/2006/main">
  <p:tag name="MIO_GUID" val="9168db10-d9e9-4c69-b032-693548192d84"/>
</p:tagLst>
</file>

<file path=ppt/tags/tag1046.xml><?xml version="1.0" encoding="utf-8"?>
<p:tagLst xmlns:a="http://schemas.openxmlformats.org/drawingml/2006/main" xmlns:r="http://schemas.openxmlformats.org/officeDocument/2006/relationships" xmlns:p="http://schemas.openxmlformats.org/presentationml/2006/main">
  <p:tag name="MIO_GUID" val="c4f31ed5-42cb-4ee1-9eca-ca21b9b84de6"/>
</p:tagLst>
</file>

<file path=ppt/tags/tag1047.xml><?xml version="1.0" encoding="utf-8"?>
<p:tagLst xmlns:a="http://schemas.openxmlformats.org/drawingml/2006/main" xmlns:r="http://schemas.openxmlformats.org/officeDocument/2006/relationships" xmlns:p="http://schemas.openxmlformats.org/presentationml/2006/main">
  <p:tag name="MIO_GUID" val="ce8ba857-f4e9-439d-82ae-7d616bfb6b33"/>
</p:tagLst>
</file>

<file path=ppt/tags/tag1048.xml><?xml version="1.0" encoding="utf-8"?>
<p:tagLst xmlns:a="http://schemas.openxmlformats.org/drawingml/2006/main" xmlns:r="http://schemas.openxmlformats.org/officeDocument/2006/relationships" xmlns:p="http://schemas.openxmlformats.org/presentationml/2006/main">
  <p:tag name="MIO_GUID" val="a76af0d0-4a43-4091-8284-7c1d6c99feea"/>
</p:tagLst>
</file>

<file path=ppt/tags/tag1049.xml><?xml version="1.0" encoding="utf-8"?>
<p:tagLst xmlns:a="http://schemas.openxmlformats.org/drawingml/2006/main" xmlns:r="http://schemas.openxmlformats.org/officeDocument/2006/relationships" xmlns:p="http://schemas.openxmlformats.org/presentationml/2006/main">
  <p:tag name="MIO_GUID" val="028e0dd4-e1a7-4720-9b16-7106e0736c2d"/>
</p:tagLst>
</file>

<file path=ppt/tags/tag105.xml><?xml version="1.0" encoding="utf-8"?>
<p:tagLst xmlns:a="http://schemas.openxmlformats.org/drawingml/2006/main" xmlns:r="http://schemas.openxmlformats.org/officeDocument/2006/relationships" xmlns:p="http://schemas.openxmlformats.org/presentationml/2006/main">
  <p:tag name="MIO_GUID" val="76aa2861-beaa-49df-970e-478522ef4bc9"/>
</p:tagLst>
</file>

<file path=ppt/tags/tag1050.xml><?xml version="1.0" encoding="utf-8"?>
<p:tagLst xmlns:a="http://schemas.openxmlformats.org/drawingml/2006/main" xmlns:r="http://schemas.openxmlformats.org/officeDocument/2006/relationships" xmlns:p="http://schemas.openxmlformats.org/presentationml/2006/main">
  <p:tag name="MIO_GUID" val="4fa381b8-e497-48d1-a628-fb3dd2644f97"/>
</p:tagLst>
</file>

<file path=ppt/tags/tag1051.xml><?xml version="1.0" encoding="utf-8"?>
<p:tagLst xmlns:a="http://schemas.openxmlformats.org/drawingml/2006/main" xmlns:r="http://schemas.openxmlformats.org/officeDocument/2006/relationships" xmlns:p="http://schemas.openxmlformats.org/presentationml/2006/main">
  <p:tag name="MIO_GUID" val="445a377a-a231-4a3e-894e-45dae7ccc3d1"/>
</p:tagLst>
</file>

<file path=ppt/tags/tag1052.xml><?xml version="1.0" encoding="utf-8"?>
<p:tagLst xmlns:a="http://schemas.openxmlformats.org/drawingml/2006/main" xmlns:r="http://schemas.openxmlformats.org/officeDocument/2006/relationships" xmlns:p="http://schemas.openxmlformats.org/presentationml/2006/main">
  <p:tag name="MIO_GUID" val="33b43374-ee20-40b7-b0ad-3387ab6b0349"/>
</p:tagLst>
</file>

<file path=ppt/tags/tag1053.xml><?xml version="1.0" encoding="utf-8"?>
<p:tagLst xmlns:a="http://schemas.openxmlformats.org/drawingml/2006/main" xmlns:r="http://schemas.openxmlformats.org/officeDocument/2006/relationships" xmlns:p="http://schemas.openxmlformats.org/presentationml/2006/main">
  <p:tag name="MIO_GUID" val="077483c5-9dc2-4c7a-ab11-a59bde9bbcea"/>
</p:tagLst>
</file>

<file path=ppt/tags/tag1054.xml><?xml version="1.0" encoding="utf-8"?>
<p:tagLst xmlns:a="http://schemas.openxmlformats.org/drawingml/2006/main" xmlns:r="http://schemas.openxmlformats.org/officeDocument/2006/relationships" xmlns:p="http://schemas.openxmlformats.org/presentationml/2006/main">
  <p:tag name="MIO_GUID" val="1a14d474-6a17-4226-9d6a-bd0edbb58902"/>
</p:tagLst>
</file>

<file path=ppt/tags/tag1055.xml><?xml version="1.0" encoding="utf-8"?>
<p:tagLst xmlns:a="http://schemas.openxmlformats.org/drawingml/2006/main" xmlns:r="http://schemas.openxmlformats.org/officeDocument/2006/relationships" xmlns:p="http://schemas.openxmlformats.org/presentationml/2006/main">
  <p:tag name="MIO_GUID" val="c4a4bcf4-f812-4a35-aee6-5eeb93a30114"/>
</p:tagLst>
</file>

<file path=ppt/tags/tag1056.xml><?xml version="1.0" encoding="utf-8"?>
<p:tagLst xmlns:a="http://schemas.openxmlformats.org/drawingml/2006/main" xmlns:r="http://schemas.openxmlformats.org/officeDocument/2006/relationships" xmlns:p="http://schemas.openxmlformats.org/presentationml/2006/main">
  <p:tag name="MIO_GUID" val="06bd691f-b65d-42b3-a948-5cf7e36ffb76"/>
</p:tagLst>
</file>

<file path=ppt/tags/tag1057.xml><?xml version="1.0" encoding="utf-8"?>
<p:tagLst xmlns:a="http://schemas.openxmlformats.org/drawingml/2006/main" xmlns:r="http://schemas.openxmlformats.org/officeDocument/2006/relationships" xmlns:p="http://schemas.openxmlformats.org/presentationml/2006/main">
  <p:tag name="MIO_GUID" val="077a904a-4819-4523-8d98-34fefffb8f2d"/>
</p:tagLst>
</file>

<file path=ppt/tags/tag1058.xml><?xml version="1.0" encoding="utf-8"?>
<p:tagLst xmlns:a="http://schemas.openxmlformats.org/drawingml/2006/main" xmlns:r="http://schemas.openxmlformats.org/officeDocument/2006/relationships" xmlns:p="http://schemas.openxmlformats.org/presentationml/2006/main">
  <p:tag name="MIO_GUID" val="6e7b7344-507e-435a-ac0c-7285c7061c1d"/>
</p:tagLst>
</file>

<file path=ppt/tags/tag1059.xml><?xml version="1.0" encoding="utf-8"?>
<p:tagLst xmlns:a="http://schemas.openxmlformats.org/drawingml/2006/main" xmlns:r="http://schemas.openxmlformats.org/officeDocument/2006/relationships" xmlns:p="http://schemas.openxmlformats.org/presentationml/2006/main">
  <p:tag name="MIO_GUID" val="de6daaef-dfe1-4fe5-98d8-fd239a58ffba"/>
</p:tagLst>
</file>

<file path=ppt/tags/tag106.xml><?xml version="1.0" encoding="utf-8"?>
<p:tagLst xmlns:a="http://schemas.openxmlformats.org/drawingml/2006/main" xmlns:r="http://schemas.openxmlformats.org/officeDocument/2006/relationships" xmlns:p="http://schemas.openxmlformats.org/presentationml/2006/main">
  <p:tag name="MIO_GUID" val="b092e2fb-4374-4fc7-80ad-3996673bf7e3"/>
</p:tagLst>
</file>

<file path=ppt/tags/tag1060.xml><?xml version="1.0" encoding="utf-8"?>
<p:tagLst xmlns:a="http://schemas.openxmlformats.org/drawingml/2006/main" xmlns:r="http://schemas.openxmlformats.org/officeDocument/2006/relationships" xmlns:p="http://schemas.openxmlformats.org/presentationml/2006/main">
  <p:tag name="MIO_GUID" val="11c284bc-7130-40bb-bde1-0d1c5fbcae6b"/>
</p:tagLst>
</file>

<file path=ppt/tags/tag1061.xml><?xml version="1.0" encoding="utf-8"?>
<p:tagLst xmlns:a="http://schemas.openxmlformats.org/drawingml/2006/main" xmlns:r="http://schemas.openxmlformats.org/officeDocument/2006/relationships" xmlns:p="http://schemas.openxmlformats.org/presentationml/2006/main">
  <p:tag name="MIO_GUID" val="1dd1bc8a-41a5-4882-a805-d43022dba863"/>
</p:tagLst>
</file>

<file path=ppt/tags/tag1062.xml><?xml version="1.0" encoding="utf-8"?>
<p:tagLst xmlns:a="http://schemas.openxmlformats.org/drawingml/2006/main" xmlns:r="http://schemas.openxmlformats.org/officeDocument/2006/relationships" xmlns:p="http://schemas.openxmlformats.org/presentationml/2006/main">
  <p:tag name="MIO_GUID" val="6284cc76-a45c-4215-9f58-7eed1c8e9856"/>
</p:tagLst>
</file>

<file path=ppt/tags/tag1063.xml><?xml version="1.0" encoding="utf-8"?>
<p:tagLst xmlns:a="http://schemas.openxmlformats.org/drawingml/2006/main" xmlns:r="http://schemas.openxmlformats.org/officeDocument/2006/relationships" xmlns:p="http://schemas.openxmlformats.org/presentationml/2006/main">
  <p:tag name="MIO_GUID" val="4157cb8b-b06e-4146-a72e-564bb13d74f7"/>
</p:tagLst>
</file>

<file path=ppt/tags/tag1064.xml><?xml version="1.0" encoding="utf-8"?>
<p:tagLst xmlns:a="http://schemas.openxmlformats.org/drawingml/2006/main" xmlns:r="http://schemas.openxmlformats.org/officeDocument/2006/relationships" xmlns:p="http://schemas.openxmlformats.org/presentationml/2006/main">
  <p:tag name="MIO_GUID" val="a811342e-c9d0-401f-8e73-18dc1be6e95f"/>
</p:tagLst>
</file>

<file path=ppt/tags/tag1065.xml><?xml version="1.0" encoding="utf-8"?>
<p:tagLst xmlns:a="http://schemas.openxmlformats.org/drawingml/2006/main" xmlns:r="http://schemas.openxmlformats.org/officeDocument/2006/relationships" xmlns:p="http://schemas.openxmlformats.org/presentationml/2006/main">
  <p:tag name="MIO_GUID" val="356e6f90-3010-434b-bb4b-a53985e75c00"/>
</p:tagLst>
</file>

<file path=ppt/tags/tag1066.xml><?xml version="1.0" encoding="utf-8"?>
<p:tagLst xmlns:a="http://schemas.openxmlformats.org/drawingml/2006/main" xmlns:r="http://schemas.openxmlformats.org/officeDocument/2006/relationships" xmlns:p="http://schemas.openxmlformats.org/presentationml/2006/main">
  <p:tag name="MIO_GUID" val="53df50e0-7f30-46fd-abd4-b9e1e8e5e54a"/>
</p:tagLst>
</file>

<file path=ppt/tags/tag1067.xml><?xml version="1.0" encoding="utf-8"?>
<p:tagLst xmlns:a="http://schemas.openxmlformats.org/drawingml/2006/main" xmlns:r="http://schemas.openxmlformats.org/officeDocument/2006/relationships" xmlns:p="http://schemas.openxmlformats.org/presentationml/2006/main">
  <p:tag name="MIO_GUID" val="981fc1fb-183a-4f05-9ecc-61111ef7c5e9"/>
</p:tagLst>
</file>

<file path=ppt/tags/tag1068.xml><?xml version="1.0" encoding="utf-8"?>
<p:tagLst xmlns:a="http://schemas.openxmlformats.org/drawingml/2006/main" xmlns:r="http://schemas.openxmlformats.org/officeDocument/2006/relationships" xmlns:p="http://schemas.openxmlformats.org/presentationml/2006/main">
  <p:tag name="MIO_GUID" val="cd493574-541a-4d9c-9e42-2ae7f01be370"/>
</p:tagLst>
</file>

<file path=ppt/tags/tag1069.xml><?xml version="1.0" encoding="utf-8"?>
<p:tagLst xmlns:a="http://schemas.openxmlformats.org/drawingml/2006/main" xmlns:r="http://schemas.openxmlformats.org/officeDocument/2006/relationships" xmlns:p="http://schemas.openxmlformats.org/presentationml/2006/main">
  <p:tag name="MIO_GUID" val="eb9419c6-f8e7-4537-8672-4d574e06da2d"/>
</p:tagLst>
</file>

<file path=ppt/tags/tag107.xml><?xml version="1.0" encoding="utf-8"?>
<p:tagLst xmlns:a="http://schemas.openxmlformats.org/drawingml/2006/main" xmlns:r="http://schemas.openxmlformats.org/officeDocument/2006/relationships" xmlns:p="http://schemas.openxmlformats.org/presentationml/2006/main">
  <p:tag name="MIO_GUID" val="86aee767-e134-4a0f-948a-3c7e5cc83791"/>
</p:tagLst>
</file>

<file path=ppt/tags/tag1070.xml><?xml version="1.0" encoding="utf-8"?>
<p:tagLst xmlns:a="http://schemas.openxmlformats.org/drawingml/2006/main" xmlns:r="http://schemas.openxmlformats.org/officeDocument/2006/relationships" xmlns:p="http://schemas.openxmlformats.org/presentationml/2006/main">
  <p:tag name="MIO_GUID" val="1462896c-8ad8-4e87-9895-b0d012b9e665"/>
</p:tagLst>
</file>

<file path=ppt/tags/tag1071.xml><?xml version="1.0" encoding="utf-8"?>
<p:tagLst xmlns:a="http://schemas.openxmlformats.org/drawingml/2006/main" xmlns:r="http://schemas.openxmlformats.org/officeDocument/2006/relationships" xmlns:p="http://schemas.openxmlformats.org/presentationml/2006/main">
  <p:tag name="MIO_GUID" val="e02734d8-36ca-4630-8a19-b0808c3f6f9d"/>
</p:tagLst>
</file>

<file path=ppt/tags/tag1072.xml><?xml version="1.0" encoding="utf-8"?>
<p:tagLst xmlns:a="http://schemas.openxmlformats.org/drawingml/2006/main" xmlns:r="http://schemas.openxmlformats.org/officeDocument/2006/relationships" xmlns:p="http://schemas.openxmlformats.org/presentationml/2006/main">
  <p:tag name="MIO_GUID" val="5c5c772f-6952-43d9-84ae-1a3446eefc83"/>
</p:tagLst>
</file>

<file path=ppt/tags/tag1073.xml><?xml version="1.0" encoding="utf-8"?>
<p:tagLst xmlns:a="http://schemas.openxmlformats.org/drawingml/2006/main" xmlns:r="http://schemas.openxmlformats.org/officeDocument/2006/relationships" xmlns:p="http://schemas.openxmlformats.org/presentationml/2006/main">
  <p:tag name="MIO_GUID" val="4624e130-9f2f-4292-9b54-1d5011a32c7a"/>
</p:tagLst>
</file>

<file path=ppt/tags/tag1074.xml><?xml version="1.0" encoding="utf-8"?>
<p:tagLst xmlns:a="http://schemas.openxmlformats.org/drawingml/2006/main" xmlns:r="http://schemas.openxmlformats.org/officeDocument/2006/relationships" xmlns:p="http://schemas.openxmlformats.org/presentationml/2006/main">
  <p:tag name="MIO_GUID" val="ade54ad8-b34f-4d37-9d71-c428536701c2"/>
</p:tagLst>
</file>

<file path=ppt/tags/tag1075.xml><?xml version="1.0" encoding="utf-8"?>
<p:tagLst xmlns:a="http://schemas.openxmlformats.org/drawingml/2006/main" xmlns:r="http://schemas.openxmlformats.org/officeDocument/2006/relationships" xmlns:p="http://schemas.openxmlformats.org/presentationml/2006/main">
  <p:tag name="MIO_GUID" val="85372411-83a5-46db-b2ef-288dc060bb5e"/>
</p:tagLst>
</file>

<file path=ppt/tags/tag1076.xml><?xml version="1.0" encoding="utf-8"?>
<p:tagLst xmlns:a="http://schemas.openxmlformats.org/drawingml/2006/main" xmlns:r="http://schemas.openxmlformats.org/officeDocument/2006/relationships" xmlns:p="http://schemas.openxmlformats.org/presentationml/2006/main">
  <p:tag name="MIO_GUID" val="5969ed53-e799-4180-8777-493378a63799"/>
</p:tagLst>
</file>

<file path=ppt/tags/tag1077.xml><?xml version="1.0" encoding="utf-8"?>
<p:tagLst xmlns:a="http://schemas.openxmlformats.org/drawingml/2006/main" xmlns:r="http://schemas.openxmlformats.org/officeDocument/2006/relationships" xmlns:p="http://schemas.openxmlformats.org/presentationml/2006/main">
  <p:tag name="MIO_GUID" val="557f6d3f-e823-4c2e-8396-87707784cfa8"/>
</p:tagLst>
</file>

<file path=ppt/tags/tag1078.xml><?xml version="1.0" encoding="utf-8"?>
<p:tagLst xmlns:a="http://schemas.openxmlformats.org/drawingml/2006/main" xmlns:r="http://schemas.openxmlformats.org/officeDocument/2006/relationships" xmlns:p="http://schemas.openxmlformats.org/presentationml/2006/main">
  <p:tag name="MIO_GUID" val="9b49c30d-06f2-4307-b26e-1139f543cce1"/>
</p:tagLst>
</file>

<file path=ppt/tags/tag1079.xml><?xml version="1.0" encoding="utf-8"?>
<p:tagLst xmlns:a="http://schemas.openxmlformats.org/drawingml/2006/main" xmlns:r="http://schemas.openxmlformats.org/officeDocument/2006/relationships" xmlns:p="http://schemas.openxmlformats.org/presentationml/2006/main">
  <p:tag name="MIO_GUID" val="dbb39853-361e-45f9-9afa-dac675bfd979"/>
</p:tagLst>
</file>

<file path=ppt/tags/tag108.xml><?xml version="1.0" encoding="utf-8"?>
<p:tagLst xmlns:a="http://schemas.openxmlformats.org/drawingml/2006/main" xmlns:r="http://schemas.openxmlformats.org/officeDocument/2006/relationships" xmlns:p="http://schemas.openxmlformats.org/presentationml/2006/main">
  <p:tag name="MIO_GUID" val="82b9bf4b-9ff0-4dcb-89c8-182f0864abad"/>
</p:tagLst>
</file>

<file path=ppt/tags/tag1080.xml><?xml version="1.0" encoding="utf-8"?>
<p:tagLst xmlns:a="http://schemas.openxmlformats.org/drawingml/2006/main" xmlns:r="http://schemas.openxmlformats.org/officeDocument/2006/relationships" xmlns:p="http://schemas.openxmlformats.org/presentationml/2006/main">
  <p:tag name="MIO_GUID" val="454f388d-e341-4156-a99a-7bed1035cf21"/>
</p:tagLst>
</file>

<file path=ppt/tags/tag1081.xml><?xml version="1.0" encoding="utf-8"?>
<p:tagLst xmlns:a="http://schemas.openxmlformats.org/drawingml/2006/main" xmlns:r="http://schemas.openxmlformats.org/officeDocument/2006/relationships" xmlns:p="http://schemas.openxmlformats.org/presentationml/2006/main">
  <p:tag name="MIO_GUID" val="20f2a12f-5b5b-4cfd-b337-e4060090ade3"/>
</p:tagLst>
</file>

<file path=ppt/tags/tag1082.xml><?xml version="1.0" encoding="utf-8"?>
<p:tagLst xmlns:a="http://schemas.openxmlformats.org/drawingml/2006/main" xmlns:r="http://schemas.openxmlformats.org/officeDocument/2006/relationships" xmlns:p="http://schemas.openxmlformats.org/presentationml/2006/main">
  <p:tag name="MIO_GUID" val="d1b48f69-61df-4571-9ffd-a36913adc0f5"/>
</p:tagLst>
</file>

<file path=ppt/tags/tag1083.xml><?xml version="1.0" encoding="utf-8"?>
<p:tagLst xmlns:a="http://schemas.openxmlformats.org/drawingml/2006/main" xmlns:r="http://schemas.openxmlformats.org/officeDocument/2006/relationships" xmlns:p="http://schemas.openxmlformats.org/presentationml/2006/main">
  <p:tag name="MIO_GUID" val="b0bbdf0d-58fb-4021-9225-a3db7f650459"/>
</p:tagLst>
</file>

<file path=ppt/tags/tag1084.xml><?xml version="1.0" encoding="utf-8"?>
<p:tagLst xmlns:a="http://schemas.openxmlformats.org/drawingml/2006/main" xmlns:r="http://schemas.openxmlformats.org/officeDocument/2006/relationships" xmlns:p="http://schemas.openxmlformats.org/presentationml/2006/main">
  <p:tag name="MIO_GUID" val="1f2182a4-f1a2-4ea6-938d-356ebe0d3311"/>
</p:tagLst>
</file>

<file path=ppt/tags/tag1085.xml><?xml version="1.0" encoding="utf-8"?>
<p:tagLst xmlns:a="http://schemas.openxmlformats.org/drawingml/2006/main" xmlns:r="http://schemas.openxmlformats.org/officeDocument/2006/relationships" xmlns:p="http://schemas.openxmlformats.org/presentationml/2006/main">
  <p:tag name="MIO_GUID" val="b3b37235-451a-4b00-bcab-a29ee898e015"/>
</p:tagLst>
</file>

<file path=ppt/tags/tag1086.xml><?xml version="1.0" encoding="utf-8"?>
<p:tagLst xmlns:a="http://schemas.openxmlformats.org/drawingml/2006/main" xmlns:r="http://schemas.openxmlformats.org/officeDocument/2006/relationships" xmlns:p="http://schemas.openxmlformats.org/presentationml/2006/main">
  <p:tag name="MIO_GUID" val="c3d69396-6aba-48d6-bbcf-11cf7b1fd635"/>
</p:tagLst>
</file>

<file path=ppt/tags/tag1087.xml><?xml version="1.0" encoding="utf-8"?>
<p:tagLst xmlns:a="http://schemas.openxmlformats.org/drawingml/2006/main" xmlns:r="http://schemas.openxmlformats.org/officeDocument/2006/relationships" xmlns:p="http://schemas.openxmlformats.org/presentationml/2006/main">
  <p:tag name="MIO_GUID" val="dc9f0e84-ca2b-4557-a746-a03bce1f425d"/>
</p:tagLst>
</file>

<file path=ppt/tags/tag1088.xml><?xml version="1.0" encoding="utf-8"?>
<p:tagLst xmlns:a="http://schemas.openxmlformats.org/drawingml/2006/main" xmlns:r="http://schemas.openxmlformats.org/officeDocument/2006/relationships" xmlns:p="http://schemas.openxmlformats.org/presentationml/2006/main">
  <p:tag name="MIO_GUID" val="91116b9e-ebc0-4716-8f5f-be1a57093251"/>
</p:tagLst>
</file>

<file path=ppt/tags/tag1089.xml><?xml version="1.0" encoding="utf-8"?>
<p:tagLst xmlns:a="http://schemas.openxmlformats.org/drawingml/2006/main" xmlns:r="http://schemas.openxmlformats.org/officeDocument/2006/relationships" xmlns:p="http://schemas.openxmlformats.org/presentationml/2006/main">
  <p:tag name="MIO_GUID" val="fcd8ae8c-36ea-4d10-b09e-796330092d57"/>
</p:tagLst>
</file>

<file path=ppt/tags/tag109.xml><?xml version="1.0" encoding="utf-8"?>
<p:tagLst xmlns:a="http://schemas.openxmlformats.org/drawingml/2006/main" xmlns:r="http://schemas.openxmlformats.org/officeDocument/2006/relationships" xmlns:p="http://schemas.openxmlformats.org/presentationml/2006/main">
  <p:tag name="MIO_GUID" val="29099586-a357-4765-95f0-2a7eca37b65c"/>
</p:tagLst>
</file>

<file path=ppt/tags/tag1090.xml><?xml version="1.0" encoding="utf-8"?>
<p:tagLst xmlns:a="http://schemas.openxmlformats.org/drawingml/2006/main" xmlns:r="http://schemas.openxmlformats.org/officeDocument/2006/relationships" xmlns:p="http://schemas.openxmlformats.org/presentationml/2006/main">
  <p:tag name="MIO_GUID" val="81e2c28a-965d-4e23-b24c-e378ba73b78c"/>
</p:tagLst>
</file>

<file path=ppt/tags/tag1091.xml><?xml version="1.0" encoding="utf-8"?>
<p:tagLst xmlns:a="http://schemas.openxmlformats.org/drawingml/2006/main" xmlns:r="http://schemas.openxmlformats.org/officeDocument/2006/relationships" xmlns:p="http://schemas.openxmlformats.org/presentationml/2006/main">
  <p:tag name="MIO_GUID" val="7a4a254c-2534-474f-843f-647a221209ce"/>
</p:tagLst>
</file>

<file path=ppt/tags/tag1092.xml><?xml version="1.0" encoding="utf-8"?>
<p:tagLst xmlns:a="http://schemas.openxmlformats.org/drawingml/2006/main" xmlns:r="http://schemas.openxmlformats.org/officeDocument/2006/relationships" xmlns:p="http://schemas.openxmlformats.org/presentationml/2006/main">
  <p:tag name="MIO_GUID" val="87b5a30b-0060-431c-bfd2-bcd0030fa0b7"/>
</p:tagLst>
</file>

<file path=ppt/tags/tag1093.xml><?xml version="1.0" encoding="utf-8"?>
<p:tagLst xmlns:a="http://schemas.openxmlformats.org/drawingml/2006/main" xmlns:r="http://schemas.openxmlformats.org/officeDocument/2006/relationships" xmlns:p="http://schemas.openxmlformats.org/presentationml/2006/main">
  <p:tag name="MIO_GUID" val="9e0aa8e4-6ca3-4518-bab9-b3a04cd931ad"/>
</p:tagLst>
</file>

<file path=ppt/tags/tag1094.xml><?xml version="1.0" encoding="utf-8"?>
<p:tagLst xmlns:a="http://schemas.openxmlformats.org/drawingml/2006/main" xmlns:r="http://schemas.openxmlformats.org/officeDocument/2006/relationships" xmlns:p="http://schemas.openxmlformats.org/presentationml/2006/main">
  <p:tag name="MIO_GUID" val="f76b7de3-71f8-4e24-adba-6ce752601c2d"/>
</p:tagLst>
</file>

<file path=ppt/tags/tag1095.xml><?xml version="1.0" encoding="utf-8"?>
<p:tagLst xmlns:a="http://schemas.openxmlformats.org/drawingml/2006/main" xmlns:r="http://schemas.openxmlformats.org/officeDocument/2006/relationships" xmlns:p="http://schemas.openxmlformats.org/presentationml/2006/main">
  <p:tag name="MIO_GUID" val="587b3b7d-756b-4fd0-b58d-9332975db79c"/>
</p:tagLst>
</file>

<file path=ppt/tags/tag1096.xml><?xml version="1.0" encoding="utf-8"?>
<p:tagLst xmlns:a="http://schemas.openxmlformats.org/drawingml/2006/main" xmlns:r="http://schemas.openxmlformats.org/officeDocument/2006/relationships" xmlns:p="http://schemas.openxmlformats.org/presentationml/2006/main">
  <p:tag name="MIO_GUID" val="e630bb22-9e55-4292-82f5-93b66163e7b0"/>
</p:tagLst>
</file>

<file path=ppt/tags/tag1097.xml><?xml version="1.0" encoding="utf-8"?>
<p:tagLst xmlns:a="http://schemas.openxmlformats.org/drawingml/2006/main" xmlns:r="http://schemas.openxmlformats.org/officeDocument/2006/relationships" xmlns:p="http://schemas.openxmlformats.org/presentationml/2006/main">
  <p:tag name="MIO_GUID" val="e3871ff0-0c2d-4661-a1f2-60fd3cc75232"/>
</p:tagLst>
</file>

<file path=ppt/tags/tag1098.xml><?xml version="1.0" encoding="utf-8"?>
<p:tagLst xmlns:a="http://schemas.openxmlformats.org/drawingml/2006/main" xmlns:r="http://schemas.openxmlformats.org/officeDocument/2006/relationships" xmlns:p="http://schemas.openxmlformats.org/presentationml/2006/main">
  <p:tag name="MIO_GUID" val="9a9f58bb-842d-473a-849a-677b5496eacf"/>
</p:tagLst>
</file>

<file path=ppt/tags/tag1099.xml><?xml version="1.0" encoding="utf-8"?>
<p:tagLst xmlns:a="http://schemas.openxmlformats.org/drawingml/2006/main" xmlns:r="http://schemas.openxmlformats.org/officeDocument/2006/relationships" xmlns:p="http://schemas.openxmlformats.org/presentationml/2006/main">
  <p:tag name="MIO_GUID" val="f545c0d2-1adc-446b-a846-5998639b3bcb"/>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MIO_GUID" val="12544672-642e-4edc-94c0-2de5de0556a4"/>
</p:tagLst>
</file>

<file path=ppt/tags/tag1100.xml><?xml version="1.0" encoding="utf-8"?>
<p:tagLst xmlns:a="http://schemas.openxmlformats.org/drawingml/2006/main" xmlns:r="http://schemas.openxmlformats.org/officeDocument/2006/relationships" xmlns:p="http://schemas.openxmlformats.org/presentationml/2006/main">
  <p:tag name="MIO_GUID" val="8d7ed997-bece-4cdb-b4f5-80101c65cab7"/>
</p:tagLst>
</file>

<file path=ppt/tags/tag1101.xml><?xml version="1.0" encoding="utf-8"?>
<p:tagLst xmlns:a="http://schemas.openxmlformats.org/drawingml/2006/main" xmlns:r="http://schemas.openxmlformats.org/officeDocument/2006/relationships" xmlns:p="http://schemas.openxmlformats.org/presentationml/2006/main">
  <p:tag name="MIO_GUID" val="51e83743-5f1f-425d-aaea-cbb306d81912"/>
</p:tagLst>
</file>

<file path=ppt/tags/tag1102.xml><?xml version="1.0" encoding="utf-8"?>
<p:tagLst xmlns:a="http://schemas.openxmlformats.org/drawingml/2006/main" xmlns:r="http://schemas.openxmlformats.org/officeDocument/2006/relationships" xmlns:p="http://schemas.openxmlformats.org/presentationml/2006/main">
  <p:tag name="MIO_GUID" val="0dbf0d7d-d24f-4dbe-bd4d-bcbeec3f9fb2"/>
</p:tagLst>
</file>

<file path=ppt/tags/tag1103.xml><?xml version="1.0" encoding="utf-8"?>
<p:tagLst xmlns:a="http://schemas.openxmlformats.org/drawingml/2006/main" xmlns:r="http://schemas.openxmlformats.org/officeDocument/2006/relationships" xmlns:p="http://schemas.openxmlformats.org/presentationml/2006/main">
  <p:tag name="MIO_GUID" val="6fabc414-f22c-4d45-9633-f504b53cd7e7"/>
</p:tagLst>
</file>

<file path=ppt/tags/tag1104.xml><?xml version="1.0" encoding="utf-8"?>
<p:tagLst xmlns:a="http://schemas.openxmlformats.org/drawingml/2006/main" xmlns:r="http://schemas.openxmlformats.org/officeDocument/2006/relationships" xmlns:p="http://schemas.openxmlformats.org/presentationml/2006/main">
  <p:tag name="MIO_GUID" val="18ade7cd-e9e3-4772-a112-fab9b596706d"/>
</p:tagLst>
</file>

<file path=ppt/tags/tag1105.xml><?xml version="1.0" encoding="utf-8"?>
<p:tagLst xmlns:a="http://schemas.openxmlformats.org/drawingml/2006/main" xmlns:r="http://schemas.openxmlformats.org/officeDocument/2006/relationships" xmlns:p="http://schemas.openxmlformats.org/presentationml/2006/main">
  <p:tag name="MIO_GUID" val="40817e11-1de9-49ad-810b-5fc7730d34d1"/>
</p:tagLst>
</file>

<file path=ppt/tags/tag1106.xml><?xml version="1.0" encoding="utf-8"?>
<p:tagLst xmlns:a="http://schemas.openxmlformats.org/drawingml/2006/main" xmlns:r="http://schemas.openxmlformats.org/officeDocument/2006/relationships" xmlns:p="http://schemas.openxmlformats.org/presentationml/2006/main">
  <p:tag name="MIO_GUID" val="92e228df-f553-4c69-9902-24cc7488cbc9"/>
</p:tagLst>
</file>

<file path=ppt/tags/tag1107.xml><?xml version="1.0" encoding="utf-8"?>
<p:tagLst xmlns:a="http://schemas.openxmlformats.org/drawingml/2006/main" xmlns:r="http://schemas.openxmlformats.org/officeDocument/2006/relationships" xmlns:p="http://schemas.openxmlformats.org/presentationml/2006/main">
  <p:tag name="MIO_GUID" val="e08f2c2f-7de7-4ec4-8601-0cdbfdd68917"/>
</p:tagLst>
</file>

<file path=ppt/tags/tag1108.xml><?xml version="1.0" encoding="utf-8"?>
<p:tagLst xmlns:a="http://schemas.openxmlformats.org/drawingml/2006/main" xmlns:r="http://schemas.openxmlformats.org/officeDocument/2006/relationships" xmlns:p="http://schemas.openxmlformats.org/presentationml/2006/main">
  <p:tag name="MIO_GUID" val="6d8af32a-dcc6-4505-a780-30940f18d718"/>
</p:tagLst>
</file>

<file path=ppt/tags/tag1109.xml><?xml version="1.0" encoding="utf-8"?>
<p:tagLst xmlns:a="http://schemas.openxmlformats.org/drawingml/2006/main" xmlns:r="http://schemas.openxmlformats.org/officeDocument/2006/relationships" xmlns:p="http://schemas.openxmlformats.org/presentationml/2006/main">
  <p:tag name="MIO_GUID" val="1310f85d-e806-48f4-87aa-30041e6624d2"/>
</p:tagLst>
</file>

<file path=ppt/tags/tag111.xml><?xml version="1.0" encoding="utf-8"?>
<p:tagLst xmlns:a="http://schemas.openxmlformats.org/drawingml/2006/main" xmlns:r="http://schemas.openxmlformats.org/officeDocument/2006/relationships" xmlns:p="http://schemas.openxmlformats.org/presentationml/2006/main">
  <p:tag name="MIO_GUID" val="5622864f-c52c-4728-8b13-b525cbc819bd"/>
</p:tagLst>
</file>

<file path=ppt/tags/tag1110.xml><?xml version="1.0" encoding="utf-8"?>
<p:tagLst xmlns:a="http://schemas.openxmlformats.org/drawingml/2006/main" xmlns:r="http://schemas.openxmlformats.org/officeDocument/2006/relationships" xmlns:p="http://schemas.openxmlformats.org/presentationml/2006/main">
  <p:tag name="MIO_GUID" val="0fb40de7-6fea-4f0b-92a3-729abcbcc61a"/>
</p:tagLst>
</file>

<file path=ppt/tags/tag1111.xml><?xml version="1.0" encoding="utf-8"?>
<p:tagLst xmlns:a="http://schemas.openxmlformats.org/drawingml/2006/main" xmlns:r="http://schemas.openxmlformats.org/officeDocument/2006/relationships" xmlns:p="http://schemas.openxmlformats.org/presentationml/2006/main">
  <p:tag name="MIO_GUID" val="f798d5d0-d96d-49f6-9096-573a1f094c36"/>
</p:tagLst>
</file>

<file path=ppt/tags/tag1112.xml><?xml version="1.0" encoding="utf-8"?>
<p:tagLst xmlns:a="http://schemas.openxmlformats.org/drawingml/2006/main" xmlns:r="http://schemas.openxmlformats.org/officeDocument/2006/relationships" xmlns:p="http://schemas.openxmlformats.org/presentationml/2006/main">
  <p:tag name="MIO_GUID" val="663ec82c-9125-4fce-af86-248904215ad1"/>
</p:tagLst>
</file>

<file path=ppt/tags/tag1113.xml><?xml version="1.0" encoding="utf-8"?>
<p:tagLst xmlns:a="http://schemas.openxmlformats.org/drawingml/2006/main" xmlns:r="http://schemas.openxmlformats.org/officeDocument/2006/relationships" xmlns:p="http://schemas.openxmlformats.org/presentationml/2006/main">
  <p:tag name="MIO_GUID" val="ad40a1f3-8ff2-4d33-90ec-8e9a0e350600"/>
</p:tagLst>
</file>

<file path=ppt/tags/tag1114.xml><?xml version="1.0" encoding="utf-8"?>
<p:tagLst xmlns:a="http://schemas.openxmlformats.org/drawingml/2006/main" xmlns:r="http://schemas.openxmlformats.org/officeDocument/2006/relationships" xmlns:p="http://schemas.openxmlformats.org/presentationml/2006/main">
  <p:tag name="MIO_GUID" val="ca146955-00eb-4fac-938b-7fe5c73f379c"/>
</p:tagLst>
</file>

<file path=ppt/tags/tag1115.xml><?xml version="1.0" encoding="utf-8"?>
<p:tagLst xmlns:a="http://schemas.openxmlformats.org/drawingml/2006/main" xmlns:r="http://schemas.openxmlformats.org/officeDocument/2006/relationships" xmlns:p="http://schemas.openxmlformats.org/presentationml/2006/main">
  <p:tag name="MIO_GUID" val="2a2faedf-413d-4fa6-b0eb-ee73c3da8861"/>
</p:tagLst>
</file>

<file path=ppt/tags/tag1116.xml><?xml version="1.0" encoding="utf-8"?>
<p:tagLst xmlns:a="http://schemas.openxmlformats.org/drawingml/2006/main" xmlns:r="http://schemas.openxmlformats.org/officeDocument/2006/relationships" xmlns:p="http://schemas.openxmlformats.org/presentationml/2006/main">
  <p:tag name="MIO_GUID" val="a43317a0-71e7-4c73-ae6c-737f0acec6f3"/>
</p:tagLst>
</file>

<file path=ppt/tags/tag1117.xml><?xml version="1.0" encoding="utf-8"?>
<p:tagLst xmlns:a="http://schemas.openxmlformats.org/drawingml/2006/main" xmlns:r="http://schemas.openxmlformats.org/officeDocument/2006/relationships" xmlns:p="http://schemas.openxmlformats.org/presentationml/2006/main">
  <p:tag name="MIO_GUID" val="57455214-6050-45b4-9c81-764147730fdc"/>
</p:tagLst>
</file>

<file path=ppt/tags/tag1118.xml><?xml version="1.0" encoding="utf-8"?>
<p:tagLst xmlns:a="http://schemas.openxmlformats.org/drawingml/2006/main" xmlns:r="http://schemas.openxmlformats.org/officeDocument/2006/relationships" xmlns:p="http://schemas.openxmlformats.org/presentationml/2006/main">
  <p:tag name="MIO_GUID" val="8f438c1b-b7c1-4c83-ab2f-732b64dde97b"/>
</p:tagLst>
</file>

<file path=ppt/tags/tag1119.xml><?xml version="1.0" encoding="utf-8"?>
<p:tagLst xmlns:a="http://schemas.openxmlformats.org/drawingml/2006/main" xmlns:r="http://schemas.openxmlformats.org/officeDocument/2006/relationships" xmlns:p="http://schemas.openxmlformats.org/presentationml/2006/main">
  <p:tag name="MIO_GUID" val="466c6804-3ca7-4216-96e3-409d4bbe0682"/>
</p:tagLst>
</file>

<file path=ppt/tags/tag112.xml><?xml version="1.0" encoding="utf-8"?>
<p:tagLst xmlns:a="http://schemas.openxmlformats.org/drawingml/2006/main" xmlns:r="http://schemas.openxmlformats.org/officeDocument/2006/relationships" xmlns:p="http://schemas.openxmlformats.org/presentationml/2006/main">
  <p:tag name="MIO_GUID" val="5102c6de-0a57-4bea-9f99-88c04678a4e7"/>
</p:tagLst>
</file>

<file path=ppt/tags/tag1120.xml><?xml version="1.0" encoding="utf-8"?>
<p:tagLst xmlns:a="http://schemas.openxmlformats.org/drawingml/2006/main" xmlns:r="http://schemas.openxmlformats.org/officeDocument/2006/relationships" xmlns:p="http://schemas.openxmlformats.org/presentationml/2006/main">
  <p:tag name="MIO_GUID" val="91e16b37-474f-4d0e-8f43-6f17fdf49408"/>
</p:tagLst>
</file>

<file path=ppt/tags/tag1121.xml><?xml version="1.0" encoding="utf-8"?>
<p:tagLst xmlns:a="http://schemas.openxmlformats.org/drawingml/2006/main" xmlns:r="http://schemas.openxmlformats.org/officeDocument/2006/relationships" xmlns:p="http://schemas.openxmlformats.org/presentationml/2006/main">
  <p:tag name="MIO_GUID" val="6cc2fc89-ab58-4212-8793-0ab292d31b44"/>
</p:tagLst>
</file>

<file path=ppt/tags/tag1122.xml><?xml version="1.0" encoding="utf-8"?>
<p:tagLst xmlns:a="http://schemas.openxmlformats.org/drawingml/2006/main" xmlns:r="http://schemas.openxmlformats.org/officeDocument/2006/relationships" xmlns:p="http://schemas.openxmlformats.org/presentationml/2006/main">
  <p:tag name="MIO_GUID" val="9e5afae3-c305-41e8-a29f-7ae7ebd84b61"/>
</p:tagLst>
</file>

<file path=ppt/tags/tag1123.xml><?xml version="1.0" encoding="utf-8"?>
<p:tagLst xmlns:a="http://schemas.openxmlformats.org/drawingml/2006/main" xmlns:r="http://schemas.openxmlformats.org/officeDocument/2006/relationships" xmlns:p="http://schemas.openxmlformats.org/presentationml/2006/main">
  <p:tag name="MIO_GUID" val="276c4a8c-48d4-4484-a20d-7d8c85d4db0e"/>
</p:tagLst>
</file>

<file path=ppt/tags/tag1124.xml><?xml version="1.0" encoding="utf-8"?>
<p:tagLst xmlns:a="http://schemas.openxmlformats.org/drawingml/2006/main" xmlns:r="http://schemas.openxmlformats.org/officeDocument/2006/relationships" xmlns:p="http://schemas.openxmlformats.org/presentationml/2006/main">
  <p:tag name="MIO_GUID" val="18e7e6cf-c9fb-4c0b-8e8b-fbc2737564fc"/>
</p:tagLst>
</file>

<file path=ppt/tags/tag1125.xml><?xml version="1.0" encoding="utf-8"?>
<p:tagLst xmlns:a="http://schemas.openxmlformats.org/drawingml/2006/main" xmlns:r="http://schemas.openxmlformats.org/officeDocument/2006/relationships" xmlns:p="http://schemas.openxmlformats.org/presentationml/2006/main">
  <p:tag name="MIO_GUID" val="a9995c46-1add-418c-8b9f-c578959c1ab0"/>
</p:tagLst>
</file>

<file path=ppt/tags/tag1126.xml><?xml version="1.0" encoding="utf-8"?>
<p:tagLst xmlns:a="http://schemas.openxmlformats.org/drawingml/2006/main" xmlns:r="http://schemas.openxmlformats.org/officeDocument/2006/relationships" xmlns:p="http://schemas.openxmlformats.org/presentationml/2006/main">
  <p:tag name="MIO_GUID" val="287c66f0-3af4-4728-8908-85561f05f75b"/>
</p:tagLst>
</file>

<file path=ppt/tags/tag1127.xml><?xml version="1.0" encoding="utf-8"?>
<p:tagLst xmlns:a="http://schemas.openxmlformats.org/drawingml/2006/main" xmlns:r="http://schemas.openxmlformats.org/officeDocument/2006/relationships" xmlns:p="http://schemas.openxmlformats.org/presentationml/2006/main">
  <p:tag name="MIO_GUID" val="9ea27f4a-e5bd-44f5-b85a-f1d851fcb141"/>
</p:tagLst>
</file>

<file path=ppt/tags/tag1128.xml><?xml version="1.0" encoding="utf-8"?>
<p:tagLst xmlns:a="http://schemas.openxmlformats.org/drawingml/2006/main" xmlns:r="http://schemas.openxmlformats.org/officeDocument/2006/relationships" xmlns:p="http://schemas.openxmlformats.org/presentationml/2006/main">
  <p:tag name="MIO_GUID" val="42ff9cf8-07ac-46a1-b382-36b2c69231ba"/>
</p:tagLst>
</file>

<file path=ppt/tags/tag1129.xml><?xml version="1.0" encoding="utf-8"?>
<p:tagLst xmlns:a="http://schemas.openxmlformats.org/drawingml/2006/main" xmlns:r="http://schemas.openxmlformats.org/officeDocument/2006/relationships" xmlns:p="http://schemas.openxmlformats.org/presentationml/2006/main">
  <p:tag name="MIO_GUID" val="b5d3e848-bb01-4394-a514-4be53ccae88b"/>
</p:tagLst>
</file>

<file path=ppt/tags/tag113.xml><?xml version="1.0" encoding="utf-8"?>
<p:tagLst xmlns:a="http://schemas.openxmlformats.org/drawingml/2006/main" xmlns:r="http://schemas.openxmlformats.org/officeDocument/2006/relationships" xmlns:p="http://schemas.openxmlformats.org/presentationml/2006/main">
  <p:tag name="MIO_GUID" val="bc846fe7-ff3c-43b4-98f3-86d19c8cddaa"/>
</p:tagLst>
</file>

<file path=ppt/tags/tag1130.xml><?xml version="1.0" encoding="utf-8"?>
<p:tagLst xmlns:a="http://schemas.openxmlformats.org/drawingml/2006/main" xmlns:r="http://schemas.openxmlformats.org/officeDocument/2006/relationships" xmlns:p="http://schemas.openxmlformats.org/presentationml/2006/main">
  <p:tag name="MIO_GUID" val="7203ba97-d5b7-4743-aeb5-671e42367234"/>
</p:tagLst>
</file>

<file path=ppt/tags/tag1131.xml><?xml version="1.0" encoding="utf-8"?>
<p:tagLst xmlns:a="http://schemas.openxmlformats.org/drawingml/2006/main" xmlns:r="http://schemas.openxmlformats.org/officeDocument/2006/relationships" xmlns:p="http://schemas.openxmlformats.org/presentationml/2006/main">
  <p:tag name="MIO_GUID" val="65d7931f-2cd2-4911-9feb-1bab5a6600d0"/>
</p:tagLst>
</file>

<file path=ppt/tags/tag1132.xml><?xml version="1.0" encoding="utf-8"?>
<p:tagLst xmlns:a="http://schemas.openxmlformats.org/drawingml/2006/main" xmlns:r="http://schemas.openxmlformats.org/officeDocument/2006/relationships" xmlns:p="http://schemas.openxmlformats.org/presentationml/2006/main">
  <p:tag name="MIO_GUID" val="75211f53-ed15-488a-8c51-51eac0a0fd12"/>
</p:tagLst>
</file>

<file path=ppt/tags/tag1133.xml><?xml version="1.0" encoding="utf-8"?>
<p:tagLst xmlns:a="http://schemas.openxmlformats.org/drawingml/2006/main" xmlns:r="http://schemas.openxmlformats.org/officeDocument/2006/relationships" xmlns:p="http://schemas.openxmlformats.org/presentationml/2006/main">
  <p:tag name="MIO_GUID" val="26c26429-c563-4620-8448-56ca10b96747"/>
</p:tagLst>
</file>

<file path=ppt/tags/tag1134.xml><?xml version="1.0" encoding="utf-8"?>
<p:tagLst xmlns:a="http://schemas.openxmlformats.org/drawingml/2006/main" xmlns:r="http://schemas.openxmlformats.org/officeDocument/2006/relationships" xmlns:p="http://schemas.openxmlformats.org/presentationml/2006/main">
  <p:tag name="MIO_GUID" val="257b9bb0-5f17-431b-b10d-a35adece3f30"/>
</p:tagLst>
</file>

<file path=ppt/tags/tag1135.xml><?xml version="1.0" encoding="utf-8"?>
<p:tagLst xmlns:a="http://schemas.openxmlformats.org/drawingml/2006/main" xmlns:r="http://schemas.openxmlformats.org/officeDocument/2006/relationships" xmlns:p="http://schemas.openxmlformats.org/presentationml/2006/main">
  <p:tag name="MIO_GUID" val="e9d0ed34-d75e-4abd-8a00-511486a87353"/>
</p:tagLst>
</file>

<file path=ppt/tags/tag1136.xml><?xml version="1.0" encoding="utf-8"?>
<p:tagLst xmlns:a="http://schemas.openxmlformats.org/drawingml/2006/main" xmlns:r="http://schemas.openxmlformats.org/officeDocument/2006/relationships" xmlns:p="http://schemas.openxmlformats.org/presentationml/2006/main">
  <p:tag name="MIO_GUID" val="576e8aaa-bbb1-42c4-befb-8ef217641dcc"/>
</p:tagLst>
</file>

<file path=ppt/tags/tag1137.xml><?xml version="1.0" encoding="utf-8"?>
<p:tagLst xmlns:a="http://schemas.openxmlformats.org/drawingml/2006/main" xmlns:r="http://schemas.openxmlformats.org/officeDocument/2006/relationships" xmlns:p="http://schemas.openxmlformats.org/presentationml/2006/main">
  <p:tag name="MIO_GUID" val="687002e4-165b-4a61-a7a0-3700d5e4b47d"/>
</p:tagLst>
</file>

<file path=ppt/tags/tag1138.xml><?xml version="1.0" encoding="utf-8"?>
<p:tagLst xmlns:a="http://schemas.openxmlformats.org/drawingml/2006/main" xmlns:r="http://schemas.openxmlformats.org/officeDocument/2006/relationships" xmlns:p="http://schemas.openxmlformats.org/presentationml/2006/main">
  <p:tag name="MIO_GUID" val="589a169c-a543-47ec-a831-3292a87ea5f5"/>
</p:tagLst>
</file>

<file path=ppt/tags/tag1139.xml><?xml version="1.0" encoding="utf-8"?>
<p:tagLst xmlns:a="http://schemas.openxmlformats.org/drawingml/2006/main" xmlns:r="http://schemas.openxmlformats.org/officeDocument/2006/relationships" xmlns:p="http://schemas.openxmlformats.org/presentationml/2006/main">
  <p:tag name="MIO_GUID" val="2a7c5b2e-f4af-4d43-b7e3-756d25632cde"/>
</p:tagLst>
</file>

<file path=ppt/tags/tag114.xml><?xml version="1.0" encoding="utf-8"?>
<p:tagLst xmlns:a="http://schemas.openxmlformats.org/drawingml/2006/main" xmlns:r="http://schemas.openxmlformats.org/officeDocument/2006/relationships" xmlns:p="http://schemas.openxmlformats.org/presentationml/2006/main">
  <p:tag name="MIO_GUID" val="e81bf5a2-b563-423a-aeec-d0145571c23d"/>
</p:tagLst>
</file>

<file path=ppt/tags/tag1140.xml><?xml version="1.0" encoding="utf-8"?>
<p:tagLst xmlns:a="http://schemas.openxmlformats.org/drawingml/2006/main" xmlns:r="http://schemas.openxmlformats.org/officeDocument/2006/relationships" xmlns:p="http://schemas.openxmlformats.org/presentationml/2006/main">
  <p:tag name="MIO_GUID" val="2d313a1d-efeb-4406-a3ee-b8a9f1f9f5f3"/>
</p:tagLst>
</file>

<file path=ppt/tags/tag1141.xml><?xml version="1.0" encoding="utf-8"?>
<p:tagLst xmlns:a="http://schemas.openxmlformats.org/drawingml/2006/main" xmlns:r="http://schemas.openxmlformats.org/officeDocument/2006/relationships" xmlns:p="http://schemas.openxmlformats.org/presentationml/2006/main">
  <p:tag name="MIO_GUID" val="505be20e-0ed1-4e5d-9cbb-3b7c37b69768"/>
</p:tagLst>
</file>

<file path=ppt/tags/tag1142.xml><?xml version="1.0" encoding="utf-8"?>
<p:tagLst xmlns:a="http://schemas.openxmlformats.org/drawingml/2006/main" xmlns:r="http://schemas.openxmlformats.org/officeDocument/2006/relationships" xmlns:p="http://schemas.openxmlformats.org/presentationml/2006/main">
  <p:tag name="MIO_GUID" val="a07ae947-ee56-4ed6-9af2-be3136666b16"/>
</p:tagLst>
</file>

<file path=ppt/tags/tag1143.xml><?xml version="1.0" encoding="utf-8"?>
<p:tagLst xmlns:a="http://schemas.openxmlformats.org/drawingml/2006/main" xmlns:r="http://schemas.openxmlformats.org/officeDocument/2006/relationships" xmlns:p="http://schemas.openxmlformats.org/presentationml/2006/main">
  <p:tag name="MIO_GUID" val="8dcbc773-ca66-47ca-874c-511aab4ccdb7"/>
</p:tagLst>
</file>

<file path=ppt/tags/tag1144.xml><?xml version="1.0" encoding="utf-8"?>
<p:tagLst xmlns:a="http://schemas.openxmlformats.org/drawingml/2006/main" xmlns:r="http://schemas.openxmlformats.org/officeDocument/2006/relationships" xmlns:p="http://schemas.openxmlformats.org/presentationml/2006/main">
  <p:tag name="MIO_GUID" val="ead83b85-a7f6-4160-bf24-cf8e0f505c32"/>
</p:tagLst>
</file>

<file path=ppt/tags/tag1145.xml><?xml version="1.0" encoding="utf-8"?>
<p:tagLst xmlns:a="http://schemas.openxmlformats.org/drawingml/2006/main" xmlns:r="http://schemas.openxmlformats.org/officeDocument/2006/relationships" xmlns:p="http://schemas.openxmlformats.org/presentationml/2006/main">
  <p:tag name="MIO_GUID" val="615be158-ab7a-4865-88a9-597321adfc9e"/>
</p:tagLst>
</file>

<file path=ppt/tags/tag1146.xml><?xml version="1.0" encoding="utf-8"?>
<p:tagLst xmlns:a="http://schemas.openxmlformats.org/drawingml/2006/main" xmlns:r="http://schemas.openxmlformats.org/officeDocument/2006/relationships" xmlns:p="http://schemas.openxmlformats.org/presentationml/2006/main">
  <p:tag name="MIO_GUID" val="3d9b3cc6-0da6-4f8a-a663-b6dd4e661756"/>
</p:tagLst>
</file>

<file path=ppt/tags/tag1147.xml><?xml version="1.0" encoding="utf-8"?>
<p:tagLst xmlns:a="http://schemas.openxmlformats.org/drawingml/2006/main" xmlns:r="http://schemas.openxmlformats.org/officeDocument/2006/relationships" xmlns:p="http://schemas.openxmlformats.org/presentationml/2006/main">
  <p:tag name="MIO_GUID" val="87232cd2-099b-4081-a02d-b98f60f39e75"/>
</p:tagLst>
</file>

<file path=ppt/tags/tag1148.xml><?xml version="1.0" encoding="utf-8"?>
<p:tagLst xmlns:a="http://schemas.openxmlformats.org/drawingml/2006/main" xmlns:r="http://schemas.openxmlformats.org/officeDocument/2006/relationships" xmlns:p="http://schemas.openxmlformats.org/presentationml/2006/main">
  <p:tag name="MIO_GUID" val="0cb10d0b-afcd-4e7e-82c8-c675d24a86d8"/>
</p:tagLst>
</file>

<file path=ppt/tags/tag1149.xml><?xml version="1.0" encoding="utf-8"?>
<p:tagLst xmlns:a="http://schemas.openxmlformats.org/drawingml/2006/main" xmlns:r="http://schemas.openxmlformats.org/officeDocument/2006/relationships" xmlns:p="http://schemas.openxmlformats.org/presentationml/2006/main">
  <p:tag name="MIO_GUID" val="6d81a2ea-4970-4cb7-8e0f-e4da9a41fe48"/>
</p:tagLst>
</file>

<file path=ppt/tags/tag115.xml><?xml version="1.0" encoding="utf-8"?>
<p:tagLst xmlns:a="http://schemas.openxmlformats.org/drawingml/2006/main" xmlns:r="http://schemas.openxmlformats.org/officeDocument/2006/relationships" xmlns:p="http://schemas.openxmlformats.org/presentationml/2006/main">
  <p:tag name="MIO_GUID" val="307a1469-bc1f-42b8-8336-a3df8864b021"/>
</p:tagLst>
</file>

<file path=ppt/tags/tag1150.xml><?xml version="1.0" encoding="utf-8"?>
<p:tagLst xmlns:a="http://schemas.openxmlformats.org/drawingml/2006/main" xmlns:r="http://schemas.openxmlformats.org/officeDocument/2006/relationships" xmlns:p="http://schemas.openxmlformats.org/presentationml/2006/main">
  <p:tag name="MIO_GUID" val="1f2cb7c4-48f7-4ad0-a8eb-fe561bd4f48b"/>
</p:tagLst>
</file>

<file path=ppt/tags/tag1151.xml><?xml version="1.0" encoding="utf-8"?>
<p:tagLst xmlns:a="http://schemas.openxmlformats.org/drawingml/2006/main" xmlns:r="http://schemas.openxmlformats.org/officeDocument/2006/relationships" xmlns:p="http://schemas.openxmlformats.org/presentationml/2006/main">
  <p:tag name="MIO_GUID" val="e15eb0c9-35cd-4519-bbda-406a01b490aa"/>
</p:tagLst>
</file>

<file path=ppt/tags/tag1152.xml><?xml version="1.0" encoding="utf-8"?>
<p:tagLst xmlns:a="http://schemas.openxmlformats.org/drawingml/2006/main" xmlns:r="http://schemas.openxmlformats.org/officeDocument/2006/relationships" xmlns:p="http://schemas.openxmlformats.org/presentationml/2006/main">
  <p:tag name="MIO_GUID" val="00946fa9-8501-45c6-8c34-f287273a3b63"/>
</p:tagLst>
</file>

<file path=ppt/tags/tag1153.xml><?xml version="1.0" encoding="utf-8"?>
<p:tagLst xmlns:a="http://schemas.openxmlformats.org/drawingml/2006/main" xmlns:r="http://schemas.openxmlformats.org/officeDocument/2006/relationships" xmlns:p="http://schemas.openxmlformats.org/presentationml/2006/main">
  <p:tag name="MIO_GUID" val="4e0160a8-50f6-4f8b-9033-7f89f971acf0"/>
</p:tagLst>
</file>

<file path=ppt/tags/tag1154.xml><?xml version="1.0" encoding="utf-8"?>
<p:tagLst xmlns:a="http://schemas.openxmlformats.org/drawingml/2006/main" xmlns:r="http://schemas.openxmlformats.org/officeDocument/2006/relationships" xmlns:p="http://schemas.openxmlformats.org/presentationml/2006/main">
  <p:tag name="MIO_GUID" val="8fc7e110-9729-40e4-abf5-40de2c12114d"/>
</p:tagLst>
</file>

<file path=ppt/tags/tag1155.xml><?xml version="1.0" encoding="utf-8"?>
<p:tagLst xmlns:a="http://schemas.openxmlformats.org/drawingml/2006/main" xmlns:r="http://schemas.openxmlformats.org/officeDocument/2006/relationships" xmlns:p="http://schemas.openxmlformats.org/presentationml/2006/main">
  <p:tag name="MIO_GUID" val="67982106-56de-4266-a18c-3f92d6ba234c"/>
</p:tagLst>
</file>

<file path=ppt/tags/tag1156.xml><?xml version="1.0" encoding="utf-8"?>
<p:tagLst xmlns:a="http://schemas.openxmlformats.org/drawingml/2006/main" xmlns:r="http://schemas.openxmlformats.org/officeDocument/2006/relationships" xmlns:p="http://schemas.openxmlformats.org/presentationml/2006/main">
  <p:tag name="MIO_GUID" val="fb6e94bd-259b-4d08-a133-0b7deae20977"/>
</p:tagLst>
</file>

<file path=ppt/tags/tag1157.xml><?xml version="1.0" encoding="utf-8"?>
<p:tagLst xmlns:a="http://schemas.openxmlformats.org/drawingml/2006/main" xmlns:r="http://schemas.openxmlformats.org/officeDocument/2006/relationships" xmlns:p="http://schemas.openxmlformats.org/presentationml/2006/main">
  <p:tag name="MIO_GUID" val="58b6af87-cc9d-4910-a429-9a29d5826767"/>
</p:tagLst>
</file>

<file path=ppt/tags/tag1158.xml><?xml version="1.0" encoding="utf-8"?>
<p:tagLst xmlns:a="http://schemas.openxmlformats.org/drawingml/2006/main" xmlns:r="http://schemas.openxmlformats.org/officeDocument/2006/relationships" xmlns:p="http://schemas.openxmlformats.org/presentationml/2006/main">
  <p:tag name="MIO_GUID" val="bf9b1a56-6386-4b59-ab7d-14f730255b23"/>
</p:tagLst>
</file>

<file path=ppt/tags/tag1159.xml><?xml version="1.0" encoding="utf-8"?>
<p:tagLst xmlns:a="http://schemas.openxmlformats.org/drawingml/2006/main" xmlns:r="http://schemas.openxmlformats.org/officeDocument/2006/relationships" xmlns:p="http://schemas.openxmlformats.org/presentationml/2006/main">
  <p:tag name="MIO_GUID" val="f0022f5a-d16d-44fe-af40-c0dc0b6da8e6"/>
</p:tagLst>
</file>

<file path=ppt/tags/tag116.xml><?xml version="1.0" encoding="utf-8"?>
<p:tagLst xmlns:a="http://schemas.openxmlformats.org/drawingml/2006/main" xmlns:r="http://schemas.openxmlformats.org/officeDocument/2006/relationships" xmlns:p="http://schemas.openxmlformats.org/presentationml/2006/main">
  <p:tag name="MIO_GUID" val="19a8e741-bade-4213-8738-425d1c5ad8a3"/>
</p:tagLst>
</file>

<file path=ppt/tags/tag1160.xml><?xml version="1.0" encoding="utf-8"?>
<p:tagLst xmlns:a="http://schemas.openxmlformats.org/drawingml/2006/main" xmlns:r="http://schemas.openxmlformats.org/officeDocument/2006/relationships" xmlns:p="http://schemas.openxmlformats.org/presentationml/2006/main">
  <p:tag name="MIO_GUID" val="0fb48f16-1a8c-4a96-a8e5-ab8e0dbc4a17"/>
</p:tagLst>
</file>

<file path=ppt/tags/tag1161.xml><?xml version="1.0" encoding="utf-8"?>
<p:tagLst xmlns:a="http://schemas.openxmlformats.org/drawingml/2006/main" xmlns:r="http://schemas.openxmlformats.org/officeDocument/2006/relationships" xmlns:p="http://schemas.openxmlformats.org/presentationml/2006/main">
  <p:tag name="MIO_GUID" val="a4f50369-0533-45b3-9310-17e5709214b3"/>
</p:tagLst>
</file>

<file path=ppt/tags/tag1162.xml><?xml version="1.0" encoding="utf-8"?>
<p:tagLst xmlns:a="http://schemas.openxmlformats.org/drawingml/2006/main" xmlns:r="http://schemas.openxmlformats.org/officeDocument/2006/relationships" xmlns:p="http://schemas.openxmlformats.org/presentationml/2006/main">
  <p:tag name="MIO_GUID" val="15ddb044-5bd3-4081-b92f-604f1ade1bad"/>
</p:tagLst>
</file>

<file path=ppt/tags/tag1163.xml><?xml version="1.0" encoding="utf-8"?>
<p:tagLst xmlns:a="http://schemas.openxmlformats.org/drawingml/2006/main" xmlns:r="http://schemas.openxmlformats.org/officeDocument/2006/relationships" xmlns:p="http://schemas.openxmlformats.org/presentationml/2006/main">
  <p:tag name="MIO_GUID" val="a6d60a9d-ffac-46fa-8538-386538a0b11f"/>
</p:tagLst>
</file>

<file path=ppt/tags/tag1164.xml><?xml version="1.0" encoding="utf-8"?>
<p:tagLst xmlns:a="http://schemas.openxmlformats.org/drawingml/2006/main" xmlns:r="http://schemas.openxmlformats.org/officeDocument/2006/relationships" xmlns:p="http://schemas.openxmlformats.org/presentationml/2006/main">
  <p:tag name="MIO_GUID" val="a230a728-02ed-45f1-a7e4-51a68d335851"/>
</p:tagLst>
</file>

<file path=ppt/tags/tag1165.xml><?xml version="1.0" encoding="utf-8"?>
<p:tagLst xmlns:a="http://schemas.openxmlformats.org/drawingml/2006/main" xmlns:r="http://schemas.openxmlformats.org/officeDocument/2006/relationships" xmlns:p="http://schemas.openxmlformats.org/presentationml/2006/main">
  <p:tag name="MIO_GUID" val="3731e09c-ed81-4bed-af8e-b117d82ae4a2"/>
</p:tagLst>
</file>

<file path=ppt/tags/tag1166.xml><?xml version="1.0" encoding="utf-8"?>
<p:tagLst xmlns:a="http://schemas.openxmlformats.org/drawingml/2006/main" xmlns:r="http://schemas.openxmlformats.org/officeDocument/2006/relationships" xmlns:p="http://schemas.openxmlformats.org/presentationml/2006/main">
  <p:tag name="MIO_GUID" val="86a92f36-9d24-48ab-ac76-a0ca81029f90"/>
</p:tagLst>
</file>

<file path=ppt/tags/tag1167.xml><?xml version="1.0" encoding="utf-8"?>
<p:tagLst xmlns:a="http://schemas.openxmlformats.org/drawingml/2006/main" xmlns:r="http://schemas.openxmlformats.org/officeDocument/2006/relationships" xmlns:p="http://schemas.openxmlformats.org/presentationml/2006/main">
  <p:tag name="MIO_GUID" val="f35c4dae-b8fb-44d9-97cf-d4d11f5b0478"/>
</p:tagLst>
</file>

<file path=ppt/tags/tag1168.xml><?xml version="1.0" encoding="utf-8"?>
<p:tagLst xmlns:a="http://schemas.openxmlformats.org/drawingml/2006/main" xmlns:r="http://schemas.openxmlformats.org/officeDocument/2006/relationships" xmlns:p="http://schemas.openxmlformats.org/presentationml/2006/main">
  <p:tag name="MIO_GUID" val="f289425b-523e-4219-be02-8dc1ff93cec2"/>
</p:tagLst>
</file>

<file path=ppt/tags/tag1169.xml><?xml version="1.0" encoding="utf-8"?>
<p:tagLst xmlns:a="http://schemas.openxmlformats.org/drawingml/2006/main" xmlns:r="http://schemas.openxmlformats.org/officeDocument/2006/relationships" xmlns:p="http://schemas.openxmlformats.org/presentationml/2006/main">
  <p:tag name="MIO_GUID" val="cc35c4e3-c3d2-4137-ab3d-645cf5ca1750"/>
</p:tagLst>
</file>

<file path=ppt/tags/tag117.xml><?xml version="1.0" encoding="utf-8"?>
<p:tagLst xmlns:a="http://schemas.openxmlformats.org/drawingml/2006/main" xmlns:r="http://schemas.openxmlformats.org/officeDocument/2006/relationships" xmlns:p="http://schemas.openxmlformats.org/presentationml/2006/main">
  <p:tag name="MIO_GUID" val="163dd8d1-82cb-4f67-b1a3-8e9a27e131c2"/>
</p:tagLst>
</file>

<file path=ppt/tags/tag1170.xml><?xml version="1.0" encoding="utf-8"?>
<p:tagLst xmlns:a="http://schemas.openxmlformats.org/drawingml/2006/main" xmlns:r="http://schemas.openxmlformats.org/officeDocument/2006/relationships" xmlns:p="http://schemas.openxmlformats.org/presentationml/2006/main">
  <p:tag name="MIO_GUID" val="0638ca4f-648a-47ae-ad2c-4424bc078e00"/>
</p:tagLst>
</file>

<file path=ppt/tags/tag1171.xml><?xml version="1.0" encoding="utf-8"?>
<p:tagLst xmlns:a="http://schemas.openxmlformats.org/drawingml/2006/main" xmlns:r="http://schemas.openxmlformats.org/officeDocument/2006/relationships" xmlns:p="http://schemas.openxmlformats.org/presentationml/2006/main">
  <p:tag name="MIO_GUID" val="b35ebef1-da8d-4811-9160-2c6b0353fd2b"/>
</p:tagLst>
</file>

<file path=ppt/tags/tag1172.xml><?xml version="1.0" encoding="utf-8"?>
<p:tagLst xmlns:a="http://schemas.openxmlformats.org/drawingml/2006/main" xmlns:r="http://schemas.openxmlformats.org/officeDocument/2006/relationships" xmlns:p="http://schemas.openxmlformats.org/presentationml/2006/main">
  <p:tag name="MIO_GUID" val="6c97bb5e-7acd-4aab-9e7b-059fe0b1da5b"/>
</p:tagLst>
</file>

<file path=ppt/tags/tag1173.xml><?xml version="1.0" encoding="utf-8"?>
<p:tagLst xmlns:a="http://schemas.openxmlformats.org/drawingml/2006/main" xmlns:r="http://schemas.openxmlformats.org/officeDocument/2006/relationships" xmlns:p="http://schemas.openxmlformats.org/presentationml/2006/main">
  <p:tag name="MIO_GUID" val="193784fd-7626-48e4-a9bd-89a6ace71314"/>
</p:tagLst>
</file>

<file path=ppt/tags/tag1174.xml><?xml version="1.0" encoding="utf-8"?>
<p:tagLst xmlns:a="http://schemas.openxmlformats.org/drawingml/2006/main" xmlns:r="http://schemas.openxmlformats.org/officeDocument/2006/relationships" xmlns:p="http://schemas.openxmlformats.org/presentationml/2006/main">
  <p:tag name="MIO_GUID" val="7ff40aa9-d8b4-42b9-918e-cf681fec8ad5"/>
</p:tagLst>
</file>

<file path=ppt/tags/tag1175.xml><?xml version="1.0" encoding="utf-8"?>
<p:tagLst xmlns:a="http://schemas.openxmlformats.org/drawingml/2006/main" xmlns:r="http://schemas.openxmlformats.org/officeDocument/2006/relationships" xmlns:p="http://schemas.openxmlformats.org/presentationml/2006/main">
  <p:tag name="MIO_GUID" val="74725d00-5907-4442-b676-27b26b6b1ce2"/>
</p:tagLst>
</file>

<file path=ppt/tags/tag1176.xml><?xml version="1.0" encoding="utf-8"?>
<p:tagLst xmlns:a="http://schemas.openxmlformats.org/drawingml/2006/main" xmlns:r="http://schemas.openxmlformats.org/officeDocument/2006/relationships" xmlns:p="http://schemas.openxmlformats.org/presentationml/2006/main">
  <p:tag name="MIO_GUID" val="fcceed0c-4a56-49ee-8ba2-628fcf027e01"/>
</p:tagLst>
</file>

<file path=ppt/tags/tag1177.xml><?xml version="1.0" encoding="utf-8"?>
<p:tagLst xmlns:a="http://schemas.openxmlformats.org/drawingml/2006/main" xmlns:r="http://schemas.openxmlformats.org/officeDocument/2006/relationships" xmlns:p="http://schemas.openxmlformats.org/presentationml/2006/main">
  <p:tag name="MIO_GUID" val="34664ee0-4cce-4cdd-92ff-a6d26fefac0d"/>
</p:tagLst>
</file>

<file path=ppt/tags/tag1178.xml><?xml version="1.0" encoding="utf-8"?>
<p:tagLst xmlns:a="http://schemas.openxmlformats.org/drawingml/2006/main" xmlns:r="http://schemas.openxmlformats.org/officeDocument/2006/relationships" xmlns:p="http://schemas.openxmlformats.org/presentationml/2006/main">
  <p:tag name="MIO_GUID" val="19e325fb-c8bb-4293-83bc-41e4329f44d7"/>
</p:tagLst>
</file>

<file path=ppt/tags/tag1179.xml><?xml version="1.0" encoding="utf-8"?>
<p:tagLst xmlns:a="http://schemas.openxmlformats.org/drawingml/2006/main" xmlns:r="http://schemas.openxmlformats.org/officeDocument/2006/relationships" xmlns:p="http://schemas.openxmlformats.org/presentationml/2006/main">
  <p:tag name="MIO_GUID" val="ddf81953-e87b-4cfa-acde-ef107ff31a24"/>
</p:tagLst>
</file>

<file path=ppt/tags/tag118.xml><?xml version="1.0" encoding="utf-8"?>
<p:tagLst xmlns:a="http://schemas.openxmlformats.org/drawingml/2006/main" xmlns:r="http://schemas.openxmlformats.org/officeDocument/2006/relationships" xmlns:p="http://schemas.openxmlformats.org/presentationml/2006/main">
  <p:tag name="MIO_GUID" val="de833be4-e957-46a2-b034-4df62a30432a"/>
</p:tagLst>
</file>

<file path=ppt/tags/tag1180.xml><?xml version="1.0" encoding="utf-8"?>
<p:tagLst xmlns:a="http://schemas.openxmlformats.org/drawingml/2006/main" xmlns:r="http://schemas.openxmlformats.org/officeDocument/2006/relationships" xmlns:p="http://schemas.openxmlformats.org/presentationml/2006/main">
  <p:tag name="MIO_GUID" val="b5a3cfbf-ec65-484e-9713-cb14be4a9420"/>
</p:tagLst>
</file>

<file path=ppt/tags/tag1181.xml><?xml version="1.0" encoding="utf-8"?>
<p:tagLst xmlns:a="http://schemas.openxmlformats.org/drawingml/2006/main" xmlns:r="http://schemas.openxmlformats.org/officeDocument/2006/relationships" xmlns:p="http://schemas.openxmlformats.org/presentationml/2006/main">
  <p:tag name="MIO_GUID" val="77c734c8-3d63-4fac-8135-d97b50bf3336"/>
</p:tagLst>
</file>

<file path=ppt/tags/tag1182.xml><?xml version="1.0" encoding="utf-8"?>
<p:tagLst xmlns:a="http://schemas.openxmlformats.org/drawingml/2006/main" xmlns:r="http://schemas.openxmlformats.org/officeDocument/2006/relationships" xmlns:p="http://schemas.openxmlformats.org/presentationml/2006/main">
  <p:tag name="MIO_GUID" val="b9c7ca41-4b7f-444b-a91c-7aab37b3ae15"/>
</p:tagLst>
</file>

<file path=ppt/tags/tag1183.xml><?xml version="1.0" encoding="utf-8"?>
<p:tagLst xmlns:a="http://schemas.openxmlformats.org/drawingml/2006/main" xmlns:r="http://schemas.openxmlformats.org/officeDocument/2006/relationships" xmlns:p="http://schemas.openxmlformats.org/presentationml/2006/main">
  <p:tag name="MIO_GUID" val="dfc32823-e7ba-449c-b5ec-a32ae684e8f1"/>
</p:tagLst>
</file>

<file path=ppt/tags/tag1184.xml><?xml version="1.0" encoding="utf-8"?>
<p:tagLst xmlns:a="http://schemas.openxmlformats.org/drawingml/2006/main" xmlns:r="http://schemas.openxmlformats.org/officeDocument/2006/relationships" xmlns:p="http://schemas.openxmlformats.org/presentationml/2006/main">
  <p:tag name="MIO_GUID" val="43c08655-c3e3-435f-84f0-854e397297f1"/>
</p:tagLst>
</file>

<file path=ppt/tags/tag1185.xml><?xml version="1.0" encoding="utf-8"?>
<p:tagLst xmlns:a="http://schemas.openxmlformats.org/drawingml/2006/main" xmlns:r="http://schemas.openxmlformats.org/officeDocument/2006/relationships" xmlns:p="http://schemas.openxmlformats.org/presentationml/2006/main">
  <p:tag name="MIO_GUID" val="79d09bc5-7146-4aa3-879d-6ddf60f3dc86"/>
</p:tagLst>
</file>

<file path=ppt/tags/tag1186.xml><?xml version="1.0" encoding="utf-8"?>
<p:tagLst xmlns:a="http://schemas.openxmlformats.org/drawingml/2006/main" xmlns:r="http://schemas.openxmlformats.org/officeDocument/2006/relationships" xmlns:p="http://schemas.openxmlformats.org/presentationml/2006/main">
  <p:tag name="MIO_GUID" val="77dfa53a-b4b0-4024-86ee-36811fbb8976"/>
</p:tagLst>
</file>

<file path=ppt/tags/tag1187.xml><?xml version="1.0" encoding="utf-8"?>
<p:tagLst xmlns:a="http://schemas.openxmlformats.org/drawingml/2006/main" xmlns:r="http://schemas.openxmlformats.org/officeDocument/2006/relationships" xmlns:p="http://schemas.openxmlformats.org/presentationml/2006/main">
  <p:tag name="MIO_GUID" val="f3187b2e-de49-4503-8652-03e3af6c1eb5"/>
</p:tagLst>
</file>

<file path=ppt/tags/tag1188.xml><?xml version="1.0" encoding="utf-8"?>
<p:tagLst xmlns:a="http://schemas.openxmlformats.org/drawingml/2006/main" xmlns:r="http://schemas.openxmlformats.org/officeDocument/2006/relationships" xmlns:p="http://schemas.openxmlformats.org/presentationml/2006/main">
  <p:tag name="MIO_GUID" val="731d9f18-a08a-49fb-a6ec-04296c01626d"/>
</p:tagLst>
</file>

<file path=ppt/tags/tag1189.xml><?xml version="1.0" encoding="utf-8"?>
<p:tagLst xmlns:a="http://schemas.openxmlformats.org/drawingml/2006/main" xmlns:r="http://schemas.openxmlformats.org/officeDocument/2006/relationships" xmlns:p="http://schemas.openxmlformats.org/presentationml/2006/main">
  <p:tag name="MIO_GUID" val="61c774e2-56ce-47af-8633-bbce208ac2b4"/>
</p:tagLst>
</file>

<file path=ppt/tags/tag119.xml><?xml version="1.0" encoding="utf-8"?>
<p:tagLst xmlns:a="http://schemas.openxmlformats.org/drawingml/2006/main" xmlns:r="http://schemas.openxmlformats.org/officeDocument/2006/relationships" xmlns:p="http://schemas.openxmlformats.org/presentationml/2006/main">
  <p:tag name="MIO_GUID" val="0bb063ad-92cf-4b8b-9559-97ba862cb568"/>
</p:tagLst>
</file>

<file path=ppt/tags/tag1190.xml><?xml version="1.0" encoding="utf-8"?>
<p:tagLst xmlns:a="http://schemas.openxmlformats.org/drawingml/2006/main" xmlns:r="http://schemas.openxmlformats.org/officeDocument/2006/relationships" xmlns:p="http://schemas.openxmlformats.org/presentationml/2006/main">
  <p:tag name="MIO_GUID" val="b94d7356-9278-4920-ba20-29c7a31771e1"/>
</p:tagLst>
</file>

<file path=ppt/tags/tag1191.xml><?xml version="1.0" encoding="utf-8"?>
<p:tagLst xmlns:a="http://schemas.openxmlformats.org/drawingml/2006/main" xmlns:r="http://schemas.openxmlformats.org/officeDocument/2006/relationships" xmlns:p="http://schemas.openxmlformats.org/presentationml/2006/main">
  <p:tag name="MIO_GUID" val="52acb177-f74b-458c-93a9-0a0392eb2d90"/>
</p:tagLst>
</file>

<file path=ppt/tags/tag1192.xml><?xml version="1.0" encoding="utf-8"?>
<p:tagLst xmlns:a="http://schemas.openxmlformats.org/drawingml/2006/main" xmlns:r="http://schemas.openxmlformats.org/officeDocument/2006/relationships" xmlns:p="http://schemas.openxmlformats.org/presentationml/2006/main">
  <p:tag name="MIO_GUID" val="aea538d2-215e-452a-b3fc-f94df355a7bd"/>
</p:tagLst>
</file>

<file path=ppt/tags/tag1193.xml><?xml version="1.0" encoding="utf-8"?>
<p:tagLst xmlns:a="http://schemas.openxmlformats.org/drawingml/2006/main" xmlns:r="http://schemas.openxmlformats.org/officeDocument/2006/relationships" xmlns:p="http://schemas.openxmlformats.org/presentationml/2006/main">
  <p:tag name="MIO_GUID" val="4dbdfcff-474d-437c-89e4-bc18d0f06aac"/>
</p:tagLst>
</file>

<file path=ppt/tags/tag1194.xml><?xml version="1.0" encoding="utf-8"?>
<p:tagLst xmlns:a="http://schemas.openxmlformats.org/drawingml/2006/main" xmlns:r="http://schemas.openxmlformats.org/officeDocument/2006/relationships" xmlns:p="http://schemas.openxmlformats.org/presentationml/2006/main">
  <p:tag name="MIO_GUID" val="b12fab74-7216-4edc-83fe-88b533a03b00"/>
</p:tagLst>
</file>

<file path=ppt/tags/tag1195.xml><?xml version="1.0" encoding="utf-8"?>
<p:tagLst xmlns:a="http://schemas.openxmlformats.org/drawingml/2006/main" xmlns:r="http://schemas.openxmlformats.org/officeDocument/2006/relationships" xmlns:p="http://schemas.openxmlformats.org/presentationml/2006/main">
  <p:tag name="MIO_GUID" val="dfebc55d-f6bb-4327-880f-44db5a1cb444"/>
</p:tagLst>
</file>

<file path=ppt/tags/tag1196.xml><?xml version="1.0" encoding="utf-8"?>
<p:tagLst xmlns:a="http://schemas.openxmlformats.org/drawingml/2006/main" xmlns:r="http://schemas.openxmlformats.org/officeDocument/2006/relationships" xmlns:p="http://schemas.openxmlformats.org/presentationml/2006/main">
  <p:tag name="MIO_GUID" val="c3961077-ff17-4089-ac2f-d00cd99c107c"/>
</p:tagLst>
</file>

<file path=ppt/tags/tag1197.xml><?xml version="1.0" encoding="utf-8"?>
<p:tagLst xmlns:a="http://schemas.openxmlformats.org/drawingml/2006/main" xmlns:r="http://schemas.openxmlformats.org/officeDocument/2006/relationships" xmlns:p="http://schemas.openxmlformats.org/presentationml/2006/main">
  <p:tag name="MIO_GUID" val="f4901b15-3e8e-4e57-be56-96d4bdc42dc1"/>
</p:tagLst>
</file>

<file path=ppt/tags/tag1198.xml><?xml version="1.0" encoding="utf-8"?>
<p:tagLst xmlns:a="http://schemas.openxmlformats.org/drawingml/2006/main" xmlns:r="http://schemas.openxmlformats.org/officeDocument/2006/relationships" xmlns:p="http://schemas.openxmlformats.org/presentationml/2006/main">
  <p:tag name="MIO_GUID" val="6d10add9-e4af-4d6d-9a67-ba2b23c54f82"/>
</p:tagLst>
</file>

<file path=ppt/tags/tag1199.xml><?xml version="1.0" encoding="utf-8"?>
<p:tagLst xmlns:a="http://schemas.openxmlformats.org/drawingml/2006/main" xmlns:r="http://schemas.openxmlformats.org/officeDocument/2006/relationships" xmlns:p="http://schemas.openxmlformats.org/presentationml/2006/main">
  <p:tag name="MIO_GUID" val="05ab3283-b197-45a7-9b46-bd40dbf142d8"/>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MIO_GUID" val="a93e9735-b9ca-46f0-be19-c75d80a69741"/>
</p:tagLst>
</file>

<file path=ppt/tags/tag1200.xml><?xml version="1.0" encoding="utf-8"?>
<p:tagLst xmlns:a="http://schemas.openxmlformats.org/drawingml/2006/main" xmlns:r="http://schemas.openxmlformats.org/officeDocument/2006/relationships" xmlns:p="http://schemas.openxmlformats.org/presentationml/2006/main">
  <p:tag name="MIO_GUID" val="188dc972-c2be-4d09-bc31-614df04cc98c"/>
</p:tagLst>
</file>

<file path=ppt/tags/tag1201.xml><?xml version="1.0" encoding="utf-8"?>
<p:tagLst xmlns:a="http://schemas.openxmlformats.org/drawingml/2006/main" xmlns:r="http://schemas.openxmlformats.org/officeDocument/2006/relationships" xmlns:p="http://schemas.openxmlformats.org/presentationml/2006/main">
  <p:tag name="MIO_GUID" val="77950f17-d923-49df-9d59-aef6aaf55e97"/>
</p:tagLst>
</file>

<file path=ppt/tags/tag1202.xml><?xml version="1.0" encoding="utf-8"?>
<p:tagLst xmlns:a="http://schemas.openxmlformats.org/drawingml/2006/main" xmlns:r="http://schemas.openxmlformats.org/officeDocument/2006/relationships" xmlns:p="http://schemas.openxmlformats.org/presentationml/2006/main">
  <p:tag name="MIO_GUID" val="ac41880e-a90e-4b54-bd68-b6ac702ee276"/>
</p:tagLst>
</file>

<file path=ppt/tags/tag1203.xml><?xml version="1.0" encoding="utf-8"?>
<p:tagLst xmlns:a="http://schemas.openxmlformats.org/drawingml/2006/main" xmlns:r="http://schemas.openxmlformats.org/officeDocument/2006/relationships" xmlns:p="http://schemas.openxmlformats.org/presentationml/2006/main">
  <p:tag name="MIO_GUID" val="c48a6a0e-0d29-4401-8649-d18239457493"/>
</p:tagLst>
</file>

<file path=ppt/tags/tag1204.xml><?xml version="1.0" encoding="utf-8"?>
<p:tagLst xmlns:a="http://schemas.openxmlformats.org/drawingml/2006/main" xmlns:r="http://schemas.openxmlformats.org/officeDocument/2006/relationships" xmlns:p="http://schemas.openxmlformats.org/presentationml/2006/main">
  <p:tag name="MIO_GUID" val="3fb93aff-78a5-4a9e-9717-7dd1a37fd433"/>
</p:tagLst>
</file>

<file path=ppt/tags/tag1205.xml><?xml version="1.0" encoding="utf-8"?>
<p:tagLst xmlns:a="http://schemas.openxmlformats.org/drawingml/2006/main" xmlns:r="http://schemas.openxmlformats.org/officeDocument/2006/relationships" xmlns:p="http://schemas.openxmlformats.org/presentationml/2006/main">
  <p:tag name="MIO_GUID" val="bb4bbf9e-b063-46a1-bc5b-f045d6971951"/>
</p:tagLst>
</file>

<file path=ppt/tags/tag1206.xml><?xml version="1.0" encoding="utf-8"?>
<p:tagLst xmlns:a="http://schemas.openxmlformats.org/drawingml/2006/main" xmlns:r="http://schemas.openxmlformats.org/officeDocument/2006/relationships" xmlns:p="http://schemas.openxmlformats.org/presentationml/2006/main">
  <p:tag name="MIO_GUID" val="b94b9370-bb7f-4f45-89f6-33b7e495171b"/>
</p:tagLst>
</file>

<file path=ppt/tags/tag1207.xml><?xml version="1.0" encoding="utf-8"?>
<p:tagLst xmlns:a="http://schemas.openxmlformats.org/drawingml/2006/main" xmlns:r="http://schemas.openxmlformats.org/officeDocument/2006/relationships" xmlns:p="http://schemas.openxmlformats.org/presentationml/2006/main">
  <p:tag name="MIO_GUID" val="bc415f6d-d94e-4318-8c8d-e2de20ea8ce3"/>
</p:tagLst>
</file>

<file path=ppt/tags/tag1208.xml><?xml version="1.0" encoding="utf-8"?>
<p:tagLst xmlns:a="http://schemas.openxmlformats.org/drawingml/2006/main" xmlns:r="http://schemas.openxmlformats.org/officeDocument/2006/relationships" xmlns:p="http://schemas.openxmlformats.org/presentationml/2006/main">
  <p:tag name="MIO_GUID" val="699f5492-f8e3-4627-8611-0950ece19d9f"/>
</p:tagLst>
</file>

<file path=ppt/tags/tag1209.xml><?xml version="1.0" encoding="utf-8"?>
<p:tagLst xmlns:a="http://schemas.openxmlformats.org/drawingml/2006/main" xmlns:r="http://schemas.openxmlformats.org/officeDocument/2006/relationships" xmlns:p="http://schemas.openxmlformats.org/presentationml/2006/main">
  <p:tag name="MIO_GUID" val="8f3ffd10-3871-4244-a29e-d8d34997900a"/>
</p:tagLst>
</file>

<file path=ppt/tags/tag121.xml><?xml version="1.0" encoding="utf-8"?>
<p:tagLst xmlns:a="http://schemas.openxmlformats.org/drawingml/2006/main" xmlns:r="http://schemas.openxmlformats.org/officeDocument/2006/relationships" xmlns:p="http://schemas.openxmlformats.org/presentationml/2006/main">
  <p:tag name="MIO_GUID" val="ad081b4f-d1a6-42c9-9af0-cbd2b69979af"/>
</p:tagLst>
</file>

<file path=ppt/tags/tag1210.xml><?xml version="1.0" encoding="utf-8"?>
<p:tagLst xmlns:a="http://schemas.openxmlformats.org/drawingml/2006/main" xmlns:r="http://schemas.openxmlformats.org/officeDocument/2006/relationships" xmlns:p="http://schemas.openxmlformats.org/presentationml/2006/main">
  <p:tag name="MIO_GUID" val="d4daf793-f504-4643-bf30-da927168e6f0"/>
</p:tagLst>
</file>

<file path=ppt/tags/tag1211.xml><?xml version="1.0" encoding="utf-8"?>
<p:tagLst xmlns:a="http://schemas.openxmlformats.org/drawingml/2006/main" xmlns:r="http://schemas.openxmlformats.org/officeDocument/2006/relationships" xmlns:p="http://schemas.openxmlformats.org/presentationml/2006/main">
  <p:tag name="MIO_GUID" val="cde81f7c-ccc6-4922-a343-d71a42e4edec"/>
</p:tagLst>
</file>

<file path=ppt/tags/tag1212.xml><?xml version="1.0" encoding="utf-8"?>
<p:tagLst xmlns:a="http://schemas.openxmlformats.org/drawingml/2006/main" xmlns:r="http://schemas.openxmlformats.org/officeDocument/2006/relationships" xmlns:p="http://schemas.openxmlformats.org/presentationml/2006/main">
  <p:tag name="MIO_GUID" val="505b6003-d1e3-4cda-9436-905538da6cb1"/>
</p:tagLst>
</file>

<file path=ppt/tags/tag1213.xml><?xml version="1.0" encoding="utf-8"?>
<p:tagLst xmlns:a="http://schemas.openxmlformats.org/drawingml/2006/main" xmlns:r="http://schemas.openxmlformats.org/officeDocument/2006/relationships" xmlns:p="http://schemas.openxmlformats.org/presentationml/2006/main">
  <p:tag name="MIO_GUID" val="e80a44ae-4ed6-444d-93e2-a61929613e35"/>
</p:tagLst>
</file>

<file path=ppt/tags/tag1214.xml><?xml version="1.0" encoding="utf-8"?>
<p:tagLst xmlns:a="http://schemas.openxmlformats.org/drawingml/2006/main" xmlns:r="http://schemas.openxmlformats.org/officeDocument/2006/relationships" xmlns:p="http://schemas.openxmlformats.org/presentationml/2006/main">
  <p:tag name="MIO_GUID" val="733fc17f-364b-47a0-9870-afeeff915f54"/>
</p:tagLst>
</file>

<file path=ppt/tags/tag1215.xml><?xml version="1.0" encoding="utf-8"?>
<p:tagLst xmlns:a="http://schemas.openxmlformats.org/drawingml/2006/main" xmlns:r="http://schemas.openxmlformats.org/officeDocument/2006/relationships" xmlns:p="http://schemas.openxmlformats.org/presentationml/2006/main">
  <p:tag name="MIO_GUID" val="9f20f57e-adef-4847-9870-1f29df5e3ec9"/>
</p:tagLst>
</file>

<file path=ppt/tags/tag1216.xml><?xml version="1.0" encoding="utf-8"?>
<p:tagLst xmlns:a="http://schemas.openxmlformats.org/drawingml/2006/main" xmlns:r="http://schemas.openxmlformats.org/officeDocument/2006/relationships" xmlns:p="http://schemas.openxmlformats.org/presentationml/2006/main">
  <p:tag name="MIO_GUID" val="1c765935-422a-4304-a11b-266565b787e6"/>
</p:tagLst>
</file>

<file path=ppt/tags/tag1217.xml><?xml version="1.0" encoding="utf-8"?>
<p:tagLst xmlns:a="http://schemas.openxmlformats.org/drawingml/2006/main" xmlns:r="http://schemas.openxmlformats.org/officeDocument/2006/relationships" xmlns:p="http://schemas.openxmlformats.org/presentationml/2006/main">
  <p:tag name="MIO_GUID" val="57794eb1-9cca-46a5-8c95-8fe6cdd1bc79"/>
</p:tagLst>
</file>

<file path=ppt/tags/tag1218.xml><?xml version="1.0" encoding="utf-8"?>
<p:tagLst xmlns:a="http://schemas.openxmlformats.org/drawingml/2006/main" xmlns:r="http://schemas.openxmlformats.org/officeDocument/2006/relationships" xmlns:p="http://schemas.openxmlformats.org/presentationml/2006/main">
  <p:tag name="MIO_GUID" val="abc381ca-e88b-4499-abc6-ba208f22fed9"/>
</p:tagLst>
</file>

<file path=ppt/tags/tag1219.xml><?xml version="1.0" encoding="utf-8"?>
<p:tagLst xmlns:a="http://schemas.openxmlformats.org/drawingml/2006/main" xmlns:r="http://schemas.openxmlformats.org/officeDocument/2006/relationships" xmlns:p="http://schemas.openxmlformats.org/presentationml/2006/main">
  <p:tag name="MIO_GUID" val="08a27079-6516-4edd-986f-95e813554614"/>
</p:tagLst>
</file>

<file path=ppt/tags/tag122.xml><?xml version="1.0" encoding="utf-8"?>
<p:tagLst xmlns:a="http://schemas.openxmlformats.org/drawingml/2006/main" xmlns:r="http://schemas.openxmlformats.org/officeDocument/2006/relationships" xmlns:p="http://schemas.openxmlformats.org/presentationml/2006/main">
  <p:tag name="MIO_GUID" val="450e7f26-421e-4eee-96e8-1e17cf7ff3ec"/>
</p:tagLst>
</file>

<file path=ppt/tags/tag1220.xml><?xml version="1.0" encoding="utf-8"?>
<p:tagLst xmlns:a="http://schemas.openxmlformats.org/drawingml/2006/main" xmlns:r="http://schemas.openxmlformats.org/officeDocument/2006/relationships" xmlns:p="http://schemas.openxmlformats.org/presentationml/2006/main">
  <p:tag name="MIO_GUID" val="84880cfd-e7ef-4566-88b1-aa7e3cfa41b9"/>
</p:tagLst>
</file>

<file path=ppt/tags/tag1221.xml><?xml version="1.0" encoding="utf-8"?>
<p:tagLst xmlns:a="http://schemas.openxmlformats.org/drawingml/2006/main" xmlns:r="http://schemas.openxmlformats.org/officeDocument/2006/relationships" xmlns:p="http://schemas.openxmlformats.org/presentationml/2006/main">
  <p:tag name="MIO_GUID" val="4fdc4883-9bce-4da5-8ebe-e7cd5bee29fe"/>
</p:tagLst>
</file>

<file path=ppt/tags/tag1222.xml><?xml version="1.0" encoding="utf-8"?>
<p:tagLst xmlns:a="http://schemas.openxmlformats.org/drawingml/2006/main" xmlns:r="http://schemas.openxmlformats.org/officeDocument/2006/relationships" xmlns:p="http://schemas.openxmlformats.org/presentationml/2006/main">
  <p:tag name="MIO_GUID" val="47412174-428f-49dc-9284-338bf266253d"/>
</p:tagLst>
</file>

<file path=ppt/tags/tag1223.xml><?xml version="1.0" encoding="utf-8"?>
<p:tagLst xmlns:a="http://schemas.openxmlformats.org/drawingml/2006/main" xmlns:r="http://schemas.openxmlformats.org/officeDocument/2006/relationships" xmlns:p="http://schemas.openxmlformats.org/presentationml/2006/main">
  <p:tag name="MIO_GUID" val="f3cde77f-e5ba-4fda-8051-fa2aec64f84c"/>
</p:tagLst>
</file>

<file path=ppt/tags/tag1224.xml><?xml version="1.0" encoding="utf-8"?>
<p:tagLst xmlns:a="http://schemas.openxmlformats.org/drawingml/2006/main" xmlns:r="http://schemas.openxmlformats.org/officeDocument/2006/relationships" xmlns:p="http://schemas.openxmlformats.org/presentationml/2006/main">
  <p:tag name="MIO_GUID" val="041c0d66-fee5-49b8-acd3-fe2a5d488bd8"/>
</p:tagLst>
</file>

<file path=ppt/tags/tag1225.xml><?xml version="1.0" encoding="utf-8"?>
<p:tagLst xmlns:a="http://schemas.openxmlformats.org/drawingml/2006/main" xmlns:r="http://schemas.openxmlformats.org/officeDocument/2006/relationships" xmlns:p="http://schemas.openxmlformats.org/presentationml/2006/main">
  <p:tag name="MIO_GUID" val="782fade3-0e44-494f-82f0-a639d33634d0"/>
</p:tagLst>
</file>

<file path=ppt/tags/tag1226.xml><?xml version="1.0" encoding="utf-8"?>
<p:tagLst xmlns:a="http://schemas.openxmlformats.org/drawingml/2006/main" xmlns:r="http://schemas.openxmlformats.org/officeDocument/2006/relationships" xmlns:p="http://schemas.openxmlformats.org/presentationml/2006/main">
  <p:tag name="MIO_GUID" val="b139f0d8-164c-4226-8ae3-07ff9b45f958"/>
</p:tagLst>
</file>

<file path=ppt/tags/tag1227.xml><?xml version="1.0" encoding="utf-8"?>
<p:tagLst xmlns:a="http://schemas.openxmlformats.org/drawingml/2006/main" xmlns:r="http://schemas.openxmlformats.org/officeDocument/2006/relationships" xmlns:p="http://schemas.openxmlformats.org/presentationml/2006/main">
  <p:tag name="MIO_GUID" val="3bc59d2a-b007-4232-8dd7-f97c7680854a"/>
</p:tagLst>
</file>

<file path=ppt/tags/tag1228.xml><?xml version="1.0" encoding="utf-8"?>
<p:tagLst xmlns:a="http://schemas.openxmlformats.org/drawingml/2006/main" xmlns:r="http://schemas.openxmlformats.org/officeDocument/2006/relationships" xmlns:p="http://schemas.openxmlformats.org/presentationml/2006/main">
  <p:tag name="MIO_GUID" val="95211050-3951-4247-83ca-b593962aa7c4"/>
</p:tagLst>
</file>

<file path=ppt/tags/tag1229.xml><?xml version="1.0" encoding="utf-8"?>
<p:tagLst xmlns:a="http://schemas.openxmlformats.org/drawingml/2006/main" xmlns:r="http://schemas.openxmlformats.org/officeDocument/2006/relationships" xmlns:p="http://schemas.openxmlformats.org/presentationml/2006/main">
  <p:tag name="MIO_GUID" val="338a75b9-c258-4a66-a04f-ee3cc9f2af29"/>
</p:tagLst>
</file>

<file path=ppt/tags/tag123.xml><?xml version="1.0" encoding="utf-8"?>
<p:tagLst xmlns:a="http://schemas.openxmlformats.org/drawingml/2006/main" xmlns:r="http://schemas.openxmlformats.org/officeDocument/2006/relationships" xmlns:p="http://schemas.openxmlformats.org/presentationml/2006/main">
  <p:tag name="MIO_GUID" val="c36b6db3-e1aa-4e5f-b4d9-d5e667ea621d"/>
</p:tagLst>
</file>

<file path=ppt/tags/tag1230.xml><?xml version="1.0" encoding="utf-8"?>
<p:tagLst xmlns:a="http://schemas.openxmlformats.org/drawingml/2006/main" xmlns:r="http://schemas.openxmlformats.org/officeDocument/2006/relationships" xmlns:p="http://schemas.openxmlformats.org/presentationml/2006/main">
  <p:tag name="MIO_GUID" val="76f671ab-de3a-41a3-bbbb-06e0a5b148cc"/>
</p:tagLst>
</file>

<file path=ppt/tags/tag1231.xml><?xml version="1.0" encoding="utf-8"?>
<p:tagLst xmlns:a="http://schemas.openxmlformats.org/drawingml/2006/main" xmlns:r="http://schemas.openxmlformats.org/officeDocument/2006/relationships" xmlns:p="http://schemas.openxmlformats.org/presentationml/2006/main">
  <p:tag name="MIO_GUID" val="097cf138-ca80-479f-ae4c-c352bab1130e"/>
</p:tagLst>
</file>

<file path=ppt/tags/tag1232.xml><?xml version="1.0" encoding="utf-8"?>
<p:tagLst xmlns:a="http://schemas.openxmlformats.org/drawingml/2006/main" xmlns:r="http://schemas.openxmlformats.org/officeDocument/2006/relationships" xmlns:p="http://schemas.openxmlformats.org/presentationml/2006/main">
  <p:tag name="MIO_GUID" val="f2f3ddd1-d012-4316-aa80-da05e919e47a"/>
</p:tagLst>
</file>

<file path=ppt/tags/tag1233.xml><?xml version="1.0" encoding="utf-8"?>
<p:tagLst xmlns:a="http://schemas.openxmlformats.org/drawingml/2006/main" xmlns:r="http://schemas.openxmlformats.org/officeDocument/2006/relationships" xmlns:p="http://schemas.openxmlformats.org/presentationml/2006/main">
  <p:tag name="MIO_GUID" val="0a605872-b39f-4c8b-bea8-863eb22af528"/>
</p:tagLst>
</file>

<file path=ppt/tags/tag1234.xml><?xml version="1.0" encoding="utf-8"?>
<p:tagLst xmlns:a="http://schemas.openxmlformats.org/drawingml/2006/main" xmlns:r="http://schemas.openxmlformats.org/officeDocument/2006/relationships" xmlns:p="http://schemas.openxmlformats.org/presentationml/2006/main">
  <p:tag name="MIO_GUID" val="2bd63ba0-d7b0-45d0-95d7-ee8accabe08d"/>
</p:tagLst>
</file>

<file path=ppt/tags/tag1235.xml><?xml version="1.0" encoding="utf-8"?>
<p:tagLst xmlns:a="http://schemas.openxmlformats.org/drawingml/2006/main" xmlns:r="http://schemas.openxmlformats.org/officeDocument/2006/relationships" xmlns:p="http://schemas.openxmlformats.org/presentationml/2006/main">
  <p:tag name="MIO_GUID" val="7b70ae98-316a-4a98-8648-0ffa13421190"/>
</p:tagLst>
</file>

<file path=ppt/tags/tag1236.xml><?xml version="1.0" encoding="utf-8"?>
<p:tagLst xmlns:a="http://schemas.openxmlformats.org/drawingml/2006/main" xmlns:r="http://schemas.openxmlformats.org/officeDocument/2006/relationships" xmlns:p="http://schemas.openxmlformats.org/presentationml/2006/main">
  <p:tag name="MIO_GUID" val="6fb4fa4b-c7ab-4cd1-8dd2-f78cd5d07308"/>
</p:tagLst>
</file>

<file path=ppt/tags/tag1237.xml><?xml version="1.0" encoding="utf-8"?>
<p:tagLst xmlns:a="http://schemas.openxmlformats.org/drawingml/2006/main" xmlns:r="http://schemas.openxmlformats.org/officeDocument/2006/relationships" xmlns:p="http://schemas.openxmlformats.org/presentationml/2006/main">
  <p:tag name="MIO_GUID" val="081d1628-bad0-49ff-911f-673e155b8913"/>
</p:tagLst>
</file>

<file path=ppt/tags/tag1238.xml><?xml version="1.0" encoding="utf-8"?>
<p:tagLst xmlns:a="http://schemas.openxmlformats.org/drawingml/2006/main" xmlns:r="http://schemas.openxmlformats.org/officeDocument/2006/relationships" xmlns:p="http://schemas.openxmlformats.org/presentationml/2006/main">
  <p:tag name="MIO_GUID" val="c442ed37-7c48-40fb-a166-4709a197f19c"/>
</p:tagLst>
</file>

<file path=ppt/tags/tag1239.xml><?xml version="1.0" encoding="utf-8"?>
<p:tagLst xmlns:a="http://schemas.openxmlformats.org/drawingml/2006/main" xmlns:r="http://schemas.openxmlformats.org/officeDocument/2006/relationships" xmlns:p="http://schemas.openxmlformats.org/presentationml/2006/main">
  <p:tag name="MIO_GUID" val="b96c21cb-fbda-45d9-975c-d0e5e25d8004"/>
</p:tagLst>
</file>

<file path=ppt/tags/tag124.xml><?xml version="1.0" encoding="utf-8"?>
<p:tagLst xmlns:a="http://schemas.openxmlformats.org/drawingml/2006/main" xmlns:r="http://schemas.openxmlformats.org/officeDocument/2006/relationships" xmlns:p="http://schemas.openxmlformats.org/presentationml/2006/main">
  <p:tag name="MIO_GUID" val="8d07647f-f394-4eba-97e3-9373b7d5921e"/>
</p:tagLst>
</file>

<file path=ppt/tags/tag1240.xml><?xml version="1.0" encoding="utf-8"?>
<p:tagLst xmlns:a="http://schemas.openxmlformats.org/drawingml/2006/main" xmlns:r="http://schemas.openxmlformats.org/officeDocument/2006/relationships" xmlns:p="http://schemas.openxmlformats.org/presentationml/2006/main">
  <p:tag name="MIO_GUID" val="8b2c0ed3-420a-406e-a5e0-5fe8e70a17dd"/>
</p:tagLst>
</file>

<file path=ppt/tags/tag1241.xml><?xml version="1.0" encoding="utf-8"?>
<p:tagLst xmlns:a="http://schemas.openxmlformats.org/drawingml/2006/main" xmlns:r="http://schemas.openxmlformats.org/officeDocument/2006/relationships" xmlns:p="http://schemas.openxmlformats.org/presentationml/2006/main">
  <p:tag name="MIO_GUID" val="13f837fc-0d6b-4749-a85d-903b426ac35f"/>
</p:tagLst>
</file>

<file path=ppt/tags/tag1242.xml><?xml version="1.0" encoding="utf-8"?>
<p:tagLst xmlns:a="http://schemas.openxmlformats.org/drawingml/2006/main" xmlns:r="http://schemas.openxmlformats.org/officeDocument/2006/relationships" xmlns:p="http://schemas.openxmlformats.org/presentationml/2006/main">
  <p:tag name="MIO_GUID" val="51e22b7b-5408-4294-9c6d-cbc25c416cc0"/>
</p:tagLst>
</file>

<file path=ppt/tags/tag1243.xml><?xml version="1.0" encoding="utf-8"?>
<p:tagLst xmlns:a="http://schemas.openxmlformats.org/drawingml/2006/main" xmlns:r="http://schemas.openxmlformats.org/officeDocument/2006/relationships" xmlns:p="http://schemas.openxmlformats.org/presentationml/2006/main">
  <p:tag name="MIO_GUID" val="a18df8dd-0600-46fa-aa77-ab72f4948379"/>
</p:tagLst>
</file>

<file path=ppt/tags/tag1244.xml><?xml version="1.0" encoding="utf-8"?>
<p:tagLst xmlns:a="http://schemas.openxmlformats.org/drawingml/2006/main" xmlns:r="http://schemas.openxmlformats.org/officeDocument/2006/relationships" xmlns:p="http://schemas.openxmlformats.org/presentationml/2006/main">
  <p:tag name="MIO_GUID" val="75859af5-3f00-472a-91b1-f3efa88cfb67"/>
</p:tagLst>
</file>

<file path=ppt/tags/tag1245.xml><?xml version="1.0" encoding="utf-8"?>
<p:tagLst xmlns:a="http://schemas.openxmlformats.org/drawingml/2006/main" xmlns:r="http://schemas.openxmlformats.org/officeDocument/2006/relationships" xmlns:p="http://schemas.openxmlformats.org/presentationml/2006/main">
  <p:tag name="MIO_GUID" val="05db5cf1-2265-4465-a82c-524fc1797068"/>
</p:tagLst>
</file>

<file path=ppt/tags/tag1246.xml><?xml version="1.0" encoding="utf-8"?>
<p:tagLst xmlns:a="http://schemas.openxmlformats.org/drawingml/2006/main" xmlns:r="http://schemas.openxmlformats.org/officeDocument/2006/relationships" xmlns:p="http://schemas.openxmlformats.org/presentationml/2006/main">
  <p:tag name="MIO_GUID" val="78b3316a-611c-4d37-b818-b9a8693d70df"/>
</p:tagLst>
</file>

<file path=ppt/tags/tag1247.xml><?xml version="1.0" encoding="utf-8"?>
<p:tagLst xmlns:a="http://schemas.openxmlformats.org/drawingml/2006/main" xmlns:r="http://schemas.openxmlformats.org/officeDocument/2006/relationships" xmlns:p="http://schemas.openxmlformats.org/presentationml/2006/main">
  <p:tag name="MIO_GUID" val="368063ad-1bac-4b71-b791-671a21dda1f4"/>
</p:tagLst>
</file>

<file path=ppt/tags/tag1248.xml><?xml version="1.0" encoding="utf-8"?>
<p:tagLst xmlns:a="http://schemas.openxmlformats.org/drawingml/2006/main" xmlns:r="http://schemas.openxmlformats.org/officeDocument/2006/relationships" xmlns:p="http://schemas.openxmlformats.org/presentationml/2006/main">
  <p:tag name="MIO_GUID" val="cf9385ac-afb3-45af-847e-c1a85cba9d5c"/>
</p:tagLst>
</file>

<file path=ppt/tags/tag1249.xml><?xml version="1.0" encoding="utf-8"?>
<p:tagLst xmlns:a="http://schemas.openxmlformats.org/drawingml/2006/main" xmlns:r="http://schemas.openxmlformats.org/officeDocument/2006/relationships" xmlns:p="http://schemas.openxmlformats.org/presentationml/2006/main">
  <p:tag name="MIO_GUID" val="33cd6ded-552f-474f-80a6-56b1a6a72714"/>
</p:tagLst>
</file>

<file path=ppt/tags/tag125.xml><?xml version="1.0" encoding="utf-8"?>
<p:tagLst xmlns:a="http://schemas.openxmlformats.org/drawingml/2006/main" xmlns:r="http://schemas.openxmlformats.org/officeDocument/2006/relationships" xmlns:p="http://schemas.openxmlformats.org/presentationml/2006/main">
  <p:tag name="MIO_GUID" val="e7956538-2a22-46c7-96d8-5d60e8498852"/>
</p:tagLst>
</file>

<file path=ppt/tags/tag1250.xml><?xml version="1.0" encoding="utf-8"?>
<p:tagLst xmlns:a="http://schemas.openxmlformats.org/drawingml/2006/main" xmlns:r="http://schemas.openxmlformats.org/officeDocument/2006/relationships" xmlns:p="http://schemas.openxmlformats.org/presentationml/2006/main">
  <p:tag name="MIO_GUID" val="b20bb3b7-90eb-4180-bb00-424b6cd964e1"/>
</p:tagLst>
</file>

<file path=ppt/tags/tag1251.xml><?xml version="1.0" encoding="utf-8"?>
<p:tagLst xmlns:a="http://schemas.openxmlformats.org/drawingml/2006/main" xmlns:r="http://schemas.openxmlformats.org/officeDocument/2006/relationships" xmlns:p="http://schemas.openxmlformats.org/presentationml/2006/main">
  <p:tag name="MIO_GUID" val="b994dd87-1db2-4c85-813c-970e4f3d7f5e"/>
</p:tagLst>
</file>

<file path=ppt/tags/tag1252.xml><?xml version="1.0" encoding="utf-8"?>
<p:tagLst xmlns:a="http://schemas.openxmlformats.org/drawingml/2006/main" xmlns:r="http://schemas.openxmlformats.org/officeDocument/2006/relationships" xmlns:p="http://schemas.openxmlformats.org/presentationml/2006/main">
  <p:tag name="MIO_GUID" val="0157b298-18ff-4f28-9af9-d35f0304025a"/>
</p:tagLst>
</file>

<file path=ppt/tags/tag1253.xml><?xml version="1.0" encoding="utf-8"?>
<p:tagLst xmlns:a="http://schemas.openxmlformats.org/drawingml/2006/main" xmlns:r="http://schemas.openxmlformats.org/officeDocument/2006/relationships" xmlns:p="http://schemas.openxmlformats.org/presentationml/2006/main">
  <p:tag name="MIO_GUID" val="636cb683-3290-4a71-8450-eeabea0da391"/>
</p:tagLst>
</file>

<file path=ppt/tags/tag1254.xml><?xml version="1.0" encoding="utf-8"?>
<p:tagLst xmlns:a="http://schemas.openxmlformats.org/drawingml/2006/main" xmlns:r="http://schemas.openxmlformats.org/officeDocument/2006/relationships" xmlns:p="http://schemas.openxmlformats.org/presentationml/2006/main">
  <p:tag name="MIO_GUID" val="e4b5314b-b586-4209-b0c7-22bf34e1d6d3"/>
</p:tagLst>
</file>

<file path=ppt/tags/tag1255.xml><?xml version="1.0" encoding="utf-8"?>
<p:tagLst xmlns:a="http://schemas.openxmlformats.org/drawingml/2006/main" xmlns:r="http://schemas.openxmlformats.org/officeDocument/2006/relationships" xmlns:p="http://schemas.openxmlformats.org/presentationml/2006/main">
  <p:tag name="MIO_GUID" val="02a0c2f1-1759-4c13-bbfc-ea2d76e90058"/>
</p:tagLst>
</file>

<file path=ppt/tags/tag1256.xml><?xml version="1.0" encoding="utf-8"?>
<p:tagLst xmlns:a="http://schemas.openxmlformats.org/drawingml/2006/main" xmlns:r="http://schemas.openxmlformats.org/officeDocument/2006/relationships" xmlns:p="http://schemas.openxmlformats.org/presentationml/2006/main">
  <p:tag name="MIO_GUID" val="5445526c-bcf8-4d32-b687-c538719d1386"/>
</p:tagLst>
</file>

<file path=ppt/tags/tag1257.xml><?xml version="1.0" encoding="utf-8"?>
<p:tagLst xmlns:a="http://schemas.openxmlformats.org/drawingml/2006/main" xmlns:r="http://schemas.openxmlformats.org/officeDocument/2006/relationships" xmlns:p="http://schemas.openxmlformats.org/presentationml/2006/main">
  <p:tag name="MIO_GUID" val="d67bbbb7-6bd7-4984-9e89-38725493d040"/>
</p:tagLst>
</file>

<file path=ppt/tags/tag1258.xml><?xml version="1.0" encoding="utf-8"?>
<p:tagLst xmlns:a="http://schemas.openxmlformats.org/drawingml/2006/main" xmlns:r="http://schemas.openxmlformats.org/officeDocument/2006/relationships" xmlns:p="http://schemas.openxmlformats.org/presentationml/2006/main">
  <p:tag name="MIO_GUID" val="412a01ff-cb6e-4eb2-9fa8-b97d0329df3f"/>
</p:tagLst>
</file>

<file path=ppt/tags/tag1259.xml><?xml version="1.0" encoding="utf-8"?>
<p:tagLst xmlns:a="http://schemas.openxmlformats.org/drawingml/2006/main" xmlns:r="http://schemas.openxmlformats.org/officeDocument/2006/relationships" xmlns:p="http://schemas.openxmlformats.org/presentationml/2006/main">
  <p:tag name="MIO_GUID" val="cb021028-abc9-4579-bcb5-f8c50ac10dfb"/>
</p:tagLst>
</file>

<file path=ppt/tags/tag126.xml><?xml version="1.0" encoding="utf-8"?>
<p:tagLst xmlns:a="http://schemas.openxmlformats.org/drawingml/2006/main" xmlns:r="http://schemas.openxmlformats.org/officeDocument/2006/relationships" xmlns:p="http://schemas.openxmlformats.org/presentationml/2006/main">
  <p:tag name="MIO_GUID" val="a2424b4b-7afd-4110-8818-c31a13ac53ee"/>
</p:tagLst>
</file>

<file path=ppt/tags/tag1260.xml><?xml version="1.0" encoding="utf-8"?>
<p:tagLst xmlns:a="http://schemas.openxmlformats.org/drawingml/2006/main" xmlns:r="http://schemas.openxmlformats.org/officeDocument/2006/relationships" xmlns:p="http://schemas.openxmlformats.org/presentationml/2006/main">
  <p:tag name="MIO_GUID" val="382a720d-3139-46a9-9bf1-3ac487b6976a"/>
</p:tagLst>
</file>

<file path=ppt/tags/tag1261.xml><?xml version="1.0" encoding="utf-8"?>
<p:tagLst xmlns:a="http://schemas.openxmlformats.org/drawingml/2006/main" xmlns:r="http://schemas.openxmlformats.org/officeDocument/2006/relationships" xmlns:p="http://schemas.openxmlformats.org/presentationml/2006/main">
  <p:tag name="MIO_GUID" val="1a4a35cd-9963-45d7-ac96-04d427228e54"/>
</p:tagLst>
</file>

<file path=ppt/tags/tag1262.xml><?xml version="1.0" encoding="utf-8"?>
<p:tagLst xmlns:a="http://schemas.openxmlformats.org/drawingml/2006/main" xmlns:r="http://schemas.openxmlformats.org/officeDocument/2006/relationships" xmlns:p="http://schemas.openxmlformats.org/presentationml/2006/main">
  <p:tag name="MIO_GUID" val="8647722d-b8d6-4459-a1e2-c17ff1977b09"/>
</p:tagLst>
</file>

<file path=ppt/tags/tag1263.xml><?xml version="1.0" encoding="utf-8"?>
<p:tagLst xmlns:a="http://schemas.openxmlformats.org/drawingml/2006/main" xmlns:r="http://schemas.openxmlformats.org/officeDocument/2006/relationships" xmlns:p="http://schemas.openxmlformats.org/presentationml/2006/main">
  <p:tag name="MIO_GUID" val="943f44ce-5949-48a6-8319-c0f2a17406a4"/>
</p:tagLst>
</file>

<file path=ppt/tags/tag1264.xml><?xml version="1.0" encoding="utf-8"?>
<p:tagLst xmlns:a="http://schemas.openxmlformats.org/drawingml/2006/main" xmlns:r="http://schemas.openxmlformats.org/officeDocument/2006/relationships" xmlns:p="http://schemas.openxmlformats.org/presentationml/2006/main">
  <p:tag name="MIO_GUID" val="45e213c2-e3ba-468c-bc40-428f2f152d5f"/>
</p:tagLst>
</file>

<file path=ppt/tags/tag1265.xml><?xml version="1.0" encoding="utf-8"?>
<p:tagLst xmlns:a="http://schemas.openxmlformats.org/drawingml/2006/main" xmlns:r="http://schemas.openxmlformats.org/officeDocument/2006/relationships" xmlns:p="http://schemas.openxmlformats.org/presentationml/2006/main">
  <p:tag name="MIO_GUID" val="1040ab7b-02c1-4df4-9de0-6b021742d9a3"/>
</p:tagLst>
</file>

<file path=ppt/tags/tag1266.xml><?xml version="1.0" encoding="utf-8"?>
<p:tagLst xmlns:a="http://schemas.openxmlformats.org/drawingml/2006/main" xmlns:r="http://schemas.openxmlformats.org/officeDocument/2006/relationships" xmlns:p="http://schemas.openxmlformats.org/presentationml/2006/main">
  <p:tag name="MIO_GUID" val="ee2d1f6c-a267-46d5-92e7-ca6841afba3a"/>
</p:tagLst>
</file>

<file path=ppt/tags/tag1267.xml><?xml version="1.0" encoding="utf-8"?>
<p:tagLst xmlns:a="http://schemas.openxmlformats.org/drawingml/2006/main" xmlns:r="http://schemas.openxmlformats.org/officeDocument/2006/relationships" xmlns:p="http://schemas.openxmlformats.org/presentationml/2006/main">
  <p:tag name="MIO_GUID" val="987b40bd-6728-498f-a3fc-b2783a62eff3"/>
</p:tagLst>
</file>

<file path=ppt/tags/tag1268.xml><?xml version="1.0" encoding="utf-8"?>
<p:tagLst xmlns:a="http://schemas.openxmlformats.org/drawingml/2006/main" xmlns:r="http://schemas.openxmlformats.org/officeDocument/2006/relationships" xmlns:p="http://schemas.openxmlformats.org/presentationml/2006/main">
  <p:tag name="MIO_GUID" val="786ccfd5-d261-4160-8a3f-c7d42f41c06d"/>
</p:tagLst>
</file>

<file path=ppt/tags/tag1269.xml><?xml version="1.0" encoding="utf-8"?>
<p:tagLst xmlns:a="http://schemas.openxmlformats.org/drawingml/2006/main" xmlns:r="http://schemas.openxmlformats.org/officeDocument/2006/relationships" xmlns:p="http://schemas.openxmlformats.org/presentationml/2006/main">
  <p:tag name="MIO_GUID" val="22961453-dbf9-4440-a261-a5a5dd8add9f"/>
</p:tagLst>
</file>

<file path=ppt/tags/tag127.xml><?xml version="1.0" encoding="utf-8"?>
<p:tagLst xmlns:a="http://schemas.openxmlformats.org/drawingml/2006/main" xmlns:r="http://schemas.openxmlformats.org/officeDocument/2006/relationships" xmlns:p="http://schemas.openxmlformats.org/presentationml/2006/main">
  <p:tag name="MIO_GUID" val="8fd1422e-5604-4cb6-90f1-644ee770f2c3"/>
</p:tagLst>
</file>

<file path=ppt/tags/tag1270.xml><?xml version="1.0" encoding="utf-8"?>
<p:tagLst xmlns:a="http://schemas.openxmlformats.org/drawingml/2006/main" xmlns:r="http://schemas.openxmlformats.org/officeDocument/2006/relationships" xmlns:p="http://schemas.openxmlformats.org/presentationml/2006/main">
  <p:tag name="MIO_GUID" val="44c832fb-5c8a-4936-b10a-6ddb1824cd8b"/>
</p:tagLst>
</file>

<file path=ppt/tags/tag1271.xml><?xml version="1.0" encoding="utf-8"?>
<p:tagLst xmlns:a="http://schemas.openxmlformats.org/drawingml/2006/main" xmlns:r="http://schemas.openxmlformats.org/officeDocument/2006/relationships" xmlns:p="http://schemas.openxmlformats.org/presentationml/2006/main">
  <p:tag name="MIO_GUID" val="fcf09a26-c3c5-49f5-b9ae-282cdb517a73"/>
</p:tagLst>
</file>

<file path=ppt/tags/tag1272.xml><?xml version="1.0" encoding="utf-8"?>
<p:tagLst xmlns:a="http://schemas.openxmlformats.org/drawingml/2006/main" xmlns:r="http://schemas.openxmlformats.org/officeDocument/2006/relationships" xmlns:p="http://schemas.openxmlformats.org/presentationml/2006/main">
  <p:tag name="MIO_GUID" val="764d81ea-78be-40e3-bf68-8978a70f5bb0"/>
</p:tagLst>
</file>

<file path=ppt/tags/tag1273.xml><?xml version="1.0" encoding="utf-8"?>
<p:tagLst xmlns:a="http://schemas.openxmlformats.org/drawingml/2006/main" xmlns:r="http://schemas.openxmlformats.org/officeDocument/2006/relationships" xmlns:p="http://schemas.openxmlformats.org/presentationml/2006/main">
  <p:tag name="MIO_GUID" val="81bd77bf-d611-4def-90ec-7f8f229b154e"/>
</p:tagLst>
</file>

<file path=ppt/tags/tag1274.xml><?xml version="1.0" encoding="utf-8"?>
<p:tagLst xmlns:a="http://schemas.openxmlformats.org/drawingml/2006/main" xmlns:r="http://schemas.openxmlformats.org/officeDocument/2006/relationships" xmlns:p="http://schemas.openxmlformats.org/presentationml/2006/main">
  <p:tag name="MIO_GUID" val="f7500c4a-0a01-48e1-a128-9b147968d65a"/>
</p:tagLst>
</file>

<file path=ppt/tags/tag1275.xml><?xml version="1.0" encoding="utf-8"?>
<p:tagLst xmlns:a="http://schemas.openxmlformats.org/drawingml/2006/main" xmlns:r="http://schemas.openxmlformats.org/officeDocument/2006/relationships" xmlns:p="http://schemas.openxmlformats.org/presentationml/2006/main">
  <p:tag name="MIO_GUID" val="34e572cd-a031-4bf5-a91c-425b423ccfd7"/>
</p:tagLst>
</file>

<file path=ppt/tags/tag1276.xml><?xml version="1.0" encoding="utf-8"?>
<p:tagLst xmlns:a="http://schemas.openxmlformats.org/drawingml/2006/main" xmlns:r="http://schemas.openxmlformats.org/officeDocument/2006/relationships" xmlns:p="http://schemas.openxmlformats.org/presentationml/2006/main">
  <p:tag name="MIO_GUID" val="66074969-7d44-454d-b8db-645fa95b52b0"/>
</p:tagLst>
</file>

<file path=ppt/tags/tag1277.xml><?xml version="1.0" encoding="utf-8"?>
<p:tagLst xmlns:a="http://schemas.openxmlformats.org/drawingml/2006/main" xmlns:r="http://schemas.openxmlformats.org/officeDocument/2006/relationships" xmlns:p="http://schemas.openxmlformats.org/presentationml/2006/main">
  <p:tag name="MIO_GUID" val="bc7630a9-3c1a-4214-9da3-ecc173e63164"/>
</p:tagLst>
</file>

<file path=ppt/tags/tag1278.xml><?xml version="1.0" encoding="utf-8"?>
<p:tagLst xmlns:a="http://schemas.openxmlformats.org/drawingml/2006/main" xmlns:r="http://schemas.openxmlformats.org/officeDocument/2006/relationships" xmlns:p="http://schemas.openxmlformats.org/presentationml/2006/main">
  <p:tag name="MIO_GUID" val="39fd5a0e-7c8a-4fcb-be40-d009d529e3b8"/>
</p:tagLst>
</file>

<file path=ppt/tags/tag1279.xml><?xml version="1.0" encoding="utf-8"?>
<p:tagLst xmlns:a="http://schemas.openxmlformats.org/drawingml/2006/main" xmlns:r="http://schemas.openxmlformats.org/officeDocument/2006/relationships" xmlns:p="http://schemas.openxmlformats.org/presentationml/2006/main">
  <p:tag name="MIO_GUID" val="40063b3d-a0d2-4155-8ff0-5b5acecb334b"/>
</p:tagLst>
</file>

<file path=ppt/tags/tag128.xml><?xml version="1.0" encoding="utf-8"?>
<p:tagLst xmlns:a="http://schemas.openxmlformats.org/drawingml/2006/main" xmlns:r="http://schemas.openxmlformats.org/officeDocument/2006/relationships" xmlns:p="http://schemas.openxmlformats.org/presentationml/2006/main">
  <p:tag name="MIO_GUID" val="6012fbe5-720c-412b-93c5-e742273e71b8"/>
</p:tagLst>
</file>

<file path=ppt/tags/tag1280.xml><?xml version="1.0" encoding="utf-8"?>
<p:tagLst xmlns:a="http://schemas.openxmlformats.org/drawingml/2006/main" xmlns:r="http://schemas.openxmlformats.org/officeDocument/2006/relationships" xmlns:p="http://schemas.openxmlformats.org/presentationml/2006/main">
  <p:tag name="MIO_GUID" val="18aed9d6-8040-4ca4-9817-4c7bee2ab216"/>
</p:tagLst>
</file>

<file path=ppt/tags/tag1281.xml><?xml version="1.0" encoding="utf-8"?>
<p:tagLst xmlns:a="http://schemas.openxmlformats.org/drawingml/2006/main" xmlns:r="http://schemas.openxmlformats.org/officeDocument/2006/relationships" xmlns:p="http://schemas.openxmlformats.org/presentationml/2006/main">
  <p:tag name="MIO_GUID" val="259beef7-da72-4f31-a0cd-14a4e95e5875"/>
</p:tagLst>
</file>

<file path=ppt/tags/tag1282.xml><?xml version="1.0" encoding="utf-8"?>
<p:tagLst xmlns:a="http://schemas.openxmlformats.org/drawingml/2006/main" xmlns:r="http://schemas.openxmlformats.org/officeDocument/2006/relationships" xmlns:p="http://schemas.openxmlformats.org/presentationml/2006/main">
  <p:tag name="MIO_GUID" val="1d114769-ec0a-45df-9d5c-c34c7a0a2d73"/>
</p:tagLst>
</file>

<file path=ppt/tags/tag1283.xml><?xml version="1.0" encoding="utf-8"?>
<p:tagLst xmlns:a="http://schemas.openxmlformats.org/drawingml/2006/main" xmlns:r="http://schemas.openxmlformats.org/officeDocument/2006/relationships" xmlns:p="http://schemas.openxmlformats.org/presentationml/2006/main">
  <p:tag name="MIO_GUID" val="a7cd041e-a17e-4064-855d-3a57715c5866"/>
</p:tagLst>
</file>

<file path=ppt/tags/tag1284.xml><?xml version="1.0" encoding="utf-8"?>
<p:tagLst xmlns:a="http://schemas.openxmlformats.org/drawingml/2006/main" xmlns:r="http://schemas.openxmlformats.org/officeDocument/2006/relationships" xmlns:p="http://schemas.openxmlformats.org/presentationml/2006/main">
  <p:tag name="MIO_GUID" val="c51d181d-929b-4724-9552-16bec3534638"/>
</p:tagLst>
</file>

<file path=ppt/tags/tag1285.xml><?xml version="1.0" encoding="utf-8"?>
<p:tagLst xmlns:a="http://schemas.openxmlformats.org/drawingml/2006/main" xmlns:r="http://schemas.openxmlformats.org/officeDocument/2006/relationships" xmlns:p="http://schemas.openxmlformats.org/presentationml/2006/main">
  <p:tag name="MIO_GUID" val="5e03ec00-da4f-4a0e-bc25-a5d87b5bf78d"/>
</p:tagLst>
</file>

<file path=ppt/tags/tag1286.xml><?xml version="1.0" encoding="utf-8"?>
<p:tagLst xmlns:a="http://schemas.openxmlformats.org/drawingml/2006/main" xmlns:r="http://schemas.openxmlformats.org/officeDocument/2006/relationships" xmlns:p="http://schemas.openxmlformats.org/presentationml/2006/main">
  <p:tag name="MIO_GUID" val="db093d24-4260-41bd-81e5-6a60955d5045"/>
</p:tagLst>
</file>

<file path=ppt/tags/tag1287.xml><?xml version="1.0" encoding="utf-8"?>
<p:tagLst xmlns:a="http://schemas.openxmlformats.org/drawingml/2006/main" xmlns:r="http://schemas.openxmlformats.org/officeDocument/2006/relationships" xmlns:p="http://schemas.openxmlformats.org/presentationml/2006/main">
  <p:tag name="MIO_GUID" val="6e6730c2-af52-4524-bed0-dd40650c91d8"/>
</p:tagLst>
</file>

<file path=ppt/tags/tag1288.xml><?xml version="1.0" encoding="utf-8"?>
<p:tagLst xmlns:a="http://schemas.openxmlformats.org/drawingml/2006/main" xmlns:r="http://schemas.openxmlformats.org/officeDocument/2006/relationships" xmlns:p="http://schemas.openxmlformats.org/presentationml/2006/main">
  <p:tag name="MIO_GUID" val="52b02a83-d3d0-4ebc-bdec-fcdf0bd334db"/>
</p:tagLst>
</file>

<file path=ppt/tags/tag1289.xml><?xml version="1.0" encoding="utf-8"?>
<p:tagLst xmlns:a="http://schemas.openxmlformats.org/drawingml/2006/main" xmlns:r="http://schemas.openxmlformats.org/officeDocument/2006/relationships" xmlns:p="http://schemas.openxmlformats.org/presentationml/2006/main">
  <p:tag name="MIO_GUID" val="c9eb468a-12ae-4747-a35f-ef8c907ea853"/>
</p:tagLst>
</file>

<file path=ppt/tags/tag129.xml><?xml version="1.0" encoding="utf-8"?>
<p:tagLst xmlns:a="http://schemas.openxmlformats.org/drawingml/2006/main" xmlns:r="http://schemas.openxmlformats.org/officeDocument/2006/relationships" xmlns:p="http://schemas.openxmlformats.org/presentationml/2006/main">
  <p:tag name="MIO_GUID" val="0649159b-18ac-4df2-a3d8-e61e039f0b61"/>
</p:tagLst>
</file>

<file path=ppt/tags/tag1290.xml><?xml version="1.0" encoding="utf-8"?>
<p:tagLst xmlns:a="http://schemas.openxmlformats.org/drawingml/2006/main" xmlns:r="http://schemas.openxmlformats.org/officeDocument/2006/relationships" xmlns:p="http://schemas.openxmlformats.org/presentationml/2006/main">
  <p:tag name="MIO_GUID" val="3e8bf4f0-861e-45c7-9350-a18545ae1085"/>
</p:tagLst>
</file>

<file path=ppt/tags/tag1291.xml><?xml version="1.0" encoding="utf-8"?>
<p:tagLst xmlns:a="http://schemas.openxmlformats.org/drawingml/2006/main" xmlns:r="http://schemas.openxmlformats.org/officeDocument/2006/relationships" xmlns:p="http://schemas.openxmlformats.org/presentationml/2006/main">
  <p:tag name="MIO_GUID" val="652b96c7-c04e-4cd7-bf7b-570a418c0af7"/>
</p:tagLst>
</file>

<file path=ppt/tags/tag1292.xml><?xml version="1.0" encoding="utf-8"?>
<p:tagLst xmlns:a="http://schemas.openxmlformats.org/drawingml/2006/main" xmlns:r="http://schemas.openxmlformats.org/officeDocument/2006/relationships" xmlns:p="http://schemas.openxmlformats.org/presentationml/2006/main">
  <p:tag name="MIO_GUID" val="109acba9-16d8-4563-ae5b-133bcdd06a39"/>
</p:tagLst>
</file>

<file path=ppt/tags/tag1293.xml><?xml version="1.0" encoding="utf-8"?>
<p:tagLst xmlns:a="http://schemas.openxmlformats.org/drawingml/2006/main" xmlns:r="http://schemas.openxmlformats.org/officeDocument/2006/relationships" xmlns:p="http://schemas.openxmlformats.org/presentationml/2006/main">
  <p:tag name="MIO_GUID" val="59bf4c85-f0f8-4136-b175-ac9bb4774df6"/>
</p:tagLst>
</file>

<file path=ppt/tags/tag1294.xml><?xml version="1.0" encoding="utf-8"?>
<p:tagLst xmlns:a="http://schemas.openxmlformats.org/drawingml/2006/main" xmlns:r="http://schemas.openxmlformats.org/officeDocument/2006/relationships" xmlns:p="http://schemas.openxmlformats.org/presentationml/2006/main">
  <p:tag name="MIO_GUID" val="e9e68d8f-79e6-40d2-bb9e-6cb04e427e66"/>
</p:tagLst>
</file>

<file path=ppt/tags/tag1295.xml><?xml version="1.0" encoding="utf-8"?>
<p:tagLst xmlns:a="http://schemas.openxmlformats.org/drawingml/2006/main" xmlns:r="http://schemas.openxmlformats.org/officeDocument/2006/relationships" xmlns:p="http://schemas.openxmlformats.org/presentationml/2006/main">
  <p:tag name="MIO_GUID" val="1bedfc96-fd62-4367-bc5d-42270c34ec13"/>
</p:tagLst>
</file>

<file path=ppt/tags/tag1296.xml><?xml version="1.0" encoding="utf-8"?>
<p:tagLst xmlns:a="http://schemas.openxmlformats.org/drawingml/2006/main" xmlns:r="http://schemas.openxmlformats.org/officeDocument/2006/relationships" xmlns:p="http://schemas.openxmlformats.org/presentationml/2006/main">
  <p:tag name="MIO_GUID" val="7832597a-3274-448e-90ca-70f5635ae398"/>
</p:tagLst>
</file>

<file path=ppt/tags/tag1297.xml><?xml version="1.0" encoding="utf-8"?>
<p:tagLst xmlns:a="http://schemas.openxmlformats.org/drawingml/2006/main" xmlns:r="http://schemas.openxmlformats.org/officeDocument/2006/relationships" xmlns:p="http://schemas.openxmlformats.org/presentationml/2006/main">
  <p:tag name="MIO_GUID" val="248f4dbb-1a9a-4cc2-9717-54eeaeb03e2a"/>
</p:tagLst>
</file>

<file path=ppt/tags/tag1298.xml><?xml version="1.0" encoding="utf-8"?>
<p:tagLst xmlns:a="http://schemas.openxmlformats.org/drawingml/2006/main" xmlns:r="http://schemas.openxmlformats.org/officeDocument/2006/relationships" xmlns:p="http://schemas.openxmlformats.org/presentationml/2006/main">
  <p:tag name="MIO_GUID" val="4bc31b82-097c-47f1-98c6-8ce4745c2ac4"/>
</p:tagLst>
</file>

<file path=ppt/tags/tag1299.xml><?xml version="1.0" encoding="utf-8"?>
<p:tagLst xmlns:a="http://schemas.openxmlformats.org/drawingml/2006/main" xmlns:r="http://schemas.openxmlformats.org/officeDocument/2006/relationships" xmlns:p="http://schemas.openxmlformats.org/presentationml/2006/main">
  <p:tag name="MIO_GUID" val="bcbf48c1-6c53-4b45-81e5-586b26a35dd9"/>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MIO_GUID" val="8e12d019-074a-4dd2-97ca-583f69d9a236"/>
</p:tagLst>
</file>

<file path=ppt/tags/tag1300.xml><?xml version="1.0" encoding="utf-8"?>
<p:tagLst xmlns:a="http://schemas.openxmlformats.org/drawingml/2006/main" xmlns:r="http://schemas.openxmlformats.org/officeDocument/2006/relationships" xmlns:p="http://schemas.openxmlformats.org/presentationml/2006/main">
  <p:tag name="MIO_GUID" val="bc53ea1e-7bbe-493d-a124-8604d04e8ecd"/>
</p:tagLst>
</file>

<file path=ppt/tags/tag1301.xml><?xml version="1.0" encoding="utf-8"?>
<p:tagLst xmlns:a="http://schemas.openxmlformats.org/drawingml/2006/main" xmlns:r="http://schemas.openxmlformats.org/officeDocument/2006/relationships" xmlns:p="http://schemas.openxmlformats.org/presentationml/2006/main">
  <p:tag name="MIO_GUID" val="4981856d-f155-4a3a-b9cd-875b1e94da27"/>
</p:tagLst>
</file>

<file path=ppt/tags/tag1302.xml><?xml version="1.0" encoding="utf-8"?>
<p:tagLst xmlns:a="http://schemas.openxmlformats.org/drawingml/2006/main" xmlns:r="http://schemas.openxmlformats.org/officeDocument/2006/relationships" xmlns:p="http://schemas.openxmlformats.org/presentationml/2006/main">
  <p:tag name="MIO_GUID" val="e9f38cfe-6993-4f22-8691-c5304a6cffe6"/>
</p:tagLst>
</file>

<file path=ppt/tags/tag1303.xml><?xml version="1.0" encoding="utf-8"?>
<p:tagLst xmlns:a="http://schemas.openxmlformats.org/drawingml/2006/main" xmlns:r="http://schemas.openxmlformats.org/officeDocument/2006/relationships" xmlns:p="http://schemas.openxmlformats.org/presentationml/2006/main">
  <p:tag name="MIO_GUID" val="d8dc1365-e950-4256-87f3-aee44daa2426"/>
</p:tagLst>
</file>

<file path=ppt/tags/tag1304.xml><?xml version="1.0" encoding="utf-8"?>
<p:tagLst xmlns:a="http://schemas.openxmlformats.org/drawingml/2006/main" xmlns:r="http://schemas.openxmlformats.org/officeDocument/2006/relationships" xmlns:p="http://schemas.openxmlformats.org/presentationml/2006/main">
  <p:tag name="MIO_GUID" val="643b89e2-d223-4204-b90a-edcb44401d05"/>
</p:tagLst>
</file>

<file path=ppt/tags/tag1305.xml><?xml version="1.0" encoding="utf-8"?>
<p:tagLst xmlns:a="http://schemas.openxmlformats.org/drawingml/2006/main" xmlns:r="http://schemas.openxmlformats.org/officeDocument/2006/relationships" xmlns:p="http://schemas.openxmlformats.org/presentationml/2006/main">
  <p:tag name="MIO_GUID" val="840a230f-4962-4666-aeaa-44dd0975bfad"/>
</p:tagLst>
</file>

<file path=ppt/tags/tag1306.xml><?xml version="1.0" encoding="utf-8"?>
<p:tagLst xmlns:a="http://schemas.openxmlformats.org/drawingml/2006/main" xmlns:r="http://schemas.openxmlformats.org/officeDocument/2006/relationships" xmlns:p="http://schemas.openxmlformats.org/presentationml/2006/main">
  <p:tag name="MIO_GUID" val="7fba6f71-9e26-4b22-8fd8-4fa0e2558e0e"/>
</p:tagLst>
</file>

<file path=ppt/tags/tag1307.xml><?xml version="1.0" encoding="utf-8"?>
<p:tagLst xmlns:a="http://schemas.openxmlformats.org/drawingml/2006/main" xmlns:r="http://schemas.openxmlformats.org/officeDocument/2006/relationships" xmlns:p="http://schemas.openxmlformats.org/presentationml/2006/main">
  <p:tag name="MIO_GUID" val="8a0dd7e3-cba6-4693-b18d-54d8fe1e6cc4"/>
</p:tagLst>
</file>

<file path=ppt/tags/tag1308.xml><?xml version="1.0" encoding="utf-8"?>
<p:tagLst xmlns:a="http://schemas.openxmlformats.org/drawingml/2006/main" xmlns:r="http://schemas.openxmlformats.org/officeDocument/2006/relationships" xmlns:p="http://schemas.openxmlformats.org/presentationml/2006/main">
  <p:tag name="MIO_GUID" val="da4d7818-9bc0-4ca8-be76-fd572ab5f780"/>
</p:tagLst>
</file>

<file path=ppt/tags/tag1309.xml><?xml version="1.0" encoding="utf-8"?>
<p:tagLst xmlns:a="http://schemas.openxmlformats.org/drawingml/2006/main" xmlns:r="http://schemas.openxmlformats.org/officeDocument/2006/relationships" xmlns:p="http://schemas.openxmlformats.org/presentationml/2006/main">
  <p:tag name="MIO_GUID" val="9e2eba35-a50f-46cd-b39a-16fb6648023b"/>
</p:tagLst>
</file>

<file path=ppt/tags/tag131.xml><?xml version="1.0" encoding="utf-8"?>
<p:tagLst xmlns:a="http://schemas.openxmlformats.org/drawingml/2006/main" xmlns:r="http://schemas.openxmlformats.org/officeDocument/2006/relationships" xmlns:p="http://schemas.openxmlformats.org/presentationml/2006/main">
  <p:tag name="MIO_GUID" val="54a7ed82-6337-4536-825c-818c0aaf31b0"/>
</p:tagLst>
</file>

<file path=ppt/tags/tag1310.xml><?xml version="1.0" encoding="utf-8"?>
<p:tagLst xmlns:a="http://schemas.openxmlformats.org/drawingml/2006/main" xmlns:r="http://schemas.openxmlformats.org/officeDocument/2006/relationships" xmlns:p="http://schemas.openxmlformats.org/presentationml/2006/main">
  <p:tag name="MIO_GUID" val="ff619781-5869-42bb-a026-91d0df84c56d"/>
</p:tagLst>
</file>

<file path=ppt/tags/tag1311.xml><?xml version="1.0" encoding="utf-8"?>
<p:tagLst xmlns:a="http://schemas.openxmlformats.org/drawingml/2006/main" xmlns:r="http://schemas.openxmlformats.org/officeDocument/2006/relationships" xmlns:p="http://schemas.openxmlformats.org/presentationml/2006/main">
  <p:tag name="MIO_GUID" val="a8eb0200-9383-406c-bdaa-fb8e7ef49dec"/>
</p:tagLst>
</file>

<file path=ppt/tags/tag1312.xml><?xml version="1.0" encoding="utf-8"?>
<p:tagLst xmlns:a="http://schemas.openxmlformats.org/drawingml/2006/main" xmlns:r="http://schemas.openxmlformats.org/officeDocument/2006/relationships" xmlns:p="http://schemas.openxmlformats.org/presentationml/2006/main">
  <p:tag name="MIO_GUID" val="9a4f9242-024c-4ad7-9086-63eab1356dd2"/>
</p:tagLst>
</file>

<file path=ppt/tags/tag1313.xml><?xml version="1.0" encoding="utf-8"?>
<p:tagLst xmlns:a="http://schemas.openxmlformats.org/drawingml/2006/main" xmlns:r="http://schemas.openxmlformats.org/officeDocument/2006/relationships" xmlns:p="http://schemas.openxmlformats.org/presentationml/2006/main">
  <p:tag name="MIO_GUID" val="a2a9277a-33d4-4f87-942a-cf2b9e662683"/>
</p:tagLst>
</file>

<file path=ppt/tags/tag1314.xml><?xml version="1.0" encoding="utf-8"?>
<p:tagLst xmlns:a="http://schemas.openxmlformats.org/drawingml/2006/main" xmlns:r="http://schemas.openxmlformats.org/officeDocument/2006/relationships" xmlns:p="http://schemas.openxmlformats.org/presentationml/2006/main">
  <p:tag name="MIO_GUID" val="d7592026-393d-4463-bc8f-2b768c2929b6"/>
</p:tagLst>
</file>

<file path=ppt/tags/tag1315.xml><?xml version="1.0" encoding="utf-8"?>
<p:tagLst xmlns:a="http://schemas.openxmlformats.org/drawingml/2006/main" xmlns:r="http://schemas.openxmlformats.org/officeDocument/2006/relationships" xmlns:p="http://schemas.openxmlformats.org/presentationml/2006/main">
  <p:tag name="MIO_GUID" val="d18674f8-9635-46cb-8ed8-11858827eedc"/>
</p:tagLst>
</file>

<file path=ppt/tags/tag1316.xml><?xml version="1.0" encoding="utf-8"?>
<p:tagLst xmlns:a="http://schemas.openxmlformats.org/drawingml/2006/main" xmlns:r="http://schemas.openxmlformats.org/officeDocument/2006/relationships" xmlns:p="http://schemas.openxmlformats.org/presentationml/2006/main">
  <p:tag name="MIO_GUID" val="f681d762-082f-4de8-ba93-96fb941e16fd"/>
</p:tagLst>
</file>

<file path=ppt/tags/tag1317.xml><?xml version="1.0" encoding="utf-8"?>
<p:tagLst xmlns:a="http://schemas.openxmlformats.org/drawingml/2006/main" xmlns:r="http://schemas.openxmlformats.org/officeDocument/2006/relationships" xmlns:p="http://schemas.openxmlformats.org/presentationml/2006/main">
  <p:tag name="MIO_GUID" val="39d4e92d-e0a1-4442-a093-902b7a0705b5"/>
</p:tagLst>
</file>

<file path=ppt/tags/tag1318.xml><?xml version="1.0" encoding="utf-8"?>
<p:tagLst xmlns:a="http://schemas.openxmlformats.org/drawingml/2006/main" xmlns:r="http://schemas.openxmlformats.org/officeDocument/2006/relationships" xmlns:p="http://schemas.openxmlformats.org/presentationml/2006/main">
  <p:tag name="MIO_GUID" val="adccf30b-a796-4d8d-b5a0-4e33c9e344fb"/>
</p:tagLst>
</file>

<file path=ppt/tags/tag1319.xml><?xml version="1.0" encoding="utf-8"?>
<p:tagLst xmlns:a="http://schemas.openxmlformats.org/drawingml/2006/main" xmlns:r="http://schemas.openxmlformats.org/officeDocument/2006/relationships" xmlns:p="http://schemas.openxmlformats.org/presentationml/2006/main">
  <p:tag name="MIO_GUID" val="1727c061-67d6-448c-bea3-2ff85d6832c2"/>
</p:tagLst>
</file>

<file path=ppt/tags/tag132.xml><?xml version="1.0" encoding="utf-8"?>
<p:tagLst xmlns:a="http://schemas.openxmlformats.org/drawingml/2006/main" xmlns:r="http://schemas.openxmlformats.org/officeDocument/2006/relationships" xmlns:p="http://schemas.openxmlformats.org/presentationml/2006/main">
  <p:tag name="MIO_GUID" val="8b5e85ec-3557-4696-9104-d25601166b72"/>
</p:tagLst>
</file>

<file path=ppt/tags/tag1320.xml><?xml version="1.0" encoding="utf-8"?>
<p:tagLst xmlns:a="http://schemas.openxmlformats.org/drawingml/2006/main" xmlns:r="http://schemas.openxmlformats.org/officeDocument/2006/relationships" xmlns:p="http://schemas.openxmlformats.org/presentationml/2006/main">
  <p:tag name="MIO_GUID" val="c8c2e9c1-806d-46b2-9020-1b26dfa15c1e"/>
</p:tagLst>
</file>

<file path=ppt/tags/tag1321.xml><?xml version="1.0" encoding="utf-8"?>
<p:tagLst xmlns:a="http://schemas.openxmlformats.org/drawingml/2006/main" xmlns:r="http://schemas.openxmlformats.org/officeDocument/2006/relationships" xmlns:p="http://schemas.openxmlformats.org/presentationml/2006/main">
  <p:tag name="MIO_GUID" val="38487fbe-73ff-4cc4-9ffe-cb49462df8b2"/>
</p:tagLst>
</file>

<file path=ppt/tags/tag1322.xml><?xml version="1.0" encoding="utf-8"?>
<p:tagLst xmlns:a="http://schemas.openxmlformats.org/drawingml/2006/main" xmlns:r="http://schemas.openxmlformats.org/officeDocument/2006/relationships" xmlns:p="http://schemas.openxmlformats.org/presentationml/2006/main">
  <p:tag name="MIO_GUID" val="32b18f58-1186-4393-94d3-6698e3f66f1b"/>
</p:tagLst>
</file>

<file path=ppt/tags/tag1323.xml><?xml version="1.0" encoding="utf-8"?>
<p:tagLst xmlns:a="http://schemas.openxmlformats.org/drawingml/2006/main" xmlns:r="http://schemas.openxmlformats.org/officeDocument/2006/relationships" xmlns:p="http://schemas.openxmlformats.org/presentationml/2006/main">
  <p:tag name="MIO_GUID" val="adaefbec-d461-4a74-b2e2-1756d54b10e1"/>
</p:tagLst>
</file>

<file path=ppt/tags/tag1324.xml><?xml version="1.0" encoding="utf-8"?>
<p:tagLst xmlns:a="http://schemas.openxmlformats.org/drawingml/2006/main" xmlns:r="http://schemas.openxmlformats.org/officeDocument/2006/relationships" xmlns:p="http://schemas.openxmlformats.org/presentationml/2006/main">
  <p:tag name="MIO_GUID" val="769bb42a-728d-49bb-99d0-22273d5e6fcf"/>
</p:tagLst>
</file>

<file path=ppt/tags/tag1325.xml><?xml version="1.0" encoding="utf-8"?>
<p:tagLst xmlns:a="http://schemas.openxmlformats.org/drawingml/2006/main" xmlns:r="http://schemas.openxmlformats.org/officeDocument/2006/relationships" xmlns:p="http://schemas.openxmlformats.org/presentationml/2006/main">
  <p:tag name="MIO_GUID" val="a740e19a-5f62-4712-9884-05bd3bc44ca8"/>
</p:tagLst>
</file>

<file path=ppt/tags/tag1326.xml><?xml version="1.0" encoding="utf-8"?>
<p:tagLst xmlns:a="http://schemas.openxmlformats.org/drawingml/2006/main" xmlns:r="http://schemas.openxmlformats.org/officeDocument/2006/relationships" xmlns:p="http://schemas.openxmlformats.org/presentationml/2006/main">
  <p:tag name="MIO_GUID" val="0feeaeeb-ec48-44b4-aa0e-ad90ec7d4329"/>
</p:tagLst>
</file>

<file path=ppt/tags/tag1327.xml><?xml version="1.0" encoding="utf-8"?>
<p:tagLst xmlns:a="http://schemas.openxmlformats.org/drawingml/2006/main" xmlns:r="http://schemas.openxmlformats.org/officeDocument/2006/relationships" xmlns:p="http://schemas.openxmlformats.org/presentationml/2006/main">
  <p:tag name="MIO_GUID" val="d8600375-4dac-4928-8d1b-4ee619a1f047"/>
</p:tagLst>
</file>

<file path=ppt/tags/tag1328.xml><?xml version="1.0" encoding="utf-8"?>
<p:tagLst xmlns:a="http://schemas.openxmlformats.org/drawingml/2006/main" xmlns:r="http://schemas.openxmlformats.org/officeDocument/2006/relationships" xmlns:p="http://schemas.openxmlformats.org/presentationml/2006/main">
  <p:tag name="MIO_GUID" val="c8180844-b707-4d7c-9e7a-ec7647d26ad6"/>
</p:tagLst>
</file>

<file path=ppt/tags/tag1329.xml><?xml version="1.0" encoding="utf-8"?>
<p:tagLst xmlns:a="http://schemas.openxmlformats.org/drawingml/2006/main" xmlns:r="http://schemas.openxmlformats.org/officeDocument/2006/relationships" xmlns:p="http://schemas.openxmlformats.org/presentationml/2006/main">
  <p:tag name="MIO_GUID" val="deaae3ac-1e0a-441f-84e7-04f868cf4f3d"/>
</p:tagLst>
</file>

<file path=ppt/tags/tag133.xml><?xml version="1.0" encoding="utf-8"?>
<p:tagLst xmlns:a="http://schemas.openxmlformats.org/drawingml/2006/main" xmlns:r="http://schemas.openxmlformats.org/officeDocument/2006/relationships" xmlns:p="http://schemas.openxmlformats.org/presentationml/2006/main">
  <p:tag name="MIO_GUID" val="935be170-d542-4755-851f-f53dbb67bbbe"/>
</p:tagLst>
</file>

<file path=ppt/tags/tag1330.xml><?xml version="1.0" encoding="utf-8"?>
<p:tagLst xmlns:a="http://schemas.openxmlformats.org/drawingml/2006/main" xmlns:r="http://schemas.openxmlformats.org/officeDocument/2006/relationships" xmlns:p="http://schemas.openxmlformats.org/presentationml/2006/main">
  <p:tag name="MIO_GUID" val="b92f7580-af2f-4c31-b640-775386963f73"/>
</p:tagLst>
</file>

<file path=ppt/tags/tag1331.xml><?xml version="1.0" encoding="utf-8"?>
<p:tagLst xmlns:a="http://schemas.openxmlformats.org/drawingml/2006/main" xmlns:r="http://schemas.openxmlformats.org/officeDocument/2006/relationships" xmlns:p="http://schemas.openxmlformats.org/presentationml/2006/main">
  <p:tag name="MIO_GUID" val="82fe8e9e-3a5a-434f-be01-03397a1fc543"/>
</p:tagLst>
</file>

<file path=ppt/tags/tag1332.xml><?xml version="1.0" encoding="utf-8"?>
<p:tagLst xmlns:a="http://schemas.openxmlformats.org/drawingml/2006/main" xmlns:r="http://schemas.openxmlformats.org/officeDocument/2006/relationships" xmlns:p="http://schemas.openxmlformats.org/presentationml/2006/main">
  <p:tag name="MIO_GUID" val="f258b2bc-d4ad-406d-8e48-e0fc337459d9"/>
</p:tagLst>
</file>

<file path=ppt/tags/tag1333.xml><?xml version="1.0" encoding="utf-8"?>
<p:tagLst xmlns:a="http://schemas.openxmlformats.org/drawingml/2006/main" xmlns:r="http://schemas.openxmlformats.org/officeDocument/2006/relationships" xmlns:p="http://schemas.openxmlformats.org/presentationml/2006/main">
  <p:tag name="MIO_GUID" val="2ed272a7-f258-4f52-9a04-6e0491bcd5fa"/>
</p:tagLst>
</file>

<file path=ppt/tags/tag1334.xml><?xml version="1.0" encoding="utf-8"?>
<p:tagLst xmlns:a="http://schemas.openxmlformats.org/drawingml/2006/main" xmlns:r="http://schemas.openxmlformats.org/officeDocument/2006/relationships" xmlns:p="http://schemas.openxmlformats.org/presentationml/2006/main">
  <p:tag name="MIO_GUID" val="d1b08104-e112-4b66-b6ec-5456ea8b1231"/>
</p:tagLst>
</file>

<file path=ppt/tags/tag1335.xml><?xml version="1.0" encoding="utf-8"?>
<p:tagLst xmlns:a="http://schemas.openxmlformats.org/drawingml/2006/main" xmlns:r="http://schemas.openxmlformats.org/officeDocument/2006/relationships" xmlns:p="http://schemas.openxmlformats.org/presentationml/2006/main">
  <p:tag name="MIO_GUID" val="6bf432e7-7cfc-473a-aded-d85f1df14d41"/>
</p:tagLst>
</file>

<file path=ppt/tags/tag1336.xml><?xml version="1.0" encoding="utf-8"?>
<p:tagLst xmlns:a="http://schemas.openxmlformats.org/drawingml/2006/main" xmlns:r="http://schemas.openxmlformats.org/officeDocument/2006/relationships" xmlns:p="http://schemas.openxmlformats.org/presentationml/2006/main">
  <p:tag name="MIO_GUID" val="b28401f0-cc91-414c-9bf9-065c66b75764"/>
</p:tagLst>
</file>

<file path=ppt/tags/tag1337.xml><?xml version="1.0" encoding="utf-8"?>
<p:tagLst xmlns:a="http://schemas.openxmlformats.org/drawingml/2006/main" xmlns:r="http://schemas.openxmlformats.org/officeDocument/2006/relationships" xmlns:p="http://schemas.openxmlformats.org/presentationml/2006/main">
  <p:tag name="MIO_GUID" val="c4d9b10a-9514-4417-aac7-5ff7cbb051e2"/>
</p:tagLst>
</file>

<file path=ppt/tags/tag1338.xml><?xml version="1.0" encoding="utf-8"?>
<p:tagLst xmlns:a="http://schemas.openxmlformats.org/drawingml/2006/main" xmlns:r="http://schemas.openxmlformats.org/officeDocument/2006/relationships" xmlns:p="http://schemas.openxmlformats.org/presentationml/2006/main">
  <p:tag name="MIO_GUID" val="06eabecd-7202-4d07-90fe-52412f4e1e90"/>
</p:tagLst>
</file>

<file path=ppt/tags/tag1339.xml><?xml version="1.0" encoding="utf-8"?>
<p:tagLst xmlns:a="http://schemas.openxmlformats.org/drawingml/2006/main" xmlns:r="http://schemas.openxmlformats.org/officeDocument/2006/relationships" xmlns:p="http://schemas.openxmlformats.org/presentationml/2006/main">
  <p:tag name="MIO_GUID" val="62be010a-c5d0-4ff7-806f-2e127f0f1e3b"/>
</p:tagLst>
</file>

<file path=ppt/tags/tag134.xml><?xml version="1.0" encoding="utf-8"?>
<p:tagLst xmlns:a="http://schemas.openxmlformats.org/drawingml/2006/main" xmlns:r="http://schemas.openxmlformats.org/officeDocument/2006/relationships" xmlns:p="http://schemas.openxmlformats.org/presentationml/2006/main">
  <p:tag name="MIO_GUID" val="cfe8792e-965f-4d7a-86c5-4c7a5512160b"/>
</p:tagLst>
</file>

<file path=ppt/tags/tag1340.xml><?xml version="1.0" encoding="utf-8"?>
<p:tagLst xmlns:a="http://schemas.openxmlformats.org/drawingml/2006/main" xmlns:r="http://schemas.openxmlformats.org/officeDocument/2006/relationships" xmlns:p="http://schemas.openxmlformats.org/presentationml/2006/main">
  <p:tag name="MIO_GUID" val="057b718e-0070-4e75-983a-e3a18e3ec57d"/>
</p:tagLst>
</file>

<file path=ppt/tags/tag1341.xml><?xml version="1.0" encoding="utf-8"?>
<p:tagLst xmlns:a="http://schemas.openxmlformats.org/drawingml/2006/main" xmlns:r="http://schemas.openxmlformats.org/officeDocument/2006/relationships" xmlns:p="http://schemas.openxmlformats.org/presentationml/2006/main">
  <p:tag name="MIO_GUID" val="a196b153-d80e-4e96-a2ea-61094fbc3928"/>
</p:tagLst>
</file>

<file path=ppt/tags/tag1342.xml><?xml version="1.0" encoding="utf-8"?>
<p:tagLst xmlns:a="http://schemas.openxmlformats.org/drawingml/2006/main" xmlns:r="http://schemas.openxmlformats.org/officeDocument/2006/relationships" xmlns:p="http://schemas.openxmlformats.org/presentationml/2006/main">
  <p:tag name="MIO_GUID" val="58686ab6-7ce6-488c-b7fc-965a08d426c1"/>
</p:tagLst>
</file>

<file path=ppt/tags/tag1343.xml><?xml version="1.0" encoding="utf-8"?>
<p:tagLst xmlns:a="http://schemas.openxmlformats.org/drawingml/2006/main" xmlns:r="http://schemas.openxmlformats.org/officeDocument/2006/relationships" xmlns:p="http://schemas.openxmlformats.org/presentationml/2006/main">
  <p:tag name="MIO_GUID" val="4b54b623-d210-48cd-96cb-bd29c14093c5"/>
</p:tagLst>
</file>

<file path=ppt/tags/tag1344.xml><?xml version="1.0" encoding="utf-8"?>
<p:tagLst xmlns:a="http://schemas.openxmlformats.org/drawingml/2006/main" xmlns:r="http://schemas.openxmlformats.org/officeDocument/2006/relationships" xmlns:p="http://schemas.openxmlformats.org/presentationml/2006/main">
  <p:tag name="MIO_GUID" val="917342b5-7564-47f8-9461-130f06c44a36"/>
</p:tagLst>
</file>

<file path=ppt/tags/tag1345.xml><?xml version="1.0" encoding="utf-8"?>
<p:tagLst xmlns:a="http://schemas.openxmlformats.org/drawingml/2006/main" xmlns:r="http://schemas.openxmlformats.org/officeDocument/2006/relationships" xmlns:p="http://schemas.openxmlformats.org/presentationml/2006/main">
  <p:tag name="MIO_GUID" val="13ef7e81-5ad6-4849-a238-cec18a40b249"/>
</p:tagLst>
</file>

<file path=ppt/tags/tag1346.xml><?xml version="1.0" encoding="utf-8"?>
<p:tagLst xmlns:a="http://schemas.openxmlformats.org/drawingml/2006/main" xmlns:r="http://schemas.openxmlformats.org/officeDocument/2006/relationships" xmlns:p="http://schemas.openxmlformats.org/presentationml/2006/main">
  <p:tag name="MIO_GUID" val="fe3e1681-2a0b-4910-b071-2341822c035c"/>
</p:tagLst>
</file>

<file path=ppt/tags/tag1347.xml><?xml version="1.0" encoding="utf-8"?>
<p:tagLst xmlns:a="http://schemas.openxmlformats.org/drawingml/2006/main" xmlns:r="http://schemas.openxmlformats.org/officeDocument/2006/relationships" xmlns:p="http://schemas.openxmlformats.org/presentationml/2006/main">
  <p:tag name="MIO_GUID" val="6cf81251-a8e9-4569-9dc7-d4f1396e389d"/>
</p:tagLst>
</file>

<file path=ppt/tags/tag1348.xml><?xml version="1.0" encoding="utf-8"?>
<p:tagLst xmlns:a="http://schemas.openxmlformats.org/drawingml/2006/main" xmlns:r="http://schemas.openxmlformats.org/officeDocument/2006/relationships" xmlns:p="http://schemas.openxmlformats.org/presentationml/2006/main">
  <p:tag name="MIO_GUID" val="20f16b23-4674-4706-9086-cf58c6c5e44b"/>
</p:tagLst>
</file>

<file path=ppt/tags/tag1349.xml><?xml version="1.0" encoding="utf-8"?>
<p:tagLst xmlns:a="http://schemas.openxmlformats.org/drawingml/2006/main" xmlns:r="http://schemas.openxmlformats.org/officeDocument/2006/relationships" xmlns:p="http://schemas.openxmlformats.org/presentationml/2006/main">
  <p:tag name="MIO_GUID" val="8eb619a3-ebc1-4a2b-ab65-c1aec5ffeff3"/>
</p:tagLst>
</file>

<file path=ppt/tags/tag135.xml><?xml version="1.0" encoding="utf-8"?>
<p:tagLst xmlns:a="http://schemas.openxmlformats.org/drawingml/2006/main" xmlns:r="http://schemas.openxmlformats.org/officeDocument/2006/relationships" xmlns:p="http://schemas.openxmlformats.org/presentationml/2006/main">
  <p:tag name="MIO_GUID" val="d6db844a-33fa-4624-831e-9827d8590626"/>
</p:tagLst>
</file>

<file path=ppt/tags/tag1350.xml><?xml version="1.0" encoding="utf-8"?>
<p:tagLst xmlns:a="http://schemas.openxmlformats.org/drawingml/2006/main" xmlns:r="http://schemas.openxmlformats.org/officeDocument/2006/relationships" xmlns:p="http://schemas.openxmlformats.org/presentationml/2006/main">
  <p:tag name="MIO_GUID" val="bdc223d6-5730-4ce9-a358-5141e2d75e4a"/>
</p:tagLst>
</file>

<file path=ppt/tags/tag1351.xml><?xml version="1.0" encoding="utf-8"?>
<p:tagLst xmlns:a="http://schemas.openxmlformats.org/drawingml/2006/main" xmlns:r="http://schemas.openxmlformats.org/officeDocument/2006/relationships" xmlns:p="http://schemas.openxmlformats.org/presentationml/2006/main">
  <p:tag name="MIO_GUID" val="8220676b-162f-4300-a8c7-7eb9f32d9fde"/>
</p:tagLst>
</file>

<file path=ppt/tags/tag1352.xml><?xml version="1.0" encoding="utf-8"?>
<p:tagLst xmlns:a="http://schemas.openxmlformats.org/drawingml/2006/main" xmlns:r="http://schemas.openxmlformats.org/officeDocument/2006/relationships" xmlns:p="http://schemas.openxmlformats.org/presentationml/2006/main">
  <p:tag name="MIO_GUID" val="25df7cb4-badd-4c67-a592-645b24dec91f"/>
</p:tagLst>
</file>

<file path=ppt/tags/tag1353.xml><?xml version="1.0" encoding="utf-8"?>
<p:tagLst xmlns:a="http://schemas.openxmlformats.org/drawingml/2006/main" xmlns:r="http://schemas.openxmlformats.org/officeDocument/2006/relationships" xmlns:p="http://schemas.openxmlformats.org/presentationml/2006/main">
  <p:tag name="MIO_GUID" val="f6bd695b-c4e6-483c-8365-4c04ff48fd15"/>
</p:tagLst>
</file>

<file path=ppt/tags/tag1354.xml><?xml version="1.0" encoding="utf-8"?>
<p:tagLst xmlns:a="http://schemas.openxmlformats.org/drawingml/2006/main" xmlns:r="http://schemas.openxmlformats.org/officeDocument/2006/relationships" xmlns:p="http://schemas.openxmlformats.org/presentationml/2006/main">
  <p:tag name="MIO_GUID" val="0c131d01-c78b-4c84-b77c-127563dc276f"/>
  <p:tag name="MIO_EKGUID" val="1f4f0cde-9306-4cb9-8a38-e51144c04ddf"/>
  <p:tag name="MIO_UPDATE" val="True"/>
  <p:tag name="MIO_VERSION" val="14.11.2019 14:32:26"/>
  <p:tag name="MIO_DBID" val="5D9FD29E-BEEC-40D7-BFBE-407D9085DE5F"/>
  <p:tag name="MIO_LASTDOWNLOADED" val="07.02.2020 06:25:21"/>
  <p:tag name="MIO_OBJECTNAME" val="World - regions"/>
  <p:tag name="MIO_LASTEDITORNAME" val="Daniel J"/>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6.xml><?xml version="1.0" encoding="utf-8"?>
<p:tagLst xmlns:a="http://schemas.openxmlformats.org/drawingml/2006/main" xmlns:r="http://schemas.openxmlformats.org/officeDocument/2006/relationships" xmlns:p="http://schemas.openxmlformats.org/presentationml/2006/main">
  <p:tag name="MIO_GUID" val="6c8c6cac-0c14-4e06-910b-c20c4a643208"/>
</p:tagLst>
</file>

<file path=ppt/tags/tag1357.xml><?xml version="1.0" encoding="utf-8"?>
<p:tagLst xmlns:a="http://schemas.openxmlformats.org/drawingml/2006/main" xmlns:r="http://schemas.openxmlformats.org/officeDocument/2006/relationships" xmlns:p="http://schemas.openxmlformats.org/presentationml/2006/main">
  <p:tag name="MIO_GUID" val="ec68d778-2a2a-460b-9d76-a7711c832aa9"/>
</p:tagLst>
</file>

<file path=ppt/tags/tag1358.xml><?xml version="1.0" encoding="utf-8"?>
<p:tagLst xmlns:a="http://schemas.openxmlformats.org/drawingml/2006/main" xmlns:r="http://schemas.openxmlformats.org/officeDocument/2006/relationships" xmlns:p="http://schemas.openxmlformats.org/presentationml/2006/main">
  <p:tag name="MIO_GUID" val="866050bf-5c91-43e5-80da-dab87bee45b8"/>
</p:tagLst>
</file>

<file path=ppt/tags/tag1359.xml><?xml version="1.0" encoding="utf-8"?>
<p:tagLst xmlns:a="http://schemas.openxmlformats.org/drawingml/2006/main" xmlns:r="http://schemas.openxmlformats.org/officeDocument/2006/relationships" xmlns:p="http://schemas.openxmlformats.org/presentationml/2006/main">
  <p:tag name="MIO_GUID" val="2dbe2815-3c61-40f8-a9ce-be0f5616497b"/>
</p:tagLst>
</file>

<file path=ppt/tags/tag136.xml><?xml version="1.0" encoding="utf-8"?>
<p:tagLst xmlns:a="http://schemas.openxmlformats.org/drawingml/2006/main" xmlns:r="http://schemas.openxmlformats.org/officeDocument/2006/relationships" xmlns:p="http://schemas.openxmlformats.org/presentationml/2006/main">
  <p:tag name="MIO_GUID" val="aa8161a3-c5b7-454c-b311-52837e3a6f4b"/>
</p:tagLst>
</file>

<file path=ppt/tags/tag1360.xml><?xml version="1.0" encoding="utf-8"?>
<p:tagLst xmlns:a="http://schemas.openxmlformats.org/drawingml/2006/main" xmlns:r="http://schemas.openxmlformats.org/officeDocument/2006/relationships" xmlns:p="http://schemas.openxmlformats.org/presentationml/2006/main">
  <p:tag name="MIO_GUID" val="10cbc5b3-7958-4d8e-8b08-37ea716883cc"/>
</p:tagLst>
</file>

<file path=ppt/tags/tag1361.xml><?xml version="1.0" encoding="utf-8"?>
<p:tagLst xmlns:a="http://schemas.openxmlformats.org/drawingml/2006/main" xmlns:r="http://schemas.openxmlformats.org/officeDocument/2006/relationships" xmlns:p="http://schemas.openxmlformats.org/presentationml/2006/main">
  <p:tag name="MIO_GUID" val="7086e858-18e9-4230-80f1-9819dad143e7"/>
</p:tagLst>
</file>

<file path=ppt/tags/tag1362.xml><?xml version="1.0" encoding="utf-8"?>
<p:tagLst xmlns:a="http://schemas.openxmlformats.org/drawingml/2006/main" xmlns:r="http://schemas.openxmlformats.org/officeDocument/2006/relationships" xmlns:p="http://schemas.openxmlformats.org/presentationml/2006/main">
  <p:tag name="MIO_GUID" val="8a77462a-d8b6-4478-8898-689340be0b0f"/>
</p:tagLst>
</file>

<file path=ppt/tags/tag1363.xml><?xml version="1.0" encoding="utf-8"?>
<p:tagLst xmlns:a="http://schemas.openxmlformats.org/drawingml/2006/main" xmlns:r="http://schemas.openxmlformats.org/officeDocument/2006/relationships" xmlns:p="http://schemas.openxmlformats.org/presentationml/2006/main">
  <p:tag name="MIO_GUID" val="15d977f8-f3db-4ea5-9926-eb83ff8a8692"/>
</p:tagLst>
</file>

<file path=ppt/tags/tag1364.xml><?xml version="1.0" encoding="utf-8"?>
<p:tagLst xmlns:a="http://schemas.openxmlformats.org/drawingml/2006/main" xmlns:r="http://schemas.openxmlformats.org/officeDocument/2006/relationships" xmlns:p="http://schemas.openxmlformats.org/presentationml/2006/main">
  <p:tag name="MIO_GUID" val="a292b6ba-e931-44db-b02d-ab9a3a804b40"/>
</p:tagLst>
</file>

<file path=ppt/tags/tag1365.xml><?xml version="1.0" encoding="utf-8"?>
<p:tagLst xmlns:a="http://schemas.openxmlformats.org/drawingml/2006/main" xmlns:r="http://schemas.openxmlformats.org/officeDocument/2006/relationships" xmlns:p="http://schemas.openxmlformats.org/presentationml/2006/main">
  <p:tag name="MIO_GUID" val="43844a17-3388-4ec5-8ad0-f8e1a3570443"/>
</p:tagLst>
</file>

<file path=ppt/tags/tag1366.xml><?xml version="1.0" encoding="utf-8"?>
<p:tagLst xmlns:a="http://schemas.openxmlformats.org/drawingml/2006/main" xmlns:r="http://schemas.openxmlformats.org/officeDocument/2006/relationships" xmlns:p="http://schemas.openxmlformats.org/presentationml/2006/main">
  <p:tag name="MIO_GUID" val="8c6a661c-2f61-48ae-9ff2-0cdc2ee70c19"/>
</p:tagLst>
</file>

<file path=ppt/tags/tag1367.xml><?xml version="1.0" encoding="utf-8"?>
<p:tagLst xmlns:a="http://schemas.openxmlformats.org/drawingml/2006/main" xmlns:r="http://schemas.openxmlformats.org/officeDocument/2006/relationships" xmlns:p="http://schemas.openxmlformats.org/presentationml/2006/main">
  <p:tag name="MIO_GUID" val="54afb477-b74c-4a1c-8eb7-e05f82e827af"/>
</p:tagLst>
</file>

<file path=ppt/tags/tag1368.xml><?xml version="1.0" encoding="utf-8"?>
<p:tagLst xmlns:a="http://schemas.openxmlformats.org/drawingml/2006/main" xmlns:r="http://schemas.openxmlformats.org/officeDocument/2006/relationships" xmlns:p="http://schemas.openxmlformats.org/presentationml/2006/main">
  <p:tag name="MIO_GUID" val="146d8991-cb8a-4d83-b58a-a434ae3c2638"/>
</p:tagLst>
</file>

<file path=ppt/tags/tag1369.xml><?xml version="1.0" encoding="utf-8"?>
<p:tagLst xmlns:a="http://schemas.openxmlformats.org/drawingml/2006/main" xmlns:r="http://schemas.openxmlformats.org/officeDocument/2006/relationships" xmlns:p="http://schemas.openxmlformats.org/presentationml/2006/main">
  <p:tag name="MIO_GUID" val="8693b299-656e-471c-91ce-56d9953a9f09"/>
</p:tagLst>
</file>

<file path=ppt/tags/tag137.xml><?xml version="1.0" encoding="utf-8"?>
<p:tagLst xmlns:a="http://schemas.openxmlformats.org/drawingml/2006/main" xmlns:r="http://schemas.openxmlformats.org/officeDocument/2006/relationships" xmlns:p="http://schemas.openxmlformats.org/presentationml/2006/main">
  <p:tag name="MIO_GUID" val="f50be525-62f0-4b08-b5d2-abc523382529"/>
</p:tagLst>
</file>

<file path=ppt/tags/tag1370.xml><?xml version="1.0" encoding="utf-8"?>
<p:tagLst xmlns:a="http://schemas.openxmlformats.org/drawingml/2006/main" xmlns:r="http://schemas.openxmlformats.org/officeDocument/2006/relationships" xmlns:p="http://schemas.openxmlformats.org/presentationml/2006/main">
  <p:tag name="MIO_GUID" val="f382b696-1385-4aba-a678-5c4e8c6ff2c7"/>
</p:tagLst>
</file>

<file path=ppt/tags/tag1371.xml><?xml version="1.0" encoding="utf-8"?>
<p:tagLst xmlns:a="http://schemas.openxmlformats.org/drawingml/2006/main" xmlns:r="http://schemas.openxmlformats.org/officeDocument/2006/relationships" xmlns:p="http://schemas.openxmlformats.org/presentationml/2006/main">
  <p:tag name="MIO_GUID" val="e72bb7f0-bb08-4736-a900-69a8389e1534"/>
</p:tagLst>
</file>

<file path=ppt/tags/tag1372.xml><?xml version="1.0" encoding="utf-8"?>
<p:tagLst xmlns:a="http://schemas.openxmlformats.org/drawingml/2006/main" xmlns:r="http://schemas.openxmlformats.org/officeDocument/2006/relationships" xmlns:p="http://schemas.openxmlformats.org/presentationml/2006/main">
  <p:tag name="MIO_GUID" val="3ec937cd-d910-458c-bf6e-3042ad0ea0e0"/>
</p:tagLst>
</file>

<file path=ppt/tags/tag1373.xml><?xml version="1.0" encoding="utf-8"?>
<p:tagLst xmlns:a="http://schemas.openxmlformats.org/drawingml/2006/main" xmlns:r="http://schemas.openxmlformats.org/officeDocument/2006/relationships" xmlns:p="http://schemas.openxmlformats.org/presentationml/2006/main">
  <p:tag name="MIO_GUID" val="2e361772-55b4-43d7-9274-7722a862fd68"/>
</p:tagLst>
</file>

<file path=ppt/tags/tag1374.xml><?xml version="1.0" encoding="utf-8"?>
<p:tagLst xmlns:a="http://schemas.openxmlformats.org/drawingml/2006/main" xmlns:r="http://schemas.openxmlformats.org/officeDocument/2006/relationships" xmlns:p="http://schemas.openxmlformats.org/presentationml/2006/main">
  <p:tag name="MIO_GUID" val="d237b3cf-d90d-4a98-b4c7-c41036aa4562"/>
</p:tagLst>
</file>

<file path=ppt/tags/tag1375.xml><?xml version="1.0" encoding="utf-8"?>
<p:tagLst xmlns:a="http://schemas.openxmlformats.org/drawingml/2006/main" xmlns:r="http://schemas.openxmlformats.org/officeDocument/2006/relationships" xmlns:p="http://schemas.openxmlformats.org/presentationml/2006/main">
  <p:tag name="MIO_GUID" val="02ed511a-74c6-4680-98b6-49979c9da3a6"/>
</p:tagLst>
</file>

<file path=ppt/tags/tag1376.xml><?xml version="1.0" encoding="utf-8"?>
<p:tagLst xmlns:a="http://schemas.openxmlformats.org/drawingml/2006/main" xmlns:r="http://schemas.openxmlformats.org/officeDocument/2006/relationships" xmlns:p="http://schemas.openxmlformats.org/presentationml/2006/main">
  <p:tag name="MIO_GUID" val="d6b1a70e-bc0c-4eb6-9c64-c5187af8179f"/>
</p:tagLst>
</file>

<file path=ppt/tags/tag1377.xml><?xml version="1.0" encoding="utf-8"?>
<p:tagLst xmlns:a="http://schemas.openxmlformats.org/drawingml/2006/main" xmlns:r="http://schemas.openxmlformats.org/officeDocument/2006/relationships" xmlns:p="http://schemas.openxmlformats.org/presentationml/2006/main">
  <p:tag name="MIO_GUID" val="2357d36f-8435-4702-adc6-98cf8d1ee5a4"/>
</p:tagLst>
</file>

<file path=ppt/tags/tag1378.xml><?xml version="1.0" encoding="utf-8"?>
<p:tagLst xmlns:a="http://schemas.openxmlformats.org/drawingml/2006/main" xmlns:r="http://schemas.openxmlformats.org/officeDocument/2006/relationships" xmlns:p="http://schemas.openxmlformats.org/presentationml/2006/main">
  <p:tag name="MIO_GUID" val="2de72258-0903-4f04-835b-5fbdfc7c83e9"/>
</p:tagLst>
</file>

<file path=ppt/tags/tag1379.xml><?xml version="1.0" encoding="utf-8"?>
<p:tagLst xmlns:a="http://schemas.openxmlformats.org/drawingml/2006/main" xmlns:r="http://schemas.openxmlformats.org/officeDocument/2006/relationships" xmlns:p="http://schemas.openxmlformats.org/presentationml/2006/main">
  <p:tag name="MIO_GUID" val="a0d5551e-1ff9-4676-b2d2-9fa2e40e272c"/>
</p:tagLst>
</file>

<file path=ppt/tags/tag138.xml><?xml version="1.0" encoding="utf-8"?>
<p:tagLst xmlns:a="http://schemas.openxmlformats.org/drawingml/2006/main" xmlns:r="http://schemas.openxmlformats.org/officeDocument/2006/relationships" xmlns:p="http://schemas.openxmlformats.org/presentationml/2006/main">
  <p:tag name="MIO_GUID" val="5b09a408-741a-4a71-b075-c78c759efe84"/>
</p:tagLst>
</file>

<file path=ppt/tags/tag1380.xml><?xml version="1.0" encoding="utf-8"?>
<p:tagLst xmlns:a="http://schemas.openxmlformats.org/drawingml/2006/main" xmlns:r="http://schemas.openxmlformats.org/officeDocument/2006/relationships" xmlns:p="http://schemas.openxmlformats.org/presentationml/2006/main">
  <p:tag name="MIO_GUID" val="4ffa7c59-0008-461f-bae0-4205b3539812"/>
</p:tagLst>
</file>

<file path=ppt/tags/tag1381.xml><?xml version="1.0" encoding="utf-8"?>
<p:tagLst xmlns:a="http://schemas.openxmlformats.org/drawingml/2006/main" xmlns:r="http://schemas.openxmlformats.org/officeDocument/2006/relationships" xmlns:p="http://schemas.openxmlformats.org/presentationml/2006/main">
  <p:tag name="MIO_GUID" val="83593372-2db5-4c05-9b08-9e611dbed500"/>
</p:tagLst>
</file>

<file path=ppt/tags/tag1382.xml><?xml version="1.0" encoding="utf-8"?>
<p:tagLst xmlns:a="http://schemas.openxmlformats.org/drawingml/2006/main" xmlns:r="http://schemas.openxmlformats.org/officeDocument/2006/relationships" xmlns:p="http://schemas.openxmlformats.org/presentationml/2006/main">
  <p:tag name="MIO_GUID" val="48e8dc27-3b32-415d-9da1-2274fc5f7c39"/>
</p:tagLst>
</file>

<file path=ppt/tags/tag1383.xml><?xml version="1.0" encoding="utf-8"?>
<p:tagLst xmlns:a="http://schemas.openxmlformats.org/drawingml/2006/main" xmlns:r="http://schemas.openxmlformats.org/officeDocument/2006/relationships" xmlns:p="http://schemas.openxmlformats.org/presentationml/2006/main">
  <p:tag name="MIO_GUID" val="764b047a-f0d6-4b6b-a78d-b096ded7095e"/>
</p:tagLst>
</file>

<file path=ppt/tags/tag1384.xml><?xml version="1.0" encoding="utf-8"?>
<p:tagLst xmlns:a="http://schemas.openxmlformats.org/drawingml/2006/main" xmlns:r="http://schemas.openxmlformats.org/officeDocument/2006/relationships" xmlns:p="http://schemas.openxmlformats.org/presentationml/2006/main">
  <p:tag name="MIO_GUID" val="9310352c-6e42-4b70-8e45-8b4efb8c1de2"/>
</p:tagLst>
</file>

<file path=ppt/tags/tag1385.xml><?xml version="1.0" encoding="utf-8"?>
<p:tagLst xmlns:a="http://schemas.openxmlformats.org/drawingml/2006/main" xmlns:r="http://schemas.openxmlformats.org/officeDocument/2006/relationships" xmlns:p="http://schemas.openxmlformats.org/presentationml/2006/main">
  <p:tag name="MIO_GUID" val="290cbcd6-db1d-438d-b78c-5650edbf4e1b"/>
</p:tagLst>
</file>

<file path=ppt/tags/tag1386.xml><?xml version="1.0" encoding="utf-8"?>
<p:tagLst xmlns:a="http://schemas.openxmlformats.org/drawingml/2006/main" xmlns:r="http://schemas.openxmlformats.org/officeDocument/2006/relationships" xmlns:p="http://schemas.openxmlformats.org/presentationml/2006/main">
  <p:tag name="MIO_GUID" val="76aa2861-beaa-49df-970e-478522ef4bc9"/>
</p:tagLst>
</file>

<file path=ppt/tags/tag1387.xml><?xml version="1.0" encoding="utf-8"?>
<p:tagLst xmlns:a="http://schemas.openxmlformats.org/drawingml/2006/main" xmlns:r="http://schemas.openxmlformats.org/officeDocument/2006/relationships" xmlns:p="http://schemas.openxmlformats.org/presentationml/2006/main">
  <p:tag name="MIO_GUID" val="b092e2fb-4374-4fc7-80ad-3996673bf7e3"/>
</p:tagLst>
</file>

<file path=ppt/tags/tag1388.xml><?xml version="1.0" encoding="utf-8"?>
<p:tagLst xmlns:a="http://schemas.openxmlformats.org/drawingml/2006/main" xmlns:r="http://schemas.openxmlformats.org/officeDocument/2006/relationships" xmlns:p="http://schemas.openxmlformats.org/presentationml/2006/main">
  <p:tag name="MIO_GUID" val="86aee767-e134-4a0f-948a-3c7e5cc83791"/>
</p:tagLst>
</file>

<file path=ppt/tags/tag1389.xml><?xml version="1.0" encoding="utf-8"?>
<p:tagLst xmlns:a="http://schemas.openxmlformats.org/drawingml/2006/main" xmlns:r="http://schemas.openxmlformats.org/officeDocument/2006/relationships" xmlns:p="http://schemas.openxmlformats.org/presentationml/2006/main">
  <p:tag name="MIO_GUID" val="82b9bf4b-9ff0-4dcb-89c8-182f0864abad"/>
</p:tagLst>
</file>

<file path=ppt/tags/tag139.xml><?xml version="1.0" encoding="utf-8"?>
<p:tagLst xmlns:a="http://schemas.openxmlformats.org/drawingml/2006/main" xmlns:r="http://schemas.openxmlformats.org/officeDocument/2006/relationships" xmlns:p="http://schemas.openxmlformats.org/presentationml/2006/main">
  <p:tag name="MIO_GUID" val="654fb5a7-c2df-4bbd-9fa7-a77430d0ebf7"/>
</p:tagLst>
</file>

<file path=ppt/tags/tag1390.xml><?xml version="1.0" encoding="utf-8"?>
<p:tagLst xmlns:a="http://schemas.openxmlformats.org/drawingml/2006/main" xmlns:r="http://schemas.openxmlformats.org/officeDocument/2006/relationships" xmlns:p="http://schemas.openxmlformats.org/presentationml/2006/main">
  <p:tag name="MIO_GUID" val="29099586-a357-4765-95f0-2a7eca37b65c"/>
</p:tagLst>
</file>

<file path=ppt/tags/tag1391.xml><?xml version="1.0" encoding="utf-8"?>
<p:tagLst xmlns:a="http://schemas.openxmlformats.org/drawingml/2006/main" xmlns:r="http://schemas.openxmlformats.org/officeDocument/2006/relationships" xmlns:p="http://schemas.openxmlformats.org/presentationml/2006/main">
  <p:tag name="MIO_GUID" val="12544672-642e-4edc-94c0-2de5de0556a4"/>
</p:tagLst>
</file>

<file path=ppt/tags/tag1392.xml><?xml version="1.0" encoding="utf-8"?>
<p:tagLst xmlns:a="http://schemas.openxmlformats.org/drawingml/2006/main" xmlns:r="http://schemas.openxmlformats.org/officeDocument/2006/relationships" xmlns:p="http://schemas.openxmlformats.org/presentationml/2006/main">
  <p:tag name="MIO_GUID" val="5622864f-c52c-4728-8b13-b525cbc819bd"/>
</p:tagLst>
</file>

<file path=ppt/tags/tag1393.xml><?xml version="1.0" encoding="utf-8"?>
<p:tagLst xmlns:a="http://schemas.openxmlformats.org/drawingml/2006/main" xmlns:r="http://schemas.openxmlformats.org/officeDocument/2006/relationships" xmlns:p="http://schemas.openxmlformats.org/presentationml/2006/main">
  <p:tag name="MIO_GUID" val="5102c6de-0a57-4bea-9f99-88c04678a4e7"/>
</p:tagLst>
</file>

<file path=ppt/tags/tag1394.xml><?xml version="1.0" encoding="utf-8"?>
<p:tagLst xmlns:a="http://schemas.openxmlformats.org/drawingml/2006/main" xmlns:r="http://schemas.openxmlformats.org/officeDocument/2006/relationships" xmlns:p="http://schemas.openxmlformats.org/presentationml/2006/main">
  <p:tag name="MIO_GUID" val="bc846fe7-ff3c-43b4-98f3-86d19c8cddaa"/>
</p:tagLst>
</file>

<file path=ppt/tags/tag1395.xml><?xml version="1.0" encoding="utf-8"?>
<p:tagLst xmlns:a="http://schemas.openxmlformats.org/drawingml/2006/main" xmlns:r="http://schemas.openxmlformats.org/officeDocument/2006/relationships" xmlns:p="http://schemas.openxmlformats.org/presentationml/2006/main">
  <p:tag name="MIO_GUID" val="e81bf5a2-b563-423a-aeec-d0145571c23d"/>
</p:tagLst>
</file>

<file path=ppt/tags/tag1396.xml><?xml version="1.0" encoding="utf-8"?>
<p:tagLst xmlns:a="http://schemas.openxmlformats.org/drawingml/2006/main" xmlns:r="http://schemas.openxmlformats.org/officeDocument/2006/relationships" xmlns:p="http://schemas.openxmlformats.org/presentationml/2006/main">
  <p:tag name="MIO_GUID" val="307a1469-bc1f-42b8-8336-a3df8864b021"/>
</p:tagLst>
</file>

<file path=ppt/tags/tag1397.xml><?xml version="1.0" encoding="utf-8"?>
<p:tagLst xmlns:a="http://schemas.openxmlformats.org/drawingml/2006/main" xmlns:r="http://schemas.openxmlformats.org/officeDocument/2006/relationships" xmlns:p="http://schemas.openxmlformats.org/presentationml/2006/main">
  <p:tag name="MIO_GUID" val="19a8e741-bade-4213-8738-425d1c5ad8a3"/>
</p:tagLst>
</file>

<file path=ppt/tags/tag1398.xml><?xml version="1.0" encoding="utf-8"?>
<p:tagLst xmlns:a="http://schemas.openxmlformats.org/drawingml/2006/main" xmlns:r="http://schemas.openxmlformats.org/officeDocument/2006/relationships" xmlns:p="http://schemas.openxmlformats.org/presentationml/2006/main">
  <p:tag name="MIO_GUID" val="163dd8d1-82cb-4f67-b1a3-8e9a27e131c2"/>
</p:tagLst>
</file>

<file path=ppt/tags/tag1399.xml><?xml version="1.0" encoding="utf-8"?>
<p:tagLst xmlns:a="http://schemas.openxmlformats.org/drawingml/2006/main" xmlns:r="http://schemas.openxmlformats.org/officeDocument/2006/relationships" xmlns:p="http://schemas.openxmlformats.org/presentationml/2006/main">
  <p:tag name="MIO_GUID" val="de833be4-e957-46a2-b034-4df62a3043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MIO_GUID" val="ca223956-4f04-4b86-962a-2aaed056d7e9"/>
</p:tagLst>
</file>

<file path=ppt/tags/tag1400.xml><?xml version="1.0" encoding="utf-8"?>
<p:tagLst xmlns:a="http://schemas.openxmlformats.org/drawingml/2006/main" xmlns:r="http://schemas.openxmlformats.org/officeDocument/2006/relationships" xmlns:p="http://schemas.openxmlformats.org/presentationml/2006/main">
  <p:tag name="MIO_GUID" val="0bb063ad-92cf-4b8b-9559-97ba862cb568"/>
</p:tagLst>
</file>

<file path=ppt/tags/tag1401.xml><?xml version="1.0" encoding="utf-8"?>
<p:tagLst xmlns:a="http://schemas.openxmlformats.org/drawingml/2006/main" xmlns:r="http://schemas.openxmlformats.org/officeDocument/2006/relationships" xmlns:p="http://schemas.openxmlformats.org/presentationml/2006/main">
  <p:tag name="MIO_GUID" val="a93e9735-b9ca-46f0-be19-c75d80a69741"/>
</p:tagLst>
</file>

<file path=ppt/tags/tag1402.xml><?xml version="1.0" encoding="utf-8"?>
<p:tagLst xmlns:a="http://schemas.openxmlformats.org/drawingml/2006/main" xmlns:r="http://schemas.openxmlformats.org/officeDocument/2006/relationships" xmlns:p="http://schemas.openxmlformats.org/presentationml/2006/main">
  <p:tag name="MIO_GUID" val="ad081b4f-d1a6-42c9-9af0-cbd2b69979af"/>
</p:tagLst>
</file>

<file path=ppt/tags/tag1403.xml><?xml version="1.0" encoding="utf-8"?>
<p:tagLst xmlns:a="http://schemas.openxmlformats.org/drawingml/2006/main" xmlns:r="http://schemas.openxmlformats.org/officeDocument/2006/relationships" xmlns:p="http://schemas.openxmlformats.org/presentationml/2006/main">
  <p:tag name="MIO_GUID" val="450e7f26-421e-4eee-96e8-1e17cf7ff3ec"/>
</p:tagLst>
</file>

<file path=ppt/tags/tag1404.xml><?xml version="1.0" encoding="utf-8"?>
<p:tagLst xmlns:a="http://schemas.openxmlformats.org/drawingml/2006/main" xmlns:r="http://schemas.openxmlformats.org/officeDocument/2006/relationships" xmlns:p="http://schemas.openxmlformats.org/presentationml/2006/main">
  <p:tag name="MIO_GUID" val="c36b6db3-e1aa-4e5f-b4d9-d5e667ea621d"/>
</p:tagLst>
</file>

<file path=ppt/tags/tag1405.xml><?xml version="1.0" encoding="utf-8"?>
<p:tagLst xmlns:a="http://schemas.openxmlformats.org/drawingml/2006/main" xmlns:r="http://schemas.openxmlformats.org/officeDocument/2006/relationships" xmlns:p="http://schemas.openxmlformats.org/presentationml/2006/main">
  <p:tag name="MIO_GUID" val="8d07647f-f394-4eba-97e3-9373b7d5921e"/>
</p:tagLst>
</file>

<file path=ppt/tags/tag1406.xml><?xml version="1.0" encoding="utf-8"?>
<p:tagLst xmlns:a="http://schemas.openxmlformats.org/drawingml/2006/main" xmlns:r="http://schemas.openxmlformats.org/officeDocument/2006/relationships" xmlns:p="http://schemas.openxmlformats.org/presentationml/2006/main">
  <p:tag name="MIO_GUID" val="e7956538-2a22-46c7-96d8-5d60e8498852"/>
</p:tagLst>
</file>

<file path=ppt/tags/tag1407.xml><?xml version="1.0" encoding="utf-8"?>
<p:tagLst xmlns:a="http://schemas.openxmlformats.org/drawingml/2006/main" xmlns:r="http://schemas.openxmlformats.org/officeDocument/2006/relationships" xmlns:p="http://schemas.openxmlformats.org/presentationml/2006/main">
  <p:tag name="MIO_GUID" val="a2424b4b-7afd-4110-8818-c31a13ac53ee"/>
</p:tagLst>
</file>

<file path=ppt/tags/tag1408.xml><?xml version="1.0" encoding="utf-8"?>
<p:tagLst xmlns:a="http://schemas.openxmlformats.org/drawingml/2006/main" xmlns:r="http://schemas.openxmlformats.org/officeDocument/2006/relationships" xmlns:p="http://schemas.openxmlformats.org/presentationml/2006/main">
  <p:tag name="MIO_GUID" val="8fd1422e-5604-4cb6-90f1-644ee770f2c3"/>
</p:tagLst>
</file>

<file path=ppt/tags/tag1409.xml><?xml version="1.0" encoding="utf-8"?>
<p:tagLst xmlns:a="http://schemas.openxmlformats.org/drawingml/2006/main" xmlns:r="http://schemas.openxmlformats.org/officeDocument/2006/relationships" xmlns:p="http://schemas.openxmlformats.org/presentationml/2006/main">
  <p:tag name="MIO_GUID" val="6012fbe5-720c-412b-93c5-e742273e71b8"/>
</p:tagLst>
</file>

<file path=ppt/tags/tag141.xml><?xml version="1.0" encoding="utf-8"?>
<p:tagLst xmlns:a="http://schemas.openxmlformats.org/drawingml/2006/main" xmlns:r="http://schemas.openxmlformats.org/officeDocument/2006/relationships" xmlns:p="http://schemas.openxmlformats.org/presentationml/2006/main">
  <p:tag name="MIO_GUID" val="f399154b-92a2-401d-8b34-b12f50159869"/>
</p:tagLst>
</file>

<file path=ppt/tags/tag1410.xml><?xml version="1.0" encoding="utf-8"?>
<p:tagLst xmlns:a="http://schemas.openxmlformats.org/drawingml/2006/main" xmlns:r="http://schemas.openxmlformats.org/officeDocument/2006/relationships" xmlns:p="http://schemas.openxmlformats.org/presentationml/2006/main">
  <p:tag name="MIO_GUID" val="0649159b-18ac-4df2-a3d8-e61e039f0b61"/>
</p:tagLst>
</file>

<file path=ppt/tags/tag1411.xml><?xml version="1.0" encoding="utf-8"?>
<p:tagLst xmlns:a="http://schemas.openxmlformats.org/drawingml/2006/main" xmlns:r="http://schemas.openxmlformats.org/officeDocument/2006/relationships" xmlns:p="http://schemas.openxmlformats.org/presentationml/2006/main">
  <p:tag name="MIO_GUID" val="8e12d019-074a-4dd2-97ca-583f69d9a236"/>
</p:tagLst>
</file>

<file path=ppt/tags/tag1412.xml><?xml version="1.0" encoding="utf-8"?>
<p:tagLst xmlns:a="http://schemas.openxmlformats.org/drawingml/2006/main" xmlns:r="http://schemas.openxmlformats.org/officeDocument/2006/relationships" xmlns:p="http://schemas.openxmlformats.org/presentationml/2006/main">
  <p:tag name="MIO_GUID" val="54a7ed82-6337-4536-825c-818c0aaf31b0"/>
</p:tagLst>
</file>

<file path=ppt/tags/tag1413.xml><?xml version="1.0" encoding="utf-8"?>
<p:tagLst xmlns:a="http://schemas.openxmlformats.org/drawingml/2006/main" xmlns:r="http://schemas.openxmlformats.org/officeDocument/2006/relationships" xmlns:p="http://schemas.openxmlformats.org/presentationml/2006/main">
  <p:tag name="MIO_GUID" val="8b5e85ec-3557-4696-9104-d25601166b72"/>
</p:tagLst>
</file>

<file path=ppt/tags/tag1414.xml><?xml version="1.0" encoding="utf-8"?>
<p:tagLst xmlns:a="http://schemas.openxmlformats.org/drawingml/2006/main" xmlns:r="http://schemas.openxmlformats.org/officeDocument/2006/relationships" xmlns:p="http://schemas.openxmlformats.org/presentationml/2006/main">
  <p:tag name="MIO_GUID" val="935be170-d542-4755-851f-f53dbb67bbbe"/>
</p:tagLst>
</file>

<file path=ppt/tags/tag1415.xml><?xml version="1.0" encoding="utf-8"?>
<p:tagLst xmlns:a="http://schemas.openxmlformats.org/drawingml/2006/main" xmlns:r="http://schemas.openxmlformats.org/officeDocument/2006/relationships" xmlns:p="http://schemas.openxmlformats.org/presentationml/2006/main">
  <p:tag name="MIO_GUID" val="cfe8792e-965f-4d7a-86c5-4c7a5512160b"/>
</p:tagLst>
</file>

<file path=ppt/tags/tag1416.xml><?xml version="1.0" encoding="utf-8"?>
<p:tagLst xmlns:a="http://schemas.openxmlformats.org/drawingml/2006/main" xmlns:r="http://schemas.openxmlformats.org/officeDocument/2006/relationships" xmlns:p="http://schemas.openxmlformats.org/presentationml/2006/main">
  <p:tag name="MIO_GUID" val="d6db844a-33fa-4624-831e-9827d8590626"/>
</p:tagLst>
</file>

<file path=ppt/tags/tag1417.xml><?xml version="1.0" encoding="utf-8"?>
<p:tagLst xmlns:a="http://schemas.openxmlformats.org/drawingml/2006/main" xmlns:r="http://schemas.openxmlformats.org/officeDocument/2006/relationships" xmlns:p="http://schemas.openxmlformats.org/presentationml/2006/main">
  <p:tag name="MIO_GUID" val="aa8161a3-c5b7-454c-b311-52837e3a6f4b"/>
</p:tagLst>
</file>

<file path=ppt/tags/tag1418.xml><?xml version="1.0" encoding="utf-8"?>
<p:tagLst xmlns:a="http://schemas.openxmlformats.org/drawingml/2006/main" xmlns:r="http://schemas.openxmlformats.org/officeDocument/2006/relationships" xmlns:p="http://schemas.openxmlformats.org/presentationml/2006/main">
  <p:tag name="MIO_GUID" val="f50be525-62f0-4b08-b5d2-abc523382529"/>
</p:tagLst>
</file>

<file path=ppt/tags/tag1419.xml><?xml version="1.0" encoding="utf-8"?>
<p:tagLst xmlns:a="http://schemas.openxmlformats.org/drawingml/2006/main" xmlns:r="http://schemas.openxmlformats.org/officeDocument/2006/relationships" xmlns:p="http://schemas.openxmlformats.org/presentationml/2006/main">
  <p:tag name="MIO_GUID" val="5b09a408-741a-4a71-b075-c78c759efe84"/>
</p:tagLst>
</file>

<file path=ppt/tags/tag142.xml><?xml version="1.0" encoding="utf-8"?>
<p:tagLst xmlns:a="http://schemas.openxmlformats.org/drawingml/2006/main" xmlns:r="http://schemas.openxmlformats.org/officeDocument/2006/relationships" xmlns:p="http://schemas.openxmlformats.org/presentationml/2006/main">
  <p:tag name="MIO_GUID" val="6e8d9a3e-1c78-4878-8c9e-cc28ef6c06a7"/>
</p:tagLst>
</file>

<file path=ppt/tags/tag1420.xml><?xml version="1.0" encoding="utf-8"?>
<p:tagLst xmlns:a="http://schemas.openxmlformats.org/drawingml/2006/main" xmlns:r="http://schemas.openxmlformats.org/officeDocument/2006/relationships" xmlns:p="http://schemas.openxmlformats.org/presentationml/2006/main">
  <p:tag name="MIO_GUID" val="654fb5a7-c2df-4bbd-9fa7-a77430d0ebf7"/>
</p:tagLst>
</file>

<file path=ppt/tags/tag1421.xml><?xml version="1.0" encoding="utf-8"?>
<p:tagLst xmlns:a="http://schemas.openxmlformats.org/drawingml/2006/main" xmlns:r="http://schemas.openxmlformats.org/officeDocument/2006/relationships" xmlns:p="http://schemas.openxmlformats.org/presentationml/2006/main">
  <p:tag name="MIO_GUID" val="ca223956-4f04-4b86-962a-2aaed056d7e9"/>
</p:tagLst>
</file>

<file path=ppt/tags/tag1422.xml><?xml version="1.0" encoding="utf-8"?>
<p:tagLst xmlns:a="http://schemas.openxmlformats.org/drawingml/2006/main" xmlns:r="http://schemas.openxmlformats.org/officeDocument/2006/relationships" xmlns:p="http://schemas.openxmlformats.org/presentationml/2006/main">
  <p:tag name="MIO_GUID" val="f399154b-92a2-401d-8b34-b12f50159869"/>
</p:tagLst>
</file>

<file path=ppt/tags/tag1423.xml><?xml version="1.0" encoding="utf-8"?>
<p:tagLst xmlns:a="http://schemas.openxmlformats.org/drawingml/2006/main" xmlns:r="http://schemas.openxmlformats.org/officeDocument/2006/relationships" xmlns:p="http://schemas.openxmlformats.org/presentationml/2006/main">
  <p:tag name="MIO_GUID" val="6e8d9a3e-1c78-4878-8c9e-cc28ef6c06a7"/>
</p:tagLst>
</file>

<file path=ppt/tags/tag1424.xml><?xml version="1.0" encoding="utf-8"?>
<p:tagLst xmlns:a="http://schemas.openxmlformats.org/drawingml/2006/main" xmlns:r="http://schemas.openxmlformats.org/officeDocument/2006/relationships" xmlns:p="http://schemas.openxmlformats.org/presentationml/2006/main">
  <p:tag name="MIO_GUID" val="0bab30d8-59e9-4831-87be-4655843ae140"/>
</p:tagLst>
</file>

<file path=ppt/tags/tag1425.xml><?xml version="1.0" encoding="utf-8"?>
<p:tagLst xmlns:a="http://schemas.openxmlformats.org/drawingml/2006/main" xmlns:r="http://schemas.openxmlformats.org/officeDocument/2006/relationships" xmlns:p="http://schemas.openxmlformats.org/presentationml/2006/main">
  <p:tag name="MIO_GUID" val="801b11b9-bf82-43d1-b7bb-b87534989b7b"/>
</p:tagLst>
</file>

<file path=ppt/tags/tag1426.xml><?xml version="1.0" encoding="utf-8"?>
<p:tagLst xmlns:a="http://schemas.openxmlformats.org/drawingml/2006/main" xmlns:r="http://schemas.openxmlformats.org/officeDocument/2006/relationships" xmlns:p="http://schemas.openxmlformats.org/presentationml/2006/main">
  <p:tag name="MIO_GUID" val="8db730db-78ff-4833-bf89-46489ef09b81"/>
</p:tagLst>
</file>

<file path=ppt/tags/tag1427.xml><?xml version="1.0" encoding="utf-8"?>
<p:tagLst xmlns:a="http://schemas.openxmlformats.org/drawingml/2006/main" xmlns:r="http://schemas.openxmlformats.org/officeDocument/2006/relationships" xmlns:p="http://schemas.openxmlformats.org/presentationml/2006/main">
  <p:tag name="MIO_GUID" val="f834bbba-fd97-4ca5-9c34-cd70c6254bd5"/>
</p:tagLst>
</file>

<file path=ppt/tags/tag1428.xml><?xml version="1.0" encoding="utf-8"?>
<p:tagLst xmlns:a="http://schemas.openxmlformats.org/drawingml/2006/main" xmlns:r="http://schemas.openxmlformats.org/officeDocument/2006/relationships" xmlns:p="http://schemas.openxmlformats.org/presentationml/2006/main">
  <p:tag name="MIO_GUID" val="304e6601-6a8b-42b5-978c-b95c0787b7c5"/>
</p:tagLst>
</file>

<file path=ppt/tags/tag1429.xml><?xml version="1.0" encoding="utf-8"?>
<p:tagLst xmlns:a="http://schemas.openxmlformats.org/drawingml/2006/main" xmlns:r="http://schemas.openxmlformats.org/officeDocument/2006/relationships" xmlns:p="http://schemas.openxmlformats.org/presentationml/2006/main">
  <p:tag name="MIO_GUID" val="d4d6e9cc-15c3-487a-b489-675722e32b5b"/>
</p:tagLst>
</file>

<file path=ppt/tags/tag143.xml><?xml version="1.0" encoding="utf-8"?>
<p:tagLst xmlns:a="http://schemas.openxmlformats.org/drawingml/2006/main" xmlns:r="http://schemas.openxmlformats.org/officeDocument/2006/relationships" xmlns:p="http://schemas.openxmlformats.org/presentationml/2006/main">
  <p:tag name="MIO_GUID" val="0bab30d8-59e9-4831-87be-4655843ae140"/>
</p:tagLst>
</file>

<file path=ppt/tags/tag1430.xml><?xml version="1.0" encoding="utf-8"?>
<p:tagLst xmlns:a="http://schemas.openxmlformats.org/drawingml/2006/main" xmlns:r="http://schemas.openxmlformats.org/officeDocument/2006/relationships" xmlns:p="http://schemas.openxmlformats.org/presentationml/2006/main">
  <p:tag name="MIO_GUID" val="cd6282f0-be22-4f8c-8088-62db2adbcdb2"/>
</p:tagLst>
</file>

<file path=ppt/tags/tag1431.xml><?xml version="1.0" encoding="utf-8"?>
<p:tagLst xmlns:a="http://schemas.openxmlformats.org/drawingml/2006/main" xmlns:r="http://schemas.openxmlformats.org/officeDocument/2006/relationships" xmlns:p="http://schemas.openxmlformats.org/presentationml/2006/main">
  <p:tag name="MIO_GUID" val="c024089f-3d4d-4122-804b-8d70f826915b"/>
</p:tagLst>
</file>

<file path=ppt/tags/tag1432.xml><?xml version="1.0" encoding="utf-8"?>
<p:tagLst xmlns:a="http://schemas.openxmlformats.org/drawingml/2006/main" xmlns:r="http://schemas.openxmlformats.org/officeDocument/2006/relationships" xmlns:p="http://schemas.openxmlformats.org/presentationml/2006/main">
  <p:tag name="MIO_GUID" val="e0dc3827-f225-4a22-a8ac-f77a1405d4ce"/>
</p:tagLst>
</file>

<file path=ppt/tags/tag1433.xml><?xml version="1.0" encoding="utf-8"?>
<p:tagLst xmlns:a="http://schemas.openxmlformats.org/drawingml/2006/main" xmlns:r="http://schemas.openxmlformats.org/officeDocument/2006/relationships" xmlns:p="http://schemas.openxmlformats.org/presentationml/2006/main">
  <p:tag name="MIO_GUID" val="63f32e73-8c9b-44a5-a39a-d1db91f5d3fb"/>
</p:tagLst>
</file>

<file path=ppt/tags/tag1434.xml><?xml version="1.0" encoding="utf-8"?>
<p:tagLst xmlns:a="http://schemas.openxmlformats.org/drawingml/2006/main" xmlns:r="http://schemas.openxmlformats.org/officeDocument/2006/relationships" xmlns:p="http://schemas.openxmlformats.org/presentationml/2006/main">
  <p:tag name="MIO_GUID" val="c49f5545-8920-4852-bfa2-d16ddc3ec3a7"/>
</p:tagLst>
</file>

<file path=ppt/tags/tag1435.xml><?xml version="1.0" encoding="utf-8"?>
<p:tagLst xmlns:a="http://schemas.openxmlformats.org/drawingml/2006/main" xmlns:r="http://schemas.openxmlformats.org/officeDocument/2006/relationships" xmlns:p="http://schemas.openxmlformats.org/presentationml/2006/main">
  <p:tag name="MIO_GUID" val="765fc063-a000-4173-9a21-e14d192c9d2d"/>
</p:tagLst>
</file>

<file path=ppt/tags/tag1436.xml><?xml version="1.0" encoding="utf-8"?>
<p:tagLst xmlns:a="http://schemas.openxmlformats.org/drawingml/2006/main" xmlns:r="http://schemas.openxmlformats.org/officeDocument/2006/relationships" xmlns:p="http://schemas.openxmlformats.org/presentationml/2006/main">
  <p:tag name="MIO_GUID" val="af2ab7d6-2f51-4307-941b-0142e5382cac"/>
</p:tagLst>
</file>

<file path=ppt/tags/tag1437.xml><?xml version="1.0" encoding="utf-8"?>
<p:tagLst xmlns:a="http://schemas.openxmlformats.org/drawingml/2006/main" xmlns:r="http://schemas.openxmlformats.org/officeDocument/2006/relationships" xmlns:p="http://schemas.openxmlformats.org/presentationml/2006/main">
  <p:tag name="MIO_GUID" val="c6750edc-cc57-41b1-b5eb-2a4cabde8569"/>
</p:tagLst>
</file>

<file path=ppt/tags/tag1438.xml><?xml version="1.0" encoding="utf-8"?>
<p:tagLst xmlns:a="http://schemas.openxmlformats.org/drawingml/2006/main" xmlns:r="http://schemas.openxmlformats.org/officeDocument/2006/relationships" xmlns:p="http://schemas.openxmlformats.org/presentationml/2006/main">
  <p:tag name="MIO_GUID" val="3e437d61-4e0c-452c-9f38-06fb5c5b6a36"/>
</p:tagLst>
</file>

<file path=ppt/tags/tag1439.xml><?xml version="1.0" encoding="utf-8"?>
<p:tagLst xmlns:a="http://schemas.openxmlformats.org/drawingml/2006/main" xmlns:r="http://schemas.openxmlformats.org/officeDocument/2006/relationships" xmlns:p="http://schemas.openxmlformats.org/presentationml/2006/main">
  <p:tag name="MIO_GUID" val="a331dd06-cb66-48b9-be5e-092eb026c789"/>
</p:tagLst>
</file>

<file path=ppt/tags/tag144.xml><?xml version="1.0" encoding="utf-8"?>
<p:tagLst xmlns:a="http://schemas.openxmlformats.org/drawingml/2006/main" xmlns:r="http://schemas.openxmlformats.org/officeDocument/2006/relationships" xmlns:p="http://schemas.openxmlformats.org/presentationml/2006/main">
  <p:tag name="MIO_GUID" val="801b11b9-bf82-43d1-b7bb-b87534989b7b"/>
</p:tagLst>
</file>

<file path=ppt/tags/tag1440.xml><?xml version="1.0" encoding="utf-8"?>
<p:tagLst xmlns:a="http://schemas.openxmlformats.org/drawingml/2006/main" xmlns:r="http://schemas.openxmlformats.org/officeDocument/2006/relationships" xmlns:p="http://schemas.openxmlformats.org/presentationml/2006/main">
  <p:tag name="MIO_GUID" val="5e1787c1-cad4-44b2-b316-7090aac22e36"/>
</p:tagLst>
</file>

<file path=ppt/tags/tag1441.xml><?xml version="1.0" encoding="utf-8"?>
<p:tagLst xmlns:a="http://schemas.openxmlformats.org/drawingml/2006/main" xmlns:r="http://schemas.openxmlformats.org/officeDocument/2006/relationships" xmlns:p="http://schemas.openxmlformats.org/presentationml/2006/main">
  <p:tag name="MIO_GUID" val="9c03e3b6-6266-4a5a-ae30-375ce25eb12c"/>
</p:tagLst>
</file>

<file path=ppt/tags/tag1442.xml><?xml version="1.0" encoding="utf-8"?>
<p:tagLst xmlns:a="http://schemas.openxmlformats.org/drawingml/2006/main" xmlns:r="http://schemas.openxmlformats.org/officeDocument/2006/relationships" xmlns:p="http://schemas.openxmlformats.org/presentationml/2006/main">
  <p:tag name="MIO_GUID" val="1afe7a99-35cf-4936-a784-1679bedca3d7"/>
</p:tagLst>
</file>

<file path=ppt/tags/tag1443.xml><?xml version="1.0" encoding="utf-8"?>
<p:tagLst xmlns:a="http://schemas.openxmlformats.org/drawingml/2006/main" xmlns:r="http://schemas.openxmlformats.org/officeDocument/2006/relationships" xmlns:p="http://schemas.openxmlformats.org/presentationml/2006/main">
  <p:tag name="MIO_GUID" val="bbdedd8f-d32b-447b-a882-9f712c34149a"/>
</p:tagLst>
</file>

<file path=ppt/tags/tag1444.xml><?xml version="1.0" encoding="utf-8"?>
<p:tagLst xmlns:a="http://schemas.openxmlformats.org/drawingml/2006/main" xmlns:r="http://schemas.openxmlformats.org/officeDocument/2006/relationships" xmlns:p="http://schemas.openxmlformats.org/presentationml/2006/main">
  <p:tag name="MIO_GUID" val="3c7a5ebc-d510-4aca-b67d-ce39936b1f71"/>
</p:tagLst>
</file>

<file path=ppt/tags/tag1445.xml><?xml version="1.0" encoding="utf-8"?>
<p:tagLst xmlns:a="http://schemas.openxmlformats.org/drawingml/2006/main" xmlns:r="http://schemas.openxmlformats.org/officeDocument/2006/relationships" xmlns:p="http://schemas.openxmlformats.org/presentationml/2006/main">
  <p:tag name="MIO_GUID" val="35c8ffe6-a6e4-41e5-86e3-8b821dca8fed"/>
</p:tagLst>
</file>

<file path=ppt/tags/tag1446.xml><?xml version="1.0" encoding="utf-8"?>
<p:tagLst xmlns:a="http://schemas.openxmlformats.org/drawingml/2006/main" xmlns:r="http://schemas.openxmlformats.org/officeDocument/2006/relationships" xmlns:p="http://schemas.openxmlformats.org/presentationml/2006/main">
  <p:tag name="MIO_GUID" val="172a2fed-b6a5-4a80-936b-4aa904936c88"/>
</p:tagLst>
</file>

<file path=ppt/tags/tag1447.xml><?xml version="1.0" encoding="utf-8"?>
<p:tagLst xmlns:a="http://schemas.openxmlformats.org/drawingml/2006/main" xmlns:r="http://schemas.openxmlformats.org/officeDocument/2006/relationships" xmlns:p="http://schemas.openxmlformats.org/presentationml/2006/main">
  <p:tag name="MIO_GUID" val="f4e07df1-8eee-4039-b857-e8c5a6b71458"/>
</p:tagLst>
</file>

<file path=ppt/tags/tag1448.xml><?xml version="1.0" encoding="utf-8"?>
<p:tagLst xmlns:a="http://schemas.openxmlformats.org/drawingml/2006/main" xmlns:r="http://schemas.openxmlformats.org/officeDocument/2006/relationships" xmlns:p="http://schemas.openxmlformats.org/presentationml/2006/main">
  <p:tag name="MIO_GUID" val="95b21a77-27f9-4c78-bb95-d2f2ca8a32be"/>
</p:tagLst>
</file>

<file path=ppt/tags/tag1449.xml><?xml version="1.0" encoding="utf-8"?>
<p:tagLst xmlns:a="http://schemas.openxmlformats.org/drawingml/2006/main" xmlns:r="http://schemas.openxmlformats.org/officeDocument/2006/relationships" xmlns:p="http://schemas.openxmlformats.org/presentationml/2006/main">
  <p:tag name="MIO_GUID" val="13d1b220-baa2-4621-a3c4-87488c3fa8fc"/>
</p:tagLst>
</file>

<file path=ppt/tags/tag145.xml><?xml version="1.0" encoding="utf-8"?>
<p:tagLst xmlns:a="http://schemas.openxmlformats.org/drawingml/2006/main" xmlns:r="http://schemas.openxmlformats.org/officeDocument/2006/relationships" xmlns:p="http://schemas.openxmlformats.org/presentationml/2006/main">
  <p:tag name="MIO_GUID" val="8db730db-78ff-4833-bf89-46489ef09b81"/>
</p:tagLst>
</file>

<file path=ppt/tags/tag1450.xml><?xml version="1.0" encoding="utf-8"?>
<p:tagLst xmlns:a="http://schemas.openxmlformats.org/drawingml/2006/main" xmlns:r="http://schemas.openxmlformats.org/officeDocument/2006/relationships" xmlns:p="http://schemas.openxmlformats.org/presentationml/2006/main">
  <p:tag name="MIO_GUID" val="9168db10-d9e9-4c69-b032-693548192d84"/>
</p:tagLst>
</file>

<file path=ppt/tags/tag1451.xml><?xml version="1.0" encoding="utf-8"?>
<p:tagLst xmlns:a="http://schemas.openxmlformats.org/drawingml/2006/main" xmlns:r="http://schemas.openxmlformats.org/officeDocument/2006/relationships" xmlns:p="http://schemas.openxmlformats.org/presentationml/2006/main">
  <p:tag name="MIO_GUID" val="c4f31ed5-42cb-4ee1-9eca-ca21b9b84de6"/>
</p:tagLst>
</file>

<file path=ppt/tags/tag1452.xml><?xml version="1.0" encoding="utf-8"?>
<p:tagLst xmlns:a="http://schemas.openxmlformats.org/drawingml/2006/main" xmlns:r="http://schemas.openxmlformats.org/officeDocument/2006/relationships" xmlns:p="http://schemas.openxmlformats.org/presentationml/2006/main">
  <p:tag name="MIO_GUID" val="ce8ba857-f4e9-439d-82ae-7d616bfb6b33"/>
</p:tagLst>
</file>

<file path=ppt/tags/tag1453.xml><?xml version="1.0" encoding="utf-8"?>
<p:tagLst xmlns:a="http://schemas.openxmlformats.org/drawingml/2006/main" xmlns:r="http://schemas.openxmlformats.org/officeDocument/2006/relationships" xmlns:p="http://schemas.openxmlformats.org/presentationml/2006/main">
  <p:tag name="MIO_GUID" val="a76af0d0-4a43-4091-8284-7c1d6c99feea"/>
</p:tagLst>
</file>

<file path=ppt/tags/tag1454.xml><?xml version="1.0" encoding="utf-8"?>
<p:tagLst xmlns:a="http://schemas.openxmlformats.org/drawingml/2006/main" xmlns:r="http://schemas.openxmlformats.org/officeDocument/2006/relationships" xmlns:p="http://schemas.openxmlformats.org/presentationml/2006/main">
  <p:tag name="MIO_GUID" val="028e0dd4-e1a7-4720-9b16-7106e0736c2d"/>
</p:tagLst>
</file>

<file path=ppt/tags/tag1455.xml><?xml version="1.0" encoding="utf-8"?>
<p:tagLst xmlns:a="http://schemas.openxmlformats.org/drawingml/2006/main" xmlns:r="http://schemas.openxmlformats.org/officeDocument/2006/relationships" xmlns:p="http://schemas.openxmlformats.org/presentationml/2006/main">
  <p:tag name="MIO_GUID" val="4fa381b8-e497-48d1-a628-fb3dd2644f97"/>
</p:tagLst>
</file>

<file path=ppt/tags/tag1456.xml><?xml version="1.0" encoding="utf-8"?>
<p:tagLst xmlns:a="http://schemas.openxmlformats.org/drawingml/2006/main" xmlns:r="http://schemas.openxmlformats.org/officeDocument/2006/relationships" xmlns:p="http://schemas.openxmlformats.org/presentationml/2006/main">
  <p:tag name="MIO_GUID" val="445a377a-a231-4a3e-894e-45dae7ccc3d1"/>
</p:tagLst>
</file>

<file path=ppt/tags/tag1457.xml><?xml version="1.0" encoding="utf-8"?>
<p:tagLst xmlns:a="http://schemas.openxmlformats.org/drawingml/2006/main" xmlns:r="http://schemas.openxmlformats.org/officeDocument/2006/relationships" xmlns:p="http://schemas.openxmlformats.org/presentationml/2006/main">
  <p:tag name="MIO_GUID" val="33b43374-ee20-40b7-b0ad-3387ab6b0349"/>
</p:tagLst>
</file>

<file path=ppt/tags/tag1458.xml><?xml version="1.0" encoding="utf-8"?>
<p:tagLst xmlns:a="http://schemas.openxmlformats.org/drawingml/2006/main" xmlns:r="http://schemas.openxmlformats.org/officeDocument/2006/relationships" xmlns:p="http://schemas.openxmlformats.org/presentationml/2006/main">
  <p:tag name="MIO_GUID" val="077483c5-9dc2-4c7a-ab11-a59bde9bbcea"/>
</p:tagLst>
</file>

<file path=ppt/tags/tag1459.xml><?xml version="1.0" encoding="utf-8"?>
<p:tagLst xmlns:a="http://schemas.openxmlformats.org/drawingml/2006/main" xmlns:r="http://schemas.openxmlformats.org/officeDocument/2006/relationships" xmlns:p="http://schemas.openxmlformats.org/presentationml/2006/main">
  <p:tag name="MIO_GUID" val="1a14d474-6a17-4226-9d6a-bd0edbb58902"/>
</p:tagLst>
</file>

<file path=ppt/tags/tag146.xml><?xml version="1.0" encoding="utf-8"?>
<p:tagLst xmlns:a="http://schemas.openxmlformats.org/drawingml/2006/main" xmlns:r="http://schemas.openxmlformats.org/officeDocument/2006/relationships" xmlns:p="http://schemas.openxmlformats.org/presentationml/2006/main">
  <p:tag name="MIO_GUID" val="f834bbba-fd97-4ca5-9c34-cd70c6254bd5"/>
</p:tagLst>
</file>

<file path=ppt/tags/tag1460.xml><?xml version="1.0" encoding="utf-8"?>
<p:tagLst xmlns:a="http://schemas.openxmlformats.org/drawingml/2006/main" xmlns:r="http://schemas.openxmlformats.org/officeDocument/2006/relationships" xmlns:p="http://schemas.openxmlformats.org/presentationml/2006/main">
  <p:tag name="MIO_GUID" val="c4a4bcf4-f812-4a35-aee6-5eeb93a30114"/>
</p:tagLst>
</file>

<file path=ppt/tags/tag1461.xml><?xml version="1.0" encoding="utf-8"?>
<p:tagLst xmlns:a="http://schemas.openxmlformats.org/drawingml/2006/main" xmlns:r="http://schemas.openxmlformats.org/officeDocument/2006/relationships" xmlns:p="http://schemas.openxmlformats.org/presentationml/2006/main">
  <p:tag name="MIO_GUID" val="06bd691f-b65d-42b3-a948-5cf7e36ffb76"/>
</p:tagLst>
</file>

<file path=ppt/tags/tag1462.xml><?xml version="1.0" encoding="utf-8"?>
<p:tagLst xmlns:a="http://schemas.openxmlformats.org/drawingml/2006/main" xmlns:r="http://schemas.openxmlformats.org/officeDocument/2006/relationships" xmlns:p="http://schemas.openxmlformats.org/presentationml/2006/main">
  <p:tag name="MIO_GUID" val="077a904a-4819-4523-8d98-34fefffb8f2d"/>
</p:tagLst>
</file>

<file path=ppt/tags/tag1463.xml><?xml version="1.0" encoding="utf-8"?>
<p:tagLst xmlns:a="http://schemas.openxmlformats.org/drawingml/2006/main" xmlns:r="http://schemas.openxmlformats.org/officeDocument/2006/relationships" xmlns:p="http://schemas.openxmlformats.org/presentationml/2006/main">
  <p:tag name="MIO_GUID" val="6e7b7344-507e-435a-ac0c-7285c7061c1d"/>
</p:tagLst>
</file>

<file path=ppt/tags/tag1464.xml><?xml version="1.0" encoding="utf-8"?>
<p:tagLst xmlns:a="http://schemas.openxmlformats.org/drawingml/2006/main" xmlns:r="http://schemas.openxmlformats.org/officeDocument/2006/relationships" xmlns:p="http://schemas.openxmlformats.org/presentationml/2006/main">
  <p:tag name="MIO_GUID" val="de6daaef-dfe1-4fe5-98d8-fd239a58ffba"/>
</p:tagLst>
</file>

<file path=ppt/tags/tag1465.xml><?xml version="1.0" encoding="utf-8"?>
<p:tagLst xmlns:a="http://schemas.openxmlformats.org/drawingml/2006/main" xmlns:r="http://schemas.openxmlformats.org/officeDocument/2006/relationships" xmlns:p="http://schemas.openxmlformats.org/presentationml/2006/main">
  <p:tag name="MIO_GUID" val="11c284bc-7130-40bb-bde1-0d1c5fbcae6b"/>
</p:tagLst>
</file>

<file path=ppt/tags/tag1466.xml><?xml version="1.0" encoding="utf-8"?>
<p:tagLst xmlns:a="http://schemas.openxmlformats.org/drawingml/2006/main" xmlns:r="http://schemas.openxmlformats.org/officeDocument/2006/relationships" xmlns:p="http://schemas.openxmlformats.org/presentationml/2006/main">
  <p:tag name="MIO_GUID" val="1dd1bc8a-41a5-4882-a805-d43022dba863"/>
</p:tagLst>
</file>

<file path=ppt/tags/tag1467.xml><?xml version="1.0" encoding="utf-8"?>
<p:tagLst xmlns:a="http://schemas.openxmlformats.org/drawingml/2006/main" xmlns:r="http://schemas.openxmlformats.org/officeDocument/2006/relationships" xmlns:p="http://schemas.openxmlformats.org/presentationml/2006/main">
  <p:tag name="MIO_GUID" val="6284cc76-a45c-4215-9f58-7eed1c8e9856"/>
</p:tagLst>
</file>

<file path=ppt/tags/tag1468.xml><?xml version="1.0" encoding="utf-8"?>
<p:tagLst xmlns:a="http://schemas.openxmlformats.org/drawingml/2006/main" xmlns:r="http://schemas.openxmlformats.org/officeDocument/2006/relationships" xmlns:p="http://schemas.openxmlformats.org/presentationml/2006/main">
  <p:tag name="MIO_GUID" val="4157cb8b-b06e-4146-a72e-564bb13d74f7"/>
</p:tagLst>
</file>

<file path=ppt/tags/tag1469.xml><?xml version="1.0" encoding="utf-8"?>
<p:tagLst xmlns:a="http://schemas.openxmlformats.org/drawingml/2006/main" xmlns:r="http://schemas.openxmlformats.org/officeDocument/2006/relationships" xmlns:p="http://schemas.openxmlformats.org/presentationml/2006/main">
  <p:tag name="MIO_GUID" val="a811342e-c9d0-401f-8e73-18dc1be6e95f"/>
</p:tagLst>
</file>

<file path=ppt/tags/tag147.xml><?xml version="1.0" encoding="utf-8"?>
<p:tagLst xmlns:a="http://schemas.openxmlformats.org/drawingml/2006/main" xmlns:r="http://schemas.openxmlformats.org/officeDocument/2006/relationships" xmlns:p="http://schemas.openxmlformats.org/presentationml/2006/main">
  <p:tag name="MIO_GUID" val="304e6601-6a8b-42b5-978c-b95c0787b7c5"/>
</p:tagLst>
</file>

<file path=ppt/tags/tag1470.xml><?xml version="1.0" encoding="utf-8"?>
<p:tagLst xmlns:a="http://schemas.openxmlformats.org/drawingml/2006/main" xmlns:r="http://schemas.openxmlformats.org/officeDocument/2006/relationships" xmlns:p="http://schemas.openxmlformats.org/presentationml/2006/main">
  <p:tag name="MIO_GUID" val="356e6f90-3010-434b-bb4b-a53985e75c00"/>
</p:tagLst>
</file>

<file path=ppt/tags/tag1471.xml><?xml version="1.0" encoding="utf-8"?>
<p:tagLst xmlns:a="http://schemas.openxmlformats.org/drawingml/2006/main" xmlns:r="http://schemas.openxmlformats.org/officeDocument/2006/relationships" xmlns:p="http://schemas.openxmlformats.org/presentationml/2006/main">
  <p:tag name="MIO_GUID" val="53df50e0-7f30-46fd-abd4-b9e1e8e5e54a"/>
</p:tagLst>
</file>

<file path=ppt/tags/tag1472.xml><?xml version="1.0" encoding="utf-8"?>
<p:tagLst xmlns:a="http://schemas.openxmlformats.org/drawingml/2006/main" xmlns:r="http://schemas.openxmlformats.org/officeDocument/2006/relationships" xmlns:p="http://schemas.openxmlformats.org/presentationml/2006/main">
  <p:tag name="MIO_GUID" val="981fc1fb-183a-4f05-9ecc-61111ef7c5e9"/>
</p:tagLst>
</file>

<file path=ppt/tags/tag1473.xml><?xml version="1.0" encoding="utf-8"?>
<p:tagLst xmlns:a="http://schemas.openxmlformats.org/drawingml/2006/main" xmlns:r="http://schemas.openxmlformats.org/officeDocument/2006/relationships" xmlns:p="http://schemas.openxmlformats.org/presentationml/2006/main">
  <p:tag name="MIO_GUID" val="cd493574-541a-4d9c-9e42-2ae7f01be370"/>
</p:tagLst>
</file>

<file path=ppt/tags/tag1474.xml><?xml version="1.0" encoding="utf-8"?>
<p:tagLst xmlns:a="http://schemas.openxmlformats.org/drawingml/2006/main" xmlns:r="http://schemas.openxmlformats.org/officeDocument/2006/relationships" xmlns:p="http://schemas.openxmlformats.org/presentationml/2006/main">
  <p:tag name="MIO_GUID" val="eb9419c6-f8e7-4537-8672-4d574e06da2d"/>
</p:tagLst>
</file>

<file path=ppt/tags/tag1475.xml><?xml version="1.0" encoding="utf-8"?>
<p:tagLst xmlns:a="http://schemas.openxmlformats.org/drawingml/2006/main" xmlns:r="http://schemas.openxmlformats.org/officeDocument/2006/relationships" xmlns:p="http://schemas.openxmlformats.org/presentationml/2006/main">
  <p:tag name="MIO_GUID" val="1462896c-8ad8-4e87-9895-b0d012b9e665"/>
</p:tagLst>
</file>

<file path=ppt/tags/tag1476.xml><?xml version="1.0" encoding="utf-8"?>
<p:tagLst xmlns:a="http://schemas.openxmlformats.org/drawingml/2006/main" xmlns:r="http://schemas.openxmlformats.org/officeDocument/2006/relationships" xmlns:p="http://schemas.openxmlformats.org/presentationml/2006/main">
  <p:tag name="MIO_GUID" val="e02734d8-36ca-4630-8a19-b0808c3f6f9d"/>
</p:tagLst>
</file>

<file path=ppt/tags/tag1477.xml><?xml version="1.0" encoding="utf-8"?>
<p:tagLst xmlns:a="http://schemas.openxmlformats.org/drawingml/2006/main" xmlns:r="http://schemas.openxmlformats.org/officeDocument/2006/relationships" xmlns:p="http://schemas.openxmlformats.org/presentationml/2006/main">
  <p:tag name="MIO_GUID" val="5c5c772f-6952-43d9-84ae-1a3446eefc83"/>
</p:tagLst>
</file>

<file path=ppt/tags/tag1478.xml><?xml version="1.0" encoding="utf-8"?>
<p:tagLst xmlns:a="http://schemas.openxmlformats.org/drawingml/2006/main" xmlns:r="http://schemas.openxmlformats.org/officeDocument/2006/relationships" xmlns:p="http://schemas.openxmlformats.org/presentationml/2006/main">
  <p:tag name="MIO_GUID" val="4624e130-9f2f-4292-9b54-1d5011a32c7a"/>
</p:tagLst>
</file>

<file path=ppt/tags/tag1479.xml><?xml version="1.0" encoding="utf-8"?>
<p:tagLst xmlns:a="http://schemas.openxmlformats.org/drawingml/2006/main" xmlns:r="http://schemas.openxmlformats.org/officeDocument/2006/relationships" xmlns:p="http://schemas.openxmlformats.org/presentationml/2006/main">
  <p:tag name="MIO_GUID" val="ade54ad8-b34f-4d37-9d71-c428536701c2"/>
</p:tagLst>
</file>

<file path=ppt/tags/tag148.xml><?xml version="1.0" encoding="utf-8"?>
<p:tagLst xmlns:a="http://schemas.openxmlformats.org/drawingml/2006/main" xmlns:r="http://schemas.openxmlformats.org/officeDocument/2006/relationships" xmlns:p="http://schemas.openxmlformats.org/presentationml/2006/main">
  <p:tag name="MIO_GUID" val="d4d6e9cc-15c3-487a-b489-675722e32b5b"/>
</p:tagLst>
</file>

<file path=ppt/tags/tag1480.xml><?xml version="1.0" encoding="utf-8"?>
<p:tagLst xmlns:a="http://schemas.openxmlformats.org/drawingml/2006/main" xmlns:r="http://schemas.openxmlformats.org/officeDocument/2006/relationships" xmlns:p="http://schemas.openxmlformats.org/presentationml/2006/main">
  <p:tag name="MIO_GUID" val="85372411-83a5-46db-b2ef-288dc060bb5e"/>
</p:tagLst>
</file>

<file path=ppt/tags/tag1481.xml><?xml version="1.0" encoding="utf-8"?>
<p:tagLst xmlns:a="http://schemas.openxmlformats.org/drawingml/2006/main" xmlns:r="http://schemas.openxmlformats.org/officeDocument/2006/relationships" xmlns:p="http://schemas.openxmlformats.org/presentationml/2006/main">
  <p:tag name="MIO_GUID" val="5969ed53-e799-4180-8777-493378a63799"/>
</p:tagLst>
</file>

<file path=ppt/tags/tag1482.xml><?xml version="1.0" encoding="utf-8"?>
<p:tagLst xmlns:a="http://schemas.openxmlformats.org/drawingml/2006/main" xmlns:r="http://schemas.openxmlformats.org/officeDocument/2006/relationships" xmlns:p="http://schemas.openxmlformats.org/presentationml/2006/main">
  <p:tag name="MIO_GUID" val="557f6d3f-e823-4c2e-8396-87707784cfa8"/>
</p:tagLst>
</file>

<file path=ppt/tags/tag1483.xml><?xml version="1.0" encoding="utf-8"?>
<p:tagLst xmlns:a="http://schemas.openxmlformats.org/drawingml/2006/main" xmlns:r="http://schemas.openxmlformats.org/officeDocument/2006/relationships" xmlns:p="http://schemas.openxmlformats.org/presentationml/2006/main">
  <p:tag name="MIO_GUID" val="9b49c30d-06f2-4307-b26e-1139f543cce1"/>
</p:tagLst>
</file>

<file path=ppt/tags/tag1484.xml><?xml version="1.0" encoding="utf-8"?>
<p:tagLst xmlns:a="http://schemas.openxmlformats.org/drawingml/2006/main" xmlns:r="http://schemas.openxmlformats.org/officeDocument/2006/relationships" xmlns:p="http://schemas.openxmlformats.org/presentationml/2006/main">
  <p:tag name="MIO_GUID" val="dbb39853-361e-45f9-9afa-dac675bfd979"/>
</p:tagLst>
</file>

<file path=ppt/tags/tag1485.xml><?xml version="1.0" encoding="utf-8"?>
<p:tagLst xmlns:a="http://schemas.openxmlformats.org/drawingml/2006/main" xmlns:r="http://schemas.openxmlformats.org/officeDocument/2006/relationships" xmlns:p="http://schemas.openxmlformats.org/presentationml/2006/main">
  <p:tag name="MIO_GUID" val="454f388d-e341-4156-a99a-7bed1035cf21"/>
</p:tagLst>
</file>

<file path=ppt/tags/tag1486.xml><?xml version="1.0" encoding="utf-8"?>
<p:tagLst xmlns:a="http://schemas.openxmlformats.org/drawingml/2006/main" xmlns:r="http://schemas.openxmlformats.org/officeDocument/2006/relationships" xmlns:p="http://schemas.openxmlformats.org/presentationml/2006/main">
  <p:tag name="MIO_GUID" val="20f2a12f-5b5b-4cfd-b337-e4060090ade3"/>
</p:tagLst>
</file>

<file path=ppt/tags/tag1487.xml><?xml version="1.0" encoding="utf-8"?>
<p:tagLst xmlns:a="http://schemas.openxmlformats.org/drawingml/2006/main" xmlns:r="http://schemas.openxmlformats.org/officeDocument/2006/relationships" xmlns:p="http://schemas.openxmlformats.org/presentationml/2006/main">
  <p:tag name="MIO_GUID" val="d1b48f69-61df-4571-9ffd-a36913adc0f5"/>
</p:tagLst>
</file>

<file path=ppt/tags/tag1488.xml><?xml version="1.0" encoding="utf-8"?>
<p:tagLst xmlns:a="http://schemas.openxmlformats.org/drawingml/2006/main" xmlns:r="http://schemas.openxmlformats.org/officeDocument/2006/relationships" xmlns:p="http://schemas.openxmlformats.org/presentationml/2006/main">
  <p:tag name="MIO_GUID" val="b0bbdf0d-58fb-4021-9225-a3db7f650459"/>
</p:tagLst>
</file>

<file path=ppt/tags/tag1489.xml><?xml version="1.0" encoding="utf-8"?>
<p:tagLst xmlns:a="http://schemas.openxmlformats.org/drawingml/2006/main" xmlns:r="http://schemas.openxmlformats.org/officeDocument/2006/relationships" xmlns:p="http://schemas.openxmlformats.org/presentationml/2006/main">
  <p:tag name="MIO_GUID" val="1f2182a4-f1a2-4ea6-938d-356ebe0d3311"/>
</p:tagLst>
</file>

<file path=ppt/tags/tag149.xml><?xml version="1.0" encoding="utf-8"?>
<p:tagLst xmlns:a="http://schemas.openxmlformats.org/drawingml/2006/main" xmlns:r="http://schemas.openxmlformats.org/officeDocument/2006/relationships" xmlns:p="http://schemas.openxmlformats.org/presentationml/2006/main">
  <p:tag name="MIO_GUID" val="cd6282f0-be22-4f8c-8088-62db2adbcdb2"/>
</p:tagLst>
</file>

<file path=ppt/tags/tag1490.xml><?xml version="1.0" encoding="utf-8"?>
<p:tagLst xmlns:a="http://schemas.openxmlformats.org/drawingml/2006/main" xmlns:r="http://schemas.openxmlformats.org/officeDocument/2006/relationships" xmlns:p="http://schemas.openxmlformats.org/presentationml/2006/main">
  <p:tag name="MIO_GUID" val="b3b37235-451a-4b00-bcab-a29ee898e015"/>
</p:tagLst>
</file>

<file path=ppt/tags/tag1491.xml><?xml version="1.0" encoding="utf-8"?>
<p:tagLst xmlns:a="http://schemas.openxmlformats.org/drawingml/2006/main" xmlns:r="http://schemas.openxmlformats.org/officeDocument/2006/relationships" xmlns:p="http://schemas.openxmlformats.org/presentationml/2006/main">
  <p:tag name="MIO_GUID" val="c3d69396-6aba-48d6-bbcf-11cf7b1fd635"/>
</p:tagLst>
</file>

<file path=ppt/tags/tag1492.xml><?xml version="1.0" encoding="utf-8"?>
<p:tagLst xmlns:a="http://schemas.openxmlformats.org/drawingml/2006/main" xmlns:r="http://schemas.openxmlformats.org/officeDocument/2006/relationships" xmlns:p="http://schemas.openxmlformats.org/presentationml/2006/main">
  <p:tag name="MIO_GUID" val="dc9f0e84-ca2b-4557-a746-a03bce1f425d"/>
</p:tagLst>
</file>

<file path=ppt/tags/tag1493.xml><?xml version="1.0" encoding="utf-8"?>
<p:tagLst xmlns:a="http://schemas.openxmlformats.org/drawingml/2006/main" xmlns:r="http://schemas.openxmlformats.org/officeDocument/2006/relationships" xmlns:p="http://schemas.openxmlformats.org/presentationml/2006/main">
  <p:tag name="MIO_GUID" val="91116b9e-ebc0-4716-8f5f-be1a57093251"/>
</p:tagLst>
</file>

<file path=ppt/tags/tag1494.xml><?xml version="1.0" encoding="utf-8"?>
<p:tagLst xmlns:a="http://schemas.openxmlformats.org/drawingml/2006/main" xmlns:r="http://schemas.openxmlformats.org/officeDocument/2006/relationships" xmlns:p="http://schemas.openxmlformats.org/presentationml/2006/main">
  <p:tag name="MIO_GUID" val="fcd8ae8c-36ea-4d10-b09e-796330092d57"/>
</p:tagLst>
</file>

<file path=ppt/tags/tag1495.xml><?xml version="1.0" encoding="utf-8"?>
<p:tagLst xmlns:a="http://schemas.openxmlformats.org/drawingml/2006/main" xmlns:r="http://schemas.openxmlformats.org/officeDocument/2006/relationships" xmlns:p="http://schemas.openxmlformats.org/presentationml/2006/main">
  <p:tag name="MIO_GUID" val="81e2c28a-965d-4e23-b24c-e378ba73b78c"/>
</p:tagLst>
</file>

<file path=ppt/tags/tag1496.xml><?xml version="1.0" encoding="utf-8"?>
<p:tagLst xmlns:a="http://schemas.openxmlformats.org/drawingml/2006/main" xmlns:r="http://schemas.openxmlformats.org/officeDocument/2006/relationships" xmlns:p="http://schemas.openxmlformats.org/presentationml/2006/main">
  <p:tag name="MIO_GUID" val="7a4a254c-2534-474f-843f-647a221209ce"/>
</p:tagLst>
</file>

<file path=ppt/tags/tag1497.xml><?xml version="1.0" encoding="utf-8"?>
<p:tagLst xmlns:a="http://schemas.openxmlformats.org/drawingml/2006/main" xmlns:r="http://schemas.openxmlformats.org/officeDocument/2006/relationships" xmlns:p="http://schemas.openxmlformats.org/presentationml/2006/main">
  <p:tag name="MIO_GUID" val="87b5a30b-0060-431c-bfd2-bcd0030fa0b7"/>
</p:tagLst>
</file>

<file path=ppt/tags/tag1498.xml><?xml version="1.0" encoding="utf-8"?>
<p:tagLst xmlns:a="http://schemas.openxmlformats.org/drawingml/2006/main" xmlns:r="http://schemas.openxmlformats.org/officeDocument/2006/relationships" xmlns:p="http://schemas.openxmlformats.org/presentationml/2006/main">
  <p:tag name="MIO_GUID" val="9e0aa8e4-6ca3-4518-bab9-b3a04cd931ad"/>
</p:tagLst>
</file>

<file path=ppt/tags/tag1499.xml><?xml version="1.0" encoding="utf-8"?>
<p:tagLst xmlns:a="http://schemas.openxmlformats.org/drawingml/2006/main" xmlns:r="http://schemas.openxmlformats.org/officeDocument/2006/relationships" xmlns:p="http://schemas.openxmlformats.org/presentationml/2006/main">
  <p:tag name="MIO_GUID" val="f76b7de3-71f8-4e24-adba-6ce752601c2d"/>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MIO_GUID" val="c024089f-3d4d-4122-804b-8d70f826915b"/>
</p:tagLst>
</file>

<file path=ppt/tags/tag1500.xml><?xml version="1.0" encoding="utf-8"?>
<p:tagLst xmlns:a="http://schemas.openxmlformats.org/drawingml/2006/main" xmlns:r="http://schemas.openxmlformats.org/officeDocument/2006/relationships" xmlns:p="http://schemas.openxmlformats.org/presentationml/2006/main">
  <p:tag name="MIO_GUID" val="587b3b7d-756b-4fd0-b58d-9332975db79c"/>
</p:tagLst>
</file>

<file path=ppt/tags/tag1501.xml><?xml version="1.0" encoding="utf-8"?>
<p:tagLst xmlns:a="http://schemas.openxmlformats.org/drawingml/2006/main" xmlns:r="http://schemas.openxmlformats.org/officeDocument/2006/relationships" xmlns:p="http://schemas.openxmlformats.org/presentationml/2006/main">
  <p:tag name="MIO_GUID" val="e630bb22-9e55-4292-82f5-93b66163e7b0"/>
</p:tagLst>
</file>

<file path=ppt/tags/tag1502.xml><?xml version="1.0" encoding="utf-8"?>
<p:tagLst xmlns:a="http://schemas.openxmlformats.org/drawingml/2006/main" xmlns:r="http://schemas.openxmlformats.org/officeDocument/2006/relationships" xmlns:p="http://schemas.openxmlformats.org/presentationml/2006/main">
  <p:tag name="MIO_GUID" val="e3871ff0-0c2d-4661-a1f2-60fd3cc75232"/>
</p:tagLst>
</file>

<file path=ppt/tags/tag1503.xml><?xml version="1.0" encoding="utf-8"?>
<p:tagLst xmlns:a="http://schemas.openxmlformats.org/drawingml/2006/main" xmlns:r="http://schemas.openxmlformats.org/officeDocument/2006/relationships" xmlns:p="http://schemas.openxmlformats.org/presentationml/2006/main">
  <p:tag name="MIO_GUID" val="9a9f58bb-842d-473a-849a-677b5496eacf"/>
</p:tagLst>
</file>

<file path=ppt/tags/tag1504.xml><?xml version="1.0" encoding="utf-8"?>
<p:tagLst xmlns:a="http://schemas.openxmlformats.org/drawingml/2006/main" xmlns:r="http://schemas.openxmlformats.org/officeDocument/2006/relationships" xmlns:p="http://schemas.openxmlformats.org/presentationml/2006/main">
  <p:tag name="MIO_GUID" val="f545c0d2-1adc-446b-a846-5998639b3bcb"/>
</p:tagLst>
</file>

<file path=ppt/tags/tag1505.xml><?xml version="1.0" encoding="utf-8"?>
<p:tagLst xmlns:a="http://schemas.openxmlformats.org/drawingml/2006/main" xmlns:r="http://schemas.openxmlformats.org/officeDocument/2006/relationships" xmlns:p="http://schemas.openxmlformats.org/presentationml/2006/main">
  <p:tag name="MIO_GUID" val="8d7ed997-bece-4cdb-b4f5-80101c65cab7"/>
</p:tagLst>
</file>

<file path=ppt/tags/tag1506.xml><?xml version="1.0" encoding="utf-8"?>
<p:tagLst xmlns:a="http://schemas.openxmlformats.org/drawingml/2006/main" xmlns:r="http://schemas.openxmlformats.org/officeDocument/2006/relationships" xmlns:p="http://schemas.openxmlformats.org/presentationml/2006/main">
  <p:tag name="MIO_GUID" val="51e83743-5f1f-425d-aaea-cbb306d81912"/>
</p:tagLst>
</file>

<file path=ppt/tags/tag1507.xml><?xml version="1.0" encoding="utf-8"?>
<p:tagLst xmlns:a="http://schemas.openxmlformats.org/drawingml/2006/main" xmlns:r="http://schemas.openxmlformats.org/officeDocument/2006/relationships" xmlns:p="http://schemas.openxmlformats.org/presentationml/2006/main">
  <p:tag name="MIO_GUID" val="0dbf0d7d-d24f-4dbe-bd4d-bcbeec3f9fb2"/>
</p:tagLst>
</file>

<file path=ppt/tags/tag1508.xml><?xml version="1.0" encoding="utf-8"?>
<p:tagLst xmlns:a="http://schemas.openxmlformats.org/drawingml/2006/main" xmlns:r="http://schemas.openxmlformats.org/officeDocument/2006/relationships" xmlns:p="http://schemas.openxmlformats.org/presentationml/2006/main">
  <p:tag name="MIO_GUID" val="6fabc414-f22c-4d45-9633-f504b53cd7e7"/>
</p:tagLst>
</file>

<file path=ppt/tags/tag1509.xml><?xml version="1.0" encoding="utf-8"?>
<p:tagLst xmlns:a="http://schemas.openxmlformats.org/drawingml/2006/main" xmlns:r="http://schemas.openxmlformats.org/officeDocument/2006/relationships" xmlns:p="http://schemas.openxmlformats.org/presentationml/2006/main">
  <p:tag name="MIO_GUID" val="18ade7cd-e9e3-4772-a112-fab9b596706d"/>
</p:tagLst>
</file>

<file path=ppt/tags/tag151.xml><?xml version="1.0" encoding="utf-8"?>
<p:tagLst xmlns:a="http://schemas.openxmlformats.org/drawingml/2006/main" xmlns:r="http://schemas.openxmlformats.org/officeDocument/2006/relationships" xmlns:p="http://schemas.openxmlformats.org/presentationml/2006/main">
  <p:tag name="MIO_GUID" val="e0dc3827-f225-4a22-a8ac-f77a1405d4ce"/>
</p:tagLst>
</file>

<file path=ppt/tags/tag1510.xml><?xml version="1.0" encoding="utf-8"?>
<p:tagLst xmlns:a="http://schemas.openxmlformats.org/drawingml/2006/main" xmlns:r="http://schemas.openxmlformats.org/officeDocument/2006/relationships" xmlns:p="http://schemas.openxmlformats.org/presentationml/2006/main">
  <p:tag name="MIO_GUID" val="40817e11-1de9-49ad-810b-5fc7730d34d1"/>
</p:tagLst>
</file>

<file path=ppt/tags/tag1511.xml><?xml version="1.0" encoding="utf-8"?>
<p:tagLst xmlns:a="http://schemas.openxmlformats.org/drawingml/2006/main" xmlns:r="http://schemas.openxmlformats.org/officeDocument/2006/relationships" xmlns:p="http://schemas.openxmlformats.org/presentationml/2006/main">
  <p:tag name="MIO_GUID" val="92e228df-f553-4c69-9902-24cc7488cbc9"/>
</p:tagLst>
</file>

<file path=ppt/tags/tag1512.xml><?xml version="1.0" encoding="utf-8"?>
<p:tagLst xmlns:a="http://schemas.openxmlformats.org/drawingml/2006/main" xmlns:r="http://schemas.openxmlformats.org/officeDocument/2006/relationships" xmlns:p="http://schemas.openxmlformats.org/presentationml/2006/main">
  <p:tag name="MIO_GUID" val="e08f2c2f-7de7-4ec4-8601-0cdbfdd68917"/>
</p:tagLst>
</file>

<file path=ppt/tags/tag1513.xml><?xml version="1.0" encoding="utf-8"?>
<p:tagLst xmlns:a="http://schemas.openxmlformats.org/drawingml/2006/main" xmlns:r="http://schemas.openxmlformats.org/officeDocument/2006/relationships" xmlns:p="http://schemas.openxmlformats.org/presentationml/2006/main">
  <p:tag name="MIO_GUID" val="6d8af32a-dcc6-4505-a780-30940f18d718"/>
</p:tagLst>
</file>

<file path=ppt/tags/tag1514.xml><?xml version="1.0" encoding="utf-8"?>
<p:tagLst xmlns:a="http://schemas.openxmlformats.org/drawingml/2006/main" xmlns:r="http://schemas.openxmlformats.org/officeDocument/2006/relationships" xmlns:p="http://schemas.openxmlformats.org/presentationml/2006/main">
  <p:tag name="MIO_GUID" val="1310f85d-e806-48f4-87aa-30041e6624d2"/>
</p:tagLst>
</file>

<file path=ppt/tags/tag1515.xml><?xml version="1.0" encoding="utf-8"?>
<p:tagLst xmlns:a="http://schemas.openxmlformats.org/drawingml/2006/main" xmlns:r="http://schemas.openxmlformats.org/officeDocument/2006/relationships" xmlns:p="http://schemas.openxmlformats.org/presentationml/2006/main">
  <p:tag name="MIO_GUID" val="0fb40de7-6fea-4f0b-92a3-729abcbcc61a"/>
</p:tagLst>
</file>

<file path=ppt/tags/tag1516.xml><?xml version="1.0" encoding="utf-8"?>
<p:tagLst xmlns:a="http://schemas.openxmlformats.org/drawingml/2006/main" xmlns:r="http://schemas.openxmlformats.org/officeDocument/2006/relationships" xmlns:p="http://schemas.openxmlformats.org/presentationml/2006/main">
  <p:tag name="MIO_GUID" val="f798d5d0-d96d-49f6-9096-573a1f094c36"/>
</p:tagLst>
</file>

<file path=ppt/tags/tag1517.xml><?xml version="1.0" encoding="utf-8"?>
<p:tagLst xmlns:a="http://schemas.openxmlformats.org/drawingml/2006/main" xmlns:r="http://schemas.openxmlformats.org/officeDocument/2006/relationships" xmlns:p="http://schemas.openxmlformats.org/presentationml/2006/main">
  <p:tag name="MIO_GUID" val="663ec82c-9125-4fce-af86-248904215ad1"/>
</p:tagLst>
</file>

<file path=ppt/tags/tag1518.xml><?xml version="1.0" encoding="utf-8"?>
<p:tagLst xmlns:a="http://schemas.openxmlformats.org/drawingml/2006/main" xmlns:r="http://schemas.openxmlformats.org/officeDocument/2006/relationships" xmlns:p="http://schemas.openxmlformats.org/presentationml/2006/main">
  <p:tag name="MIO_GUID" val="ad40a1f3-8ff2-4d33-90ec-8e9a0e350600"/>
</p:tagLst>
</file>

<file path=ppt/tags/tag1519.xml><?xml version="1.0" encoding="utf-8"?>
<p:tagLst xmlns:a="http://schemas.openxmlformats.org/drawingml/2006/main" xmlns:r="http://schemas.openxmlformats.org/officeDocument/2006/relationships" xmlns:p="http://schemas.openxmlformats.org/presentationml/2006/main">
  <p:tag name="MIO_GUID" val="ca146955-00eb-4fac-938b-7fe5c73f379c"/>
</p:tagLst>
</file>

<file path=ppt/tags/tag152.xml><?xml version="1.0" encoding="utf-8"?>
<p:tagLst xmlns:a="http://schemas.openxmlformats.org/drawingml/2006/main" xmlns:r="http://schemas.openxmlformats.org/officeDocument/2006/relationships" xmlns:p="http://schemas.openxmlformats.org/presentationml/2006/main">
  <p:tag name="MIO_GUID" val="63f32e73-8c9b-44a5-a39a-d1db91f5d3fb"/>
</p:tagLst>
</file>

<file path=ppt/tags/tag1520.xml><?xml version="1.0" encoding="utf-8"?>
<p:tagLst xmlns:a="http://schemas.openxmlformats.org/drawingml/2006/main" xmlns:r="http://schemas.openxmlformats.org/officeDocument/2006/relationships" xmlns:p="http://schemas.openxmlformats.org/presentationml/2006/main">
  <p:tag name="MIO_GUID" val="2a2faedf-413d-4fa6-b0eb-ee73c3da8861"/>
</p:tagLst>
</file>

<file path=ppt/tags/tag1521.xml><?xml version="1.0" encoding="utf-8"?>
<p:tagLst xmlns:a="http://schemas.openxmlformats.org/drawingml/2006/main" xmlns:r="http://schemas.openxmlformats.org/officeDocument/2006/relationships" xmlns:p="http://schemas.openxmlformats.org/presentationml/2006/main">
  <p:tag name="MIO_GUID" val="a43317a0-71e7-4c73-ae6c-737f0acec6f3"/>
</p:tagLst>
</file>

<file path=ppt/tags/tag1522.xml><?xml version="1.0" encoding="utf-8"?>
<p:tagLst xmlns:a="http://schemas.openxmlformats.org/drawingml/2006/main" xmlns:r="http://schemas.openxmlformats.org/officeDocument/2006/relationships" xmlns:p="http://schemas.openxmlformats.org/presentationml/2006/main">
  <p:tag name="MIO_GUID" val="57455214-6050-45b4-9c81-764147730fdc"/>
</p:tagLst>
</file>

<file path=ppt/tags/tag1523.xml><?xml version="1.0" encoding="utf-8"?>
<p:tagLst xmlns:a="http://schemas.openxmlformats.org/drawingml/2006/main" xmlns:r="http://schemas.openxmlformats.org/officeDocument/2006/relationships" xmlns:p="http://schemas.openxmlformats.org/presentationml/2006/main">
  <p:tag name="MIO_GUID" val="8f438c1b-b7c1-4c83-ab2f-732b64dde97b"/>
</p:tagLst>
</file>

<file path=ppt/tags/tag1524.xml><?xml version="1.0" encoding="utf-8"?>
<p:tagLst xmlns:a="http://schemas.openxmlformats.org/drawingml/2006/main" xmlns:r="http://schemas.openxmlformats.org/officeDocument/2006/relationships" xmlns:p="http://schemas.openxmlformats.org/presentationml/2006/main">
  <p:tag name="MIO_GUID" val="466c6804-3ca7-4216-96e3-409d4bbe0682"/>
</p:tagLst>
</file>

<file path=ppt/tags/tag1525.xml><?xml version="1.0" encoding="utf-8"?>
<p:tagLst xmlns:a="http://schemas.openxmlformats.org/drawingml/2006/main" xmlns:r="http://schemas.openxmlformats.org/officeDocument/2006/relationships" xmlns:p="http://schemas.openxmlformats.org/presentationml/2006/main">
  <p:tag name="MIO_GUID" val="91e16b37-474f-4d0e-8f43-6f17fdf49408"/>
</p:tagLst>
</file>

<file path=ppt/tags/tag1526.xml><?xml version="1.0" encoding="utf-8"?>
<p:tagLst xmlns:a="http://schemas.openxmlformats.org/drawingml/2006/main" xmlns:r="http://schemas.openxmlformats.org/officeDocument/2006/relationships" xmlns:p="http://schemas.openxmlformats.org/presentationml/2006/main">
  <p:tag name="MIO_GUID" val="6cc2fc89-ab58-4212-8793-0ab292d31b44"/>
</p:tagLst>
</file>

<file path=ppt/tags/tag1527.xml><?xml version="1.0" encoding="utf-8"?>
<p:tagLst xmlns:a="http://schemas.openxmlformats.org/drawingml/2006/main" xmlns:r="http://schemas.openxmlformats.org/officeDocument/2006/relationships" xmlns:p="http://schemas.openxmlformats.org/presentationml/2006/main">
  <p:tag name="MIO_GUID" val="9e5afae3-c305-41e8-a29f-7ae7ebd84b61"/>
</p:tagLst>
</file>

<file path=ppt/tags/tag1528.xml><?xml version="1.0" encoding="utf-8"?>
<p:tagLst xmlns:a="http://schemas.openxmlformats.org/drawingml/2006/main" xmlns:r="http://schemas.openxmlformats.org/officeDocument/2006/relationships" xmlns:p="http://schemas.openxmlformats.org/presentationml/2006/main">
  <p:tag name="MIO_GUID" val="276c4a8c-48d4-4484-a20d-7d8c85d4db0e"/>
</p:tagLst>
</file>

<file path=ppt/tags/tag1529.xml><?xml version="1.0" encoding="utf-8"?>
<p:tagLst xmlns:a="http://schemas.openxmlformats.org/drawingml/2006/main" xmlns:r="http://schemas.openxmlformats.org/officeDocument/2006/relationships" xmlns:p="http://schemas.openxmlformats.org/presentationml/2006/main">
  <p:tag name="MIO_GUID" val="18e7e6cf-c9fb-4c0b-8e8b-fbc2737564fc"/>
</p:tagLst>
</file>

<file path=ppt/tags/tag153.xml><?xml version="1.0" encoding="utf-8"?>
<p:tagLst xmlns:a="http://schemas.openxmlformats.org/drawingml/2006/main" xmlns:r="http://schemas.openxmlformats.org/officeDocument/2006/relationships" xmlns:p="http://schemas.openxmlformats.org/presentationml/2006/main">
  <p:tag name="MIO_GUID" val="c49f5545-8920-4852-bfa2-d16ddc3ec3a7"/>
</p:tagLst>
</file>

<file path=ppt/tags/tag1530.xml><?xml version="1.0" encoding="utf-8"?>
<p:tagLst xmlns:a="http://schemas.openxmlformats.org/drawingml/2006/main" xmlns:r="http://schemas.openxmlformats.org/officeDocument/2006/relationships" xmlns:p="http://schemas.openxmlformats.org/presentationml/2006/main">
  <p:tag name="MIO_GUID" val="a9995c46-1add-418c-8b9f-c578959c1ab0"/>
</p:tagLst>
</file>

<file path=ppt/tags/tag1531.xml><?xml version="1.0" encoding="utf-8"?>
<p:tagLst xmlns:a="http://schemas.openxmlformats.org/drawingml/2006/main" xmlns:r="http://schemas.openxmlformats.org/officeDocument/2006/relationships" xmlns:p="http://schemas.openxmlformats.org/presentationml/2006/main">
  <p:tag name="MIO_GUID" val="287c66f0-3af4-4728-8908-85561f05f75b"/>
</p:tagLst>
</file>

<file path=ppt/tags/tag1532.xml><?xml version="1.0" encoding="utf-8"?>
<p:tagLst xmlns:a="http://schemas.openxmlformats.org/drawingml/2006/main" xmlns:r="http://schemas.openxmlformats.org/officeDocument/2006/relationships" xmlns:p="http://schemas.openxmlformats.org/presentationml/2006/main">
  <p:tag name="MIO_GUID" val="9ea27f4a-e5bd-44f5-b85a-f1d851fcb141"/>
</p:tagLst>
</file>

<file path=ppt/tags/tag1533.xml><?xml version="1.0" encoding="utf-8"?>
<p:tagLst xmlns:a="http://schemas.openxmlformats.org/drawingml/2006/main" xmlns:r="http://schemas.openxmlformats.org/officeDocument/2006/relationships" xmlns:p="http://schemas.openxmlformats.org/presentationml/2006/main">
  <p:tag name="MIO_GUID" val="42ff9cf8-07ac-46a1-b382-36b2c69231ba"/>
</p:tagLst>
</file>

<file path=ppt/tags/tag1534.xml><?xml version="1.0" encoding="utf-8"?>
<p:tagLst xmlns:a="http://schemas.openxmlformats.org/drawingml/2006/main" xmlns:r="http://schemas.openxmlformats.org/officeDocument/2006/relationships" xmlns:p="http://schemas.openxmlformats.org/presentationml/2006/main">
  <p:tag name="MIO_GUID" val="b5d3e848-bb01-4394-a514-4be53ccae88b"/>
</p:tagLst>
</file>

<file path=ppt/tags/tag1535.xml><?xml version="1.0" encoding="utf-8"?>
<p:tagLst xmlns:a="http://schemas.openxmlformats.org/drawingml/2006/main" xmlns:r="http://schemas.openxmlformats.org/officeDocument/2006/relationships" xmlns:p="http://schemas.openxmlformats.org/presentationml/2006/main">
  <p:tag name="MIO_GUID" val="7203ba97-d5b7-4743-aeb5-671e42367234"/>
</p:tagLst>
</file>

<file path=ppt/tags/tag1536.xml><?xml version="1.0" encoding="utf-8"?>
<p:tagLst xmlns:a="http://schemas.openxmlformats.org/drawingml/2006/main" xmlns:r="http://schemas.openxmlformats.org/officeDocument/2006/relationships" xmlns:p="http://schemas.openxmlformats.org/presentationml/2006/main">
  <p:tag name="MIO_GUID" val="65d7931f-2cd2-4911-9feb-1bab5a6600d0"/>
</p:tagLst>
</file>

<file path=ppt/tags/tag1537.xml><?xml version="1.0" encoding="utf-8"?>
<p:tagLst xmlns:a="http://schemas.openxmlformats.org/drawingml/2006/main" xmlns:r="http://schemas.openxmlformats.org/officeDocument/2006/relationships" xmlns:p="http://schemas.openxmlformats.org/presentationml/2006/main">
  <p:tag name="MIO_GUID" val="75211f53-ed15-488a-8c51-51eac0a0fd12"/>
</p:tagLst>
</file>

<file path=ppt/tags/tag1538.xml><?xml version="1.0" encoding="utf-8"?>
<p:tagLst xmlns:a="http://schemas.openxmlformats.org/drawingml/2006/main" xmlns:r="http://schemas.openxmlformats.org/officeDocument/2006/relationships" xmlns:p="http://schemas.openxmlformats.org/presentationml/2006/main">
  <p:tag name="MIO_GUID" val="26c26429-c563-4620-8448-56ca10b96747"/>
</p:tagLst>
</file>

<file path=ppt/tags/tag1539.xml><?xml version="1.0" encoding="utf-8"?>
<p:tagLst xmlns:a="http://schemas.openxmlformats.org/drawingml/2006/main" xmlns:r="http://schemas.openxmlformats.org/officeDocument/2006/relationships" xmlns:p="http://schemas.openxmlformats.org/presentationml/2006/main">
  <p:tag name="MIO_GUID" val="257b9bb0-5f17-431b-b10d-a35adece3f30"/>
</p:tagLst>
</file>

<file path=ppt/tags/tag154.xml><?xml version="1.0" encoding="utf-8"?>
<p:tagLst xmlns:a="http://schemas.openxmlformats.org/drawingml/2006/main" xmlns:r="http://schemas.openxmlformats.org/officeDocument/2006/relationships" xmlns:p="http://schemas.openxmlformats.org/presentationml/2006/main">
  <p:tag name="MIO_GUID" val="765fc063-a000-4173-9a21-e14d192c9d2d"/>
</p:tagLst>
</file>

<file path=ppt/tags/tag1540.xml><?xml version="1.0" encoding="utf-8"?>
<p:tagLst xmlns:a="http://schemas.openxmlformats.org/drawingml/2006/main" xmlns:r="http://schemas.openxmlformats.org/officeDocument/2006/relationships" xmlns:p="http://schemas.openxmlformats.org/presentationml/2006/main">
  <p:tag name="MIO_GUID" val="e9d0ed34-d75e-4abd-8a00-511486a87353"/>
</p:tagLst>
</file>

<file path=ppt/tags/tag1541.xml><?xml version="1.0" encoding="utf-8"?>
<p:tagLst xmlns:a="http://schemas.openxmlformats.org/drawingml/2006/main" xmlns:r="http://schemas.openxmlformats.org/officeDocument/2006/relationships" xmlns:p="http://schemas.openxmlformats.org/presentationml/2006/main">
  <p:tag name="MIO_GUID" val="576e8aaa-bbb1-42c4-befb-8ef217641dcc"/>
</p:tagLst>
</file>

<file path=ppt/tags/tag1542.xml><?xml version="1.0" encoding="utf-8"?>
<p:tagLst xmlns:a="http://schemas.openxmlformats.org/drawingml/2006/main" xmlns:r="http://schemas.openxmlformats.org/officeDocument/2006/relationships" xmlns:p="http://schemas.openxmlformats.org/presentationml/2006/main">
  <p:tag name="MIO_GUID" val="687002e4-165b-4a61-a7a0-3700d5e4b47d"/>
</p:tagLst>
</file>

<file path=ppt/tags/tag1543.xml><?xml version="1.0" encoding="utf-8"?>
<p:tagLst xmlns:a="http://schemas.openxmlformats.org/drawingml/2006/main" xmlns:r="http://schemas.openxmlformats.org/officeDocument/2006/relationships" xmlns:p="http://schemas.openxmlformats.org/presentationml/2006/main">
  <p:tag name="MIO_GUID" val="589a169c-a543-47ec-a831-3292a87ea5f5"/>
</p:tagLst>
</file>

<file path=ppt/tags/tag1544.xml><?xml version="1.0" encoding="utf-8"?>
<p:tagLst xmlns:a="http://schemas.openxmlformats.org/drawingml/2006/main" xmlns:r="http://schemas.openxmlformats.org/officeDocument/2006/relationships" xmlns:p="http://schemas.openxmlformats.org/presentationml/2006/main">
  <p:tag name="MIO_GUID" val="2a7c5b2e-f4af-4d43-b7e3-756d25632cde"/>
</p:tagLst>
</file>

<file path=ppt/tags/tag1545.xml><?xml version="1.0" encoding="utf-8"?>
<p:tagLst xmlns:a="http://schemas.openxmlformats.org/drawingml/2006/main" xmlns:r="http://schemas.openxmlformats.org/officeDocument/2006/relationships" xmlns:p="http://schemas.openxmlformats.org/presentationml/2006/main">
  <p:tag name="MIO_GUID" val="2d313a1d-efeb-4406-a3ee-b8a9f1f9f5f3"/>
</p:tagLst>
</file>

<file path=ppt/tags/tag1546.xml><?xml version="1.0" encoding="utf-8"?>
<p:tagLst xmlns:a="http://schemas.openxmlformats.org/drawingml/2006/main" xmlns:r="http://schemas.openxmlformats.org/officeDocument/2006/relationships" xmlns:p="http://schemas.openxmlformats.org/presentationml/2006/main">
  <p:tag name="MIO_GUID" val="505be20e-0ed1-4e5d-9cbb-3b7c37b69768"/>
</p:tagLst>
</file>

<file path=ppt/tags/tag1547.xml><?xml version="1.0" encoding="utf-8"?>
<p:tagLst xmlns:a="http://schemas.openxmlformats.org/drawingml/2006/main" xmlns:r="http://schemas.openxmlformats.org/officeDocument/2006/relationships" xmlns:p="http://schemas.openxmlformats.org/presentationml/2006/main">
  <p:tag name="MIO_GUID" val="a07ae947-ee56-4ed6-9af2-be3136666b16"/>
</p:tagLst>
</file>

<file path=ppt/tags/tag1548.xml><?xml version="1.0" encoding="utf-8"?>
<p:tagLst xmlns:a="http://schemas.openxmlformats.org/drawingml/2006/main" xmlns:r="http://schemas.openxmlformats.org/officeDocument/2006/relationships" xmlns:p="http://schemas.openxmlformats.org/presentationml/2006/main">
  <p:tag name="MIO_GUID" val="8dcbc773-ca66-47ca-874c-511aab4ccdb7"/>
</p:tagLst>
</file>

<file path=ppt/tags/tag1549.xml><?xml version="1.0" encoding="utf-8"?>
<p:tagLst xmlns:a="http://schemas.openxmlformats.org/drawingml/2006/main" xmlns:r="http://schemas.openxmlformats.org/officeDocument/2006/relationships" xmlns:p="http://schemas.openxmlformats.org/presentationml/2006/main">
  <p:tag name="MIO_GUID" val="ead83b85-a7f6-4160-bf24-cf8e0f505c32"/>
</p:tagLst>
</file>

<file path=ppt/tags/tag155.xml><?xml version="1.0" encoding="utf-8"?>
<p:tagLst xmlns:a="http://schemas.openxmlformats.org/drawingml/2006/main" xmlns:r="http://schemas.openxmlformats.org/officeDocument/2006/relationships" xmlns:p="http://schemas.openxmlformats.org/presentationml/2006/main">
  <p:tag name="MIO_GUID" val="af2ab7d6-2f51-4307-941b-0142e5382cac"/>
</p:tagLst>
</file>

<file path=ppt/tags/tag1550.xml><?xml version="1.0" encoding="utf-8"?>
<p:tagLst xmlns:a="http://schemas.openxmlformats.org/drawingml/2006/main" xmlns:r="http://schemas.openxmlformats.org/officeDocument/2006/relationships" xmlns:p="http://schemas.openxmlformats.org/presentationml/2006/main">
  <p:tag name="MIO_GUID" val="615be158-ab7a-4865-88a9-597321adfc9e"/>
</p:tagLst>
</file>

<file path=ppt/tags/tag1551.xml><?xml version="1.0" encoding="utf-8"?>
<p:tagLst xmlns:a="http://schemas.openxmlformats.org/drawingml/2006/main" xmlns:r="http://schemas.openxmlformats.org/officeDocument/2006/relationships" xmlns:p="http://schemas.openxmlformats.org/presentationml/2006/main">
  <p:tag name="MIO_GUID" val="3d9b3cc6-0da6-4f8a-a663-b6dd4e661756"/>
</p:tagLst>
</file>

<file path=ppt/tags/tag1552.xml><?xml version="1.0" encoding="utf-8"?>
<p:tagLst xmlns:a="http://schemas.openxmlformats.org/drawingml/2006/main" xmlns:r="http://schemas.openxmlformats.org/officeDocument/2006/relationships" xmlns:p="http://schemas.openxmlformats.org/presentationml/2006/main">
  <p:tag name="MIO_GUID" val="87232cd2-099b-4081-a02d-b98f60f39e75"/>
</p:tagLst>
</file>

<file path=ppt/tags/tag1553.xml><?xml version="1.0" encoding="utf-8"?>
<p:tagLst xmlns:a="http://schemas.openxmlformats.org/drawingml/2006/main" xmlns:r="http://schemas.openxmlformats.org/officeDocument/2006/relationships" xmlns:p="http://schemas.openxmlformats.org/presentationml/2006/main">
  <p:tag name="MIO_GUID" val="0cb10d0b-afcd-4e7e-82c8-c675d24a86d8"/>
</p:tagLst>
</file>

<file path=ppt/tags/tag1554.xml><?xml version="1.0" encoding="utf-8"?>
<p:tagLst xmlns:a="http://schemas.openxmlformats.org/drawingml/2006/main" xmlns:r="http://schemas.openxmlformats.org/officeDocument/2006/relationships" xmlns:p="http://schemas.openxmlformats.org/presentationml/2006/main">
  <p:tag name="MIO_GUID" val="6d81a2ea-4970-4cb7-8e0f-e4da9a41fe48"/>
</p:tagLst>
</file>

<file path=ppt/tags/tag1555.xml><?xml version="1.0" encoding="utf-8"?>
<p:tagLst xmlns:a="http://schemas.openxmlformats.org/drawingml/2006/main" xmlns:r="http://schemas.openxmlformats.org/officeDocument/2006/relationships" xmlns:p="http://schemas.openxmlformats.org/presentationml/2006/main">
  <p:tag name="MIO_GUID" val="1f2cb7c4-48f7-4ad0-a8eb-fe561bd4f48b"/>
</p:tagLst>
</file>

<file path=ppt/tags/tag1556.xml><?xml version="1.0" encoding="utf-8"?>
<p:tagLst xmlns:a="http://schemas.openxmlformats.org/drawingml/2006/main" xmlns:r="http://schemas.openxmlformats.org/officeDocument/2006/relationships" xmlns:p="http://schemas.openxmlformats.org/presentationml/2006/main">
  <p:tag name="MIO_GUID" val="e15eb0c9-35cd-4519-bbda-406a01b490aa"/>
</p:tagLst>
</file>

<file path=ppt/tags/tag1557.xml><?xml version="1.0" encoding="utf-8"?>
<p:tagLst xmlns:a="http://schemas.openxmlformats.org/drawingml/2006/main" xmlns:r="http://schemas.openxmlformats.org/officeDocument/2006/relationships" xmlns:p="http://schemas.openxmlformats.org/presentationml/2006/main">
  <p:tag name="MIO_GUID" val="00946fa9-8501-45c6-8c34-f287273a3b63"/>
</p:tagLst>
</file>

<file path=ppt/tags/tag1558.xml><?xml version="1.0" encoding="utf-8"?>
<p:tagLst xmlns:a="http://schemas.openxmlformats.org/drawingml/2006/main" xmlns:r="http://schemas.openxmlformats.org/officeDocument/2006/relationships" xmlns:p="http://schemas.openxmlformats.org/presentationml/2006/main">
  <p:tag name="MIO_GUID" val="4e0160a8-50f6-4f8b-9033-7f89f971acf0"/>
</p:tagLst>
</file>

<file path=ppt/tags/tag1559.xml><?xml version="1.0" encoding="utf-8"?>
<p:tagLst xmlns:a="http://schemas.openxmlformats.org/drawingml/2006/main" xmlns:r="http://schemas.openxmlformats.org/officeDocument/2006/relationships" xmlns:p="http://schemas.openxmlformats.org/presentationml/2006/main">
  <p:tag name="MIO_GUID" val="8fc7e110-9729-40e4-abf5-40de2c12114d"/>
</p:tagLst>
</file>

<file path=ppt/tags/tag156.xml><?xml version="1.0" encoding="utf-8"?>
<p:tagLst xmlns:a="http://schemas.openxmlformats.org/drawingml/2006/main" xmlns:r="http://schemas.openxmlformats.org/officeDocument/2006/relationships" xmlns:p="http://schemas.openxmlformats.org/presentationml/2006/main">
  <p:tag name="MIO_GUID" val="c6750edc-cc57-41b1-b5eb-2a4cabde8569"/>
</p:tagLst>
</file>

<file path=ppt/tags/tag1560.xml><?xml version="1.0" encoding="utf-8"?>
<p:tagLst xmlns:a="http://schemas.openxmlformats.org/drawingml/2006/main" xmlns:r="http://schemas.openxmlformats.org/officeDocument/2006/relationships" xmlns:p="http://schemas.openxmlformats.org/presentationml/2006/main">
  <p:tag name="MIO_GUID" val="67982106-56de-4266-a18c-3f92d6ba234c"/>
</p:tagLst>
</file>

<file path=ppt/tags/tag1561.xml><?xml version="1.0" encoding="utf-8"?>
<p:tagLst xmlns:a="http://schemas.openxmlformats.org/drawingml/2006/main" xmlns:r="http://schemas.openxmlformats.org/officeDocument/2006/relationships" xmlns:p="http://schemas.openxmlformats.org/presentationml/2006/main">
  <p:tag name="MIO_GUID" val="fb6e94bd-259b-4d08-a133-0b7deae20977"/>
</p:tagLst>
</file>

<file path=ppt/tags/tag1562.xml><?xml version="1.0" encoding="utf-8"?>
<p:tagLst xmlns:a="http://schemas.openxmlformats.org/drawingml/2006/main" xmlns:r="http://schemas.openxmlformats.org/officeDocument/2006/relationships" xmlns:p="http://schemas.openxmlformats.org/presentationml/2006/main">
  <p:tag name="MIO_GUID" val="58b6af87-cc9d-4910-a429-9a29d5826767"/>
</p:tagLst>
</file>

<file path=ppt/tags/tag1563.xml><?xml version="1.0" encoding="utf-8"?>
<p:tagLst xmlns:a="http://schemas.openxmlformats.org/drawingml/2006/main" xmlns:r="http://schemas.openxmlformats.org/officeDocument/2006/relationships" xmlns:p="http://schemas.openxmlformats.org/presentationml/2006/main">
  <p:tag name="MIO_GUID" val="bf9b1a56-6386-4b59-ab7d-14f730255b23"/>
</p:tagLst>
</file>

<file path=ppt/tags/tag1564.xml><?xml version="1.0" encoding="utf-8"?>
<p:tagLst xmlns:a="http://schemas.openxmlformats.org/drawingml/2006/main" xmlns:r="http://schemas.openxmlformats.org/officeDocument/2006/relationships" xmlns:p="http://schemas.openxmlformats.org/presentationml/2006/main">
  <p:tag name="MIO_GUID" val="f0022f5a-d16d-44fe-af40-c0dc0b6da8e6"/>
</p:tagLst>
</file>

<file path=ppt/tags/tag1565.xml><?xml version="1.0" encoding="utf-8"?>
<p:tagLst xmlns:a="http://schemas.openxmlformats.org/drawingml/2006/main" xmlns:r="http://schemas.openxmlformats.org/officeDocument/2006/relationships" xmlns:p="http://schemas.openxmlformats.org/presentationml/2006/main">
  <p:tag name="MIO_GUID" val="0fb48f16-1a8c-4a96-a8e5-ab8e0dbc4a17"/>
</p:tagLst>
</file>

<file path=ppt/tags/tag1566.xml><?xml version="1.0" encoding="utf-8"?>
<p:tagLst xmlns:a="http://schemas.openxmlformats.org/drawingml/2006/main" xmlns:r="http://schemas.openxmlformats.org/officeDocument/2006/relationships" xmlns:p="http://schemas.openxmlformats.org/presentationml/2006/main">
  <p:tag name="MIO_GUID" val="a4f50369-0533-45b3-9310-17e5709214b3"/>
</p:tagLst>
</file>

<file path=ppt/tags/tag1567.xml><?xml version="1.0" encoding="utf-8"?>
<p:tagLst xmlns:a="http://schemas.openxmlformats.org/drawingml/2006/main" xmlns:r="http://schemas.openxmlformats.org/officeDocument/2006/relationships" xmlns:p="http://schemas.openxmlformats.org/presentationml/2006/main">
  <p:tag name="MIO_GUID" val="15ddb044-5bd3-4081-b92f-604f1ade1bad"/>
</p:tagLst>
</file>

<file path=ppt/tags/tag1568.xml><?xml version="1.0" encoding="utf-8"?>
<p:tagLst xmlns:a="http://schemas.openxmlformats.org/drawingml/2006/main" xmlns:r="http://schemas.openxmlformats.org/officeDocument/2006/relationships" xmlns:p="http://schemas.openxmlformats.org/presentationml/2006/main">
  <p:tag name="MIO_GUID" val="a6d60a9d-ffac-46fa-8538-386538a0b11f"/>
</p:tagLst>
</file>

<file path=ppt/tags/tag1569.xml><?xml version="1.0" encoding="utf-8"?>
<p:tagLst xmlns:a="http://schemas.openxmlformats.org/drawingml/2006/main" xmlns:r="http://schemas.openxmlformats.org/officeDocument/2006/relationships" xmlns:p="http://schemas.openxmlformats.org/presentationml/2006/main">
  <p:tag name="MIO_GUID" val="a230a728-02ed-45f1-a7e4-51a68d335851"/>
</p:tagLst>
</file>

<file path=ppt/tags/tag157.xml><?xml version="1.0" encoding="utf-8"?>
<p:tagLst xmlns:a="http://schemas.openxmlformats.org/drawingml/2006/main" xmlns:r="http://schemas.openxmlformats.org/officeDocument/2006/relationships" xmlns:p="http://schemas.openxmlformats.org/presentationml/2006/main">
  <p:tag name="MIO_GUID" val="3e437d61-4e0c-452c-9f38-06fb5c5b6a36"/>
</p:tagLst>
</file>

<file path=ppt/tags/tag1570.xml><?xml version="1.0" encoding="utf-8"?>
<p:tagLst xmlns:a="http://schemas.openxmlformats.org/drawingml/2006/main" xmlns:r="http://schemas.openxmlformats.org/officeDocument/2006/relationships" xmlns:p="http://schemas.openxmlformats.org/presentationml/2006/main">
  <p:tag name="MIO_GUID" val="3731e09c-ed81-4bed-af8e-b117d82ae4a2"/>
</p:tagLst>
</file>

<file path=ppt/tags/tag1571.xml><?xml version="1.0" encoding="utf-8"?>
<p:tagLst xmlns:a="http://schemas.openxmlformats.org/drawingml/2006/main" xmlns:r="http://schemas.openxmlformats.org/officeDocument/2006/relationships" xmlns:p="http://schemas.openxmlformats.org/presentationml/2006/main">
  <p:tag name="MIO_GUID" val="86a92f36-9d24-48ab-ac76-a0ca81029f90"/>
</p:tagLst>
</file>

<file path=ppt/tags/tag1572.xml><?xml version="1.0" encoding="utf-8"?>
<p:tagLst xmlns:a="http://schemas.openxmlformats.org/drawingml/2006/main" xmlns:r="http://schemas.openxmlformats.org/officeDocument/2006/relationships" xmlns:p="http://schemas.openxmlformats.org/presentationml/2006/main">
  <p:tag name="MIO_GUID" val="f35c4dae-b8fb-44d9-97cf-d4d11f5b0478"/>
</p:tagLst>
</file>

<file path=ppt/tags/tag1573.xml><?xml version="1.0" encoding="utf-8"?>
<p:tagLst xmlns:a="http://schemas.openxmlformats.org/drawingml/2006/main" xmlns:r="http://schemas.openxmlformats.org/officeDocument/2006/relationships" xmlns:p="http://schemas.openxmlformats.org/presentationml/2006/main">
  <p:tag name="MIO_GUID" val="f289425b-523e-4219-be02-8dc1ff93cec2"/>
</p:tagLst>
</file>

<file path=ppt/tags/tag1574.xml><?xml version="1.0" encoding="utf-8"?>
<p:tagLst xmlns:a="http://schemas.openxmlformats.org/drawingml/2006/main" xmlns:r="http://schemas.openxmlformats.org/officeDocument/2006/relationships" xmlns:p="http://schemas.openxmlformats.org/presentationml/2006/main">
  <p:tag name="MIO_GUID" val="cc35c4e3-c3d2-4137-ab3d-645cf5ca1750"/>
</p:tagLst>
</file>

<file path=ppt/tags/tag1575.xml><?xml version="1.0" encoding="utf-8"?>
<p:tagLst xmlns:a="http://schemas.openxmlformats.org/drawingml/2006/main" xmlns:r="http://schemas.openxmlformats.org/officeDocument/2006/relationships" xmlns:p="http://schemas.openxmlformats.org/presentationml/2006/main">
  <p:tag name="MIO_GUID" val="0638ca4f-648a-47ae-ad2c-4424bc078e00"/>
</p:tagLst>
</file>

<file path=ppt/tags/tag1576.xml><?xml version="1.0" encoding="utf-8"?>
<p:tagLst xmlns:a="http://schemas.openxmlformats.org/drawingml/2006/main" xmlns:r="http://schemas.openxmlformats.org/officeDocument/2006/relationships" xmlns:p="http://schemas.openxmlformats.org/presentationml/2006/main">
  <p:tag name="MIO_GUID" val="b35ebef1-da8d-4811-9160-2c6b0353fd2b"/>
</p:tagLst>
</file>

<file path=ppt/tags/tag1577.xml><?xml version="1.0" encoding="utf-8"?>
<p:tagLst xmlns:a="http://schemas.openxmlformats.org/drawingml/2006/main" xmlns:r="http://schemas.openxmlformats.org/officeDocument/2006/relationships" xmlns:p="http://schemas.openxmlformats.org/presentationml/2006/main">
  <p:tag name="MIO_GUID" val="6c97bb5e-7acd-4aab-9e7b-059fe0b1da5b"/>
</p:tagLst>
</file>

<file path=ppt/tags/tag1578.xml><?xml version="1.0" encoding="utf-8"?>
<p:tagLst xmlns:a="http://schemas.openxmlformats.org/drawingml/2006/main" xmlns:r="http://schemas.openxmlformats.org/officeDocument/2006/relationships" xmlns:p="http://schemas.openxmlformats.org/presentationml/2006/main">
  <p:tag name="MIO_GUID" val="193784fd-7626-48e4-a9bd-89a6ace71314"/>
</p:tagLst>
</file>

<file path=ppt/tags/tag1579.xml><?xml version="1.0" encoding="utf-8"?>
<p:tagLst xmlns:a="http://schemas.openxmlformats.org/drawingml/2006/main" xmlns:r="http://schemas.openxmlformats.org/officeDocument/2006/relationships" xmlns:p="http://schemas.openxmlformats.org/presentationml/2006/main">
  <p:tag name="MIO_GUID" val="7ff40aa9-d8b4-42b9-918e-cf681fec8ad5"/>
</p:tagLst>
</file>

<file path=ppt/tags/tag158.xml><?xml version="1.0" encoding="utf-8"?>
<p:tagLst xmlns:a="http://schemas.openxmlformats.org/drawingml/2006/main" xmlns:r="http://schemas.openxmlformats.org/officeDocument/2006/relationships" xmlns:p="http://schemas.openxmlformats.org/presentationml/2006/main">
  <p:tag name="MIO_GUID" val="a331dd06-cb66-48b9-be5e-092eb026c789"/>
</p:tagLst>
</file>

<file path=ppt/tags/tag1580.xml><?xml version="1.0" encoding="utf-8"?>
<p:tagLst xmlns:a="http://schemas.openxmlformats.org/drawingml/2006/main" xmlns:r="http://schemas.openxmlformats.org/officeDocument/2006/relationships" xmlns:p="http://schemas.openxmlformats.org/presentationml/2006/main">
  <p:tag name="MIO_GUID" val="74725d00-5907-4442-b676-27b26b6b1ce2"/>
</p:tagLst>
</file>

<file path=ppt/tags/tag1581.xml><?xml version="1.0" encoding="utf-8"?>
<p:tagLst xmlns:a="http://schemas.openxmlformats.org/drawingml/2006/main" xmlns:r="http://schemas.openxmlformats.org/officeDocument/2006/relationships" xmlns:p="http://schemas.openxmlformats.org/presentationml/2006/main">
  <p:tag name="MIO_GUID" val="fcceed0c-4a56-49ee-8ba2-628fcf027e01"/>
</p:tagLst>
</file>

<file path=ppt/tags/tag1582.xml><?xml version="1.0" encoding="utf-8"?>
<p:tagLst xmlns:a="http://schemas.openxmlformats.org/drawingml/2006/main" xmlns:r="http://schemas.openxmlformats.org/officeDocument/2006/relationships" xmlns:p="http://schemas.openxmlformats.org/presentationml/2006/main">
  <p:tag name="MIO_GUID" val="34664ee0-4cce-4cdd-92ff-a6d26fefac0d"/>
</p:tagLst>
</file>

<file path=ppt/tags/tag1583.xml><?xml version="1.0" encoding="utf-8"?>
<p:tagLst xmlns:a="http://schemas.openxmlformats.org/drawingml/2006/main" xmlns:r="http://schemas.openxmlformats.org/officeDocument/2006/relationships" xmlns:p="http://schemas.openxmlformats.org/presentationml/2006/main">
  <p:tag name="MIO_GUID" val="19e325fb-c8bb-4293-83bc-41e4329f44d7"/>
</p:tagLst>
</file>

<file path=ppt/tags/tag1584.xml><?xml version="1.0" encoding="utf-8"?>
<p:tagLst xmlns:a="http://schemas.openxmlformats.org/drawingml/2006/main" xmlns:r="http://schemas.openxmlformats.org/officeDocument/2006/relationships" xmlns:p="http://schemas.openxmlformats.org/presentationml/2006/main">
  <p:tag name="MIO_GUID" val="ddf81953-e87b-4cfa-acde-ef107ff31a24"/>
</p:tagLst>
</file>

<file path=ppt/tags/tag1585.xml><?xml version="1.0" encoding="utf-8"?>
<p:tagLst xmlns:a="http://schemas.openxmlformats.org/drawingml/2006/main" xmlns:r="http://schemas.openxmlformats.org/officeDocument/2006/relationships" xmlns:p="http://schemas.openxmlformats.org/presentationml/2006/main">
  <p:tag name="MIO_GUID" val="b5a3cfbf-ec65-484e-9713-cb14be4a9420"/>
</p:tagLst>
</file>

<file path=ppt/tags/tag1586.xml><?xml version="1.0" encoding="utf-8"?>
<p:tagLst xmlns:a="http://schemas.openxmlformats.org/drawingml/2006/main" xmlns:r="http://schemas.openxmlformats.org/officeDocument/2006/relationships" xmlns:p="http://schemas.openxmlformats.org/presentationml/2006/main">
  <p:tag name="MIO_GUID" val="77c734c8-3d63-4fac-8135-d97b50bf3336"/>
</p:tagLst>
</file>

<file path=ppt/tags/tag1587.xml><?xml version="1.0" encoding="utf-8"?>
<p:tagLst xmlns:a="http://schemas.openxmlformats.org/drawingml/2006/main" xmlns:r="http://schemas.openxmlformats.org/officeDocument/2006/relationships" xmlns:p="http://schemas.openxmlformats.org/presentationml/2006/main">
  <p:tag name="MIO_GUID" val="b9c7ca41-4b7f-444b-a91c-7aab37b3ae15"/>
</p:tagLst>
</file>

<file path=ppt/tags/tag1588.xml><?xml version="1.0" encoding="utf-8"?>
<p:tagLst xmlns:a="http://schemas.openxmlformats.org/drawingml/2006/main" xmlns:r="http://schemas.openxmlformats.org/officeDocument/2006/relationships" xmlns:p="http://schemas.openxmlformats.org/presentationml/2006/main">
  <p:tag name="MIO_GUID" val="dfc32823-e7ba-449c-b5ec-a32ae684e8f1"/>
</p:tagLst>
</file>

<file path=ppt/tags/tag1589.xml><?xml version="1.0" encoding="utf-8"?>
<p:tagLst xmlns:a="http://schemas.openxmlformats.org/drawingml/2006/main" xmlns:r="http://schemas.openxmlformats.org/officeDocument/2006/relationships" xmlns:p="http://schemas.openxmlformats.org/presentationml/2006/main">
  <p:tag name="MIO_GUID" val="43c08655-c3e3-435f-84f0-854e397297f1"/>
</p:tagLst>
</file>

<file path=ppt/tags/tag159.xml><?xml version="1.0" encoding="utf-8"?>
<p:tagLst xmlns:a="http://schemas.openxmlformats.org/drawingml/2006/main" xmlns:r="http://schemas.openxmlformats.org/officeDocument/2006/relationships" xmlns:p="http://schemas.openxmlformats.org/presentationml/2006/main">
  <p:tag name="MIO_GUID" val="5e1787c1-cad4-44b2-b316-7090aac22e36"/>
</p:tagLst>
</file>

<file path=ppt/tags/tag1590.xml><?xml version="1.0" encoding="utf-8"?>
<p:tagLst xmlns:a="http://schemas.openxmlformats.org/drawingml/2006/main" xmlns:r="http://schemas.openxmlformats.org/officeDocument/2006/relationships" xmlns:p="http://schemas.openxmlformats.org/presentationml/2006/main">
  <p:tag name="MIO_GUID" val="79d09bc5-7146-4aa3-879d-6ddf60f3dc86"/>
</p:tagLst>
</file>

<file path=ppt/tags/tag1591.xml><?xml version="1.0" encoding="utf-8"?>
<p:tagLst xmlns:a="http://schemas.openxmlformats.org/drawingml/2006/main" xmlns:r="http://schemas.openxmlformats.org/officeDocument/2006/relationships" xmlns:p="http://schemas.openxmlformats.org/presentationml/2006/main">
  <p:tag name="MIO_GUID" val="77dfa53a-b4b0-4024-86ee-36811fbb8976"/>
</p:tagLst>
</file>

<file path=ppt/tags/tag1592.xml><?xml version="1.0" encoding="utf-8"?>
<p:tagLst xmlns:a="http://schemas.openxmlformats.org/drawingml/2006/main" xmlns:r="http://schemas.openxmlformats.org/officeDocument/2006/relationships" xmlns:p="http://schemas.openxmlformats.org/presentationml/2006/main">
  <p:tag name="MIO_GUID" val="f3187b2e-de49-4503-8652-03e3af6c1eb5"/>
</p:tagLst>
</file>

<file path=ppt/tags/tag1593.xml><?xml version="1.0" encoding="utf-8"?>
<p:tagLst xmlns:a="http://schemas.openxmlformats.org/drawingml/2006/main" xmlns:r="http://schemas.openxmlformats.org/officeDocument/2006/relationships" xmlns:p="http://schemas.openxmlformats.org/presentationml/2006/main">
  <p:tag name="MIO_GUID" val="731d9f18-a08a-49fb-a6ec-04296c01626d"/>
</p:tagLst>
</file>

<file path=ppt/tags/tag1594.xml><?xml version="1.0" encoding="utf-8"?>
<p:tagLst xmlns:a="http://schemas.openxmlformats.org/drawingml/2006/main" xmlns:r="http://schemas.openxmlformats.org/officeDocument/2006/relationships" xmlns:p="http://schemas.openxmlformats.org/presentationml/2006/main">
  <p:tag name="MIO_GUID" val="61c774e2-56ce-47af-8633-bbce208ac2b4"/>
</p:tagLst>
</file>

<file path=ppt/tags/tag1595.xml><?xml version="1.0" encoding="utf-8"?>
<p:tagLst xmlns:a="http://schemas.openxmlformats.org/drawingml/2006/main" xmlns:r="http://schemas.openxmlformats.org/officeDocument/2006/relationships" xmlns:p="http://schemas.openxmlformats.org/presentationml/2006/main">
  <p:tag name="MIO_GUID" val="b94d7356-9278-4920-ba20-29c7a31771e1"/>
</p:tagLst>
</file>

<file path=ppt/tags/tag1596.xml><?xml version="1.0" encoding="utf-8"?>
<p:tagLst xmlns:a="http://schemas.openxmlformats.org/drawingml/2006/main" xmlns:r="http://schemas.openxmlformats.org/officeDocument/2006/relationships" xmlns:p="http://schemas.openxmlformats.org/presentationml/2006/main">
  <p:tag name="MIO_GUID" val="52acb177-f74b-458c-93a9-0a0392eb2d90"/>
</p:tagLst>
</file>

<file path=ppt/tags/tag1597.xml><?xml version="1.0" encoding="utf-8"?>
<p:tagLst xmlns:a="http://schemas.openxmlformats.org/drawingml/2006/main" xmlns:r="http://schemas.openxmlformats.org/officeDocument/2006/relationships" xmlns:p="http://schemas.openxmlformats.org/presentationml/2006/main">
  <p:tag name="MIO_GUID" val="aea538d2-215e-452a-b3fc-f94df355a7bd"/>
</p:tagLst>
</file>

<file path=ppt/tags/tag1598.xml><?xml version="1.0" encoding="utf-8"?>
<p:tagLst xmlns:a="http://schemas.openxmlformats.org/drawingml/2006/main" xmlns:r="http://schemas.openxmlformats.org/officeDocument/2006/relationships" xmlns:p="http://schemas.openxmlformats.org/presentationml/2006/main">
  <p:tag name="MIO_GUID" val="4dbdfcff-474d-437c-89e4-bc18d0f06aac"/>
</p:tagLst>
</file>

<file path=ppt/tags/tag1599.xml><?xml version="1.0" encoding="utf-8"?>
<p:tagLst xmlns:a="http://schemas.openxmlformats.org/drawingml/2006/main" xmlns:r="http://schemas.openxmlformats.org/officeDocument/2006/relationships" xmlns:p="http://schemas.openxmlformats.org/presentationml/2006/main">
  <p:tag name="MIO_GUID" val="b12fab74-7216-4edc-83fe-88b533a03b00"/>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MIO_GUID" val="9c03e3b6-6266-4a5a-ae30-375ce25eb12c"/>
</p:tagLst>
</file>

<file path=ppt/tags/tag1600.xml><?xml version="1.0" encoding="utf-8"?>
<p:tagLst xmlns:a="http://schemas.openxmlformats.org/drawingml/2006/main" xmlns:r="http://schemas.openxmlformats.org/officeDocument/2006/relationships" xmlns:p="http://schemas.openxmlformats.org/presentationml/2006/main">
  <p:tag name="MIO_GUID" val="dfebc55d-f6bb-4327-880f-44db5a1cb444"/>
</p:tagLst>
</file>

<file path=ppt/tags/tag1601.xml><?xml version="1.0" encoding="utf-8"?>
<p:tagLst xmlns:a="http://schemas.openxmlformats.org/drawingml/2006/main" xmlns:r="http://schemas.openxmlformats.org/officeDocument/2006/relationships" xmlns:p="http://schemas.openxmlformats.org/presentationml/2006/main">
  <p:tag name="MIO_GUID" val="c3961077-ff17-4089-ac2f-d00cd99c107c"/>
</p:tagLst>
</file>

<file path=ppt/tags/tag1602.xml><?xml version="1.0" encoding="utf-8"?>
<p:tagLst xmlns:a="http://schemas.openxmlformats.org/drawingml/2006/main" xmlns:r="http://schemas.openxmlformats.org/officeDocument/2006/relationships" xmlns:p="http://schemas.openxmlformats.org/presentationml/2006/main">
  <p:tag name="MIO_GUID" val="f4901b15-3e8e-4e57-be56-96d4bdc42dc1"/>
</p:tagLst>
</file>

<file path=ppt/tags/tag1603.xml><?xml version="1.0" encoding="utf-8"?>
<p:tagLst xmlns:a="http://schemas.openxmlformats.org/drawingml/2006/main" xmlns:r="http://schemas.openxmlformats.org/officeDocument/2006/relationships" xmlns:p="http://schemas.openxmlformats.org/presentationml/2006/main">
  <p:tag name="MIO_GUID" val="6d10add9-e4af-4d6d-9a67-ba2b23c54f82"/>
</p:tagLst>
</file>

<file path=ppt/tags/tag1604.xml><?xml version="1.0" encoding="utf-8"?>
<p:tagLst xmlns:a="http://schemas.openxmlformats.org/drawingml/2006/main" xmlns:r="http://schemas.openxmlformats.org/officeDocument/2006/relationships" xmlns:p="http://schemas.openxmlformats.org/presentationml/2006/main">
  <p:tag name="MIO_GUID" val="05ab3283-b197-45a7-9b46-bd40dbf142d8"/>
</p:tagLst>
</file>

<file path=ppt/tags/tag1605.xml><?xml version="1.0" encoding="utf-8"?>
<p:tagLst xmlns:a="http://schemas.openxmlformats.org/drawingml/2006/main" xmlns:r="http://schemas.openxmlformats.org/officeDocument/2006/relationships" xmlns:p="http://schemas.openxmlformats.org/presentationml/2006/main">
  <p:tag name="MIO_GUID" val="188dc972-c2be-4d09-bc31-614df04cc98c"/>
</p:tagLst>
</file>

<file path=ppt/tags/tag1606.xml><?xml version="1.0" encoding="utf-8"?>
<p:tagLst xmlns:a="http://schemas.openxmlformats.org/drawingml/2006/main" xmlns:r="http://schemas.openxmlformats.org/officeDocument/2006/relationships" xmlns:p="http://schemas.openxmlformats.org/presentationml/2006/main">
  <p:tag name="MIO_GUID" val="77950f17-d923-49df-9d59-aef6aaf55e97"/>
</p:tagLst>
</file>

<file path=ppt/tags/tag1607.xml><?xml version="1.0" encoding="utf-8"?>
<p:tagLst xmlns:a="http://schemas.openxmlformats.org/drawingml/2006/main" xmlns:r="http://schemas.openxmlformats.org/officeDocument/2006/relationships" xmlns:p="http://schemas.openxmlformats.org/presentationml/2006/main">
  <p:tag name="MIO_GUID" val="ac41880e-a90e-4b54-bd68-b6ac702ee276"/>
</p:tagLst>
</file>

<file path=ppt/tags/tag1608.xml><?xml version="1.0" encoding="utf-8"?>
<p:tagLst xmlns:a="http://schemas.openxmlformats.org/drawingml/2006/main" xmlns:r="http://schemas.openxmlformats.org/officeDocument/2006/relationships" xmlns:p="http://schemas.openxmlformats.org/presentationml/2006/main">
  <p:tag name="MIO_GUID" val="c48a6a0e-0d29-4401-8649-d18239457493"/>
</p:tagLst>
</file>

<file path=ppt/tags/tag1609.xml><?xml version="1.0" encoding="utf-8"?>
<p:tagLst xmlns:a="http://schemas.openxmlformats.org/drawingml/2006/main" xmlns:r="http://schemas.openxmlformats.org/officeDocument/2006/relationships" xmlns:p="http://schemas.openxmlformats.org/presentationml/2006/main">
  <p:tag name="MIO_GUID" val="3fb93aff-78a5-4a9e-9717-7dd1a37fd433"/>
</p:tagLst>
</file>

<file path=ppt/tags/tag161.xml><?xml version="1.0" encoding="utf-8"?>
<p:tagLst xmlns:a="http://schemas.openxmlformats.org/drawingml/2006/main" xmlns:r="http://schemas.openxmlformats.org/officeDocument/2006/relationships" xmlns:p="http://schemas.openxmlformats.org/presentationml/2006/main">
  <p:tag name="MIO_GUID" val="1afe7a99-35cf-4936-a784-1679bedca3d7"/>
</p:tagLst>
</file>

<file path=ppt/tags/tag1610.xml><?xml version="1.0" encoding="utf-8"?>
<p:tagLst xmlns:a="http://schemas.openxmlformats.org/drawingml/2006/main" xmlns:r="http://schemas.openxmlformats.org/officeDocument/2006/relationships" xmlns:p="http://schemas.openxmlformats.org/presentationml/2006/main">
  <p:tag name="MIO_GUID" val="bb4bbf9e-b063-46a1-bc5b-f045d6971951"/>
</p:tagLst>
</file>

<file path=ppt/tags/tag1611.xml><?xml version="1.0" encoding="utf-8"?>
<p:tagLst xmlns:a="http://schemas.openxmlformats.org/drawingml/2006/main" xmlns:r="http://schemas.openxmlformats.org/officeDocument/2006/relationships" xmlns:p="http://schemas.openxmlformats.org/presentationml/2006/main">
  <p:tag name="MIO_GUID" val="b94b9370-bb7f-4f45-89f6-33b7e495171b"/>
</p:tagLst>
</file>

<file path=ppt/tags/tag1612.xml><?xml version="1.0" encoding="utf-8"?>
<p:tagLst xmlns:a="http://schemas.openxmlformats.org/drawingml/2006/main" xmlns:r="http://schemas.openxmlformats.org/officeDocument/2006/relationships" xmlns:p="http://schemas.openxmlformats.org/presentationml/2006/main">
  <p:tag name="MIO_GUID" val="bc415f6d-d94e-4318-8c8d-e2de20ea8ce3"/>
</p:tagLst>
</file>

<file path=ppt/tags/tag1613.xml><?xml version="1.0" encoding="utf-8"?>
<p:tagLst xmlns:a="http://schemas.openxmlformats.org/drawingml/2006/main" xmlns:r="http://schemas.openxmlformats.org/officeDocument/2006/relationships" xmlns:p="http://schemas.openxmlformats.org/presentationml/2006/main">
  <p:tag name="MIO_GUID" val="699f5492-f8e3-4627-8611-0950ece19d9f"/>
</p:tagLst>
</file>

<file path=ppt/tags/tag1614.xml><?xml version="1.0" encoding="utf-8"?>
<p:tagLst xmlns:a="http://schemas.openxmlformats.org/drawingml/2006/main" xmlns:r="http://schemas.openxmlformats.org/officeDocument/2006/relationships" xmlns:p="http://schemas.openxmlformats.org/presentationml/2006/main">
  <p:tag name="MIO_GUID" val="8f3ffd10-3871-4244-a29e-d8d34997900a"/>
</p:tagLst>
</file>

<file path=ppt/tags/tag1615.xml><?xml version="1.0" encoding="utf-8"?>
<p:tagLst xmlns:a="http://schemas.openxmlformats.org/drawingml/2006/main" xmlns:r="http://schemas.openxmlformats.org/officeDocument/2006/relationships" xmlns:p="http://schemas.openxmlformats.org/presentationml/2006/main">
  <p:tag name="MIO_GUID" val="d4daf793-f504-4643-bf30-da927168e6f0"/>
</p:tagLst>
</file>

<file path=ppt/tags/tag1616.xml><?xml version="1.0" encoding="utf-8"?>
<p:tagLst xmlns:a="http://schemas.openxmlformats.org/drawingml/2006/main" xmlns:r="http://schemas.openxmlformats.org/officeDocument/2006/relationships" xmlns:p="http://schemas.openxmlformats.org/presentationml/2006/main">
  <p:tag name="MIO_GUID" val="cde81f7c-ccc6-4922-a343-d71a42e4edec"/>
</p:tagLst>
</file>

<file path=ppt/tags/tag1617.xml><?xml version="1.0" encoding="utf-8"?>
<p:tagLst xmlns:a="http://schemas.openxmlformats.org/drawingml/2006/main" xmlns:r="http://schemas.openxmlformats.org/officeDocument/2006/relationships" xmlns:p="http://schemas.openxmlformats.org/presentationml/2006/main">
  <p:tag name="MIO_GUID" val="505b6003-d1e3-4cda-9436-905538da6cb1"/>
</p:tagLst>
</file>

<file path=ppt/tags/tag1618.xml><?xml version="1.0" encoding="utf-8"?>
<p:tagLst xmlns:a="http://schemas.openxmlformats.org/drawingml/2006/main" xmlns:r="http://schemas.openxmlformats.org/officeDocument/2006/relationships" xmlns:p="http://schemas.openxmlformats.org/presentationml/2006/main">
  <p:tag name="MIO_GUID" val="e80a44ae-4ed6-444d-93e2-a61929613e35"/>
</p:tagLst>
</file>

<file path=ppt/tags/tag1619.xml><?xml version="1.0" encoding="utf-8"?>
<p:tagLst xmlns:a="http://schemas.openxmlformats.org/drawingml/2006/main" xmlns:r="http://schemas.openxmlformats.org/officeDocument/2006/relationships" xmlns:p="http://schemas.openxmlformats.org/presentationml/2006/main">
  <p:tag name="MIO_GUID" val="733fc17f-364b-47a0-9870-afeeff915f54"/>
</p:tagLst>
</file>

<file path=ppt/tags/tag162.xml><?xml version="1.0" encoding="utf-8"?>
<p:tagLst xmlns:a="http://schemas.openxmlformats.org/drawingml/2006/main" xmlns:r="http://schemas.openxmlformats.org/officeDocument/2006/relationships" xmlns:p="http://schemas.openxmlformats.org/presentationml/2006/main">
  <p:tag name="MIO_GUID" val="bbdedd8f-d32b-447b-a882-9f712c34149a"/>
</p:tagLst>
</file>

<file path=ppt/tags/tag1620.xml><?xml version="1.0" encoding="utf-8"?>
<p:tagLst xmlns:a="http://schemas.openxmlformats.org/drawingml/2006/main" xmlns:r="http://schemas.openxmlformats.org/officeDocument/2006/relationships" xmlns:p="http://schemas.openxmlformats.org/presentationml/2006/main">
  <p:tag name="MIO_GUID" val="9f20f57e-adef-4847-9870-1f29df5e3ec9"/>
</p:tagLst>
</file>

<file path=ppt/tags/tag1621.xml><?xml version="1.0" encoding="utf-8"?>
<p:tagLst xmlns:a="http://schemas.openxmlformats.org/drawingml/2006/main" xmlns:r="http://schemas.openxmlformats.org/officeDocument/2006/relationships" xmlns:p="http://schemas.openxmlformats.org/presentationml/2006/main">
  <p:tag name="MIO_GUID" val="1c765935-422a-4304-a11b-266565b787e6"/>
</p:tagLst>
</file>

<file path=ppt/tags/tag1622.xml><?xml version="1.0" encoding="utf-8"?>
<p:tagLst xmlns:a="http://schemas.openxmlformats.org/drawingml/2006/main" xmlns:r="http://schemas.openxmlformats.org/officeDocument/2006/relationships" xmlns:p="http://schemas.openxmlformats.org/presentationml/2006/main">
  <p:tag name="MIO_GUID" val="57794eb1-9cca-46a5-8c95-8fe6cdd1bc79"/>
</p:tagLst>
</file>

<file path=ppt/tags/tag1623.xml><?xml version="1.0" encoding="utf-8"?>
<p:tagLst xmlns:a="http://schemas.openxmlformats.org/drawingml/2006/main" xmlns:r="http://schemas.openxmlformats.org/officeDocument/2006/relationships" xmlns:p="http://schemas.openxmlformats.org/presentationml/2006/main">
  <p:tag name="MIO_GUID" val="abc381ca-e88b-4499-abc6-ba208f22fed9"/>
</p:tagLst>
</file>

<file path=ppt/tags/tag1624.xml><?xml version="1.0" encoding="utf-8"?>
<p:tagLst xmlns:a="http://schemas.openxmlformats.org/drawingml/2006/main" xmlns:r="http://schemas.openxmlformats.org/officeDocument/2006/relationships" xmlns:p="http://schemas.openxmlformats.org/presentationml/2006/main">
  <p:tag name="MIO_GUID" val="08a27079-6516-4edd-986f-95e813554614"/>
</p:tagLst>
</file>

<file path=ppt/tags/tag1625.xml><?xml version="1.0" encoding="utf-8"?>
<p:tagLst xmlns:a="http://schemas.openxmlformats.org/drawingml/2006/main" xmlns:r="http://schemas.openxmlformats.org/officeDocument/2006/relationships" xmlns:p="http://schemas.openxmlformats.org/presentationml/2006/main">
  <p:tag name="MIO_GUID" val="84880cfd-e7ef-4566-88b1-aa7e3cfa41b9"/>
</p:tagLst>
</file>

<file path=ppt/tags/tag1626.xml><?xml version="1.0" encoding="utf-8"?>
<p:tagLst xmlns:a="http://schemas.openxmlformats.org/drawingml/2006/main" xmlns:r="http://schemas.openxmlformats.org/officeDocument/2006/relationships" xmlns:p="http://schemas.openxmlformats.org/presentationml/2006/main">
  <p:tag name="MIO_GUID" val="4fdc4883-9bce-4da5-8ebe-e7cd5bee29fe"/>
</p:tagLst>
</file>

<file path=ppt/tags/tag1627.xml><?xml version="1.0" encoding="utf-8"?>
<p:tagLst xmlns:a="http://schemas.openxmlformats.org/drawingml/2006/main" xmlns:r="http://schemas.openxmlformats.org/officeDocument/2006/relationships" xmlns:p="http://schemas.openxmlformats.org/presentationml/2006/main">
  <p:tag name="MIO_GUID" val="47412174-428f-49dc-9284-338bf266253d"/>
</p:tagLst>
</file>

<file path=ppt/tags/tag1628.xml><?xml version="1.0" encoding="utf-8"?>
<p:tagLst xmlns:a="http://schemas.openxmlformats.org/drawingml/2006/main" xmlns:r="http://schemas.openxmlformats.org/officeDocument/2006/relationships" xmlns:p="http://schemas.openxmlformats.org/presentationml/2006/main">
  <p:tag name="MIO_GUID" val="f3cde77f-e5ba-4fda-8051-fa2aec64f84c"/>
</p:tagLst>
</file>

<file path=ppt/tags/tag1629.xml><?xml version="1.0" encoding="utf-8"?>
<p:tagLst xmlns:a="http://schemas.openxmlformats.org/drawingml/2006/main" xmlns:r="http://schemas.openxmlformats.org/officeDocument/2006/relationships" xmlns:p="http://schemas.openxmlformats.org/presentationml/2006/main">
  <p:tag name="MIO_GUID" val="041c0d66-fee5-49b8-acd3-fe2a5d488bd8"/>
</p:tagLst>
</file>

<file path=ppt/tags/tag163.xml><?xml version="1.0" encoding="utf-8"?>
<p:tagLst xmlns:a="http://schemas.openxmlformats.org/drawingml/2006/main" xmlns:r="http://schemas.openxmlformats.org/officeDocument/2006/relationships" xmlns:p="http://schemas.openxmlformats.org/presentationml/2006/main">
  <p:tag name="MIO_GUID" val="3c7a5ebc-d510-4aca-b67d-ce39936b1f71"/>
</p:tagLst>
</file>

<file path=ppt/tags/tag1630.xml><?xml version="1.0" encoding="utf-8"?>
<p:tagLst xmlns:a="http://schemas.openxmlformats.org/drawingml/2006/main" xmlns:r="http://schemas.openxmlformats.org/officeDocument/2006/relationships" xmlns:p="http://schemas.openxmlformats.org/presentationml/2006/main">
  <p:tag name="MIO_GUID" val="782fade3-0e44-494f-82f0-a639d33634d0"/>
</p:tagLst>
</file>

<file path=ppt/tags/tag1631.xml><?xml version="1.0" encoding="utf-8"?>
<p:tagLst xmlns:a="http://schemas.openxmlformats.org/drawingml/2006/main" xmlns:r="http://schemas.openxmlformats.org/officeDocument/2006/relationships" xmlns:p="http://schemas.openxmlformats.org/presentationml/2006/main">
  <p:tag name="MIO_GUID" val="b139f0d8-164c-4226-8ae3-07ff9b45f958"/>
</p:tagLst>
</file>

<file path=ppt/tags/tag1632.xml><?xml version="1.0" encoding="utf-8"?>
<p:tagLst xmlns:a="http://schemas.openxmlformats.org/drawingml/2006/main" xmlns:r="http://schemas.openxmlformats.org/officeDocument/2006/relationships" xmlns:p="http://schemas.openxmlformats.org/presentationml/2006/main">
  <p:tag name="MIO_GUID" val="3bc59d2a-b007-4232-8dd7-f97c7680854a"/>
</p:tagLst>
</file>

<file path=ppt/tags/tag1633.xml><?xml version="1.0" encoding="utf-8"?>
<p:tagLst xmlns:a="http://schemas.openxmlformats.org/drawingml/2006/main" xmlns:r="http://schemas.openxmlformats.org/officeDocument/2006/relationships" xmlns:p="http://schemas.openxmlformats.org/presentationml/2006/main">
  <p:tag name="MIO_GUID" val="95211050-3951-4247-83ca-b593962aa7c4"/>
</p:tagLst>
</file>

<file path=ppt/tags/tag1634.xml><?xml version="1.0" encoding="utf-8"?>
<p:tagLst xmlns:a="http://schemas.openxmlformats.org/drawingml/2006/main" xmlns:r="http://schemas.openxmlformats.org/officeDocument/2006/relationships" xmlns:p="http://schemas.openxmlformats.org/presentationml/2006/main">
  <p:tag name="MIO_GUID" val="338a75b9-c258-4a66-a04f-ee3cc9f2af29"/>
</p:tagLst>
</file>

<file path=ppt/tags/tag1635.xml><?xml version="1.0" encoding="utf-8"?>
<p:tagLst xmlns:a="http://schemas.openxmlformats.org/drawingml/2006/main" xmlns:r="http://schemas.openxmlformats.org/officeDocument/2006/relationships" xmlns:p="http://schemas.openxmlformats.org/presentationml/2006/main">
  <p:tag name="MIO_GUID" val="76f671ab-de3a-41a3-bbbb-06e0a5b148cc"/>
</p:tagLst>
</file>

<file path=ppt/tags/tag1636.xml><?xml version="1.0" encoding="utf-8"?>
<p:tagLst xmlns:a="http://schemas.openxmlformats.org/drawingml/2006/main" xmlns:r="http://schemas.openxmlformats.org/officeDocument/2006/relationships" xmlns:p="http://schemas.openxmlformats.org/presentationml/2006/main">
  <p:tag name="MIO_GUID" val="097cf138-ca80-479f-ae4c-c352bab1130e"/>
</p:tagLst>
</file>

<file path=ppt/tags/tag1637.xml><?xml version="1.0" encoding="utf-8"?>
<p:tagLst xmlns:a="http://schemas.openxmlformats.org/drawingml/2006/main" xmlns:r="http://schemas.openxmlformats.org/officeDocument/2006/relationships" xmlns:p="http://schemas.openxmlformats.org/presentationml/2006/main">
  <p:tag name="MIO_GUID" val="f2f3ddd1-d012-4316-aa80-da05e919e47a"/>
</p:tagLst>
</file>

<file path=ppt/tags/tag1638.xml><?xml version="1.0" encoding="utf-8"?>
<p:tagLst xmlns:a="http://schemas.openxmlformats.org/drawingml/2006/main" xmlns:r="http://schemas.openxmlformats.org/officeDocument/2006/relationships" xmlns:p="http://schemas.openxmlformats.org/presentationml/2006/main">
  <p:tag name="MIO_GUID" val="0a605872-b39f-4c8b-bea8-863eb22af528"/>
</p:tagLst>
</file>

<file path=ppt/tags/tag1639.xml><?xml version="1.0" encoding="utf-8"?>
<p:tagLst xmlns:a="http://schemas.openxmlformats.org/drawingml/2006/main" xmlns:r="http://schemas.openxmlformats.org/officeDocument/2006/relationships" xmlns:p="http://schemas.openxmlformats.org/presentationml/2006/main">
  <p:tag name="MIO_GUID" val="2bd63ba0-d7b0-45d0-95d7-ee8accabe08d"/>
</p:tagLst>
</file>

<file path=ppt/tags/tag164.xml><?xml version="1.0" encoding="utf-8"?>
<p:tagLst xmlns:a="http://schemas.openxmlformats.org/drawingml/2006/main" xmlns:r="http://schemas.openxmlformats.org/officeDocument/2006/relationships" xmlns:p="http://schemas.openxmlformats.org/presentationml/2006/main">
  <p:tag name="MIO_GUID" val="35c8ffe6-a6e4-41e5-86e3-8b821dca8fed"/>
</p:tagLst>
</file>

<file path=ppt/tags/tag1640.xml><?xml version="1.0" encoding="utf-8"?>
<p:tagLst xmlns:a="http://schemas.openxmlformats.org/drawingml/2006/main" xmlns:r="http://schemas.openxmlformats.org/officeDocument/2006/relationships" xmlns:p="http://schemas.openxmlformats.org/presentationml/2006/main">
  <p:tag name="MIO_GUID" val="7b70ae98-316a-4a98-8648-0ffa13421190"/>
</p:tagLst>
</file>

<file path=ppt/tags/tag1641.xml><?xml version="1.0" encoding="utf-8"?>
<p:tagLst xmlns:a="http://schemas.openxmlformats.org/drawingml/2006/main" xmlns:r="http://schemas.openxmlformats.org/officeDocument/2006/relationships" xmlns:p="http://schemas.openxmlformats.org/presentationml/2006/main">
  <p:tag name="MIO_GUID" val="6fb4fa4b-c7ab-4cd1-8dd2-f78cd5d07308"/>
</p:tagLst>
</file>

<file path=ppt/tags/tag1642.xml><?xml version="1.0" encoding="utf-8"?>
<p:tagLst xmlns:a="http://schemas.openxmlformats.org/drawingml/2006/main" xmlns:r="http://schemas.openxmlformats.org/officeDocument/2006/relationships" xmlns:p="http://schemas.openxmlformats.org/presentationml/2006/main">
  <p:tag name="MIO_GUID" val="081d1628-bad0-49ff-911f-673e155b8913"/>
</p:tagLst>
</file>

<file path=ppt/tags/tag1643.xml><?xml version="1.0" encoding="utf-8"?>
<p:tagLst xmlns:a="http://schemas.openxmlformats.org/drawingml/2006/main" xmlns:r="http://schemas.openxmlformats.org/officeDocument/2006/relationships" xmlns:p="http://schemas.openxmlformats.org/presentationml/2006/main">
  <p:tag name="MIO_GUID" val="c442ed37-7c48-40fb-a166-4709a197f19c"/>
</p:tagLst>
</file>

<file path=ppt/tags/tag1644.xml><?xml version="1.0" encoding="utf-8"?>
<p:tagLst xmlns:a="http://schemas.openxmlformats.org/drawingml/2006/main" xmlns:r="http://schemas.openxmlformats.org/officeDocument/2006/relationships" xmlns:p="http://schemas.openxmlformats.org/presentationml/2006/main">
  <p:tag name="MIO_GUID" val="b96c21cb-fbda-45d9-975c-d0e5e25d8004"/>
</p:tagLst>
</file>

<file path=ppt/tags/tag1645.xml><?xml version="1.0" encoding="utf-8"?>
<p:tagLst xmlns:a="http://schemas.openxmlformats.org/drawingml/2006/main" xmlns:r="http://schemas.openxmlformats.org/officeDocument/2006/relationships" xmlns:p="http://schemas.openxmlformats.org/presentationml/2006/main">
  <p:tag name="MIO_GUID" val="8b2c0ed3-420a-406e-a5e0-5fe8e70a17dd"/>
</p:tagLst>
</file>

<file path=ppt/tags/tag1646.xml><?xml version="1.0" encoding="utf-8"?>
<p:tagLst xmlns:a="http://schemas.openxmlformats.org/drawingml/2006/main" xmlns:r="http://schemas.openxmlformats.org/officeDocument/2006/relationships" xmlns:p="http://schemas.openxmlformats.org/presentationml/2006/main">
  <p:tag name="MIO_GUID" val="13f837fc-0d6b-4749-a85d-903b426ac35f"/>
</p:tagLst>
</file>

<file path=ppt/tags/tag1647.xml><?xml version="1.0" encoding="utf-8"?>
<p:tagLst xmlns:a="http://schemas.openxmlformats.org/drawingml/2006/main" xmlns:r="http://schemas.openxmlformats.org/officeDocument/2006/relationships" xmlns:p="http://schemas.openxmlformats.org/presentationml/2006/main">
  <p:tag name="MIO_GUID" val="51e22b7b-5408-4294-9c6d-cbc25c416cc0"/>
</p:tagLst>
</file>

<file path=ppt/tags/tag1648.xml><?xml version="1.0" encoding="utf-8"?>
<p:tagLst xmlns:a="http://schemas.openxmlformats.org/drawingml/2006/main" xmlns:r="http://schemas.openxmlformats.org/officeDocument/2006/relationships" xmlns:p="http://schemas.openxmlformats.org/presentationml/2006/main">
  <p:tag name="MIO_GUID" val="a18df8dd-0600-46fa-aa77-ab72f4948379"/>
</p:tagLst>
</file>

<file path=ppt/tags/tag1649.xml><?xml version="1.0" encoding="utf-8"?>
<p:tagLst xmlns:a="http://schemas.openxmlformats.org/drawingml/2006/main" xmlns:r="http://schemas.openxmlformats.org/officeDocument/2006/relationships" xmlns:p="http://schemas.openxmlformats.org/presentationml/2006/main">
  <p:tag name="MIO_GUID" val="75859af5-3f00-472a-91b1-f3efa88cfb67"/>
</p:tagLst>
</file>

<file path=ppt/tags/tag165.xml><?xml version="1.0" encoding="utf-8"?>
<p:tagLst xmlns:a="http://schemas.openxmlformats.org/drawingml/2006/main" xmlns:r="http://schemas.openxmlformats.org/officeDocument/2006/relationships" xmlns:p="http://schemas.openxmlformats.org/presentationml/2006/main">
  <p:tag name="MIO_GUID" val="172a2fed-b6a5-4a80-936b-4aa904936c88"/>
</p:tagLst>
</file>

<file path=ppt/tags/tag1650.xml><?xml version="1.0" encoding="utf-8"?>
<p:tagLst xmlns:a="http://schemas.openxmlformats.org/drawingml/2006/main" xmlns:r="http://schemas.openxmlformats.org/officeDocument/2006/relationships" xmlns:p="http://schemas.openxmlformats.org/presentationml/2006/main">
  <p:tag name="MIO_GUID" val="05db5cf1-2265-4465-a82c-524fc1797068"/>
</p:tagLst>
</file>

<file path=ppt/tags/tag1651.xml><?xml version="1.0" encoding="utf-8"?>
<p:tagLst xmlns:a="http://schemas.openxmlformats.org/drawingml/2006/main" xmlns:r="http://schemas.openxmlformats.org/officeDocument/2006/relationships" xmlns:p="http://schemas.openxmlformats.org/presentationml/2006/main">
  <p:tag name="MIO_GUID" val="78b3316a-611c-4d37-b818-b9a8693d70df"/>
</p:tagLst>
</file>

<file path=ppt/tags/tag1652.xml><?xml version="1.0" encoding="utf-8"?>
<p:tagLst xmlns:a="http://schemas.openxmlformats.org/drawingml/2006/main" xmlns:r="http://schemas.openxmlformats.org/officeDocument/2006/relationships" xmlns:p="http://schemas.openxmlformats.org/presentationml/2006/main">
  <p:tag name="MIO_GUID" val="368063ad-1bac-4b71-b791-671a21dda1f4"/>
</p:tagLst>
</file>

<file path=ppt/tags/tag1653.xml><?xml version="1.0" encoding="utf-8"?>
<p:tagLst xmlns:a="http://schemas.openxmlformats.org/drawingml/2006/main" xmlns:r="http://schemas.openxmlformats.org/officeDocument/2006/relationships" xmlns:p="http://schemas.openxmlformats.org/presentationml/2006/main">
  <p:tag name="MIO_GUID" val="cf9385ac-afb3-45af-847e-c1a85cba9d5c"/>
</p:tagLst>
</file>

<file path=ppt/tags/tag1654.xml><?xml version="1.0" encoding="utf-8"?>
<p:tagLst xmlns:a="http://schemas.openxmlformats.org/drawingml/2006/main" xmlns:r="http://schemas.openxmlformats.org/officeDocument/2006/relationships" xmlns:p="http://schemas.openxmlformats.org/presentationml/2006/main">
  <p:tag name="MIO_GUID" val="33cd6ded-552f-474f-80a6-56b1a6a72714"/>
</p:tagLst>
</file>

<file path=ppt/tags/tag1655.xml><?xml version="1.0" encoding="utf-8"?>
<p:tagLst xmlns:a="http://schemas.openxmlformats.org/drawingml/2006/main" xmlns:r="http://schemas.openxmlformats.org/officeDocument/2006/relationships" xmlns:p="http://schemas.openxmlformats.org/presentationml/2006/main">
  <p:tag name="MIO_GUID" val="b20bb3b7-90eb-4180-bb00-424b6cd964e1"/>
</p:tagLst>
</file>

<file path=ppt/tags/tag1656.xml><?xml version="1.0" encoding="utf-8"?>
<p:tagLst xmlns:a="http://schemas.openxmlformats.org/drawingml/2006/main" xmlns:r="http://schemas.openxmlformats.org/officeDocument/2006/relationships" xmlns:p="http://schemas.openxmlformats.org/presentationml/2006/main">
  <p:tag name="MIO_GUID" val="b994dd87-1db2-4c85-813c-970e4f3d7f5e"/>
</p:tagLst>
</file>

<file path=ppt/tags/tag1657.xml><?xml version="1.0" encoding="utf-8"?>
<p:tagLst xmlns:a="http://schemas.openxmlformats.org/drawingml/2006/main" xmlns:r="http://schemas.openxmlformats.org/officeDocument/2006/relationships" xmlns:p="http://schemas.openxmlformats.org/presentationml/2006/main">
  <p:tag name="MIO_GUID" val="0157b298-18ff-4f28-9af9-d35f0304025a"/>
</p:tagLst>
</file>

<file path=ppt/tags/tag1658.xml><?xml version="1.0" encoding="utf-8"?>
<p:tagLst xmlns:a="http://schemas.openxmlformats.org/drawingml/2006/main" xmlns:r="http://schemas.openxmlformats.org/officeDocument/2006/relationships" xmlns:p="http://schemas.openxmlformats.org/presentationml/2006/main">
  <p:tag name="MIO_GUID" val="636cb683-3290-4a71-8450-eeabea0da391"/>
</p:tagLst>
</file>

<file path=ppt/tags/tag1659.xml><?xml version="1.0" encoding="utf-8"?>
<p:tagLst xmlns:a="http://schemas.openxmlformats.org/drawingml/2006/main" xmlns:r="http://schemas.openxmlformats.org/officeDocument/2006/relationships" xmlns:p="http://schemas.openxmlformats.org/presentationml/2006/main">
  <p:tag name="MIO_GUID" val="e4b5314b-b586-4209-b0c7-22bf34e1d6d3"/>
</p:tagLst>
</file>

<file path=ppt/tags/tag166.xml><?xml version="1.0" encoding="utf-8"?>
<p:tagLst xmlns:a="http://schemas.openxmlformats.org/drawingml/2006/main" xmlns:r="http://schemas.openxmlformats.org/officeDocument/2006/relationships" xmlns:p="http://schemas.openxmlformats.org/presentationml/2006/main">
  <p:tag name="MIO_GUID" val="f4e07df1-8eee-4039-b857-e8c5a6b71458"/>
</p:tagLst>
</file>

<file path=ppt/tags/tag1660.xml><?xml version="1.0" encoding="utf-8"?>
<p:tagLst xmlns:a="http://schemas.openxmlformats.org/drawingml/2006/main" xmlns:r="http://schemas.openxmlformats.org/officeDocument/2006/relationships" xmlns:p="http://schemas.openxmlformats.org/presentationml/2006/main">
  <p:tag name="MIO_GUID" val="02a0c2f1-1759-4c13-bbfc-ea2d76e90058"/>
</p:tagLst>
</file>

<file path=ppt/tags/tag1661.xml><?xml version="1.0" encoding="utf-8"?>
<p:tagLst xmlns:a="http://schemas.openxmlformats.org/drawingml/2006/main" xmlns:r="http://schemas.openxmlformats.org/officeDocument/2006/relationships" xmlns:p="http://schemas.openxmlformats.org/presentationml/2006/main">
  <p:tag name="MIO_GUID" val="5445526c-bcf8-4d32-b687-c538719d1386"/>
</p:tagLst>
</file>

<file path=ppt/tags/tag1662.xml><?xml version="1.0" encoding="utf-8"?>
<p:tagLst xmlns:a="http://schemas.openxmlformats.org/drawingml/2006/main" xmlns:r="http://schemas.openxmlformats.org/officeDocument/2006/relationships" xmlns:p="http://schemas.openxmlformats.org/presentationml/2006/main">
  <p:tag name="MIO_GUID" val="d67bbbb7-6bd7-4984-9e89-38725493d040"/>
</p:tagLst>
</file>

<file path=ppt/tags/tag1663.xml><?xml version="1.0" encoding="utf-8"?>
<p:tagLst xmlns:a="http://schemas.openxmlformats.org/drawingml/2006/main" xmlns:r="http://schemas.openxmlformats.org/officeDocument/2006/relationships" xmlns:p="http://schemas.openxmlformats.org/presentationml/2006/main">
  <p:tag name="MIO_GUID" val="412a01ff-cb6e-4eb2-9fa8-b97d0329df3f"/>
</p:tagLst>
</file>

<file path=ppt/tags/tag1664.xml><?xml version="1.0" encoding="utf-8"?>
<p:tagLst xmlns:a="http://schemas.openxmlformats.org/drawingml/2006/main" xmlns:r="http://schemas.openxmlformats.org/officeDocument/2006/relationships" xmlns:p="http://schemas.openxmlformats.org/presentationml/2006/main">
  <p:tag name="MIO_GUID" val="cb021028-abc9-4579-bcb5-f8c50ac10dfb"/>
</p:tagLst>
</file>

<file path=ppt/tags/tag1665.xml><?xml version="1.0" encoding="utf-8"?>
<p:tagLst xmlns:a="http://schemas.openxmlformats.org/drawingml/2006/main" xmlns:r="http://schemas.openxmlformats.org/officeDocument/2006/relationships" xmlns:p="http://schemas.openxmlformats.org/presentationml/2006/main">
  <p:tag name="MIO_GUID" val="382a720d-3139-46a9-9bf1-3ac487b6976a"/>
</p:tagLst>
</file>

<file path=ppt/tags/tag1666.xml><?xml version="1.0" encoding="utf-8"?>
<p:tagLst xmlns:a="http://schemas.openxmlformats.org/drawingml/2006/main" xmlns:r="http://schemas.openxmlformats.org/officeDocument/2006/relationships" xmlns:p="http://schemas.openxmlformats.org/presentationml/2006/main">
  <p:tag name="MIO_GUID" val="1a4a35cd-9963-45d7-ac96-04d427228e54"/>
</p:tagLst>
</file>

<file path=ppt/tags/tag1667.xml><?xml version="1.0" encoding="utf-8"?>
<p:tagLst xmlns:a="http://schemas.openxmlformats.org/drawingml/2006/main" xmlns:r="http://schemas.openxmlformats.org/officeDocument/2006/relationships" xmlns:p="http://schemas.openxmlformats.org/presentationml/2006/main">
  <p:tag name="MIO_GUID" val="8647722d-b8d6-4459-a1e2-c17ff1977b09"/>
</p:tagLst>
</file>

<file path=ppt/tags/tag1668.xml><?xml version="1.0" encoding="utf-8"?>
<p:tagLst xmlns:a="http://schemas.openxmlformats.org/drawingml/2006/main" xmlns:r="http://schemas.openxmlformats.org/officeDocument/2006/relationships" xmlns:p="http://schemas.openxmlformats.org/presentationml/2006/main">
  <p:tag name="MIO_GUID" val="943f44ce-5949-48a6-8319-c0f2a17406a4"/>
</p:tagLst>
</file>

<file path=ppt/tags/tag1669.xml><?xml version="1.0" encoding="utf-8"?>
<p:tagLst xmlns:a="http://schemas.openxmlformats.org/drawingml/2006/main" xmlns:r="http://schemas.openxmlformats.org/officeDocument/2006/relationships" xmlns:p="http://schemas.openxmlformats.org/presentationml/2006/main">
  <p:tag name="MIO_GUID" val="45e213c2-e3ba-468c-bc40-428f2f152d5f"/>
</p:tagLst>
</file>

<file path=ppt/tags/tag167.xml><?xml version="1.0" encoding="utf-8"?>
<p:tagLst xmlns:a="http://schemas.openxmlformats.org/drawingml/2006/main" xmlns:r="http://schemas.openxmlformats.org/officeDocument/2006/relationships" xmlns:p="http://schemas.openxmlformats.org/presentationml/2006/main">
  <p:tag name="MIO_GUID" val="95b21a77-27f9-4c78-bb95-d2f2ca8a32be"/>
</p:tagLst>
</file>

<file path=ppt/tags/tag1670.xml><?xml version="1.0" encoding="utf-8"?>
<p:tagLst xmlns:a="http://schemas.openxmlformats.org/drawingml/2006/main" xmlns:r="http://schemas.openxmlformats.org/officeDocument/2006/relationships" xmlns:p="http://schemas.openxmlformats.org/presentationml/2006/main">
  <p:tag name="MIO_GUID" val="1040ab7b-02c1-4df4-9de0-6b021742d9a3"/>
</p:tagLst>
</file>

<file path=ppt/tags/tag1671.xml><?xml version="1.0" encoding="utf-8"?>
<p:tagLst xmlns:a="http://schemas.openxmlformats.org/drawingml/2006/main" xmlns:r="http://schemas.openxmlformats.org/officeDocument/2006/relationships" xmlns:p="http://schemas.openxmlformats.org/presentationml/2006/main">
  <p:tag name="MIO_GUID" val="ee2d1f6c-a267-46d5-92e7-ca6841afba3a"/>
</p:tagLst>
</file>

<file path=ppt/tags/tag1672.xml><?xml version="1.0" encoding="utf-8"?>
<p:tagLst xmlns:a="http://schemas.openxmlformats.org/drawingml/2006/main" xmlns:r="http://schemas.openxmlformats.org/officeDocument/2006/relationships" xmlns:p="http://schemas.openxmlformats.org/presentationml/2006/main">
  <p:tag name="MIO_GUID" val="987b40bd-6728-498f-a3fc-b2783a62eff3"/>
</p:tagLst>
</file>

<file path=ppt/tags/tag1673.xml><?xml version="1.0" encoding="utf-8"?>
<p:tagLst xmlns:a="http://schemas.openxmlformats.org/drawingml/2006/main" xmlns:r="http://schemas.openxmlformats.org/officeDocument/2006/relationships" xmlns:p="http://schemas.openxmlformats.org/presentationml/2006/main">
  <p:tag name="MIO_GUID" val="786ccfd5-d261-4160-8a3f-c7d42f41c06d"/>
</p:tagLst>
</file>

<file path=ppt/tags/tag1674.xml><?xml version="1.0" encoding="utf-8"?>
<p:tagLst xmlns:a="http://schemas.openxmlformats.org/drawingml/2006/main" xmlns:r="http://schemas.openxmlformats.org/officeDocument/2006/relationships" xmlns:p="http://schemas.openxmlformats.org/presentationml/2006/main">
  <p:tag name="MIO_GUID" val="22961453-dbf9-4440-a261-a5a5dd8add9f"/>
</p:tagLst>
</file>

<file path=ppt/tags/tag1675.xml><?xml version="1.0" encoding="utf-8"?>
<p:tagLst xmlns:a="http://schemas.openxmlformats.org/drawingml/2006/main" xmlns:r="http://schemas.openxmlformats.org/officeDocument/2006/relationships" xmlns:p="http://schemas.openxmlformats.org/presentationml/2006/main">
  <p:tag name="MIO_GUID" val="44c832fb-5c8a-4936-b10a-6ddb1824cd8b"/>
</p:tagLst>
</file>

<file path=ppt/tags/tag1676.xml><?xml version="1.0" encoding="utf-8"?>
<p:tagLst xmlns:a="http://schemas.openxmlformats.org/drawingml/2006/main" xmlns:r="http://schemas.openxmlformats.org/officeDocument/2006/relationships" xmlns:p="http://schemas.openxmlformats.org/presentationml/2006/main">
  <p:tag name="MIO_GUID" val="fcf09a26-c3c5-49f5-b9ae-282cdb517a73"/>
</p:tagLst>
</file>

<file path=ppt/tags/tag1677.xml><?xml version="1.0" encoding="utf-8"?>
<p:tagLst xmlns:a="http://schemas.openxmlformats.org/drawingml/2006/main" xmlns:r="http://schemas.openxmlformats.org/officeDocument/2006/relationships" xmlns:p="http://schemas.openxmlformats.org/presentationml/2006/main">
  <p:tag name="MIO_GUID" val="764d81ea-78be-40e3-bf68-8978a70f5bb0"/>
</p:tagLst>
</file>

<file path=ppt/tags/tag1678.xml><?xml version="1.0" encoding="utf-8"?>
<p:tagLst xmlns:a="http://schemas.openxmlformats.org/drawingml/2006/main" xmlns:r="http://schemas.openxmlformats.org/officeDocument/2006/relationships" xmlns:p="http://schemas.openxmlformats.org/presentationml/2006/main">
  <p:tag name="MIO_GUID" val="81bd77bf-d611-4def-90ec-7f8f229b154e"/>
</p:tagLst>
</file>

<file path=ppt/tags/tag1679.xml><?xml version="1.0" encoding="utf-8"?>
<p:tagLst xmlns:a="http://schemas.openxmlformats.org/drawingml/2006/main" xmlns:r="http://schemas.openxmlformats.org/officeDocument/2006/relationships" xmlns:p="http://schemas.openxmlformats.org/presentationml/2006/main">
  <p:tag name="MIO_GUID" val="f7500c4a-0a01-48e1-a128-9b147968d65a"/>
</p:tagLst>
</file>

<file path=ppt/tags/tag168.xml><?xml version="1.0" encoding="utf-8"?>
<p:tagLst xmlns:a="http://schemas.openxmlformats.org/drawingml/2006/main" xmlns:r="http://schemas.openxmlformats.org/officeDocument/2006/relationships" xmlns:p="http://schemas.openxmlformats.org/presentationml/2006/main">
  <p:tag name="MIO_GUID" val="13d1b220-baa2-4621-a3c4-87488c3fa8fc"/>
</p:tagLst>
</file>

<file path=ppt/tags/tag1680.xml><?xml version="1.0" encoding="utf-8"?>
<p:tagLst xmlns:a="http://schemas.openxmlformats.org/drawingml/2006/main" xmlns:r="http://schemas.openxmlformats.org/officeDocument/2006/relationships" xmlns:p="http://schemas.openxmlformats.org/presentationml/2006/main">
  <p:tag name="MIO_GUID" val="34e572cd-a031-4bf5-a91c-425b423ccfd7"/>
</p:tagLst>
</file>

<file path=ppt/tags/tag1681.xml><?xml version="1.0" encoding="utf-8"?>
<p:tagLst xmlns:a="http://schemas.openxmlformats.org/drawingml/2006/main" xmlns:r="http://schemas.openxmlformats.org/officeDocument/2006/relationships" xmlns:p="http://schemas.openxmlformats.org/presentationml/2006/main">
  <p:tag name="MIO_GUID" val="66074969-7d44-454d-b8db-645fa95b52b0"/>
</p:tagLst>
</file>

<file path=ppt/tags/tag1682.xml><?xml version="1.0" encoding="utf-8"?>
<p:tagLst xmlns:a="http://schemas.openxmlformats.org/drawingml/2006/main" xmlns:r="http://schemas.openxmlformats.org/officeDocument/2006/relationships" xmlns:p="http://schemas.openxmlformats.org/presentationml/2006/main">
  <p:tag name="MIO_GUID" val="bc7630a9-3c1a-4214-9da3-ecc173e63164"/>
</p:tagLst>
</file>

<file path=ppt/tags/tag1683.xml><?xml version="1.0" encoding="utf-8"?>
<p:tagLst xmlns:a="http://schemas.openxmlformats.org/drawingml/2006/main" xmlns:r="http://schemas.openxmlformats.org/officeDocument/2006/relationships" xmlns:p="http://schemas.openxmlformats.org/presentationml/2006/main">
  <p:tag name="MIO_GUID" val="39fd5a0e-7c8a-4fcb-be40-d009d529e3b8"/>
</p:tagLst>
</file>

<file path=ppt/tags/tag1684.xml><?xml version="1.0" encoding="utf-8"?>
<p:tagLst xmlns:a="http://schemas.openxmlformats.org/drawingml/2006/main" xmlns:r="http://schemas.openxmlformats.org/officeDocument/2006/relationships" xmlns:p="http://schemas.openxmlformats.org/presentationml/2006/main">
  <p:tag name="MIO_GUID" val="40063b3d-a0d2-4155-8ff0-5b5acecb334b"/>
</p:tagLst>
</file>

<file path=ppt/tags/tag1685.xml><?xml version="1.0" encoding="utf-8"?>
<p:tagLst xmlns:a="http://schemas.openxmlformats.org/drawingml/2006/main" xmlns:r="http://schemas.openxmlformats.org/officeDocument/2006/relationships" xmlns:p="http://schemas.openxmlformats.org/presentationml/2006/main">
  <p:tag name="MIO_GUID" val="18aed9d6-8040-4ca4-9817-4c7bee2ab216"/>
</p:tagLst>
</file>

<file path=ppt/tags/tag1686.xml><?xml version="1.0" encoding="utf-8"?>
<p:tagLst xmlns:a="http://schemas.openxmlformats.org/drawingml/2006/main" xmlns:r="http://schemas.openxmlformats.org/officeDocument/2006/relationships" xmlns:p="http://schemas.openxmlformats.org/presentationml/2006/main">
  <p:tag name="MIO_GUID" val="259beef7-da72-4f31-a0cd-14a4e95e5875"/>
</p:tagLst>
</file>

<file path=ppt/tags/tag1687.xml><?xml version="1.0" encoding="utf-8"?>
<p:tagLst xmlns:a="http://schemas.openxmlformats.org/drawingml/2006/main" xmlns:r="http://schemas.openxmlformats.org/officeDocument/2006/relationships" xmlns:p="http://schemas.openxmlformats.org/presentationml/2006/main">
  <p:tag name="MIO_GUID" val="1d114769-ec0a-45df-9d5c-c34c7a0a2d73"/>
</p:tagLst>
</file>

<file path=ppt/tags/tag1688.xml><?xml version="1.0" encoding="utf-8"?>
<p:tagLst xmlns:a="http://schemas.openxmlformats.org/drawingml/2006/main" xmlns:r="http://schemas.openxmlformats.org/officeDocument/2006/relationships" xmlns:p="http://schemas.openxmlformats.org/presentationml/2006/main">
  <p:tag name="MIO_GUID" val="a7cd041e-a17e-4064-855d-3a57715c5866"/>
</p:tagLst>
</file>

<file path=ppt/tags/tag1689.xml><?xml version="1.0" encoding="utf-8"?>
<p:tagLst xmlns:a="http://schemas.openxmlformats.org/drawingml/2006/main" xmlns:r="http://schemas.openxmlformats.org/officeDocument/2006/relationships" xmlns:p="http://schemas.openxmlformats.org/presentationml/2006/main">
  <p:tag name="MIO_GUID" val="c51d181d-929b-4724-9552-16bec3534638"/>
</p:tagLst>
</file>

<file path=ppt/tags/tag169.xml><?xml version="1.0" encoding="utf-8"?>
<p:tagLst xmlns:a="http://schemas.openxmlformats.org/drawingml/2006/main" xmlns:r="http://schemas.openxmlformats.org/officeDocument/2006/relationships" xmlns:p="http://schemas.openxmlformats.org/presentationml/2006/main">
  <p:tag name="MIO_GUID" val="9168db10-d9e9-4c69-b032-693548192d84"/>
</p:tagLst>
</file>

<file path=ppt/tags/tag1690.xml><?xml version="1.0" encoding="utf-8"?>
<p:tagLst xmlns:a="http://schemas.openxmlformats.org/drawingml/2006/main" xmlns:r="http://schemas.openxmlformats.org/officeDocument/2006/relationships" xmlns:p="http://schemas.openxmlformats.org/presentationml/2006/main">
  <p:tag name="MIO_GUID" val="5e03ec00-da4f-4a0e-bc25-a5d87b5bf78d"/>
</p:tagLst>
</file>

<file path=ppt/tags/tag1691.xml><?xml version="1.0" encoding="utf-8"?>
<p:tagLst xmlns:a="http://schemas.openxmlformats.org/drawingml/2006/main" xmlns:r="http://schemas.openxmlformats.org/officeDocument/2006/relationships" xmlns:p="http://schemas.openxmlformats.org/presentationml/2006/main">
  <p:tag name="MIO_GUID" val="db093d24-4260-41bd-81e5-6a60955d5045"/>
</p:tagLst>
</file>

<file path=ppt/tags/tag1692.xml><?xml version="1.0" encoding="utf-8"?>
<p:tagLst xmlns:a="http://schemas.openxmlformats.org/drawingml/2006/main" xmlns:r="http://schemas.openxmlformats.org/officeDocument/2006/relationships" xmlns:p="http://schemas.openxmlformats.org/presentationml/2006/main">
  <p:tag name="MIO_GUID" val="6e6730c2-af52-4524-bed0-dd40650c91d8"/>
</p:tagLst>
</file>

<file path=ppt/tags/tag1693.xml><?xml version="1.0" encoding="utf-8"?>
<p:tagLst xmlns:a="http://schemas.openxmlformats.org/drawingml/2006/main" xmlns:r="http://schemas.openxmlformats.org/officeDocument/2006/relationships" xmlns:p="http://schemas.openxmlformats.org/presentationml/2006/main">
  <p:tag name="MIO_GUID" val="52b02a83-d3d0-4ebc-bdec-fcdf0bd334db"/>
</p:tagLst>
</file>

<file path=ppt/tags/tag1694.xml><?xml version="1.0" encoding="utf-8"?>
<p:tagLst xmlns:a="http://schemas.openxmlformats.org/drawingml/2006/main" xmlns:r="http://schemas.openxmlformats.org/officeDocument/2006/relationships" xmlns:p="http://schemas.openxmlformats.org/presentationml/2006/main">
  <p:tag name="MIO_GUID" val="c9eb468a-12ae-4747-a35f-ef8c907ea853"/>
</p:tagLst>
</file>

<file path=ppt/tags/tag1695.xml><?xml version="1.0" encoding="utf-8"?>
<p:tagLst xmlns:a="http://schemas.openxmlformats.org/drawingml/2006/main" xmlns:r="http://schemas.openxmlformats.org/officeDocument/2006/relationships" xmlns:p="http://schemas.openxmlformats.org/presentationml/2006/main">
  <p:tag name="MIO_GUID" val="3e8bf4f0-861e-45c7-9350-a18545ae1085"/>
</p:tagLst>
</file>

<file path=ppt/tags/tag1696.xml><?xml version="1.0" encoding="utf-8"?>
<p:tagLst xmlns:a="http://schemas.openxmlformats.org/drawingml/2006/main" xmlns:r="http://schemas.openxmlformats.org/officeDocument/2006/relationships" xmlns:p="http://schemas.openxmlformats.org/presentationml/2006/main">
  <p:tag name="MIO_GUID" val="652b96c7-c04e-4cd7-bf7b-570a418c0af7"/>
</p:tagLst>
</file>

<file path=ppt/tags/tag1697.xml><?xml version="1.0" encoding="utf-8"?>
<p:tagLst xmlns:a="http://schemas.openxmlformats.org/drawingml/2006/main" xmlns:r="http://schemas.openxmlformats.org/officeDocument/2006/relationships" xmlns:p="http://schemas.openxmlformats.org/presentationml/2006/main">
  <p:tag name="MIO_GUID" val="109acba9-16d8-4563-ae5b-133bcdd06a39"/>
</p:tagLst>
</file>

<file path=ppt/tags/tag1698.xml><?xml version="1.0" encoding="utf-8"?>
<p:tagLst xmlns:a="http://schemas.openxmlformats.org/drawingml/2006/main" xmlns:r="http://schemas.openxmlformats.org/officeDocument/2006/relationships" xmlns:p="http://schemas.openxmlformats.org/presentationml/2006/main">
  <p:tag name="MIO_GUID" val="59bf4c85-f0f8-4136-b175-ac9bb4774df6"/>
</p:tagLst>
</file>

<file path=ppt/tags/tag1699.xml><?xml version="1.0" encoding="utf-8"?>
<p:tagLst xmlns:a="http://schemas.openxmlformats.org/drawingml/2006/main" xmlns:r="http://schemas.openxmlformats.org/officeDocument/2006/relationships" xmlns:p="http://schemas.openxmlformats.org/presentationml/2006/main">
  <p:tag name="MIO_GUID" val="e9e68d8f-79e6-40d2-bb9e-6cb04e427e66"/>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MIO_GUID" val="c4f31ed5-42cb-4ee1-9eca-ca21b9b84de6"/>
</p:tagLst>
</file>

<file path=ppt/tags/tag1700.xml><?xml version="1.0" encoding="utf-8"?>
<p:tagLst xmlns:a="http://schemas.openxmlformats.org/drawingml/2006/main" xmlns:r="http://schemas.openxmlformats.org/officeDocument/2006/relationships" xmlns:p="http://schemas.openxmlformats.org/presentationml/2006/main">
  <p:tag name="MIO_GUID" val="1bedfc96-fd62-4367-bc5d-42270c34ec13"/>
</p:tagLst>
</file>

<file path=ppt/tags/tag1701.xml><?xml version="1.0" encoding="utf-8"?>
<p:tagLst xmlns:a="http://schemas.openxmlformats.org/drawingml/2006/main" xmlns:r="http://schemas.openxmlformats.org/officeDocument/2006/relationships" xmlns:p="http://schemas.openxmlformats.org/presentationml/2006/main">
  <p:tag name="MIO_GUID" val="7832597a-3274-448e-90ca-70f5635ae398"/>
</p:tagLst>
</file>

<file path=ppt/tags/tag1702.xml><?xml version="1.0" encoding="utf-8"?>
<p:tagLst xmlns:a="http://schemas.openxmlformats.org/drawingml/2006/main" xmlns:r="http://schemas.openxmlformats.org/officeDocument/2006/relationships" xmlns:p="http://schemas.openxmlformats.org/presentationml/2006/main">
  <p:tag name="MIO_GUID" val="248f4dbb-1a9a-4cc2-9717-54eeaeb03e2a"/>
</p:tagLst>
</file>

<file path=ppt/tags/tag1703.xml><?xml version="1.0" encoding="utf-8"?>
<p:tagLst xmlns:a="http://schemas.openxmlformats.org/drawingml/2006/main" xmlns:r="http://schemas.openxmlformats.org/officeDocument/2006/relationships" xmlns:p="http://schemas.openxmlformats.org/presentationml/2006/main">
  <p:tag name="MIO_GUID" val="4bc31b82-097c-47f1-98c6-8ce4745c2ac4"/>
</p:tagLst>
</file>

<file path=ppt/tags/tag1704.xml><?xml version="1.0" encoding="utf-8"?>
<p:tagLst xmlns:a="http://schemas.openxmlformats.org/drawingml/2006/main" xmlns:r="http://schemas.openxmlformats.org/officeDocument/2006/relationships" xmlns:p="http://schemas.openxmlformats.org/presentationml/2006/main">
  <p:tag name="MIO_GUID" val="bcbf48c1-6c53-4b45-81e5-586b26a35dd9"/>
</p:tagLst>
</file>

<file path=ppt/tags/tag1705.xml><?xml version="1.0" encoding="utf-8"?>
<p:tagLst xmlns:a="http://schemas.openxmlformats.org/drawingml/2006/main" xmlns:r="http://schemas.openxmlformats.org/officeDocument/2006/relationships" xmlns:p="http://schemas.openxmlformats.org/presentationml/2006/main">
  <p:tag name="MIO_GUID" val="bc53ea1e-7bbe-493d-a124-8604d04e8ecd"/>
</p:tagLst>
</file>

<file path=ppt/tags/tag1706.xml><?xml version="1.0" encoding="utf-8"?>
<p:tagLst xmlns:a="http://schemas.openxmlformats.org/drawingml/2006/main" xmlns:r="http://schemas.openxmlformats.org/officeDocument/2006/relationships" xmlns:p="http://schemas.openxmlformats.org/presentationml/2006/main">
  <p:tag name="MIO_GUID" val="4981856d-f155-4a3a-b9cd-875b1e94da27"/>
</p:tagLst>
</file>

<file path=ppt/tags/tag1707.xml><?xml version="1.0" encoding="utf-8"?>
<p:tagLst xmlns:a="http://schemas.openxmlformats.org/drawingml/2006/main" xmlns:r="http://schemas.openxmlformats.org/officeDocument/2006/relationships" xmlns:p="http://schemas.openxmlformats.org/presentationml/2006/main">
  <p:tag name="MIO_GUID" val="e9f38cfe-6993-4f22-8691-c5304a6cffe6"/>
</p:tagLst>
</file>

<file path=ppt/tags/tag1708.xml><?xml version="1.0" encoding="utf-8"?>
<p:tagLst xmlns:a="http://schemas.openxmlformats.org/drawingml/2006/main" xmlns:r="http://schemas.openxmlformats.org/officeDocument/2006/relationships" xmlns:p="http://schemas.openxmlformats.org/presentationml/2006/main">
  <p:tag name="MIO_GUID" val="d8dc1365-e950-4256-87f3-aee44daa2426"/>
</p:tagLst>
</file>

<file path=ppt/tags/tag1709.xml><?xml version="1.0" encoding="utf-8"?>
<p:tagLst xmlns:a="http://schemas.openxmlformats.org/drawingml/2006/main" xmlns:r="http://schemas.openxmlformats.org/officeDocument/2006/relationships" xmlns:p="http://schemas.openxmlformats.org/presentationml/2006/main">
  <p:tag name="MIO_GUID" val="643b89e2-d223-4204-b90a-edcb44401d05"/>
</p:tagLst>
</file>

<file path=ppt/tags/tag171.xml><?xml version="1.0" encoding="utf-8"?>
<p:tagLst xmlns:a="http://schemas.openxmlformats.org/drawingml/2006/main" xmlns:r="http://schemas.openxmlformats.org/officeDocument/2006/relationships" xmlns:p="http://schemas.openxmlformats.org/presentationml/2006/main">
  <p:tag name="MIO_GUID" val="ce8ba857-f4e9-439d-82ae-7d616bfb6b33"/>
</p:tagLst>
</file>

<file path=ppt/tags/tag1710.xml><?xml version="1.0" encoding="utf-8"?>
<p:tagLst xmlns:a="http://schemas.openxmlformats.org/drawingml/2006/main" xmlns:r="http://schemas.openxmlformats.org/officeDocument/2006/relationships" xmlns:p="http://schemas.openxmlformats.org/presentationml/2006/main">
  <p:tag name="MIO_GUID" val="840a230f-4962-4666-aeaa-44dd0975bfad"/>
</p:tagLst>
</file>

<file path=ppt/tags/tag1711.xml><?xml version="1.0" encoding="utf-8"?>
<p:tagLst xmlns:a="http://schemas.openxmlformats.org/drawingml/2006/main" xmlns:r="http://schemas.openxmlformats.org/officeDocument/2006/relationships" xmlns:p="http://schemas.openxmlformats.org/presentationml/2006/main">
  <p:tag name="MIO_GUID" val="7fba6f71-9e26-4b22-8fd8-4fa0e2558e0e"/>
</p:tagLst>
</file>

<file path=ppt/tags/tag1712.xml><?xml version="1.0" encoding="utf-8"?>
<p:tagLst xmlns:a="http://schemas.openxmlformats.org/drawingml/2006/main" xmlns:r="http://schemas.openxmlformats.org/officeDocument/2006/relationships" xmlns:p="http://schemas.openxmlformats.org/presentationml/2006/main">
  <p:tag name="MIO_GUID" val="8a0dd7e3-cba6-4693-b18d-54d8fe1e6cc4"/>
</p:tagLst>
</file>

<file path=ppt/tags/tag1713.xml><?xml version="1.0" encoding="utf-8"?>
<p:tagLst xmlns:a="http://schemas.openxmlformats.org/drawingml/2006/main" xmlns:r="http://schemas.openxmlformats.org/officeDocument/2006/relationships" xmlns:p="http://schemas.openxmlformats.org/presentationml/2006/main">
  <p:tag name="MIO_GUID" val="da4d7818-9bc0-4ca8-be76-fd572ab5f780"/>
</p:tagLst>
</file>

<file path=ppt/tags/tag1714.xml><?xml version="1.0" encoding="utf-8"?>
<p:tagLst xmlns:a="http://schemas.openxmlformats.org/drawingml/2006/main" xmlns:r="http://schemas.openxmlformats.org/officeDocument/2006/relationships" xmlns:p="http://schemas.openxmlformats.org/presentationml/2006/main">
  <p:tag name="MIO_GUID" val="9e2eba35-a50f-46cd-b39a-16fb6648023b"/>
</p:tagLst>
</file>

<file path=ppt/tags/tag1715.xml><?xml version="1.0" encoding="utf-8"?>
<p:tagLst xmlns:a="http://schemas.openxmlformats.org/drawingml/2006/main" xmlns:r="http://schemas.openxmlformats.org/officeDocument/2006/relationships" xmlns:p="http://schemas.openxmlformats.org/presentationml/2006/main">
  <p:tag name="MIO_GUID" val="ff619781-5869-42bb-a026-91d0df84c56d"/>
</p:tagLst>
</file>

<file path=ppt/tags/tag1716.xml><?xml version="1.0" encoding="utf-8"?>
<p:tagLst xmlns:a="http://schemas.openxmlformats.org/drawingml/2006/main" xmlns:r="http://schemas.openxmlformats.org/officeDocument/2006/relationships" xmlns:p="http://schemas.openxmlformats.org/presentationml/2006/main">
  <p:tag name="MIO_GUID" val="a8eb0200-9383-406c-bdaa-fb8e7ef49dec"/>
</p:tagLst>
</file>

<file path=ppt/tags/tag1717.xml><?xml version="1.0" encoding="utf-8"?>
<p:tagLst xmlns:a="http://schemas.openxmlformats.org/drawingml/2006/main" xmlns:r="http://schemas.openxmlformats.org/officeDocument/2006/relationships" xmlns:p="http://schemas.openxmlformats.org/presentationml/2006/main">
  <p:tag name="MIO_GUID" val="9a4f9242-024c-4ad7-9086-63eab1356dd2"/>
</p:tagLst>
</file>

<file path=ppt/tags/tag1718.xml><?xml version="1.0" encoding="utf-8"?>
<p:tagLst xmlns:a="http://schemas.openxmlformats.org/drawingml/2006/main" xmlns:r="http://schemas.openxmlformats.org/officeDocument/2006/relationships" xmlns:p="http://schemas.openxmlformats.org/presentationml/2006/main">
  <p:tag name="MIO_GUID" val="a2a9277a-33d4-4f87-942a-cf2b9e662683"/>
</p:tagLst>
</file>

<file path=ppt/tags/tag1719.xml><?xml version="1.0" encoding="utf-8"?>
<p:tagLst xmlns:a="http://schemas.openxmlformats.org/drawingml/2006/main" xmlns:r="http://schemas.openxmlformats.org/officeDocument/2006/relationships" xmlns:p="http://schemas.openxmlformats.org/presentationml/2006/main">
  <p:tag name="MIO_GUID" val="d7592026-393d-4463-bc8f-2b768c2929b6"/>
</p:tagLst>
</file>

<file path=ppt/tags/tag172.xml><?xml version="1.0" encoding="utf-8"?>
<p:tagLst xmlns:a="http://schemas.openxmlformats.org/drawingml/2006/main" xmlns:r="http://schemas.openxmlformats.org/officeDocument/2006/relationships" xmlns:p="http://schemas.openxmlformats.org/presentationml/2006/main">
  <p:tag name="MIO_GUID" val="a76af0d0-4a43-4091-8284-7c1d6c99feea"/>
</p:tagLst>
</file>

<file path=ppt/tags/tag1720.xml><?xml version="1.0" encoding="utf-8"?>
<p:tagLst xmlns:a="http://schemas.openxmlformats.org/drawingml/2006/main" xmlns:r="http://schemas.openxmlformats.org/officeDocument/2006/relationships" xmlns:p="http://schemas.openxmlformats.org/presentationml/2006/main">
  <p:tag name="MIO_GUID" val="d18674f8-9635-46cb-8ed8-11858827eedc"/>
</p:tagLst>
</file>

<file path=ppt/tags/tag1721.xml><?xml version="1.0" encoding="utf-8"?>
<p:tagLst xmlns:a="http://schemas.openxmlformats.org/drawingml/2006/main" xmlns:r="http://schemas.openxmlformats.org/officeDocument/2006/relationships" xmlns:p="http://schemas.openxmlformats.org/presentationml/2006/main">
  <p:tag name="MIO_GUID" val="f681d762-082f-4de8-ba93-96fb941e16fd"/>
</p:tagLst>
</file>

<file path=ppt/tags/tag1722.xml><?xml version="1.0" encoding="utf-8"?>
<p:tagLst xmlns:a="http://schemas.openxmlformats.org/drawingml/2006/main" xmlns:r="http://schemas.openxmlformats.org/officeDocument/2006/relationships" xmlns:p="http://schemas.openxmlformats.org/presentationml/2006/main">
  <p:tag name="MIO_GUID" val="39d4e92d-e0a1-4442-a093-902b7a0705b5"/>
</p:tagLst>
</file>

<file path=ppt/tags/tag1723.xml><?xml version="1.0" encoding="utf-8"?>
<p:tagLst xmlns:a="http://schemas.openxmlformats.org/drawingml/2006/main" xmlns:r="http://schemas.openxmlformats.org/officeDocument/2006/relationships" xmlns:p="http://schemas.openxmlformats.org/presentationml/2006/main">
  <p:tag name="MIO_GUID" val="adccf30b-a796-4d8d-b5a0-4e33c9e344fb"/>
</p:tagLst>
</file>

<file path=ppt/tags/tag1724.xml><?xml version="1.0" encoding="utf-8"?>
<p:tagLst xmlns:a="http://schemas.openxmlformats.org/drawingml/2006/main" xmlns:r="http://schemas.openxmlformats.org/officeDocument/2006/relationships" xmlns:p="http://schemas.openxmlformats.org/presentationml/2006/main">
  <p:tag name="MIO_GUID" val="1727c061-67d6-448c-bea3-2ff85d6832c2"/>
</p:tagLst>
</file>

<file path=ppt/tags/tag1725.xml><?xml version="1.0" encoding="utf-8"?>
<p:tagLst xmlns:a="http://schemas.openxmlformats.org/drawingml/2006/main" xmlns:r="http://schemas.openxmlformats.org/officeDocument/2006/relationships" xmlns:p="http://schemas.openxmlformats.org/presentationml/2006/main">
  <p:tag name="MIO_GUID" val="c8c2e9c1-806d-46b2-9020-1b26dfa15c1e"/>
</p:tagLst>
</file>

<file path=ppt/tags/tag1726.xml><?xml version="1.0" encoding="utf-8"?>
<p:tagLst xmlns:a="http://schemas.openxmlformats.org/drawingml/2006/main" xmlns:r="http://schemas.openxmlformats.org/officeDocument/2006/relationships" xmlns:p="http://schemas.openxmlformats.org/presentationml/2006/main">
  <p:tag name="MIO_GUID" val="38487fbe-73ff-4cc4-9ffe-cb49462df8b2"/>
</p:tagLst>
</file>

<file path=ppt/tags/tag1727.xml><?xml version="1.0" encoding="utf-8"?>
<p:tagLst xmlns:a="http://schemas.openxmlformats.org/drawingml/2006/main" xmlns:r="http://schemas.openxmlformats.org/officeDocument/2006/relationships" xmlns:p="http://schemas.openxmlformats.org/presentationml/2006/main">
  <p:tag name="MIO_GUID" val="32b18f58-1186-4393-94d3-6698e3f66f1b"/>
</p:tagLst>
</file>

<file path=ppt/tags/tag1728.xml><?xml version="1.0" encoding="utf-8"?>
<p:tagLst xmlns:a="http://schemas.openxmlformats.org/drawingml/2006/main" xmlns:r="http://schemas.openxmlformats.org/officeDocument/2006/relationships" xmlns:p="http://schemas.openxmlformats.org/presentationml/2006/main">
  <p:tag name="MIO_GUID" val="adaefbec-d461-4a74-b2e2-1756d54b10e1"/>
</p:tagLst>
</file>

<file path=ppt/tags/tag1729.xml><?xml version="1.0" encoding="utf-8"?>
<p:tagLst xmlns:a="http://schemas.openxmlformats.org/drawingml/2006/main" xmlns:r="http://schemas.openxmlformats.org/officeDocument/2006/relationships" xmlns:p="http://schemas.openxmlformats.org/presentationml/2006/main">
  <p:tag name="MIO_GUID" val="769bb42a-728d-49bb-99d0-22273d5e6fcf"/>
</p:tagLst>
</file>

<file path=ppt/tags/tag173.xml><?xml version="1.0" encoding="utf-8"?>
<p:tagLst xmlns:a="http://schemas.openxmlformats.org/drawingml/2006/main" xmlns:r="http://schemas.openxmlformats.org/officeDocument/2006/relationships" xmlns:p="http://schemas.openxmlformats.org/presentationml/2006/main">
  <p:tag name="MIO_GUID" val="028e0dd4-e1a7-4720-9b16-7106e0736c2d"/>
</p:tagLst>
</file>

<file path=ppt/tags/tag1730.xml><?xml version="1.0" encoding="utf-8"?>
<p:tagLst xmlns:a="http://schemas.openxmlformats.org/drawingml/2006/main" xmlns:r="http://schemas.openxmlformats.org/officeDocument/2006/relationships" xmlns:p="http://schemas.openxmlformats.org/presentationml/2006/main">
  <p:tag name="MIO_GUID" val="a740e19a-5f62-4712-9884-05bd3bc44ca8"/>
</p:tagLst>
</file>

<file path=ppt/tags/tag1731.xml><?xml version="1.0" encoding="utf-8"?>
<p:tagLst xmlns:a="http://schemas.openxmlformats.org/drawingml/2006/main" xmlns:r="http://schemas.openxmlformats.org/officeDocument/2006/relationships" xmlns:p="http://schemas.openxmlformats.org/presentationml/2006/main">
  <p:tag name="MIO_GUID" val="0feeaeeb-ec48-44b4-aa0e-ad90ec7d4329"/>
</p:tagLst>
</file>

<file path=ppt/tags/tag1732.xml><?xml version="1.0" encoding="utf-8"?>
<p:tagLst xmlns:a="http://schemas.openxmlformats.org/drawingml/2006/main" xmlns:r="http://schemas.openxmlformats.org/officeDocument/2006/relationships" xmlns:p="http://schemas.openxmlformats.org/presentationml/2006/main">
  <p:tag name="MIO_GUID" val="d8600375-4dac-4928-8d1b-4ee619a1f047"/>
</p:tagLst>
</file>

<file path=ppt/tags/tag1733.xml><?xml version="1.0" encoding="utf-8"?>
<p:tagLst xmlns:a="http://schemas.openxmlformats.org/drawingml/2006/main" xmlns:r="http://schemas.openxmlformats.org/officeDocument/2006/relationships" xmlns:p="http://schemas.openxmlformats.org/presentationml/2006/main">
  <p:tag name="MIO_GUID" val="c8180844-b707-4d7c-9e7a-ec7647d26ad6"/>
</p:tagLst>
</file>

<file path=ppt/tags/tag1734.xml><?xml version="1.0" encoding="utf-8"?>
<p:tagLst xmlns:a="http://schemas.openxmlformats.org/drawingml/2006/main" xmlns:r="http://schemas.openxmlformats.org/officeDocument/2006/relationships" xmlns:p="http://schemas.openxmlformats.org/presentationml/2006/main">
  <p:tag name="MIO_GUID" val="deaae3ac-1e0a-441f-84e7-04f868cf4f3d"/>
</p:tagLst>
</file>

<file path=ppt/tags/tag1735.xml><?xml version="1.0" encoding="utf-8"?>
<p:tagLst xmlns:a="http://schemas.openxmlformats.org/drawingml/2006/main" xmlns:r="http://schemas.openxmlformats.org/officeDocument/2006/relationships" xmlns:p="http://schemas.openxmlformats.org/presentationml/2006/main">
  <p:tag name="MIO_GUID" val="b92f7580-af2f-4c31-b640-775386963f73"/>
</p:tagLst>
</file>

<file path=ppt/tags/tag1736.xml><?xml version="1.0" encoding="utf-8"?>
<p:tagLst xmlns:a="http://schemas.openxmlformats.org/drawingml/2006/main" xmlns:r="http://schemas.openxmlformats.org/officeDocument/2006/relationships" xmlns:p="http://schemas.openxmlformats.org/presentationml/2006/main">
  <p:tag name="MIO_GUID" val="82fe8e9e-3a5a-434f-be01-03397a1fc543"/>
</p:tagLst>
</file>

<file path=ppt/tags/tag1737.xml><?xml version="1.0" encoding="utf-8"?>
<p:tagLst xmlns:a="http://schemas.openxmlformats.org/drawingml/2006/main" xmlns:r="http://schemas.openxmlformats.org/officeDocument/2006/relationships" xmlns:p="http://schemas.openxmlformats.org/presentationml/2006/main">
  <p:tag name="MIO_GUID" val="f258b2bc-d4ad-406d-8e48-e0fc337459d9"/>
</p:tagLst>
</file>

<file path=ppt/tags/tag1738.xml><?xml version="1.0" encoding="utf-8"?>
<p:tagLst xmlns:a="http://schemas.openxmlformats.org/drawingml/2006/main" xmlns:r="http://schemas.openxmlformats.org/officeDocument/2006/relationships" xmlns:p="http://schemas.openxmlformats.org/presentationml/2006/main">
  <p:tag name="MIO_GUID" val="2ed272a7-f258-4f52-9a04-6e0491bcd5fa"/>
</p:tagLst>
</file>

<file path=ppt/tags/tag1739.xml><?xml version="1.0" encoding="utf-8"?>
<p:tagLst xmlns:a="http://schemas.openxmlformats.org/drawingml/2006/main" xmlns:r="http://schemas.openxmlformats.org/officeDocument/2006/relationships" xmlns:p="http://schemas.openxmlformats.org/presentationml/2006/main">
  <p:tag name="MIO_GUID" val="d1b08104-e112-4b66-b6ec-5456ea8b1231"/>
</p:tagLst>
</file>

<file path=ppt/tags/tag174.xml><?xml version="1.0" encoding="utf-8"?>
<p:tagLst xmlns:a="http://schemas.openxmlformats.org/drawingml/2006/main" xmlns:r="http://schemas.openxmlformats.org/officeDocument/2006/relationships" xmlns:p="http://schemas.openxmlformats.org/presentationml/2006/main">
  <p:tag name="MIO_GUID" val="4fa381b8-e497-48d1-a628-fb3dd2644f97"/>
</p:tagLst>
</file>

<file path=ppt/tags/tag1740.xml><?xml version="1.0" encoding="utf-8"?>
<p:tagLst xmlns:a="http://schemas.openxmlformats.org/drawingml/2006/main" xmlns:r="http://schemas.openxmlformats.org/officeDocument/2006/relationships" xmlns:p="http://schemas.openxmlformats.org/presentationml/2006/main">
  <p:tag name="MIO_GUID" val="6bf432e7-7cfc-473a-aded-d85f1df14d41"/>
</p:tagLst>
</file>

<file path=ppt/tags/tag1741.xml><?xml version="1.0" encoding="utf-8"?>
<p:tagLst xmlns:a="http://schemas.openxmlformats.org/drawingml/2006/main" xmlns:r="http://schemas.openxmlformats.org/officeDocument/2006/relationships" xmlns:p="http://schemas.openxmlformats.org/presentationml/2006/main">
  <p:tag name="MIO_GUID" val="b28401f0-cc91-414c-9bf9-065c66b75764"/>
</p:tagLst>
</file>

<file path=ppt/tags/tag1742.xml><?xml version="1.0" encoding="utf-8"?>
<p:tagLst xmlns:a="http://schemas.openxmlformats.org/drawingml/2006/main" xmlns:r="http://schemas.openxmlformats.org/officeDocument/2006/relationships" xmlns:p="http://schemas.openxmlformats.org/presentationml/2006/main">
  <p:tag name="MIO_GUID" val="c4d9b10a-9514-4417-aac7-5ff7cbb051e2"/>
</p:tagLst>
</file>

<file path=ppt/tags/tag1743.xml><?xml version="1.0" encoding="utf-8"?>
<p:tagLst xmlns:a="http://schemas.openxmlformats.org/drawingml/2006/main" xmlns:r="http://schemas.openxmlformats.org/officeDocument/2006/relationships" xmlns:p="http://schemas.openxmlformats.org/presentationml/2006/main">
  <p:tag name="MIO_GUID" val="06eabecd-7202-4d07-90fe-52412f4e1e90"/>
</p:tagLst>
</file>

<file path=ppt/tags/tag1744.xml><?xml version="1.0" encoding="utf-8"?>
<p:tagLst xmlns:a="http://schemas.openxmlformats.org/drawingml/2006/main" xmlns:r="http://schemas.openxmlformats.org/officeDocument/2006/relationships" xmlns:p="http://schemas.openxmlformats.org/presentationml/2006/main">
  <p:tag name="MIO_GUID" val="62be010a-c5d0-4ff7-806f-2e127f0f1e3b"/>
</p:tagLst>
</file>

<file path=ppt/tags/tag1745.xml><?xml version="1.0" encoding="utf-8"?>
<p:tagLst xmlns:a="http://schemas.openxmlformats.org/drawingml/2006/main" xmlns:r="http://schemas.openxmlformats.org/officeDocument/2006/relationships" xmlns:p="http://schemas.openxmlformats.org/presentationml/2006/main">
  <p:tag name="MIO_GUID" val="057b718e-0070-4e75-983a-e3a18e3ec57d"/>
</p:tagLst>
</file>

<file path=ppt/tags/tag1746.xml><?xml version="1.0" encoding="utf-8"?>
<p:tagLst xmlns:a="http://schemas.openxmlformats.org/drawingml/2006/main" xmlns:r="http://schemas.openxmlformats.org/officeDocument/2006/relationships" xmlns:p="http://schemas.openxmlformats.org/presentationml/2006/main">
  <p:tag name="MIO_GUID" val="a196b153-d80e-4e96-a2ea-61094fbc3928"/>
</p:tagLst>
</file>

<file path=ppt/tags/tag1747.xml><?xml version="1.0" encoding="utf-8"?>
<p:tagLst xmlns:a="http://schemas.openxmlformats.org/drawingml/2006/main" xmlns:r="http://schemas.openxmlformats.org/officeDocument/2006/relationships" xmlns:p="http://schemas.openxmlformats.org/presentationml/2006/main">
  <p:tag name="MIO_GUID" val="58686ab6-7ce6-488c-b7fc-965a08d426c1"/>
</p:tagLst>
</file>

<file path=ppt/tags/tag1748.xml><?xml version="1.0" encoding="utf-8"?>
<p:tagLst xmlns:a="http://schemas.openxmlformats.org/drawingml/2006/main" xmlns:r="http://schemas.openxmlformats.org/officeDocument/2006/relationships" xmlns:p="http://schemas.openxmlformats.org/presentationml/2006/main">
  <p:tag name="MIO_GUID" val="4b54b623-d210-48cd-96cb-bd29c14093c5"/>
</p:tagLst>
</file>

<file path=ppt/tags/tag1749.xml><?xml version="1.0" encoding="utf-8"?>
<p:tagLst xmlns:a="http://schemas.openxmlformats.org/drawingml/2006/main" xmlns:r="http://schemas.openxmlformats.org/officeDocument/2006/relationships" xmlns:p="http://schemas.openxmlformats.org/presentationml/2006/main">
  <p:tag name="MIO_GUID" val="917342b5-7564-47f8-9461-130f06c44a36"/>
</p:tagLst>
</file>

<file path=ppt/tags/tag175.xml><?xml version="1.0" encoding="utf-8"?>
<p:tagLst xmlns:a="http://schemas.openxmlformats.org/drawingml/2006/main" xmlns:r="http://schemas.openxmlformats.org/officeDocument/2006/relationships" xmlns:p="http://schemas.openxmlformats.org/presentationml/2006/main">
  <p:tag name="MIO_GUID" val="445a377a-a231-4a3e-894e-45dae7ccc3d1"/>
</p:tagLst>
</file>

<file path=ppt/tags/tag1750.xml><?xml version="1.0" encoding="utf-8"?>
<p:tagLst xmlns:a="http://schemas.openxmlformats.org/drawingml/2006/main" xmlns:r="http://schemas.openxmlformats.org/officeDocument/2006/relationships" xmlns:p="http://schemas.openxmlformats.org/presentationml/2006/main">
  <p:tag name="MIO_GUID" val="13ef7e81-5ad6-4849-a238-cec18a40b249"/>
</p:tagLst>
</file>

<file path=ppt/tags/tag1751.xml><?xml version="1.0" encoding="utf-8"?>
<p:tagLst xmlns:a="http://schemas.openxmlformats.org/drawingml/2006/main" xmlns:r="http://schemas.openxmlformats.org/officeDocument/2006/relationships" xmlns:p="http://schemas.openxmlformats.org/presentationml/2006/main">
  <p:tag name="MIO_GUID" val="fe3e1681-2a0b-4910-b071-2341822c035c"/>
</p:tagLst>
</file>

<file path=ppt/tags/tag1752.xml><?xml version="1.0" encoding="utf-8"?>
<p:tagLst xmlns:a="http://schemas.openxmlformats.org/drawingml/2006/main" xmlns:r="http://schemas.openxmlformats.org/officeDocument/2006/relationships" xmlns:p="http://schemas.openxmlformats.org/presentationml/2006/main">
  <p:tag name="MIO_GUID" val="6cf81251-a8e9-4569-9dc7-d4f1396e389d"/>
</p:tagLst>
</file>

<file path=ppt/tags/tag1753.xml><?xml version="1.0" encoding="utf-8"?>
<p:tagLst xmlns:a="http://schemas.openxmlformats.org/drawingml/2006/main" xmlns:r="http://schemas.openxmlformats.org/officeDocument/2006/relationships" xmlns:p="http://schemas.openxmlformats.org/presentationml/2006/main">
  <p:tag name="MIO_GUID" val="20f16b23-4674-4706-9086-cf58c6c5e44b"/>
</p:tagLst>
</file>

<file path=ppt/tags/tag1754.xml><?xml version="1.0" encoding="utf-8"?>
<p:tagLst xmlns:a="http://schemas.openxmlformats.org/drawingml/2006/main" xmlns:r="http://schemas.openxmlformats.org/officeDocument/2006/relationships" xmlns:p="http://schemas.openxmlformats.org/presentationml/2006/main">
  <p:tag name="MIO_GUID" val="8eb619a3-ebc1-4a2b-ab65-c1aec5ffeff3"/>
</p:tagLst>
</file>

<file path=ppt/tags/tag1755.xml><?xml version="1.0" encoding="utf-8"?>
<p:tagLst xmlns:a="http://schemas.openxmlformats.org/drawingml/2006/main" xmlns:r="http://schemas.openxmlformats.org/officeDocument/2006/relationships" xmlns:p="http://schemas.openxmlformats.org/presentationml/2006/main">
  <p:tag name="MIO_GUID" val="bdc223d6-5730-4ce9-a358-5141e2d75e4a"/>
</p:tagLst>
</file>

<file path=ppt/tags/tag1756.xml><?xml version="1.0" encoding="utf-8"?>
<p:tagLst xmlns:a="http://schemas.openxmlformats.org/drawingml/2006/main" xmlns:r="http://schemas.openxmlformats.org/officeDocument/2006/relationships" xmlns:p="http://schemas.openxmlformats.org/presentationml/2006/main">
  <p:tag name="MIO_GUID" val="8220676b-162f-4300-a8c7-7eb9f32d9fde"/>
</p:tagLst>
</file>

<file path=ppt/tags/tag1757.xml><?xml version="1.0" encoding="utf-8"?>
<p:tagLst xmlns:a="http://schemas.openxmlformats.org/drawingml/2006/main" xmlns:r="http://schemas.openxmlformats.org/officeDocument/2006/relationships" xmlns:p="http://schemas.openxmlformats.org/presentationml/2006/main">
  <p:tag name="MIO_GUID" val="25df7cb4-badd-4c67-a592-645b24dec91f"/>
</p:tagLst>
</file>

<file path=ppt/tags/tag1758.xml><?xml version="1.0" encoding="utf-8"?>
<p:tagLst xmlns:a="http://schemas.openxmlformats.org/drawingml/2006/main" xmlns:r="http://schemas.openxmlformats.org/officeDocument/2006/relationships" xmlns:p="http://schemas.openxmlformats.org/presentationml/2006/main">
  <p:tag name="MIO_GUID" val="f6bd695b-c4e6-483c-8365-4c04ff48fd15"/>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MIO_GUID" val="33b43374-ee20-40b7-b0ad-3387ab6b0349"/>
</p:tagLst>
</file>

<file path=ppt/tags/tag1760.xml><?xml version="1.0" encoding="utf-8"?>
<p:tagLst xmlns:a="http://schemas.openxmlformats.org/drawingml/2006/main" xmlns:r="http://schemas.openxmlformats.org/officeDocument/2006/relationships" xmlns:p="http://schemas.openxmlformats.org/presentationml/2006/main">
  <p:tag name="MIO_GUID" val="ea6510cc-68d0-4050-958a-6f9ea1fda028"/>
  <p:tag name="MIO_EKGUID" val="af35ae86-5803-4de3-80e2-fcf967247c4e"/>
  <p:tag name="MIO_UPDATE" val="True"/>
  <p:tag name="MIO_VERSION" val="30.07.2019 09:29:09"/>
  <p:tag name="MIO_DBID" val="5D9FD29E-BEEC-40D7-BFBE-407D9085DE5F"/>
  <p:tag name="MIO_LASTDOWNLOADED" val="11.09.2019 13:03:05"/>
  <p:tag name="MIO_OBJECTNAME" val="Done"/>
  <p:tag name="MIO_LASTEDITORNAME" val="Bhuvaneswari Baskar"/>
</p:tagLst>
</file>

<file path=ppt/tags/tag1761.xml><?xml version="1.0" encoding="utf-8"?>
<p:tagLst xmlns:a="http://schemas.openxmlformats.org/drawingml/2006/main" xmlns:r="http://schemas.openxmlformats.org/officeDocument/2006/relationships" xmlns:p="http://schemas.openxmlformats.org/presentationml/2006/main">
  <p:tag name="MIO_EKGUID" val="e70d3836-66ad-4dae-b0e4-34ea8d465cac"/>
  <p:tag name="MIO_GUID" val="985620bd-8fbe-4903-8489-efdfdb97e202"/>
  <p:tag name="MIO_UPDATE" val="True"/>
  <p:tag name="MIO_VERSION" val="12.06.2019 10:22:27"/>
  <p:tag name="MIO_DBID" val="5D9FD29E-BEEC-40D7-BFBE-407D9085DE5F"/>
  <p:tag name="MIO_LASTDOWNLOADED" val="03.02.2020 13:06:10"/>
  <p:tag name="MIO_OBJECTNAME" val="Danske-Bank-branch-Holmens-Kanal-HIGH-RES"/>
  <p:tag name="MIO_LASTEDITORNAME" val="Bhuvaneswari Baskar"/>
</p:tagLst>
</file>

<file path=ppt/tags/tag1762.xml><?xml version="1.0" encoding="utf-8"?>
<p:tagLst xmlns:a="http://schemas.openxmlformats.org/drawingml/2006/main" xmlns:r="http://schemas.openxmlformats.org/officeDocument/2006/relationships" xmlns:p="http://schemas.openxmlformats.org/presentationml/2006/main">
  <p:tag name="MIO_GUID" val="8630ed61-b994-40da-b63b-1e43c258af65"/>
  <p:tag name="MIO_EKGUID" val="fba3e047-b342-4a3d-888b-13e0dc0a9c7b"/>
  <p:tag name="MIO_UPDATE" val="True"/>
  <p:tag name="MIO_VERSION" val="31.07.2019 06:47:57"/>
  <p:tag name="MIO_DBID" val="5D9FD29E-BEEC-40D7-BFBE-407D9085DE5F"/>
  <p:tag name="MIO_LASTDOWNLOADED" val="13.01.2020 13:24:02"/>
  <p:tag name="MIO_OBJECTNAME" val="Shares"/>
  <p:tag name="MIO_LASTEDITORNAME" val="Bhuvaneswari Baskar"/>
</p:tagLst>
</file>

<file path=ppt/tags/tag1763.xml><?xml version="1.0" encoding="utf-8"?>
<p:tagLst xmlns:a="http://schemas.openxmlformats.org/drawingml/2006/main" xmlns:r="http://schemas.openxmlformats.org/officeDocument/2006/relationships" xmlns:p="http://schemas.openxmlformats.org/presentationml/2006/main">
  <p:tag name="MIO_GUID" val="9cb7e64b-0467-4241-a525-cbf89d43509a"/>
  <p:tag name="MIO_EKGUID" val="19358bce-6826-4d99-a68a-ab8ee9234098"/>
  <p:tag name="MIO_UPDATE" val="True"/>
  <p:tag name="MIO_VERSION" val="01.08.2019 05:20:09"/>
  <p:tag name="MIO_DBID" val="5D9FD29E-BEEC-40D7-BFBE-407D9085DE5F"/>
  <p:tag name="MIO_LASTDOWNLOADED" val="30.12.2019 00:09:02"/>
  <p:tag name="MIO_OBJECTNAME" val="Awareness"/>
  <p:tag name="MIO_LASTEDITORNAME" val="Bhuvaneswari Baskar"/>
</p:tagLst>
</file>

<file path=ppt/tags/tag1764.xml><?xml version="1.0" encoding="utf-8"?>
<p:tagLst xmlns:a="http://schemas.openxmlformats.org/drawingml/2006/main" xmlns:r="http://schemas.openxmlformats.org/officeDocument/2006/relationships" xmlns:p="http://schemas.openxmlformats.org/presentationml/2006/main">
  <p:tag name="MIO_GUID" val="23a5cab0-a9e8-4425-8123-8dc2db1e8dbf"/>
  <p:tag name="MIO_EKGUID" val="fda85d4d-eb11-4281-bf5c-fa2fd2de5b09"/>
  <p:tag name="MIO_UPDATE" val="True"/>
  <p:tag name="MIO_VERSION" val="31.07.2019 06:56:41"/>
  <p:tag name="MIO_DBID" val="5D9FD29E-BEEC-40D7-BFBE-407D9085DE5F"/>
  <p:tag name="MIO_LASTDOWNLOADED" val="30.12.2019 00:35:26"/>
  <p:tag name="MIO_OBJECTNAME" val="Weekly meeting"/>
  <p:tag name="MIO_LASTEDITORNAME" val="Bhuvaneswari Baskar"/>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6.xml><?xml version="1.0" encoding="utf-8"?>
<p:tagLst xmlns:a="http://schemas.openxmlformats.org/drawingml/2006/main" xmlns:r="http://schemas.openxmlformats.org/officeDocument/2006/relationships" xmlns:p="http://schemas.openxmlformats.org/presentationml/2006/main">
  <p:tag name="MIO_GUID" val="91e7ac45-1f2b-4e5f-b3b8-bf9e776c715d"/>
  <p:tag name="MIO_EKGUID" val="0a6edc02-454f-4619-8b22-78fae2285a93"/>
  <p:tag name="MIO_UPDATE" val="True"/>
  <p:tag name="MIO_VERSION" val="04.03.2020 05:47:14"/>
  <p:tag name="MIO_DBID" val="5D9FD29E-BEEC-40D7-BFBE-407D9085DE5F"/>
  <p:tag name="MIO_LASTDOWNLOADED" val="30.07.2020 09:54:32"/>
  <p:tag name="MIO_OBJECTNAME" val="Overview meeting"/>
  <p:tag name="MIO_LASTEDITORNAME" val="Bhuvaneswari Baskar"/>
</p:tagLst>
</file>

<file path=ppt/tags/tag1767.xml><?xml version="1.0" encoding="utf-8"?>
<p:tagLst xmlns:a="http://schemas.openxmlformats.org/drawingml/2006/main" xmlns:r="http://schemas.openxmlformats.org/officeDocument/2006/relationships" xmlns:p="http://schemas.openxmlformats.org/presentationml/2006/main">
  <p:tag name="MIO_GUID" val="25d9d417-c686-4886-9407-342296198819"/>
  <p:tag name="MIO_EKGUID" val="97a0141e-45d0-4843-8cc0-450e6b97743f"/>
  <p:tag name="MIO_UPDATE" val="True"/>
  <p:tag name="MIO_VERSION" val="15.11.2017 07:58:03"/>
  <p:tag name="MIO_DBID" val="5D9FD29E-BEEC-40D7-BFBE-407D9085DE5F"/>
  <p:tag name="MIO_LASTDOWNLOADED" val="23.09.2018 11:38:34"/>
  <p:tag name="MIO_OBJECTNAME" val="International"/>
  <p:tag name="MIO_LASTEDITORNAME" val="Elisabeth Roman"/>
</p:tagLst>
</file>

<file path=ppt/tags/tag1768.xml><?xml version="1.0" encoding="utf-8"?>
<p:tagLst xmlns:a="http://schemas.openxmlformats.org/drawingml/2006/main" xmlns:r="http://schemas.openxmlformats.org/officeDocument/2006/relationships" xmlns:p="http://schemas.openxmlformats.org/presentationml/2006/main">
  <p:tag name="MIO_GUID" val="404a4888-9679-4898-b372-c997b4d9d7bc"/>
  <p:tag name="MIO_EKGUID" val="1f9aa066-b74b-4717-b81f-74cec6fd0c5c"/>
  <p:tag name="MIO_UPDATE" val="True"/>
  <p:tag name="MIO_VERSION" val="14.11.2017 11:45:16"/>
  <p:tag name="MIO_DBID" val="5D9FD29E-BEEC-40D7-BFBE-407D9085DE5F"/>
  <p:tag name="MIO_LASTDOWNLOADED" val="23.09.2018 11:38:20"/>
  <p:tag name="MIO_OBJECTNAME" val="Business"/>
  <p:tag name="MIO_LASTEDITORNAME" val="Elisabeth Roman"/>
</p:tagLst>
</file>

<file path=ppt/tags/tag1769.xml><?xml version="1.0" encoding="utf-8"?>
<p:tagLst xmlns:a="http://schemas.openxmlformats.org/drawingml/2006/main" xmlns:r="http://schemas.openxmlformats.org/officeDocument/2006/relationships" xmlns:p="http://schemas.openxmlformats.org/presentationml/2006/main">
  <p:tag name="MIO_GUID" val="ab8cec64-9d43-4278-9435-261a2ec265dc"/>
  <p:tag name="MIO_EKGUID" val="19358bce-6826-4d99-a68a-ab8ee9234098"/>
  <p:tag name="MIO_UPDATE" val="True"/>
  <p:tag name="MIO_VERSION" val="14.11.2017 14:41:16"/>
  <p:tag name="MIO_DBID" val="5D9FD29E-BEEC-40D7-BFBE-407D9085DE5F"/>
  <p:tag name="MIO_LASTDOWNLOADED" val="18.10.2018 08:56:54"/>
  <p:tag name="MIO_OBJECTNAME" val="Awareness"/>
  <p:tag name="MIO_LASTEDITORNAME" val="Elisabeth Roman"/>
</p:tagLst>
</file>

<file path=ppt/tags/tag177.xml><?xml version="1.0" encoding="utf-8"?>
<p:tagLst xmlns:a="http://schemas.openxmlformats.org/drawingml/2006/main" xmlns:r="http://schemas.openxmlformats.org/officeDocument/2006/relationships" xmlns:p="http://schemas.openxmlformats.org/presentationml/2006/main">
  <p:tag name="MIO_GUID" val="077483c5-9dc2-4c7a-ab11-a59bde9bbcea"/>
</p:tagLst>
</file>

<file path=ppt/tags/tag1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1.xml><?xml version="1.0" encoding="utf-8"?>
<p:tagLst xmlns:a="http://schemas.openxmlformats.org/drawingml/2006/main" xmlns:r="http://schemas.openxmlformats.org/officeDocument/2006/relationships" xmlns:p="http://schemas.openxmlformats.org/presentationml/2006/main">
  <p:tag name="MIO_GUID" val="404a4888-9679-4898-b372-c997b4d9d7bc"/>
  <p:tag name="MIO_EKGUID" val="1f9aa066-b74b-4717-b81f-74cec6fd0c5c"/>
  <p:tag name="MIO_UPDATE" val="True"/>
  <p:tag name="MIO_VERSION" val="14.11.2017 11:45:16"/>
  <p:tag name="MIO_DBID" val="5D9FD29E-BEEC-40D7-BFBE-407D9085DE5F"/>
  <p:tag name="MIO_LASTDOWNLOADED" val="23.09.2018 11:38:20"/>
  <p:tag name="MIO_OBJECTNAME" val="Business"/>
  <p:tag name="MIO_LASTEDITORNAME" val="Elisabeth Roman"/>
</p:tagLst>
</file>

<file path=ppt/tags/tag1772.xml><?xml version="1.0" encoding="utf-8"?>
<p:tagLst xmlns:a="http://schemas.openxmlformats.org/drawingml/2006/main" xmlns:r="http://schemas.openxmlformats.org/officeDocument/2006/relationships" xmlns:p="http://schemas.openxmlformats.org/presentationml/2006/main">
  <p:tag name="MIO_GUID" val="0c131d01-c78b-4c84-b77c-127563dc276f"/>
  <p:tag name="MIO_EKGUID" val="1f4f0cde-9306-4cb9-8a38-e51144c04ddf"/>
  <p:tag name="MIO_UPDATE" val="True"/>
  <p:tag name="MIO_VERSION" val="14.11.2019 14:32:26"/>
  <p:tag name="MIO_DBID" val="5D9FD29E-BEEC-40D7-BFBE-407D9085DE5F"/>
  <p:tag name="MIO_LASTDOWNLOADED" val="07.02.2020 06:25:21"/>
  <p:tag name="MIO_OBJECTNAME" val="World - regions"/>
  <p:tag name="MIO_LASTEDITORNAME" val="Daniel J"/>
</p:tagLst>
</file>

<file path=ppt/tags/tag1773.xml><?xml version="1.0" encoding="utf-8"?>
<p:tagLst xmlns:a="http://schemas.openxmlformats.org/drawingml/2006/main" xmlns:r="http://schemas.openxmlformats.org/officeDocument/2006/relationships" xmlns:p="http://schemas.openxmlformats.org/presentationml/2006/main">
  <p:tag name="MIO_GUID" val="fcf09a26-c3c5-49f5-b9ae-282cdb517a73"/>
</p:tagLst>
</file>

<file path=ppt/tags/tag1774.xml><?xml version="1.0" encoding="utf-8"?>
<p:tagLst xmlns:a="http://schemas.openxmlformats.org/drawingml/2006/main" xmlns:r="http://schemas.openxmlformats.org/officeDocument/2006/relationships" xmlns:p="http://schemas.openxmlformats.org/presentationml/2006/main">
  <p:tag name="MIO_GUID" val="3bc59d2a-b007-4232-8dd7-f97c7680854a"/>
</p:tagLst>
</file>

<file path=ppt/tags/tag1775.xml><?xml version="1.0" encoding="utf-8"?>
<p:tagLst xmlns:a="http://schemas.openxmlformats.org/drawingml/2006/main" xmlns:r="http://schemas.openxmlformats.org/officeDocument/2006/relationships" xmlns:p="http://schemas.openxmlformats.org/presentationml/2006/main">
  <p:tag name="MIO_GUID" val="3bc59d2a-b007-4232-8dd7-f97c7680854a"/>
</p:tagLst>
</file>

<file path=ppt/tags/tag1776.xml><?xml version="1.0" encoding="utf-8"?>
<p:tagLst xmlns:a="http://schemas.openxmlformats.org/drawingml/2006/main" xmlns:r="http://schemas.openxmlformats.org/officeDocument/2006/relationships" xmlns:p="http://schemas.openxmlformats.org/presentationml/2006/main">
  <p:tag name="MIO_GUID" val="057b718e-0070-4e75-983a-e3a18e3ec57d"/>
</p:tagLst>
</file>

<file path=ppt/tags/tag1777.xml><?xml version="1.0" encoding="utf-8"?>
<p:tagLst xmlns:a="http://schemas.openxmlformats.org/drawingml/2006/main" xmlns:r="http://schemas.openxmlformats.org/officeDocument/2006/relationships" xmlns:p="http://schemas.openxmlformats.org/presentationml/2006/main">
  <p:tag name="MIO_GUID" val="fcf09a26-c3c5-49f5-b9ae-282cdb517a73"/>
</p:tagLst>
</file>

<file path=ppt/tags/tag1778.xml><?xml version="1.0" encoding="utf-8"?>
<p:tagLst xmlns:a="http://schemas.openxmlformats.org/drawingml/2006/main" xmlns:r="http://schemas.openxmlformats.org/officeDocument/2006/relationships" xmlns:p="http://schemas.openxmlformats.org/presentationml/2006/main">
  <p:tag name="MIO_GUID" val="18e7e6cf-c9fb-4c0b-8e8b-fbc2737564fc"/>
</p:tagLst>
</file>

<file path=ppt/tags/tag1779.xml><?xml version="1.0" encoding="utf-8"?>
<p:tagLst xmlns:a="http://schemas.openxmlformats.org/drawingml/2006/main" xmlns:r="http://schemas.openxmlformats.org/officeDocument/2006/relationships" xmlns:p="http://schemas.openxmlformats.org/presentationml/2006/main">
  <p:tag name="MIO_GUID" val="8f438c1b-b7c1-4c83-ab2f-732b64dde97b"/>
</p:tagLst>
</file>

<file path=ppt/tags/tag178.xml><?xml version="1.0" encoding="utf-8"?>
<p:tagLst xmlns:a="http://schemas.openxmlformats.org/drawingml/2006/main" xmlns:r="http://schemas.openxmlformats.org/officeDocument/2006/relationships" xmlns:p="http://schemas.openxmlformats.org/presentationml/2006/main">
  <p:tag name="MIO_GUID" val="1a14d474-6a17-4226-9d6a-bd0edbb58902"/>
</p:tagLst>
</file>

<file path=ppt/tags/tag1780.xml><?xml version="1.0" encoding="utf-8"?>
<p:tagLst xmlns:a="http://schemas.openxmlformats.org/drawingml/2006/main" xmlns:r="http://schemas.openxmlformats.org/officeDocument/2006/relationships" xmlns:p="http://schemas.openxmlformats.org/presentationml/2006/main">
  <p:tag name="MIO_GUID" val="18e7e6cf-c9fb-4c0b-8e8b-fbc2737564fc"/>
</p:tagLst>
</file>

<file path=ppt/tags/tag1781.xml><?xml version="1.0" encoding="utf-8"?>
<p:tagLst xmlns:a="http://schemas.openxmlformats.org/drawingml/2006/main" xmlns:r="http://schemas.openxmlformats.org/officeDocument/2006/relationships" xmlns:p="http://schemas.openxmlformats.org/presentationml/2006/main">
  <p:tag name="MIO_GUID" val="25d9d417-c686-4886-9407-342296198819"/>
  <p:tag name="MIO_EKGUID" val="97a0141e-45d0-4843-8cc0-450e6b97743f"/>
  <p:tag name="MIO_UPDATE" val="True"/>
  <p:tag name="MIO_VERSION" val="15.11.2017 07:58:03"/>
  <p:tag name="MIO_DBID" val="5D9FD29E-BEEC-40D7-BFBE-407D9085DE5F"/>
  <p:tag name="MIO_LASTDOWNLOADED" val="23.09.2018 11:38:34"/>
  <p:tag name="MIO_OBJECTNAME" val="International"/>
  <p:tag name="MIO_LASTEDITORNAME" val="Elisabeth Roman"/>
</p:tagLst>
</file>

<file path=ppt/tags/tag1782.xml><?xml version="1.0" encoding="utf-8"?>
<p:tagLst xmlns:a="http://schemas.openxmlformats.org/drawingml/2006/main" xmlns:r="http://schemas.openxmlformats.org/officeDocument/2006/relationships" xmlns:p="http://schemas.openxmlformats.org/presentationml/2006/main">
  <p:tag name="MIO_GUID" val="6c8c6cac-0c14-4e06-910b-c20c4a643208"/>
</p:tagLst>
</file>

<file path=ppt/tags/tag1783.xml><?xml version="1.0" encoding="utf-8"?>
<p:tagLst xmlns:a="http://schemas.openxmlformats.org/drawingml/2006/main" xmlns:r="http://schemas.openxmlformats.org/officeDocument/2006/relationships" xmlns:p="http://schemas.openxmlformats.org/presentationml/2006/main">
  <p:tag name="MIO_GUID" val="ec68d778-2a2a-460b-9d76-a7711c832aa9"/>
</p:tagLst>
</file>

<file path=ppt/tags/tag1784.xml><?xml version="1.0" encoding="utf-8"?>
<p:tagLst xmlns:a="http://schemas.openxmlformats.org/drawingml/2006/main" xmlns:r="http://schemas.openxmlformats.org/officeDocument/2006/relationships" xmlns:p="http://schemas.openxmlformats.org/presentationml/2006/main">
  <p:tag name="MIO_GUID" val="866050bf-5c91-43e5-80da-dab87bee45b8"/>
</p:tagLst>
</file>

<file path=ppt/tags/tag1785.xml><?xml version="1.0" encoding="utf-8"?>
<p:tagLst xmlns:a="http://schemas.openxmlformats.org/drawingml/2006/main" xmlns:r="http://schemas.openxmlformats.org/officeDocument/2006/relationships" xmlns:p="http://schemas.openxmlformats.org/presentationml/2006/main">
  <p:tag name="MIO_GUID" val="2dbe2815-3c61-40f8-a9ce-be0f5616497b"/>
</p:tagLst>
</file>

<file path=ppt/tags/tag1786.xml><?xml version="1.0" encoding="utf-8"?>
<p:tagLst xmlns:a="http://schemas.openxmlformats.org/drawingml/2006/main" xmlns:r="http://schemas.openxmlformats.org/officeDocument/2006/relationships" xmlns:p="http://schemas.openxmlformats.org/presentationml/2006/main">
  <p:tag name="MIO_GUID" val="10cbc5b3-7958-4d8e-8b08-37ea716883cc"/>
</p:tagLst>
</file>

<file path=ppt/tags/tag1787.xml><?xml version="1.0" encoding="utf-8"?>
<p:tagLst xmlns:a="http://schemas.openxmlformats.org/drawingml/2006/main" xmlns:r="http://schemas.openxmlformats.org/officeDocument/2006/relationships" xmlns:p="http://schemas.openxmlformats.org/presentationml/2006/main">
  <p:tag name="MIO_GUID" val="7086e858-18e9-4230-80f1-9819dad143e7"/>
</p:tagLst>
</file>

<file path=ppt/tags/tag1788.xml><?xml version="1.0" encoding="utf-8"?>
<p:tagLst xmlns:a="http://schemas.openxmlformats.org/drawingml/2006/main" xmlns:r="http://schemas.openxmlformats.org/officeDocument/2006/relationships" xmlns:p="http://schemas.openxmlformats.org/presentationml/2006/main">
  <p:tag name="MIO_GUID" val="8a77462a-d8b6-4478-8898-689340be0b0f"/>
</p:tagLst>
</file>

<file path=ppt/tags/tag1789.xml><?xml version="1.0" encoding="utf-8"?>
<p:tagLst xmlns:a="http://schemas.openxmlformats.org/drawingml/2006/main" xmlns:r="http://schemas.openxmlformats.org/officeDocument/2006/relationships" xmlns:p="http://schemas.openxmlformats.org/presentationml/2006/main">
  <p:tag name="MIO_GUID" val="15d977f8-f3db-4ea5-9926-eb83ff8a8692"/>
</p:tagLst>
</file>

<file path=ppt/tags/tag179.xml><?xml version="1.0" encoding="utf-8"?>
<p:tagLst xmlns:a="http://schemas.openxmlformats.org/drawingml/2006/main" xmlns:r="http://schemas.openxmlformats.org/officeDocument/2006/relationships" xmlns:p="http://schemas.openxmlformats.org/presentationml/2006/main">
  <p:tag name="MIO_GUID" val="c4a4bcf4-f812-4a35-aee6-5eeb93a30114"/>
</p:tagLst>
</file>

<file path=ppt/tags/tag1790.xml><?xml version="1.0" encoding="utf-8"?>
<p:tagLst xmlns:a="http://schemas.openxmlformats.org/drawingml/2006/main" xmlns:r="http://schemas.openxmlformats.org/officeDocument/2006/relationships" xmlns:p="http://schemas.openxmlformats.org/presentationml/2006/main">
  <p:tag name="MIO_GUID" val="a292b6ba-e931-44db-b02d-ab9a3a804b40"/>
</p:tagLst>
</file>

<file path=ppt/tags/tag1791.xml><?xml version="1.0" encoding="utf-8"?>
<p:tagLst xmlns:a="http://schemas.openxmlformats.org/drawingml/2006/main" xmlns:r="http://schemas.openxmlformats.org/officeDocument/2006/relationships" xmlns:p="http://schemas.openxmlformats.org/presentationml/2006/main">
  <p:tag name="MIO_GUID" val="43844a17-3388-4ec5-8ad0-f8e1a3570443"/>
</p:tagLst>
</file>

<file path=ppt/tags/tag1792.xml><?xml version="1.0" encoding="utf-8"?>
<p:tagLst xmlns:a="http://schemas.openxmlformats.org/drawingml/2006/main" xmlns:r="http://schemas.openxmlformats.org/officeDocument/2006/relationships" xmlns:p="http://schemas.openxmlformats.org/presentationml/2006/main">
  <p:tag name="MIO_GUID" val="8c6a661c-2f61-48ae-9ff2-0cdc2ee70c19"/>
</p:tagLst>
</file>

<file path=ppt/tags/tag1793.xml><?xml version="1.0" encoding="utf-8"?>
<p:tagLst xmlns:a="http://schemas.openxmlformats.org/drawingml/2006/main" xmlns:r="http://schemas.openxmlformats.org/officeDocument/2006/relationships" xmlns:p="http://schemas.openxmlformats.org/presentationml/2006/main">
  <p:tag name="MIO_GUID" val="54afb477-b74c-4a1c-8eb7-e05f82e827af"/>
</p:tagLst>
</file>

<file path=ppt/tags/tag1794.xml><?xml version="1.0" encoding="utf-8"?>
<p:tagLst xmlns:a="http://schemas.openxmlformats.org/drawingml/2006/main" xmlns:r="http://schemas.openxmlformats.org/officeDocument/2006/relationships" xmlns:p="http://schemas.openxmlformats.org/presentationml/2006/main">
  <p:tag name="MIO_GUID" val="146d8991-cb8a-4d83-b58a-a434ae3c2638"/>
</p:tagLst>
</file>

<file path=ppt/tags/tag1795.xml><?xml version="1.0" encoding="utf-8"?>
<p:tagLst xmlns:a="http://schemas.openxmlformats.org/drawingml/2006/main" xmlns:r="http://schemas.openxmlformats.org/officeDocument/2006/relationships" xmlns:p="http://schemas.openxmlformats.org/presentationml/2006/main">
  <p:tag name="MIO_GUID" val="8693b299-656e-471c-91ce-56d9953a9f09"/>
</p:tagLst>
</file>

<file path=ppt/tags/tag1796.xml><?xml version="1.0" encoding="utf-8"?>
<p:tagLst xmlns:a="http://schemas.openxmlformats.org/drawingml/2006/main" xmlns:r="http://schemas.openxmlformats.org/officeDocument/2006/relationships" xmlns:p="http://schemas.openxmlformats.org/presentationml/2006/main">
  <p:tag name="MIO_GUID" val="f382b696-1385-4aba-a678-5c4e8c6ff2c7"/>
</p:tagLst>
</file>

<file path=ppt/tags/tag1797.xml><?xml version="1.0" encoding="utf-8"?>
<p:tagLst xmlns:a="http://schemas.openxmlformats.org/drawingml/2006/main" xmlns:r="http://schemas.openxmlformats.org/officeDocument/2006/relationships" xmlns:p="http://schemas.openxmlformats.org/presentationml/2006/main">
  <p:tag name="MIO_GUID" val="e72bb7f0-bb08-4736-a900-69a8389e1534"/>
</p:tagLst>
</file>

<file path=ppt/tags/tag1798.xml><?xml version="1.0" encoding="utf-8"?>
<p:tagLst xmlns:a="http://schemas.openxmlformats.org/drawingml/2006/main" xmlns:r="http://schemas.openxmlformats.org/officeDocument/2006/relationships" xmlns:p="http://schemas.openxmlformats.org/presentationml/2006/main">
  <p:tag name="MIO_GUID" val="3ec937cd-d910-458c-bf6e-3042ad0ea0e0"/>
</p:tagLst>
</file>

<file path=ppt/tags/tag1799.xml><?xml version="1.0" encoding="utf-8"?>
<p:tagLst xmlns:a="http://schemas.openxmlformats.org/drawingml/2006/main" xmlns:r="http://schemas.openxmlformats.org/officeDocument/2006/relationships" xmlns:p="http://schemas.openxmlformats.org/presentationml/2006/main">
  <p:tag name="MIO_GUID" val="2e361772-55b4-43d7-9274-7722a862fd68"/>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MIO_GUID" val="06bd691f-b65d-42b3-a948-5cf7e36ffb76"/>
</p:tagLst>
</file>

<file path=ppt/tags/tag1800.xml><?xml version="1.0" encoding="utf-8"?>
<p:tagLst xmlns:a="http://schemas.openxmlformats.org/drawingml/2006/main" xmlns:r="http://schemas.openxmlformats.org/officeDocument/2006/relationships" xmlns:p="http://schemas.openxmlformats.org/presentationml/2006/main">
  <p:tag name="MIO_GUID" val="d237b3cf-d90d-4a98-b4c7-c41036aa4562"/>
</p:tagLst>
</file>

<file path=ppt/tags/tag1801.xml><?xml version="1.0" encoding="utf-8"?>
<p:tagLst xmlns:a="http://schemas.openxmlformats.org/drawingml/2006/main" xmlns:r="http://schemas.openxmlformats.org/officeDocument/2006/relationships" xmlns:p="http://schemas.openxmlformats.org/presentationml/2006/main">
  <p:tag name="MIO_GUID" val="02ed511a-74c6-4680-98b6-49979c9da3a6"/>
</p:tagLst>
</file>

<file path=ppt/tags/tag1802.xml><?xml version="1.0" encoding="utf-8"?>
<p:tagLst xmlns:a="http://schemas.openxmlformats.org/drawingml/2006/main" xmlns:r="http://schemas.openxmlformats.org/officeDocument/2006/relationships" xmlns:p="http://schemas.openxmlformats.org/presentationml/2006/main">
  <p:tag name="MIO_GUID" val="d6b1a70e-bc0c-4eb6-9c64-c5187af8179f"/>
</p:tagLst>
</file>

<file path=ppt/tags/tag1803.xml><?xml version="1.0" encoding="utf-8"?>
<p:tagLst xmlns:a="http://schemas.openxmlformats.org/drawingml/2006/main" xmlns:r="http://schemas.openxmlformats.org/officeDocument/2006/relationships" xmlns:p="http://schemas.openxmlformats.org/presentationml/2006/main">
  <p:tag name="MIO_GUID" val="2357d36f-8435-4702-adc6-98cf8d1ee5a4"/>
</p:tagLst>
</file>

<file path=ppt/tags/tag1804.xml><?xml version="1.0" encoding="utf-8"?>
<p:tagLst xmlns:a="http://schemas.openxmlformats.org/drawingml/2006/main" xmlns:r="http://schemas.openxmlformats.org/officeDocument/2006/relationships" xmlns:p="http://schemas.openxmlformats.org/presentationml/2006/main">
  <p:tag name="MIO_GUID" val="2de72258-0903-4f04-835b-5fbdfc7c83e9"/>
</p:tagLst>
</file>

<file path=ppt/tags/tag1805.xml><?xml version="1.0" encoding="utf-8"?>
<p:tagLst xmlns:a="http://schemas.openxmlformats.org/drawingml/2006/main" xmlns:r="http://schemas.openxmlformats.org/officeDocument/2006/relationships" xmlns:p="http://schemas.openxmlformats.org/presentationml/2006/main">
  <p:tag name="MIO_GUID" val="a0d5551e-1ff9-4676-b2d2-9fa2e40e272c"/>
</p:tagLst>
</file>

<file path=ppt/tags/tag1806.xml><?xml version="1.0" encoding="utf-8"?>
<p:tagLst xmlns:a="http://schemas.openxmlformats.org/drawingml/2006/main" xmlns:r="http://schemas.openxmlformats.org/officeDocument/2006/relationships" xmlns:p="http://schemas.openxmlformats.org/presentationml/2006/main">
  <p:tag name="MIO_GUID" val="4ffa7c59-0008-461f-bae0-4205b3539812"/>
</p:tagLst>
</file>

<file path=ppt/tags/tag1807.xml><?xml version="1.0" encoding="utf-8"?>
<p:tagLst xmlns:a="http://schemas.openxmlformats.org/drawingml/2006/main" xmlns:r="http://schemas.openxmlformats.org/officeDocument/2006/relationships" xmlns:p="http://schemas.openxmlformats.org/presentationml/2006/main">
  <p:tag name="MIO_GUID" val="83593372-2db5-4c05-9b08-9e611dbed500"/>
</p:tagLst>
</file>

<file path=ppt/tags/tag1808.xml><?xml version="1.0" encoding="utf-8"?>
<p:tagLst xmlns:a="http://schemas.openxmlformats.org/drawingml/2006/main" xmlns:r="http://schemas.openxmlformats.org/officeDocument/2006/relationships" xmlns:p="http://schemas.openxmlformats.org/presentationml/2006/main">
  <p:tag name="MIO_GUID" val="48e8dc27-3b32-415d-9da1-2274fc5f7c39"/>
</p:tagLst>
</file>

<file path=ppt/tags/tag1809.xml><?xml version="1.0" encoding="utf-8"?>
<p:tagLst xmlns:a="http://schemas.openxmlformats.org/drawingml/2006/main" xmlns:r="http://schemas.openxmlformats.org/officeDocument/2006/relationships" xmlns:p="http://schemas.openxmlformats.org/presentationml/2006/main">
  <p:tag name="MIO_GUID" val="764b047a-f0d6-4b6b-a78d-b096ded7095e"/>
</p:tagLst>
</file>

<file path=ppt/tags/tag181.xml><?xml version="1.0" encoding="utf-8"?>
<p:tagLst xmlns:a="http://schemas.openxmlformats.org/drawingml/2006/main" xmlns:r="http://schemas.openxmlformats.org/officeDocument/2006/relationships" xmlns:p="http://schemas.openxmlformats.org/presentationml/2006/main">
  <p:tag name="MIO_GUID" val="077a904a-4819-4523-8d98-34fefffb8f2d"/>
</p:tagLst>
</file>

<file path=ppt/tags/tag1810.xml><?xml version="1.0" encoding="utf-8"?>
<p:tagLst xmlns:a="http://schemas.openxmlformats.org/drawingml/2006/main" xmlns:r="http://schemas.openxmlformats.org/officeDocument/2006/relationships" xmlns:p="http://schemas.openxmlformats.org/presentationml/2006/main">
  <p:tag name="MIO_GUID" val="9310352c-6e42-4b70-8e45-8b4efb8c1de2"/>
</p:tagLst>
</file>

<file path=ppt/tags/tag1811.xml><?xml version="1.0" encoding="utf-8"?>
<p:tagLst xmlns:a="http://schemas.openxmlformats.org/drawingml/2006/main" xmlns:r="http://schemas.openxmlformats.org/officeDocument/2006/relationships" xmlns:p="http://schemas.openxmlformats.org/presentationml/2006/main">
  <p:tag name="MIO_GUID" val="290cbcd6-db1d-438d-b78c-5650edbf4e1b"/>
</p:tagLst>
</file>

<file path=ppt/tags/tag1812.xml><?xml version="1.0" encoding="utf-8"?>
<p:tagLst xmlns:a="http://schemas.openxmlformats.org/drawingml/2006/main" xmlns:r="http://schemas.openxmlformats.org/officeDocument/2006/relationships" xmlns:p="http://schemas.openxmlformats.org/presentationml/2006/main">
  <p:tag name="MIO_GUID" val="76aa2861-beaa-49df-970e-478522ef4bc9"/>
</p:tagLst>
</file>

<file path=ppt/tags/tag1813.xml><?xml version="1.0" encoding="utf-8"?>
<p:tagLst xmlns:a="http://schemas.openxmlformats.org/drawingml/2006/main" xmlns:r="http://schemas.openxmlformats.org/officeDocument/2006/relationships" xmlns:p="http://schemas.openxmlformats.org/presentationml/2006/main">
  <p:tag name="MIO_GUID" val="b092e2fb-4374-4fc7-80ad-3996673bf7e3"/>
</p:tagLst>
</file>

<file path=ppt/tags/tag1814.xml><?xml version="1.0" encoding="utf-8"?>
<p:tagLst xmlns:a="http://schemas.openxmlformats.org/drawingml/2006/main" xmlns:r="http://schemas.openxmlformats.org/officeDocument/2006/relationships" xmlns:p="http://schemas.openxmlformats.org/presentationml/2006/main">
  <p:tag name="MIO_GUID" val="86aee767-e134-4a0f-948a-3c7e5cc83791"/>
</p:tagLst>
</file>

<file path=ppt/tags/tag1815.xml><?xml version="1.0" encoding="utf-8"?>
<p:tagLst xmlns:a="http://schemas.openxmlformats.org/drawingml/2006/main" xmlns:r="http://schemas.openxmlformats.org/officeDocument/2006/relationships" xmlns:p="http://schemas.openxmlformats.org/presentationml/2006/main">
  <p:tag name="MIO_GUID" val="82b9bf4b-9ff0-4dcb-89c8-182f0864abad"/>
</p:tagLst>
</file>

<file path=ppt/tags/tag1816.xml><?xml version="1.0" encoding="utf-8"?>
<p:tagLst xmlns:a="http://schemas.openxmlformats.org/drawingml/2006/main" xmlns:r="http://schemas.openxmlformats.org/officeDocument/2006/relationships" xmlns:p="http://schemas.openxmlformats.org/presentationml/2006/main">
  <p:tag name="MIO_GUID" val="29099586-a357-4765-95f0-2a7eca37b65c"/>
</p:tagLst>
</file>

<file path=ppt/tags/tag1817.xml><?xml version="1.0" encoding="utf-8"?>
<p:tagLst xmlns:a="http://schemas.openxmlformats.org/drawingml/2006/main" xmlns:r="http://schemas.openxmlformats.org/officeDocument/2006/relationships" xmlns:p="http://schemas.openxmlformats.org/presentationml/2006/main">
  <p:tag name="MIO_GUID" val="12544672-642e-4edc-94c0-2de5de0556a4"/>
</p:tagLst>
</file>

<file path=ppt/tags/tag1818.xml><?xml version="1.0" encoding="utf-8"?>
<p:tagLst xmlns:a="http://schemas.openxmlformats.org/drawingml/2006/main" xmlns:r="http://schemas.openxmlformats.org/officeDocument/2006/relationships" xmlns:p="http://schemas.openxmlformats.org/presentationml/2006/main">
  <p:tag name="MIO_GUID" val="5622864f-c52c-4728-8b13-b525cbc819bd"/>
</p:tagLst>
</file>

<file path=ppt/tags/tag1819.xml><?xml version="1.0" encoding="utf-8"?>
<p:tagLst xmlns:a="http://schemas.openxmlformats.org/drawingml/2006/main" xmlns:r="http://schemas.openxmlformats.org/officeDocument/2006/relationships" xmlns:p="http://schemas.openxmlformats.org/presentationml/2006/main">
  <p:tag name="MIO_GUID" val="5102c6de-0a57-4bea-9f99-88c04678a4e7"/>
</p:tagLst>
</file>

<file path=ppt/tags/tag182.xml><?xml version="1.0" encoding="utf-8"?>
<p:tagLst xmlns:a="http://schemas.openxmlformats.org/drawingml/2006/main" xmlns:r="http://schemas.openxmlformats.org/officeDocument/2006/relationships" xmlns:p="http://schemas.openxmlformats.org/presentationml/2006/main">
  <p:tag name="MIO_GUID" val="6e7b7344-507e-435a-ac0c-7285c7061c1d"/>
</p:tagLst>
</file>

<file path=ppt/tags/tag1820.xml><?xml version="1.0" encoding="utf-8"?>
<p:tagLst xmlns:a="http://schemas.openxmlformats.org/drawingml/2006/main" xmlns:r="http://schemas.openxmlformats.org/officeDocument/2006/relationships" xmlns:p="http://schemas.openxmlformats.org/presentationml/2006/main">
  <p:tag name="MIO_GUID" val="bc846fe7-ff3c-43b4-98f3-86d19c8cddaa"/>
</p:tagLst>
</file>

<file path=ppt/tags/tag1821.xml><?xml version="1.0" encoding="utf-8"?>
<p:tagLst xmlns:a="http://schemas.openxmlformats.org/drawingml/2006/main" xmlns:r="http://schemas.openxmlformats.org/officeDocument/2006/relationships" xmlns:p="http://schemas.openxmlformats.org/presentationml/2006/main">
  <p:tag name="MIO_GUID" val="e81bf5a2-b563-423a-aeec-d0145571c23d"/>
</p:tagLst>
</file>

<file path=ppt/tags/tag1822.xml><?xml version="1.0" encoding="utf-8"?>
<p:tagLst xmlns:a="http://schemas.openxmlformats.org/drawingml/2006/main" xmlns:r="http://schemas.openxmlformats.org/officeDocument/2006/relationships" xmlns:p="http://schemas.openxmlformats.org/presentationml/2006/main">
  <p:tag name="MIO_GUID" val="307a1469-bc1f-42b8-8336-a3df8864b021"/>
</p:tagLst>
</file>

<file path=ppt/tags/tag1823.xml><?xml version="1.0" encoding="utf-8"?>
<p:tagLst xmlns:a="http://schemas.openxmlformats.org/drawingml/2006/main" xmlns:r="http://schemas.openxmlformats.org/officeDocument/2006/relationships" xmlns:p="http://schemas.openxmlformats.org/presentationml/2006/main">
  <p:tag name="MIO_GUID" val="19a8e741-bade-4213-8738-425d1c5ad8a3"/>
</p:tagLst>
</file>

<file path=ppt/tags/tag1824.xml><?xml version="1.0" encoding="utf-8"?>
<p:tagLst xmlns:a="http://schemas.openxmlformats.org/drawingml/2006/main" xmlns:r="http://schemas.openxmlformats.org/officeDocument/2006/relationships" xmlns:p="http://schemas.openxmlformats.org/presentationml/2006/main">
  <p:tag name="MIO_GUID" val="163dd8d1-82cb-4f67-b1a3-8e9a27e131c2"/>
</p:tagLst>
</file>

<file path=ppt/tags/tag1825.xml><?xml version="1.0" encoding="utf-8"?>
<p:tagLst xmlns:a="http://schemas.openxmlformats.org/drawingml/2006/main" xmlns:r="http://schemas.openxmlformats.org/officeDocument/2006/relationships" xmlns:p="http://schemas.openxmlformats.org/presentationml/2006/main">
  <p:tag name="MIO_GUID" val="de833be4-e957-46a2-b034-4df62a30432a"/>
</p:tagLst>
</file>

<file path=ppt/tags/tag1826.xml><?xml version="1.0" encoding="utf-8"?>
<p:tagLst xmlns:a="http://schemas.openxmlformats.org/drawingml/2006/main" xmlns:r="http://schemas.openxmlformats.org/officeDocument/2006/relationships" xmlns:p="http://schemas.openxmlformats.org/presentationml/2006/main">
  <p:tag name="MIO_GUID" val="0bb063ad-92cf-4b8b-9559-97ba862cb568"/>
</p:tagLst>
</file>

<file path=ppt/tags/tag1827.xml><?xml version="1.0" encoding="utf-8"?>
<p:tagLst xmlns:a="http://schemas.openxmlformats.org/drawingml/2006/main" xmlns:r="http://schemas.openxmlformats.org/officeDocument/2006/relationships" xmlns:p="http://schemas.openxmlformats.org/presentationml/2006/main">
  <p:tag name="MIO_GUID" val="a93e9735-b9ca-46f0-be19-c75d80a69741"/>
</p:tagLst>
</file>

<file path=ppt/tags/tag1828.xml><?xml version="1.0" encoding="utf-8"?>
<p:tagLst xmlns:a="http://schemas.openxmlformats.org/drawingml/2006/main" xmlns:r="http://schemas.openxmlformats.org/officeDocument/2006/relationships" xmlns:p="http://schemas.openxmlformats.org/presentationml/2006/main">
  <p:tag name="MIO_GUID" val="ad081b4f-d1a6-42c9-9af0-cbd2b69979af"/>
</p:tagLst>
</file>

<file path=ppt/tags/tag1829.xml><?xml version="1.0" encoding="utf-8"?>
<p:tagLst xmlns:a="http://schemas.openxmlformats.org/drawingml/2006/main" xmlns:r="http://schemas.openxmlformats.org/officeDocument/2006/relationships" xmlns:p="http://schemas.openxmlformats.org/presentationml/2006/main">
  <p:tag name="MIO_GUID" val="450e7f26-421e-4eee-96e8-1e17cf7ff3ec"/>
</p:tagLst>
</file>

<file path=ppt/tags/tag183.xml><?xml version="1.0" encoding="utf-8"?>
<p:tagLst xmlns:a="http://schemas.openxmlformats.org/drawingml/2006/main" xmlns:r="http://schemas.openxmlformats.org/officeDocument/2006/relationships" xmlns:p="http://schemas.openxmlformats.org/presentationml/2006/main">
  <p:tag name="MIO_GUID" val="de6daaef-dfe1-4fe5-98d8-fd239a58ffba"/>
</p:tagLst>
</file>

<file path=ppt/tags/tag1830.xml><?xml version="1.0" encoding="utf-8"?>
<p:tagLst xmlns:a="http://schemas.openxmlformats.org/drawingml/2006/main" xmlns:r="http://schemas.openxmlformats.org/officeDocument/2006/relationships" xmlns:p="http://schemas.openxmlformats.org/presentationml/2006/main">
  <p:tag name="MIO_GUID" val="c36b6db3-e1aa-4e5f-b4d9-d5e667ea621d"/>
</p:tagLst>
</file>

<file path=ppt/tags/tag1831.xml><?xml version="1.0" encoding="utf-8"?>
<p:tagLst xmlns:a="http://schemas.openxmlformats.org/drawingml/2006/main" xmlns:r="http://schemas.openxmlformats.org/officeDocument/2006/relationships" xmlns:p="http://schemas.openxmlformats.org/presentationml/2006/main">
  <p:tag name="MIO_GUID" val="8d07647f-f394-4eba-97e3-9373b7d5921e"/>
</p:tagLst>
</file>

<file path=ppt/tags/tag1832.xml><?xml version="1.0" encoding="utf-8"?>
<p:tagLst xmlns:a="http://schemas.openxmlformats.org/drawingml/2006/main" xmlns:r="http://schemas.openxmlformats.org/officeDocument/2006/relationships" xmlns:p="http://schemas.openxmlformats.org/presentationml/2006/main">
  <p:tag name="MIO_GUID" val="e7956538-2a22-46c7-96d8-5d60e8498852"/>
</p:tagLst>
</file>

<file path=ppt/tags/tag1833.xml><?xml version="1.0" encoding="utf-8"?>
<p:tagLst xmlns:a="http://schemas.openxmlformats.org/drawingml/2006/main" xmlns:r="http://schemas.openxmlformats.org/officeDocument/2006/relationships" xmlns:p="http://schemas.openxmlformats.org/presentationml/2006/main">
  <p:tag name="MIO_GUID" val="a2424b4b-7afd-4110-8818-c31a13ac53ee"/>
</p:tagLst>
</file>

<file path=ppt/tags/tag1834.xml><?xml version="1.0" encoding="utf-8"?>
<p:tagLst xmlns:a="http://schemas.openxmlformats.org/drawingml/2006/main" xmlns:r="http://schemas.openxmlformats.org/officeDocument/2006/relationships" xmlns:p="http://schemas.openxmlformats.org/presentationml/2006/main">
  <p:tag name="MIO_GUID" val="8fd1422e-5604-4cb6-90f1-644ee770f2c3"/>
</p:tagLst>
</file>

<file path=ppt/tags/tag1835.xml><?xml version="1.0" encoding="utf-8"?>
<p:tagLst xmlns:a="http://schemas.openxmlformats.org/drawingml/2006/main" xmlns:r="http://schemas.openxmlformats.org/officeDocument/2006/relationships" xmlns:p="http://schemas.openxmlformats.org/presentationml/2006/main">
  <p:tag name="MIO_GUID" val="6012fbe5-720c-412b-93c5-e742273e71b8"/>
</p:tagLst>
</file>

<file path=ppt/tags/tag1836.xml><?xml version="1.0" encoding="utf-8"?>
<p:tagLst xmlns:a="http://schemas.openxmlformats.org/drawingml/2006/main" xmlns:r="http://schemas.openxmlformats.org/officeDocument/2006/relationships" xmlns:p="http://schemas.openxmlformats.org/presentationml/2006/main">
  <p:tag name="MIO_GUID" val="0649159b-18ac-4df2-a3d8-e61e039f0b61"/>
</p:tagLst>
</file>

<file path=ppt/tags/tag1837.xml><?xml version="1.0" encoding="utf-8"?>
<p:tagLst xmlns:a="http://schemas.openxmlformats.org/drawingml/2006/main" xmlns:r="http://schemas.openxmlformats.org/officeDocument/2006/relationships" xmlns:p="http://schemas.openxmlformats.org/presentationml/2006/main">
  <p:tag name="MIO_GUID" val="8e12d019-074a-4dd2-97ca-583f69d9a236"/>
</p:tagLst>
</file>

<file path=ppt/tags/tag1838.xml><?xml version="1.0" encoding="utf-8"?>
<p:tagLst xmlns:a="http://schemas.openxmlformats.org/drawingml/2006/main" xmlns:r="http://schemas.openxmlformats.org/officeDocument/2006/relationships" xmlns:p="http://schemas.openxmlformats.org/presentationml/2006/main">
  <p:tag name="MIO_GUID" val="54a7ed82-6337-4536-825c-818c0aaf31b0"/>
</p:tagLst>
</file>

<file path=ppt/tags/tag1839.xml><?xml version="1.0" encoding="utf-8"?>
<p:tagLst xmlns:a="http://schemas.openxmlformats.org/drawingml/2006/main" xmlns:r="http://schemas.openxmlformats.org/officeDocument/2006/relationships" xmlns:p="http://schemas.openxmlformats.org/presentationml/2006/main">
  <p:tag name="MIO_GUID" val="8b5e85ec-3557-4696-9104-d25601166b72"/>
</p:tagLst>
</file>

<file path=ppt/tags/tag184.xml><?xml version="1.0" encoding="utf-8"?>
<p:tagLst xmlns:a="http://schemas.openxmlformats.org/drawingml/2006/main" xmlns:r="http://schemas.openxmlformats.org/officeDocument/2006/relationships" xmlns:p="http://schemas.openxmlformats.org/presentationml/2006/main">
  <p:tag name="MIO_GUID" val="11c284bc-7130-40bb-bde1-0d1c5fbcae6b"/>
</p:tagLst>
</file>

<file path=ppt/tags/tag1840.xml><?xml version="1.0" encoding="utf-8"?>
<p:tagLst xmlns:a="http://schemas.openxmlformats.org/drawingml/2006/main" xmlns:r="http://schemas.openxmlformats.org/officeDocument/2006/relationships" xmlns:p="http://schemas.openxmlformats.org/presentationml/2006/main">
  <p:tag name="MIO_GUID" val="935be170-d542-4755-851f-f53dbb67bbbe"/>
</p:tagLst>
</file>

<file path=ppt/tags/tag1841.xml><?xml version="1.0" encoding="utf-8"?>
<p:tagLst xmlns:a="http://schemas.openxmlformats.org/drawingml/2006/main" xmlns:r="http://schemas.openxmlformats.org/officeDocument/2006/relationships" xmlns:p="http://schemas.openxmlformats.org/presentationml/2006/main">
  <p:tag name="MIO_GUID" val="cfe8792e-965f-4d7a-86c5-4c7a5512160b"/>
</p:tagLst>
</file>

<file path=ppt/tags/tag1842.xml><?xml version="1.0" encoding="utf-8"?>
<p:tagLst xmlns:a="http://schemas.openxmlformats.org/drawingml/2006/main" xmlns:r="http://schemas.openxmlformats.org/officeDocument/2006/relationships" xmlns:p="http://schemas.openxmlformats.org/presentationml/2006/main">
  <p:tag name="MIO_GUID" val="d6db844a-33fa-4624-831e-9827d8590626"/>
</p:tagLst>
</file>

<file path=ppt/tags/tag1843.xml><?xml version="1.0" encoding="utf-8"?>
<p:tagLst xmlns:a="http://schemas.openxmlformats.org/drawingml/2006/main" xmlns:r="http://schemas.openxmlformats.org/officeDocument/2006/relationships" xmlns:p="http://schemas.openxmlformats.org/presentationml/2006/main">
  <p:tag name="MIO_GUID" val="aa8161a3-c5b7-454c-b311-52837e3a6f4b"/>
</p:tagLst>
</file>

<file path=ppt/tags/tag1844.xml><?xml version="1.0" encoding="utf-8"?>
<p:tagLst xmlns:a="http://schemas.openxmlformats.org/drawingml/2006/main" xmlns:r="http://schemas.openxmlformats.org/officeDocument/2006/relationships" xmlns:p="http://schemas.openxmlformats.org/presentationml/2006/main">
  <p:tag name="MIO_GUID" val="f50be525-62f0-4b08-b5d2-abc523382529"/>
</p:tagLst>
</file>

<file path=ppt/tags/tag1845.xml><?xml version="1.0" encoding="utf-8"?>
<p:tagLst xmlns:a="http://schemas.openxmlformats.org/drawingml/2006/main" xmlns:r="http://schemas.openxmlformats.org/officeDocument/2006/relationships" xmlns:p="http://schemas.openxmlformats.org/presentationml/2006/main">
  <p:tag name="MIO_GUID" val="5b09a408-741a-4a71-b075-c78c759efe84"/>
</p:tagLst>
</file>

<file path=ppt/tags/tag1846.xml><?xml version="1.0" encoding="utf-8"?>
<p:tagLst xmlns:a="http://schemas.openxmlformats.org/drawingml/2006/main" xmlns:r="http://schemas.openxmlformats.org/officeDocument/2006/relationships" xmlns:p="http://schemas.openxmlformats.org/presentationml/2006/main">
  <p:tag name="MIO_GUID" val="654fb5a7-c2df-4bbd-9fa7-a77430d0ebf7"/>
</p:tagLst>
</file>

<file path=ppt/tags/tag1847.xml><?xml version="1.0" encoding="utf-8"?>
<p:tagLst xmlns:a="http://schemas.openxmlformats.org/drawingml/2006/main" xmlns:r="http://schemas.openxmlformats.org/officeDocument/2006/relationships" xmlns:p="http://schemas.openxmlformats.org/presentationml/2006/main">
  <p:tag name="MIO_GUID" val="ca223956-4f04-4b86-962a-2aaed056d7e9"/>
</p:tagLst>
</file>

<file path=ppt/tags/tag1848.xml><?xml version="1.0" encoding="utf-8"?>
<p:tagLst xmlns:a="http://schemas.openxmlformats.org/drawingml/2006/main" xmlns:r="http://schemas.openxmlformats.org/officeDocument/2006/relationships" xmlns:p="http://schemas.openxmlformats.org/presentationml/2006/main">
  <p:tag name="MIO_GUID" val="f399154b-92a2-401d-8b34-b12f50159869"/>
</p:tagLst>
</file>

<file path=ppt/tags/tag1849.xml><?xml version="1.0" encoding="utf-8"?>
<p:tagLst xmlns:a="http://schemas.openxmlformats.org/drawingml/2006/main" xmlns:r="http://schemas.openxmlformats.org/officeDocument/2006/relationships" xmlns:p="http://schemas.openxmlformats.org/presentationml/2006/main">
  <p:tag name="MIO_GUID" val="6e8d9a3e-1c78-4878-8c9e-cc28ef6c06a7"/>
</p:tagLst>
</file>

<file path=ppt/tags/tag185.xml><?xml version="1.0" encoding="utf-8"?>
<p:tagLst xmlns:a="http://schemas.openxmlformats.org/drawingml/2006/main" xmlns:r="http://schemas.openxmlformats.org/officeDocument/2006/relationships" xmlns:p="http://schemas.openxmlformats.org/presentationml/2006/main">
  <p:tag name="MIO_GUID" val="1dd1bc8a-41a5-4882-a805-d43022dba863"/>
</p:tagLst>
</file>

<file path=ppt/tags/tag1850.xml><?xml version="1.0" encoding="utf-8"?>
<p:tagLst xmlns:a="http://schemas.openxmlformats.org/drawingml/2006/main" xmlns:r="http://schemas.openxmlformats.org/officeDocument/2006/relationships" xmlns:p="http://schemas.openxmlformats.org/presentationml/2006/main">
  <p:tag name="MIO_GUID" val="0bab30d8-59e9-4831-87be-4655843ae140"/>
</p:tagLst>
</file>

<file path=ppt/tags/tag1851.xml><?xml version="1.0" encoding="utf-8"?>
<p:tagLst xmlns:a="http://schemas.openxmlformats.org/drawingml/2006/main" xmlns:r="http://schemas.openxmlformats.org/officeDocument/2006/relationships" xmlns:p="http://schemas.openxmlformats.org/presentationml/2006/main">
  <p:tag name="MIO_GUID" val="801b11b9-bf82-43d1-b7bb-b87534989b7b"/>
</p:tagLst>
</file>

<file path=ppt/tags/tag1852.xml><?xml version="1.0" encoding="utf-8"?>
<p:tagLst xmlns:a="http://schemas.openxmlformats.org/drawingml/2006/main" xmlns:r="http://schemas.openxmlformats.org/officeDocument/2006/relationships" xmlns:p="http://schemas.openxmlformats.org/presentationml/2006/main">
  <p:tag name="MIO_GUID" val="8db730db-78ff-4833-bf89-46489ef09b81"/>
</p:tagLst>
</file>

<file path=ppt/tags/tag1853.xml><?xml version="1.0" encoding="utf-8"?>
<p:tagLst xmlns:a="http://schemas.openxmlformats.org/drawingml/2006/main" xmlns:r="http://schemas.openxmlformats.org/officeDocument/2006/relationships" xmlns:p="http://schemas.openxmlformats.org/presentationml/2006/main">
  <p:tag name="MIO_GUID" val="f834bbba-fd97-4ca5-9c34-cd70c6254bd5"/>
</p:tagLst>
</file>

<file path=ppt/tags/tag1854.xml><?xml version="1.0" encoding="utf-8"?>
<p:tagLst xmlns:a="http://schemas.openxmlformats.org/drawingml/2006/main" xmlns:r="http://schemas.openxmlformats.org/officeDocument/2006/relationships" xmlns:p="http://schemas.openxmlformats.org/presentationml/2006/main">
  <p:tag name="MIO_GUID" val="304e6601-6a8b-42b5-978c-b95c0787b7c5"/>
</p:tagLst>
</file>

<file path=ppt/tags/tag1855.xml><?xml version="1.0" encoding="utf-8"?>
<p:tagLst xmlns:a="http://schemas.openxmlformats.org/drawingml/2006/main" xmlns:r="http://schemas.openxmlformats.org/officeDocument/2006/relationships" xmlns:p="http://schemas.openxmlformats.org/presentationml/2006/main">
  <p:tag name="MIO_GUID" val="d4d6e9cc-15c3-487a-b489-675722e32b5b"/>
</p:tagLst>
</file>

<file path=ppt/tags/tag1856.xml><?xml version="1.0" encoding="utf-8"?>
<p:tagLst xmlns:a="http://schemas.openxmlformats.org/drawingml/2006/main" xmlns:r="http://schemas.openxmlformats.org/officeDocument/2006/relationships" xmlns:p="http://schemas.openxmlformats.org/presentationml/2006/main">
  <p:tag name="MIO_GUID" val="cd6282f0-be22-4f8c-8088-62db2adbcdb2"/>
</p:tagLst>
</file>

<file path=ppt/tags/tag1857.xml><?xml version="1.0" encoding="utf-8"?>
<p:tagLst xmlns:a="http://schemas.openxmlformats.org/drawingml/2006/main" xmlns:r="http://schemas.openxmlformats.org/officeDocument/2006/relationships" xmlns:p="http://schemas.openxmlformats.org/presentationml/2006/main">
  <p:tag name="MIO_GUID" val="c024089f-3d4d-4122-804b-8d70f826915b"/>
</p:tagLst>
</file>

<file path=ppt/tags/tag1858.xml><?xml version="1.0" encoding="utf-8"?>
<p:tagLst xmlns:a="http://schemas.openxmlformats.org/drawingml/2006/main" xmlns:r="http://schemas.openxmlformats.org/officeDocument/2006/relationships" xmlns:p="http://schemas.openxmlformats.org/presentationml/2006/main">
  <p:tag name="MIO_GUID" val="e0dc3827-f225-4a22-a8ac-f77a1405d4ce"/>
</p:tagLst>
</file>

<file path=ppt/tags/tag1859.xml><?xml version="1.0" encoding="utf-8"?>
<p:tagLst xmlns:a="http://schemas.openxmlformats.org/drawingml/2006/main" xmlns:r="http://schemas.openxmlformats.org/officeDocument/2006/relationships" xmlns:p="http://schemas.openxmlformats.org/presentationml/2006/main">
  <p:tag name="MIO_GUID" val="63f32e73-8c9b-44a5-a39a-d1db91f5d3fb"/>
</p:tagLst>
</file>

<file path=ppt/tags/tag186.xml><?xml version="1.0" encoding="utf-8"?>
<p:tagLst xmlns:a="http://schemas.openxmlformats.org/drawingml/2006/main" xmlns:r="http://schemas.openxmlformats.org/officeDocument/2006/relationships" xmlns:p="http://schemas.openxmlformats.org/presentationml/2006/main">
  <p:tag name="MIO_GUID" val="6284cc76-a45c-4215-9f58-7eed1c8e9856"/>
</p:tagLst>
</file>

<file path=ppt/tags/tag1860.xml><?xml version="1.0" encoding="utf-8"?>
<p:tagLst xmlns:a="http://schemas.openxmlformats.org/drawingml/2006/main" xmlns:r="http://schemas.openxmlformats.org/officeDocument/2006/relationships" xmlns:p="http://schemas.openxmlformats.org/presentationml/2006/main">
  <p:tag name="MIO_GUID" val="c49f5545-8920-4852-bfa2-d16ddc3ec3a7"/>
</p:tagLst>
</file>

<file path=ppt/tags/tag1861.xml><?xml version="1.0" encoding="utf-8"?>
<p:tagLst xmlns:a="http://schemas.openxmlformats.org/drawingml/2006/main" xmlns:r="http://schemas.openxmlformats.org/officeDocument/2006/relationships" xmlns:p="http://schemas.openxmlformats.org/presentationml/2006/main">
  <p:tag name="MIO_GUID" val="765fc063-a000-4173-9a21-e14d192c9d2d"/>
</p:tagLst>
</file>

<file path=ppt/tags/tag1862.xml><?xml version="1.0" encoding="utf-8"?>
<p:tagLst xmlns:a="http://schemas.openxmlformats.org/drawingml/2006/main" xmlns:r="http://schemas.openxmlformats.org/officeDocument/2006/relationships" xmlns:p="http://schemas.openxmlformats.org/presentationml/2006/main">
  <p:tag name="MIO_GUID" val="af2ab7d6-2f51-4307-941b-0142e5382cac"/>
</p:tagLst>
</file>

<file path=ppt/tags/tag1863.xml><?xml version="1.0" encoding="utf-8"?>
<p:tagLst xmlns:a="http://schemas.openxmlformats.org/drawingml/2006/main" xmlns:r="http://schemas.openxmlformats.org/officeDocument/2006/relationships" xmlns:p="http://schemas.openxmlformats.org/presentationml/2006/main">
  <p:tag name="MIO_GUID" val="c6750edc-cc57-41b1-b5eb-2a4cabde8569"/>
</p:tagLst>
</file>

<file path=ppt/tags/tag1864.xml><?xml version="1.0" encoding="utf-8"?>
<p:tagLst xmlns:a="http://schemas.openxmlformats.org/drawingml/2006/main" xmlns:r="http://schemas.openxmlformats.org/officeDocument/2006/relationships" xmlns:p="http://schemas.openxmlformats.org/presentationml/2006/main">
  <p:tag name="MIO_GUID" val="3e437d61-4e0c-452c-9f38-06fb5c5b6a36"/>
</p:tagLst>
</file>

<file path=ppt/tags/tag1865.xml><?xml version="1.0" encoding="utf-8"?>
<p:tagLst xmlns:a="http://schemas.openxmlformats.org/drawingml/2006/main" xmlns:r="http://schemas.openxmlformats.org/officeDocument/2006/relationships" xmlns:p="http://schemas.openxmlformats.org/presentationml/2006/main">
  <p:tag name="MIO_GUID" val="a331dd06-cb66-48b9-be5e-092eb026c789"/>
</p:tagLst>
</file>

<file path=ppt/tags/tag1866.xml><?xml version="1.0" encoding="utf-8"?>
<p:tagLst xmlns:a="http://schemas.openxmlformats.org/drawingml/2006/main" xmlns:r="http://schemas.openxmlformats.org/officeDocument/2006/relationships" xmlns:p="http://schemas.openxmlformats.org/presentationml/2006/main">
  <p:tag name="MIO_GUID" val="5e1787c1-cad4-44b2-b316-7090aac22e36"/>
</p:tagLst>
</file>

<file path=ppt/tags/tag1867.xml><?xml version="1.0" encoding="utf-8"?>
<p:tagLst xmlns:a="http://schemas.openxmlformats.org/drawingml/2006/main" xmlns:r="http://schemas.openxmlformats.org/officeDocument/2006/relationships" xmlns:p="http://schemas.openxmlformats.org/presentationml/2006/main">
  <p:tag name="MIO_GUID" val="9c03e3b6-6266-4a5a-ae30-375ce25eb12c"/>
</p:tagLst>
</file>

<file path=ppt/tags/tag1868.xml><?xml version="1.0" encoding="utf-8"?>
<p:tagLst xmlns:a="http://schemas.openxmlformats.org/drawingml/2006/main" xmlns:r="http://schemas.openxmlformats.org/officeDocument/2006/relationships" xmlns:p="http://schemas.openxmlformats.org/presentationml/2006/main">
  <p:tag name="MIO_GUID" val="1afe7a99-35cf-4936-a784-1679bedca3d7"/>
</p:tagLst>
</file>

<file path=ppt/tags/tag1869.xml><?xml version="1.0" encoding="utf-8"?>
<p:tagLst xmlns:a="http://schemas.openxmlformats.org/drawingml/2006/main" xmlns:r="http://schemas.openxmlformats.org/officeDocument/2006/relationships" xmlns:p="http://schemas.openxmlformats.org/presentationml/2006/main">
  <p:tag name="MIO_GUID" val="bbdedd8f-d32b-447b-a882-9f712c34149a"/>
</p:tagLst>
</file>

<file path=ppt/tags/tag187.xml><?xml version="1.0" encoding="utf-8"?>
<p:tagLst xmlns:a="http://schemas.openxmlformats.org/drawingml/2006/main" xmlns:r="http://schemas.openxmlformats.org/officeDocument/2006/relationships" xmlns:p="http://schemas.openxmlformats.org/presentationml/2006/main">
  <p:tag name="MIO_GUID" val="4157cb8b-b06e-4146-a72e-564bb13d74f7"/>
</p:tagLst>
</file>

<file path=ppt/tags/tag1870.xml><?xml version="1.0" encoding="utf-8"?>
<p:tagLst xmlns:a="http://schemas.openxmlformats.org/drawingml/2006/main" xmlns:r="http://schemas.openxmlformats.org/officeDocument/2006/relationships" xmlns:p="http://schemas.openxmlformats.org/presentationml/2006/main">
  <p:tag name="MIO_GUID" val="3c7a5ebc-d510-4aca-b67d-ce39936b1f71"/>
</p:tagLst>
</file>

<file path=ppt/tags/tag1871.xml><?xml version="1.0" encoding="utf-8"?>
<p:tagLst xmlns:a="http://schemas.openxmlformats.org/drawingml/2006/main" xmlns:r="http://schemas.openxmlformats.org/officeDocument/2006/relationships" xmlns:p="http://schemas.openxmlformats.org/presentationml/2006/main">
  <p:tag name="MIO_GUID" val="35c8ffe6-a6e4-41e5-86e3-8b821dca8fed"/>
</p:tagLst>
</file>

<file path=ppt/tags/tag1872.xml><?xml version="1.0" encoding="utf-8"?>
<p:tagLst xmlns:a="http://schemas.openxmlformats.org/drawingml/2006/main" xmlns:r="http://schemas.openxmlformats.org/officeDocument/2006/relationships" xmlns:p="http://schemas.openxmlformats.org/presentationml/2006/main">
  <p:tag name="MIO_GUID" val="172a2fed-b6a5-4a80-936b-4aa904936c88"/>
</p:tagLst>
</file>

<file path=ppt/tags/tag1873.xml><?xml version="1.0" encoding="utf-8"?>
<p:tagLst xmlns:a="http://schemas.openxmlformats.org/drawingml/2006/main" xmlns:r="http://schemas.openxmlformats.org/officeDocument/2006/relationships" xmlns:p="http://schemas.openxmlformats.org/presentationml/2006/main">
  <p:tag name="MIO_GUID" val="f4e07df1-8eee-4039-b857-e8c5a6b71458"/>
</p:tagLst>
</file>

<file path=ppt/tags/tag1874.xml><?xml version="1.0" encoding="utf-8"?>
<p:tagLst xmlns:a="http://schemas.openxmlformats.org/drawingml/2006/main" xmlns:r="http://schemas.openxmlformats.org/officeDocument/2006/relationships" xmlns:p="http://schemas.openxmlformats.org/presentationml/2006/main">
  <p:tag name="MIO_GUID" val="95b21a77-27f9-4c78-bb95-d2f2ca8a32be"/>
</p:tagLst>
</file>

<file path=ppt/tags/tag1875.xml><?xml version="1.0" encoding="utf-8"?>
<p:tagLst xmlns:a="http://schemas.openxmlformats.org/drawingml/2006/main" xmlns:r="http://schemas.openxmlformats.org/officeDocument/2006/relationships" xmlns:p="http://schemas.openxmlformats.org/presentationml/2006/main">
  <p:tag name="MIO_GUID" val="13d1b220-baa2-4621-a3c4-87488c3fa8fc"/>
</p:tagLst>
</file>

<file path=ppt/tags/tag1876.xml><?xml version="1.0" encoding="utf-8"?>
<p:tagLst xmlns:a="http://schemas.openxmlformats.org/drawingml/2006/main" xmlns:r="http://schemas.openxmlformats.org/officeDocument/2006/relationships" xmlns:p="http://schemas.openxmlformats.org/presentationml/2006/main">
  <p:tag name="MIO_GUID" val="9168db10-d9e9-4c69-b032-693548192d84"/>
</p:tagLst>
</file>

<file path=ppt/tags/tag1877.xml><?xml version="1.0" encoding="utf-8"?>
<p:tagLst xmlns:a="http://schemas.openxmlformats.org/drawingml/2006/main" xmlns:r="http://schemas.openxmlformats.org/officeDocument/2006/relationships" xmlns:p="http://schemas.openxmlformats.org/presentationml/2006/main">
  <p:tag name="MIO_GUID" val="c4f31ed5-42cb-4ee1-9eca-ca21b9b84de6"/>
</p:tagLst>
</file>

<file path=ppt/tags/tag1878.xml><?xml version="1.0" encoding="utf-8"?>
<p:tagLst xmlns:a="http://schemas.openxmlformats.org/drawingml/2006/main" xmlns:r="http://schemas.openxmlformats.org/officeDocument/2006/relationships" xmlns:p="http://schemas.openxmlformats.org/presentationml/2006/main">
  <p:tag name="MIO_GUID" val="ce8ba857-f4e9-439d-82ae-7d616bfb6b33"/>
</p:tagLst>
</file>

<file path=ppt/tags/tag1879.xml><?xml version="1.0" encoding="utf-8"?>
<p:tagLst xmlns:a="http://schemas.openxmlformats.org/drawingml/2006/main" xmlns:r="http://schemas.openxmlformats.org/officeDocument/2006/relationships" xmlns:p="http://schemas.openxmlformats.org/presentationml/2006/main">
  <p:tag name="MIO_GUID" val="a76af0d0-4a43-4091-8284-7c1d6c99feea"/>
</p:tagLst>
</file>

<file path=ppt/tags/tag188.xml><?xml version="1.0" encoding="utf-8"?>
<p:tagLst xmlns:a="http://schemas.openxmlformats.org/drawingml/2006/main" xmlns:r="http://schemas.openxmlformats.org/officeDocument/2006/relationships" xmlns:p="http://schemas.openxmlformats.org/presentationml/2006/main">
  <p:tag name="MIO_GUID" val="a811342e-c9d0-401f-8e73-18dc1be6e95f"/>
</p:tagLst>
</file>

<file path=ppt/tags/tag1880.xml><?xml version="1.0" encoding="utf-8"?>
<p:tagLst xmlns:a="http://schemas.openxmlformats.org/drawingml/2006/main" xmlns:r="http://schemas.openxmlformats.org/officeDocument/2006/relationships" xmlns:p="http://schemas.openxmlformats.org/presentationml/2006/main">
  <p:tag name="MIO_GUID" val="028e0dd4-e1a7-4720-9b16-7106e0736c2d"/>
</p:tagLst>
</file>

<file path=ppt/tags/tag1881.xml><?xml version="1.0" encoding="utf-8"?>
<p:tagLst xmlns:a="http://schemas.openxmlformats.org/drawingml/2006/main" xmlns:r="http://schemas.openxmlformats.org/officeDocument/2006/relationships" xmlns:p="http://schemas.openxmlformats.org/presentationml/2006/main">
  <p:tag name="MIO_GUID" val="4fa381b8-e497-48d1-a628-fb3dd2644f97"/>
</p:tagLst>
</file>

<file path=ppt/tags/tag1882.xml><?xml version="1.0" encoding="utf-8"?>
<p:tagLst xmlns:a="http://schemas.openxmlformats.org/drawingml/2006/main" xmlns:r="http://schemas.openxmlformats.org/officeDocument/2006/relationships" xmlns:p="http://schemas.openxmlformats.org/presentationml/2006/main">
  <p:tag name="MIO_GUID" val="445a377a-a231-4a3e-894e-45dae7ccc3d1"/>
</p:tagLst>
</file>

<file path=ppt/tags/tag1883.xml><?xml version="1.0" encoding="utf-8"?>
<p:tagLst xmlns:a="http://schemas.openxmlformats.org/drawingml/2006/main" xmlns:r="http://schemas.openxmlformats.org/officeDocument/2006/relationships" xmlns:p="http://schemas.openxmlformats.org/presentationml/2006/main">
  <p:tag name="MIO_GUID" val="33b43374-ee20-40b7-b0ad-3387ab6b0349"/>
</p:tagLst>
</file>

<file path=ppt/tags/tag1884.xml><?xml version="1.0" encoding="utf-8"?>
<p:tagLst xmlns:a="http://schemas.openxmlformats.org/drawingml/2006/main" xmlns:r="http://schemas.openxmlformats.org/officeDocument/2006/relationships" xmlns:p="http://schemas.openxmlformats.org/presentationml/2006/main">
  <p:tag name="MIO_GUID" val="077483c5-9dc2-4c7a-ab11-a59bde9bbcea"/>
</p:tagLst>
</file>

<file path=ppt/tags/tag1885.xml><?xml version="1.0" encoding="utf-8"?>
<p:tagLst xmlns:a="http://schemas.openxmlformats.org/drawingml/2006/main" xmlns:r="http://schemas.openxmlformats.org/officeDocument/2006/relationships" xmlns:p="http://schemas.openxmlformats.org/presentationml/2006/main">
  <p:tag name="MIO_GUID" val="1a14d474-6a17-4226-9d6a-bd0edbb58902"/>
</p:tagLst>
</file>

<file path=ppt/tags/tag1886.xml><?xml version="1.0" encoding="utf-8"?>
<p:tagLst xmlns:a="http://schemas.openxmlformats.org/drawingml/2006/main" xmlns:r="http://schemas.openxmlformats.org/officeDocument/2006/relationships" xmlns:p="http://schemas.openxmlformats.org/presentationml/2006/main">
  <p:tag name="MIO_GUID" val="c4a4bcf4-f812-4a35-aee6-5eeb93a30114"/>
</p:tagLst>
</file>

<file path=ppt/tags/tag1887.xml><?xml version="1.0" encoding="utf-8"?>
<p:tagLst xmlns:a="http://schemas.openxmlformats.org/drawingml/2006/main" xmlns:r="http://schemas.openxmlformats.org/officeDocument/2006/relationships" xmlns:p="http://schemas.openxmlformats.org/presentationml/2006/main">
  <p:tag name="MIO_GUID" val="06bd691f-b65d-42b3-a948-5cf7e36ffb76"/>
</p:tagLst>
</file>

<file path=ppt/tags/tag1888.xml><?xml version="1.0" encoding="utf-8"?>
<p:tagLst xmlns:a="http://schemas.openxmlformats.org/drawingml/2006/main" xmlns:r="http://schemas.openxmlformats.org/officeDocument/2006/relationships" xmlns:p="http://schemas.openxmlformats.org/presentationml/2006/main">
  <p:tag name="MIO_GUID" val="077a904a-4819-4523-8d98-34fefffb8f2d"/>
</p:tagLst>
</file>

<file path=ppt/tags/tag1889.xml><?xml version="1.0" encoding="utf-8"?>
<p:tagLst xmlns:a="http://schemas.openxmlformats.org/drawingml/2006/main" xmlns:r="http://schemas.openxmlformats.org/officeDocument/2006/relationships" xmlns:p="http://schemas.openxmlformats.org/presentationml/2006/main">
  <p:tag name="MIO_GUID" val="6e7b7344-507e-435a-ac0c-7285c7061c1d"/>
</p:tagLst>
</file>

<file path=ppt/tags/tag189.xml><?xml version="1.0" encoding="utf-8"?>
<p:tagLst xmlns:a="http://schemas.openxmlformats.org/drawingml/2006/main" xmlns:r="http://schemas.openxmlformats.org/officeDocument/2006/relationships" xmlns:p="http://schemas.openxmlformats.org/presentationml/2006/main">
  <p:tag name="MIO_GUID" val="356e6f90-3010-434b-bb4b-a53985e75c00"/>
</p:tagLst>
</file>

<file path=ppt/tags/tag1890.xml><?xml version="1.0" encoding="utf-8"?>
<p:tagLst xmlns:a="http://schemas.openxmlformats.org/drawingml/2006/main" xmlns:r="http://schemas.openxmlformats.org/officeDocument/2006/relationships" xmlns:p="http://schemas.openxmlformats.org/presentationml/2006/main">
  <p:tag name="MIO_GUID" val="de6daaef-dfe1-4fe5-98d8-fd239a58ffba"/>
</p:tagLst>
</file>

<file path=ppt/tags/tag1891.xml><?xml version="1.0" encoding="utf-8"?>
<p:tagLst xmlns:a="http://schemas.openxmlformats.org/drawingml/2006/main" xmlns:r="http://schemas.openxmlformats.org/officeDocument/2006/relationships" xmlns:p="http://schemas.openxmlformats.org/presentationml/2006/main">
  <p:tag name="MIO_GUID" val="11c284bc-7130-40bb-bde1-0d1c5fbcae6b"/>
</p:tagLst>
</file>

<file path=ppt/tags/tag1892.xml><?xml version="1.0" encoding="utf-8"?>
<p:tagLst xmlns:a="http://schemas.openxmlformats.org/drawingml/2006/main" xmlns:r="http://schemas.openxmlformats.org/officeDocument/2006/relationships" xmlns:p="http://schemas.openxmlformats.org/presentationml/2006/main">
  <p:tag name="MIO_GUID" val="1dd1bc8a-41a5-4882-a805-d43022dba863"/>
</p:tagLst>
</file>

<file path=ppt/tags/tag1893.xml><?xml version="1.0" encoding="utf-8"?>
<p:tagLst xmlns:a="http://schemas.openxmlformats.org/drawingml/2006/main" xmlns:r="http://schemas.openxmlformats.org/officeDocument/2006/relationships" xmlns:p="http://schemas.openxmlformats.org/presentationml/2006/main">
  <p:tag name="MIO_GUID" val="6284cc76-a45c-4215-9f58-7eed1c8e9856"/>
</p:tagLst>
</file>

<file path=ppt/tags/tag1894.xml><?xml version="1.0" encoding="utf-8"?>
<p:tagLst xmlns:a="http://schemas.openxmlformats.org/drawingml/2006/main" xmlns:r="http://schemas.openxmlformats.org/officeDocument/2006/relationships" xmlns:p="http://schemas.openxmlformats.org/presentationml/2006/main">
  <p:tag name="MIO_GUID" val="4157cb8b-b06e-4146-a72e-564bb13d74f7"/>
</p:tagLst>
</file>

<file path=ppt/tags/tag1895.xml><?xml version="1.0" encoding="utf-8"?>
<p:tagLst xmlns:a="http://schemas.openxmlformats.org/drawingml/2006/main" xmlns:r="http://schemas.openxmlformats.org/officeDocument/2006/relationships" xmlns:p="http://schemas.openxmlformats.org/presentationml/2006/main">
  <p:tag name="MIO_GUID" val="a811342e-c9d0-401f-8e73-18dc1be6e95f"/>
</p:tagLst>
</file>

<file path=ppt/tags/tag1896.xml><?xml version="1.0" encoding="utf-8"?>
<p:tagLst xmlns:a="http://schemas.openxmlformats.org/drawingml/2006/main" xmlns:r="http://schemas.openxmlformats.org/officeDocument/2006/relationships" xmlns:p="http://schemas.openxmlformats.org/presentationml/2006/main">
  <p:tag name="MIO_GUID" val="356e6f90-3010-434b-bb4b-a53985e75c00"/>
</p:tagLst>
</file>

<file path=ppt/tags/tag1897.xml><?xml version="1.0" encoding="utf-8"?>
<p:tagLst xmlns:a="http://schemas.openxmlformats.org/drawingml/2006/main" xmlns:r="http://schemas.openxmlformats.org/officeDocument/2006/relationships" xmlns:p="http://schemas.openxmlformats.org/presentationml/2006/main">
  <p:tag name="MIO_GUID" val="53df50e0-7f30-46fd-abd4-b9e1e8e5e54a"/>
</p:tagLst>
</file>

<file path=ppt/tags/tag1898.xml><?xml version="1.0" encoding="utf-8"?>
<p:tagLst xmlns:a="http://schemas.openxmlformats.org/drawingml/2006/main" xmlns:r="http://schemas.openxmlformats.org/officeDocument/2006/relationships" xmlns:p="http://schemas.openxmlformats.org/presentationml/2006/main">
  <p:tag name="MIO_GUID" val="981fc1fb-183a-4f05-9ecc-61111ef7c5e9"/>
</p:tagLst>
</file>

<file path=ppt/tags/tag1899.xml><?xml version="1.0" encoding="utf-8"?>
<p:tagLst xmlns:a="http://schemas.openxmlformats.org/drawingml/2006/main" xmlns:r="http://schemas.openxmlformats.org/officeDocument/2006/relationships" xmlns:p="http://schemas.openxmlformats.org/presentationml/2006/main">
  <p:tag name="MIO_GUID" val="cd493574-541a-4d9c-9e42-2ae7f01be370"/>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MIO_GUID" val="53df50e0-7f30-46fd-abd4-b9e1e8e5e54a"/>
</p:tagLst>
</file>

<file path=ppt/tags/tag1900.xml><?xml version="1.0" encoding="utf-8"?>
<p:tagLst xmlns:a="http://schemas.openxmlformats.org/drawingml/2006/main" xmlns:r="http://schemas.openxmlformats.org/officeDocument/2006/relationships" xmlns:p="http://schemas.openxmlformats.org/presentationml/2006/main">
  <p:tag name="MIO_GUID" val="eb9419c6-f8e7-4537-8672-4d574e06da2d"/>
</p:tagLst>
</file>

<file path=ppt/tags/tag1901.xml><?xml version="1.0" encoding="utf-8"?>
<p:tagLst xmlns:a="http://schemas.openxmlformats.org/drawingml/2006/main" xmlns:r="http://schemas.openxmlformats.org/officeDocument/2006/relationships" xmlns:p="http://schemas.openxmlformats.org/presentationml/2006/main">
  <p:tag name="MIO_GUID" val="1462896c-8ad8-4e87-9895-b0d012b9e665"/>
</p:tagLst>
</file>

<file path=ppt/tags/tag1902.xml><?xml version="1.0" encoding="utf-8"?>
<p:tagLst xmlns:a="http://schemas.openxmlformats.org/drawingml/2006/main" xmlns:r="http://schemas.openxmlformats.org/officeDocument/2006/relationships" xmlns:p="http://schemas.openxmlformats.org/presentationml/2006/main">
  <p:tag name="MIO_GUID" val="e02734d8-36ca-4630-8a19-b0808c3f6f9d"/>
</p:tagLst>
</file>

<file path=ppt/tags/tag1903.xml><?xml version="1.0" encoding="utf-8"?>
<p:tagLst xmlns:a="http://schemas.openxmlformats.org/drawingml/2006/main" xmlns:r="http://schemas.openxmlformats.org/officeDocument/2006/relationships" xmlns:p="http://schemas.openxmlformats.org/presentationml/2006/main">
  <p:tag name="MIO_GUID" val="5c5c772f-6952-43d9-84ae-1a3446eefc83"/>
</p:tagLst>
</file>

<file path=ppt/tags/tag1904.xml><?xml version="1.0" encoding="utf-8"?>
<p:tagLst xmlns:a="http://schemas.openxmlformats.org/drawingml/2006/main" xmlns:r="http://schemas.openxmlformats.org/officeDocument/2006/relationships" xmlns:p="http://schemas.openxmlformats.org/presentationml/2006/main">
  <p:tag name="MIO_GUID" val="4624e130-9f2f-4292-9b54-1d5011a32c7a"/>
</p:tagLst>
</file>

<file path=ppt/tags/tag1905.xml><?xml version="1.0" encoding="utf-8"?>
<p:tagLst xmlns:a="http://schemas.openxmlformats.org/drawingml/2006/main" xmlns:r="http://schemas.openxmlformats.org/officeDocument/2006/relationships" xmlns:p="http://schemas.openxmlformats.org/presentationml/2006/main">
  <p:tag name="MIO_GUID" val="ade54ad8-b34f-4d37-9d71-c428536701c2"/>
</p:tagLst>
</file>

<file path=ppt/tags/tag1906.xml><?xml version="1.0" encoding="utf-8"?>
<p:tagLst xmlns:a="http://schemas.openxmlformats.org/drawingml/2006/main" xmlns:r="http://schemas.openxmlformats.org/officeDocument/2006/relationships" xmlns:p="http://schemas.openxmlformats.org/presentationml/2006/main">
  <p:tag name="MIO_GUID" val="85372411-83a5-46db-b2ef-288dc060bb5e"/>
</p:tagLst>
</file>

<file path=ppt/tags/tag1907.xml><?xml version="1.0" encoding="utf-8"?>
<p:tagLst xmlns:a="http://schemas.openxmlformats.org/drawingml/2006/main" xmlns:r="http://schemas.openxmlformats.org/officeDocument/2006/relationships" xmlns:p="http://schemas.openxmlformats.org/presentationml/2006/main">
  <p:tag name="MIO_GUID" val="5969ed53-e799-4180-8777-493378a63799"/>
</p:tagLst>
</file>

<file path=ppt/tags/tag1908.xml><?xml version="1.0" encoding="utf-8"?>
<p:tagLst xmlns:a="http://schemas.openxmlformats.org/drawingml/2006/main" xmlns:r="http://schemas.openxmlformats.org/officeDocument/2006/relationships" xmlns:p="http://schemas.openxmlformats.org/presentationml/2006/main">
  <p:tag name="MIO_GUID" val="557f6d3f-e823-4c2e-8396-87707784cfa8"/>
</p:tagLst>
</file>

<file path=ppt/tags/tag1909.xml><?xml version="1.0" encoding="utf-8"?>
<p:tagLst xmlns:a="http://schemas.openxmlformats.org/drawingml/2006/main" xmlns:r="http://schemas.openxmlformats.org/officeDocument/2006/relationships" xmlns:p="http://schemas.openxmlformats.org/presentationml/2006/main">
  <p:tag name="MIO_GUID" val="9b49c30d-06f2-4307-b26e-1139f543cce1"/>
</p:tagLst>
</file>

<file path=ppt/tags/tag191.xml><?xml version="1.0" encoding="utf-8"?>
<p:tagLst xmlns:a="http://schemas.openxmlformats.org/drawingml/2006/main" xmlns:r="http://schemas.openxmlformats.org/officeDocument/2006/relationships" xmlns:p="http://schemas.openxmlformats.org/presentationml/2006/main">
  <p:tag name="MIO_GUID" val="981fc1fb-183a-4f05-9ecc-61111ef7c5e9"/>
</p:tagLst>
</file>

<file path=ppt/tags/tag1910.xml><?xml version="1.0" encoding="utf-8"?>
<p:tagLst xmlns:a="http://schemas.openxmlformats.org/drawingml/2006/main" xmlns:r="http://schemas.openxmlformats.org/officeDocument/2006/relationships" xmlns:p="http://schemas.openxmlformats.org/presentationml/2006/main">
  <p:tag name="MIO_GUID" val="dbb39853-361e-45f9-9afa-dac675bfd979"/>
</p:tagLst>
</file>

<file path=ppt/tags/tag1911.xml><?xml version="1.0" encoding="utf-8"?>
<p:tagLst xmlns:a="http://schemas.openxmlformats.org/drawingml/2006/main" xmlns:r="http://schemas.openxmlformats.org/officeDocument/2006/relationships" xmlns:p="http://schemas.openxmlformats.org/presentationml/2006/main">
  <p:tag name="MIO_GUID" val="454f388d-e341-4156-a99a-7bed1035cf21"/>
</p:tagLst>
</file>

<file path=ppt/tags/tag1912.xml><?xml version="1.0" encoding="utf-8"?>
<p:tagLst xmlns:a="http://schemas.openxmlformats.org/drawingml/2006/main" xmlns:r="http://schemas.openxmlformats.org/officeDocument/2006/relationships" xmlns:p="http://schemas.openxmlformats.org/presentationml/2006/main">
  <p:tag name="MIO_GUID" val="20f2a12f-5b5b-4cfd-b337-e4060090ade3"/>
</p:tagLst>
</file>

<file path=ppt/tags/tag1913.xml><?xml version="1.0" encoding="utf-8"?>
<p:tagLst xmlns:a="http://schemas.openxmlformats.org/drawingml/2006/main" xmlns:r="http://schemas.openxmlformats.org/officeDocument/2006/relationships" xmlns:p="http://schemas.openxmlformats.org/presentationml/2006/main">
  <p:tag name="MIO_GUID" val="d1b48f69-61df-4571-9ffd-a36913adc0f5"/>
</p:tagLst>
</file>

<file path=ppt/tags/tag1914.xml><?xml version="1.0" encoding="utf-8"?>
<p:tagLst xmlns:a="http://schemas.openxmlformats.org/drawingml/2006/main" xmlns:r="http://schemas.openxmlformats.org/officeDocument/2006/relationships" xmlns:p="http://schemas.openxmlformats.org/presentationml/2006/main">
  <p:tag name="MIO_GUID" val="b0bbdf0d-58fb-4021-9225-a3db7f650459"/>
</p:tagLst>
</file>

<file path=ppt/tags/tag1915.xml><?xml version="1.0" encoding="utf-8"?>
<p:tagLst xmlns:a="http://schemas.openxmlformats.org/drawingml/2006/main" xmlns:r="http://schemas.openxmlformats.org/officeDocument/2006/relationships" xmlns:p="http://schemas.openxmlformats.org/presentationml/2006/main">
  <p:tag name="MIO_GUID" val="1f2182a4-f1a2-4ea6-938d-356ebe0d3311"/>
</p:tagLst>
</file>

<file path=ppt/tags/tag1916.xml><?xml version="1.0" encoding="utf-8"?>
<p:tagLst xmlns:a="http://schemas.openxmlformats.org/drawingml/2006/main" xmlns:r="http://schemas.openxmlformats.org/officeDocument/2006/relationships" xmlns:p="http://schemas.openxmlformats.org/presentationml/2006/main">
  <p:tag name="MIO_GUID" val="b3b37235-451a-4b00-bcab-a29ee898e015"/>
</p:tagLst>
</file>

<file path=ppt/tags/tag1917.xml><?xml version="1.0" encoding="utf-8"?>
<p:tagLst xmlns:a="http://schemas.openxmlformats.org/drawingml/2006/main" xmlns:r="http://schemas.openxmlformats.org/officeDocument/2006/relationships" xmlns:p="http://schemas.openxmlformats.org/presentationml/2006/main">
  <p:tag name="MIO_GUID" val="c3d69396-6aba-48d6-bbcf-11cf7b1fd635"/>
</p:tagLst>
</file>

<file path=ppt/tags/tag1918.xml><?xml version="1.0" encoding="utf-8"?>
<p:tagLst xmlns:a="http://schemas.openxmlformats.org/drawingml/2006/main" xmlns:r="http://schemas.openxmlformats.org/officeDocument/2006/relationships" xmlns:p="http://schemas.openxmlformats.org/presentationml/2006/main">
  <p:tag name="MIO_GUID" val="dc9f0e84-ca2b-4557-a746-a03bce1f425d"/>
</p:tagLst>
</file>

<file path=ppt/tags/tag1919.xml><?xml version="1.0" encoding="utf-8"?>
<p:tagLst xmlns:a="http://schemas.openxmlformats.org/drawingml/2006/main" xmlns:r="http://schemas.openxmlformats.org/officeDocument/2006/relationships" xmlns:p="http://schemas.openxmlformats.org/presentationml/2006/main">
  <p:tag name="MIO_GUID" val="91116b9e-ebc0-4716-8f5f-be1a57093251"/>
</p:tagLst>
</file>

<file path=ppt/tags/tag192.xml><?xml version="1.0" encoding="utf-8"?>
<p:tagLst xmlns:a="http://schemas.openxmlformats.org/drawingml/2006/main" xmlns:r="http://schemas.openxmlformats.org/officeDocument/2006/relationships" xmlns:p="http://schemas.openxmlformats.org/presentationml/2006/main">
  <p:tag name="MIO_GUID" val="cd493574-541a-4d9c-9e42-2ae7f01be370"/>
</p:tagLst>
</file>

<file path=ppt/tags/tag1920.xml><?xml version="1.0" encoding="utf-8"?>
<p:tagLst xmlns:a="http://schemas.openxmlformats.org/drawingml/2006/main" xmlns:r="http://schemas.openxmlformats.org/officeDocument/2006/relationships" xmlns:p="http://schemas.openxmlformats.org/presentationml/2006/main">
  <p:tag name="MIO_GUID" val="fcd8ae8c-36ea-4d10-b09e-796330092d57"/>
</p:tagLst>
</file>

<file path=ppt/tags/tag1921.xml><?xml version="1.0" encoding="utf-8"?>
<p:tagLst xmlns:a="http://schemas.openxmlformats.org/drawingml/2006/main" xmlns:r="http://schemas.openxmlformats.org/officeDocument/2006/relationships" xmlns:p="http://schemas.openxmlformats.org/presentationml/2006/main">
  <p:tag name="MIO_GUID" val="81e2c28a-965d-4e23-b24c-e378ba73b78c"/>
</p:tagLst>
</file>

<file path=ppt/tags/tag1922.xml><?xml version="1.0" encoding="utf-8"?>
<p:tagLst xmlns:a="http://schemas.openxmlformats.org/drawingml/2006/main" xmlns:r="http://schemas.openxmlformats.org/officeDocument/2006/relationships" xmlns:p="http://schemas.openxmlformats.org/presentationml/2006/main">
  <p:tag name="MIO_GUID" val="7a4a254c-2534-474f-843f-647a221209ce"/>
</p:tagLst>
</file>

<file path=ppt/tags/tag1923.xml><?xml version="1.0" encoding="utf-8"?>
<p:tagLst xmlns:a="http://schemas.openxmlformats.org/drawingml/2006/main" xmlns:r="http://schemas.openxmlformats.org/officeDocument/2006/relationships" xmlns:p="http://schemas.openxmlformats.org/presentationml/2006/main">
  <p:tag name="MIO_GUID" val="87b5a30b-0060-431c-bfd2-bcd0030fa0b7"/>
</p:tagLst>
</file>

<file path=ppt/tags/tag1924.xml><?xml version="1.0" encoding="utf-8"?>
<p:tagLst xmlns:a="http://schemas.openxmlformats.org/drawingml/2006/main" xmlns:r="http://schemas.openxmlformats.org/officeDocument/2006/relationships" xmlns:p="http://schemas.openxmlformats.org/presentationml/2006/main">
  <p:tag name="MIO_GUID" val="9e0aa8e4-6ca3-4518-bab9-b3a04cd931ad"/>
</p:tagLst>
</file>

<file path=ppt/tags/tag1925.xml><?xml version="1.0" encoding="utf-8"?>
<p:tagLst xmlns:a="http://schemas.openxmlformats.org/drawingml/2006/main" xmlns:r="http://schemas.openxmlformats.org/officeDocument/2006/relationships" xmlns:p="http://schemas.openxmlformats.org/presentationml/2006/main">
  <p:tag name="MIO_GUID" val="f76b7de3-71f8-4e24-adba-6ce752601c2d"/>
</p:tagLst>
</file>

<file path=ppt/tags/tag1926.xml><?xml version="1.0" encoding="utf-8"?>
<p:tagLst xmlns:a="http://schemas.openxmlformats.org/drawingml/2006/main" xmlns:r="http://schemas.openxmlformats.org/officeDocument/2006/relationships" xmlns:p="http://schemas.openxmlformats.org/presentationml/2006/main">
  <p:tag name="MIO_GUID" val="587b3b7d-756b-4fd0-b58d-9332975db79c"/>
</p:tagLst>
</file>

<file path=ppt/tags/tag1927.xml><?xml version="1.0" encoding="utf-8"?>
<p:tagLst xmlns:a="http://schemas.openxmlformats.org/drawingml/2006/main" xmlns:r="http://schemas.openxmlformats.org/officeDocument/2006/relationships" xmlns:p="http://schemas.openxmlformats.org/presentationml/2006/main">
  <p:tag name="MIO_GUID" val="e630bb22-9e55-4292-82f5-93b66163e7b0"/>
</p:tagLst>
</file>

<file path=ppt/tags/tag1928.xml><?xml version="1.0" encoding="utf-8"?>
<p:tagLst xmlns:a="http://schemas.openxmlformats.org/drawingml/2006/main" xmlns:r="http://schemas.openxmlformats.org/officeDocument/2006/relationships" xmlns:p="http://schemas.openxmlformats.org/presentationml/2006/main">
  <p:tag name="MIO_GUID" val="e3871ff0-0c2d-4661-a1f2-60fd3cc75232"/>
</p:tagLst>
</file>

<file path=ppt/tags/tag1929.xml><?xml version="1.0" encoding="utf-8"?>
<p:tagLst xmlns:a="http://schemas.openxmlformats.org/drawingml/2006/main" xmlns:r="http://schemas.openxmlformats.org/officeDocument/2006/relationships" xmlns:p="http://schemas.openxmlformats.org/presentationml/2006/main">
  <p:tag name="MIO_GUID" val="9a9f58bb-842d-473a-849a-677b5496eacf"/>
</p:tagLst>
</file>

<file path=ppt/tags/tag193.xml><?xml version="1.0" encoding="utf-8"?>
<p:tagLst xmlns:a="http://schemas.openxmlformats.org/drawingml/2006/main" xmlns:r="http://schemas.openxmlformats.org/officeDocument/2006/relationships" xmlns:p="http://schemas.openxmlformats.org/presentationml/2006/main">
  <p:tag name="MIO_GUID" val="eb9419c6-f8e7-4537-8672-4d574e06da2d"/>
</p:tagLst>
</file>

<file path=ppt/tags/tag1930.xml><?xml version="1.0" encoding="utf-8"?>
<p:tagLst xmlns:a="http://schemas.openxmlformats.org/drawingml/2006/main" xmlns:r="http://schemas.openxmlformats.org/officeDocument/2006/relationships" xmlns:p="http://schemas.openxmlformats.org/presentationml/2006/main">
  <p:tag name="MIO_GUID" val="f545c0d2-1adc-446b-a846-5998639b3bcb"/>
</p:tagLst>
</file>

<file path=ppt/tags/tag1931.xml><?xml version="1.0" encoding="utf-8"?>
<p:tagLst xmlns:a="http://schemas.openxmlformats.org/drawingml/2006/main" xmlns:r="http://schemas.openxmlformats.org/officeDocument/2006/relationships" xmlns:p="http://schemas.openxmlformats.org/presentationml/2006/main">
  <p:tag name="MIO_GUID" val="8d7ed997-bece-4cdb-b4f5-80101c65cab7"/>
</p:tagLst>
</file>

<file path=ppt/tags/tag1932.xml><?xml version="1.0" encoding="utf-8"?>
<p:tagLst xmlns:a="http://schemas.openxmlformats.org/drawingml/2006/main" xmlns:r="http://schemas.openxmlformats.org/officeDocument/2006/relationships" xmlns:p="http://schemas.openxmlformats.org/presentationml/2006/main">
  <p:tag name="MIO_GUID" val="51e83743-5f1f-425d-aaea-cbb306d81912"/>
</p:tagLst>
</file>

<file path=ppt/tags/tag1933.xml><?xml version="1.0" encoding="utf-8"?>
<p:tagLst xmlns:a="http://schemas.openxmlformats.org/drawingml/2006/main" xmlns:r="http://schemas.openxmlformats.org/officeDocument/2006/relationships" xmlns:p="http://schemas.openxmlformats.org/presentationml/2006/main">
  <p:tag name="MIO_GUID" val="0dbf0d7d-d24f-4dbe-bd4d-bcbeec3f9fb2"/>
</p:tagLst>
</file>

<file path=ppt/tags/tag1934.xml><?xml version="1.0" encoding="utf-8"?>
<p:tagLst xmlns:a="http://schemas.openxmlformats.org/drawingml/2006/main" xmlns:r="http://schemas.openxmlformats.org/officeDocument/2006/relationships" xmlns:p="http://schemas.openxmlformats.org/presentationml/2006/main">
  <p:tag name="MIO_GUID" val="6fabc414-f22c-4d45-9633-f504b53cd7e7"/>
</p:tagLst>
</file>

<file path=ppt/tags/tag1935.xml><?xml version="1.0" encoding="utf-8"?>
<p:tagLst xmlns:a="http://schemas.openxmlformats.org/drawingml/2006/main" xmlns:r="http://schemas.openxmlformats.org/officeDocument/2006/relationships" xmlns:p="http://schemas.openxmlformats.org/presentationml/2006/main">
  <p:tag name="MIO_GUID" val="18ade7cd-e9e3-4772-a112-fab9b596706d"/>
</p:tagLst>
</file>

<file path=ppt/tags/tag1936.xml><?xml version="1.0" encoding="utf-8"?>
<p:tagLst xmlns:a="http://schemas.openxmlformats.org/drawingml/2006/main" xmlns:r="http://schemas.openxmlformats.org/officeDocument/2006/relationships" xmlns:p="http://schemas.openxmlformats.org/presentationml/2006/main">
  <p:tag name="MIO_GUID" val="40817e11-1de9-49ad-810b-5fc7730d34d1"/>
</p:tagLst>
</file>

<file path=ppt/tags/tag1937.xml><?xml version="1.0" encoding="utf-8"?>
<p:tagLst xmlns:a="http://schemas.openxmlformats.org/drawingml/2006/main" xmlns:r="http://schemas.openxmlformats.org/officeDocument/2006/relationships" xmlns:p="http://schemas.openxmlformats.org/presentationml/2006/main">
  <p:tag name="MIO_GUID" val="92e228df-f553-4c69-9902-24cc7488cbc9"/>
</p:tagLst>
</file>

<file path=ppt/tags/tag1938.xml><?xml version="1.0" encoding="utf-8"?>
<p:tagLst xmlns:a="http://schemas.openxmlformats.org/drawingml/2006/main" xmlns:r="http://schemas.openxmlformats.org/officeDocument/2006/relationships" xmlns:p="http://schemas.openxmlformats.org/presentationml/2006/main">
  <p:tag name="MIO_GUID" val="e08f2c2f-7de7-4ec4-8601-0cdbfdd68917"/>
</p:tagLst>
</file>

<file path=ppt/tags/tag1939.xml><?xml version="1.0" encoding="utf-8"?>
<p:tagLst xmlns:a="http://schemas.openxmlformats.org/drawingml/2006/main" xmlns:r="http://schemas.openxmlformats.org/officeDocument/2006/relationships" xmlns:p="http://schemas.openxmlformats.org/presentationml/2006/main">
  <p:tag name="MIO_GUID" val="6d8af32a-dcc6-4505-a780-30940f18d718"/>
</p:tagLst>
</file>

<file path=ppt/tags/tag194.xml><?xml version="1.0" encoding="utf-8"?>
<p:tagLst xmlns:a="http://schemas.openxmlformats.org/drawingml/2006/main" xmlns:r="http://schemas.openxmlformats.org/officeDocument/2006/relationships" xmlns:p="http://schemas.openxmlformats.org/presentationml/2006/main">
  <p:tag name="MIO_GUID" val="1462896c-8ad8-4e87-9895-b0d012b9e665"/>
</p:tagLst>
</file>

<file path=ppt/tags/tag1940.xml><?xml version="1.0" encoding="utf-8"?>
<p:tagLst xmlns:a="http://schemas.openxmlformats.org/drawingml/2006/main" xmlns:r="http://schemas.openxmlformats.org/officeDocument/2006/relationships" xmlns:p="http://schemas.openxmlformats.org/presentationml/2006/main">
  <p:tag name="MIO_GUID" val="1310f85d-e806-48f4-87aa-30041e6624d2"/>
</p:tagLst>
</file>

<file path=ppt/tags/tag1941.xml><?xml version="1.0" encoding="utf-8"?>
<p:tagLst xmlns:a="http://schemas.openxmlformats.org/drawingml/2006/main" xmlns:r="http://schemas.openxmlformats.org/officeDocument/2006/relationships" xmlns:p="http://schemas.openxmlformats.org/presentationml/2006/main">
  <p:tag name="MIO_GUID" val="0fb40de7-6fea-4f0b-92a3-729abcbcc61a"/>
</p:tagLst>
</file>

<file path=ppt/tags/tag1942.xml><?xml version="1.0" encoding="utf-8"?>
<p:tagLst xmlns:a="http://schemas.openxmlformats.org/drawingml/2006/main" xmlns:r="http://schemas.openxmlformats.org/officeDocument/2006/relationships" xmlns:p="http://schemas.openxmlformats.org/presentationml/2006/main">
  <p:tag name="MIO_GUID" val="f798d5d0-d96d-49f6-9096-573a1f094c36"/>
</p:tagLst>
</file>

<file path=ppt/tags/tag1943.xml><?xml version="1.0" encoding="utf-8"?>
<p:tagLst xmlns:a="http://schemas.openxmlformats.org/drawingml/2006/main" xmlns:r="http://schemas.openxmlformats.org/officeDocument/2006/relationships" xmlns:p="http://schemas.openxmlformats.org/presentationml/2006/main">
  <p:tag name="MIO_GUID" val="663ec82c-9125-4fce-af86-248904215ad1"/>
</p:tagLst>
</file>

<file path=ppt/tags/tag1944.xml><?xml version="1.0" encoding="utf-8"?>
<p:tagLst xmlns:a="http://schemas.openxmlformats.org/drawingml/2006/main" xmlns:r="http://schemas.openxmlformats.org/officeDocument/2006/relationships" xmlns:p="http://schemas.openxmlformats.org/presentationml/2006/main">
  <p:tag name="MIO_GUID" val="ad40a1f3-8ff2-4d33-90ec-8e9a0e350600"/>
</p:tagLst>
</file>

<file path=ppt/tags/tag1945.xml><?xml version="1.0" encoding="utf-8"?>
<p:tagLst xmlns:a="http://schemas.openxmlformats.org/drawingml/2006/main" xmlns:r="http://schemas.openxmlformats.org/officeDocument/2006/relationships" xmlns:p="http://schemas.openxmlformats.org/presentationml/2006/main">
  <p:tag name="MIO_GUID" val="ca146955-00eb-4fac-938b-7fe5c73f379c"/>
</p:tagLst>
</file>

<file path=ppt/tags/tag1946.xml><?xml version="1.0" encoding="utf-8"?>
<p:tagLst xmlns:a="http://schemas.openxmlformats.org/drawingml/2006/main" xmlns:r="http://schemas.openxmlformats.org/officeDocument/2006/relationships" xmlns:p="http://schemas.openxmlformats.org/presentationml/2006/main">
  <p:tag name="MIO_GUID" val="2a2faedf-413d-4fa6-b0eb-ee73c3da8861"/>
</p:tagLst>
</file>

<file path=ppt/tags/tag1947.xml><?xml version="1.0" encoding="utf-8"?>
<p:tagLst xmlns:a="http://schemas.openxmlformats.org/drawingml/2006/main" xmlns:r="http://schemas.openxmlformats.org/officeDocument/2006/relationships" xmlns:p="http://schemas.openxmlformats.org/presentationml/2006/main">
  <p:tag name="MIO_GUID" val="a43317a0-71e7-4c73-ae6c-737f0acec6f3"/>
</p:tagLst>
</file>

<file path=ppt/tags/tag1948.xml><?xml version="1.0" encoding="utf-8"?>
<p:tagLst xmlns:a="http://schemas.openxmlformats.org/drawingml/2006/main" xmlns:r="http://schemas.openxmlformats.org/officeDocument/2006/relationships" xmlns:p="http://schemas.openxmlformats.org/presentationml/2006/main">
  <p:tag name="MIO_GUID" val="57455214-6050-45b4-9c81-764147730fdc"/>
</p:tagLst>
</file>

<file path=ppt/tags/tag1949.xml><?xml version="1.0" encoding="utf-8"?>
<p:tagLst xmlns:a="http://schemas.openxmlformats.org/drawingml/2006/main" xmlns:r="http://schemas.openxmlformats.org/officeDocument/2006/relationships" xmlns:p="http://schemas.openxmlformats.org/presentationml/2006/main">
  <p:tag name="MIO_GUID" val="8f438c1b-b7c1-4c83-ab2f-732b64dde97b"/>
</p:tagLst>
</file>

<file path=ppt/tags/tag195.xml><?xml version="1.0" encoding="utf-8"?>
<p:tagLst xmlns:a="http://schemas.openxmlformats.org/drawingml/2006/main" xmlns:r="http://schemas.openxmlformats.org/officeDocument/2006/relationships" xmlns:p="http://schemas.openxmlformats.org/presentationml/2006/main">
  <p:tag name="MIO_GUID" val="e02734d8-36ca-4630-8a19-b0808c3f6f9d"/>
</p:tagLst>
</file>

<file path=ppt/tags/tag1950.xml><?xml version="1.0" encoding="utf-8"?>
<p:tagLst xmlns:a="http://schemas.openxmlformats.org/drawingml/2006/main" xmlns:r="http://schemas.openxmlformats.org/officeDocument/2006/relationships" xmlns:p="http://schemas.openxmlformats.org/presentationml/2006/main">
  <p:tag name="MIO_GUID" val="466c6804-3ca7-4216-96e3-409d4bbe0682"/>
</p:tagLst>
</file>

<file path=ppt/tags/tag1951.xml><?xml version="1.0" encoding="utf-8"?>
<p:tagLst xmlns:a="http://schemas.openxmlformats.org/drawingml/2006/main" xmlns:r="http://schemas.openxmlformats.org/officeDocument/2006/relationships" xmlns:p="http://schemas.openxmlformats.org/presentationml/2006/main">
  <p:tag name="MIO_GUID" val="91e16b37-474f-4d0e-8f43-6f17fdf49408"/>
</p:tagLst>
</file>

<file path=ppt/tags/tag1952.xml><?xml version="1.0" encoding="utf-8"?>
<p:tagLst xmlns:a="http://schemas.openxmlformats.org/drawingml/2006/main" xmlns:r="http://schemas.openxmlformats.org/officeDocument/2006/relationships" xmlns:p="http://schemas.openxmlformats.org/presentationml/2006/main">
  <p:tag name="MIO_GUID" val="6cc2fc89-ab58-4212-8793-0ab292d31b44"/>
</p:tagLst>
</file>

<file path=ppt/tags/tag1953.xml><?xml version="1.0" encoding="utf-8"?>
<p:tagLst xmlns:a="http://schemas.openxmlformats.org/drawingml/2006/main" xmlns:r="http://schemas.openxmlformats.org/officeDocument/2006/relationships" xmlns:p="http://schemas.openxmlformats.org/presentationml/2006/main">
  <p:tag name="MIO_GUID" val="9e5afae3-c305-41e8-a29f-7ae7ebd84b61"/>
</p:tagLst>
</file>

<file path=ppt/tags/tag1954.xml><?xml version="1.0" encoding="utf-8"?>
<p:tagLst xmlns:a="http://schemas.openxmlformats.org/drawingml/2006/main" xmlns:r="http://schemas.openxmlformats.org/officeDocument/2006/relationships" xmlns:p="http://schemas.openxmlformats.org/presentationml/2006/main">
  <p:tag name="MIO_GUID" val="276c4a8c-48d4-4484-a20d-7d8c85d4db0e"/>
</p:tagLst>
</file>

<file path=ppt/tags/tag1955.xml><?xml version="1.0" encoding="utf-8"?>
<p:tagLst xmlns:a="http://schemas.openxmlformats.org/drawingml/2006/main" xmlns:r="http://schemas.openxmlformats.org/officeDocument/2006/relationships" xmlns:p="http://schemas.openxmlformats.org/presentationml/2006/main">
  <p:tag name="MIO_GUID" val="18e7e6cf-c9fb-4c0b-8e8b-fbc2737564fc"/>
</p:tagLst>
</file>

<file path=ppt/tags/tag1956.xml><?xml version="1.0" encoding="utf-8"?>
<p:tagLst xmlns:a="http://schemas.openxmlformats.org/drawingml/2006/main" xmlns:r="http://schemas.openxmlformats.org/officeDocument/2006/relationships" xmlns:p="http://schemas.openxmlformats.org/presentationml/2006/main">
  <p:tag name="MIO_GUID" val="a9995c46-1add-418c-8b9f-c578959c1ab0"/>
</p:tagLst>
</file>

<file path=ppt/tags/tag1957.xml><?xml version="1.0" encoding="utf-8"?>
<p:tagLst xmlns:a="http://schemas.openxmlformats.org/drawingml/2006/main" xmlns:r="http://schemas.openxmlformats.org/officeDocument/2006/relationships" xmlns:p="http://schemas.openxmlformats.org/presentationml/2006/main">
  <p:tag name="MIO_GUID" val="287c66f0-3af4-4728-8908-85561f05f75b"/>
</p:tagLst>
</file>

<file path=ppt/tags/tag1958.xml><?xml version="1.0" encoding="utf-8"?>
<p:tagLst xmlns:a="http://schemas.openxmlformats.org/drawingml/2006/main" xmlns:r="http://schemas.openxmlformats.org/officeDocument/2006/relationships" xmlns:p="http://schemas.openxmlformats.org/presentationml/2006/main">
  <p:tag name="MIO_GUID" val="9ea27f4a-e5bd-44f5-b85a-f1d851fcb141"/>
</p:tagLst>
</file>

<file path=ppt/tags/tag1959.xml><?xml version="1.0" encoding="utf-8"?>
<p:tagLst xmlns:a="http://schemas.openxmlformats.org/drawingml/2006/main" xmlns:r="http://schemas.openxmlformats.org/officeDocument/2006/relationships" xmlns:p="http://schemas.openxmlformats.org/presentationml/2006/main">
  <p:tag name="MIO_GUID" val="42ff9cf8-07ac-46a1-b382-36b2c69231ba"/>
</p:tagLst>
</file>

<file path=ppt/tags/tag196.xml><?xml version="1.0" encoding="utf-8"?>
<p:tagLst xmlns:a="http://schemas.openxmlformats.org/drawingml/2006/main" xmlns:r="http://schemas.openxmlformats.org/officeDocument/2006/relationships" xmlns:p="http://schemas.openxmlformats.org/presentationml/2006/main">
  <p:tag name="MIO_GUID" val="5c5c772f-6952-43d9-84ae-1a3446eefc83"/>
</p:tagLst>
</file>

<file path=ppt/tags/tag1960.xml><?xml version="1.0" encoding="utf-8"?>
<p:tagLst xmlns:a="http://schemas.openxmlformats.org/drawingml/2006/main" xmlns:r="http://schemas.openxmlformats.org/officeDocument/2006/relationships" xmlns:p="http://schemas.openxmlformats.org/presentationml/2006/main">
  <p:tag name="MIO_GUID" val="b5d3e848-bb01-4394-a514-4be53ccae88b"/>
</p:tagLst>
</file>

<file path=ppt/tags/tag1961.xml><?xml version="1.0" encoding="utf-8"?>
<p:tagLst xmlns:a="http://schemas.openxmlformats.org/drawingml/2006/main" xmlns:r="http://schemas.openxmlformats.org/officeDocument/2006/relationships" xmlns:p="http://schemas.openxmlformats.org/presentationml/2006/main">
  <p:tag name="MIO_GUID" val="7203ba97-d5b7-4743-aeb5-671e42367234"/>
</p:tagLst>
</file>

<file path=ppt/tags/tag1962.xml><?xml version="1.0" encoding="utf-8"?>
<p:tagLst xmlns:a="http://schemas.openxmlformats.org/drawingml/2006/main" xmlns:r="http://schemas.openxmlformats.org/officeDocument/2006/relationships" xmlns:p="http://schemas.openxmlformats.org/presentationml/2006/main">
  <p:tag name="MIO_GUID" val="65d7931f-2cd2-4911-9feb-1bab5a6600d0"/>
</p:tagLst>
</file>

<file path=ppt/tags/tag1963.xml><?xml version="1.0" encoding="utf-8"?>
<p:tagLst xmlns:a="http://schemas.openxmlformats.org/drawingml/2006/main" xmlns:r="http://schemas.openxmlformats.org/officeDocument/2006/relationships" xmlns:p="http://schemas.openxmlformats.org/presentationml/2006/main">
  <p:tag name="MIO_GUID" val="75211f53-ed15-488a-8c51-51eac0a0fd12"/>
</p:tagLst>
</file>

<file path=ppt/tags/tag1964.xml><?xml version="1.0" encoding="utf-8"?>
<p:tagLst xmlns:a="http://schemas.openxmlformats.org/drawingml/2006/main" xmlns:r="http://schemas.openxmlformats.org/officeDocument/2006/relationships" xmlns:p="http://schemas.openxmlformats.org/presentationml/2006/main">
  <p:tag name="MIO_GUID" val="26c26429-c563-4620-8448-56ca10b96747"/>
</p:tagLst>
</file>

<file path=ppt/tags/tag1965.xml><?xml version="1.0" encoding="utf-8"?>
<p:tagLst xmlns:a="http://schemas.openxmlformats.org/drawingml/2006/main" xmlns:r="http://schemas.openxmlformats.org/officeDocument/2006/relationships" xmlns:p="http://schemas.openxmlformats.org/presentationml/2006/main">
  <p:tag name="MIO_GUID" val="257b9bb0-5f17-431b-b10d-a35adece3f30"/>
</p:tagLst>
</file>

<file path=ppt/tags/tag1966.xml><?xml version="1.0" encoding="utf-8"?>
<p:tagLst xmlns:a="http://schemas.openxmlformats.org/drawingml/2006/main" xmlns:r="http://schemas.openxmlformats.org/officeDocument/2006/relationships" xmlns:p="http://schemas.openxmlformats.org/presentationml/2006/main">
  <p:tag name="MIO_GUID" val="e9d0ed34-d75e-4abd-8a00-511486a87353"/>
</p:tagLst>
</file>

<file path=ppt/tags/tag1967.xml><?xml version="1.0" encoding="utf-8"?>
<p:tagLst xmlns:a="http://schemas.openxmlformats.org/drawingml/2006/main" xmlns:r="http://schemas.openxmlformats.org/officeDocument/2006/relationships" xmlns:p="http://schemas.openxmlformats.org/presentationml/2006/main">
  <p:tag name="MIO_GUID" val="576e8aaa-bbb1-42c4-befb-8ef217641dcc"/>
</p:tagLst>
</file>

<file path=ppt/tags/tag1968.xml><?xml version="1.0" encoding="utf-8"?>
<p:tagLst xmlns:a="http://schemas.openxmlformats.org/drawingml/2006/main" xmlns:r="http://schemas.openxmlformats.org/officeDocument/2006/relationships" xmlns:p="http://schemas.openxmlformats.org/presentationml/2006/main">
  <p:tag name="MIO_GUID" val="687002e4-165b-4a61-a7a0-3700d5e4b47d"/>
</p:tagLst>
</file>

<file path=ppt/tags/tag1969.xml><?xml version="1.0" encoding="utf-8"?>
<p:tagLst xmlns:a="http://schemas.openxmlformats.org/drawingml/2006/main" xmlns:r="http://schemas.openxmlformats.org/officeDocument/2006/relationships" xmlns:p="http://schemas.openxmlformats.org/presentationml/2006/main">
  <p:tag name="MIO_GUID" val="589a169c-a543-47ec-a831-3292a87ea5f5"/>
</p:tagLst>
</file>

<file path=ppt/tags/tag197.xml><?xml version="1.0" encoding="utf-8"?>
<p:tagLst xmlns:a="http://schemas.openxmlformats.org/drawingml/2006/main" xmlns:r="http://schemas.openxmlformats.org/officeDocument/2006/relationships" xmlns:p="http://schemas.openxmlformats.org/presentationml/2006/main">
  <p:tag name="MIO_GUID" val="4624e130-9f2f-4292-9b54-1d5011a32c7a"/>
</p:tagLst>
</file>

<file path=ppt/tags/tag1970.xml><?xml version="1.0" encoding="utf-8"?>
<p:tagLst xmlns:a="http://schemas.openxmlformats.org/drawingml/2006/main" xmlns:r="http://schemas.openxmlformats.org/officeDocument/2006/relationships" xmlns:p="http://schemas.openxmlformats.org/presentationml/2006/main">
  <p:tag name="MIO_GUID" val="2a7c5b2e-f4af-4d43-b7e3-756d25632cde"/>
</p:tagLst>
</file>

<file path=ppt/tags/tag1971.xml><?xml version="1.0" encoding="utf-8"?>
<p:tagLst xmlns:a="http://schemas.openxmlformats.org/drawingml/2006/main" xmlns:r="http://schemas.openxmlformats.org/officeDocument/2006/relationships" xmlns:p="http://schemas.openxmlformats.org/presentationml/2006/main">
  <p:tag name="MIO_GUID" val="2d313a1d-efeb-4406-a3ee-b8a9f1f9f5f3"/>
</p:tagLst>
</file>

<file path=ppt/tags/tag1972.xml><?xml version="1.0" encoding="utf-8"?>
<p:tagLst xmlns:a="http://schemas.openxmlformats.org/drawingml/2006/main" xmlns:r="http://schemas.openxmlformats.org/officeDocument/2006/relationships" xmlns:p="http://schemas.openxmlformats.org/presentationml/2006/main">
  <p:tag name="MIO_GUID" val="505be20e-0ed1-4e5d-9cbb-3b7c37b69768"/>
</p:tagLst>
</file>

<file path=ppt/tags/tag1973.xml><?xml version="1.0" encoding="utf-8"?>
<p:tagLst xmlns:a="http://schemas.openxmlformats.org/drawingml/2006/main" xmlns:r="http://schemas.openxmlformats.org/officeDocument/2006/relationships" xmlns:p="http://schemas.openxmlformats.org/presentationml/2006/main">
  <p:tag name="MIO_GUID" val="a07ae947-ee56-4ed6-9af2-be3136666b16"/>
</p:tagLst>
</file>

<file path=ppt/tags/tag1974.xml><?xml version="1.0" encoding="utf-8"?>
<p:tagLst xmlns:a="http://schemas.openxmlformats.org/drawingml/2006/main" xmlns:r="http://schemas.openxmlformats.org/officeDocument/2006/relationships" xmlns:p="http://schemas.openxmlformats.org/presentationml/2006/main">
  <p:tag name="MIO_GUID" val="8dcbc773-ca66-47ca-874c-511aab4ccdb7"/>
</p:tagLst>
</file>

<file path=ppt/tags/tag1975.xml><?xml version="1.0" encoding="utf-8"?>
<p:tagLst xmlns:a="http://schemas.openxmlformats.org/drawingml/2006/main" xmlns:r="http://schemas.openxmlformats.org/officeDocument/2006/relationships" xmlns:p="http://schemas.openxmlformats.org/presentationml/2006/main">
  <p:tag name="MIO_GUID" val="ead83b85-a7f6-4160-bf24-cf8e0f505c32"/>
</p:tagLst>
</file>

<file path=ppt/tags/tag1976.xml><?xml version="1.0" encoding="utf-8"?>
<p:tagLst xmlns:a="http://schemas.openxmlformats.org/drawingml/2006/main" xmlns:r="http://schemas.openxmlformats.org/officeDocument/2006/relationships" xmlns:p="http://schemas.openxmlformats.org/presentationml/2006/main">
  <p:tag name="MIO_GUID" val="615be158-ab7a-4865-88a9-597321adfc9e"/>
</p:tagLst>
</file>

<file path=ppt/tags/tag1977.xml><?xml version="1.0" encoding="utf-8"?>
<p:tagLst xmlns:a="http://schemas.openxmlformats.org/drawingml/2006/main" xmlns:r="http://schemas.openxmlformats.org/officeDocument/2006/relationships" xmlns:p="http://schemas.openxmlformats.org/presentationml/2006/main">
  <p:tag name="MIO_GUID" val="3d9b3cc6-0da6-4f8a-a663-b6dd4e661756"/>
</p:tagLst>
</file>

<file path=ppt/tags/tag1978.xml><?xml version="1.0" encoding="utf-8"?>
<p:tagLst xmlns:a="http://schemas.openxmlformats.org/drawingml/2006/main" xmlns:r="http://schemas.openxmlformats.org/officeDocument/2006/relationships" xmlns:p="http://schemas.openxmlformats.org/presentationml/2006/main">
  <p:tag name="MIO_GUID" val="87232cd2-099b-4081-a02d-b98f60f39e75"/>
</p:tagLst>
</file>

<file path=ppt/tags/tag1979.xml><?xml version="1.0" encoding="utf-8"?>
<p:tagLst xmlns:a="http://schemas.openxmlformats.org/drawingml/2006/main" xmlns:r="http://schemas.openxmlformats.org/officeDocument/2006/relationships" xmlns:p="http://schemas.openxmlformats.org/presentationml/2006/main">
  <p:tag name="MIO_GUID" val="0cb10d0b-afcd-4e7e-82c8-c675d24a86d8"/>
</p:tagLst>
</file>

<file path=ppt/tags/tag198.xml><?xml version="1.0" encoding="utf-8"?>
<p:tagLst xmlns:a="http://schemas.openxmlformats.org/drawingml/2006/main" xmlns:r="http://schemas.openxmlformats.org/officeDocument/2006/relationships" xmlns:p="http://schemas.openxmlformats.org/presentationml/2006/main">
  <p:tag name="MIO_GUID" val="ade54ad8-b34f-4d37-9d71-c428536701c2"/>
</p:tagLst>
</file>

<file path=ppt/tags/tag1980.xml><?xml version="1.0" encoding="utf-8"?>
<p:tagLst xmlns:a="http://schemas.openxmlformats.org/drawingml/2006/main" xmlns:r="http://schemas.openxmlformats.org/officeDocument/2006/relationships" xmlns:p="http://schemas.openxmlformats.org/presentationml/2006/main">
  <p:tag name="MIO_GUID" val="6d81a2ea-4970-4cb7-8e0f-e4da9a41fe48"/>
</p:tagLst>
</file>

<file path=ppt/tags/tag1981.xml><?xml version="1.0" encoding="utf-8"?>
<p:tagLst xmlns:a="http://schemas.openxmlformats.org/drawingml/2006/main" xmlns:r="http://schemas.openxmlformats.org/officeDocument/2006/relationships" xmlns:p="http://schemas.openxmlformats.org/presentationml/2006/main">
  <p:tag name="MIO_GUID" val="1f2cb7c4-48f7-4ad0-a8eb-fe561bd4f48b"/>
</p:tagLst>
</file>

<file path=ppt/tags/tag1982.xml><?xml version="1.0" encoding="utf-8"?>
<p:tagLst xmlns:a="http://schemas.openxmlformats.org/drawingml/2006/main" xmlns:r="http://schemas.openxmlformats.org/officeDocument/2006/relationships" xmlns:p="http://schemas.openxmlformats.org/presentationml/2006/main">
  <p:tag name="MIO_GUID" val="e15eb0c9-35cd-4519-bbda-406a01b490aa"/>
</p:tagLst>
</file>

<file path=ppt/tags/tag1983.xml><?xml version="1.0" encoding="utf-8"?>
<p:tagLst xmlns:a="http://schemas.openxmlformats.org/drawingml/2006/main" xmlns:r="http://schemas.openxmlformats.org/officeDocument/2006/relationships" xmlns:p="http://schemas.openxmlformats.org/presentationml/2006/main">
  <p:tag name="MIO_GUID" val="00946fa9-8501-45c6-8c34-f287273a3b63"/>
</p:tagLst>
</file>

<file path=ppt/tags/tag1984.xml><?xml version="1.0" encoding="utf-8"?>
<p:tagLst xmlns:a="http://schemas.openxmlformats.org/drawingml/2006/main" xmlns:r="http://schemas.openxmlformats.org/officeDocument/2006/relationships" xmlns:p="http://schemas.openxmlformats.org/presentationml/2006/main">
  <p:tag name="MIO_GUID" val="4e0160a8-50f6-4f8b-9033-7f89f971acf0"/>
</p:tagLst>
</file>

<file path=ppt/tags/tag1985.xml><?xml version="1.0" encoding="utf-8"?>
<p:tagLst xmlns:a="http://schemas.openxmlformats.org/drawingml/2006/main" xmlns:r="http://schemas.openxmlformats.org/officeDocument/2006/relationships" xmlns:p="http://schemas.openxmlformats.org/presentationml/2006/main">
  <p:tag name="MIO_GUID" val="8fc7e110-9729-40e4-abf5-40de2c12114d"/>
</p:tagLst>
</file>

<file path=ppt/tags/tag1986.xml><?xml version="1.0" encoding="utf-8"?>
<p:tagLst xmlns:a="http://schemas.openxmlformats.org/drawingml/2006/main" xmlns:r="http://schemas.openxmlformats.org/officeDocument/2006/relationships" xmlns:p="http://schemas.openxmlformats.org/presentationml/2006/main">
  <p:tag name="MIO_GUID" val="67982106-56de-4266-a18c-3f92d6ba234c"/>
</p:tagLst>
</file>

<file path=ppt/tags/tag1987.xml><?xml version="1.0" encoding="utf-8"?>
<p:tagLst xmlns:a="http://schemas.openxmlformats.org/drawingml/2006/main" xmlns:r="http://schemas.openxmlformats.org/officeDocument/2006/relationships" xmlns:p="http://schemas.openxmlformats.org/presentationml/2006/main">
  <p:tag name="MIO_GUID" val="fb6e94bd-259b-4d08-a133-0b7deae20977"/>
</p:tagLst>
</file>

<file path=ppt/tags/tag1988.xml><?xml version="1.0" encoding="utf-8"?>
<p:tagLst xmlns:a="http://schemas.openxmlformats.org/drawingml/2006/main" xmlns:r="http://schemas.openxmlformats.org/officeDocument/2006/relationships" xmlns:p="http://schemas.openxmlformats.org/presentationml/2006/main">
  <p:tag name="MIO_GUID" val="58b6af87-cc9d-4910-a429-9a29d5826767"/>
</p:tagLst>
</file>

<file path=ppt/tags/tag1989.xml><?xml version="1.0" encoding="utf-8"?>
<p:tagLst xmlns:a="http://schemas.openxmlformats.org/drawingml/2006/main" xmlns:r="http://schemas.openxmlformats.org/officeDocument/2006/relationships" xmlns:p="http://schemas.openxmlformats.org/presentationml/2006/main">
  <p:tag name="MIO_GUID" val="bf9b1a56-6386-4b59-ab7d-14f730255b23"/>
</p:tagLst>
</file>

<file path=ppt/tags/tag199.xml><?xml version="1.0" encoding="utf-8"?>
<p:tagLst xmlns:a="http://schemas.openxmlformats.org/drawingml/2006/main" xmlns:r="http://schemas.openxmlformats.org/officeDocument/2006/relationships" xmlns:p="http://schemas.openxmlformats.org/presentationml/2006/main">
  <p:tag name="MIO_GUID" val="85372411-83a5-46db-b2ef-288dc060bb5e"/>
</p:tagLst>
</file>

<file path=ppt/tags/tag1990.xml><?xml version="1.0" encoding="utf-8"?>
<p:tagLst xmlns:a="http://schemas.openxmlformats.org/drawingml/2006/main" xmlns:r="http://schemas.openxmlformats.org/officeDocument/2006/relationships" xmlns:p="http://schemas.openxmlformats.org/presentationml/2006/main">
  <p:tag name="MIO_GUID" val="f0022f5a-d16d-44fe-af40-c0dc0b6da8e6"/>
</p:tagLst>
</file>

<file path=ppt/tags/tag1991.xml><?xml version="1.0" encoding="utf-8"?>
<p:tagLst xmlns:a="http://schemas.openxmlformats.org/drawingml/2006/main" xmlns:r="http://schemas.openxmlformats.org/officeDocument/2006/relationships" xmlns:p="http://schemas.openxmlformats.org/presentationml/2006/main">
  <p:tag name="MIO_GUID" val="0fb48f16-1a8c-4a96-a8e5-ab8e0dbc4a17"/>
</p:tagLst>
</file>

<file path=ppt/tags/tag1992.xml><?xml version="1.0" encoding="utf-8"?>
<p:tagLst xmlns:a="http://schemas.openxmlformats.org/drawingml/2006/main" xmlns:r="http://schemas.openxmlformats.org/officeDocument/2006/relationships" xmlns:p="http://schemas.openxmlformats.org/presentationml/2006/main">
  <p:tag name="MIO_GUID" val="a4f50369-0533-45b3-9310-17e5709214b3"/>
</p:tagLst>
</file>

<file path=ppt/tags/tag1993.xml><?xml version="1.0" encoding="utf-8"?>
<p:tagLst xmlns:a="http://schemas.openxmlformats.org/drawingml/2006/main" xmlns:r="http://schemas.openxmlformats.org/officeDocument/2006/relationships" xmlns:p="http://schemas.openxmlformats.org/presentationml/2006/main">
  <p:tag name="MIO_GUID" val="15ddb044-5bd3-4081-b92f-604f1ade1bad"/>
</p:tagLst>
</file>

<file path=ppt/tags/tag1994.xml><?xml version="1.0" encoding="utf-8"?>
<p:tagLst xmlns:a="http://schemas.openxmlformats.org/drawingml/2006/main" xmlns:r="http://schemas.openxmlformats.org/officeDocument/2006/relationships" xmlns:p="http://schemas.openxmlformats.org/presentationml/2006/main">
  <p:tag name="MIO_GUID" val="a6d60a9d-ffac-46fa-8538-386538a0b11f"/>
</p:tagLst>
</file>

<file path=ppt/tags/tag1995.xml><?xml version="1.0" encoding="utf-8"?>
<p:tagLst xmlns:a="http://schemas.openxmlformats.org/drawingml/2006/main" xmlns:r="http://schemas.openxmlformats.org/officeDocument/2006/relationships" xmlns:p="http://schemas.openxmlformats.org/presentationml/2006/main">
  <p:tag name="MIO_GUID" val="a230a728-02ed-45f1-a7e4-51a68d335851"/>
</p:tagLst>
</file>

<file path=ppt/tags/tag1996.xml><?xml version="1.0" encoding="utf-8"?>
<p:tagLst xmlns:a="http://schemas.openxmlformats.org/drawingml/2006/main" xmlns:r="http://schemas.openxmlformats.org/officeDocument/2006/relationships" xmlns:p="http://schemas.openxmlformats.org/presentationml/2006/main">
  <p:tag name="MIO_GUID" val="3731e09c-ed81-4bed-af8e-b117d82ae4a2"/>
</p:tagLst>
</file>

<file path=ppt/tags/tag1997.xml><?xml version="1.0" encoding="utf-8"?>
<p:tagLst xmlns:a="http://schemas.openxmlformats.org/drawingml/2006/main" xmlns:r="http://schemas.openxmlformats.org/officeDocument/2006/relationships" xmlns:p="http://schemas.openxmlformats.org/presentationml/2006/main">
  <p:tag name="MIO_GUID" val="86a92f36-9d24-48ab-ac76-a0ca81029f90"/>
</p:tagLst>
</file>

<file path=ppt/tags/tag1998.xml><?xml version="1.0" encoding="utf-8"?>
<p:tagLst xmlns:a="http://schemas.openxmlformats.org/drawingml/2006/main" xmlns:r="http://schemas.openxmlformats.org/officeDocument/2006/relationships" xmlns:p="http://schemas.openxmlformats.org/presentationml/2006/main">
  <p:tag name="MIO_GUID" val="f35c4dae-b8fb-44d9-97cf-d4d11f5b0478"/>
</p:tagLst>
</file>

<file path=ppt/tags/tag1999.xml><?xml version="1.0" encoding="utf-8"?>
<p:tagLst xmlns:a="http://schemas.openxmlformats.org/drawingml/2006/main" xmlns:r="http://schemas.openxmlformats.org/officeDocument/2006/relationships" xmlns:p="http://schemas.openxmlformats.org/presentationml/2006/main">
  <p:tag name="MIO_GUID" val="f289425b-523e-4219-be02-8dc1ff93cec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MIO_GUID" val="5969ed53-e799-4180-8777-493378a63799"/>
</p:tagLst>
</file>

<file path=ppt/tags/tag2000.xml><?xml version="1.0" encoding="utf-8"?>
<p:tagLst xmlns:a="http://schemas.openxmlformats.org/drawingml/2006/main" xmlns:r="http://schemas.openxmlformats.org/officeDocument/2006/relationships" xmlns:p="http://schemas.openxmlformats.org/presentationml/2006/main">
  <p:tag name="MIO_GUID" val="cc35c4e3-c3d2-4137-ab3d-645cf5ca1750"/>
</p:tagLst>
</file>

<file path=ppt/tags/tag2001.xml><?xml version="1.0" encoding="utf-8"?>
<p:tagLst xmlns:a="http://schemas.openxmlformats.org/drawingml/2006/main" xmlns:r="http://schemas.openxmlformats.org/officeDocument/2006/relationships" xmlns:p="http://schemas.openxmlformats.org/presentationml/2006/main">
  <p:tag name="MIO_GUID" val="0638ca4f-648a-47ae-ad2c-4424bc078e00"/>
</p:tagLst>
</file>

<file path=ppt/tags/tag2002.xml><?xml version="1.0" encoding="utf-8"?>
<p:tagLst xmlns:a="http://schemas.openxmlformats.org/drawingml/2006/main" xmlns:r="http://schemas.openxmlformats.org/officeDocument/2006/relationships" xmlns:p="http://schemas.openxmlformats.org/presentationml/2006/main">
  <p:tag name="MIO_GUID" val="b35ebef1-da8d-4811-9160-2c6b0353fd2b"/>
</p:tagLst>
</file>

<file path=ppt/tags/tag2003.xml><?xml version="1.0" encoding="utf-8"?>
<p:tagLst xmlns:a="http://schemas.openxmlformats.org/drawingml/2006/main" xmlns:r="http://schemas.openxmlformats.org/officeDocument/2006/relationships" xmlns:p="http://schemas.openxmlformats.org/presentationml/2006/main">
  <p:tag name="MIO_GUID" val="6c97bb5e-7acd-4aab-9e7b-059fe0b1da5b"/>
</p:tagLst>
</file>

<file path=ppt/tags/tag2004.xml><?xml version="1.0" encoding="utf-8"?>
<p:tagLst xmlns:a="http://schemas.openxmlformats.org/drawingml/2006/main" xmlns:r="http://schemas.openxmlformats.org/officeDocument/2006/relationships" xmlns:p="http://schemas.openxmlformats.org/presentationml/2006/main">
  <p:tag name="MIO_GUID" val="193784fd-7626-48e4-a9bd-89a6ace71314"/>
</p:tagLst>
</file>

<file path=ppt/tags/tag2005.xml><?xml version="1.0" encoding="utf-8"?>
<p:tagLst xmlns:a="http://schemas.openxmlformats.org/drawingml/2006/main" xmlns:r="http://schemas.openxmlformats.org/officeDocument/2006/relationships" xmlns:p="http://schemas.openxmlformats.org/presentationml/2006/main">
  <p:tag name="MIO_GUID" val="7ff40aa9-d8b4-42b9-918e-cf681fec8ad5"/>
</p:tagLst>
</file>

<file path=ppt/tags/tag2006.xml><?xml version="1.0" encoding="utf-8"?>
<p:tagLst xmlns:a="http://schemas.openxmlformats.org/drawingml/2006/main" xmlns:r="http://schemas.openxmlformats.org/officeDocument/2006/relationships" xmlns:p="http://schemas.openxmlformats.org/presentationml/2006/main">
  <p:tag name="MIO_GUID" val="74725d00-5907-4442-b676-27b26b6b1ce2"/>
</p:tagLst>
</file>

<file path=ppt/tags/tag2007.xml><?xml version="1.0" encoding="utf-8"?>
<p:tagLst xmlns:a="http://schemas.openxmlformats.org/drawingml/2006/main" xmlns:r="http://schemas.openxmlformats.org/officeDocument/2006/relationships" xmlns:p="http://schemas.openxmlformats.org/presentationml/2006/main">
  <p:tag name="MIO_GUID" val="fcceed0c-4a56-49ee-8ba2-628fcf027e01"/>
</p:tagLst>
</file>

<file path=ppt/tags/tag2008.xml><?xml version="1.0" encoding="utf-8"?>
<p:tagLst xmlns:a="http://schemas.openxmlformats.org/drawingml/2006/main" xmlns:r="http://schemas.openxmlformats.org/officeDocument/2006/relationships" xmlns:p="http://schemas.openxmlformats.org/presentationml/2006/main">
  <p:tag name="MIO_GUID" val="34664ee0-4cce-4cdd-92ff-a6d26fefac0d"/>
</p:tagLst>
</file>

<file path=ppt/tags/tag2009.xml><?xml version="1.0" encoding="utf-8"?>
<p:tagLst xmlns:a="http://schemas.openxmlformats.org/drawingml/2006/main" xmlns:r="http://schemas.openxmlformats.org/officeDocument/2006/relationships" xmlns:p="http://schemas.openxmlformats.org/presentationml/2006/main">
  <p:tag name="MIO_GUID" val="19e325fb-c8bb-4293-83bc-41e4329f44d7"/>
</p:tagLst>
</file>

<file path=ppt/tags/tag201.xml><?xml version="1.0" encoding="utf-8"?>
<p:tagLst xmlns:a="http://schemas.openxmlformats.org/drawingml/2006/main" xmlns:r="http://schemas.openxmlformats.org/officeDocument/2006/relationships" xmlns:p="http://schemas.openxmlformats.org/presentationml/2006/main">
  <p:tag name="MIO_GUID" val="557f6d3f-e823-4c2e-8396-87707784cfa8"/>
</p:tagLst>
</file>

<file path=ppt/tags/tag2010.xml><?xml version="1.0" encoding="utf-8"?>
<p:tagLst xmlns:a="http://schemas.openxmlformats.org/drawingml/2006/main" xmlns:r="http://schemas.openxmlformats.org/officeDocument/2006/relationships" xmlns:p="http://schemas.openxmlformats.org/presentationml/2006/main">
  <p:tag name="MIO_GUID" val="ddf81953-e87b-4cfa-acde-ef107ff31a24"/>
</p:tagLst>
</file>

<file path=ppt/tags/tag2011.xml><?xml version="1.0" encoding="utf-8"?>
<p:tagLst xmlns:a="http://schemas.openxmlformats.org/drawingml/2006/main" xmlns:r="http://schemas.openxmlformats.org/officeDocument/2006/relationships" xmlns:p="http://schemas.openxmlformats.org/presentationml/2006/main">
  <p:tag name="MIO_GUID" val="b5a3cfbf-ec65-484e-9713-cb14be4a9420"/>
</p:tagLst>
</file>

<file path=ppt/tags/tag2012.xml><?xml version="1.0" encoding="utf-8"?>
<p:tagLst xmlns:a="http://schemas.openxmlformats.org/drawingml/2006/main" xmlns:r="http://schemas.openxmlformats.org/officeDocument/2006/relationships" xmlns:p="http://schemas.openxmlformats.org/presentationml/2006/main">
  <p:tag name="MIO_GUID" val="77c734c8-3d63-4fac-8135-d97b50bf3336"/>
</p:tagLst>
</file>

<file path=ppt/tags/tag2013.xml><?xml version="1.0" encoding="utf-8"?>
<p:tagLst xmlns:a="http://schemas.openxmlformats.org/drawingml/2006/main" xmlns:r="http://schemas.openxmlformats.org/officeDocument/2006/relationships" xmlns:p="http://schemas.openxmlformats.org/presentationml/2006/main">
  <p:tag name="MIO_GUID" val="b9c7ca41-4b7f-444b-a91c-7aab37b3ae15"/>
</p:tagLst>
</file>

<file path=ppt/tags/tag2014.xml><?xml version="1.0" encoding="utf-8"?>
<p:tagLst xmlns:a="http://schemas.openxmlformats.org/drawingml/2006/main" xmlns:r="http://schemas.openxmlformats.org/officeDocument/2006/relationships" xmlns:p="http://schemas.openxmlformats.org/presentationml/2006/main">
  <p:tag name="MIO_GUID" val="dfc32823-e7ba-449c-b5ec-a32ae684e8f1"/>
</p:tagLst>
</file>

<file path=ppt/tags/tag2015.xml><?xml version="1.0" encoding="utf-8"?>
<p:tagLst xmlns:a="http://schemas.openxmlformats.org/drawingml/2006/main" xmlns:r="http://schemas.openxmlformats.org/officeDocument/2006/relationships" xmlns:p="http://schemas.openxmlformats.org/presentationml/2006/main">
  <p:tag name="MIO_GUID" val="43c08655-c3e3-435f-84f0-854e397297f1"/>
</p:tagLst>
</file>

<file path=ppt/tags/tag2016.xml><?xml version="1.0" encoding="utf-8"?>
<p:tagLst xmlns:a="http://schemas.openxmlformats.org/drawingml/2006/main" xmlns:r="http://schemas.openxmlformats.org/officeDocument/2006/relationships" xmlns:p="http://schemas.openxmlformats.org/presentationml/2006/main">
  <p:tag name="MIO_GUID" val="79d09bc5-7146-4aa3-879d-6ddf60f3dc86"/>
</p:tagLst>
</file>

<file path=ppt/tags/tag2017.xml><?xml version="1.0" encoding="utf-8"?>
<p:tagLst xmlns:a="http://schemas.openxmlformats.org/drawingml/2006/main" xmlns:r="http://schemas.openxmlformats.org/officeDocument/2006/relationships" xmlns:p="http://schemas.openxmlformats.org/presentationml/2006/main">
  <p:tag name="MIO_GUID" val="77dfa53a-b4b0-4024-86ee-36811fbb8976"/>
</p:tagLst>
</file>

<file path=ppt/tags/tag2018.xml><?xml version="1.0" encoding="utf-8"?>
<p:tagLst xmlns:a="http://schemas.openxmlformats.org/drawingml/2006/main" xmlns:r="http://schemas.openxmlformats.org/officeDocument/2006/relationships" xmlns:p="http://schemas.openxmlformats.org/presentationml/2006/main">
  <p:tag name="MIO_GUID" val="f3187b2e-de49-4503-8652-03e3af6c1eb5"/>
</p:tagLst>
</file>

<file path=ppt/tags/tag2019.xml><?xml version="1.0" encoding="utf-8"?>
<p:tagLst xmlns:a="http://schemas.openxmlformats.org/drawingml/2006/main" xmlns:r="http://schemas.openxmlformats.org/officeDocument/2006/relationships" xmlns:p="http://schemas.openxmlformats.org/presentationml/2006/main">
  <p:tag name="MIO_GUID" val="731d9f18-a08a-49fb-a6ec-04296c01626d"/>
</p:tagLst>
</file>

<file path=ppt/tags/tag202.xml><?xml version="1.0" encoding="utf-8"?>
<p:tagLst xmlns:a="http://schemas.openxmlformats.org/drawingml/2006/main" xmlns:r="http://schemas.openxmlformats.org/officeDocument/2006/relationships" xmlns:p="http://schemas.openxmlformats.org/presentationml/2006/main">
  <p:tag name="MIO_GUID" val="9b49c30d-06f2-4307-b26e-1139f543cce1"/>
</p:tagLst>
</file>

<file path=ppt/tags/tag2020.xml><?xml version="1.0" encoding="utf-8"?>
<p:tagLst xmlns:a="http://schemas.openxmlformats.org/drawingml/2006/main" xmlns:r="http://schemas.openxmlformats.org/officeDocument/2006/relationships" xmlns:p="http://schemas.openxmlformats.org/presentationml/2006/main">
  <p:tag name="MIO_GUID" val="61c774e2-56ce-47af-8633-bbce208ac2b4"/>
</p:tagLst>
</file>

<file path=ppt/tags/tag2021.xml><?xml version="1.0" encoding="utf-8"?>
<p:tagLst xmlns:a="http://schemas.openxmlformats.org/drawingml/2006/main" xmlns:r="http://schemas.openxmlformats.org/officeDocument/2006/relationships" xmlns:p="http://schemas.openxmlformats.org/presentationml/2006/main">
  <p:tag name="MIO_GUID" val="b94d7356-9278-4920-ba20-29c7a31771e1"/>
</p:tagLst>
</file>

<file path=ppt/tags/tag2022.xml><?xml version="1.0" encoding="utf-8"?>
<p:tagLst xmlns:a="http://schemas.openxmlformats.org/drawingml/2006/main" xmlns:r="http://schemas.openxmlformats.org/officeDocument/2006/relationships" xmlns:p="http://schemas.openxmlformats.org/presentationml/2006/main">
  <p:tag name="MIO_GUID" val="52acb177-f74b-458c-93a9-0a0392eb2d90"/>
</p:tagLst>
</file>

<file path=ppt/tags/tag2023.xml><?xml version="1.0" encoding="utf-8"?>
<p:tagLst xmlns:a="http://schemas.openxmlformats.org/drawingml/2006/main" xmlns:r="http://schemas.openxmlformats.org/officeDocument/2006/relationships" xmlns:p="http://schemas.openxmlformats.org/presentationml/2006/main">
  <p:tag name="MIO_GUID" val="aea538d2-215e-452a-b3fc-f94df355a7bd"/>
</p:tagLst>
</file>

<file path=ppt/tags/tag2024.xml><?xml version="1.0" encoding="utf-8"?>
<p:tagLst xmlns:a="http://schemas.openxmlformats.org/drawingml/2006/main" xmlns:r="http://schemas.openxmlformats.org/officeDocument/2006/relationships" xmlns:p="http://schemas.openxmlformats.org/presentationml/2006/main">
  <p:tag name="MIO_GUID" val="4dbdfcff-474d-437c-89e4-bc18d0f06aac"/>
</p:tagLst>
</file>

<file path=ppt/tags/tag2025.xml><?xml version="1.0" encoding="utf-8"?>
<p:tagLst xmlns:a="http://schemas.openxmlformats.org/drawingml/2006/main" xmlns:r="http://schemas.openxmlformats.org/officeDocument/2006/relationships" xmlns:p="http://schemas.openxmlformats.org/presentationml/2006/main">
  <p:tag name="MIO_GUID" val="b12fab74-7216-4edc-83fe-88b533a03b00"/>
</p:tagLst>
</file>

<file path=ppt/tags/tag2026.xml><?xml version="1.0" encoding="utf-8"?>
<p:tagLst xmlns:a="http://schemas.openxmlformats.org/drawingml/2006/main" xmlns:r="http://schemas.openxmlformats.org/officeDocument/2006/relationships" xmlns:p="http://schemas.openxmlformats.org/presentationml/2006/main">
  <p:tag name="MIO_GUID" val="dfebc55d-f6bb-4327-880f-44db5a1cb444"/>
</p:tagLst>
</file>

<file path=ppt/tags/tag2027.xml><?xml version="1.0" encoding="utf-8"?>
<p:tagLst xmlns:a="http://schemas.openxmlformats.org/drawingml/2006/main" xmlns:r="http://schemas.openxmlformats.org/officeDocument/2006/relationships" xmlns:p="http://schemas.openxmlformats.org/presentationml/2006/main">
  <p:tag name="MIO_GUID" val="c3961077-ff17-4089-ac2f-d00cd99c107c"/>
</p:tagLst>
</file>

<file path=ppt/tags/tag2028.xml><?xml version="1.0" encoding="utf-8"?>
<p:tagLst xmlns:a="http://schemas.openxmlformats.org/drawingml/2006/main" xmlns:r="http://schemas.openxmlformats.org/officeDocument/2006/relationships" xmlns:p="http://schemas.openxmlformats.org/presentationml/2006/main">
  <p:tag name="MIO_GUID" val="f4901b15-3e8e-4e57-be56-96d4bdc42dc1"/>
</p:tagLst>
</file>

<file path=ppt/tags/tag2029.xml><?xml version="1.0" encoding="utf-8"?>
<p:tagLst xmlns:a="http://schemas.openxmlformats.org/drawingml/2006/main" xmlns:r="http://schemas.openxmlformats.org/officeDocument/2006/relationships" xmlns:p="http://schemas.openxmlformats.org/presentationml/2006/main">
  <p:tag name="MIO_GUID" val="6d10add9-e4af-4d6d-9a67-ba2b23c54f82"/>
</p:tagLst>
</file>

<file path=ppt/tags/tag203.xml><?xml version="1.0" encoding="utf-8"?>
<p:tagLst xmlns:a="http://schemas.openxmlformats.org/drawingml/2006/main" xmlns:r="http://schemas.openxmlformats.org/officeDocument/2006/relationships" xmlns:p="http://schemas.openxmlformats.org/presentationml/2006/main">
  <p:tag name="MIO_GUID" val="dbb39853-361e-45f9-9afa-dac675bfd979"/>
</p:tagLst>
</file>

<file path=ppt/tags/tag2030.xml><?xml version="1.0" encoding="utf-8"?>
<p:tagLst xmlns:a="http://schemas.openxmlformats.org/drawingml/2006/main" xmlns:r="http://schemas.openxmlformats.org/officeDocument/2006/relationships" xmlns:p="http://schemas.openxmlformats.org/presentationml/2006/main">
  <p:tag name="MIO_GUID" val="05ab3283-b197-45a7-9b46-bd40dbf142d8"/>
</p:tagLst>
</file>

<file path=ppt/tags/tag2031.xml><?xml version="1.0" encoding="utf-8"?>
<p:tagLst xmlns:a="http://schemas.openxmlformats.org/drawingml/2006/main" xmlns:r="http://schemas.openxmlformats.org/officeDocument/2006/relationships" xmlns:p="http://schemas.openxmlformats.org/presentationml/2006/main">
  <p:tag name="MIO_GUID" val="188dc972-c2be-4d09-bc31-614df04cc98c"/>
</p:tagLst>
</file>

<file path=ppt/tags/tag2032.xml><?xml version="1.0" encoding="utf-8"?>
<p:tagLst xmlns:a="http://schemas.openxmlformats.org/drawingml/2006/main" xmlns:r="http://schemas.openxmlformats.org/officeDocument/2006/relationships" xmlns:p="http://schemas.openxmlformats.org/presentationml/2006/main">
  <p:tag name="MIO_GUID" val="77950f17-d923-49df-9d59-aef6aaf55e97"/>
</p:tagLst>
</file>

<file path=ppt/tags/tag2033.xml><?xml version="1.0" encoding="utf-8"?>
<p:tagLst xmlns:a="http://schemas.openxmlformats.org/drawingml/2006/main" xmlns:r="http://schemas.openxmlformats.org/officeDocument/2006/relationships" xmlns:p="http://schemas.openxmlformats.org/presentationml/2006/main">
  <p:tag name="MIO_GUID" val="ac41880e-a90e-4b54-bd68-b6ac702ee276"/>
</p:tagLst>
</file>

<file path=ppt/tags/tag2034.xml><?xml version="1.0" encoding="utf-8"?>
<p:tagLst xmlns:a="http://schemas.openxmlformats.org/drawingml/2006/main" xmlns:r="http://schemas.openxmlformats.org/officeDocument/2006/relationships" xmlns:p="http://schemas.openxmlformats.org/presentationml/2006/main">
  <p:tag name="MIO_GUID" val="c48a6a0e-0d29-4401-8649-d18239457493"/>
</p:tagLst>
</file>

<file path=ppt/tags/tag2035.xml><?xml version="1.0" encoding="utf-8"?>
<p:tagLst xmlns:a="http://schemas.openxmlformats.org/drawingml/2006/main" xmlns:r="http://schemas.openxmlformats.org/officeDocument/2006/relationships" xmlns:p="http://schemas.openxmlformats.org/presentationml/2006/main">
  <p:tag name="MIO_GUID" val="3fb93aff-78a5-4a9e-9717-7dd1a37fd433"/>
</p:tagLst>
</file>

<file path=ppt/tags/tag2036.xml><?xml version="1.0" encoding="utf-8"?>
<p:tagLst xmlns:a="http://schemas.openxmlformats.org/drawingml/2006/main" xmlns:r="http://schemas.openxmlformats.org/officeDocument/2006/relationships" xmlns:p="http://schemas.openxmlformats.org/presentationml/2006/main">
  <p:tag name="MIO_GUID" val="bb4bbf9e-b063-46a1-bc5b-f045d6971951"/>
</p:tagLst>
</file>

<file path=ppt/tags/tag2037.xml><?xml version="1.0" encoding="utf-8"?>
<p:tagLst xmlns:a="http://schemas.openxmlformats.org/drawingml/2006/main" xmlns:r="http://schemas.openxmlformats.org/officeDocument/2006/relationships" xmlns:p="http://schemas.openxmlformats.org/presentationml/2006/main">
  <p:tag name="MIO_GUID" val="b94b9370-bb7f-4f45-89f6-33b7e495171b"/>
</p:tagLst>
</file>

<file path=ppt/tags/tag2038.xml><?xml version="1.0" encoding="utf-8"?>
<p:tagLst xmlns:a="http://schemas.openxmlformats.org/drawingml/2006/main" xmlns:r="http://schemas.openxmlformats.org/officeDocument/2006/relationships" xmlns:p="http://schemas.openxmlformats.org/presentationml/2006/main">
  <p:tag name="MIO_GUID" val="bc415f6d-d94e-4318-8c8d-e2de20ea8ce3"/>
</p:tagLst>
</file>

<file path=ppt/tags/tag2039.xml><?xml version="1.0" encoding="utf-8"?>
<p:tagLst xmlns:a="http://schemas.openxmlformats.org/drawingml/2006/main" xmlns:r="http://schemas.openxmlformats.org/officeDocument/2006/relationships" xmlns:p="http://schemas.openxmlformats.org/presentationml/2006/main">
  <p:tag name="MIO_GUID" val="699f5492-f8e3-4627-8611-0950ece19d9f"/>
</p:tagLst>
</file>

<file path=ppt/tags/tag204.xml><?xml version="1.0" encoding="utf-8"?>
<p:tagLst xmlns:a="http://schemas.openxmlformats.org/drawingml/2006/main" xmlns:r="http://schemas.openxmlformats.org/officeDocument/2006/relationships" xmlns:p="http://schemas.openxmlformats.org/presentationml/2006/main">
  <p:tag name="MIO_GUID" val="454f388d-e341-4156-a99a-7bed1035cf21"/>
</p:tagLst>
</file>

<file path=ppt/tags/tag2040.xml><?xml version="1.0" encoding="utf-8"?>
<p:tagLst xmlns:a="http://schemas.openxmlformats.org/drawingml/2006/main" xmlns:r="http://schemas.openxmlformats.org/officeDocument/2006/relationships" xmlns:p="http://schemas.openxmlformats.org/presentationml/2006/main">
  <p:tag name="MIO_GUID" val="8f3ffd10-3871-4244-a29e-d8d34997900a"/>
</p:tagLst>
</file>

<file path=ppt/tags/tag2041.xml><?xml version="1.0" encoding="utf-8"?>
<p:tagLst xmlns:a="http://schemas.openxmlformats.org/drawingml/2006/main" xmlns:r="http://schemas.openxmlformats.org/officeDocument/2006/relationships" xmlns:p="http://schemas.openxmlformats.org/presentationml/2006/main">
  <p:tag name="MIO_GUID" val="d4daf793-f504-4643-bf30-da927168e6f0"/>
</p:tagLst>
</file>

<file path=ppt/tags/tag2042.xml><?xml version="1.0" encoding="utf-8"?>
<p:tagLst xmlns:a="http://schemas.openxmlformats.org/drawingml/2006/main" xmlns:r="http://schemas.openxmlformats.org/officeDocument/2006/relationships" xmlns:p="http://schemas.openxmlformats.org/presentationml/2006/main">
  <p:tag name="MIO_GUID" val="cde81f7c-ccc6-4922-a343-d71a42e4edec"/>
</p:tagLst>
</file>

<file path=ppt/tags/tag2043.xml><?xml version="1.0" encoding="utf-8"?>
<p:tagLst xmlns:a="http://schemas.openxmlformats.org/drawingml/2006/main" xmlns:r="http://schemas.openxmlformats.org/officeDocument/2006/relationships" xmlns:p="http://schemas.openxmlformats.org/presentationml/2006/main">
  <p:tag name="MIO_GUID" val="505b6003-d1e3-4cda-9436-905538da6cb1"/>
</p:tagLst>
</file>

<file path=ppt/tags/tag2044.xml><?xml version="1.0" encoding="utf-8"?>
<p:tagLst xmlns:a="http://schemas.openxmlformats.org/drawingml/2006/main" xmlns:r="http://schemas.openxmlformats.org/officeDocument/2006/relationships" xmlns:p="http://schemas.openxmlformats.org/presentationml/2006/main">
  <p:tag name="MIO_GUID" val="e80a44ae-4ed6-444d-93e2-a61929613e35"/>
</p:tagLst>
</file>

<file path=ppt/tags/tag2045.xml><?xml version="1.0" encoding="utf-8"?>
<p:tagLst xmlns:a="http://schemas.openxmlformats.org/drawingml/2006/main" xmlns:r="http://schemas.openxmlformats.org/officeDocument/2006/relationships" xmlns:p="http://schemas.openxmlformats.org/presentationml/2006/main">
  <p:tag name="MIO_GUID" val="733fc17f-364b-47a0-9870-afeeff915f54"/>
</p:tagLst>
</file>

<file path=ppt/tags/tag2046.xml><?xml version="1.0" encoding="utf-8"?>
<p:tagLst xmlns:a="http://schemas.openxmlformats.org/drawingml/2006/main" xmlns:r="http://schemas.openxmlformats.org/officeDocument/2006/relationships" xmlns:p="http://schemas.openxmlformats.org/presentationml/2006/main">
  <p:tag name="MIO_GUID" val="9f20f57e-adef-4847-9870-1f29df5e3ec9"/>
</p:tagLst>
</file>

<file path=ppt/tags/tag2047.xml><?xml version="1.0" encoding="utf-8"?>
<p:tagLst xmlns:a="http://schemas.openxmlformats.org/drawingml/2006/main" xmlns:r="http://schemas.openxmlformats.org/officeDocument/2006/relationships" xmlns:p="http://schemas.openxmlformats.org/presentationml/2006/main">
  <p:tag name="MIO_GUID" val="1c765935-422a-4304-a11b-266565b787e6"/>
</p:tagLst>
</file>

<file path=ppt/tags/tag2048.xml><?xml version="1.0" encoding="utf-8"?>
<p:tagLst xmlns:a="http://schemas.openxmlformats.org/drawingml/2006/main" xmlns:r="http://schemas.openxmlformats.org/officeDocument/2006/relationships" xmlns:p="http://schemas.openxmlformats.org/presentationml/2006/main">
  <p:tag name="MIO_GUID" val="57794eb1-9cca-46a5-8c95-8fe6cdd1bc79"/>
</p:tagLst>
</file>

<file path=ppt/tags/tag2049.xml><?xml version="1.0" encoding="utf-8"?>
<p:tagLst xmlns:a="http://schemas.openxmlformats.org/drawingml/2006/main" xmlns:r="http://schemas.openxmlformats.org/officeDocument/2006/relationships" xmlns:p="http://schemas.openxmlformats.org/presentationml/2006/main">
  <p:tag name="MIO_GUID" val="abc381ca-e88b-4499-abc6-ba208f22fed9"/>
</p:tagLst>
</file>

<file path=ppt/tags/tag205.xml><?xml version="1.0" encoding="utf-8"?>
<p:tagLst xmlns:a="http://schemas.openxmlformats.org/drawingml/2006/main" xmlns:r="http://schemas.openxmlformats.org/officeDocument/2006/relationships" xmlns:p="http://schemas.openxmlformats.org/presentationml/2006/main">
  <p:tag name="MIO_GUID" val="20f2a12f-5b5b-4cfd-b337-e4060090ade3"/>
</p:tagLst>
</file>

<file path=ppt/tags/tag2050.xml><?xml version="1.0" encoding="utf-8"?>
<p:tagLst xmlns:a="http://schemas.openxmlformats.org/drawingml/2006/main" xmlns:r="http://schemas.openxmlformats.org/officeDocument/2006/relationships" xmlns:p="http://schemas.openxmlformats.org/presentationml/2006/main">
  <p:tag name="MIO_GUID" val="08a27079-6516-4edd-986f-95e813554614"/>
</p:tagLst>
</file>

<file path=ppt/tags/tag2051.xml><?xml version="1.0" encoding="utf-8"?>
<p:tagLst xmlns:a="http://schemas.openxmlformats.org/drawingml/2006/main" xmlns:r="http://schemas.openxmlformats.org/officeDocument/2006/relationships" xmlns:p="http://schemas.openxmlformats.org/presentationml/2006/main">
  <p:tag name="MIO_GUID" val="84880cfd-e7ef-4566-88b1-aa7e3cfa41b9"/>
</p:tagLst>
</file>

<file path=ppt/tags/tag2052.xml><?xml version="1.0" encoding="utf-8"?>
<p:tagLst xmlns:a="http://schemas.openxmlformats.org/drawingml/2006/main" xmlns:r="http://schemas.openxmlformats.org/officeDocument/2006/relationships" xmlns:p="http://schemas.openxmlformats.org/presentationml/2006/main">
  <p:tag name="MIO_GUID" val="4fdc4883-9bce-4da5-8ebe-e7cd5bee29fe"/>
</p:tagLst>
</file>

<file path=ppt/tags/tag2053.xml><?xml version="1.0" encoding="utf-8"?>
<p:tagLst xmlns:a="http://schemas.openxmlformats.org/drawingml/2006/main" xmlns:r="http://schemas.openxmlformats.org/officeDocument/2006/relationships" xmlns:p="http://schemas.openxmlformats.org/presentationml/2006/main">
  <p:tag name="MIO_GUID" val="47412174-428f-49dc-9284-338bf266253d"/>
</p:tagLst>
</file>

<file path=ppt/tags/tag2054.xml><?xml version="1.0" encoding="utf-8"?>
<p:tagLst xmlns:a="http://schemas.openxmlformats.org/drawingml/2006/main" xmlns:r="http://schemas.openxmlformats.org/officeDocument/2006/relationships" xmlns:p="http://schemas.openxmlformats.org/presentationml/2006/main">
  <p:tag name="MIO_GUID" val="f3cde77f-e5ba-4fda-8051-fa2aec64f84c"/>
</p:tagLst>
</file>

<file path=ppt/tags/tag2055.xml><?xml version="1.0" encoding="utf-8"?>
<p:tagLst xmlns:a="http://schemas.openxmlformats.org/drawingml/2006/main" xmlns:r="http://schemas.openxmlformats.org/officeDocument/2006/relationships" xmlns:p="http://schemas.openxmlformats.org/presentationml/2006/main">
  <p:tag name="MIO_GUID" val="041c0d66-fee5-49b8-acd3-fe2a5d488bd8"/>
</p:tagLst>
</file>

<file path=ppt/tags/tag2056.xml><?xml version="1.0" encoding="utf-8"?>
<p:tagLst xmlns:a="http://schemas.openxmlformats.org/drawingml/2006/main" xmlns:r="http://schemas.openxmlformats.org/officeDocument/2006/relationships" xmlns:p="http://schemas.openxmlformats.org/presentationml/2006/main">
  <p:tag name="MIO_GUID" val="782fade3-0e44-494f-82f0-a639d33634d0"/>
</p:tagLst>
</file>

<file path=ppt/tags/tag2057.xml><?xml version="1.0" encoding="utf-8"?>
<p:tagLst xmlns:a="http://schemas.openxmlformats.org/drawingml/2006/main" xmlns:r="http://schemas.openxmlformats.org/officeDocument/2006/relationships" xmlns:p="http://schemas.openxmlformats.org/presentationml/2006/main">
  <p:tag name="MIO_GUID" val="b139f0d8-164c-4226-8ae3-07ff9b45f958"/>
</p:tagLst>
</file>

<file path=ppt/tags/tag2058.xml><?xml version="1.0" encoding="utf-8"?>
<p:tagLst xmlns:a="http://schemas.openxmlformats.org/drawingml/2006/main" xmlns:r="http://schemas.openxmlformats.org/officeDocument/2006/relationships" xmlns:p="http://schemas.openxmlformats.org/presentationml/2006/main">
  <p:tag name="MIO_GUID" val="3bc59d2a-b007-4232-8dd7-f97c7680854a"/>
</p:tagLst>
</file>

<file path=ppt/tags/tag2059.xml><?xml version="1.0" encoding="utf-8"?>
<p:tagLst xmlns:a="http://schemas.openxmlformats.org/drawingml/2006/main" xmlns:r="http://schemas.openxmlformats.org/officeDocument/2006/relationships" xmlns:p="http://schemas.openxmlformats.org/presentationml/2006/main">
  <p:tag name="MIO_GUID" val="95211050-3951-4247-83ca-b593962aa7c4"/>
</p:tagLst>
</file>

<file path=ppt/tags/tag206.xml><?xml version="1.0" encoding="utf-8"?>
<p:tagLst xmlns:a="http://schemas.openxmlformats.org/drawingml/2006/main" xmlns:r="http://schemas.openxmlformats.org/officeDocument/2006/relationships" xmlns:p="http://schemas.openxmlformats.org/presentationml/2006/main">
  <p:tag name="MIO_GUID" val="d1b48f69-61df-4571-9ffd-a36913adc0f5"/>
</p:tagLst>
</file>

<file path=ppt/tags/tag2060.xml><?xml version="1.0" encoding="utf-8"?>
<p:tagLst xmlns:a="http://schemas.openxmlformats.org/drawingml/2006/main" xmlns:r="http://schemas.openxmlformats.org/officeDocument/2006/relationships" xmlns:p="http://schemas.openxmlformats.org/presentationml/2006/main">
  <p:tag name="MIO_GUID" val="338a75b9-c258-4a66-a04f-ee3cc9f2af29"/>
</p:tagLst>
</file>

<file path=ppt/tags/tag2061.xml><?xml version="1.0" encoding="utf-8"?>
<p:tagLst xmlns:a="http://schemas.openxmlformats.org/drawingml/2006/main" xmlns:r="http://schemas.openxmlformats.org/officeDocument/2006/relationships" xmlns:p="http://schemas.openxmlformats.org/presentationml/2006/main">
  <p:tag name="MIO_GUID" val="76f671ab-de3a-41a3-bbbb-06e0a5b148cc"/>
</p:tagLst>
</file>

<file path=ppt/tags/tag2062.xml><?xml version="1.0" encoding="utf-8"?>
<p:tagLst xmlns:a="http://schemas.openxmlformats.org/drawingml/2006/main" xmlns:r="http://schemas.openxmlformats.org/officeDocument/2006/relationships" xmlns:p="http://schemas.openxmlformats.org/presentationml/2006/main">
  <p:tag name="MIO_GUID" val="097cf138-ca80-479f-ae4c-c352bab1130e"/>
</p:tagLst>
</file>

<file path=ppt/tags/tag2063.xml><?xml version="1.0" encoding="utf-8"?>
<p:tagLst xmlns:a="http://schemas.openxmlformats.org/drawingml/2006/main" xmlns:r="http://schemas.openxmlformats.org/officeDocument/2006/relationships" xmlns:p="http://schemas.openxmlformats.org/presentationml/2006/main">
  <p:tag name="MIO_GUID" val="f2f3ddd1-d012-4316-aa80-da05e919e47a"/>
</p:tagLst>
</file>

<file path=ppt/tags/tag2064.xml><?xml version="1.0" encoding="utf-8"?>
<p:tagLst xmlns:a="http://schemas.openxmlformats.org/drawingml/2006/main" xmlns:r="http://schemas.openxmlformats.org/officeDocument/2006/relationships" xmlns:p="http://schemas.openxmlformats.org/presentationml/2006/main">
  <p:tag name="MIO_GUID" val="0a605872-b39f-4c8b-bea8-863eb22af528"/>
</p:tagLst>
</file>

<file path=ppt/tags/tag2065.xml><?xml version="1.0" encoding="utf-8"?>
<p:tagLst xmlns:a="http://schemas.openxmlformats.org/drawingml/2006/main" xmlns:r="http://schemas.openxmlformats.org/officeDocument/2006/relationships" xmlns:p="http://schemas.openxmlformats.org/presentationml/2006/main">
  <p:tag name="MIO_GUID" val="2bd63ba0-d7b0-45d0-95d7-ee8accabe08d"/>
</p:tagLst>
</file>

<file path=ppt/tags/tag2066.xml><?xml version="1.0" encoding="utf-8"?>
<p:tagLst xmlns:a="http://schemas.openxmlformats.org/drawingml/2006/main" xmlns:r="http://schemas.openxmlformats.org/officeDocument/2006/relationships" xmlns:p="http://schemas.openxmlformats.org/presentationml/2006/main">
  <p:tag name="MIO_GUID" val="7b70ae98-316a-4a98-8648-0ffa13421190"/>
</p:tagLst>
</file>

<file path=ppt/tags/tag2067.xml><?xml version="1.0" encoding="utf-8"?>
<p:tagLst xmlns:a="http://schemas.openxmlformats.org/drawingml/2006/main" xmlns:r="http://schemas.openxmlformats.org/officeDocument/2006/relationships" xmlns:p="http://schemas.openxmlformats.org/presentationml/2006/main">
  <p:tag name="MIO_GUID" val="6fb4fa4b-c7ab-4cd1-8dd2-f78cd5d07308"/>
</p:tagLst>
</file>

<file path=ppt/tags/tag2068.xml><?xml version="1.0" encoding="utf-8"?>
<p:tagLst xmlns:a="http://schemas.openxmlformats.org/drawingml/2006/main" xmlns:r="http://schemas.openxmlformats.org/officeDocument/2006/relationships" xmlns:p="http://schemas.openxmlformats.org/presentationml/2006/main">
  <p:tag name="MIO_GUID" val="081d1628-bad0-49ff-911f-673e155b8913"/>
</p:tagLst>
</file>

<file path=ppt/tags/tag2069.xml><?xml version="1.0" encoding="utf-8"?>
<p:tagLst xmlns:a="http://schemas.openxmlformats.org/drawingml/2006/main" xmlns:r="http://schemas.openxmlformats.org/officeDocument/2006/relationships" xmlns:p="http://schemas.openxmlformats.org/presentationml/2006/main">
  <p:tag name="MIO_GUID" val="c442ed37-7c48-40fb-a166-4709a197f19c"/>
</p:tagLst>
</file>

<file path=ppt/tags/tag207.xml><?xml version="1.0" encoding="utf-8"?>
<p:tagLst xmlns:a="http://schemas.openxmlformats.org/drawingml/2006/main" xmlns:r="http://schemas.openxmlformats.org/officeDocument/2006/relationships" xmlns:p="http://schemas.openxmlformats.org/presentationml/2006/main">
  <p:tag name="MIO_GUID" val="b0bbdf0d-58fb-4021-9225-a3db7f650459"/>
</p:tagLst>
</file>

<file path=ppt/tags/tag2070.xml><?xml version="1.0" encoding="utf-8"?>
<p:tagLst xmlns:a="http://schemas.openxmlformats.org/drawingml/2006/main" xmlns:r="http://schemas.openxmlformats.org/officeDocument/2006/relationships" xmlns:p="http://schemas.openxmlformats.org/presentationml/2006/main">
  <p:tag name="MIO_GUID" val="b96c21cb-fbda-45d9-975c-d0e5e25d8004"/>
</p:tagLst>
</file>

<file path=ppt/tags/tag2071.xml><?xml version="1.0" encoding="utf-8"?>
<p:tagLst xmlns:a="http://schemas.openxmlformats.org/drawingml/2006/main" xmlns:r="http://schemas.openxmlformats.org/officeDocument/2006/relationships" xmlns:p="http://schemas.openxmlformats.org/presentationml/2006/main">
  <p:tag name="MIO_GUID" val="8b2c0ed3-420a-406e-a5e0-5fe8e70a17dd"/>
</p:tagLst>
</file>

<file path=ppt/tags/tag2072.xml><?xml version="1.0" encoding="utf-8"?>
<p:tagLst xmlns:a="http://schemas.openxmlformats.org/drawingml/2006/main" xmlns:r="http://schemas.openxmlformats.org/officeDocument/2006/relationships" xmlns:p="http://schemas.openxmlformats.org/presentationml/2006/main">
  <p:tag name="MIO_GUID" val="13f837fc-0d6b-4749-a85d-903b426ac35f"/>
</p:tagLst>
</file>

<file path=ppt/tags/tag2073.xml><?xml version="1.0" encoding="utf-8"?>
<p:tagLst xmlns:a="http://schemas.openxmlformats.org/drawingml/2006/main" xmlns:r="http://schemas.openxmlformats.org/officeDocument/2006/relationships" xmlns:p="http://schemas.openxmlformats.org/presentationml/2006/main">
  <p:tag name="MIO_GUID" val="51e22b7b-5408-4294-9c6d-cbc25c416cc0"/>
</p:tagLst>
</file>

<file path=ppt/tags/tag2074.xml><?xml version="1.0" encoding="utf-8"?>
<p:tagLst xmlns:a="http://schemas.openxmlformats.org/drawingml/2006/main" xmlns:r="http://schemas.openxmlformats.org/officeDocument/2006/relationships" xmlns:p="http://schemas.openxmlformats.org/presentationml/2006/main">
  <p:tag name="MIO_GUID" val="a18df8dd-0600-46fa-aa77-ab72f4948379"/>
</p:tagLst>
</file>

<file path=ppt/tags/tag2075.xml><?xml version="1.0" encoding="utf-8"?>
<p:tagLst xmlns:a="http://schemas.openxmlformats.org/drawingml/2006/main" xmlns:r="http://schemas.openxmlformats.org/officeDocument/2006/relationships" xmlns:p="http://schemas.openxmlformats.org/presentationml/2006/main">
  <p:tag name="MIO_GUID" val="75859af5-3f00-472a-91b1-f3efa88cfb67"/>
</p:tagLst>
</file>

<file path=ppt/tags/tag2076.xml><?xml version="1.0" encoding="utf-8"?>
<p:tagLst xmlns:a="http://schemas.openxmlformats.org/drawingml/2006/main" xmlns:r="http://schemas.openxmlformats.org/officeDocument/2006/relationships" xmlns:p="http://schemas.openxmlformats.org/presentationml/2006/main">
  <p:tag name="MIO_GUID" val="05db5cf1-2265-4465-a82c-524fc1797068"/>
</p:tagLst>
</file>

<file path=ppt/tags/tag2077.xml><?xml version="1.0" encoding="utf-8"?>
<p:tagLst xmlns:a="http://schemas.openxmlformats.org/drawingml/2006/main" xmlns:r="http://schemas.openxmlformats.org/officeDocument/2006/relationships" xmlns:p="http://schemas.openxmlformats.org/presentationml/2006/main">
  <p:tag name="MIO_GUID" val="78b3316a-611c-4d37-b818-b9a8693d70df"/>
</p:tagLst>
</file>

<file path=ppt/tags/tag2078.xml><?xml version="1.0" encoding="utf-8"?>
<p:tagLst xmlns:a="http://schemas.openxmlformats.org/drawingml/2006/main" xmlns:r="http://schemas.openxmlformats.org/officeDocument/2006/relationships" xmlns:p="http://schemas.openxmlformats.org/presentationml/2006/main">
  <p:tag name="MIO_GUID" val="368063ad-1bac-4b71-b791-671a21dda1f4"/>
</p:tagLst>
</file>

<file path=ppt/tags/tag2079.xml><?xml version="1.0" encoding="utf-8"?>
<p:tagLst xmlns:a="http://schemas.openxmlformats.org/drawingml/2006/main" xmlns:r="http://schemas.openxmlformats.org/officeDocument/2006/relationships" xmlns:p="http://schemas.openxmlformats.org/presentationml/2006/main">
  <p:tag name="MIO_GUID" val="cf9385ac-afb3-45af-847e-c1a85cba9d5c"/>
</p:tagLst>
</file>

<file path=ppt/tags/tag208.xml><?xml version="1.0" encoding="utf-8"?>
<p:tagLst xmlns:a="http://schemas.openxmlformats.org/drawingml/2006/main" xmlns:r="http://schemas.openxmlformats.org/officeDocument/2006/relationships" xmlns:p="http://schemas.openxmlformats.org/presentationml/2006/main">
  <p:tag name="MIO_GUID" val="1f2182a4-f1a2-4ea6-938d-356ebe0d3311"/>
</p:tagLst>
</file>

<file path=ppt/tags/tag2080.xml><?xml version="1.0" encoding="utf-8"?>
<p:tagLst xmlns:a="http://schemas.openxmlformats.org/drawingml/2006/main" xmlns:r="http://schemas.openxmlformats.org/officeDocument/2006/relationships" xmlns:p="http://schemas.openxmlformats.org/presentationml/2006/main">
  <p:tag name="MIO_GUID" val="33cd6ded-552f-474f-80a6-56b1a6a72714"/>
</p:tagLst>
</file>

<file path=ppt/tags/tag2081.xml><?xml version="1.0" encoding="utf-8"?>
<p:tagLst xmlns:a="http://schemas.openxmlformats.org/drawingml/2006/main" xmlns:r="http://schemas.openxmlformats.org/officeDocument/2006/relationships" xmlns:p="http://schemas.openxmlformats.org/presentationml/2006/main">
  <p:tag name="MIO_GUID" val="b20bb3b7-90eb-4180-bb00-424b6cd964e1"/>
</p:tagLst>
</file>

<file path=ppt/tags/tag2082.xml><?xml version="1.0" encoding="utf-8"?>
<p:tagLst xmlns:a="http://schemas.openxmlformats.org/drawingml/2006/main" xmlns:r="http://schemas.openxmlformats.org/officeDocument/2006/relationships" xmlns:p="http://schemas.openxmlformats.org/presentationml/2006/main">
  <p:tag name="MIO_GUID" val="b994dd87-1db2-4c85-813c-970e4f3d7f5e"/>
</p:tagLst>
</file>

<file path=ppt/tags/tag2083.xml><?xml version="1.0" encoding="utf-8"?>
<p:tagLst xmlns:a="http://schemas.openxmlformats.org/drawingml/2006/main" xmlns:r="http://schemas.openxmlformats.org/officeDocument/2006/relationships" xmlns:p="http://schemas.openxmlformats.org/presentationml/2006/main">
  <p:tag name="MIO_GUID" val="0157b298-18ff-4f28-9af9-d35f0304025a"/>
</p:tagLst>
</file>

<file path=ppt/tags/tag2084.xml><?xml version="1.0" encoding="utf-8"?>
<p:tagLst xmlns:a="http://schemas.openxmlformats.org/drawingml/2006/main" xmlns:r="http://schemas.openxmlformats.org/officeDocument/2006/relationships" xmlns:p="http://schemas.openxmlformats.org/presentationml/2006/main">
  <p:tag name="MIO_GUID" val="636cb683-3290-4a71-8450-eeabea0da391"/>
</p:tagLst>
</file>

<file path=ppt/tags/tag2085.xml><?xml version="1.0" encoding="utf-8"?>
<p:tagLst xmlns:a="http://schemas.openxmlformats.org/drawingml/2006/main" xmlns:r="http://schemas.openxmlformats.org/officeDocument/2006/relationships" xmlns:p="http://schemas.openxmlformats.org/presentationml/2006/main">
  <p:tag name="MIO_GUID" val="e4b5314b-b586-4209-b0c7-22bf34e1d6d3"/>
</p:tagLst>
</file>

<file path=ppt/tags/tag2086.xml><?xml version="1.0" encoding="utf-8"?>
<p:tagLst xmlns:a="http://schemas.openxmlformats.org/drawingml/2006/main" xmlns:r="http://schemas.openxmlformats.org/officeDocument/2006/relationships" xmlns:p="http://schemas.openxmlformats.org/presentationml/2006/main">
  <p:tag name="MIO_GUID" val="02a0c2f1-1759-4c13-bbfc-ea2d76e90058"/>
</p:tagLst>
</file>

<file path=ppt/tags/tag2087.xml><?xml version="1.0" encoding="utf-8"?>
<p:tagLst xmlns:a="http://schemas.openxmlformats.org/drawingml/2006/main" xmlns:r="http://schemas.openxmlformats.org/officeDocument/2006/relationships" xmlns:p="http://schemas.openxmlformats.org/presentationml/2006/main">
  <p:tag name="MIO_GUID" val="5445526c-bcf8-4d32-b687-c538719d1386"/>
</p:tagLst>
</file>

<file path=ppt/tags/tag2088.xml><?xml version="1.0" encoding="utf-8"?>
<p:tagLst xmlns:a="http://schemas.openxmlformats.org/drawingml/2006/main" xmlns:r="http://schemas.openxmlformats.org/officeDocument/2006/relationships" xmlns:p="http://schemas.openxmlformats.org/presentationml/2006/main">
  <p:tag name="MIO_GUID" val="d67bbbb7-6bd7-4984-9e89-38725493d040"/>
</p:tagLst>
</file>

<file path=ppt/tags/tag2089.xml><?xml version="1.0" encoding="utf-8"?>
<p:tagLst xmlns:a="http://schemas.openxmlformats.org/drawingml/2006/main" xmlns:r="http://schemas.openxmlformats.org/officeDocument/2006/relationships" xmlns:p="http://schemas.openxmlformats.org/presentationml/2006/main">
  <p:tag name="MIO_GUID" val="412a01ff-cb6e-4eb2-9fa8-b97d0329df3f"/>
</p:tagLst>
</file>

<file path=ppt/tags/tag209.xml><?xml version="1.0" encoding="utf-8"?>
<p:tagLst xmlns:a="http://schemas.openxmlformats.org/drawingml/2006/main" xmlns:r="http://schemas.openxmlformats.org/officeDocument/2006/relationships" xmlns:p="http://schemas.openxmlformats.org/presentationml/2006/main">
  <p:tag name="MIO_GUID" val="b3b37235-451a-4b00-bcab-a29ee898e015"/>
</p:tagLst>
</file>

<file path=ppt/tags/tag2090.xml><?xml version="1.0" encoding="utf-8"?>
<p:tagLst xmlns:a="http://schemas.openxmlformats.org/drawingml/2006/main" xmlns:r="http://schemas.openxmlformats.org/officeDocument/2006/relationships" xmlns:p="http://schemas.openxmlformats.org/presentationml/2006/main">
  <p:tag name="MIO_GUID" val="cb021028-abc9-4579-bcb5-f8c50ac10dfb"/>
</p:tagLst>
</file>

<file path=ppt/tags/tag2091.xml><?xml version="1.0" encoding="utf-8"?>
<p:tagLst xmlns:a="http://schemas.openxmlformats.org/drawingml/2006/main" xmlns:r="http://schemas.openxmlformats.org/officeDocument/2006/relationships" xmlns:p="http://schemas.openxmlformats.org/presentationml/2006/main">
  <p:tag name="MIO_GUID" val="382a720d-3139-46a9-9bf1-3ac487b6976a"/>
</p:tagLst>
</file>

<file path=ppt/tags/tag2092.xml><?xml version="1.0" encoding="utf-8"?>
<p:tagLst xmlns:a="http://schemas.openxmlformats.org/drawingml/2006/main" xmlns:r="http://schemas.openxmlformats.org/officeDocument/2006/relationships" xmlns:p="http://schemas.openxmlformats.org/presentationml/2006/main">
  <p:tag name="MIO_GUID" val="1a4a35cd-9963-45d7-ac96-04d427228e54"/>
</p:tagLst>
</file>

<file path=ppt/tags/tag2093.xml><?xml version="1.0" encoding="utf-8"?>
<p:tagLst xmlns:a="http://schemas.openxmlformats.org/drawingml/2006/main" xmlns:r="http://schemas.openxmlformats.org/officeDocument/2006/relationships" xmlns:p="http://schemas.openxmlformats.org/presentationml/2006/main">
  <p:tag name="MIO_GUID" val="8647722d-b8d6-4459-a1e2-c17ff1977b09"/>
</p:tagLst>
</file>

<file path=ppt/tags/tag2094.xml><?xml version="1.0" encoding="utf-8"?>
<p:tagLst xmlns:a="http://schemas.openxmlformats.org/drawingml/2006/main" xmlns:r="http://schemas.openxmlformats.org/officeDocument/2006/relationships" xmlns:p="http://schemas.openxmlformats.org/presentationml/2006/main">
  <p:tag name="MIO_GUID" val="943f44ce-5949-48a6-8319-c0f2a17406a4"/>
</p:tagLst>
</file>

<file path=ppt/tags/tag2095.xml><?xml version="1.0" encoding="utf-8"?>
<p:tagLst xmlns:a="http://schemas.openxmlformats.org/drawingml/2006/main" xmlns:r="http://schemas.openxmlformats.org/officeDocument/2006/relationships" xmlns:p="http://schemas.openxmlformats.org/presentationml/2006/main">
  <p:tag name="MIO_GUID" val="45e213c2-e3ba-468c-bc40-428f2f152d5f"/>
</p:tagLst>
</file>

<file path=ppt/tags/tag2096.xml><?xml version="1.0" encoding="utf-8"?>
<p:tagLst xmlns:a="http://schemas.openxmlformats.org/drawingml/2006/main" xmlns:r="http://schemas.openxmlformats.org/officeDocument/2006/relationships" xmlns:p="http://schemas.openxmlformats.org/presentationml/2006/main">
  <p:tag name="MIO_GUID" val="1040ab7b-02c1-4df4-9de0-6b021742d9a3"/>
</p:tagLst>
</file>

<file path=ppt/tags/tag2097.xml><?xml version="1.0" encoding="utf-8"?>
<p:tagLst xmlns:a="http://schemas.openxmlformats.org/drawingml/2006/main" xmlns:r="http://schemas.openxmlformats.org/officeDocument/2006/relationships" xmlns:p="http://schemas.openxmlformats.org/presentationml/2006/main">
  <p:tag name="MIO_GUID" val="ee2d1f6c-a267-46d5-92e7-ca6841afba3a"/>
</p:tagLst>
</file>

<file path=ppt/tags/tag2098.xml><?xml version="1.0" encoding="utf-8"?>
<p:tagLst xmlns:a="http://schemas.openxmlformats.org/drawingml/2006/main" xmlns:r="http://schemas.openxmlformats.org/officeDocument/2006/relationships" xmlns:p="http://schemas.openxmlformats.org/presentationml/2006/main">
  <p:tag name="MIO_GUID" val="987b40bd-6728-498f-a3fc-b2783a62eff3"/>
</p:tagLst>
</file>

<file path=ppt/tags/tag2099.xml><?xml version="1.0" encoding="utf-8"?>
<p:tagLst xmlns:a="http://schemas.openxmlformats.org/drawingml/2006/main" xmlns:r="http://schemas.openxmlformats.org/officeDocument/2006/relationships" xmlns:p="http://schemas.openxmlformats.org/presentationml/2006/main">
  <p:tag name="MIO_GUID" val="786ccfd5-d261-4160-8a3f-c7d42f41c06d"/>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MIO_GUID" val="c3d69396-6aba-48d6-bbcf-11cf7b1fd635"/>
</p:tagLst>
</file>

<file path=ppt/tags/tag2100.xml><?xml version="1.0" encoding="utf-8"?>
<p:tagLst xmlns:a="http://schemas.openxmlformats.org/drawingml/2006/main" xmlns:r="http://schemas.openxmlformats.org/officeDocument/2006/relationships" xmlns:p="http://schemas.openxmlformats.org/presentationml/2006/main">
  <p:tag name="MIO_GUID" val="22961453-dbf9-4440-a261-a5a5dd8add9f"/>
</p:tagLst>
</file>

<file path=ppt/tags/tag2101.xml><?xml version="1.0" encoding="utf-8"?>
<p:tagLst xmlns:a="http://schemas.openxmlformats.org/drawingml/2006/main" xmlns:r="http://schemas.openxmlformats.org/officeDocument/2006/relationships" xmlns:p="http://schemas.openxmlformats.org/presentationml/2006/main">
  <p:tag name="MIO_GUID" val="44c832fb-5c8a-4936-b10a-6ddb1824cd8b"/>
</p:tagLst>
</file>

<file path=ppt/tags/tag2102.xml><?xml version="1.0" encoding="utf-8"?>
<p:tagLst xmlns:a="http://schemas.openxmlformats.org/drawingml/2006/main" xmlns:r="http://schemas.openxmlformats.org/officeDocument/2006/relationships" xmlns:p="http://schemas.openxmlformats.org/presentationml/2006/main">
  <p:tag name="MIO_GUID" val="fcf09a26-c3c5-49f5-b9ae-282cdb517a73"/>
</p:tagLst>
</file>

<file path=ppt/tags/tag2103.xml><?xml version="1.0" encoding="utf-8"?>
<p:tagLst xmlns:a="http://schemas.openxmlformats.org/drawingml/2006/main" xmlns:r="http://schemas.openxmlformats.org/officeDocument/2006/relationships" xmlns:p="http://schemas.openxmlformats.org/presentationml/2006/main">
  <p:tag name="MIO_GUID" val="764d81ea-78be-40e3-bf68-8978a70f5bb0"/>
</p:tagLst>
</file>

<file path=ppt/tags/tag2104.xml><?xml version="1.0" encoding="utf-8"?>
<p:tagLst xmlns:a="http://schemas.openxmlformats.org/drawingml/2006/main" xmlns:r="http://schemas.openxmlformats.org/officeDocument/2006/relationships" xmlns:p="http://schemas.openxmlformats.org/presentationml/2006/main">
  <p:tag name="MIO_GUID" val="81bd77bf-d611-4def-90ec-7f8f229b154e"/>
</p:tagLst>
</file>

<file path=ppt/tags/tag2105.xml><?xml version="1.0" encoding="utf-8"?>
<p:tagLst xmlns:a="http://schemas.openxmlformats.org/drawingml/2006/main" xmlns:r="http://schemas.openxmlformats.org/officeDocument/2006/relationships" xmlns:p="http://schemas.openxmlformats.org/presentationml/2006/main">
  <p:tag name="MIO_GUID" val="f7500c4a-0a01-48e1-a128-9b147968d65a"/>
</p:tagLst>
</file>

<file path=ppt/tags/tag2106.xml><?xml version="1.0" encoding="utf-8"?>
<p:tagLst xmlns:a="http://schemas.openxmlformats.org/drawingml/2006/main" xmlns:r="http://schemas.openxmlformats.org/officeDocument/2006/relationships" xmlns:p="http://schemas.openxmlformats.org/presentationml/2006/main">
  <p:tag name="MIO_GUID" val="34e572cd-a031-4bf5-a91c-425b423ccfd7"/>
</p:tagLst>
</file>

<file path=ppt/tags/tag2107.xml><?xml version="1.0" encoding="utf-8"?>
<p:tagLst xmlns:a="http://schemas.openxmlformats.org/drawingml/2006/main" xmlns:r="http://schemas.openxmlformats.org/officeDocument/2006/relationships" xmlns:p="http://schemas.openxmlformats.org/presentationml/2006/main">
  <p:tag name="MIO_GUID" val="66074969-7d44-454d-b8db-645fa95b52b0"/>
</p:tagLst>
</file>

<file path=ppt/tags/tag2108.xml><?xml version="1.0" encoding="utf-8"?>
<p:tagLst xmlns:a="http://schemas.openxmlformats.org/drawingml/2006/main" xmlns:r="http://schemas.openxmlformats.org/officeDocument/2006/relationships" xmlns:p="http://schemas.openxmlformats.org/presentationml/2006/main">
  <p:tag name="MIO_GUID" val="bc7630a9-3c1a-4214-9da3-ecc173e63164"/>
</p:tagLst>
</file>

<file path=ppt/tags/tag2109.xml><?xml version="1.0" encoding="utf-8"?>
<p:tagLst xmlns:a="http://schemas.openxmlformats.org/drawingml/2006/main" xmlns:r="http://schemas.openxmlformats.org/officeDocument/2006/relationships" xmlns:p="http://schemas.openxmlformats.org/presentationml/2006/main">
  <p:tag name="MIO_GUID" val="39fd5a0e-7c8a-4fcb-be40-d009d529e3b8"/>
</p:tagLst>
</file>

<file path=ppt/tags/tag211.xml><?xml version="1.0" encoding="utf-8"?>
<p:tagLst xmlns:a="http://schemas.openxmlformats.org/drawingml/2006/main" xmlns:r="http://schemas.openxmlformats.org/officeDocument/2006/relationships" xmlns:p="http://schemas.openxmlformats.org/presentationml/2006/main">
  <p:tag name="MIO_GUID" val="dc9f0e84-ca2b-4557-a746-a03bce1f425d"/>
</p:tagLst>
</file>

<file path=ppt/tags/tag2110.xml><?xml version="1.0" encoding="utf-8"?>
<p:tagLst xmlns:a="http://schemas.openxmlformats.org/drawingml/2006/main" xmlns:r="http://schemas.openxmlformats.org/officeDocument/2006/relationships" xmlns:p="http://schemas.openxmlformats.org/presentationml/2006/main">
  <p:tag name="MIO_GUID" val="40063b3d-a0d2-4155-8ff0-5b5acecb334b"/>
</p:tagLst>
</file>

<file path=ppt/tags/tag2111.xml><?xml version="1.0" encoding="utf-8"?>
<p:tagLst xmlns:a="http://schemas.openxmlformats.org/drawingml/2006/main" xmlns:r="http://schemas.openxmlformats.org/officeDocument/2006/relationships" xmlns:p="http://schemas.openxmlformats.org/presentationml/2006/main">
  <p:tag name="MIO_GUID" val="18aed9d6-8040-4ca4-9817-4c7bee2ab216"/>
</p:tagLst>
</file>

<file path=ppt/tags/tag2112.xml><?xml version="1.0" encoding="utf-8"?>
<p:tagLst xmlns:a="http://schemas.openxmlformats.org/drawingml/2006/main" xmlns:r="http://schemas.openxmlformats.org/officeDocument/2006/relationships" xmlns:p="http://schemas.openxmlformats.org/presentationml/2006/main">
  <p:tag name="MIO_GUID" val="259beef7-da72-4f31-a0cd-14a4e95e5875"/>
</p:tagLst>
</file>

<file path=ppt/tags/tag2113.xml><?xml version="1.0" encoding="utf-8"?>
<p:tagLst xmlns:a="http://schemas.openxmlformats.org/drawingml/2006/main" xmlns:r="http://schemas.openxmlformats.org/officeDocument/2006/relationships" xmlns:p="http://schemas.openxmlformats.org/presentationml/2006/main">
  <p:tag name="MIO_GUID" val="1d114769-ec0a-45df-9d5c-c34c7a0a2d73"/>
</p:tagLst>
</file>

<file path=ppt/tags/tag2114.xml><?xml version="1.0" encoding="utf-8"?>
<p:tagLst xmlns:a="http://schemas.openxmlformats.org/drawingml/2006/main" xmlns:r="http://schemas.openxmlformats.org/officeDocument/2006/relationships" xmlns:p="http://schemas.openxmlformats.org/presentationml/2006/main">
  <p:tag name="MIO_GUID" val="a7cd041e-a17e-4064-855d-3a57715c5866"/>
</p:tagLst>
</file>

<file path=ppt/tags/tag2115.xml><?xml version="1.0" encoding="utf-8"?>
<p:tagLst xmlns:a="http://schemas.openxmlformats.org/drawingml/2006/main" xmlns:r="http://schemas.openxmlformats.org/officeDocument/2006/relationships" xmlns:p="http://schemas.openxmlformats.org/presentationml/2006/main">
  <p:tag name="MIO_GUID" val="c51d181d-929b-4724-9552-16bec3534638"/>
</p:tagLst>
</file>

<file path=ppt/tags/tag2116.xml><?xml version="1.0" encoding="utf-8"?>
<p:tagLst xmlns:a="http://schemas.openxmlformats.org/drawingml/2006/main" xmlns:r="http://schemas.openxmlformats.org/officeDocument/2006/relationships" xmlns:p="http://schemas.openxmlformats.org/presentationml/2006/main">
  <p:tag name="MIO_GUID" val="5e03ec00-da4f-4a0e-bc25-a5d87b5bf78d"/>
</p:tagLst>
</file>

<file path=ppt/tags/tag2117.xml><?xml version="1.0" encoding="utf-8"?>
<p:tagLst xmlns:a="http://schemas.openxmlformats.org/drawingml/2006/main" xmlns:r="http://schemas.openxmlformats.org/officeDocument/2006/relationships" xmlns:p="http://schemas.openxmlformats.org/presentationml/2006/main">
  <p:tag name="MIO_GUID" val="db093d24-4260-41bd-81e5-6a60955d5045"/>
</p:tagLst>
</file>

<file path=ppt/tags/tag2118.xml><?xml version="1.0" encoding="utf-8"?>
<p:tagLst xmlns:a="http://schemas.openxmlformats.org/drawingml/2006/main" xmlns:r="http://schemas.openxmlformats.org/officeDocument/2006/relationships" xmlns:p="http://schemas.openxmlformats.org/presentationml/2006/main">
  <p:tag name="MIO_GUID" val="6e6730c2-af52-4524-bed0-dd40650c91d8"/>
</p:tagLst>
</file>

<file path=ppt/tags/tag2119.xml><?xml version="1.0" encoding="utf-8"?>
<p:tagLst xmlns:a="http://schemas.openxmlformats.org/drawingml/2006/main" xmlns:r="http://schemas.openxmlformats.org/officeDocument/2006/relationships" xmlns:p="http://schemas.openxmlformats.org/presentationml/2006/main">
  <p:tag name="MIO_GUID" val="52b02a83-d3d0-4ebc-bdec-fcdf0bd334db"/>
</p:tagLst>
</file>

<file path=ppt/tags/tag212.xml><?xml version="1.0" encoding="utf-8"?>
<p:tagLst xmlns:a="http://schemas.openxmlformats.org/drawingml/2006/main" xmlns:r="http://schemas.openxmlformats.org/officeDocument/2006/relationships" xmlns:p="http://schemas.openxmlformats.org/presentationml/2006/main">
  <p:tag name="MIO_GUID" val="91116b9e-ebc0-4716-8f5f-be1a57093251"/>
</p:tagLst>
</file>

<file path=ppt/tags/tag2120.xml><?xml version="1.0" encoding="utf-8"?>
<p:tagLst xmlns:a="http://schemas.openxmlformats.org/drawingml/2006/main" xmlns:r="http://schemas.openxmlformats.org/officeDocument/2006/relationships" xmlns:p="http://schemas.openxmlformats.org/presentationml/2006/main">
  <p:tag name="MIO_GUID" val="c9eb468a-12ae-4747-a35f-ef8c907ea853"/>
</p:tagLst>
</file>

<file path=ppt/tags/tag2121.xml><?xml version="1.0" encoding="utf-8"?>
<p:tagLst xmlns:a="http://schemas.openxmlformats.org/drawingml/2006/main" xmlns:r="http://schemas.openxmlformats.org/officeDocument/2006/relationships" xmlns:p="http://schemas.openxmlformats.org/presentationml/2006/main">
  <p:tag name="MIO_GUID" val="3e8bf4f0-861e-45c7-9350-a18545ae1085"/>
</p:tagLst>
</file>

<file path=ppt/tags/tag2122.xml><?xml version="1.0" encoding="utf-8"?>
<p:tagLst xmlns:a="http://schemas.openxmlformats.org/drawingml/2006/main" xmlns:r="http://schemas.openxmlformats.org/officeDocument/2006/relationships" xmlns:p="http://schemas.openxmlformats.org/presentationml/2006/main">
  <p:tag name="MIO_GUID" val="652b96c7-c04e-4cd7-bf7b-570a418c0af7"/>
</p:tagLst>
</file>

<file path=ppt/tags/tag2123.xml><?xml version="1.0" encoding="utf-8"?>
<p:tagLst xmlns:a="http://schemas.openxmlformats.org/drawingml/2006/main" xmlns:r="http://schemas.openxmlformats.org/officeDocument/2006/relationships" xmlns:p="http://schemas.openxmlformats.org/presentationml/2006/main">
  <p:tag name="MIO_GUID" val="109acba9-16d8-4563-ae5b-133bcdd06a39"/>
</p:tagLst>
</file>

<file path=ppt/tags/tag2124.xml><?xml version="1.0" encoding="utf-8"?>
<p:tagLst xmlns:a="http://schemas.openxmlformats.org/drawingml/2006/main" xmlns:r="http://schemas.openxmlformats.org/officeDocument/2006/relationships" xmlns:p="http://schemas.openxmlformats.org/presentationml/2006/main">
  <p:tag name="MIO_GUID" val="59bf4c85-f0f8-4136-b175-ac9bb4774df6"/>
</p:tagLst>
</file>

<file path=ppt/tags/tag2125.xml><?xml version="1.0" encoding="utf-8"?>
<p:tagLst xmlns:a="http://schemas.openxmlformats.org/drawingml/2006/main" xmlns:r="http://schemas.openxmlformats.org/officeDocument/2006/relationships" xmlns:p="http://schemas.openxmlformats.org/presentationml/2006/main">
  <p:tag name="MIO_GUID" val="e9e68d8f-79e6-40d2-bb9e-6cb04e427e66"/>
</p:tagLst>
</file>

<file path=ppt/tags/tag2126.xml><?xml version="1.0" encoding="utf-8"?>
<p:tagLst xmlns:a="http://schemas.openxmlformats.org/drawingml/2006/main" xmlns:r="http://schemas.openxmlformats.org/officeDocument/2006/relationships" xmlns:p="http://schemas.openxmlformats.org/presentationml/2006/main">
  <p:tag name="MIO_GUID" val="1bedfc96-fd62-4367-bc5d-42270c34ec13"/>
</p:tagLst>
</file>

<file path=ppt/tags/tag2127.xml><?xml version="1.0" encoding="utf-8"?>
<p:tagLst xmlns:a="http://schemas.openxmlformats.org/drawingml/2006/main" xmlns:r="http://schemas.openxmlformats.org/officeDocument/2006/relationships" xmlns:p="http://schemas.openxmlformats.org/presentationml/2006/main">
  <p:tag name="MIO_GUID" val="7832597a-3274-448e-90ca-70f5635ae398"/>
</p:tagLst>
</file>

<file path=ppt/tags/tag2128.xml><?xml version="1.0" encoding="utf-8"?>
<p:tagLst xmlns:a="http://schemas.openxmlformats.org/drawingml/2006/main" xmlns:r="http://schemas.openxmlformats.org/officeDocument/2006/relationships" xmlns:p="http://schemas.openxmlformats.org/presentationml/2006/main">
  <p:tag name="MIO_GUID" val="248f4dbb-1a9a-4cc2-9717-54eeaeb03e2a"/>
</p:tagLst>
</file>

<file path=ppt/tags/tag2129.xml><?xml version="1.0" encoding="utf-8"?>
<p:tagLst xmlns:a="http://schemas.openxmlformats.org/drawingml/2006/main" xmlns:r="http://schemas.openxmlformats.org/officeDocument/2006/relationships" xmlns:p="http://schemas.openxmlformats.org/presentationml/2006/main">
  <p:tag name="MIO_GUID" val="4bc31b82-097c-47f1-98c6-8ce4745c2ac4"/>
</p:tagLst>
</file>

<file path=ppt/tags/tag213.xml><?xml version="1.0" encoding="utf-8"?>
<p:tagLst xmlns:a="http://schemas.openxmlformats.org/drawingml/2006/main" xmlns:r="http://schemas.openxmlformats.org/officeDocument/2006/relationships" xmlns:p="http://schemas.openxmlformats.org/presentationml/2006/main">
  <p:tag name="MIO_GUID" val="fcd8ae8c-36ea-4d10-b09e-796330092d57"/>
</p:tagLst>
</file>

<file path=ppt/tags/tag2130.xml><?xml version="1.0" encoding="utf-8"?>
<p:tagLst xmlns:a="http://schemas.openxmlformats.org/drawingml/2006/main" xmlns:r="http://schemas.openxmlformats.org/officeDocument/2006/relationships" xmlns:p="http://schemas.openxmlformats.org/presentationml/2006/main">
  <p:tag name="MIO_GUID" val="bcbf48c1-6c53-4b45-81e5-586b26a35dd9"/>
</p:tagLst>
</file>

<file path=ppt/tags/tag2131.xml><?xml version="1.0" encoding="utf-8"?>
<p:tagLst xmlns:a="http://schemas.openxmlformats.org/drawingml/2006/main" xmlns:r="http://schemas.openxmlformats.org/officeDocument/2006/relationships" xmlns:p="http://schemas.openxmlformats.org/presentationml/2006/main">
  <p:tag name="MIO_GUID" val="bc53ea1e-7bbe-493d-a124-8604d04e8ecd"/>
</p:tagLst>
</file>

<file path=ppt/tags/tag2132.xml><?xml version="1.0" encoding="utf-8"?>
<p:tagLst xmlns:a="http://schemas.openxmlformats.org/drawingml/2006/main" xmlns:r="http://schemas.openxmlformats.org/officeDocument/2006/relationships" xmlns:p="http://schemas.openxmlformats.org/presentationml/2006/main">
  <p:tag name="MIO_GUID" val="4981856d-f155-4a3a-b9cd-875b1e94da27"/>
</p:tagLst>
</file>

<file path=ppt/tags/tag2133.xml><?xml version="1.0" encoding="utf-8"?>
<p:tagLst xmlns:a="http://schemas.openxmlformats.org/drawingml/2006/main" xmlns:r="http://schemas.openxmlformats.org/officeDocument/2006/relationships" xmlns:p="http://schemas.openxmlformats.org/presentationml/2006/main">
  <p:tag name="MIO_GUID" val="e9f38cfe-6993-4f22-8691-c5304a6cffe6"/>
</p:tagLst>
</file>

<file path=ppt/tags/tag2134.xml><?xml version="1.0" encoding="utf-8"?>
<p:tagLst xmlns:a="http://schemas.openxmlformats.org/drawingml/2006/main" xmlns:r="http://schemas.openxmlformats.org/officeDocument/2006/relationships" xmlns:p="http://schemas.openxmlformats.org/presentationml/2006/main">
  <p:tag name="MIO_GUID" val="d8dc1365-e950-4256-87f3-aee44daa2426"/>
</p:tagLst>
</file>

<file path=ppt/tags/tag2135.xml><?xml version="1.0" encoding="utf-8"?>
<p:tagLst xmlns:a="http://schemas.openxmlformats.org/drawingml/2006/main" xmlns:r="http://schemas.openxmlformats.org/officeDocument/2006/relationships" xmlns:p="http://schemas.openxmlformats.org/presentationml/2006/main">
  <p:tag name="MIO_GUID" val="643b89e2-d223-4204-b90a-edcb44401d05"/>
</p:tagLst>
</file>

<file path=ppt/tags/tag2136.xml><?xml version="1.0" encoding="utf-8"?>
<p:tagLst xmlns:a="http://schemas.openxmlformats.org/drawingml/2006/main" xmlns:r="http://schemas.openxmlformats.org/officeDocument/2006/relationships" xmlns:p="http://schemas.openxmlformats.org/presentationml/2006/main">
  <p:tag name="MIO_GUID" val="840a230f-4962-4666-aeaa-44dd0975bfad"/>
</p:tagLst>
</file>

<file path=ppt/tags/tag2137.xml><?xml version="1.0" encoding="utf-8"?>
<p:tagLst xmlns:a="http://schemas.openxmlformats.org/drawingml/2006/main" xmlns:r="http://schemas.openxmlformats.org/officeDocument/2006/relationships" xmlns:p="http://schemas.openxmlformats.org/presentationml/2006/main">
  <p:tag name="MIO_GUID" val="7fba6f71-9e26-4b22-8fd8-4fa0e2558e0e"/>
</p:tagLst>
</file>

<file path=ppt/tags/tag2138.xml><?xml version="1.0" encoding="utf-8"?>
<p:tagLst xmlns:a="http://schemas.openxmlformats.org/drawingml/2006/main" xmlns:r="http://schemas.openxmlformats.org/officeDocument/2006/relationships" xmlns:p="http://schemas.openxmlformats.org/presentationml/2006/main">
  <p:tag name="MIO_GUID" val="8a0dd7e3-cba6-4693-b18d-54d8fe1e6cc4"/>
</p:tagLst>
</file>

<file path=ppt/tags/tag2139.xml><?xml version="1.0" encoding="utf-8"?>
<p:tagLst xmlns:a="http://schemas.openxmlformats.org/drawingml/2006/main" xmlns:r="http://schemas.openxmlformats.org/officeDocument/2006/relationships" xmlns:p="http://schemas.openxmlformats.org/presentationml/2006/main">
  <p:tag name="MIO_GUID" val="da4d7818-9bc0-4ca8-be76-fd572ab5f780"/>
</p:tagLst>
</file>

<file path=ppt/tags/tag214.xml><?xml version="1.0" encoding="utf-8"?>
<p:tagLst xmlns:a="http://schemas.openxmlformats.org/drawingml/2006/main" xmlns:r="http://schemas.openxmlformats.org/officeDocument/2006/relationships" xmlns:p="http://schemas.openxmlformats.org/presentationml/2006/main">
  <p:tag name="MIO_GUID" val="81e2c28a-965d-4e23-b24c-e378ba73b78c"/>
</p:tagLst>
</file>

<file path=ppt/tags/tag2140.xml><?xml version="1.0" encoding="utf-8"?>
<p:tagLst xmlns:a="http://schemas.openxmlformats.org/drawingml/2006/main" xmlns:r="http://schemas.openxmlformats.org/officeDocument/2006/relationships" xmlns:p="http://schemas.openxmlformats.org/presentationml/2006/main">
  <p:tag name="MIO_GUID" val="9e2eba35-a50f-46cd-b39a-16fb6648023b"/>
</p:tagLst>
</file>

<file path=ppt/tags/tag2141.xml><?xml version="1.0" encoding="utf-8"?>
<p:tagLst xmlns:a="http://schemas.openxmlformats.org/drawingml/2006/main" xmlns:r="http://schemas.openxmlformats.org/officeDocument/2006/relationships" xmlns:p="http://schemas.openxmlformats.org/presentationml/2006/main">
  <p:tag name="MIO_GUID" val="ff619781-5869-42bb-a026-91d0df84c56d"/>
</p:tagLst>
</file>

<file path=ppt/tags/tag2142.xml><?xml version="1.0" encoding="utf-8"?>
<p:tagLst xmlns:a="http://schemas.openxmlformats.org/drawingml/2006/main" xmlns:r="http://schemas.openxmlformats.org/officeDocument/2006/relationships" xmlns:p="http://schemas.openxmlformats.org/presentationml/2006/main">
  <p:tag name="MIO_GUID" val="a8eb0200-9383-406c-bdaa-fb8e7ef49dec"/>
</p:tagLst>
</file>

<file path=ppt/tags/tag2143.xml><?xml version="1.0" encoding="utf-8"?>
<p:tagLst xmlns:a="http://schemas.openxmlformats.org/drawingml/2006/main" xmlns:r="http://schemas.openxmlformats.org/officeDocument/2006/relationships" xmlns:p="http://schemas.openxmlformats.org/presentationml/2006/main">
  <p:tag name="MIO_GUID" val="9a4f9242-024c-4ad7-9086-63eab1356dd2"/>
</p:tagLst>
</file>

<file path=ppt/tags/tag2144.xml><?xml version="1.0" encoding="utf-8"?>
<p:tagLst xmlns:a="http://schemas.openxmlformats.org/drawingml/2006/main" xmlns:r="http://schemas.openxmlformats.org/officeDocument/2006/relationships" xmlns:p="http://schemas.openxmlformats.org/presentationml/2006/main">
  <p:tag name="MIO_GUID" val="a2a9277a-33d4-4f87-942a-cf2b9e662683"/>
</p:tagLst>
</file>

<file path=ppt/tags/tag2145.xml><?xml version="1.0" encoding="utf-8"?>
<p:tagLst xmlns:a="http://schemas.openxmlformats.org/drawingml/2006/main" xmlns:r="http://schemas.openxmlformats.org/officeDocument/2006/relationships" xmlns:p="http://schemas.openxmlformats.org/presentationml/2006/main">
  <p:tag name="MIO_GUID" val="d7592026-393d-4463-bc8f-2b768c2929b6"/>
</p:tagLst>
</file>

<file path=ppt/tags/tag2146.xml><?xml version="1.0" encoding="utf-8"?>
<p:tagLst xmlns:a="http://schemas.openxmlformats.org/drawingml/2006/main" xmlns:r="http://schemas.openxmlformats.org/officeDocument/2006/relationships" xmlns:p="http://schemas.openxmlformats.org/presentationml/2006/main">
  <p:tag name="MIO_GUID" val="d18674f8-9635-46cb-8ed8-11858827eedc"/>
</p:tagLst>
</file>

<file path=ppt/tags/tag2147.xml><?xml version="1.0" encoding="utf-8"?>
<p:tagLst xmlns:a="http://schemas.openxmlformats.org/drawingml/2006/main" xmlns:r="http://schemas.openxmlformats.org/officeDocument/2006/relationships" xmlns:p="http://schemas.openxmlformats.org/presentationml/2006/main">
  <p:tag name="MIO_GUID" val="f681d762-082f-4de8-ba93-96fb941e16fd"/>
</p:tagLst>
</file>

<file path=ppt/tags/tag2148.xml><?xml version="1.0" encoding="utf-8"?>
<p:tagLst xmlns:a="http://schemas.openxmlformats.org/drawingml/2006/main" xmlns:r="http://schemas.openxmlformats.org/officeDocument/2006/relationships" xmlns:p="http://schemas.openxmlformats.org/presentationml/2006/main">
  <p:tag name="MIO_GUID" val="39d4e92d-e0a1-4442-a093-902b7a0705b5"/>
</p:tagLst>
</file>

<file path=ppt/tags/tag2149.xml><?xml version="1.0" encoding="utf-8"?>
<p:tagLst xmlns:a="http://schemas.openxmlformats.org/drawingml/2006/main" xmlns:r="http://schemas.openxmlformats.org/officeDocument/2006/relationships" xmlns:p="http://schemas.openxmlformats.org/presentationml/2006/main">
  <p:tag name="MIO_GUID" val="adccf30b-a796-4d8d-b5a0-4e33c9e344fb"/>
</p:tagLst>
</file>

<file path=ppt/tags/tag215.xml><?xml version="1.0" encoding="utf-8"?>
<p:tagLst xmlns:a="http://schemas.openxmlformats.org/drawingml/2006/main" xmlns:r="http://schemas.openxmlformats.org/officeDocument/2006/relationships" xmlns:p="http://schemas.openxmlformats.org/presentationml/2006/main">
  <p:tag name="MIO_GUID" val="7a4a254c-2534-474f-843f-647a221209ce"/>
</p:tagLst>
</file>

<file path=ppt/tags/tag2150.xml><?xml version="1.0" encoding="utf-8"?>
<p:tagLst xmlns:a="http://schemas.openxmlformats.org/drawingml/2006/main" xmlns:r="http://schemas.openxmlformats.org/officeDocument/2006/relationships" xmlns:p="http://schemas.openxmlformats.org/presentationml/2006/main">
  <p:tag name="MIO_GUID" val="1727c061-67d6-448c-bea3-2ff85d6832c2"/>
</p:tagLst>
</file>

<file path=ppt/tags/tag2151.xml><?xml version="1.0" encoding="utf-8"?>
<p:tagLst xmlns:a="http://schemas.openxmlformats.org/drawingml/2006/main" xmlns:r="http://schemas.openxmlformats.org/officeDocument/2006/relationships" xmlns:p="http://schemas.openxmlformats.org/presentationml/2006/main">
  <p:tag name="MIO_GUID" val="c8c2e9c1-806d-46b2-9020-1b26dfa15c1e"/>
</p:tagLst>
</file>

<file path=ppt/tags/tag2152.xml><?xml version="1.0" encoding="utf-8"?>
<p:tagLst xmlns:a="http://schemas.openxmlformats.org/drawingml/2006/main" xmlns:r="http://schemas.openxmlformats.org/officeDocument/2006/relationships" xmlns:p="http://schemas.openxmlformats.org/presentationml/2006/main">
  <p:tag name="MIO_GUID" val="38487fbe-73ff-4cc4-9ffe-cb49462df8b2"/>
</p:tagLst>
</file>

<file path=ppt/tags/tag2153.xml><?xml version="1.0" encoding="utf-8"?>
<p:tagLst xmlns:a="http://schemas.openxmlformats.org/drawingml/2006/main" xmlns:r="http://schemas.openxmlformats.org/officeDocument/2006/relationships" xmlns:p="http://schemas.openxmlformats.org/presentationml/2006/main">
  <p:tag name="MIO_GUID" val="32b18f58-1186-4393-94d3-6698e3f66f1b"/>
</p:tagLst>
</file>

<file path=ppt/tags/tag2154.xml><?xml version="1.0" encoding="utf-8"?>
<p:tagLst xmlns:a="http://schemas.openxmlformats.org/drawingml/2006/main" xmlns:r="http://schemas.openxmlformats.org/officeDocument/2006/relationships" xmlns:p="http://schemas.openxmlformats.org/presentationml/2006/main">
  <p:tag name="MIO_GUID" val="adaefbec-d461-4a74-b2e2-1756d54b10e1"/>
</p:tagLst>
</file>

<file path=ppt/tags/tag2155.xml><?xml version="1.0" encoding="utf-8"?>
<p:tagLst xmlns:a="http://schemas.openxmlformats.org/drawingml/2006/main" xmlns:r="http://schemas.openxmlformats.org/officeDocument/2006/relationships" xmlns:p="http://schemas.openxmlformats.org/presentationml/2006/main">
  <p:tag name="MIO_GUID" val="769bb42a-728d-49bb-99d0-22273d5e6fcf"/>
</p:tagLst>
</file>

<file path=ppt/tags/tag2156.xml><?xml version="1.0" encoding="utf-8"?>
<p:tagLst xmlns:a="http://schemas.openxmlformats.org/drawingml/2006/main" xmlns:r="http://schemas.openxmlformats.org/officeDocument/2006/relationships" xmlns:p="http://schemas.openxmlformats.org/presentationml/2006/main">
  <p:tag name="MIO_GUID" val="a740e19a-5f62-4712-9884-05bd3bc44ca8"/>
</p:tagLst>
</file>

<file path=ppt/tags/tag2157.xml><?xml version="1.0" encoding="utf-8"?>
<p:tagLst xmlns:a="http://schemas.openxmlformats.org/drawingml/2006/main" xmlns:r="http://schemas.openxmlformats.org/officeDocument/2006/relationships" xmlns:p="http://schemas.openxmlformats.org/presentationml/2006/main">
  <p:tag name="MIO_GUID" val="0feeaeeb-ec48-44b4-aa0e-ad90ec7d4329"/>
</p:tagLst>
</file>

<file path=ppt/tags/tag2158.xml><?xml version="1.0" encoding="utf-8"?>
<p:tagLst xmlns:a="http://schemas.openxmlformats.org/drawingml/2006/main" xmlns:r="http://schemas.openxmlformats.org/officeDocument/2006/relationships" xmlns:p="http://schemas.openxmlformats.org/presentationml/2006/main">
  <p:tag name="MIO_GUID" val="d8600375-4dac-4928-8d1b-4ee619a1f047"/>
</p:tagLst>
</file>

<file path=ppt/tags/tag2159.xml><?xml version="1.0" encoding="utf-8"?>
<p:tagLst xmlns:a="http://schemas.openxmlformats.org/drawingml/2006/main" xmlns:r="http://schemas.openxmlformats.org/officeDocument/2006/relationships" xmlns:p="http://schemas.openxmlformats.org/presentationml/2006/main">
  <p:tag name="MIO_GUID" val="c8180844-b707-4d7c-9e7a-ec7647d26ad6"/>
</p:tagLst>
</file>

<file path=ppt/tags/tag216.xml><?xml version="1.0" encoding="utf-8"?>
<p:tagLst xmlns:a="http://schemas.openxmlformats.org/drawingml/2006/main" xmlns:r="http://schemas.openxmlformats.org/officeDocument/2006/relationships" xmlns:p="http://schemas.openxmlformats.org/presentationml/2006/main">
  <p:tag name="MIO_GUID" val="87b5a30b-0060-431c-bfd2-bcd0030fa0b7"/>
</p:tagLst>
</file>

<file path=ppt/tags/tag2160.xml><?xml version="1.0" encoding="utf-8"?>
<p:tagLst xmlns:a="http://schemas.openxmlformats.org/drawingml/2006/main" xmlns:r="http://schemas.openxmlformats.org/officeDocument/2006/relationships" xmlns:p="http://schemas.openxmlformats.org/presentationml/2006/main">
  <p:tag name="MIO_GUID" val="deaae3ac-1e0a-441f-84e7-04f868cf4f3d"/>
</p:tagLst>
</file>

<file path=ppt/tags/tag2161.xml><?xml version="1.0" encoding="utf-8"?>
<p:tagLst xmlns:a="http://schemas.openxmlformats.org/drawingml/2006/main" xmlns:r="http://schemas.openxmlformats.org/officeDocument/2006/relationships" xmlns:p="http://schemas.openxmlformats.org/presentationml/2006/main">
  <p:tag name="MIO_GUID" val="b92f7580-af2f-4c31-b640-775386963f73"/>
</p:tagLst>
</file>

<file path=ppt/tags/tag2162.xml><?xml version="1.0" encoding="utf-8"?>
<p:tagLst xmlns:a="http://schemas.openxmlformats.org/drawingml/2006/main" xmlns:r="http://schemas.openxmlformats.org/officeDocument/2006/relationships" xmlns:p="http://schemas.openxmlformats.org/presentationml/2006/main">
  <p:tag name="MIO_GUID" val="82fe8e9e-3a5a-434f-be01-03397a1fc543"/>
</p:tagLst>
</file>

<file path=ppt/tags/tag2163.xml><?xml version="1.0" encoding="utf-8"?>
<p:tagLst xmlns:a="http://schemas.openxmlformats.org/drawingml/2006/main" xmlns:r="http://schemas.openxmlformats.org/officeDocument/2006/relationships" xmlns:p="http://schemas.openxmlformats.org/presentationml/2006/main">
  <p:tag name="MIO_GUID" val="f258b2bc-d4ad-406d-8e48-e0fc337459d9"/>
</p:tagLst>
</file>

<file path=ppt/tags/tag2164.xml><?xml version="1.0" encoding="utf-8"?>
<p:tagLst xmlns:a="http://schemas.openxmlformats.org/drawingml/2006/main" xmlns:r="http://schemas.openxmlformats.org/officeDocument/2006/relationships" xmlns:p="http://schemas.openxmlformats.org/presentationml/2006/main">
  <p:tag name="MIO_GUID" val="2ed272a7-f258-4f52-9a04-6e0491bcd5fa"/>
</p:tagLst>
</file>

<file path=ppt/tags/tag2165.xml><?xml version="1.0" encoding="utf-8"?>
<p:tagLst xmlns:a="http://schemas.openxmlformats.org/drawingml/2006/main" xmlns:r="http://schemas.openxmlformats.org/officeDocument/2006/relationships" xmlns:p="http://schemas.openxmlformats.org/presentationml/2006/main">
  <p:tag name="MIO_GUID" val="d1b08104-e112-4b66-b6ec-5456ea8b1231"/>
</p:tagLst>
</file>

<file path=ppt/tags/tag2166.xml><?xml version="1.0" encoding="utf-8"?>
<p:tagLst xmlns:a="http://schemas.openxmlformats.org/drawingml/2006/main" xmlns:r="http://schemas.openxmlformats.org/officeDocument/2006/relationships" xmlns:p="http://schemas.openxmlformats.org/presentationml/2006/main">
  <p:tag name="MIO_GUID" val="6bf432e7-7cfc-473a-aded-d85f1df14d41"/>
</p:tagLst>
</file>

<file path=ppt/tags/tag2167.xml><?xml version="1.0" encoding="utf-8"?>
<p:tagLst xmlns:a="http://schemas.openxmlformats.org/drawingml/2006/main" xmlns:r="http://schemas.openxmlformats.org/officeDocument/2006/relationships" xmlns:p="http://schemas.openxmlformats.org/presentationml/2006/main">
  <p:tag name="MIO_GUID" val="b28401f0-cc91-414c-9bf9-065c66b75764"/>
</p:tagLst>
</file>

<file path=ppt/tags/tag2168.xml><?xml version="1.0" encoding="utf-8"?>
<p:tagLst xmlns:a="http://schemas.openxmlformats.org/drawingml/2006/main" xmlns:r="http://schemas.openxmlformats.org/officeDocument/2006/relationships" xmlns:p="http://schemas.openxmlformats.org/presentationml/2006/main">
  <p:tag name="MIO_GUID" val="c4d9b10a-9514-4417-aac7-5ff7cbb051e2"/>
</p:tagLst>
</file>

<file path=ppt/tags/tag2169.xml><?xml version="1.0" encoding="utf-8"?>
<p:tagLst xmlns:a="http://schemas.openxmlformats.org/drawingml/2006/main" xmlns:r="http://schemas.openxmlformats.org/officeDocument/2006/relationships" xmlns:p="http://schemas.openxmlformats.org/presentationml/2006/main">
  <p:tag name="MIO_GUID" val="06eabecd-7202-4d07-90fe-52412f4e1e90"/>
</p:tagLst>
</file>

<file path=ppt/tags/tag217.xml><?xml version="1.0" encoding="utf-8"?>
<p:tagLst xmlns:a="http://schemas.openxmlformats.org/drawingml/2006/main" xmlns:r="http://schemas.openxmlformats.org/officeDocument/2006/relationships" xmlns:p="http://schemas.openxmlformats.org/presentationml/2006/main">
  <p:tag name="MIO_GUID" val="9e0aa8e4-6ca3-4518-bab9-b3a04cd931ad"/>
</p:tagLst>
</file>

<file path=ppt/tags/tag2170.xml><?xml version="1.0" encoding="utf-8"?>
<p:tagLst xmlns:a="http://schemas.openxmlformats.org/drawingml/2006/main" xmlns:r="http://schemas.openxmlformats.org/officeDocument/2006/relationships" xmlns:p="http://schemas.openxmlformats.org/presentationml/2006/main">
  <p:tag name="MIO_GUID" val="62be010a-c5d0-4ff7-806f-2e127f0f1e3b"/>
</p:tagLst>
</file>

<file path=ppt/tags/tag2171.xml><?xml version="1.0" encoding="utf-8"?>
<p:tagLst xmlns:a="http://schemas.openxmlformats.org/drawingml/2006/main" xmlns:r="http://schemas.openxmlformats.org/officeDocument/2006/relationships" xmlns:p="http://schemas.openxmlformats.org/presentationml/2006/main">
  <p:tag name="MIO_GUID" val="057b718e-0070-4e75-983a-e3a18e3ec57d"/>
</p:tagLst>
</file>

<file path=ppt/tags/tag2172.xml><?xml version="1.0" encoding="utf-8"?>
<p:tagLst xmlns:a="http://schemas.openxmlformats.org/drawingml/2006/main" xmlns:r="http://schemas.openxmlformats.org/officeDocument/2006/relationships" xmlns:p="http://schemas.openxmlformats.org/presentationml/2006/main">
  <p:tag name="MIO_GUID" val="a196b153-d80e-4e96-a2ea-61094fbc3928"/>
</p:tagLst>
</file>

<file path=ppt/tags/tag2173.xml><?xml version="1.0" encoding="utf-8"?>
<p:tagLst xmlns:a="http://schemas.openxmlformats.org/drawingml/2006/main" xmlns:r="http://schemas.openxmlformats.org/officeDocument/2006/relationships" xmlns:p="http://schemas.openxmlformats.org/presentationml/2006/main">
  <p:tag name="MIO_GUID" val="58686ab6-7ce6-488c-b7fc-965a08d426c1"/>
</p:tagLst>
</file>

<file path=ppt/tags/tag2174.xml><?xml version="1.0" encoding="utf-8"?>
<p:tagLst xmlns:a="http://schemas.openxmlformats.org/drawingml/2006/main" xmlns:r="http://schemas.openxmlformats.org/officeDocument/2006/relationships" xmlns:p="http://schemas.openxmlformats.org/presentationml/2006/main">
  <p:tag name="MIO_GUID" val="4b54b623-d210-48cd-96cb-bd29c14093c5"/>
</p:tagLst>
</file>

<file path=ppt/tags/tag2175.xml><?xml version="1.0" encoding="utf-8"?>
<p:tagLst xmlns:a="http://schemas.openxmlformats.org/drawingml/2006/main" xmlns:r="http://schemas.openxmlformats.org/officeDocument/2006/relationships" xmlns:p="http://schemas.openxmlformats.org/presentationml/2006/main">
  <p:tag name="MIO_GUID" val="917342b5-7564-47f8-9461-130f06c44a36"/>
</p:tagLst>
</file>

<file path=ppt/tags/tag2176.xml><?xml version="1.0" encoding="utf-8"?>
<p:tagLst xmlns:a="http://schemas.openxmlformats.org/drawingml/2006/main" xmlns:r="http://schemas.openxmlformats.org/officeDocument/2006/relationships" xmlns:p="http://schemas.openxmlformats.org/presentationml/2006/main">
  <p:tag name="MIO_GUID" val="13ef7e81-5ad6-4849-a238-cec18a40b249"/>
</p:tagLst>
</file>

<file path=ppt/tags/tag2177.xml><?xml version="1.0" encoding="utf-8"?>
<p:tagLst xmlns:a="http://schemas.openxmlformats.org/drawingml/2006/main" xmlns:r="http://schemas.openxmlformats.org/officeDocument/2006/relationships" xmlns:p="http://schemas.openxmlformats.org/presentationml/2006/main">
  <p:tag name="MIO_GUID" val="fe3e1681-2a0b-4910-b071-2341822c035c"/>
</p:tagLst>
</file>

<file path=ppt/tags/tag2178.xml><?xml version="1.0" encoding="utf-8"?>
<p:tagLst xmlns:a="http://schemas.openxmlformats.org/drawingml/2006/main" xmlns:r="http://schemas.openxmlformats.org/officeDocument/2006/relationships" xmlns:p="http://schemas.openxmlformats.org/presentationml/2006/main">
  <p:tag name="MIO_GUID" val="6cf81251-a8e9-4569-9dc7-d4f1396e389d"/>
</p:tagLst>
</file>

<file path=ppt/tags/tag2179.xml><?xml version="1.0" encoding="utf-8"?>
<p:tagLst xmlns:a="http://schemas.openxmlformats.org/drawingml/2006/main" xmlns:r="http://schemas.openxmlformats.org/officeDocument/2006/relationships" xmlns:p="http://schemas.openxmlformats.org/presentationml/2006/main">
  <p:tag name="MIO_GUID" val="20f16b23-4674-4706-9086-cf58c6c5e44b"/>
</p:tagLst>
</file>

<file path=ppt/tags/tag218.xml><?xml version="1.0" encoding="utf-8"?>
<p:tagLst xmlns:a="http://schemas.openxmlformats.org/drawingml/2006/main" xmlns:r="http://schemas.openxmlformats.org/officeDocument/2006/relationships" xmlns:p="http://schemas.openxmlformats.org/presentationml/2006/main">
  <p:tag name="MIO_GUID" val="f76b7de3-71f8-4e24-adba-6ce752601c2d"/>
</p:tagLst>
</file>

<file path=ppt/tags/tag2180.xml><?xml version="1.0" encoding="utf-8"?>
<p:tagLst xmlns:a="http://schemas.openxmlformats.org/drawingml/2006/main" xmlns:r="http://schemas.openxmlformats.org/officeDocument/2006/relationships" xmlns:p="http://schemas.openxmlformats.org/presentationml/2006/main">
  <p:tag name="MIO_GUID" val="8eb619a3-ebc1-4a2b-ab65-c1aec5ffeff3"/>
</p:tagLst>
</file>

<file path=ppt/tags/tag2181.xml><?xml version="1.0" encoding="utf-8"?>
<p:tagLst xmlns:a="http://schemas.openxmlformats.org/drawingml/2006/main" xmlns:r="http://schemas.openxmlformats.org/officeDocument/2006/relationships" xmlns:p="http://schemas.openxmlformats.org/presentationml/2006/main">
  <p:tag name="MIO_GUID" val="bdc223d6-5730-4ce9-a358-5141e2d75e4a"/>
</p:tagLst>
</file>

<file path=ppt/tags/tag2182.xml><?xml version="1.0" encoding="utf-8"?>
<p:tagLst xmlns:a="http://schemas.openxmlformats.org/drawingml/2006/main" xmlns:r="http://schemas.openxmlformats.org/officeDocument/2006/relationships" xmlns:p="http://schemas.openxmlformats.org/presentationml/2006/main">
  <p:tag name="MIO_GUID" val="8220676b-162f-4300-a8c7-7eb9f32d9fde"/>
</p:tagLst>
</file>

<file path=ppt/tags/tag2183.xml><?xml version="1.0" encoding="utf-8"?>
<p:tagLst xmlns:a="http://schemas.openxmlformats.org/drawingml/2006/main" xmlns:r="http://schemas.openxmlformats.org/officeDocument/2006/relationships" xmlns:p="http://schemas.openxmlformats.org/presentationml/2006/main">
  <p:tag name="MIO_GUID" val="25df7cb4-badd-4c67-a592-645b24dec91f"/>
</p:tagLst>
</file>

<file path=ppt/tags/tag2184.xml><?xml version="1.0" encoding="utf-8"?>
<p:tagLst xmlns:a="http://schemas.openxmlformats.org/drawingml/2006/main" xmlns:r="http://schemas.openxmlformats.org/officeDocument/2006/relationships" xmlns:p="http://schemas.openxmlformats.org/presentationml/2006/main">
  <p:tag name="MIO_GUID" val="f6bd695b-c4e6-483c-8365-4c04ff48fd15"/>
</p:tagLst>
</file>

<file path=ppt/tags/tag2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6.xml><?xml version="1.0" encoding="utf-8"?>
<p:tagLst xmlns:a="http://schemas.openxmlformats.org/drawingml/2006/main" xmlns:r="http://schemas.openxmlformats.org/officeDocument/2006/relationships" xmlns:p="http://schemas.openxmlformats.org/presentationml/2006/main">
  <p:tag name="MIO_GUID" val="9f1df02d-efac-4866-968a-d42facb1a356"/>
  <p:tag name="MIO_EKGUID" val="2080b424-10d4-456d-b1b4-67de263f8cac"/>
  <p:tag name="MIO_UPDATE" val="True"/>
  <p:tag name="MIO_VERSION" val="14.11.2017 13:43:08"/>
  <p:tag name="MIO_DBID" val="5D9FD29E-BEEC-40D7-BFBE-407D9085DE5F"/>
  <p:tag name="MIO_LASTDOWNLOADED" val="18.10.2018 08:57:47"/>
  <p:tag name="MIO_OBJECTNAME" val="Overview meeting"/>
  <p:tag name="MIO_LASTEDITORNAME" val="Elisabeth Roman"/>
</p:tagLst>
</file>

<file path=ppt/tags/tag2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8.xml><?xml version="1.0" encoding="utf-8"?>
<p:tagLst xmlns:a="http://schemas.openxmlformats.org/drawingml/2006/main" xmlns:r="http://schemas.openxmlformats.org/officeDocument/2006/relationships" xmlns:p="http://schemas.openxmlformats.org/presentationml/2006/main">
  <p:tag name="MIO_GUID" val="9f1df02d-efac-4866-968a-d42facb1a356"/>
  <p:tag name="MIO_EKGUID" val="2080b424-10d4-456d-b1b4-67de263f8cac"/>
  <p:tag name="MIO_UPDATE" val="True"/>
  <p:tag name="MIO_VERSION" val="14.11.2017 13:43:08"/>
  <p:tag name="MIO_DBID" val="5D9FD29E-BEEC-40D7-BFBE-407D9085DE5F"/>
  <p:tag name="MIO_LASTDOWNLOADED" val="18.10.2018 08:57:47"/>
  <p:tag name="MIO_OBJECTNAME" val="Overview meeting"/>
  <p:tag name="MIO_LASTEDITORNAME" val="Elisabeth Roman"/>
</p:tagLst>
</file>

<file path=ppt/tags/tag2189.xml><?xml version="1.0" encoding="utf-8"?>
<p:tagLst xmlns:a="http://schemas.openxmlformats.org/drawingml/2006/main" xmlns:r="http://schemas.openxmlformats.org/officeDocument/2006/relationships" xmlns:p="http://schemas.openxmlformats.org/presentationml/2006/main">
  <p:tag name="MIO_GUID" val="5d64b108-947a-4441-b254-344e9d933f80"/>
  <p:tag name="MIO_EKGUID" val="1b9a6028-27af-4dbe-ac3e-21c45bbcccfd"/>
  <p:tag name="MIO_UPDATE" val="True"/>
  <p:tag name="MIO_VERSION" val="07.02.2019 12:26:51"/>
  <p:tag name="MIO_DBID" val="5D9FD29E-BEEC-40D7-BFBE-407D9085DE5F"/>
  <p:tag name="MIO_LASTDOWNLOADED" val="17.06.2020 12:41:51"/>
  <p:tag name="MIO_OBJECTNAME" val="Nordic Region"/>
  <p:tag name="MIO_LASTEDITORNAME" val="Elisabeth Roman"/>
</p:tagLst>
</file>

<file path=ppt/tags/tag219.xml><?xml version="1.0" encoding="utf-8"?>
<p:tagLst xmlns:a="http://schemas.openxmlformats.org/drawingml/2006/main" xmlns:r="http://schemas.openxmlformats.org/officeDocument/2006/relationships" xmlns:p="http://schemas.openxmlformats.org/presentationml/2006/main">
  <p:tag name="MIO_GUID" val="587b3b7d-756b-4fd0-b58d-9332975db79c"/>
</p:tagLst>
</file>

<file path=ppt/tags/tag2190.xml><?xml version="1.0" encoding="utf-8"?>
<p:tagLst xmlns:a="http://schemas.openxmlformats.org/drawingml/2006/main" xmlns:r="http://schemas.openxmlformats.org/officeDocument/2006/relationships" xmlns:p="http://schemas.openxmlformats.org/presentationml/2006/main">
  <p:tag name="MIO_GUID" val="af94e36b-647b-488e-9816-ddfd7e46d902"/>
  <p:tag name="MIO_EKGUID" val="337b55ae-7e3a-4302-a204-25533af280e2"/>
  <p:tag name="MIO_UPDATE" val="True"/>
  <p:tag name="MIO_VERSION" val="12.07.2018 09:22:02"/>
  <p:tag name="MIO_DBID" val="5D9FD29E-BEEC-40D7-BFBE-407D9085DE5F"/>
  <p:tag name="MIO_LASTDOWNLOADED" val="18.10.2018 10:08:44"/>
  <p:tag name="MIO_OBJECTNAME" val="Denmark_DK"/>
  <p:tag name="MIO_LASTEDITORNAME" val="Bhuvaneswari Baskar"/>
</p:tagLst>
</file>

<file path=ppt/tags/tag2191.xml><?xml version="1.0" encoding="utf-8"?>
<p:tagLst xmlns:a="http://schemas.openxmlformats.org/drawingml/2006/main" xmlns:r="http://schemas.openxmlformats.org/officeDocument/2006/relationships" xmlns:p="http://schemas.openxmlformats.org/presentationml/2006/main">
  <p:tag name="MIO_GUID" val="5988480d-3a2c-420f-9b8b-8d7f738e5c6b"/>
  <p:tag name="MIO_EKGUID" val="ceefdd26-817d-4aa4-bcfa-6649c5569b1f"/>
  <p:tag name="MIO_UPDATE" val="True"/>
  <p:tag name="MIO_VERSION" val="12.07.2018 09:22:26"/>
  <p:tag name="MIO_DBID" val="5D9FD29E-BEEC-40D7-BFBE-407D9085DE5F"/>
  <p:tag name="MIO_LASTDOWNLOADED" val="18.10.2018 10:08:14"/>
  <p:tag name="MIO_OBJECTNAME" val="Finland_FI"/>
  <p:tag name="MIO_LASTEDITORNAME" val="Bhuvaneswari Baskar"/>
</p:tagLst>
</file>

<file path=ppt/tags/tag2192.xml><?xml version="1.0" encoding="utf-8"?>
<p:tagLst xmlns:a="http://schemas.openxmlformats.org/drawingml/2006/main" xmlns:r="http://schemas.openxmlformats.org/officeDocument/2006/relationships" xmlns:p="http://schemas.openxmlformats.org/presentationml/2006/main">
  <p:tag name="MIO_GUID" val="3d631141-7239-4226-ba4a-560f2bc4d8b7"/>
  <p:tag name="MIO_EKGUID" val="19c11c73-f87e-40f0-b256-a27151ef25ac"/>
  <p:tag name="MIO_UPDATE" val="True"/>
  <p:tag name="MIO_VERSION" val="12.07.2018 09:25:30"/>
  <p:tag name="MIO_DBID" val="5D9FD29E-BEEC-40D7-BFBE-407D9085DE5F"/>
  <p:tag name="MIO_LASTDOWNLOADED" val="18.10.2018 10:07:56"/>
  <p:tag name="MIO_OBJECTNAME" val="Sweden_SE"/>
  <p:tag name="MIO_LASTEDITORNAME" val="Bhuvaneswari Baskar"/>
</p:tagLst>
</file>

<file path=ppt/tags/tag2193.xml><?xml version="1.0" encoding="utf-8"?>
<p:tagLst xmlns:a="http://schemas.openxmlformats.org/drawingml/2006/main" xmlns:r="http://schemas.openxmlformats.org/officeDocument/2006/relationships" xmlns:p="http://schemas.openxmlformats.org/presentationml/2006/main">
  <p:tag name="MIO_GUID" val="e977f6bb-ad47-4bdf-b24d-e647d332e71a"/>
  <p:tag name="MIO_EKGUID" val="bbaaf1b8-33d9-40f8-a1af-5e20b31b9142"/>
  <p:tag name="MIO_UPDATE" val="True"/>
  <p:tag name="MIO_VERSION" val="12.07.2018 09:24:29"/>
  <p:tag name="MIO_DBID" val="5D9FD29E-BEEC-40D7-BFBE-407D9085DE5F"/>
  <p:tag name="MIO_LASTDOWNLOADED" val="18.10.2018 10:07:32"/>
  <p:tag name="MIO_OBJECTNAME" val="Norway_NO"/>
  <p:tag name="MIO_LASTEDITORNAME" val="Bhuvaneswari Baskar"/>
</p:tagLst>
</file>

<file path=ppt/tags/tag2194.xml><?xml version="1.0" encoding="utf-8"?>
<p:tagLst xmlns:a="http://schemas.openxmlformats.org/drawingml/2006/main" xmlns:r="http://schemas.openxmlformats.org/officeDocument/2006/relationships" xmlns:p="http://schemas.openxmlformats.org/presentationml/2006/main">
  <p:tag name="MIO_GUID" val="0118fee4-e5fb-4864-8ffb-4505edd8eb26"/>
</p:tagLst>
</file>

<file path=ppt/tags/tag2195.xml><?xml version="1.0" encoding="utf-8"?>
<p:tagLst xmlns:a="http://schemas.openxmlformats.org/drawingml/2006/main" xmlns:r="http://schemas.openxmlformats.org/officeDocument/2006/relationships" xmlns:p="http://schemas.openxmlformats.org/presentationml/2006/main">
  <p:tag name="MIO_GUID" val="fc6adcd8-07c0-4d7c-84cf-c0c95c614803"/>
</p:tagLst>
</file>

<file path=ppt/tags/tag2196.xml><?xml version="1.0" encoding="utf-8"?>
<p:tagLst xmlns:a="http://schemas.openxmlformats.org/drawingml/2006/main" xmlns:r="http://schemas.openxmlformats.org/officeDocument/2006/relationships" xmlns:p="http://schemas.openxmlformats.org/presentationml/2006/main">
  <p:tag name="MIO_GUID" val="ff3b59c8-56df-4301-a8dc-7a382913178b"/>
</p:tagLst>
</file>

<file path=ppt/tags/tag2197.xml><?xml version="1.0" encoding="utf-8"?>
<p:tagLst xmlns:a="http://schemas.openxmlformats.org/drawingml/2006/main" xmlns:r="http://schemas.openxmlformats.org/officeDocument/2006/relationships" xmlns:p="http://schemas.openxmlformats.org/presentationml/2006/main">
  <p:tag name="MIO_GUID" val="efe27f3d-65ad-469c-a6c6-495a438f2886"/>
</p:tagLst>
</file>

<file path=ppt/tags/tag2198.xml><?xml version="1.0" encoding="utf-8"?>
<p:tagLst xmlns:a="http://schemas.openxmlformats.org/drawingml/2006/main" xmlns:r="http://schemas.openxmlformats.org/officeDocument/2006/relationships" xmlns:p="http://schemas.openxmlformats.org/presentationml/2006/main">
  <p:tag name="MIO_GUID" val="bd8a4517-64be-4c11-8a14-934549677ee0"/>
  <p:tag name="MIO_EKGUID" val="e1427c74-7382-4ffa-bc3a-049782adca5f"/>
  <p:tag name="MIO_UPDATE" val="True"/>
  <p:tag name="MIO_VERSION" val="14.11.2017 14:36:42"/>
  <p:tag name="MIO_DBID" val="5D9FD29E-BEEC-40D7-BFBE-407D9085DE5F"/>
  <p:tag name="MIO_LASTDOWNLOADED" val="28.10.2018 13:44:40"/>
  <p:tag name="MIO_OBJECTNAME" val="Thumbs up"/>
  <p:tag name="MIO_LASTEDITORNAME" val="Elisabeth Roman"/>
</p:tagLst>
</file>

<file path=ppt/tags/tag2199.xml><?xml version="1.0" encoding="utf-8"?>
<p:tagLst xmlns:a="http://schemas.openxmlformats.org/drawingml/2006/main" xmlns:r="http://schemas.openxmlformats.org/officeDocument/2006/relationships" xmlns:p="http://schemas.openxmlformats.org/presentationml/2006/main">
  <p:tag name="MIO_GUID" val="bd8a4517-64be-4c11-8a14-934549677ee0"/>
  <p:tag name="MIO_EKGUID" val="e1427c74-7382-4ffa-bc3a-049782adca5f"/>
  <p:tag name="MIO_UPDATE" val="True"/>
  <p:tag name="MIO_VERSION" val="14.11.2017 14:36:42"/>
  <p:tag name="MIO_DBID" val="5D9FD29E-BEEC-40D7-BFBE-407D9085DE5F"/>
  <p:tag name="MIO_LASTDOWNLOADED" val="28.10.2018 13:46:25"/>
  <p:tag name="MIO_OBJECTNAME" val="Thumbs up"/>
  <p:tag name="MIO_LASTEDITORNAME" val="Elisabeth Roman"/>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MIO_GUID" val="e630bb22-9e55-4292-82f5-93b66163e7b0"/>
</p:tagLst>
</file>

<file path=ppt/tags/tag2200.xml><?xml version="1.0" encoding="utf-8"?>
<p:tagLst xmlns:a="http://schemas.openxmlformats.org/drawingml/2006/main" xmlns:r="http://schemas.openxmlformats.org/officeDocument/2006/relationships" xmlns:p="http://schemas.openxmlformats.org/presentationml/2006/main">
  <p:tag name="MIO_GUID" val="b419903d-7f7b-43a6-bd7c-ebd4b254ea99"/>
  <p:tag name="MIO_EKGUID" val="260e0499-dfcf-43a4-860b-8918ed875018"/>
  <p:tag name="MIO_UPDATE" val="True"/>
  <p:tag name="MIO_VERSION" val="14.11.2017 13:43:24"/>
  <p:tag name="MIO_DBID" val="5D9FD29E-BEEC-40D7-BFBE-407D9085DE5F"/>
  <p:tag name="MIO_LASTDOWNLOADED" val="28.10.2018 13:47:17"/>
  <p:tag name="MIO_OBJECTNAME" val="Payment"/>
  <p:tag name="MIO_LASTEDITORNAME" val="Elisabeth Roman"/>
</p:tagLst>
</file>

<file path=ppt/tags/tag2201.xml><?xml version="1.0" encoding="utf-8"?>
<p:tagLst xmlns:a="http://schemas.openxmlformats.org/drawingml/2006/main" xmlns:r="http://schemas.openxmlformats.org/officeDocument/2006/relationships" xmlns:p="http://schemas.openxmlformats.org/presentationml/2006/main">
  <p:tag name="MIO_GUID" val="ab8cec64-9d43-4278-9435-261a2ec265dc"/>
  <p:tag name="MIO_EKGUID" val="19358bce-6826-4d99-a68a-ab8ee9234098"/>
  <p:tag name="MIO_UPDATE" val="True"/>
  <p:tag name="MIO_VERSION" val="14.11.2017 14:41:16"/>
  <p:tag name="MIO_DBID" val="5D9FD29E-BEEC-40D7-BFBE-407D9085DE5F"/>
  <p:tag name="MIO_LASTDOWNLOADED" val="18.10.2018 08:56:54"/>
  <p:tag name="MIO_OBJECTNAME" val="Awareness"/>
  <p:tag name="MIO_LASTEDITORNAME" val="Elisabeth Roman"/>
</p:tagLst>
</file>

<file path=ppt/tags/tag2202.xml><?xml version="1.0" encoding="utf-8"?>
<p:tagLst xmlns:a="http://schemas.openxmlformats.org/drawingml/2006/main" xmlns:r="http://schemas.openxmlformats.org/officeDocument/2006/relationships" xmlns:p="http://schemas.openxmlformats.org/presentationml/2006/main">
  <p:tag name="MIO_GUID" val="bd8a4517-64be-4c11-8a14-934549677ee0"/>
  <p:tag name="MIO_EKGUID" val="e1427c74-7382-4ffa-bc3a-049782adca5f"/>
  <p:tag name="MIO_UPDATE" val="True"/>
  <p:tag name="MIO_VERSION" val="14.11.2017 14:36:42"/>
  <p:tag name="MIO_DBID" val="5D9FD29E-BEEC-40D7-BFBE-407D9085DE5F"/>
  <p:tag name="MIO_LASTDOWNLOADED" val="28.10.2018 13:44:40"/>
  <p:tag name="MIO_OBJECTNAME" val="Thumbs up"/>
  <p:tag name="MIO_LASTEDITORNAME" val="Elisabeth Roman"/>
</p:tagLst>
</file>

<file path=ppt/tags/tag2203.xml><?xml version="1.0" encoding="utf-8"?>
<p:tagLst xmlns:a="http://schemas.openxmlformats.org/drawingml/2006/main" xmlns:r="http://schemas.openxmlformats.org/officeDocument/2006/relationships" xmlns:p="http://schemas.openxmlformats.org/presentationml/2006/main">
  <p:tag name="MIO_GUID" val="bd8a4517-64be-4c11-8a14-934549677ee0"/>
  <p:tag name="MIO_EKGUID" val="e1427c74-7382-4ffa-bc3a-049782adca5f"/>
  <p:tag name="MIO_UPDATE" val="True"/>
  <p:tag name="MIO_VERSION" val="14.11.2017 14:36:42"/>
  <p:tag name="MIO_DBID" val="5D9FD29E-BEEC-40D7-BFBE-407D9085DE5F"/>
  <p:tag name="MIO_LASTDOWNLOADED" val="28.10.2018 13:46:25"/>
  <p:tag name="MIO_OBJECTNAME" val="Thumbs up"/>
  <p:tag name="MIO_LASTEDITORNAME" val="Elisabeth Roman"/>
</p:tagLst>
</file>

<file path=ppt/tags/tag2204.xml><?xml version="1.0" encoding="utf-8"?>
<p:tagLst xmlns:a="http://schemas.openxmlformats.org/drawingml/2006/main" xmlns:r="http://schemas.openxmlformats.org/officeDocument/2006/relationships" xmlns:p="http://schemas.openxmlformats.org/presentationml/2006/main">
  <p:tag name="MIO_GUID" val="b419903d-7f7b-43a6-bd7c-ebd4b254ea99"/>
  <p:tag name="MIO_EKGUID" val="260e0499-dfcf-43a4-860b-8918ed875018"/>
  <p:tag name="MIO_UPDATE" val="True"/>
  <p:tag name="MIO_VERSION" val="14.11.2017 13:43:24"/>
  <p:tag name="MIO_DBID" val="5D9FD29E-BEEC-40D7-BFBE-407D9085DE5F"/>
  <p:tag name="MIO_LASTDOWNLOADED" val="28.10.2018 13:47:17"/>
  <p:tag name="MIO_OBJECTNAME" val="Payment"/>
  <p:tag name="MIO_LASTEDITORNAME" val="Elisabeth Roman"/>
</p:tagLst>
</file>

<file path=ppt/tags/tag2205.xml><?xml version="1.0" encoding="utf-8"?>
<p:tagLst xmlns:a="http://schemas.openxmlformats.org/drawingml/2006/main" xmlns:r="http://schemas.openxmlformats.org/officeDocument/2006/relationships" xmlns:p="http://schemas.openxmlformats.org/presentationml/2006/main">
  <p:tag name="MIO_GUID" val="ab8cec64-9d43-4278-9435-261a2ec265dc"/>
  <p:tag name="MIO_EKGUID" val="19358bce-6826-4d99-a68a-ab8ee9234098"/>
  <p:tag name="MIO_UPDATE" val="True"/>
  <p:tag name="MIO_VERSION" val="14.11.2017 14:41:16"/>
  <p:tag name="MIO_DBID" val="5D9FD29E-BEEC-40D7-BFBE-407D9085DE5F"/>
  <p:tag name="MIO_LASTDOWNLOADED" val="18.10.2018 08:56:54"/>
  <p:tag name="MIO_OBJECTNAME" val="Awareness"/>
  <p:tag name="MIO_LASTEDITORNAME" val="Elisabeth Roman"/>
</p:tagLst>
</file>

<file path=ppt/tags/tag2206.xml><?xml version="1.0" encoding="utf-8"?>
<p:tagLst xmlns:a="http://schemas.openxmlformats.org/drawingml/2006/main" xmlns:r="http://schemas.openxmlformats.org/officeDocument/2006/relationships" xmlns:p="http://schemas.openxmlformats.org/presentationml/2006/main">
  <p:tag name="MIO_GUID" val="bd8a4517-64be-4c11-8a14-934549677ee0"/>
  <p:tag name="MIO_EKGUID" val="e1427c74-7382-4ffa-bc3a-049782adca5f"/>
  <p:tag name="MIO_UPDATE" val="True"/>
  <p:tag name="MIO_VERSION" val="14.11.2017 14:36:42"/>
  <p:tag name="MIO_DBID" val="5D9FD29E-BEEC-40D7-BFBE-407D9085DE5F"/>
  <p:tag name="MIO_LASTDOWNLOADED" val="28.10.2018 13:44:40"/>
  <p:tag name="MIO_OBJECTNAME" val="Thumbs up"/>
  <p:tag name="MIO_LASTEDITORNAME" val="Elisabeth Roman"/>
</p:tagLst>
</file>

<file path=ppt/tags/tag2207.xml><?xml version="1.0" encoding="utf-8"?>
<p:tagLst xmlns:a="http://schemas.openxmlformats.org/drawingml/2006/main" xmlns:r="http://schemas.openxmlformats.org/officeDocument/2006/relationships" xmlns:p="http://schemas.openxmlformats.org/presentationml/2006/main">
  <p:tag name="MIO_GUID" val="bd8a4517-64be-4c11-8a14-934549677ee0"/>
  <p:tag name="MIO_EKGUID" val="e1427c74-7382-4ffa-bc3a-049782adca5f"/>
  <p:tag name="MIO_UPDATE" val="True"/>
  <p:tag name="MIO_VERSION" val="14.11.2017 14:36:42"/>
  <p:tag name="MIO_DBID" val="5D9FD29E-BEEC-40D7-BFBE-407D9085DE5F"/>
  <p:tag name="MIO_LASTDOWNLOADED" val="28.10.2018 13:46:25"/>
  <p:tag name="MIO_OBJECTNAME" val="Thumbs up"/>
  <p:tag name="MIO_LASTEDITORNAME" val="Elisabeth Roman"/>
</p:tagLst>
</file>

<file path=ppt/tags/tag2208.xml><?xml version="1.0" encoding="utf-8"?>
<p:tagLst xmlns:a="http://schemas.openxmlformats.org/drawingml/2006/main" xmlns:r="http://schemas.openxmlformats.org/officeDocument/2006/relationships" xmlns:p="http://schemas.openxmlformats.org/presentationml/2006/main">
  <p:tag name="MIO_GUID" val="b419903d-7f7b-43a6-bd7c-ebd4b254ea99"/>
  <p:tag name="MIO_EKGUID" val="260e0499-dfcf-43a4-860b-8918ed875018"/>
  <p:tag name="MIO_UPDATE" val="True"/>
  <p:tag name="MIO_VERSION" val="14.11.2017 13:43:24"/>
  <p:tag name="MIO_DBID" val="5D9FD29E-BEEC-40D7-BFBE-407D9085DE5F"/>
  <p:tag name="MIO_LASTDOWNLOADED" val="28.10.2018 13:47:17"/>
  <p:tag name="MIO_OBJECTNAME" val="Payment"/>
  <p:tag name="MIO_LASTEDITORNAME" val="Elisabeth Roman"/>
</p:tagLst>
</file>

<file path=ppt/tags/tag2209.xml><?xml version="1.0" encoding="utf-8"?>
<p:tagLst xmlns:a="http://schemas.openxmlformats.org/drawingml/2006/main" xmlns:r="http://schemas.openxmlformats.org/officeDocument/2006/relationships" xmlns:p="http://schemas.openxmlformats.org/presentationml/2006/main">
  <p:tag name="MIO_GUID" val="ab8cec64-9d43-4278-9435-261a2ec265dc"/>
  <p:tag name="MIO_EKGUID" val="19358bce-6826-4d99-a68a-ab8ee9234098"/>
  <p:tag name="MIO_UPDATE" val="True"/>
  <p:tag name="MIO_VERSION" val="14.11.2017 14:41:16"/>
  <p:tag name="MIO_DBID" val="5D9FD29E-BEEC-40D7-BFBE-407D9085DE5F"/>
  <p:tag name="MIO_LASTDOWNLOADED" val="18.10.2018 08:56:54"/>
  <p:tag name="MIO_OBJECTNAME" val="Awareness"/>
  <p:tag name="MIO_LASTEDITORNAME" val="Elisabeth Roman"/>
</p:tagLst>
</file>

<file path=ppt/tags/tag221.xml><?xml version="1.0" encoding="utf-8"?>
<p:tagLst xmlns:a="http://schemas.openxmlformats.org/drawingml/2006/main" xmlns:r="http://schemas.openxmlformats.org/officeDocument/2006/relationships" xmlns:p="http://schemas.openxmlformats.org/presentationml/2006/main">
  <p:tag name="MIO_GUID" val="e3871ff0-0c2d-4661-a1f2-60fd3cc75232"/>
</p:tagLst>
</file>

<file path=ppt/tags/tag2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1.xml><?xml version="1.0" encoding="utf-8"?>
<p:tagLst xmlns:a="http://schemas.openxmlformats.org/drawingml/2006/main" xmlns:r="http://schemas.openxmlformats.org/officeDocument/2006/relationships" xmlns:p="http://schemas.openxmlformats.org/presentationml/2006/main">
  <p:tag name="MIO_GUID" val="ab8cec64-9d43-4278-9435-261a2ec265dc"/>
  <p:tag name="MIO_EKGUID" val="19358bce-6826-4d99-a68a-ab8ee9234098"/>
  <p:tag name="MIO_UPDATE" val="True"/>
  <p:tag name="MIO_VERSION" val="14.11.2017 14:41:16"/>
  <p:tag name="MIO_DBID" val="5D9FD29E-BEEC-40D7-BFBE-407D9085DE5F"/>
  <p:tag name="MIO_LASTDOWNLOADED" val="18.10.2018 08:56:54"/>
  <p:tag name="MIO_OBJECTNAME" val="Awareness"/>
  <p:tag name="MIO_LASTEDITORNAME" val="Elisabeth Roman"/>
</p:tagLst>
</file>

<file path=ppt/tags/tag2212.xml><?xml version="1.0" encoding="utf-8"?>
<p:tagLst xmlns:a="http://schemas.openxmlformats.org/drawingml/2006/main" xmlns:r="http://schemas.openxmlformats.org/officeDocument/2006/relationships" xmlns:p="http://schemas.openxmlformats.org/presentationml/2006/main">
  <p:tag name="MIO_GUID" val="ab8cec64-9d43-4278-9435-261a2ec265dc"/>
  <p:tag name="MIO_EKGUID" val="19358bce-6826-4d99-a68a-ab8ee9234098"/>
  <p:tag name="MIO_UPDATE" val="True"/>
  <p:tag name="MIO_VERSION" val="14.11.2017 14:41:16"/>
  <p:tag name="MIO_DBID" val="5D9FD29E-BEEC-40D7-BFBE-407D9085DE5F"/>
  <p:tag name="MIO_LASTDOWNLOADED" val="18.10.2018 08:56:54"/>
  <p:tag name="MIO_OBJECTNAME" val="Awareness"/>
  <p:tag name="MIO_LASTEDITORNAME" val="Elisabeth Roman"/>
</p:tagLst>
</file>

<file path=ppt/tags/tag2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MIO_GUID" val="9a9f58bb-842d-473a-849a-677b5496eacf"/>
</p:tagLst>
</file>

<file path=ppt/tags/tag223.xml><?xml version="1.0" encoding="utf-8"?>
<p:tagLst xmlns:a="http://schemas.openxmlformats.org/drawingml/2006/main" xmlns:r="http://schemas.openxmlformats.org/officeDocument/2006/relationships" xmlns:p="http://schemas.openxmlformats.org/presentationml/2006/main">
  <p:tag name="MIO_GUID" val="f545c0d2-1adc-446b-a846-5998639b3bcb"/>
</p:tagLst>
</file>

<file path=ppt/tags/tag224.xml><?xml version="1.0" encoding="utf-8"?>
<p:tagLst xmlns:a="http://schemas.openxmlformats.org/drawingml/2006/main" xmlns:r="http://schemas.openxmlformats.org/officeDocument/2006/relationships" xmlns:p="http://schemas.openxmlformats.org/presentationml/2006/main">
  <p:tag name="MIO_GUID" val="8d7ed997-bece-4cdb-b4f5-80101c65cab7"/>
</p:tagLst>
</file>

<file path=ppt/tags/tag225.xml><?xml version="1.0" encoding="utf-8"?>
<p:tagLst xmlns:a="http://schemas.openxmlformats.org/drawingml/2006/main" xmlns:r="http://schemas.openxmlformats.org/officeDocument/2006/relationships" xmlns:p="http://schemas.openxmlformats.org/presentationml/2006/main">
  <p:tag name="MIO_GUID" val="51e83743-5f1f-425d-aaea-cbb306d81912"/>
</p:tagLst>
</file>

<file path=ppt/tags/tag226.xml><?xml version="1.0" encoding="utf-8"?>
<p:tagLst xmlns:a="http://schemas.openxmlformats.org/drawingml/2006/main" xmlns:r="http://schemas.openxmlformats.org/officeDocument/2006/relationships" xmlns:p="http://schemas.openxmlformats.org/presentationml/2006/main">
  <p:tag name="MIO_GUID" val="0dbf0d7d-d24f-4dbe-bd4d-bcbeec3f9fb2"/>
</p:tagLst>
</file>

<file path=ppt/tags/tag227.xml><?xml version="1.0" encoding="utf-8"?>
<p:tagLst xmlns:a="http://schemas.openxmlformats.org/drawingml/2006/main" xmlns:r="http://schemas.openxmlformats.org/officeDocument/2006/relationships" xmlns:p="http://schemas.openxmlformats.org/presentationml/2006/main">
  <p:tag name="MIO_GUID" val="6fabc414-f22c-4d45-9633-f504b53cd7e7"/>
</p:tagLst>
</file>

<file path=ppt/tags/tag228.xml><?xml version="1.0" encoding="utf-8"?>
<p:tagLst xmlns:a="http://schemas.openxmlformats.org/drawingml/2006/main" xmlns:r="http://schemas.openxmlformats.org/officeDocument/2006/relationships" xmlns:p="http://schemas.openxmlformats.org/presentationml/2006/main">
  <p:tag name="MIO_GUID" val="18ade7cd-e9e3-4772-a112-fab9b596706d"/>
</p:tagLst>
</file>

<file path=ppt/tags/tag229.xml><?xml version="1.0" encoding="utf-8"?>
<p:tagLst xmlns:a="http://schemas.openxmlformats.org/drawingml/2006/main" xmlns:r="http://schemas.openxmlformats.org/officeDocument/2006/relationships" xmlns:p="http://schemas.openxmlformats.org/presentationml/2006/main">
  <p:tag name="MIO_GUID" val="40817e11-1de9-49ad-810b-5fc7730d34d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MIO_GUID" val="92e228df-f553-4c69-9902-24cc7488cbc9"/>
</p:tagLst>
</file>

<file path=ppt/tags/tag231.xml><?xml version="1.0" encoding="utf-8"?>
<p:tagLst xmlns:a="http://schemas.openxmlformats.org/drawingml/2006/main" xmlns:r="http://schemas.openxmlformats.org/officeDocument/2006/relationships" xmlns:p="http://schemas.openxmlformats.org/presentationml/2006/main">
  <p:tag name="MIO_GUID" val="e08f2c2f-7de7-4ec4-8601-0cdbfdd68917"/>
</p:tagLst>
</file>

<file path=ppt/tags/tag232.xml><?xml version="1.0" encoding="utf-8"?>
<p:tagLst xmlns:a="http://schemas.openxmlformats.org/drawingml/2006/main" xmlns:r="http://schemas.openxmlformats.org/officeDocument/2006/relationships" xmlns:p="http://schemas.openxmlformats.org/presentationml/2006/main">
  <p:tag name="MIO_GUID" val="6d8af32a-dcc6-4505-a780-30940f18d718"/>
</p:tagLst>
</file>

<file path=ppt/tags/tag233.xml><?xml version="1.0" encoding="utf-8"?>
<p:tagLst xmlns:a="http://schemas.openxmlformats.org/drawingml/2006/main" xmlns:r="http://schemas.openxmlformats.org/officeDocument/2006/relationships" xmlns:p="http://schemas.openxmlformats.org/presentationml/2006/main">
  <p:tag name="MIO_GUID" val="1310f85d-e806-48f4-87aa-30041e6624d2"/>
</p:tagLst>
</file>

<file path=ppt/tags/tag234.xml><?xml version="1.0" encoding="utf-8"?>
<p:tagLst xmlns:a="http://schemas.openxmlformats.org/drawingml/2006/main" xmlns:r="http://schemas.openxmlformats.org/officeDocument/2006/relationships" xmlns:p="http://schemas.openxmlformats.org/presentationml/2006/main">
  <p:tag name="MIO_GUID" val="0fb40de7-6fea-4f0b-92a3-729abcbcc61a"/>
</p:tagLst>
</file>

<file path=ppt/tags/tag235.xml><?xml version="1.0" encoding="utf-8"?>
<p:tagLst xmlns:a="http://schemas.openxmlformats.org/drawingml/2006/main" xmlns:r="http://schemas.openxmlformats.org/officeDocument/2006/relationships" xmlns:p="http://schemas.openxmlformats.org/presentationml/2006/main">
  <p:tag name="MIO_GUID" val="f798d5d0-d96d-49f6-9096-573a1f094c36"/>
</p:tagLst>
</file>

<file path=ppt/tags/tag236.xml><?xml version="1.0" encoding="utf-8"?>
<p:tagLst xmlns:a="http://schemas.openxmlformats.org/drawingml/2006/main" xmlns:r="http://schemas.openxmlformats.org/officeDocument/2006/relationships" xmlns:p="http://schemas.openxmlformats.org/presentationml/2006/main">
  <p:tag name="MIO_GUID" val="663ec82c-9125-4fce-af86-248904215ad1"/>
</p:tagLst>
</file>

<file path=ppt/tags/tag237.xml><?xml version="1.0" encoding="utf-8"?>
<p:tagLst xmlns:a="http://schemas.openxmlformats.org/drawingml/2006/main" xmlns:r="http://schemas.openxmlformats.org/officeDocument/2006/relationships" xmlns:p="http://schemas.openxmlformats.org/presentationml/2006/main">
  <p:tag name="MIO_GUID" val="ad40a1f3-8ff2-4d33-90ec-8e9a0e350600"/>
</p:tagLst>
</file>

<file path=ppt/tags/tag238.xml><?xml version="1.0" encoding="utf-8"?>
<p:tagLst xmlns:a="http://schemas.openxmlformats.org/drawingml/2006/main" xmlns:r="http://schemas.openxmlformats.org/officeDocument/2006/relationships" xmlns:p="http://schemas.openxmlformats.org/presentationml/2006/main">
  <p:tag name="MIO_GUID" val="ca146955-00eb-4fac-938b-7fe5c73f379c"/>
</p:tagLst>
</file>

<file path=ppt/tags/tag239.xml><?xml version="1.0" encoding="utf-8"?>
<p:tagLst xmlns:a="http://schemas.openxmlformats.org/drawingml/2006/main" xmlns:r="http://schemas.openxmlformats.org/officeDocument/2006/relationships" xmlns:p="http://schemas.openxmlformats.org/presentationml/2006/main">
  <p:tag name="MIO_GUID" val="2a2faedf-413d-4fa6-b0eb-ee73c3da886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MIO_GUID" val="a43317a0-71e7-4c73-ae6c-737f0acec6f3"/>
</p:tagLst>
</file>

<file path=ppt/tags/tag241.xml><?xml version="1.0" encoding="utf-8"?>
<p:tagLst xmlns:a="http://schemas.openxmlformats.org/drawingml/2006/main" xmlns:r="http://schemas.openxmlformats.org/officeDocument/2006/relationships" xmlns:p="http://schemas.openxmlformats.org/presentationml/2006/main">
  <p:tag name="MIO_GUID" val="57455214-6050-45b4-9c81-764147730fdc"/>
</p:tagLst>
</file>

<file path=ppt/tags/tag242.xml><?xml version="1.0" encoding="utf-8"?>
<p:tagLst xmlns:a="http://schemas.openxmlformats.org/drawingml/2006/main" xmlns:r="http://schemas.openxmlformats.org/officeDocument/2006/relationships" xmlns:p="http://schemas.openxmlformats.org/presentationml/2006/main">
  <p:tag name="MIO_GUID" val="8f438c1b-b7c1-4c83-ab2f-732b64dde97b"/>
</p:tagLst>
</file>

<file path=ppt/tags/tag243.xml><?xml version="1.0" encoding="utf-8"?>
<p:tagLst xmlns:a="http://schemas.openxmlformats.org/drawingml/2006/main" xmlns:r="http://schemas.openxmlformats.org/officeDocument/2006/relationships" xmlns:p="http://schemas.openxmlformats.org/presentationml/2006/main">
  <p:tag name="MIO_GUID" val="466c6804-3ca7-4216-96e3-409d4bbe0682"/>
</p:tagLst>
</file>

<file path=ppt/tags/tag244.xml><?xml version="1.0" encoding="utf-8"?>
<p:tagLst xmlns:a="http://schemas.openxmlformats.org/drawingml/2006/main" xmlns:r="http://schemas.openxmlformats.org/officeDocument/2006/relationships" xmlns:p="http://schemas.openxmlformats.org/presentationml/2006/main">
  <p:tag name="MIO_GUID" val="91e16b37-474f-4d0e-8f43-6f17fdf49408"/>
</p:tagLst>
</file>

<file path=ppt/tags/tag245.xml><?xml version="1.0" encoding="utf-8"?>
<p:tagLst xmlns:a="http://schemas.openxmlformats.org/drawingml/2006/main" xmlns:r="http://schemas.openxmlformats.org/officeDocument/2006/relationships" xmlns:p="http://schemas.openxmlformats.org/presentationml/2006/main">
  <p:tag name="MIO_GUID" val="6cc2fc89-ab58-4212-8793-0ab292d31b44"/>
</p:tagLst>
</file>

<file path=ppt/tags/tag246.xml><?xml version="1.0" encoding="utf-8"?>
<p:tagLst xmlns:a="http://schemas.openxmlformats.org/drawingml/2006/main" xmlns:r="http://schemas.openxmlformats.org/officeDocument/2006/relationships" xmlns:p="http://schemas.openxmlformats.org/presentationml/2006/main">
  <p:tag name="MIO_GUID" val="9e5afae3-c305-41e8-a29f-7ae7ebd84b61"/>
</p:tagLst>
</file>

<file path=ppt/tags/tag247.xml><?xml version="1.0" encoding="utf-8"?>
<p:tagLst xmlns:a="http://schemas.openxmlformats.org/drawingml/2006/main" xmlns:r="http://schemas.openxmlformats.org/officeDocument/2006/relationships" xmlns:p="http://schemas.openxmlformats.org/presentationml/2006/main">
  <p:tag name="MIO_GUID" val="276c4a8c-48d4-4484-a20d-7d8c85d4db0e"/>
</p:tagLst>
</file>

<file path=ppt/tags/tag248.xml><?xml version="1.0" encoding="utf-8"?>
<p:tagLst xmlns:a="http://schemas.openxmlformats.org/drawingml/2006/main" xmlns:r="http://schemas.openxmlformats.org/officeDocument/2006/relationships" xmlns:p="http://schemas.openxmlformats.org/presentationml/2006/main">
  <p:tag name="MIO_GUID" val="18e7e6cf-c9fb-4c0b-8e8b-fbc2737564fc"/>
</p:tagLst>
</file>

<file path=ppt/tags/tag249.xml><?xml version="1.0" encoding="utf-8"?>
<p:tagLst xmlns:a="http://schemas.openxmlformats.org/drawingml/2006/main" xmlns:r="http://schemas.openxmlformats.org/officeDocument/2006/relationships" xmlns:p="http://schemas.openxmlformats.org/presentationml/2006/main">
  <p:tag name="MIO_GUID" val="a9995c46-1add-418c-8b9f-c578959c1ab0"/>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MIO_GUID" val="287c66f0-3af4-4728-8908-85561f05f75b"/>
</p:tagLst>
</file>

<file path=ppt/tags/tag251.xml><?xml version="1.0" encoding="utf-8"?>
<p:tagLst xmlns:a="http://schemas.openxmlformats.org/drawingml/2006/main" xmlns:r="http://schemas.openxmlformats.org/officeDocument/2006/relationships" xmlns:p="http://schemas.openxmlformats.org/presentationml/2006/main">
  <p:tag name="MIO_GUID" val="9ea27f4a-e5bd-44f5-b85a-f1d851fcb141"/>
</p:tagLst>
</file>

<file path=ppt/tags/tag252.xml><?xml version="1.0" encoding="utf-8"?>
<p:tagLst xmlns:a="http://schemas.openxmlformats.org/drawingml/2006/main" xmlns:r="http://schemas.openxmlformats.org/officeDocument/2006/relationships" xmlns:p="http://schemas.openxmlformats.org/presentationml/2006/main">
  <p:tag name="MIO_GUID" val="42ff9cf8-07ac-46a1-b382-36b2c69231ba"/>
</p:tagLst>
</file>

<file path=ppt/tags/tag253.xml><?xml version="1.0" encoding="utf-8"?>
<p:tagLst xmlns:a="http://schemas.openxmlformats.org/drawingml/2006/main" xmlns:r="http://schemas.openxmlformats.org/officeDocument/2006/relationships" xmlns:p="http://schemas.openxmlformats.org/presentationml/2006/main">
  <p:tag name="MIO_GUID" val="b5d3e848-bb01-4394-a514-4be53ccae88b"/>
</p:tagLst>
</file>

<file path=ppt/tags/tag254.xml><?xml version="1.0" encoding="utf-8"?>
<p:tagLst xmlns:a="http://schemas.openxmlformats.org/drawingml/2006/main" xmlns:r="http://schemas.openxmlformats.org/officeDocument/2006/relationships" xmlns:p="http://schemas.openxmlformats.org/presentationml/2006/main">
  <p:tag name="MIO_GUID" val="7203ba97-d5b7-4743-aeb5-671e42367234"/>
</p:tagLst>
</file>

<file path=ppt/tags/tag255.xml><?xml version="1.0" encoding="utf-8"?>
<p:tagLst xmlns:a="http://schemas.openxmlformats.org/drawingml/2006/main" xmlns:r="http://schemas.openxmlformats.org/officeDocument/2006/relationships" xmlns:p="http://schemas.openxmlformats.org/presentationml/2006/main">
  <p:tag name="MIO_GUID" val="65d7931f-2cd2-4911-9feb-1bab5a6600d0"/>
</p:tagLst>
</file>

<file path=ppt/tags/tag256.xml><?xml version="1.0" encoding="utf-8"?>
<p:tagLst xmlns:a="http://schemas.openxmlformats.org/drawingml/2006/main" xmlns:r="http://schemas.openxmlformats.org/officeDocument/2006/relationships" xmlns:p="http://schemas.openxmlformats.org/presentationml/2006/main">
  <p:tag name="MIO_GUID" val="75211f53-ed15-488a-8c51-51eac0a0fd12"/>
</p:tagLst>
</file>

<file path=ppt/tags/tag257.xml><?xml version="1.0" encoding="utf-8"?>
<p:tagLst xmlns:a="http://schemas.openxmlformats.org/drawingml/2006/main" xmlns:r="http://schemas.openxmlformats.org/officeDocument/2006/relationships" xmlns:p="http://schemas.openxmlformats.org/presentationml/2006/main">
  <p:tag name="MIO_GUID" val="26c26429-c563-4620-8448-56ca10b96747"/>
</p:tagLst>
</file>

<file path=ppt/tags/tag258.xml><?xml version="1.0" encoding="utf-8"?>
<p:tagLst xmlns:a="http://schemas.openxmlformats.org/drawingml/2006/main" xmlns:r="http://schemas.openxmlformats.org/officeDocument/2006/relationships" xmlns:p="http://schemas.openxmlformats.org/presentationml/2006/main">
  <p:tag name="MIO_GUID" val="257b9bb0-5f17-431b-b10d-a35adece3f30"/>
</p:tagLst>
</file>

<file path=ppt/tags/tag259.xml><?xml version="1.0" encoding="utf-8"?>
<p:tagLst xmlns:a="http://schemas.openxmlformats.org/drawingml/2006/main" xmlns:r="http://schemas.openxmlformats.org/officeDocument/2006/relationships" xmlns:p="http://schemas.openxmlformats.org/presentationml/2006/main">
  <p:tag name="MIO_GUID" val="e9d0ed34-d75e-4abd-8a00-511486a87353"/>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MIO_GUID" val="576e8aaa-bbb1-42c4-befb-8ef217641dcc"/>
</p:tagLst>
</file>

<file path=ppt/tags/tag261.xml><?xml version="1.0" encoding="utf-8"?>
<p:tagLst xmlns:a="http://schemas.openxmlformats.org/drawingml/2006/main" xmlns:r="http://schemas.openxmlformats.org/officeDocument/2006/relationships" xmlns:p="http://schemas.openxmlformats.org/presentationml/2006/main">
  <p:tag name="MIO_GUID" val="687002e4-165b-4a61-a7a0-3700d5e4b47d"/>
</p:tagLst>
</file>

<file path=ppt/tags/tag262.xml><?xml version="1.0" encoding="utf-8"?>
<p:tagLst xmlns:a="http://schemas.openxmlformats.org/drawingml/2006/main" xmlns:r="http://schemas.openxmlformats.org/officeDocument/2006/relationships" xmlns:p="http://schemas.openxmlformats.org/presentationml/2006/main">
  <p:tag name="MIO_GUID" val="589a169c-a543-47ec-a831-3292a87ea5f5"/>
</p:tagLst>
</file>

<file path=ppt/tags/tag263.xml><?xml version="1.0" encoding="utf-8"?>
<p:tagLst xmlns:a="http://schemas.openxmlformats.org/drawingml/2006/main" xmlns:r="http://schemas.openxmlformats.org/officeDocument/2006/relationships" xmlns:p="http://schemas.openxmlformats.org/presentationml/2006/main">
  <p:tag name="MIO_GUID" val="2a7c5b2e-f4af-4d43-b7e3-756d25632cde"/>
</p:tagLst>
</file>

<file path=ppt/tags/tag264.xml><?xml version="1.0" encoding="utf-8"?>
<p:tagLst xmlns:a="http://schemas.openxmlformats.org/drawingml/2006/main" xmlns:r="http://schemas.openxmlformats.org/officeDocument/2006/relationships" xmlns:p="http://schemas.openxmlformats.org/presentationml/2006/main">
  <p:tag name="MIO_GUID" val="2d313a1d-efeb-4406-a3ee-b8a9f1f9f5f3"/>
</p:tagLst>
</file>

<file path=ppt/tags/tag265.xml><?xml version="1.0" encoding="utf-8"?>
<p:tagLst xmlns:a="http://schemas.openxmlformats.org/drawingml/2006/main" xmlns:r="http://schemas.openxmlformats.org/officeDocument/2006/relationships" xmlns:p="http://schemas.openxmlformats.org/presentationml/2006/main">
  <p:tag name="MIO_GUID" val="505be20e-0ed1-4e5d-9cbb-3b7c37b69768"/>
</p:tagLst>
</file>

<file path=ppt/tags/tag266.xml><?xml version="1.0" encoding="utf-8"?>
<p:tagLst xmlns:a="http://schemas.openxmlformats.org/drawingml/2006/main" xmlns:r="http://schemas.openxmlformats.org/officeDocument/2006/relationships" xmlns:p="http://schemas.openxmlformats.org/presentationml/2006/main">
  <p:tag name="MIO_GUID" val="a07ae947-ee56-4ed6-9af2-be3136666b16"/>
</p:tagLst>
</file>

<file path=ppt/tags/tag267.xml><?xml version="1.0" encoding="utf-8"?>
<p:tagLst xmlns:a="http://schemas.openxmlformats.org/drawingml/2006/main" xmlns:r="http://schemas.openxmlformats.org/officeDocument/2006/relationships" xmlns:p="http://schemas.openxmlformats.org/presentationml/2006/main">
  <p:tag name="MIO_GUID" val="8dcbc773-ca66-47ca-874c-511aab4ccdb7"/>
</p:tagLst>
</file>

<file path=ppt/tags/tag268.xml><?xml version="1.0" encoding="utf-8"?>
<p:tagLst xmlns:a="http://schemas.openxmlformats.org/drawingml/2006/main" xmlns:r="http://schemas.openxmlformats.org/officeDocument/2006/relationships" xmlns:p="http://schemas.openxmlformats.org/presentationml/2006/main">
  <p:tag name="MIO_GUID" val="ead83b85-a7f6-4160-bf24-cf8e0f505c32"/>
</p:tagLst>
</file>

<file path=ppt/tags/tag269.xml><?xml version="1.0" encoding="utf-8"?>
<p:tagLst xmlns:a="http://schemas.openxmlformats.org/drawingml/2006/main" xmlns:r="http://schemas.openxmlformats.org/officeDocument/2006/relationships" xmlns:p="http://schemas.openxmlformats.org/presentationml/2006/main">
  <p:tag name="MIO_GUID" val="615be158-ab7a-4865-88a9-597321adfc9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MIO_GUID" val="3d9b3cc6-0da6-4f8a-a663-b6dd4e661756"/>
</p:tagLst>
</file>

<file path=ppt/tags/tag271.xml><?xml version="1.0" encoding="utf-8"?>
<p:tagLst xmlns:a="http://schemas.openxmlformats.org/drawingml/2006/main" xmlns:r="http://schemas.openxmlformats.org/officeDocument/2006/relationships" xmlns:p="http://schemas.openxmlformats.org/presentationml/2006/main">
  <p:tag name="MIO_GUID" val="87232cd2-099b-4081-a02d-b98f60f39e75"/>
</p:tagLst>
</file>

<file path=ppt/tags/tag272.xml><?xml version="1.0" encoding="utf-8"?>
<p:tagLst xmlns:a="http://schemas.openxmlformats.org/drawingml/2006/main" xmlns:r="http://schemas.openxmlformats.org/officeDocument/2006/relationships" xmlns:p="http://schemas.openxmlformats.org/presentationml/2006/main">
  <p:tag name="MIO_GUID" val="0cb10d0b-afcd-4e7e-82c8-c675d24a86d8"/>
</p:tagLst>
</file>

<file path=ppt/tags/tag273.xml><?xml version="1.0" encoding="utf-8"?>
<p:tagLst xmlns:a="http://schemas.openxmlformats.org/drawingml/2006/main" xmlns:r="http://schemas.openxmlformats.org/officeDocument/2006/relationships" xmlns:p="http://schemas.openxmlformats.org/presentationml/2006/main">
  <p:tag name="MIO_GUID" val="6d81a2ea-4970-4cb7-8e0f-e4da9a41fe48"/>
</p:tagLst>
</file>

<file path=ppt/tags/tag274.xml><?xml version="1.0" encoding="utf-8"?>
<p:tagLst xmlns:a="http://schemas.openxmlformats.org/drawingml/2006/main" xmlns:r="http://schemas.openxmlformats.org/officeDocument/2006/relationships" xmlns:p="http://schemas.openxmlformats.org/presentationml/2006/main">
  <p:tag name="MIO_GUID" val="1f2cb7c4-48f7-4ad0-a8eb-fe561bd4f48b"/>
</p:tagLst>
</file>

<file path=ppt/tags/tag275.xml><?xml version="1.0" encoding="utf-8"?>
<p:tagLst xmlns:a="http://schemas.openxmlformats.org/drawingml/2006/main" xmlns:r="http://schemas.openxmlformats.org/officeDocument/2006/relationships" xmlns:p="http://schemas.openxmlformats.org/presentationml/2006/main">
  <p:tag name="MIO_GUID" val="e15eb0c9-35cd-4519-bbda-406a01b490aa"/>
</p:tagLst>
</file>

<file path=ppt/tags/tag276.xml><?xml version="1.0" encoding="utf-8"?>
<p:tagLst xmlns:a="http://schemas.openxmlformats.org/drawingml/2006/main" xmlns:r="http://schemas.openxmlformats.org/officeDocument/2006/relationships" xmlns:p="http://schemas.openxmlformats.org/presentationml/2006/main">
  <p:tag name="MIO_GUID" val="00946fa9-8501-45c6-8c34-f287273a3b63"/>
</p:tagLst>
</file>

<file path=ppt/tags/tag277.xml><?xml version="1.0" encoding="utf-8"?>
<p:tagLst xmlns:a="http://schemas.openxmlformats.org/drawingml/2006/main" xmlns:r="http://schemas.openxmlformats.org/officeDocument/2006/relationships" xmlns:p="http://schemas.openxmlformats.org/presentationml/2006/main">
  <p:tag name="MIO_GUID" val="4e0160a8-50f6-4f8b-9033-7f89f971acf0"/>
</p:tagLst>
</file>

<file path=ppt/tags/tag278.xml><?xml version="1.0" encoding="utf-8"?>
<p:tagLst xmlns:a="http://schemas.openxmlformats.org/drawingml/2006/main" xmlns:r="http://schemas.openxmlformats.org/officeDocument/2006/relationships" xmlns:p="http://schemas.openxmlformats.org/presentationml/2006/main">
  <p:tag name="MIO_GUID" val="8fc7e110-9729-40e4-abf5-40de2c12114d"/>
</p:tagLst>
</file>

<file path=ppt/tags/tag279.xml><?xml version="1.0" encoding="utf-8"?>
<p:tagLst xmlns:a="http://schemas.openxmlformats.org/drawingml/2006/main" xmlns:r="http://schemas.openxmlformats.org/officeDocument/2006/relationships" xmlns:p="http://schemas.openxmlformats.org/presentationml/2006/main">
  <p:tag name="MIO_GUID" val="67982106-56de-4266-a18c-3f92d6ba234c"/>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MIO_GUID" val="fb6e94bd-259b-4d08-a133-0b7deae20977"/>
</p:tagLst>
</file>

<file path=ppt/tags/tag281.xml><?xml version="1.0" encoding="utf-8"?>
<p:tagLst xmlns:a="http://schemas.openxmlformats.org/drawingml/2006/main" xmlns:r="http://schemas.openxmlformats.org/officeDocument/2006/relationships" xmlns:p="http://schemas.openxmlformats.org/presentationml/2006/main">
  <p:tag name="MIO_GUID" val="58b6af87-cc9d-4910-a429-9a29d5826767"/>
</p:tagLst>
</file>

<file path=ppt/tags/tag282.xml><?xml version="1.0" encoding="utf-8"?>
<p:tagLst xmlns:a="http://schemas.openxmlformats.org/drawingml/2006/main" xmlns:r="http://schemas.openxmlformats.org/officeDocument/2006/relationships" xmlns:p="http://schemas.openxmlformats.org/presentationml/2006/main">
  <p:tag name="MIO_GUID" val="bf9b1a56-6386-4b59-ab7d-14f730255b23"/>
</p:tagLst>
</file>

<file path=ppt/tags/tag283.xml><?xml version="1.0" encoding="utf-8"?>
<p:tagLst xmlns:a="http://schemas.openxmlformats.org/drawingml/2006/main" xmlns:r="http://schemas.openxmlformats.org/officeDocument/2006/relationships" xmlns:p="http://schemas.openxmlformats.org/presentationml/2006/main">
  <p:tag name="MIO_GUID" val="f0022f5a-d16d-44fe-af40-c0dc0b6da8e6"/>
</p:tagLst>
</file>

<file path=ppt/tags/tag284.xml><?xml version="1.0" encoding="utf-8"?>
<p:tagLst xmlns:a="http://schemas.openxmlformats.org/drawingml/2006/main" xmlns:r="http://schemas.openxmlformats.org/officeDocument/2006/relationships" xmlns:p="http://schemas.openxmlformats.org/presentationml/2006/main">
  <p:tag name="MIO_GUID" val="0fb48f16-1a8c-4a96-a8e5-ab8e0dbc4a17"/>
</p:tagLst>
</file>

<file path=ppt/tags/tag285.xml><?xml version="1.0" encoding="utf-8"?>
<p:tagLst xmlns:a="http://schemas.openxmlformats.org/drawingml/2006/main" xmlns:r="http://schemas.openxmlformats.org/officeDocument/2006/relationships" xmlns:p="http://schemas.openxmlformats.org/presentationml/2006/main">
  <p:tag name="MIO_GUID" val="a4f50369-0533-45b3-9310-17e5709214b3"/>
</p:tagLst>
</file>

<file path=ppt/tags/tag286.xml><?xml version="1.0" encoding="utf-8"?>
<p:tagLst xmlns:a="http://schemas.openxmlformats.org/drawingml/2006/main" xmlns:r="http://schemas.openxmlformats.org/officeDocument/2006/relationships" xmlns:p="http://schemas.openxmlformats.org/presentationml/2006/main">
  <p:tag name="MIO_GUID" val="15ddb044-5bd3-4081-b92f-604f1ade1bad"/>
</p:tagLst>
</file>

<file path=ppt/tags/tag287.xml><?xml version="1.0" encoding="utf-8"?>
<p:tagLst xmlns:a="http://schemas.openxmlformats.org/drawingml/2006/main" xmlns:r="http://schemas.openxmlformats.org/officeDocument/2006/relationships" xmlns:p="http://schemas.openxmlformats.org/presentationml/2006/main">
  <p:tag name="MIO_GUID" val="a6d60a9d-ffac-46fa-8538-386538a0b11f"/>
</p:tagLst>
</file>

<file path=ppt/tags/tag288.xml><?xml version="1.0" encoding="utf-8"?>
<p:tagLst xmlns:a="http://schemas.openxmlformats.org/drawingml/2006/main" xmlns:r="http://schemas.openxmlformats.org/officeDocument/2006/relationships" xmlns:p="http://schemas.openxmlformats.org/presentationml/2006/main">
  <p:tag name="MIO_GUID" val="a230a728-02ed-45f1-a7e4-51a68d335851"/>
</p:tagLst>
</file>

<file path=ppt/tags/tag289.xml><?xml version="1.0" encoding="utf-8"?>
<p:tagLst xmlns:a="http://schemas.openxmlformats.org/drawingml/2006/main" xmlns:r="http://schemas.openxmlformats.org/officeDocument/2006/relationships" xmlns:p="http://schemas.openxmlformats.org/presentationml/2006/main">
  <p:tag name="MIO_GUID" val="3731e09c-ed81-4bed-af8e-b117d82ae4a2"/>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MIO_GUID" val="86a92f36-9d24-48ab-ac76-a0ca81029f90"/>
</p:tagLst>
</file>

<file path=ppt/tags/tag291.xml><?xml version="1.0" encoding="utf-8"?>
<p:tagLst xmlns:a="http://schemas.openxmlformats.org/drawingml/2006/main" xmlns:r="http://schemas.openxmlformats.org/officeDocument/2006/relationships" xmlns:p="http://schemas.openxmlformats.org/presentationml/2006/main">
  <p:tag name="MIO_GUID" val="f35c4dae-b8fb-44d9-97cf-d4d11f5b0478"/>
</p:tagLst>
</file>

<file path=ppt/tags/tag292.xml><?xml version="1.0" encoding="utf-8"?>
<p:tagLst xmlns:a="http://schemas.openxmlformats.org/drawingml/2006/main" xmlns:r="http://schemas.openxmlformats.org/officeDocument/2006/relationships" xmlns:p="http://schemas.openxmlformats.org/presentationml/2006/main">
  <p:tag name="MIO_GUID" val="f289425b-523e-4219-be02-8dc1ff93cec2"/>
</p:tagLst>
</file>

<file path=ppt/tags/tag293.xml><?xml version="1.0" encoding="utf-8"?>
<p:tagLst xmlns:a="http://schemas.openxmlformats.org/drawingml/2006/main" xmlns:r="http://schemas.openxmlformats.org/officeDocument/2006/relationships" xmlns:p="http://schemas.openxmlformats.org/presentationml/2006/main">
  <p:tag name="MIO_GUID" val="cc35c4e3-c3d2-4137-ab3d-645cf5ca1750"/>
</p:tagLst>
</file>

<file path=ppt/tags/tag294.xml><?xml version="1.0" encoding="utf-8"?>
<p:tagLst xmlns:a="http://schemas.openxmlformats.org/drawingml/2006/main" xmlns:r="http://schemas.openxmlformats.org/officeDocument/2006/relationships" xmlns:p="http://schemas.openxmlformats.org/presentationml/2006/main">
  <p:tag name="MIO_GUID" val="0638ca4f-648a-47ae-ad2c-4424bc078e00"/>
</p:tagLst>
</file>

<file path=ppt/tags/tag295.xml><?xml version="1.0" encoding="utf-8"?>
<p:tagLst xmlns:a="http://schemas.openxmlformats.org/drawingml/2006/main" xmlns:r="http://schemas.openxmlformats.org/officeDocument/2006/relationships" xmlns:p="http://schemas.openxmlformats.org/presentationml/2006/main">
  <p:tag name="MIO_GUID" val="b35ebef1-da8d-4811-9160-2c6b0353fd2b"/>
</p:tagLst>
</file>

<file path=ppt/tags/tag296.xml><?xml version="1.0" encoding="utf-8"?>
<p:tagLst xmlns:a="http://schemas.openxmlformats.org/drawingml/2006/main" xmlns:r="http://schemas.openxmlformats.org/officeDocument/2006/relationships" xmlns:p="http://schemas.openxmlformats.org/presentationml/2006/main">
  <p:tag name="MIO_GUID" val="6c97bb5e-7acd-4aab-9e7b-059fe0b1da5b"/>
</p:tagLst>
</file>

<file path=ppt/tags/tag297.xml><?xml version="1.0" encoding="utf-8"?>
<p:tagLst xmlns:a="http://schemas.openxmlformats.org/drawingml/2006/main" xmlns:r="http://schemas.openxmlformats.org/officeDocument/2006/relationships" xmlns:p="http://schemas.openxmlformats.org/presentationml/2006/main">
  <p:tag name="MIO_GUID" val="193784fd-7626-48e4-a9bd-89a6ace71314"/>
</p:tagLst>
</file>

<file path=ppt/tags/tag298.xml><?xml version="1.0" encoding="utf-8"?>
<p:tagLst xmlns:a="http://schemas.openxmlformats.org/drawingml/2006/main" xmlns:r="http://schemas.openxmlformats.org/officeDocument/2006/relationships" xmlns:p="http://schemas.openxmlformats.org/presentationml/2006/main">
  <p:tag name="MIO_GUID" val="7ff40aa9-d8b4-42b9-918e-cf681fec8ad5"/>
</p:tagLst>
</file>

<file path=ppt/tags/tag299.xml><?xml version="1.0" encoding="utf-8"?>
<p:tagLst xmlns:a="http://schemas.openxmlformats.org/drawingml/2006/main" xmlns:r="http://schemas.openxmlformats.org/officeDocument/2006/relationships" xmlns:p="http://schemas.openxmlformats.org/presentationml/2006/main">
  <p:tag name="MIO_GUID" val="74725d00-5907-4442-b676-27b26b6b1ce2"/>
</p:tagLst>
</file>

<file path=ppt/tags/tag3.xml><?xml version="1.0" encoding="utf-8"?>
<p:tagLst xmlns:a="http://schemas.openxmlformats.org/drawingml/2006/main" xmlns:r="http://schemas.openxmlformats.org/officeDocument/2006/relationships" xmlns:p="http://schemas.openxmlformats.org/presentationml/2006/main">
  <p:tag name="MIO_EK" val="2013"/>
  <p:tag name="MIO_PRESI_FIRST_SLIDENUMBER" val="1"/>
  <p:tag name="MIO_FALLBACK_LAYOUT" val="6"/>
  <p:tag name="MIO_SHOW_DATE" val="False"/>
  <p:tag name="MIO_SHOW_FOOTER" val="False"/>
  <p:tag name="MIO_SHOW_PAGENUMBER" val="False"/>
  <p:tag name="MIO_AVOID_BLANK_LAYOUT" val="True"/>
  <p:tag name="MIO_CD_LAYOUT_VALID_AREA" val="False"/>
  <p:tag name="MIO_NUMBER_OF_VALID_LAYOUTS" val="30"/>
  <p:tag name="MIO_HDS" val="True"/>
  <p:tag name="MIO_SKIPVERSION" val="01.01.0001 00:00:00"/>
  <p:tag name="MIO_EKGUID" val="b7585df3-d7c4-4e63-b864-ecaca7d8ec0d"/>
  <p:tag name="MIO_UPDATE" val="True"/>
  <p:tag name="MIO_VERSION" val="27.11.2019 07:28:32"/>
  <p:tag name="MIO_DBID" val="5D9FD29E-BEEC-40D7-BFBE-407D9085DE5F"/>
  <p:tag name="MIO_LASTDOWNLOADED" val="14.01.2020 09:30:05"/>
  <p:tag name="MIO_OBJECTNAME" val="Danske Bank"/>
  <p:tag name="MIO_LASTEDITORNAME" val="Bhuvaneswari Baskar"/>
  <p:tag name="MIO_CDID" val="36049262-a2dc-48ca-9f47-69cada2ed734"/>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MIO_GUID" val="fcceed0c-4a56-49ee-8ba2-628fcf027e01"/>
</p:tagLst>
</file>

<file path=ppt/tags/tag301.xml><?xml version="1.0" encoding="utf-8"?>
<p:tagLst xmlns:a="http://schemas.openxmlformats.org/drawingml/2006/main" xmlns:r="http://schemas.openxmlformats.org/officeDocument/2006/relationships" xmlns:p="http://schemas.openxmlformats.org/presentationml/2006/main">
  <p:tag name="MIO_GUID" val="34664ee0-4cce-4cdd-92ff-a6d26fefac0d"/>
</p:tagLst>
</file>

<file path=ppt/tags/tag302.xml><?xml version="1.0" encoding="utf-8"?>
<p:tagLst xmlns:a="http://schemas.openxmlformats.org/drawingml/2006/main" xmlns:r="http://schemas.openxmlformats.org/officeDocument/2006/relationships" xmlns:p="http://schemas.openxmlformats.org/presentationml/2006/main">
  <p:tag name="MIO_GUID" val="19e325fb-c8bb-4293-83bc-41e4329f44d7"/>
</p:tagLst>
</file>

<file path=ppt/tags/tag303.xml><?xml version="1.0" encoding="utf-8"?>
<p:tagLst xmlns:a="http://schemas.openxmlformats.org/drawingml/2006/main" xmlns:r="http://schemas.openxmlformats.org/officeDocument/2006/relationships" xmlns:p="http://schemas.openxmlformats.org/presentationml/2006/main">
  <p:tag name="MIO_GUID" val="ddf81953-e87b-4cfa-acde-ef107ff31a24"/>
</p:tagLst>
</file>

<file path=ppt/tags/tag304.xml><?xml version="1.0" encoding="utf-8"?>
<p:tagLst xmlns:a="http://schemas.openxmlformats.org/drawingml/2006/main" xmlns:r="http://schemas.openxmlformats.org/officeDocument/2006/relationships" xmlns:p="http://schemas.openxmlformats.org/presentationml/2006/main">
  <p:tag name="MIO_GUID" val="b5a3cfbf-ec65-484e-9713-cb14be4a9420"/>
</p:tagLst>
</file>

<file path=ppt/tags/tag305.xml><?xml version="1.0" encoding="utf-8"?>
<p:tagLst xmlns:a="http://schemas.openxmlformats.org/drawingml/2006/main" xmlns:r="http://schemas.openxmlformats.org/officeDocument/2006/relationships" xmlns:p="http://schemas.openxmlformats.org/presentationml/2006/main">
  <p:tag name="MIO_GUID" val="77c734c8-3d63-4fac-8135-d97b50bf3336"/>
</p:tagLst>
</file>

<file path=ppt/tags/tag306.xml><?xml version="1.0" encoding="utf-8"?>
<p:tagLst xmlns:a="http://schemas.openxmlformats.org/drawingml/2006/main" xmlns:r="http://schemas.openxmlformats.org/officeDocument/2006/relationships" xmlns:p="http://schemas.openxmlformats.org/presentationml/2006/main">
  <p:tag name="MIO_GUID" val="b9c7ca41-4b7f-444b-a91c-7aab37b3ae15"/>
</p:tagLst>
</file>

<file path=ppt/tags/tag307.xml><?xml version="1.0" encoding="utf-8"?>
<p:tagLst xmlns:a="http://schemas.openxmlformats.org/drawingml/2006/main" xmlns:r="http://schemas.openxmlformats.org/officeDocument/2006/relationships" xmlns:p="http://schemas.openxmlformats.org/presentationml/2006/main">
  <p:tag name="MIO_GUID" val="dfc32823-e7ba-449c-b5ec-a32ae684e8f1"/>
</p:tagLst>
</file>

<file path=ppt/tags/tag308.xml><?xml version="1.0" encoding="utf-8"?>
<p:tagLst xmlns:a="http://schemas.openxmlformats.org/drawingml/2006/main" xmlns:r="http://schemas.openxmlformats.org/officeDocument/2006/relationships" xmlns:p="http://schemas.openxmlformats.org/presentationml/2006/main">
  <p:tag name="MIO_GUID" val="43c08655-c3e3-435f-84f0-854e397297f1"/>
</p:tagLst>
</file>

<file path=ppt/tags/tag309.xml><?xml version="1.0" encoding="utf-8"?>
<p:tagLst xmlns:a="http://schemas.openxmlformats.org/drawingml/2006/main" xmlns:r="http://schemas.openxmlformats.org/officeDocument/2006/relationships" xmlns:p="http://schemas.openxmlformats.org/presentationml/2006/main">
  <p:tag name="MIO_GUID" val="79d09bc5-7146-4aa3-879d-6ddf60f3dc86"/>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MIO_GUID" val="77dfa53a-b4b0-4024-86ee-36811fbb8976"/>
</p:tagLst>
</file>

<file path=ppt/tags/tag311.xml><?xml version="1.0" encoding="utf-8"?>
<p:tagLst xmlns:a="http://schemas.openxmlformats.org/drawingml/2006/main" xmlns:r="http://schemas.openxmlformats.org/officeDocument/2006/relationships" xmlns:p="http://schemas.openxmlformats.org/presentationml/2006/main">
  <p:tag name="MIO_GUID" val="f3187b2e-de49-4503-8652-03e3af6c1eb5"/>
</p:tagLst>
</file>

<file path=ppt/tags/tag312.xml><?xml version="1.0" encoding="utf-8"?>
<p:tagLst xmlns:a="http://schemas.openxmlformats.org/drawingml/2006/main" xmlns:r="http://schemas.openxmlformats.org/officeDocument/2006/relationships" xmlns:p="http://schemas.openxmlformats.org/presentationml/2006/main">
  <p:tag name="MIO_GUID" val="731d9f18-a08a-49fb-a6ec-04296c01626d"/>
</p:tagLst>
</file>

<file path=ppt/tags/tag313.xml><?xml version="1.0" encoding="utf-8"?>
<p:tagLst xmlns:a="http://schemas.openxmlformats.org/drawingml/2006/main" xmlns:r="http://schemas.openxmlformats.org/officeDocument/2006/relationships" xmlns:p="http://schemas.openxmlformats.org/presentationml/2006/main">
  <p:tag name="MIO_GUID" val="61c774e2-56ce-47af-8633-bbce208ac2b4"/>
</p:tagLst>
</file>

<file path=ppt/tags/tag314.xml><?xml version="1.0" encoding="utf-8"?>
<p:tagLst xmlns:a="http://schemas.openxmlformats.org/drawingml/2006/main" xmlns:r="http://schemas.openxmlformats.org/officeDocument/2006/relationships" xmlns:p="http://schemas.openxmlformats.org/presentationml/2006/main">
  <p:tag name="MIO_GUID" val="b94d7356-9278-4920-ba20-29c7a31771e1"/>
</p:tagLst>
</file>

<file path=ppt/tags/tag315.xml><?xml version="1.0" encoding="utf-8"?>
<p:tagLst xmlns:a="http://schemas.openxmlformats.org/drawingml/2006/main" xmlns:r="http://schemas.openxmlformats.org/officeDocument/2006/relationships" xmlns:p="http://schemas.openxmlformats.org/presentationml/2006/main">
  <p:tag name="MIO_GUID" val="52acb177-f74b-458c-93a9-0a0392eb2d90"/>
</p:tagLst>
</file>

<file path=ppt/tags/tag316.xml><?xml version="1.0" encoding="utf-8"?>
<p:tagLst xmlns:a="http://schemas.openxmlformats.org/drawingml/2006/main" xmlns:r="http://schemas.openxmlformats.org/officeDocument/2006/relationships" xmlns:p="http://schemas.openxmlformats.org/presentationml/2006/main">
  <p:tag name="MIO_GUID" val="aea538d2-215e-452a-b3fc-f94df355a7bd"/>
</p:tagLst>
</file>

<file path=ppt/tags/tag317.xml><?xml version="1.0" encoding="utf-8"?>
<p:tagLst xmlns:a="http://schemas.openxmlformats.org/drawingml/2006/main" xmlns:r="http://schemas.openxmlformats.org/officeDocument/2006/relationships" xmlns:p="http://schemas.openxmlformats.org/presentationml/2006/main">
  <p:tag name="MIO_GUID" val="4dbdfcff-474d-437c-89e4-bc18d0f06aac"/>
</p:tagLst>
</file>

<file path=ppt/tags/tag318.xml><?xml version="1.0" encoding="utf-8"?>
<p:tagLst xmlns:a="http://schemas.openxmlformats.org/drawingml/2006/main" xmlns:r="http://schemas.openxmlformats.org/officeDocument/2006/relationships" xmlns:p="http://schemas.openxmlformats.org/presentationml/2006/main">
  <p:tag name="MIO_GUID" val="b12fab74-7216-4edc-83fe-88b533a03b00"/>
</p:tagLst>
</file>

<file path=ppt/tags/tag319.xml><?xml version="1.0" encoding="utf-8"?>
<p:tagLst xmlns:a="http://schemas.openxmlformats.org/drawingml/2006/main" xmlns:r="http://schemas.openxmlformats.org/officeDocument/2006/relationships" xmlns:p="http://schemas.openxmlformats.org/presentationml/2006/main">
  <p:tag name="MIO_GUID" val="dfebc55d-f6bb-4327-880f-44db5a1cb444"/>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MIO_GUID" val="c3961077-ff17-4089-ac2f-d00cd99c107c"/>
</p:tagLst>
</file>

<file path=ppt/tags/tag321.xml><?xml version="1.0" encoding="utf-8"?>
<p:tagLst xmlns:a="http://schemas.openxmlformats.org/drawingml/2006/main" xmlns:r="http://schemas.openxmlformats.org/officeDocument/2006/relationships" xmlns:p="http://schemas.openxmlformats.org/presentationml/2006/main">
  <p:tag name="MIO_GUID" val="f4901b15-3e8e-4e57-be56-96d4bdc42dc1"/>
</p:tagLst>
</file>

<file path=ppt/tags/tag322.xml><?xml version="1.0" encoding="utf-8"?>
<p:tagLst xmlns:a="http://schemas.openxmlformats.org/drawingml/2006/main" xmlns:r="http://schemas.openxmlformats.org/officeDocument/2006/relationships" xmlns:p="http://schemas.openxmlformats.org/presentationml/2006/main">
  <p:tag name="MIO_GUID" val="6d10add9-e4af-4d6d-9a67-ba2b23c54f82"/>
</p:tagLst>
</file>

<file path=ppt/tags/tag323.xml><?xml version="1.0" encoding="utf-8"?>
<p:tagLst xmlns:a="http://schemas.openxmlformats.org/drawingml/2006/main" xmlns:r="http://schemas.openxmlformats.org/officeDocument/2006/relationships" xmlns:p="http://schemas.openxmlformats.org/presentationml/2006/main">
  <p:tag name="MIO_GUID" val="05ab3283-b197-45a7-9b46-bd40dbf142d8"/>
</p:tagLst>
</file>

<file path=ppt/tags/tag324.xml><?xml version="1.0" encoding="utf-8"?>
<p:tagLst xmlns:a="http://schemas.openxmlformats.org/drawingml/2006/main" xmlns:r="http://schemas.openxmlformats.org/officeDocument/2006/relationships" xmlns:p="http://schemas.openxmlformats.org/presentationml/2006/main">
  <p:tag name="MIO_GUID" val="188dc972-c2be-4d09-bc31-614df04cc98c"/>
</p:tagLst>
</file>

<file path=ppt/tags/tag325.xml><?xml version="1.0" encoding="utf-8"?>
<p:tagLst xmlns:a="http://schemas.openxmlformats.org/drawingml/2006/main" xmlns:r="http://schemas.openxmlformats.org/officeDocument/2006/relationships" xmlns:p="http://schemas.openxmlformats.org/presentationml/2006/main">
  <p:tag name="MIO_GUID" val="77950f17-d923-49df-9d59-aef6aaf55e97"/>
</p:tagLst>
</file>

<file path=ppt/tags/tag326.xml><?xml version="1.0" encoding="utf-8"?>
<p:tagLst xmlns:a="http://schemas.openxmlformats.org/drawingml/2006/main" xmlns:r="http://schemas.openxmlformats.org/officeDocument/2006/relationships" xmlns:p="http://schemas.openxmlformats.org/presentationml/2006/main">
  <p:tag name="MIO_GUID" val="ac41880e-a90e-4b54-bd68-b6ac702ee276"/>
</p:tagLst>
</file>

<file path=ppt/tags/tag327.xml><?xml version="1.0" encoding="utf-8"?>
<p:tagLst xmlns:a="http://schemas.openxmlformats.org/drawingml/2006/main" xmlns:r="http://schemas.openxmlformats.org/officeDocument/2006/relationships" xmlns:p="http://schemas.openxmlformats.org/presentationml/2006/main">
  <p:tag name="MIO_GUID" val="c48a6a0e-0d29-4401-8649-d18239457493"/>
</p:tagLst>
</file>

<file path=ppt/tags/tag328.xml><?xml version="1.0" encoding="utf-8"?>
<p:tagLst xmlns:a="http://schemas.openxmlformats.org/drawingml/2006/main" xmlns:r="http://schemas.openxmlformats.org/officeDocument/2006/relationships" xmlns:p="http://schemas.openxmlformats.org/presentationml/2006/main">
  <p:tag name="MIO_GUID" val="3fb93aff-78a5-4a9e-9717-7dd1a37fd433"/>
</p:tagLst>
</file>

<file path=ppt/tags/tag329.xml><?xml version="1.0" encoding="utf-8"?>
<p:tagLst xmlns:a="http://schemas.openxmlformats.org/drawingml/2006/main" xmlns:r="http://schemas.openxmlformats.org/officeDocument/2006/relationships" xmlns:p="http://schemas.openxmlformats.org/presentationml/2006/main">
  <p:tag name="MIO_GUID" val="bb4bbf9e-b063-46a1-bc5b-f045d697195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MIO_GUID" val="b94b9370-bb7f-4f45-89f6-33b7e495171b"/>
</p:tagLst>
</file>

<file path=ppt/tags/tag331.xml><?xml version="1.0" encoding="utf-8"?>
<p:tagLst xmlns:a="http://schemas.openxmlformats.org/drawingml/2006/main" xmlns:r="http://schemas.openxmlformats.org/officeDocument/2006/relationships" xmlns:p="http://schemas.openxmlformats.org/presentationml/2006/main">
  <p:tag name="MIO_GUID" val="bc415f6d-d94e-4318-8c8d-e2de20ea8ce3"/>
</p:tagLst>
</file>

<file path=ppt/tags/tag332.xml><?xml version="1.0" encoding="utf-8"?>
<p:tagLst xmlns:a="http://schemas.openxmlformats.org/drawingml/2006/main" xmlns:r="http://schemas.openxmlformats.org/officeDocument/2006/relationships" xmlns:p="http://schemas.openxmlformats.org/presentationml/2006/main">
  <p:tag name="MIO_GUID" val="699f5492-f8e3-4627-8611-0950ece19d9f"/>
</p:tagLst>
</file>

<file path=ppt/tags/tag333.xml><?xml version="1.0" encoding="utf-8"?>
<p:tagLst xmlns:a="http://schemas.openxmlformats.org/drawingml/2006/main" xmlns:r="http://schemas.openxmlformats.org/officeDocument/2006/relationships" xmlns:p="http://schemas.openxmlformats.org/presentationml/2006/main">
  <p:tag name="MIO_GUID" val="8f3ffd10-3871-4244-a29e-d8d34997900a"/>
</p:tagLst>
</file>

<file path=ppt/tags/tag334.xml><?xml version="1.0" encoding="utf-8"?>
<p:tagLst xmlns:a="http://schemas.openxmlformats.org/drawingml/2006/main" xmlns:r="http://schemas.openxmlformats.org/officeDocument/2006/relationships" xmlns:p="http://schemas.openxmlformats.org/presentationml/2006/main">
  <p:tag name="MIO_GUID" val="d4daf793-f504-4643-bf30-da927168e6f0"/>
</p:tagLst>
</file>

<file path=ppt/tags/tag335.xml><?xml version="1.0" encoding="utf-8"?>
<p:tagLst xmlns:a="http://schemas.openxmlformats.org/drawingml/2006/main" xmlns:r="http://schemas.openxmlformats.org/officeDocument/2006/relationships" xmlns:p="http://schemas.openxmlformats.org/presentationml/2006/main">
  <p:tag name="MIO_GUID" val="cde81f7c-ccc6-4922-a343-d71a42e4edec"/>
</p:tagLst>
</file>

<file path=ppt/tags/tag336.xml><?xml version="1.0" encoding="utf-8"?>
<p:tagLst xmlns:a="http://schemas.openxmlformats.org/drawingml/2006/main" xmlns:r="http://schemas.openxmlformats.org/officeDocument/2006/relationships" xmlns:p="http://schemas.openxmlformats.org/presentationml/2006/main">
  <p:tag name="MIO_GUID" val="505b6003-d1e3-4cda-9436-905538da6cb1"/>
</p:tagLst>
</file>

<file path=ppt/tags/tag337.xml><?xml version="1.0" encoding="utf-8"?>
<p:tagLst xmlns:a="http://schemas.openxmlformats.org/drawingml/2006/main" xmlns:r="http://schemas.openxmlformats.org/officeDocument/2006/relationships" xmlns:p="http://schemas.openxmlformats.org/presentationml/2006/main">
  <p:tag name="MIO_GUID" val="e80a44ae-4ed6-444d-93e2-a61929613e35"/>
</p:tagLst>
</file>

<file path=ppt/tags/tag338.xml><?xml version="1.0" encoding="utf-8"?>
<p:tagLst xmlns:a="http://schemas.openxmlformats.org/drawingml/2006/main" xmlns:r="http://schemas.openxmlformats.org/officeDocument/2006/relationships" xmlns:p="http://schemas.openxmlformats.org/presentationml/2006/main">
  <p:tag name="MIO_GUID" val="733fc17f-364b-47a0-9870-afeeff915f54"/>
</p:tagLst>
</file>

<file path=ppt/tags/tag339.xml><?xml version="1.0" encoding="utf-8"?>
<p:tagLst xmlns:a="http://schemas.openxmlformats.org/drawingml/2006/main" xmlns:r="http://schemas.openxmlformats.org/officeDocument/2006/relationships" xmlns:p="http://schemas.openxmlformats.org/presentationml/2006/main">
  <p:tag name="MIO_GUID" val="9f20f57e-adef-4847-9870-1f29df5e3ec9"/>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MIO_GUID" val="1c765935-422a-4304-a11b-266565b787e6"/>
</p:tagLst>
</file>

<file path=ppt/tags/tag341.xml><?xml version="1.0" encoding="utf-8"?>
<p:tagLst xmlns:a="http://schemas.openxmlformats.org/drawingml/2006/main" xmlns:r="http://schemas.openxmlformats.org/officeDocument/2006/relationships" xmlns:p="http://schemas.openxmlformats.org/presentationml/2006/main">
  <p:tag name="MIO_GUID" val="57794eb1-9cca-46a5-8c95-8fe6cdd1bc79"/>
</p:tagLst>
</file>

<file path=ppt/tags/tag342.xml><?xml version="1.0" encoding="utf-8"?>
<p:tagLst xmlns:a="http://schemas.openxmlformats.org/drawingml/2006/main" xmlns:r="http://schemas.openxmlformats.org/officeDocument/2006/relationships" xmlns:p="http://schemas.openxmlformats.org/presentationml/2006/main">
  <p:tag name="MIO_GUID" val="abc381ca-e88b-4499-abc6-ba208f22fed9"/>
</p:tagLst>
</file>

<file path=ppt/tags/tag343.xml><?xml version="1.0" encoding="utf-8"?>
<p:tagLst xmlns:a="http://schemas.openxmlformats.org/drawingml/2006/main" xmlns:r="http://schemas.openxmlformats.org/officeDocument/2006/relationships" xmlns:p="http://schemas.openxmlformats.org/presentationml/2006/main">
  <p:tag name="MIO_GUID" val="08a27079-6516-4edd-986f-95e813554614"/>
</p:tagLst>
</file>

<file path=ppt/tags/tag344.xml><?xml version="1.0" encoding="utf-8"?>
<p:tagLst xmlns:a="http://schemas.openxmlformats.org/drawingml/2006/main" xmlns:r="http://schemas.openxmlformats.org/officeDocument/2006/relationships" xmlns:p="http://schemas.openxmlformats.org/presentationml/2006/main">
  <p:tag name="MIO_GUID" val="84880cfd-e7ef-4566-88b1-aa7e3cfa41b9"/>
</p:tagLst>
</file>

<file path=ppt/tags/tag345.xml><?xml version="1.0" encoding="utf-8"?>
<p:tagLst xmlns:a="http://schemas.openxmlformats.org/drawingml/2006/main" xmlns:r="http://schemas.openxmlformats.org/officeDocument/2006/relationships" xmlns:p="http://schemas.openxmlformats.org/presentationml/2006/main">
  <p:tag name="MIO_GUID" val="4fdc4883-9bce-4da5-8ebe-e7cd5bee29fe"/>
</p:tagLst>
</file>

<file path=ppt/tags/tag346.xml><?xml version="1.0" encoding="utf-8"?>
<p:tagLst xmlns:a="http://schemas.openxmlformats.org/drawingml/2006/main" xmlns:r="http://schemas.openxmlformats.org/officeDocument/2006/relationships" xmlns:p="http://schemas.openxmlformats.org/presentationml/2006/main">
  <p:tag name="MIO_GUID" val="47412174-428f-49dc-9284-338bf266253d"/>
</p:tagLst>
</file>

<file path=ppt/tags/tag347.xml><?xml version="1.0" encoding="utf-8"?>
<p:tagLst xmlns:a="http://schemas.openxmlformats.org/drawingml/2006/main" xmlns:r="http://schemas.openxmlformats.org/officeDocument/2006/relationships" xmlns:p="http://schemas.openxmlformats.org/presentationml/2006/main">
  <p:tag name="MIO_GUID" val="f3cde77f-e5ba-4fda-8051-fa2aec64f84c"/>
</p:tagLst>
</file>

<file path=ppt/tags/tag348.xml><?xml version="1.0" encoding="utf-8"?>
<p:tagLst xmlns:a="http://schemas.openxmlformats.org/drawingml/2006/main" xmlns:r="http://schemas.openxmlformats.org/officeDocument/2006/relationships" xmlns:p="http://schemas.openxmlformats.org/presentationml/2006/main">
  <p:tag name="MIO_GUID" val="041c0d66-fee5-49b8-acd3-fe2a5d488bd8"/>
</p:tagLst>
</file>

<file path=ppt/tags/tag349.xml><?xml version="1.0" encoding="utf-8"?>
<p:tagLst xmlns:a="http://schemas.openxmlformats.org/drawingml/2006/main" xmlns:r="http://schemas.openxmlformats.org/officeDocument/2006/relationships" xmlns:p="http://schemas.openxmlformats.org/presentationml/2006/main">
  <p:tag name="MIO_GUID" val="782fade3-0e44-494f-82f0-a639d33634d0"/>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MIO_GUID" val="b139f0d8-164c-4226-8ae3-07ff9b45f958"/>
</p:tagLst>
</file>

<file path=ppt/tags/tag351.xml><?xml version="1.0" encoding="utf-8"?>
<p:tagLst xmlns:a="http://schemas.openxmlformats.org/drawingml/2006/main" xmlns:r="http://schemas.openxmlformats.org/officeDocument/2006/relationships" xmlns:p="http://schemas.openxmlformats.org/presentationml/2006/main">
  <p:tag name="MIO_GUID" val="3bc59d2a-b007-4232-8dd7-f97c7680854a"/>
</p:tagLst>
</file>

<file path=ppt/tags/tag352.xml><?xml version="1.0" encoding="utf-8"?>
<p:tagLst xmlns:a="http://schemas.openxmlformats.org/drawingml/2006/main" xmlns:r="http://schemas.openxmlformats.org/officeDocument/2006/relationships" xmlns:p="http://schemas.openxmlformats.org/presentationml/2006/main">
  <p:tag name="MIO_GUID" val="95211050-3951-4247-83ca-b593962aa7c4"/>
</p:tagLst>
</file>

<file path=ppt/tags/tag353.xml><?xml version="1.0" encoding="utf-8"?>
<p:tagLst xmlns:a="http://schemas.openxmlformats.org/drawingml/2006/main" xmlns:r="http://schemas.openxmlformats.org/officeDocument/2006/relationships" xmlns:p="http://schemas.openxmlformats.org/presentationml/2006/main">
  <p:tag name="MIO_GUID" val="338a75b9-c258-4a66-a04f-ee3cc9f2af29"/>
</p:tagLst>
</file>

<file path=ppt/tags/tag354.xml><?xml version="1.0" encoding="utf-8"?>
<p:tagLst xmlns:a="http://schemas.openxmlformats.org/drawingml/2006/main" xmlns:r="http://schemas.openxmlformats.org/officeDocument/2006/relationships" xmlns:p="http://schemas.openxmlformats.org/presentationml/2006/main">
  <p:tag name="MIO_GUID" val="76f671ab-de3a-41a3-bbbb-06e0a5b148cc"/>
</p:tagLst>
</file>

<file path=ppt/tags/tag355.xml><?xml version="1.0" encoding="utf-8"?>
<p:tagLst xmlns:a="http://schemas.openxmlformats.org/drawingml/2006/main" xmlns:r="http://schemas.openxmlformats.org/officeDocument/2006/relationships" xmlns:p="http://schemas.openxmlformats.org/presentationml/2006/main">
  <p:tag name="MIO_GUID" val="097cf138-ca80-479f-ae4c-c352bab1130e"/>
</p:tagLst>
</file>

<file path=ppt/tags/tag356.xml><?xml version="1.0" encoding="utf-8"?>
<p:tagLst xmlns:a="http://schemas.openxmlformats.org/drawingml/2006/main" xmlns:r="http://schemas.openxmlformats.org/officeDocument/2006/relationships" xmlns:p="http://schemas.openxmlformats.org/presentationml/2006/main">
  <p:tag name="MIO_GUID" val="f2f3ddd1-d012-4316-aa80-da05e919e47a"/>
</p:tagLst>
</file>

<file path=ppt/tags/tag357.xml><?xml version="1.0" encoding="utf-8"?>
<p:tagLst xmlns:a="http://schemas.openxmlformats.org/drawingml/2006/main" xmlns:r="http://schemas.openxmlformats.org/officeDocument/2006/relationships" xmlns:p="http://schemas.openxmlformats.org/presentationml/2006/main">
  <p:tag name="MIO_GUID" val="0a605872-b39f-4c8b-bea8-863eb22af528"/>
</p:tagLst>
</file>

<file path=ppt/tags/tag358.xml><?xml version="1.0" encoding="utf-8"?>
<p:tagLst xmlns:a="http://schemas.openxmlformats.org/drawingml/2006/main" xmlns:r="http://schemas.openxmlformats.org/officeDocument/2006/relationships" xmlns:p="http://schemas.openxmlformats.org/presentationml/2006/main">
  <p:tag name="MIO_GUID" val="2bd63ba0-d7b0-45d0-95d7-ee8accabe08d"/>
</p:tagLst>
</file>

<file path=ppt/tags/tag359.xml><?xml version="1.0" encoding="utf-8"?>
<p:tagLst xmlns:a="http://schemas.openxmlformats.org/drawingml/2006/main" xmlns:r="http://schemas.openxmlformats.org/officeDocument/2006/relationships" xmlns:p="http://schemas.openxmlformats.org/presentationml/2006/main">
  <p:tag name="MIO_GUID" val="7b70ae98-316a-4a98-8648-0ffa13421190"/>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MIO_GUID" val="6fb4fa4b-c7ab-4cd1-8dd2-f78cd5d07308"/>
</p:tagLst>
</file>

<file path=ppt/tags/tag361.xml><?xml version="1.0" encoding="utf-8"?>
<p:tagLst xmlns:a="http://schemas.openxmlformats.org/drawingml/2006/main" xmlns:r="http://schemas.openxmlformats.org/officeDocument/2006/relationships" xmlns:p="http://schemas.openxmlformats.org/presentationml/2006/main">
  <p:tag name="MIO_GUID" val="081d1628-bad0-49ff-911f-673e155b8913"/>
</p:tagLst>
</file>

<file path=ppt/tags/tag362.xml><?xml version="1.0" encoding="utf-8"?>
<p:tagLst xmlns:a="http://schemas.openxmlformats.org/drawingml/2006/main" xmlns:r="http://schemas.openxmlformats.org/officeDocument/2006/relationships" xmlns:p="http://schemas.openxmlformats.org/presentationml/2006/main">
  <p:tag name="MIO_GUID" val="c442ed37-7c48-40fb-a166-4709a197f19c"/>
</p:tagLst>
</file>

<file path=ppt/tags/tag363.xml><?xml version="1.0" encoding="utf-8"?>
<p:tagLst xmlns:a="http://schemas.openxmlformats.org/drawingml/2006/main" xmlns:r="http://schemas.openxmlformats.org/officeDocument/2006/relationships" xmlns:p="http://schemas.openxmlformats.org/presentationml/2006/main">
  <p:tag name="MIO_GUID" val="b96c21cb-fbda-45d9-975c-d0e5e25d8004"/>
</p:tagLst>
</file>

<file path=ppt/tags/tag364.xml><?xml version="1.0" encoding="utf-8"?>
<p:tagLst xmlns:a="http://schemas.openxmlformats.org/drawingml/2006/main" xmlns:r="http://schemas.openxmlformats.org/officeDocument/2006/relationships" xmlns:p="http://schemas.openxmlformats.org/presentationml/2006/main">
  <p:tag name="MIO_GUID" val="8b2c0ed3-420a-406e-a5e0-5fe8e70a17dd"/>
</p:tagLst>
</file>

<file path=ppt/tags/tag365.xml><?xml version="1.0" encoding="utf-8"?>
<p:tagLst xmlns:a="http://schemas.openxmlformats.org/drawingml/2006/main" xmlns:r="http://schemas.openxmlformats.org/officeDocument/2006/relationships" xmlns:p="http://schemas.openxmlformats.org/presentationml/2006/main">
  <p:tag name="MIO_GUID" val="13f837fc-0d6b-4749-a85d-903b426ac35f"/>
</p:tagLst>
</file>

<file path=ppt/tags/tag366.xml><?xml version="1.0" encoding="utf-8"?>
<p:tagLst xmlns:a="http://schemas.openxmlformats.org/drawingml/2006/main" xmlns:r="http://schemas.openxmlformats.org/officeDocument/2006/relationships" xmlns:p="http://schemas.openxmlformats.org/presentationml/2006/main">
  <p:tag name="MIO_GUID" val="51e22b7b-5408-4294-9c6d-cbc25c416cc0"/>
</p:tagLst>
</file>

<file path=ppt/tags/tag367.xml><?xml version="1.0" encoding="utf-8"?>
<p:tagLst xmlns:a="http://schemas.openxmlformats.org/drawingml/2006/main" xmlns:r="http://schemas.openxmlformats.org/officeDocument/2006/relationships" xmlns:p="http://schemas.openxmlformats.org/presentationml/2006/main">
  <p:tag name="MIO_GUID" val="a18df8dd-0600-46fa-aa77-ab72f4948379"/>
</p:tagLst>
</file>

<file path=ppt/tags/tag368.xml><?xml version="1.0" encoding="utf-8"?>
<p:tagLst xmlns:a="http://schemas.openxmlformats.org/drawingml/2006/main" xmlns:r="http://schemas.openxmlformats.org/officeDocument/2006/relationships" xmlns:p="http://schemas.openxmlformats.org/presentationml/2006/main">
  <p:tag name="MIO_GUID" val="75859af5-3f00-472a-91b1-f3efa88cfb67"/>
</p:tagLst>
</file>

<file path=ppt/tags/tag369.xml><?xml version="1.0" encoding="utf-8"?>
<p:tagLst xmlns:a="http://schemas.openxmlformats.org/drawingml/2006/main" xmlns:r="http://schemas.openxmlformats.org/officeDocument/2006/relationships" xmlns:p="http://schemas.openxmlformats.org/presentationml/2006/main">
  <p:tag name="MIO_GUID" val="05db5cf1-2265-4465-a82c-524fc1797068"/>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MIO_GUID" val="78b3316a-611c-4d37-b818-b9a8693d70df"/>
</p:tagLst>
</file>

<file path=ppt/tags/tag371.xml><?xml version="1.0" encoding="utf-8"?>
<p:tagLst xmlns:a="http://schemas.openxmlformats.org/drawingml/2006/main" xmlns:r="http://schemas.openxmlformats.org/officeDocument/2006/relationships" xmlns:p="http://schemas.openxmlformats.org/presentationml/2006/main">
  <p:tag name="MIO_GUID" val="368063ad-1bac-4b71-b791-671a21dda1f4"/>
</p:tagLst>
</file>

<file path=ppt/tags/tag372.xml><?xml version="1.0" encoding="utf-8"?>
<p:tagLst xmlns:a="http://schemas.openxmlformats.org/drawingml/2006/main" xmlns:r="http://schemas.openxmlformats.org/officeDocument/2006/relationships" xmlns:p="http://schemas.openxmlformats.org/presentationml/2006/main">
  <p:tag name="MIO_GUID" val="cf9385ac-afb3-45af-847e-c1a85cba9d5c"/>
</p:tagLst>
</file>

<file path=ppt/tags/tag373.xml><?xml version="1.0" encoding="utf-8"?>
<p:tagLst xmlns:a="http://schemas.openxmlformats.org/drawingml/2006/main" xmlns:r="http://schemas.openxmlformats.org/officeDocument/2006/relationships" xmlns:p="http://schemas.openxmlformats.org/presentationml/2006/main">
  <p:tag name="MIO_GUID" val="33cd6ded-552f-474f-80a6-56b1a6a72714"/>
</p:tagLst>
</file>

<file path=ppt/tags/tag374.xml><?xml version="1.0" encoding="utf-8"?>
<p:tagLst xmlns:a="http://schemas.openxmlformats.org/drawingml/2006/main" xmlns:r="http://schemas.openxmlformats.org/officeDocument/2006/relationships" xmlns:p="http://schemas.openxmlformats.org/presentationml/2006/main">
  <p:tag name="MIO_GUID" val="b20bb3b7-90eb-4180-bb00-424b6cd964e1"/>
</p:tagLst>
</file>

<file path=ppt/tags/tag375.xml><?xml version="1.0" encoding="utf-8"?>
<p:tagLst xmlns:a="http://schemas.openxmlformats.org/drawingml/2006/main" xmlns:r="http://schemas.openxmlformats.org/officeDocument/2006/relationships" xmlns:p="http://schemas.openxmlformats.org/presentationml/2006/main">
  <p:tag name="MIO_GUID" val="b994dd87-1db2-4c85-813c-970e4f3d7f5e"/>
</p:tagLst>
</file>

<file path=ppt/tags/tag376.xml><?xml version="1.0" encoding="utf-8"?>
<p:tagLst xmlns:a="http://schemas.openxmlformats.org/drawingml/2006/main" xmlns:r="http://schemas.openxmlformats.org/officeDocument/2006/relationships" xmlns:p="http://schemas.openxmlformats.org/presentationml/2006/main">
  <p:tag name="MIO_GUID" val="0157b298-18ff-4f28-9af9-d35f0304025a"/>
</p:tagLst>
</file>

<file path=ppt/tags/tag377.xml><?xml version="1.0" encoding="utf-8"?>
<p:tagLst xmlns:a="http://schemas.openxmlformats.org/drawingml/2006/main" xmlns:r="http://schemas.openxmlformats.org/officeDocument/2006/relationships" xmlns:p="http://schemas.openxmlformats.org/presentationml/2006/main">
  <p:tag name="MIO_GUID" val="636cb683-3290-4a71-8450-eeabea0da391"/>
</p:tagLst>
</file>

<file path=ppt/tags/tag378.xml><?xml version="1.0" encoding="utf-8"?>
<p:tagLst xmlns:a="http://schemas.openxmlformats.org/drawingml/2006/main" xmlns:r="http://schemas.openxmlformats.org/officeDocument/2006/relationships" xmlns:p="http://schemas.openxmlformats.org/presentationml/2006/main">
  <p:tag name="MIO_GUID" val="e4b5314b-b586-4209-b0c7-22bf34e1d6d3"/>
</p:tagLst>
</file>

<file path=ppt/tags/tag379.xml><?xml version="1.0" encoding="utf-8"?>
<p:tagLst xmlns:a="http://schemas.openxmlformats.org/drawingml/2006/main" xmlns:r="http://schemas.openxmlformats.org/officeDocument/2006/relationships" xmlns:p="http://schemas.openxmlformats.org/presentationml/2006/main">
  <p:tag name="MIO_GUID" val="02a0c2f1-1759-4c13-bbfc-ea2d76e90058"/>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MIO_GUID" val="5445526c-bcf8-4d32-b687-c538719d1386"/>
</p:tagLst>
</file>

<file path=ppt/tags/tag381.xml><?xml version="1.0" encoding="utf-8"?>
<p:tagLst xmlns:a="http://schemas.openxmlformats.org/drawingml/2006/main" xmlns:r="http://schemas.openxmlformats.org/officeDocument/2006/relationships" xmlns:p="http://schemas.openxmlformats.org/presentationml/2006/main">
  <p:tag name="MIO_GUID" val="d67bbbb7-6bd7-4984-9e89-38725493d040"/>
</p:tagLst>
</file>

<file path=ppt/tags/tag382.xml><?xml version="1.0" encoding="utf-8"?>
<p:tagLst xmlns:a="http://schemas.openxmlformats.org/drawingml/2006/main" xmlns:r="http://schemas.openxmlformats.org/officeDocument/2006/relationships" xmlns:p="http://schemas.openxmlformats.org/presentationml/2006/main">
  <p:tag name="MIO_GUID" val="412a01ff-cb6e-4eb2-9fa8-b97d0329df3f"/>
</p:tagLst>
</file>

<file path=ppt/tags/tag383.xml><?xml version="1.0" encoding="utf-8"?>
<p:tagLst xmlns:a="http://schemas.openxmlformats.org/drawingml/2006/main" xmlns:r="http://schemas.openxmlformats.org/officeDocument/2006/relationships" xmlns:p="http://schemas.openxmlformats.org/presentationml/2006/main">
  <p:tag name="MIO_GUID" val="cb021028-abc9-4579-bcb5-f8c50ac10dfb"/>
</p:tagLst>
</file>

<file path=ppt/tags/tag384.xml><?xml version="1.0" encoding="utf-8"?>
<p:tagLst xmlns:a="http://schemas.openxmlformats.org/drawingml/2006/main" xmlns:r="http://schemas.openxmlformats.org/officeDocument/2006/relationships" xmlns:p="http://schemas.openxmlformats.org/presentationml/2006/main">
  <p:tag name="MIO_GUID" val="382a720d-3139-46a9-9bf1-3ac487b6976a"/>
</p:tagLst>
</file>

<file path=ppt/tags/tag385.xml><?xml version="1.0" encoding="utf-8"?>
<p:tagLst xmlns:a="http://schemas.openxmlformats.org/drawingml/2006/main" xmlns:r="http://schemas.openxmlformats.org/officeDocument/2006/relationships" xmlns:p="http://schemas.openxmlformats.org/presentationml/2006/main">
  <p:tag name="MIO_GUID" val="1a4a35cd-9963-45d7-ac96-04d427228e54"/>
</p:tagLst>
</file>

<file path=ppt/tags/tag386.xml><?xml version="1.0" encoding="utf-8"?>
<p:tagLst xmlns:a="http://schemas.openxmlformats.org/drawingml/2006/main" xmlns:r="http://schemas.openxmlformats.org/officeDocument/2006/relationships" xmlns:p="http://schemas.openxmlformats.org/presentationml/2006/main">
  <p:tag name="MIO_GUID" val="8647722d-b8d6-4459-a1e2-c17ff1977b09"/>
</p:tagLst>
</file>

<file path=ppt/tags/tag387.xml><?xml version="1.0" encoding="utf-8"?>
<p:tagLst xmlns:a="http://schemas.openxmlformats.org/drawingml/2006/main" xmlns:r="http://schemas.openxmlformats.org/officeDocument/2006/relationships" xmlns:p="http://schemas.openxmlformats.org/presentationml/2006/main">
  <p:tag name="MIO_GUID" val="943f44ce-5949-48a6-8319-c0f2a17406a4"/>
</p:tagLst>
</file>

<file path=ppt/tags/tag388.xml><?xml version="1.0" encoding="utf-8"?>
<p:tagLst xmlns:a="http://schemas.openxmlformats.org/drawingml/2006/main" xmlns:r="http://schemas.openxmlformats.org/officeDocument/2006/relationships" xmlns:p="http://schemas.openxmlformats.org/presentationml/2006/main">
  <p:tag name="MIO_GUID" val="45e213c2-e3ba-468c-bc40-428f2f152d5f"/>
</p:tagLst>
</file>

<file path=ppt/tags/tag389.xml><?xml version="1.0" encoding="utf-8"?>
<p:tagLst xmlns:a="http://schemas.openxmlformats.org/drawingml/2006/main" xmlns:r="http://schemas.openxmlformats.org/officeDocument/2006/relationships" xmlns:p="http://schemas.openxmlformats.org/presentationml/2006/main">
  <p:tag name="MIO_GUID" val="1040ab7b-02c1-4df4-9de0-6b021742d9a3"/>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MIO_GUID" val="ee2d1f6c-a267-46d5-92e7-ca6841afba3a"/>
</p:tagLst>
</file>

<file path=ppt/tags/tag391.xml><?xml version="1.0" encoding="utf-8"?>
<p:tagLst xmlns:a="http://schemas.openxmlformats.org/drawingml/2006/main" xmlns:r="http://schemas.openxmlformats.org/officeDocument/2006/relationships" xmlns:p="http://schemas.openxmlformats.org/presentationml/2006/main">
  <p:tag name="MIO_GUID" val="987b40bd-6728-498f-a3fc-b2783a62eff3"/>
</p:tagLst>
</file>

<file path=ppt/tags/tag392.xml><?xml version="1.0" encoding="utf-8"?>
<p:tagLst xmlns:a="http://schemas.openxmlformats.org/drawingml/2006/main" xmlns:r="http://schemas.openxmlformats.org/officeDocument/2006/relationships" xmlns:p="http://schemas.openxmlformats.org/presentationml/2006/main">
  <p:tag name="MIO_GUID" val="786ccfd5-d261-4160-8a3f-c7d42f41c06d"/>
</p:tagLst>
</file>

<file path=ppt/tags/tag393.xml><?xml version="1.0" encoding="utf-8"?>
<p:tagLst xmlns:a="http://schemas.openxmlformats.org/drawingml/2006/main" xmlns:r="http://schemas.openxmlformats.org/officeDocument/2006/relationships" xmlns:p="http://schemas.openxmlformats.org/presentationml/2006/main">
  <p:tag name="MIO_GUID" val="22961453-dbf9-4440-a261-a5a5dd8add9f"/>
</p:tagLst>
</file>

<file path=ppt/tags/tag394.xml><?xml version="1.0" encoding="utf-8"?>
<p:tagLst xmlns:a="http://schemas.openxmlformats.org/drawingml/2006/main" xmlns:r="http://schemas.openxmlformats.org/officeDocument/2006/relationships" xmlns:p="http://schemas.openxmlformats.org/presentationml/2006/main">
  <p:tag name="MIO_GUID" val="44c832fb-5c8a-4936-b10a-6ddb1824cd8b"/>
</p:tagLst>
</file>

<file path=ppt/tags/tag395.xml><?xml version="1.0" encoding="utf-8"?>
<p:tagLst xmlns:a="http://schemas.openxmlformats.org/drawingml/2006/main" xmlns:r="http://schemas.openxmlformats.org/officeDocument/2006/relationships" xmlns:p="http://schemas.openxmlformats.org/presentationml/2006/main">
  <p:tag name="MIO_GUID" val="fcf09a26-c3c5-49f5-b9ae-282cdb517a73"/>
</p:tagLst>
</file>

<file path=ppt/tags/tag396.xml><?xml version="1.0" encoding="utf-8"?>
<p:tagLst xmlns:a="http://schemas.openxmlformats.org/drawingml/2006/main" xmlns:r="http://schemas.openxmlformats.org/officeDocument/2006/relationships" xmlns:p="http://schemas.openxmlformats.org/presentationml/2006/main">
  <p:tag name="MIO_GUID" val="764d81ea-78be-40e3-bf68-8978a70f5bb0"/>
</p:tagLst>
</file>

<file path=ppt/tags/tag397.xml><?xml version="1.0" encoding="utf-8"?>
<p:tagLst xmlns:a="http://schemas.openxmlformats.org/drawingml/2006/main" xmlns:r="http://schemas.openxmlformats.org/officeDocument/2006/relationships" xmlns:p="http://schemas.openxmlformats.org/presentationml/2006/main">
  <p:tag name="MIO_GUID" val="81bd77bf-d611-4def-90ec-7f8f229b154e"/>
</p:tagLst>
</file>

<file path=ppt/tags/tag398.xml><?xml version="1.0" encoding="utf-8"?>
<p:tagLst xmlns:a="http://schemas.openxmlformats.org/drawingml/2006/main" xmlns:r="http://schemas.openxmlformats.org/officeDocument/2006/relationships" xmlns:p="http://schemas.openxmlformats.org/presentationml/2006/main">
  <p:tag name="MIO_GUID" val="f7500c4a-0a01-48e1-a128-9b147968d65a"/>
</p:tagLst>
</file>

<file path=ppt/tags/tag399.xml><?xml version="1.0" encoding="utf-8"?>
<p:tagLst xmlns:a="http://schemas.openxmlformats.org/drawingml/2006/main" xmlns:r="http://schemas.openxmlformats.org/officeDocument/2006/relationships" xmlns:p="http://schemas.openxmlformats.org/presentationml/2006/main">
  <p:tag name="MIO_GUID" val="34e572cd-a031-4bf5-a91c-425b423ccfd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MIO_GUID" val="66074969-7d44-454d-b8db-645fa95b52b0"/>
</p:tagLst>
</file>

<file path=ppt/tags/tag401.xml><?xml version="1.0" encoding="utf-8"?>
<p:tagLst xmlns:a="http://schemas.openxmlformats.org/drawingml/2006/main" xmlns:r="http://schemas.openxmlformats.org/officeDocument/2006/relationships" xmlns:p="http://schemas.openxmlformats.org/presentationml/2006/main">
  <p:tag name="MIO_GUID" val="bc7630a9-3c1a-4214-9da3-ecc173e63164"/>
</p:tagLst>
</file>

<file path=ppt/tags/tag402.xml><?xml version="1.0" encoding="utf-8"?>
<p:tagLst xmlns:a="http://schemas.openxmlformats.org/drawingml/2006/main" xmlns:r="http://schemas.openxmlformats.org/officeDocument/2006/relationships" xmlns:p="http://schemas.openxmlformats.org/presentationml/2006/main">
  <p:tag name="MIO_GUID" val="39fd5a0e-7c8a-4fcb-be40-d009d529e3b8"/>
</p:tagLst>
</file>

<file path=ppt/tags/tag403.xml><?xml version="1.0" encoding="utf-8"?>
<p:tagLst xmlns:a="http://schemas.openxmlformats.org/drawingml/2006/main" xmlns:r="http://schemas.openxmlformats.org/officeDocument/2006/relationships" xmlns:p="http://schemas.openxmlformats.org/presentationml/2006/main">
  <p:tag name="MIO_GUID" val="40063b3d-a0d2-4155-8ff0-5b5acecb334b"/>
</p:tagLst>
</file>

<file path=ppt/tags/tag404.xml><?xml version="1.0" encoding="utf-8"?>
<p:tagLst xmlns:a="http://schemas.openxmlformats.org/drawingml/2006/main" xmlns:r="http://schemas.openxmlformats.org/officeDocument/2006/relationships" xmlns:p="http://schemas.openxmlformats.org/presentationml/2006/main">
  <p:tag name="MIO_GUID" val="18aed9d6-8040-4ca4-9817-4c7bee2ab216"/>
</p:tagLst>
</file>

<file path=ppt/tags/tag405.xml><?xml version="1.0" encoding="utf-8"?>
<p:tagLst xmlns:a="http://schemas.openxmlformats.org/drawingml/2006/main" xmlns:r="http://schemas.openxmlformats.org/officeDocument/2006/relationships" xmlns:p="http://schemas.openxmlformats.org/presentationml/2006/main">
  <p:tag name="MIO_GUID" val="259beef7-da72-4f31-a0cd-14a4e95e5875"/>
</p:tagLst>
</file>

<file path=ppt/tags/tag406.xml><?xml version="1.0" encoding="utf-8"?>
<p:tagLst xmlns:a="http://schemas.openxmlformats.org/drawingml/2006/main" xmlns:r="http://schemas.openxmlformats.org/officeDocument/2006/relationships" xmlns:p="http://schemas.openxmlformats.org/presentationml/2006/main">
  <p:tag name="MIO_GUID" val="1d114769-ec0a-45df-9d5c-c34c7a0a2d73"/>
</p:tagLst>
</file>

<file path=ppt/tags/tag407.xml><?xml version="1.0" encoding="utf-8"?>
<p:tagLst xmlns:a="http://schemas.openxmlformats.org/drawingml/2006/main" xmlns:r="http://schemas.openxmlformats.org/officeDocument/2006/relationships" xmlns:p="http://schemas.openxmlformats.org/presentationml/2006/main">
  <p:tag name="MIO_GUID" val="a7cd041e-a17e-4064-855d-3a57715c5866"/>
</p:tagLst>
</file>

<file path=ppt/tags/tag408.xml><?xml version="1.0" encoding="utf-8"?>
<p:tagLst xmlns:a="http://schemas.openxmlformats.org/drawingml/2006/main" xmlns:r="http://schemas.openxmlformats.org/officeDocument/2006/relationships" xmlns:p="http://schemas.openxmlformats.org/presentationml/2006/main">
  <p:tag name="MIO_GUID" val="c51d181d-929b-4724-9552-16bec3534638"/>
</p:tagLst>
</file>

<file path=ppt/tags/tag409.xml><?xml version="1.0" encoding="utf-8"?>
<p:tagLst xmlns:a="http://schemas.openxmlformats.org/drawingml/2006/main" xmlns:r="http://schemas.openxmlformats.org/officeDocument/2006/relationships" xmlns:p="http://schemas.openxmlformats.org/presentationml/2006/main">
  <p:tag name="MIO_GUID" val="5e03ec00-da4f-4a0e-bc25-a5d87b5bf78d"/>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MIO_GUID" val="db093d24-4260-41bd-81e5-6a60955d5045"/>
</p:tagLst>
</file>

<file path=ppt/tags/tag411.xml><?xml version="1.0" encoding="utf-8"?>
<p:tagLst xmlns:a="http://schemas.openxmlformats.org/drawingml/2006/main" xmlns:r="http://schemas.openxmlformats.org/officeDocument/2006/relationships" xmlns:p="http://schemas.openxmlformats.org/presentationml/2006/main">
  <p:tag name="MIO_GUID" val="6e6730c2-af52-4524-bed0-dd40650c91d8"/>
</p:tagLst>
</file>

<file path=ppt/tags/tag412.xml><?xml version="1.0" encoding="utf-8"?>
<p:tagLst xmlns:a="http://schemas.openxmlformats.org/drawingml/2006/main" xmlns:r="http://schemas.openxmlformats.org/officeDocument/2006/relationships" xmlns:p="http://schemas.openxmlformats.org/presentationml/2006/main">
  <p:tag name="MIO_GUID" val="52b02a83-d3d0-4ebc-bdec-fcdf0bd334db"/>
</p:tagLst>
</file>

<file path=ppt/tags/tag413.xml><?xml version="1.0" encoding="utf-8"?>
<p:tagLst xmlns:a="http://schemas.openxmlformats.org/drawingml/2006/main" xmlns:r="http://schemas.openxmlformats.org/officeDocument/2006/relationships" xmlns:p="http://schemas.openxmlformats.org/presentationml/2006/main">
  <p:tag name="MIO_GUID" val="c9eb468a-12ae-4747-a35f-ef8c907ea853"/>
</p:tagLst>
</file>

<file path=ppt/tags/tag414.xml><?xml version="1.0" encoding="utf-8"?>
<p:tagLst xmlns:a="http://schemas.openxmlformats.org/drawingml/2006/main" xmlns:r="http://schemas.openxmlformats.org/officeDocument/2006/relationships" xmlns:p="http://schemas.openxmlformats.org/presentationml/2006/main">
  <p:tag name="MIO_GUID" val="3e8bf4f0-861e-45c7-9350-a18545ae1085"/>
</p:tagLst>
</file>

<file path=ppt/tags/tag415.xml><?xml version="1.0" encoding="utf-8"?>
<p:tagLst xmlns:a="http://schemas.openxmlformats.org/drawingml/2006/main" xmlns:r="http://schemas.openxmlformats.org/officeDocument/2006/relationships" xmlns:p="http://schemas.openxmlformats.org/presentationml/2006/main">
  <p:tag name="MIO_GUID" val="652b96c7-c04e-4cd7-bf7b-570a418c0af7"/>
</p:tagLst>
</file>

<file path=ppt/tags/tag416.xml><?xml version="1.0" encoding="utf-8"?>
<p:tagLst xmlns:a="http://schemas.openxmlformats.org/drawingml/2006/main" xmlns:r="http://schemas.openxmlformats.org/officeDocument/2006/relationships" xmlns:p="http://schemas.openxmlformats.org/presentationml/2006/main">
  <p:tag name="MIO_GUID" val="109acba9-16d8-4563-ae5b-133bcdd06a39"/>
</p:tagLst>
</file>

<file path=ppt/tags/tag417.xml><?xml version="1.0" encoding="utf-8"?>
<p:tagLst xmlns:a="http://schemas.openxmlformats.org/drawingml/2006/main" xmlns:r="http://schemas.openxmlformats.org/officeDocument/2006/relationships" xmlns:p="http://schemas.openxmlformats.org/presentationml/2006/main">
  <p:tag name="MIO_GUID" val="59bf4c85-f0f8-4136-b175-ac9bb4774df6"/>
</p:tagLst>
</file>

<file path=ppt/tags/tag418.xml><?xml version="1.0" encoding="utf-8"?>
<p:tagLst xmlns:a="http://schemas.openxmlformats.org/drawingml/2006/main" xmlns:r="http://schemas.openxmlformats.org/officeDocument/2006/relationships" xmlns:p="http://schemas.openxmlformats.org/presentationml/2006/main">
  <p:tag name="MIO_GUID" val="e9e68d8f-79e6-40d2-bb9e-6cb04e427e66"/>
</p:tagLst>
</file>

<file path=ppt/tags/tag419.xml><?xml version="1.0" encoding="utf-8"?>
<p:tagLst xmlns:a="http://schemas.openxmlformats.org/drawingml/2006/main" xmlns:r="http://schemas.openxmlformats.org/officeDocument/2006/relationships" xmlns:p="http://schemas.openxmlformats.org/presentationml/2006/main">
  <p:tag name="MIO_GUID" val="1bedfc96-fd62-4367-bc5d-42270c34ec13"/>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MIO_GUID" val="7832597a-3274-448e-90ca-70f5635ae398"/>
</p:tagLst>
</file>

<file path=ppt/tags/tag421.xml><?xml version="1.0" encoding="utf-8"?>
<p:tagLst xmlns:a="http://schemas.openxmlformats.org/drawingml/2006/main" xmlns:r="http://schemas.openxmlformats.org/officeDocument/2006/relationships" xmlns:p="http://schemas.openxmlformats.org/presentationml/2006/main">
  <p:tag name="MIO_GUID" val="248f4dbb-1a9a-4cc2-9717-54eeaeb03e2a"/>
</p:tagLst>
</file>

<file path=ppt/tags/tag422.xml><?xml version="1.0" encoding="utf-8"?>
<p:tagLst xmlns:a="http://schemas.openxmlformats.org/drawingml/2006/main" xmlns:r="http://schemas.openxmlformats.org/officeDocument/2006/relationships" xmlns:p="http://schemas.openxmlformats.org/presentationml/2006/main">
  <p:tag name="MIO_GUID" val="4bc31b82-097c-47f1-98c6-8ce4745c2ac4"/>
</p:tagLst>
</file>

<file path=ppt/tags/tag423.xml><?xml version="1.0" encoding="utf-8"?>
<p:tagLst xmlns:a="http://schemas.openxmlformats.org/drawingml/2006/main" xmlns:r="http://schemas.openxmlformats.org/officeDocument/2006/relationships" xmlns:p="http://schemas.openxmlformats.org/presentationml/2006/main">
  <p:tag name="MIO_GUID" val="bcbf48c1-6c53-4b45-81e5-586b26a35dd9"/>
</p:tagLst>
</file>

<file path=ppt/tags/tag424.xml><?xml version="1.0" encoding="utf-8"?>
<p:tagLst xmlns:a="http://schemas.openxmlformats.org/drawingml/2006/main" xmlns:r="http://schemas.openxmlformats.org/officeDocument/2006/relationships" xmlns:p="http://schemas.openxmlformats.org/presentationml/2006/main">
  <p:tag name="MIO_GUID" val="bc53ea1e-7bbe-493d-a124-8604d04e8ecd"/>
</p:tagLst>
</file>

<file path=ppt/tags/tag425.xml><?xml version="1.0" encoding="utf-8"?>
<p:tagLst xmlns:a="http://schemas.openxmlformats.org/drawingml/2006/main" xmlns:r="http://schemas.openxmlformats.org/officeDocument/2006/relationships" xmlns:p="http://schemas.openxmlformats.org/presentationml/2006/main">
  <p:tag name="MIO_GUID" val="4981856d-f155-4a3a-b9cd-875b1e94da27"/>
</p:tagLst>
</file>

<file path=ppt/tags/tag426.xml><?xml version="1.0" encoding="utf-8"?>
<p:tagLst xmlns:a="http://schemas.openxmlformats.org/drawingml/2006/main" xmlns:r="http://schemas.openxmlformats.org/officeDocument/2006/relationships" xmlns:p="http://schemas.openxmlformats.org/presentationml/2006/main">
  <p:tag name="MIO_GUID" val="e9f38cfe-6993-4f22-8691-c5304a6cffe6"/>
</p:tagLst>
</file>

<file path=ppt/tags/tag427.xml><?xml version="1.0" encoding="utf-8"?>
<p:tagLst xmlns:a="http://schemas.openxmlformats.org/drawingml/2006/main" xmlns:r="http://schemas.openxmlformats.org/officeDocument/2006/relationships" xmlns:p="http://schemas.openxmlformats.org/presentationml/2006/main">
  <p:tag name="MIO_GUID" val="d8dc1365-e950-4256-87f3-aee44daa2426"/>
</p:tagLst>
</file>

<file path=ppt/tags/tag428.xml><?xml version="1.0" encoding="utf-8"?>
<p:tagLst xmlns:a="http://schemas.openxmlformats.org/drawingml/2006/main" xmlns:r="http://schemas.openxmlformats.org/officeDocument/2006/relationships" xmlns:p="http://schemas.openxmlformats.org/presentationml/2006/main">
  <p:tag name="MIO_GUID" val="643b89e2-d223-4204-b90a-edcb44401d05"/>
</p:tagLst>
</file>

<file path=ppt/tags/tag429.xml><?xml version="1.0" encoding="utf-8"?>
<p:tagLst xmlns:a="http://schemas.openxmlformats.org/drawingml/2006/main" xmlns:r="http://schemas.openxmlformats.org/officeDocument/2006/relationships" xmlns:p="http://schemas.openxmlformats.org/presentationml/2006/main">
  <p:tag name="MIO_GUID" val="840a230f-4962-4666-aeaa-44dd0975bfad"/>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MIO_GUID" val="7fba6f71-9e26-4b22-8fd8-4fa0e2558e0e"/>
</p:tagLst>
</file>

<file path=ppt/tags/tag431.xml><?xml version="1.0" encoding="utf-8"?>
<p:tagLst xmlns:a="http://schemas.openxmlformats.org/drawingml/2006/main" xmlns:r="http://schemas.openxmlformats.org/officeDocument/2006/relationships" xmlns:p="http://schemas.openxmlformats.org/presentationml/2006/main">
  <p:tag name="MIO_GUID" val="8a0dd7e3-cba6-4693-b18d-54d8fe1e6cc4"/>
</p:tagLst>
</file>

<file path=ppt/tags/tag432.xml><?xml version="1.0" encoding="utf-8"?>
<p:tagLst xmlns:a="http://schemas.openxmlformats.org/drawingml/2006/main" xmlns:r="http://schemas.openxmlformats.org/officeDocument/2006/relationships" xmlns:p="http://schemas.openxmlformats.org/presentationml/2006/main">
  <p:tag name="MIO_GUID" val="da4d7818-9bc0-4ca8-be76-fd572ab5f780"/>
</p:tagLst>
</file>

<file path=ppt/tags/tag433.xml><?xml version="1.0" encoding="utf-8"?>
<p:tagLst xmlns:a="http://schemas.openxmlformats.org/drawingml/2006/main" xmlns:r="http://schemas.openxmlformats.org/officeDocument/2006/relationships" xmlns:p="http://schemas.openxmlformats.org/presentationml/2006/main">
  <p:tag name="MIO_GUID" val="9e2eba35-a50f-46cd-b39a-16fb6648023b"/>
</p:tagLst>
</file>

<file path=ppt/tags/tag434.xml><?xml version="1.0" encoding="utf-8"?>
<p:tagLst xmlns:a="http://schemas.openxmlformats.org/drawingml/2006/main" xmlns:r="http://schemas.openxmlformats.org/officeDocument/2006/relationships" xmlns:p="http://schemas.openxmlformats.org/presentationml/2006/main">
  <p:tag name="MIO_GUID" val="ff619781-5869-42bb-a026-91d0df84c56d"/>
</p:tagLst>
</file>

<file path=ppt/tags/tag435.xml><?xml version="1.0" encoding="utf-8"?>
<p:tagLst xmlns:a="http://schemas.openxmlformats.org/drawingml/2006/main" xmlns:r="http://schemas.openxmlformats.org/officeDocument/2006/relationships" xmlns:p="http://schemas.openxmlformats.org/presentationml/2006/main">
  <p:tag name="MIO_GUID" val="a8eb0200-9383-406c-bdaa-fb8e7ef49dec"/>
</p:tagLst>
</file>

<file path=ppt/tags/tag436.xml><?xml version="1.0" encoding="utf-8"?>
<p:tagLst xmlns:a="http://schemas.openxmlformats.org/drawingml/2006/main" xmlns:r="http://schemas.openxmlformats.org/officeDocument/2006/relationships" xmlns:p="http://schemas.openxmlformats.org/presentationml/2006/main">
  <p:tag name="MIO_GUID" val="9a4f9242-024c-4ad7-9086-63eab1356dd2"/>
</p:tagLst>
</file>

<file path=ppt/tags/tag437.xml><?xml version="1.0" encoding="utf-8"?>
<p:tagLst xmlns:a="http://schemas.openxmlformats.org/drawingml/2006/main" xmlns:r="http://schemas.openxmlformats.org/officeDocument/2006/relationships" xmlns:p="http://schemas.openxmlformats.org/presentationml/2006/main">
  <p:tag name="MIO_GUID" val="a2a9277a-33d4-4f87-942a-cf2b9e662683"/>
</p:tagLst>
</file>

<file path=ppt/tags/tag438.xml><?xml version="1.0" encoding="utf-8"?>
<p:tagLst xmlns:a="http://schemas.openxmlformats.org/drawingml/2006/main" xmlns:r="http://schemas.openxmlformats.org/officeDocument/2006/relationships" xmlns:p="http://schemas.openxmlformats.org/presentationml/2006/main">
  <p:tag name="MIO_GUID" val="d7592026-393d-4463-bc8f-2b768c2929b6"/>
</p:tagLst>
</file>

<file path=ppt/tags/tag439.xml><?xml version="1.0" encoding="utf-8"?>
<p:tagLst xmlns:a="http://schemas.openxmlformats.org/drawingml/2006/main" xmlns:r="http://schemas.openxmlformats.org/officeDocument/2006/relationships" xmlns:p="http://schemas.openxmlformats.org/presentationml/2006/main">
  <p:tag name="MIO_GUID" val="d18674f8-9635-46cb-8ed8-11858827eedc"/>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MIO_GUID" val="f681d762-082f-4de8-ba93-96fb941e16fd"/>
</p:tagLst>
</file>

<file path=ppt/tags/tag441.xml><?xml version="1.0" encoding="utf-8"?>
<p:tagLst xmlns:a="http://schemas.openxmlformats.org/drawingml/2006/main" xmlns:r="http://schemas.openxmlformats.org/officeDocument/2006/relationships" xmlns:p="http://schemas.openxmlformats.org/presentationml/2006/main">
  <p:tag name="MIO_GUID" val="39d4e92d-e0a1-4442-a093-902b7a0705b5"/>
</p:tagLst>
</file>

<file path=ppt/tags/tag442.xml><?xml version="1.0" encoding="utf-8"?>
<p:tagLst xmlns:a="http://schemas.openxmlformats.org/drawingml/2006/main" xmlns:r="http://schemas.openxmlformats.org/officeDocument/2006/relationships" xmlns:p="http://schemas.openxmlformats.org/presentationml/2006/main">
  <p:tag name="MIO_GUID" val="adccf30b-a796-4d8d-b5a0-4e33c9e344fb"/>
</p:tagLst>
</file>

<file path=ppt/tags/tag443.xml><?xml version="1.0" encoding="utf-8"?>
<p:tagLst xmlns:a="http://schemas.openxmlformats.org/drawingml/2006/main" xmlns:r="http://schemas.openxmlformats.org/officeDocument/2006/relationships" xmlns:p="http://schemas.openxmlformats.org/presentationml/2006/main">
  <p:tag name="MIO_GUID" val="1727c061-67d6-448c-bea3-2ff85d6832c2"/>
</p:tagLst>
</file>

<file path=ppt/tags/tag444.xml><?xml version="1.0" encoding="utf-8"?>
<p:tagLst xmlns:a="http://schemas.openxmlformats.org/drawingml/2006/main" xmlns:r="http://schemas.openxmlformats.org/officeDocument/2006/relationships" xmlns:p="http://schemas.openxmlformats.org/presentationml/2006/main">
  <p:tag name="MIO_GUID" val="c8c2e9c1-806d-46b2-9020-1b26dfa15c1e"/>
</p:tagLst>
</file>

<file path=ppt/tags/tag445.xml><?xml version="1.0" encoding="utf-8"?>
<p:tagLst xmlns:a="http://schemas.openxmlformats.org/drawingml/2006/main" xmlns:r="http://schemas.openxmlformats.org/officeDocument/2006/relationships" xmlns:p="http://schemas.openxmlformats.org/presentationml/2006/main">
  <p:tag name="MIO_GUID" val="38487fbe-73ff-4cc4-9ffe-cb49462df8b2"/>
</p:tagLst>
</file>

<file path=ppt/tags/tag446.xml><?xml version="1.0" encoding="utf-8"?>
<p:tagLst xmlns:a="http://schemas.openxmlformats.org/drawingml/2006/main" xmlns:r="http://schemas.openxmlformats.org/officeDocument/2006/relationships" xmlns:p="http://schemas.openxmlformats.org/presentationml/2006/main">
  <p:tag name="MIO_GUID" val="32b18f58-1186-4393-94d3-6698e3f66f1b"/>
</p:tagLst>
</file>

<file path=ppt/tags/tag447.xml><?xml version="1.0" encoding="utf-8"?>
<p:tagLst xmlns:a="http://schemas.openxmlformats.org/drawingml/2006/main" xmlns:r="http://schemas.openxmlformats.org/officeDocument/2006/relationships" xmlns:p="http://schemas.openxmlformats.org/presentationml/2006/main">
  <p:tag name="MIO_GUID" val="adaefbec-d461-4a74-b2e2-1756d54b10e1"/>
</p:tagLst>
</file>

<file path=ppt/tags/tag448.xml><?xml version="1.0" encoding="utf-8"?>
<p:tagLst xmlns:a="http://schemas.openxmlformats.org/drawingml/2006/main" xmlns:r="http://schemas.openxmlformats.org/officeDocument/2006/relationships" xmlns:p="http://schemas.openxmlformats.org/presentationml/2006/main">
  <p:tag name="MIO_GUID" val="769bb42a-728d-49bb-99d0-22273d5e6fcf"/>
</p:tagLst>
</file>

<file path=ppt/tags/tag449.xml><?xml version="1.0" encoding="utf-8"?>
<p:tagLst xmlns:a="http://schemas.openxmlformats.org/drawingml/2006/main" xmlns:r="http://schemas.openxmlformats.org/officeDocument/2006/relationships" xmlns:p="http://schemas.openxmlformats.org/presentationml/2006/main">
  <p:tag name="MIO_GUID" val="a740e19a-5f62-4712-9884-05bd3bc44ca8"/>
</p:tagLst>
</file>

<file path=ppt/tags/tag45.xml><?xml version="1.0" encoding="utf-8"?>
<p:tagLst xmlns:a="http://schemas.openxmlformats.org/drawingml/2006/main" xmlns:r="http://schemas.openxmlformats.org/officeDocument/2006/relationships" xmlns:p="http://schemas.openxmlformats.org/presentationml/2006/main">
  <p:tag name="MIO_GUID" val="ea6510cc-68d0-4050-958a-6f9ea1fda028"/>
  <p:tag name="MIO_EKGUID" val="af35ae86-5803-4de3-80e2-fcf967247c4e"/>
  <p:tag name="MIO_UPDATE" val="True"/>
  <p:tag name="MIO_VERSION" val="30.07.2019 09:29:09"/>
  <p:tag name="MIO_DBID" val="5D9FD29E-BEEC-40D7-BFBE-407D9085DE5F"/>
  <p:tag name="MIO_LASTDOWNLOADED" val="11.09.2019 13:03:05"/>
  <p:tag name="MIO_OBJECTNAME" val="Done"/>
  <p:tag name="MIO_LASTEDITORNAME" val="Bhuvaneswari Baskar"/>
</p:tagLst>
</file>

<file path=ppt/tags/tag450.xml><?xml version="1.0" encoding="utf-8"?>
<p:tagLst xmlns:a="http://schemas.openxmlformats.org/drawingml/2006/main" xmlns:r="http://schemas.openxmlformats.org/officeDocument/2006/relationships" xmlns:p="http://schemas.openxmlformats.org/presentationml/2006/main">
  <p:tag name="MIO_GUID" val="0feeaeeb-ec48-44b4-aa0e-ad90ec7d4329"/>
</p:tagLst>
</file>

<file path=ppt/tags/tag451.xml><?xml version="1.0" encoding="utf-8"?>
<p:tagLst xmlns:a="http://schemas.openxmlformats.org/drawingml/2006/main" xmlns:r="http://schemas.openxmlformats.org/officeDocument/2006/relationships" xmlns:p="http://schemas.openxmlformats.org/presentationml/2006/main">
  <p:tag name="MIO_GUID" val="d8600375-4dac-4928-8d1b-4ee619a1f047"/>
</p:tagLst>
</file>

<file path=ppt/tags/tag452.xml><?xml version="1.0" encoding="utf-8"?>
<p:tagLst xmlns:a="http://schemas.openxmlformats.org/drawingml/2006/main" xmlns:r="http://schemas.openxmlformats.org/officeDocument/2006/relationships" xmlns:p="http://schemas.openxmlformats.org/presentationml/2006/main">
  <p:tag name="MIO_GUID" val="c8180844-b707-4d7c-9e7a-ec7647d26ad6"/>
</p:tagLst>
</file>

<file path=ppt/tags/tag453.xml><?xml version="1.0" encoding="utf-8"?>
<p:tagLst xmlns:a="http://schemas.openxmlformats.org/drawingml/2006/main" xmlns:r="http://schemas.openxmlformats.org/officeDocument/2006/relationships" xmlns:p="http://schemas.openxmlformats.org/presentationml/2006/main">
  <p:tag name="MIO_GUID" val="deaae3ac-1e0a-441f-84e7-04f868cf4f3d"/>
</p:tagLst>
</file>

<file path=ppt/tags/tag454.xml><?xml version="1.0" encoding="utf-8"?>
<p:tagLst xmlns:a="http://schemas.openxmlformats.org/drawingml/2006/main" xmlns:r="http://schemas.openxmlformats.org/officeDocument/2006/relationships" xmlns:p="http://schemas.openxmlformats.org/presentationml/2006/main">
  <p:tag name="MIO_GUID" val="b92f7580-af2f-4c31-b640-775386963f73"/>
</p:tagLst>
</file>

<file path=ppt/tags/tag455.xml><?xml version="1.0" encoding="utf-8"?>
<p:tagLst xmlns:a="http://schemas.openxmlformats.org/drawingml/2006/main" xmlns:r="http://schemas.openxmlformats.org/officeDocument/2006/relationships" xmlns:p="http://schemas.openxmlformats.org/presentationml/2006/main">
  <p:tag name="MIO_GUID" val="82fe8e9e-3a5a-434f-be01-03397a1fc543"/>
</p:tagLst>
</file>

<file path=ppt/tags/tag456.xml><?xml version="1.0" encoding="utf-8"?>
<p:tagLst xmlns:a="http://schemas.openxmlformats.org/drawingml/2006/main" xmlns:r="http://schemas.openxmlformats.org/officeDocument/2006/relationships" xmlns:p="http://schemas.openxmlformats.org/presentationml/2006/main">
  <p:tag name="MIO_GUID" val="f258b2bc-d4ad-406d-8e48-e0fc337459d9"/>
</p:tagLst>
</file>

<file path=ppt/tags/tag457.xml><?xml version="1.0" encoding="utf-8"?>
<p:tagLst xmlns:a="http://schemas.openxmlformats.org/drawingml/2006/main" xmlns:r="http://schemas.openxmlformats.org/officeDocument/2006/relationships" xmlns:p="http://schemas.openxmlformats.org/presentationml/2006/main">
  <p:tag name="MIO_GUID" val="2ed272a7-f258-4f52-9a04-6e0491bcd5fa"/>
</p:tagLst>
</file>

<file path=ppt/tags/tag458.xml><?xml version="1.0" encoding="utf-8"?>
<p:tagLst xmlns:a="http://schemas.openxmlformats.org/drawingml/2006/main" xmlns:r="http://schemas.openxmlformats.org/officeDocument/2006/relationships" xmlns:p="http://schemas.openxmlformats.org/presentationml/2006/main">
  <p:tag name="MIO_GUID" val="d1b08104-e112-4b66-b6ec-5456ea8b1231"/>
</p:tagLst>
</file>

<file path=ppt/tags/tag459.xml><?xml version="1.0" encoding="utf-8"?>
<p:tagLst xmlns:a="http://schemas.openxmlformats.org/drawingml/2006/main" xmlns:r="http://schemas.openxmlformats.org/officeDocument/2006/relationships" xmlns:p="http://schemas.openxmlformats.org/presentationml/2006/main">
  <p:tag name="MIO_GUID" val="6bf432e7-7cfc-473a-aded-d85f1df14d41"/>
</p:tagLst>
</file>

<file path=ppt/tags/tag46.xml><?xml version="1.0" encoding="utf-8"?>
<p:tagLst xmlns:a="http://schemas.openxmlformats.org/drawingml/2006/main" xmlns:r="http://schemas.openxmlformats.org/officeDocument/2006/relationships" xmlns:p="http://schemas.openxmlformats.org/presentationml/2006/main">
  <p:tag name="MIO_GUID" val="4dd06ab2-9523-4747-9123-6ee4044a24e9"/>
  <p:tag name="MIO_EKGUID" val="9c39bd5d-7904-4267-a690-ed22f834bb9c"/>
  <p:tag name="MIO_UPDATE" val="True"/>
  <p:tag name="MIO_VERSION" val="01.08.2019 11:28:08"/>
  <p:tag name="MIO_DBID" val="5D9FD29E-BEEC-40D7-BFBE-407D9085DE5F"/>
  <p:tag name="MIO_LASTDOWNLOADED" val="11.09.2019 13:00:50"/>
  <p:tag name="MIO_OBJECTNAME" val="Develop team"/>
  <p:tag name="MIO_LASTEDITORNAME" val="Bhuvaneswari Baskar"/>
</p:tagLst>
</file>

<file path=ppt/tags/tag460.xml><?xml version="1.0" encoding="utf-8"?>
<p:tagLst xmlns:a="http://schemas.openxmlformats.org/drawingml/2006/main" xmlns:r="http://schemas.openxmlformats.org/officeDocument/2006/relationships" xmlns:p="http://schemas.openxmlformats.org/presentationml/2006/main">
  <p:tag name="MIO_GUID" val="b28401f0-cc91-414c-9bf9-065c66b75764"/>
</p:tagLst>
</file>

<file path=ppt/tags/tag461.xml><?xml version="1.0" encoding="utf-8"?>
<p:tagLst xmlns:a="http://schemas.openxmlformats.org/drawingml/2006/main" xmlns:r="http://schemas.openxmlformats.org/officeDocument/2006/relationships" xmlns:p="http://schemas.openxmlformats.org/presentationml/2006/main">
  <p:tag name="MIO_GUID" val="c4d9b10a-9514-4417-aac7-5ff7cbb051e2"/>
</p:tagLst>
</file>

<file path=ppt/tags/tag462.xml><?xml version="1.0" encoding="utf-8"?>
<p:tagLst xmlns:a="http://schemas.openxmlformats.org/drawingml/2006/main" xmlns:r="http://schemas.openxmlformats.org/officeDocument/2006/relationships" xmlns:p="http://schemas.openxmlformats.org/presentationml/2006/main">
  <p:tag name="MIO_GUID" val="06eabecd-7202-4d07-90fe-52412f4e1e90"/>
</p:tagLst>
</file>

<file path=ppt/tags/tag463.xml><?xml version="1.0" encoding="utf-8"?>
<p:tagLst xmlns:a="http://schemas.openxmlformats.org/drawingml/2006/main" xmlns:r="http://schemas.openxmlformats.org/officeDocument/2006/relationships" xmlns:p="http://schemas.openxmlformats.org/presentationml/2006/main">
  <p:tag name="MIO_GUID" val="62be010a-c5d0-4ff7-806f-2e127f0f1e3b"/>
</p:tagLst>
</file>

<file path=ppt/tags/tag464.xml><?xml version="1.0" encoding="utf-8"?>
<p:tagLst xmlns:a="http://schemas.openxmlformats.org/drawingml/2006/main" xmlns:r="http://schemas.openxmlformats.org/officeDocument/2006/relationships" xmlns:p="http://schemas.openxmlformats.org/presentationml/2006/main">
  <p:tag name="MIO_GUID" val="057b718e-0070-4e75-983a-e3a18e3ec57d"/>
</p:tagLst>
</file>

<file path=ppt/tags/tag465.xml><?xml version="1.0" encoding="utf-8"?>
<p:tagLst xmlns:a="http://schemas.openxmlformats.org/drawingml/2006/main" xmlns:r="http://schemas.openxmlformats.org/officeDocument/2006/relationships" xmlns:p="http://schemas.openxmlformats.org/presentationml/2006/main">
  <p:tag name="MIO_GUID" val="a196b153-d80e-4e96-a2ea-61094fbc3928"/>
</p:tagLst>
</file>

<file path=ppt/tags/tag466.xml><?xml version="1.0" encoding="utf-8"?>
<p:tagLst xmlns:a="http://schemas.openxmlformats.org/drawingml/2006/main" xmlns:r="http://schemas.openxmlformats.org/officeDocument/2006/relationships" xmlns:p="http://schemas.openxmlformats.org/presentationml/2006/main">
  <p:tag name="MIO_GUID" val="58686ab6-7ce6-488c-b7fc-965a08d426c1"/>
</p:tagLst>
</file>

<file path=ppt/tags/tag467.xml><?xml version="1.0" encoding="utf-8"?>
<p:tagLst xmlns:a="http://schemas.openxmlformats.org/drawingml/2006/main" xmlns:r="http://schemas.openxmlformats.org/officeDocument/2006/relationships" xmlns:p="http://schemas.openxmlformats.org/presentationml/2006/main">
  <p:tag name="MIO_GUID" val="4b54b623-d210-48cd-96cb-bd29c14093c5"/>
</p:tagLst>
</file>

<file path=ppt/tags/tag468.xml><?xml version="1.0" encoding="utf-8"?>
<p:tagLst xmlns:a="http://schemas.openxmlformats.org/drawingml/2006/main" xmlns:r="http://schemas.openxmlformats.org/officeDocument/2006/relationships" xmlns:p="http://schemas.openxmlformats.org/presentationml/2006/main">
  <p:tag name="MIO_GUID" val="917342b5-7564-47f8-9461-130f06c44a36"/>
</p:tagLst>
</file>

<file path=ppt/tags/tag469.xml><?xml version="1.0" encoding="utf-8"?>
<p:tagLst xmlns:a="http://schemas.openxmlformats.org/drawingml/2006/main" xmlns:r="http://schemas.openxmlformats.org/officeDocument/2006/relationships" xmlns:p="http://schemas.openxmlformats.org/presentationml/2006/main">
  <p:tag name="MIO_GUID" val="13ef7e81-5ad6-4849-a238-cec18a40b249"/>
</p:tagLst>
</file>

<file path=ppt/tags/tag47.xml><?xml version="1.0" encoding="utf-8"?>
<p:tagLst xmlns:a="http://schemas.openxmlformats.org/drawingml/2006/main" xmlns:r="http://schemas.openxmlformats.org/officeDocument/2006/relationships" xmlns:p="http://schemas.openxmlformats.org/presentationml/2006/main">
  <p:tag name="MIO_GUID" val="19489b06-d8f6-4641-9419-20cc9cbea23a"/>
  <p:tag name="MIO_EKGUID" val="e83289e7-b9a3-4ee0-931a-d93799ba5ccf"/>
  <p:tag name="MIO_UPDATE" val="True"/>
  <p:tag name="MIO_VERSION" val="12.09.2019 08:30:04"/>
  <p:tag name="MIO_DBID" val="5D9FD29E-BEEC-40D7-BFBE-407D9085DE5F"/>
  <p:tag name="MIO_LASTDOWNLOADED" val="27.11.2019 08:31:48"/>
  <p:tag name="MIO_OBJECTNAME" val="db_03208"/>
  <p:tag name="MIO_LASTEDITORNAME" val="Shameer Poyil Kuloth"/>
</p:tagLst>
</file>

<file path=ppt/tags/tag470.xml><?xml version="1.0" encoding="utf-8"?>
<p:tagLst xmlns:a="http://schemas.openxmlformats.org/drawingml/2006/main" xmlns:r="http://schemas.openxmlformats.org/officeDocument/2006/relationships" xmlns:p="http://schemas.openxmlformats.org/presentationml/2006/main">
  <p:tag name="MIO_GUID" val="fe3e1681-2a0b-4910-b071-2341822c035c"/>
</p:tagLst>
</file>

<file path=ppt/tags/tag471.xml><?xml version="1.0" encoding="utf-8"?>
<p:tagLst xmlns:a="http://schemas.openxmlformats.org/drawingml/2006/main" xmlns:r="http://schemas.openxmlformats.org/officeDocument/2006/relationships" xmlns:p="http://schemas.openxmlformats.org/presentationml/2006/main">
  <p:tag name="MIO_GUID" val="6cf81251-a8e9-4569-9dc7-d4f1396e389d"/>
</p:tagLst>
</file>

<file path=ppt/tags/tag472.xml><?xml version="1.0" encoding="utf-8"?>
<p:tagLst xmlns:a="http://schemas.openxmlformats.org/drawingml/2006/main" xmlns:r="http://schemas.openxmlformats.org/officeDocument/2006/relationships" xmlns:p="http://schemas.openxmlformats.org/presentationml/2006/main">
  <p:tag name="MIO_GUID" val="20f16b23-4674-4706-9086-cf58c6c5e44b"/>
</p:tagLst>
</file>

<file path=ppt/tags/tag473.xml><?xml version="1.0" encoding="utf-8"?>
<p:tagLst xmlns:a="http://schemas.openxmlformats.org/drawingml/2006/main" xmlns:r="http://schemas.openxmlformats.org/officeDocument/2006/relationships" xmlns:p="http://schemas.openxmlformats.org/presentationml/2006/main">
  <p:tag name="MIO_GUID" val="8eb619a3-ebc1-4a2b-ab65-c1aec5ffeff3"/>
</p:tagLst>
</file>

<file path=ppt/tags/tag474.xml><?xml version="1.0" encoding="utf-8"?>
<p:tagLst xmlns:a="http://schemas.openxmlformats.org/drawingml/2006/main" xmlns:r="http://schemas.openxmlformats.org/officeDocument/2006/relationships" xmlns:p="http://schemas.openxmlformats.org/presentationml/2006/main">
  <p:tag name="MIO_GUID" val="bdc223d6-5730-4ce9-a358-5141e2d75e4a"/>
</p:tagLst>
</file>

<file path=ppt/tags/tag475.xml><?xml version="1.0" encoding="utf-8"?>
<p:tagLst xmlns:a="http://schemas.openxmlformats.org/drawingml/2006/main" xmlns:r="http://schemas.openxmlformats.org/officeDocument/2006/relationships" xmlns:p="http://schemas.openxmlformats.org/presentationml/2006/main">
  <p:tag name="MIO_GUID" val="8220676b-162f-4300-a8c7-7eb9f32d9fde"/>
</p:tagLst>
</file>

<file path=ppt/tags/tag476.xml><?xml version="1.0" encoding="utf-8"?>
<p:tagLst xmlns:a="http://schemas.openxmlformats.org/drawingml/2006/main" xmlns:r="http://schemas.openxmlformats.org/officeDocument/2006/relationships" xmlns:p="http://schemas.openxmlformats.org/presentationml/2006/main">
  <p:tag name="MIO_GUID" val="25df7cb4-badd-4c67-a592-645b24dec91f"/>
</p:tagLst>
</file>

<file path=ppt/tags/tag477.xml><?xml version="1.0" encoding="utf-8"?>
<p:tagLst xmlns:a="http://schemas.openxmlformats.org/drawingml/2006/main" xmlns:r="http://schemas.openxmlformats.org/officeDocument/2006/relationships" xmlns:p="http://schemas.openxmlformats.org/presentationml/2006/main">
  <p:tag name="MIO_GUID" val="f6bd695b-c4e6-483c-8365-4c04ff48fd15"/>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MIO_GUID" val="5d887d7d-0312-4b00-bd4a-4da996925657"/>
  <p:tag name="MIO_EKGUID" val="64af18fe-f17c-42f5-89c9-b40823cb746b"/>
  <p:tag name="MIO_UPDATE" val="True"/>
  <p:tag name="MIO_VERSION" val="14.11.2017 15:09:47"/>
  <p:tag name="MIO_DBID" val="5D9FD29E-BEEC-40D7-BFBE-407D9085DE5F"/>
  <p:tag name="MIO_LASTDOWNLOADED" val="23.09.2018 11:39:59"/>
  <p:tag name="MIO_OBJECTNAME" val="Magnifiying glass"/>
  <p:tag name="MIO_LASTEDITORNAME" val="Elisabeth Roman"/>
</p:tagLst>
</file>

<file path=ppt/tags/tag48.xml><?xml version="1.0" encoding="utf-8"?>
<p:tagLst xmlns:a="http://schemas.openxmlformats.org/drawingml/2006/main" xmlns:r="http://schemas.openxmlformats.org/officeDocument/2006/relationships" xmlns:p="http://schemas.openxmlformats.org/presentationml/2006/main">
  <p:tag name="MIO_GUID" val="93f9be83-1c40-4ade-b4f4-ae34bc1f50a3"/>
  <p:tag name="MIO_EKGUID" val="7aa27bf2-d5ec-40b2-8530-e8421e02bb1f"/>
  <p:tag name="MIO_UPDATE" val="True"/>
  <p:tag name="MIO_VERSION" val="04.03.2020 05:41:07"/>
  <p:tag name="MIO_DBID" val="5D9FD29E-BEEC-40D7-BFBE-407D9085DE5F"/>
  <p:tag name="MIO_LASTDOWNLOADED" val="31.07.2020 11:43:14"/>
  <p:tag name="MIO_OBJECTNAME" val="Matrix"/>
  <p:tag name="MIO_LASTEDITORNAME" val="Bhuvaneswari Baskar"/>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MIO_GUID" val="5d887d7d-0312-4b00-bd4a-4da996925657"/>
  <p:tag name="MIO_EKGUID" val="64af18fe-f17c-42f5-89c9-b40823cb746b"/>
  <p:tag name="MIO_UPDATE" val="True"/>
  <p:tag name="MIO_VERSION" val="14.11.2017 15:09:47"/>
  <p:tag name="MIO_DBID" val="5D9FD29E-BEEC-40D7-BFBE-407D9085DE5F"/>
  <p:tag name="MIO_LASTDOWNLOADED" val="23.09.2018 11:39:59"/>
  <p:tag name="MIO_OBJECTNAME" val="Magnifiying glass"/>
  <p:tag name="MIO_LASTEDITORNAME" val="Elisabeth Roman"/>
</p:tagLst>
</file>

<file path=ppt/tags/tag482.xml><?xml version="1.0" encoding="utf-8"?>
<p:tagLst xmlns:a="http://schemas.openxmlformats.org/drawingml/2006/main" xmlns:r="http://schemas.openxmlformats.org/officeDocument/2006/relationships" xmlns:p="http://schemas.openxmlformats.org/presentationml/2006/main">
  <p:tag name="MIO_GUID" val="8c3c4f30-0168-49af-9466-9980f9a4df0d"/>
  <p:tag name="MIO_EKGUID" val="d7e353e2-f73e-45c5-babc-5dfd4f9eb008"/>
  <p:tag name="MIO_UPDATE" val="True"/>
  <p:tag name="MIO_VERSION" val="13.03.2018 08:47:22"/>
  <p:tag name="MIO_DBID" val="5D9FD29E-BEEC-40D7-BFBE-407D9085DE5F"/>
  <p:tag name="MIO_LASTDOWNLOADED" val="28.07.2020 11:04:02"/>
  <p:tag name="MIO_OBJECTNAME" val="Europe"/>
  <p:tag name="MIO_LASTEDITORNAME" val="Daniel J"/>
</p:tagLst>
</file>

<file path=ppt/tags/tag483.xml><?xml version="1.0" encoding="utf-8"?>
<p:tagLst xmlns:a="http://schemas.openxmlformats.org/drawingml/2006/main" xmlns:r="http://schemas.openxmlformats.org/officeDocument/2006/relationships" xmlns:p="http://schemas.openxmlformats.org/presentationml/2006/main">
  <p:tag name="MIO_GUID" val="602bc0a3-001e-4ea4-a673-0a8cbad02c38"/>
</p:tagLst>
</file>

<file path=ppt/tags/tag484.xml><?xml version="1.0" encoding="utf-8"?>
<p:tagLst xmlns:a="http://schemas.openxmlformats.org/drawingml/2006/main" xmlns:r="http://schemas.openxmlformats.org/officeDocument/2006/relationships" xmlns:p="http://schemas.openxmlformats.org/presentationml/2006/main">
  <p:tag name="MIO_GUID" val="4e6cc1df-0ce8-4cb1-b321-881833ed02a3"/>
</p:tagLst>
</file>

<file path=ppt/tags/tag485.xml><?xml version="1.0" encoding="utf-8"?>
<p:tagLst xmlns:a="http://schemas.openxmlformats.org/drawingml/2006/main" xmlns:r="http://schemas.openxmlformats.org/officeDocument/2006/relationships" xmlns:p="http://schemas.openxmlformats.org/presentationml/2006/main">
  <p:tag name="MIO_GUID" val="44483bbc-713a-4754-97fc-6db274584662"/>
</p:tagLst>
</file>

<file path=ppt/tags/tag486.xml><?xml version="1.0" encoding="utf-8"?>
<p:tagLst xmlns:a="http://schemas.openxmlformats.org/drawingml/2006/main" xmlns:r="http://schemas.openxmlformats.org/officeDocument/2006/relationships" xmlns:p="http://schemas.openxmlformats.org/presentationml/2006/main">
  <p:tag name="MIO_GUID" val="69a883ab-b484-4362-845d-881f60d6909e"/>
</p:tagLst>
</file>

<file path=ppt/tags/tag487.xml><?xml version="1.0" encoding="utf-8"?>
<p:tagLst xmlns:a="http://schemas.openxmlformats.org/drawingml/2006/main" xmlns:r="http://schemas.openxmlformats.org/officeDocument/2006/relationships" xmlns:p="http://schemas.openxmlformats.org/presentationml/2006/main">
  <p:tag name="MIO_GUID" val="d46a4d98-3b1b-4607-84cc-ca6a983be569"/>
</p:tagLst>
</file>

<file path=ppt/tags/tag488.xml><?xml version="1.0" encoding="utf-8"?>
<p:tagLst xmlns:a="http://schemas.openxmlformats.org/drawingml/2006/main" xmlns:r="http://schemas.openxmlformats.org/officeDocument/2006/relationships" xmlns:p="http://schemas.openxmlformats.org/presentationml/2006/main">
  <p:tag name="MIO_GUID" val="cf978dc9-465a-44ec-a1a2-5c7e3af7edde"/>
</p:tagLst>
</file>

<file path=ppt/tags/tag489.xml><?xml version="1.0" encoding="utf-8"?>
<p:tagLst xmlns:a="http://schemas.openxmlformats.org/drawingml/2006/main" xmlns:r="http://schemas.openxmlformats.org/officeDocument/2006/relationships" xmlns:p="http://schemas.openxmlformats.org/presentationml/2006/main">
  <p:tag name="MIO_GUID" val="7789597e-f46b-4770-8633-88f616cfe9bd"/>
</p:tagLst>
</file>

<file path=ppt/tags/tag49.xml><?xml version="1.0" encoding="utf-8"?>
<p:tagLst xmlns:a="http://schemas.openxmlformats.org/drawingml/2006/main" xmlns:r="http://schemas.openxmlformats.org/officeDocument/2006/relationships" xmlns:p="http://schemas.openxmlformats.org/presentationml/2006/main">
  <p:tag name="MIO_GUID" val="8322cb54-bbb0-4ed4-b204-b415c292da91"/>
  <p:tag name="MIO_EKGUID" val="60d20637-d87a-471b-84ee-e036751ec1a3"/>
  <p:tag name="MIO_UPDATE" val="True"/>
  <p:tag name="MIO_VERSION" val="02.08.2019 07:01:49"/>
  <p:tag name="MIO_DBID" val="5D9FD29E-BEEC-40D7-BFBE-407D9085DE5F"/>
  <p:tag name="MIO_LASTDOWNLOADED" val="31.07.2020 11:45:20"/>
  <p:tag name="MIO_OBJECTNAME" val="Save"/>
  <p:tag name="MIO_LASTEDITORNAME" val="Bhuvaneswari Baskar"/>
</p:tagLst>
</file>

<file path=ppt/tags/tag490.xml><?xml version="1.0" encoding="utf-8"?>
<p:tagLst xmlns:a="http://schemas.openxmlformats.org/drawingml/2006/main" xmlns:r="http://schemas.openxmlformats.org/officeDocument/2006/relationships" xmlns:p="http://schemas.openxmlformats.org/presentationml/2006/main">
  <p:tag name="MIO_GUID" val="ef8b1dc1-0ced-4fd7-a109-437bf78c3e0a"/>
</p:tagLst>
</file>

<file path=ppt/tags/tag491.xml><?xml version="1.0" encoding="utf-8"?>
<p:tagLst xmlns:a="http://schemas.openxmlformats.org/drawingml/2006/main" xmlns:r="http://schemas.openxmlformats.org/officeDocument/2006/relationships" xmlns:p="http://schemas.openxmlformats.org/presentationml/2006/main">
  <p:tag name="MIO_GUID" val="6aaf244f-6f46-40c1-a38b-f832626e6a98"/>
</p:tagLst>
</file>

<file path=ppt/tags/tag492.xml><?xml version="1.0" encoding="utf-8"?>
<p:tagLst xmlns:a="http://schemas.openxmlformats.org/drawingml/2006/main" xmlns:r="http://schemas.openxmlformats.org/officeDocument/2006/relationships" xmlns:p="http://schemas.openxmlformats.org/presentationml/2006/main">
  <p:tag name="MIO_GUID" val="33ebefe9-86df-4fdb-b366-b10108ea23fe"/>
</p:tagLst>
</file>

<file path=ppt/tags/tag493.xml><?xml version="1.0" encoding="utf-8"?>
<p:tagLst xmlns:a="http://schemas.openxmlformats.org/drawingml/2006/main" xmlns:r="http://schemas.openxmlformats.org/officeDocument/2006/relationships" xmlns:p="http://schemas.openxmlformats.org/presentationml/2006/main">
  <p:tag name="MIO_GUID" val="c430ca63-f76c-41a2-85c6-43b4897ff616"/>
</p:tagLst>
</file>

<file path=ppt/tags/tag494.xml><?xml version="1.0" encoding="utf-8"?>
<p:tagLst xmlns:a="http://schemas.openxmlformats.org/drawingml/2006/main" xmlns:r="http://schemas.openxmlformats.org/officeDocument/2006/relationships" xmlns:p="http://schemas.openxmlformats.org/presentationml/2006/main">
  <p:tag name="MIO_GUID" val="dcd64ca2-9b15-453a-ad86-9fd39c4e01b6"/>
</p:tagLst>
</file>

<file path=ppt/tags/tag495.xml><?xml version="1.0" encoding="utf-8"?>
<p:tagLst xmlns:a="http://schemas.openxmlformats.org/drawingml/2006/main" xmlns:r="http://schemas.openxmlformats.org/officeDocument/2006/relationships" xmlns:p="http://schemas.openxmlformats.org/presentationml/2006/main">
  <p:tag name="MIO_GUID" val="1c2013eb-0199-47f0-aabc-0b20a2d68593"/>
</p:tagLst>
</file>

<file path=ppt/tags/tag496.xml><?xml version="1.0" encoding="utf-8"?>
<p:tagLst xmlns:a="http://schemas.openxmlformats.org/drawingml/2006/main" xmlns:r="http://schemas.openxmlformats.org/officeDocument/2006/relationships" xmlns:p="http://schemas.openxmlformats.org/presentationml/2006/main">
  <p:tag name="MIO_GUID" val="b8928007-5e7d-4e17-82ab-79f00400569c"/>
</p:tagLst>
</file>

<file path=ppt/tags/tag497.xml><?xml version="1.0" encoding="utf-8"?>
<p:tagLst xmlns:a="http://schemas.openxmlformats.org/drawingml/2006/main" xmlns:r="http://schemas.openxmlformats.org/officeDocument/2006/relationships" xmlns:p="http://schemas.openxmlformats.org/presentationml/2006/main">
  <p:tag name="MIO_GUID" val="318dc144-53f7-4d70-85ff-ae22c4b0504c"/>
</p:tagLst>
</file>

<file path=ppt/tags/tag498.xml><?xml version="1.0" encoding="utf-8"?>
<p:tagLst xmlns:a="http://schemas.openxmlformats.org/drawingml/2006/main" xmlns:r="http://schemas.openxmlformats.org/officeDocument/2006/relationships" xmlns:p="http://schemas.openxmlformats.org/presentationml/2006/main">
  <p:tag name="MIO_GUID" val="e2a0b3d8-083b-4b65-9cb7-97494178a9c3"/>
</p:tagLst>
</file>

<file path=ppt/tags/tag499.xml><?xml version="1.0" encoding="utf-8"?>
<p:tagLst xmlns:a="http://schemas.openxmlformats.org/drawingml/2006/main" xmlns:r="http://schemas.openxmlformats.org/officeDocument/2006/relationships" xmlns:p="http://schemas.openxmlformats.org/presentationml/2006/main">
  <p:tag name="MIO_GUID" val="71337d2f-b6dd-4768-bd84-cec93b680bc7"/>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MIO_GUID" val="ce544728-51e9-41ae-89b1-244c61c65c64"/>
  <p:tag name="MIO_EKGUID" val="4f69ecf3-409f-414a-acce-f40d706dc267"/>
  <p:tag name="MIO_UPDATE" val="True"/>
  <p:tag name="MIO_VERSION" val="17.03.2020 06:31:00"/>
  <p:tag name="MIO_DBID" val="5D9FD29E-BEEC-40D7-BFBE-407D9085DE5F"/>
  <p:tag name="MIO_LASTDOWNLOADED" val="31.07.2020 11:40:08"/>
  <p:tag name="MIO_OBJECTNAME" val="Environment"/>
  <p:tag name="MIO_LASTEDITORNAME" val="Bhuvaneswari Baskar"/>
</p:tagLst>
</file>

<file path=ppt/tags/tag500.xml><?xml version="1.0" encoding="utf-8"?>
<p:tagLst xmlns:a="http://schemas.openxmlformats.org/drawingml/2006/main" xmlns:r="http://schemas.openxmlformats.org/officeDocument/2006/relationships" xmlns:p="http://schemas.openxmlformats.org/presentationml/2006/main">
  <p:tag name="MIO_GUID" val="bbc37851-66f5-4e40-873d-5a7f7552abbc"/>
</p:tagLst>
</file>

<file path=ppt/tags/tag501.xml><?xml version="1.0" encoding="utf-8"?>
<p:tagLst xmlns:a="http://schemas.openxmlformats.org/drawingml/2006/main" xmlns:r="http://schemas.openxmlformats.org/officeDocument/2006/relationships" xmlns:p="http://schemas.openxmlformats.org/presentationml/2006/main">
  <p:tag name="MIO_GUID" val="96b92937-e5fd-44e1-bce2-f8c1dbd865c4"/>
</p:tagLst>
</file>

<file path=ppt/tags/tag502.xml><?xml version="1.0" encoding="utf-8"?>
<p:tagLst xmlns:a="http://schemas.openxmlformats.org/drawingml/2006/main" xmlns:r="http://schemas.openxmlformats.org/officeDocument/2006/relationships" xmlns:p="http://schemas.openxmlformats.org/presentationml/2006/main">
  <p:tag name="MIO_GUID" val="7dcbbff4-31e4-42e6-938a-52a8bc55bc42"/>
</p:tagLst>
</file>

<file path=ppt/tags/tag503.xml><?xml version="1.0" encoding="utf-8"?>
<p:tagLst xmlns:a="http://schemas.openxmlformats.org/drawingml/2006/main" xmlns:r="http://schemas.openxmlformats.org/officeDocument/2006/relationships" xmlns:p="http://schemas.openxmlformats.org/presentationml/2006/main">
  <p:tag name="MIO_GUID" val="e08f1053-95b6-49b4-ab12-115bb65e4443"/>
</p:tagLst>
</file>

<file path=ppt/tags/tag504.xml><?xml version="1.0" encoding="utf-8"?>
<p:tagLst xmlns:a="http://schemas.openxmlformats.org/drawingml/2006/main" xmlns:r="http://schemas.openxmlformats.org/officeDocument/2006/relationships" xmlns:p="http://schemas.openxmlformats.org/presentationml/2006/main">
  <p:tag name="MIO_GUID" val="c57e8975-4b25-4a5d-8a41-64076d4251c1"/>
</p:tagLst>
</file>

<file path=ppt/tags/tag505.xml><?xml version="1.0" encoding="utf-8"?>
<p:tagLst xmlns:a="http://schemas.openxmlformats.org/drawingml/2006/main" xmlns:r="http://schemas.openxmlformats.org/officeDocument/2006/relationships" xmlns:p="http://schemas.openxmlformats.org/presentationml/2006/main">
  <p:tag name="MIO_GUID" val="1ba41290-e9f4-4948-8a46-76c2f6f6e962"/>
</p:tagLst>
</file>

<file path=ppt/tags/tag506.xml><?xml version="1.0" encoding="utf-8"?>
<p:tagLst xmlns:a="http://schemas.openxmlformats.org/drawingml/2006/main" xmlns:r="http://schemas.openxmlformats.org/officeDocument/2006/relationships" xmlns:p="http://schemas.openxmlformats.org/presentationml/2006/main">
  <p:tag name="MIO_GUID" val="30825ce4-20df-48dd-a92e-6f5825884859"/>
</p:tagLst>
</file>

<file path=ppt/tags/tag507.xml><?xml version="1.0" encoding="utf-8"?>
<p:tagLst xmlns:a="http://schemas.openxmlformats.org/drawingml/2006/main" xmlns:r="http://schemas.openxmlformats.org/officeDocument/2006/relationships" xmlns:p="http://schemas.openxmlformats.org/presentationml/2006/main">
  <p:tag name="MIO_GUID" val="91d56a4a-1f72-4afc-bab8-2a84c90c7fc8"/>
</p:tagLst>
</file>

<file path=ppt/tags/tag508.xml><?xml version="1.0" encoding="utf-8"?>
<p:tagLst xmlns:a="http://schemas.openxmlformats.org/drawingml/2006/main" xmlns:r="http://schemas.openxmlformats.org/officeDocument/2006/relationships" xmlns:p="http://schemas.openxmlformats.org/presentationml/2006/main">
  <p:tag name="MIO_GUID" val="e4325027-2e1d-4473-9f11-f1c152fd1b46"/>
</p:tagLst>
</file>

<file path=ppt/tags/tag509.xml><?xml version="1.0" encoding="utf-8"?>
<p:tagLst xmlns:a="http://schemas.openxmlformats.org/drawingml/2006/main" xmlns:r="http://schemas.openxmlformats.org/officeDocument/2006/relationships" xmlns:p="http://schemas.openxmlformats.org/presentationml/2006/main">
  <p:tag name="MIO_GUID" val="a8c4c007-258f-4e64-b0c6-2b30ed8d6282"/>
</p:tagLst>
</file>

<file path=ppt/tags/tag51.xml><?xml version="1.0" encoding="utf-8"?>
<p:tagLst xmlns:a="http://schemas.openxmlformats.org/drawingml/2006/main" xmlns:r="http://schemas.openxmlformats.org/officeDocument/2006/relationships" xmlns:p="http://schemas.openxmlformats.org/presentationml/2006/main">
  <p:tag name="MIO_GUID" val="92983787-c33d-4ead-9be0-7752b3570342"/>
  <p:tag name="MIO_EKGUID" val="6b724f5a-5081-4ba4-b4e7-95d0886e6785"/>
  <p:tag name="MIO_UPDATE" val="True"/>
  <p:tag name="MIO_VERSION" val="04.03.2020 08:59:54"/>
  <p:tag name="MIO_DBID" val="5D9FD29E-BEEC-40D7-BFBE-407D9085DE5F"/>
  <p:tag name="MIO_LASTDOWNLOADED" val="31.07.2020 11:45:49"/>
  <p:tag name="MIO_OBJECTNAME" val="Hand"/>
  <p:tag name="MIO_LASTEDITORNAME" val="Bhuvaneswari Baskar"/>
</p:tagLst>
</file>

<file path=ppt/tags/tag510.xml><?xml version="1.0" encoding="utf-8"?>
<p:tagLst xmlns:a="http://schemas.openxmlformats.org/drawingml/2006/main" xmlns:r="http://schemas.openxmlformats.org/officeDocument/2006/relationships" xmlns:p="http://schemas.openxmlformats.org/presentationml/2006/main">
  <p:tag name="MIO_GUID" val="84b7dd1e-0bda-40cd-a58d-26fbd8f3f695"/>
</p:tagLst>
</file>

<file path=ppt/tags/tag511.xml><?xml version="1.0" encoding="utf-8"?>
<p:tagLst xmlns:a="http://schemas.openxmlformats.org/drawingml/2006/main" xmlns:r="http://schemas.openxmlformats.org/officeDocument/2006/relationships" xmlns:p="http://schemas.openxmlformats.org/presentationml/2006/main">
  <p:tag name="MIO_GUID" val="375b0eac-46c4-43bb-aec4-169efb455608"/>
</p:tagLst>
</file>

<file path=ppt/tags/tag512.xml><?xml version="1.0" encoding="utf-8"?>
<p:tagLst xmlns:a="http://schemas.openxmlformats.org/drawingml/2006/main" xmlns:r="http://schemas.openxmlformats.org/officeDocument/2006/relationships" xmlns:p="http://schemas.openxmlformats.org/presentationml/2006/main">
  <p:tag name="MIO_GUID" val="46a71f0f-1834-4c69-85af-e978aa2c9471"/>
</p:tagLst>
</file>

<file path=ppt/tags/tag513.xml><?xml version="1.0" encoding="utf-8"?>
<p:tagLst xmlns:a="http://schemas.openxmlformats.org/drawingml/2006/main" xmlns:r="http://schemas.openxmlformats.org/officeDocument/2006/relationships" xmlns:p="http://schemas.openxmlformats.org/presentationml/2006/main">
  <p:tag name="MIO_GUID" val="241019d2-ddb3-42bd-a0b5-dac6208069a1"/>
</p:tagLst>
</file>

<file path=ppt/tags/tag514.xml><?xml version="1.0" encoding="utf-8"?>
<p:tagLst xmlns:a="http://schemas.openxmlformats.org/drawingml/2006/main" xmlns:r="http://schemas.openxmlformats.org/officeDocument/2006/relationships" xmlns:p="http://schemas.openxmlformats.org/presentationml/2006/main">
  <p:tag name="MIO_GUID" val="8d8740ee-419d-4e3f-a99f-ff2792e3324d"/>
</p:tagLst>
</file>

<file path=ppt/tags/tag515.xml><?xml version="1.0" encoding="utf-8"?>
<p:tagLst xmlns:a="http://schemas.openxmlformats.org/drawingml/2006/main" xmlns:r="http://schemas.openxmlformats.org/officeDocument/2006/relationships" xmlns:p="http://schemas.openxmlformats.org/presentationml/2006/main">
  <p:tag name="MIO_GUID" val="50e9fb5f-520c-4b03-b70c-8b5e8d322916"/>
</p:tagLst>
</file>

<file path=ppt/tags/tag516.xml><?xml version="1.0" encoding="utf-8"?>
<p:tagLst xmlns:a="http://schemas.openxmlformats.org/drawingml/2006/main" xmlns:r="http://schemas.openxmlformats.org/officeDocument/2006/relationships" xmlns:p="http://schemas.openxmlformats.org/presentationml/2006/main">
  <p:tag name="MIO_GUID" val="9d3e2af2-d4d7-4e33-9aaf-3bfc0a5bc7cc"/>
</p:tagLst>
</file>

<file path=ppt/tags/tag517.xml><?xml version="1.0" encoding="utf-8"?>
<p:tagLst xmlns:a="http://schemas.openxmlformats.org/drawingml/2006/main" xmlns:r="http://schemas.openxmlformats.org/officeDocument/2006/relationships" xmlns:p="http://schemas.openxmlformats.org/presentationml/2006/main">
  <p:tag name="MIO_GUID" val="de5937f4-0e0f-4adb-b257-e03bdaf12c7f"/>
</p:tagLst>
</file>

<file path=ppt/tags/tag518.xml><?xml version="1.0" encoding="utf-8"?>
<p:tagLst xmlns:a="http://schemas.openxmlformats.org/drawingml/2006/main" xmlns:r="http://schemas.openxmlformats.org/officeDocument/2006/relationships" xmlns:p="http://schemas.openxmlformats.org/presentationml/2006/main">
  <p:tag name="MIO_GUID" val="fb405678-dedf-48f2-9379-dfb9c13f4440"/>
</p:tagLst>
</file>

<file path=ppt/tags/tag519.xml><?xml version="1.0" encoding="utf-8"?>
<p:tagLst xmlns:a="http://schemas.openxmlformats.org/drawingml/2006/main" xmlns:r="http://schemas.openxmlformats.org/officeDocument/2006/relationships" xmlns:p="http://schemas.openxmlformats.org/presentationml/2006/main">
  <p:tag name="MIO_GUID" val="51edd4f9-7c81-42b6-8312-375ae48985d7"/>
</p:tagLst>
</file>

<file path=ppt/tags/tag52.xml><?xml version="1.0" encoding="utf-8"?>
<p:tagLst xmlns:a="http://schemas.openxmlformats.org/drawingml/2006/main" xmlns:r="http://schemas.openxmlformats.org/officeDocument/2006/relationships" xmlns:p="http://schemas.openxmlformats.org/presentationml/2006/main">
  <p:tag name="MIO_GUID" val="92983787-c33d-4ead-9be0-7752b3570342"/>
  <p:tag name="MIO_EKGUID" val="6b724f5a-5081-4ba4-b4e7-95d0886e6785"/>
  <p:tag name="MIO_UPDATE" val="True"/>
  <p:tag name="MIO_VERSION" val="04.03.2020 08:59:54"/>
  <p:tag name="MIO_DBID" val="5D9FD29E-BEEC-40D7-BFBE-407D9085DE5F"/>
  <p:tag name="MIO_LASTDOWNLOADED" val="31.07.2020 11:45:49"/>
  <p:tag name="MIO_OBJECTNAME" val="Hand"/>
  <p:tag name="MIO_LASTEDITORNAME" val="Bhuvaneswari Baskar"/>
</p:tagLst>
</file>

<file path=ppt/tags/tag520.xml><?xml version="1.0" encoding="utf-8"?>
<p:tagLst xmlns:a="http://schemas.openxmlformats.org/drawingml/2006/main" xmlns:r="http://schemas.openxmlformats.org/officeDocument/2006/relationships" xmlns:p="http://schemas.openxmlformats.org/presentationml/2006/main">
  <p:tag name="MIO_GUID" val="25c6f20a-a572-482a-b575-fecfc201707c"/>
</p:tagLst>
</file>

<file path=ppt/tags/tag521.xml><?xml version="1.0" encoding="utf-8"?>
<p:tagLst xmlns:a="http://schemas.openxmlformats.org/drawingml/2006/main" xmlns:r="http://schemas.openxmlformats.org/officeDocument/2006/relationships" xmlns:p="http://schemas.openxmlformats.org/presentationml/2006/main">
  <p:tag name="MIO_GUID" val="244ae175-d950-46ff-a2da-9ab9107cbf73"/>
</p:tagLst>
</file>

<file path=ppt/tags/tag522.xml><?xml version="1.0" encoding="utf-8"?>
<p:tagLst xmlns:a="http://schemas.openxmlformats.org/drawingml/2006/main" xmlns:r="http://schemas.openxmlformats.org/officeDocument/2006/relationships" xmlns:p="http://schemas.openxmlformats.org/presentationml/2006/main">
  <p:tag name="MIO_GUID" val="4242c977-511f-4c95-b5b9-bc3f6e80cd7c"/>
</p:tagLst>
</file>

<file path=ppt/tags/tag523.xml><?xml version="1.0" encoding="utf-8"?>
<p:tagLst xmlns:a="http://schemas.openxmlformats.org/drawingml/2006/main" xmlns:r="http://schemas.openxmlformats.org/officeDocument/2006/relationships" xmlns:p="http://schemas.openxmlformats.org/presentationml/2006/main">
  <p:tag name="MIO_GUID" val="2a409ed9-1c6b-47bb-bc4d-1e7b0d6e7d7c"/>
</p:tagLst>
</file>

<file path=ppt/tags/tag524.xml><?xml version="1.0" encoding="utf-8"?>
<p:tagLst xmlns:a="http://schemas.openxmlformats.org/drawingml/2006/main" xmlns:r="http://schemas.openxmlformats.org/officeDocument/2006/relationships" xmlns:p="http://schemas.openxmlformats.org/presentationml/2006/main">
  <p:tag name="MIO_GUID" val="8dd62126-2dff-40ce-82ad-05c05df4c008"/>
</p:tagLst>
</file>

<file path=ppt/tags/tag525.xml><?xml version="1.0" encoding="utf-8"?>
<p:tagLst xmlns:a="http://schemas.openxmlformats.org/drawingml/2006/main" xmlns:r="http://schemas.openxmlformats.org/officeDocument/2006/relationships" xmlns:p="http://schemas.openxmlformats.org/presentationml/2006/main">
  <p:tag name="MIO_GUID" val="84c5621e-95f0-484c-9143-9f99324c5d2a"/>
</p:tagLst>
</file>

<file path=ppt/tags/tag526.xml><?xml version="1.0" encoding="utf-8"?>
<p:tagLst xmlns:a="http://schemas.openxmlformats.org/drawingml/2006/main" xmlns:r="http://schemas.openxmlformats.org/officeDocument/2006/relationships" xmlns:p="http://schemas.openxmlformats.org/presentationml/2006/main">
  <p:tag name="MIO_GUID" val="161c8a33-d80e-4d94-9431-4357da79babc"/>
</p:tagLst>
</file>

<file path=ppt/tags/tag527.xml><?xml version="1.0" encoding="utf-8"?>
<p:tagLst xmlns:a="http://schemas.openxmlformats.org/drawingml/2006/main" xmlns:r="http://schemas.openxmlformats.org/officeDocument/2006/relationships" xmlns:p="http://schemas.openxmlformats.org/presentationml/2006/main">
  <p:tag name="MIO_GUID" val="7a3d876c-9f01-4d7c-a263-52bbff4f79ba"/>
</p:tagLst>
</file>

<file path=ppt/tags/tag528.xml><?xml version="1.0" encoding="utf-8"?>
<p:tagLst xmlns:a="http://schemas.openxmlformats.org/drawingml/2006/main" xmlns:r="http://schemas.openxmlformats.org/officeDocument/2006/relationships" xmlns:p="http://schemas.openxmlformats.org/presentationml/2006/main">
  <p:tag name="MIO_GUID" val="2e579d67-dcbd-42d9-bee0-0405cbec43f5"/>
</p:tagLst>
</file>

<file path=ppt/tags/tag529.xml><?xml version="1.0" encoding="utf-8"?>
<p:tagLst xmlns:a="http://schemas.openxmlformats.org/drawingml/2006/main" xmlns:r="http://schemas.openxmlformats.org/officeDocument/2006/relationships" xmlns:p="http://schemas.openxmlformats.org/presentationml/2006/main">
  <p:tag name="MIO_GUID" val="62c0e291-322d-48e4-b2ee-61311415967a"/>
</p:tagLst>
</file>

<file path=ppt/tags/tag53.xml><?xml version="1.0" encoding="utf-8"?>
<p:tagLst xmlns:a="http://schemas.openxmlformats.org/drawingml/2006/main" xmlns:r="http://schemas.openxmlformats.org/officeDocument/2006/relationships" xmlns:p="http://schemas.openxmlformats.org/presentationml/2006/main">
  <p:tag name="MIO_GUID" val="843b7929-3de5-41da-90b6-ece02ad0d7e2"/>
  <p:tag name="MIO_EKGUID" val="d0a4d19b-36c9-4501-89e2-dd5ba87433f7"/>
  <p:tag name="MIO_UPDATE" val="True"/>
  <p:tag name="MIO_VERSION" val="04.03.2020 05:39:33"/>
  <p:tag name="MIO_DBID" val="5D9FD29E-BEEC-40D7-BFBE-407D9085DE5F"/>
  <p:tag name="MIO_LASTDOWNLOADED" val="31.07.2020 11:49:04"/>
  <p:tag name="MIO_OBJECTNAME" val="Responsible investments"/>
  <p:tag name="MIO_LASTEDITORNAME" val="Bhuvaneswari Baskar"/>
</p:tagLst>
</file>

<file path=ppt/tags/tag530.xml><?xml version="1.0" encoding="utf-8"?>
<p:tagLst xmlns:a="http://schemas.openxmlformats.org/drawingml/2006/main" xmlns:r="http://schemas.openxmlformats.org/officeDocument/2006/relationships" xmlns:p="http://schemas.openxmlformats.org/presentationml/2006/main">
  <p:tag name="MIO_GUID" val="b4360cec-58c4-4ee8-ac8b-c7736bf743b5"/>
</p:tagLst>
</file>

<file path=ppt/tags/tag531.xml><?xml version="1.0" encoding="utf-8"?>
<p:tagLst xmlns:a="http://schemas.openxmlformats.org/drawingml/2006/main" xmlns:r="http://schemas.openxmlformats.org/officeDocument/2006/relationships" xmlns:p="http://schemas.openxmlformats.org/presentationml/2006/main">
  <p:tag name="MIO_GUID" val="6e805b14-9ec1-400f-846a-b8af044c3ec8"/>
</p:tagLst>
</file>

<file path=ppt/tags/tag532.xml><?xml version="1.0" encoding="utf-8"?>
<p:tagLst xmlns:a="http://schemas.openxmlformats.org/drawingml/2006/main" xmlns:r="http://schemas.openxmlformats.org/officeDocument/2006/relationships" xmlns:p="http://schemas.openxmlformats.org/presentationml/2006/main">
  <p:tag name="MIO_GUID" val="3628d7cc-d09d-49fa-9fb3-5071a878cd86"/>
</p:tagLst>
</file>

<file path=ppt/tags/tag533.xml><?xml version="1.0" encoding="utf-8"?>
<p:tagLst xmlns:a="http://schemas.openxmlformats.org/drawingml/2006/main" xmlns:r="http://schemas.openxmlformats.org/officeDocument/2006/relationships" xmlns:p="http://schemas.openxmlformats.org/presentationml/2006/main">
  <p:tag name="MIO_GUID" val="1b68bc91-9bed-41bf-85fc-a356570f983e"/>
</p:tagLst>
</file>

<file path=ppt/tags/tag534.xml><?xml version="1.0" encoding="utf-8"?>
<p:tagLst xmlns:a="http://schemas.openxmlformats.org/drawingml/2006/main" xmlns:r="http://schemas.openxmlformats.org/officeDocument/2006/relationships" xmlns:p="http://schemas.openxmlformats.org/presentationml/2006/main">
  <p:tag name="MIO_GUID" val="ba7971a0-0200-481c-aba3-13e119614967"/>
</p:tagLst>
</file>

<file path=ppt/tags/tag535.xml><?xml version="1.0" encoding="utf-8"?>
<p:tagLst xmlns:a="http://schemas.openxmlformats.org/drawingml/2006/main" xmlns:r="http://schemas.openxmlformats.org/officeDocument/2006/relationships" xmlns:p="http://schemas.openxmlformats.org/presentationml/2006/main">
  <p:tag name="MIO_GUID" val="1a0f0a5b-f2ba-415c-86b5-e886dc4e7bfe"/>
</p:tagLst>
</file>

<file path=ppt/tags/tag536.xml><?xml version="1.0" encoding="utf-8"?>
<p:tagLst xmlns:a="http://schemas.openxmlformats.org/drawingml/2006/main" xmlns:r="http://schemas.openxmlformats.org/officeDocument/2006/relationships" xmlns:p="http://schemas.openxmlformats.org/presentationml/2006/main">
  <p:tag name="MIO_GUID" val="5bfa3d0a-ee8b-4485-9800-67c01722a0ef"/>
</p:tagLst>
</file>

<file path=ppt/tags/tag537.xml><?xml version="1.0" encoding="utf-8"?>
<p:tagLst xmlns:a="http://schemas.openxmlformats.org/drawingml/2006/main" xmlns:r="http://schemas.openxmlformats.org/officeDocument/2006/relationships" xmlns:p="http://schemas.openxmlformats.org/presentationml/2006/main">
  <p:tag name="MIO_GUID" val="da4a7713-c347-4c50-b453-f1207e74c717"/>
</p:tagLst>
</file>

<file path=ppt/tags/tag538.xml><?xml version="1.0" encoding="utf-8"?>
<p:tagLst xmlns:a="http://schemas.openxmlformats.org/drawingml/2006/main" xmlns:r="http://schemas.openxmlformats.org/officeDocument/2006/relationships" xmlns:p="http://schemas.openxmlformats.org/presentationml/2006/main">
  <p:tag name="MIO_GUID" val="906e581e-cff0-42b0-bbdc-70edd6ed3463"/>
</p:tagLst>
</file>

<file path=ppt/tags/tag539.xml><?xml version="1.0" encoding="utf-8"?>
<p:tagLst xmlns:a="http://schemas.openxmlformats.org/drawingml/2006/main" xmlns:r="http://schemas.openxmlformats.org/officeDocument/2006/relationships" xmlns:p="http://schemas.openxmlformats.org/presentationml/2006/main">
  <p:tag name="MIO_GUID" val="f0278dc6-f7a3-4fd9-b44a-4ffefc0ae30c"/>
</p:tagLst>
</file>

<file path=ppt/tags/tag54.xml><?xml version="1.0" encoding="utf-8"?>
<p:tagLst xmlns:a="http://schemas.openxmlformats.org/drawingml/2006/main" xmlns:r="http://schemas.openxmlformats.org/officeDocument/2006/relationships" xmlns:p="http://schemas.openxmlformats.org/presentationml/2006/main">
  <p:tag name="MIO_GUID" val="0af9a7e4-fc22-49b4-b0f9-5c4715605102"/>
  <p:tag name="MIO_EKGUID" val="dfb20f76-d1bb-4cbc-a87b-11d85457d6d2"/>
  <p:tag name="MIO_UPDATE" val="True"/>
  <p:tag name="MIO_VERSION" val="02.08.2019 07:01:13"/>
  <p:tag name="MIO_DBID" val="5D9FD29E-BEEC-40D7-BFBE-407D9085DE5F"/>
  <p:tag name="MIO_LASTDOWNLOADED" val="31.07.2020 11:44:02"/>
  <p:tag name="MIO_OBJECTNAME" val="Globe"/>
  <p:tag name="MIO_LASTEDITORNAME" val="Bhuvaneswari Baskar"/>
</p:tagLst>
</file>

<file path=ppt/tags/tag540.xml><?xml version="1.0" encoding="utf-8"?>
<p:tagLst xmlns:a="http://schemas.openxmlformats.org/drawingml/2006/main" xmlns:r="http://schemas.openxmlformats.org/officeDocument/2006/relationships" xmlns:p="http://schemas.openxmlformats.org/presentationml/2006/main">
  <p:tag name="MIO_GUID" val="650ff2a5-8997-4332-a638-70c541a6dfda"/>
</p:tagLst>
</file>

<file path=ppt/tags/tag541.xml><?xml version="1.0" encoding="utf-8"?>
<p:tagLst xmlns:a="http://schemas.openxmlformats.org/drawingml/2006/main" xmlns:r="http://schemas.openxmlformats.org/officeDocument/2006/relationships" xmlns:p="http://schemas.openxmlformats.org/presentationml/2006/main">
  <p:tag name="MIO_GUID" val="b3fefc40-d580-43d0-bb25-f182bde38f9e"/>
</p:tagLst>
</file>

<file path=ppt/tags/tag542.xml><?xml version="1.0" encoding="utf-8"?>
<p:tagLst xmlns:a="http://schemas.openxmlformats.org/drawingml/2006/main" xmlns:r="http://schemas.openxmlformats.org/officeDocument/2006/relationships" xmlns:p="http://schemas.openxmlformats.org/presentationml/2006/main">
  <p:tag name="MIO_GUID" val="c2861220-6e88-4ec7-87f7-3c8f26b4c051"/>
</p:tagLst>
</file>

<file path=ppt/tags/tag543.xml><?xml version="1.0" encoding="utf-8"?>
<p:tagLst xmlns:a="http://schemas.openxmlformats.org/drawingml/2006/main" xmlns:r="http://schemas.openxmlformats.org/officeDocument/2006/relationships" xmlns:p="http://schemas.openxmlformats.org/presentationml/2006/main">
  <p:tag name="MIO_GUID" val="c18d3524-35a9-4a57-8df7-84e6b5665f5b"/>
</p:tagLst>
</file>

<file path=ppt/tags/tag544.xml><?xml version="1.0" encoding="utf-8"?>
<p:tagLst xmlns:a="http://schemas.openxmlformats.org/drawingml/2006/main" xmlns:r="http://schemas.openxmlformats.org/officeDocument/2006/relationships" xmlns:p="http://schemas.openxmlformats.org/presentationml/2006/main">
  <p:tag name="MIO_GUID" val="52878307-b0c3-4793-95dd-077187b563fe"/>
</p:tagLst>
</file>

<file path=ppt/tags/tag545.xml><?xml version="1.0" encoding="utf-8"?>
<p:tagLst xmlns:a="http://schemas.openxmlformats.org/drawingml/2006/main" xmlns:r="http://schemas.openxmlformats.org/officeDocument/2006/relationships" xmlns:p="http://schemas.openxmlformats.org/presentationml/2006/main">
  <p:tag name="MIO_GUID" val="d777f433-07dd-4112-a6f1-531607ed1b66"/>
</p:tagLst>
</file>

<file path=ppt/tags/tag546.xml><?xml version="1.0" encoding="utf-8"?>
<p:tagLst xmlns:a="http://schemas.openxmlformats.org/drawingml/2006/main" xmlns:r="http://schemas.openxmlformats.org/officeDocument/2006/relationships" xmlns:p="http://schemas.openxmlformats.org/presentationml/2006/main">
  <p:tag name="MIO_GUID" val="9188b9e0-2785-4f06-a97e-86d170781e43"/>
</p:tagLst>
</file>

<file path=ppt/tags/tag547.xml><?xml version="1.0" encoding="utf-8"?>
<p:tagLst xmlns:a="http://schemas.openxmlformats.org/drawingml/2006/main" xmlns:r="http://schemas.openxmlformats.org/officeDocument/2006/relationships" xmlns:p="http://schemas.openxmlformats.org/presentationml/2006/main">
  <p:tag name="MIO_GUID" val="71d63828-a118-42a5-8aa1-2f6512c3f669"/>
</p:tagLst>
</file>

<file path=ppt/tags/tag548.xml><?xml version="1.0" encoding="utf-8"?>
<p:tagLst xmlns:a="http://schemas.openxmlformats.org/drawingml/2006/main" xmlns:r="http://schemas.openxmlformats.org/officeDocument/2006/relationships" xmlns:p="http://schemas.openxmlformats.org/presentationml/2006/main">
  <p:tag name="MIO_GUID" val="2e2662f9-361a-4492-9a0d-f5d1b361d9a4"/>
</p:tagLst>
</file>

<file path=ppt/tags/tag549.xml><?xml version="1.0" encoding="utf-8"?>
<p:tagLst xmlns:a="http://schemas.openxmlformats.org/drawingml/2006/main" xmlns:r="http://schemas.openxmlformats.org/officeDocument/2006/relationships" xmlns:p="http://schemas.openxmlformats.org/presentationml/2006/main">
  <p:tag name="MIO_GUID" val="61e259b6-4918-4936-9fc1-e13dd15fd649"/>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MIO_GUID" val="2e6c2d4d-0ab1-4a8b-9a29-075cb88492ca"/>
</p:tagLst>
</file>

<file path=ppt/tags/tag551.xml><?xml version="1.0" encoding="utf-8"?>
<p:tagLst xmlns:a="http://schemas.openxmlformats.org/drawingml/2006/main" xmlns:r="http://schemas.openxmlformats.org/officeDocument/2006/relationships" xmlns:p="http://schemas.openxmlformats.org/presentationml/2006/main">
  <p:tag name="MIO_GUID" val="8a051dd4-7f90-46e9-8ee7-52c02a14aa73"/>
</p:tagLst>
</file>

<file path=ppt/tags/tag552.xml><?xml version="1.0" encoding="utf-8"?>
<p:tagLst xmlns:a="http://schemas.openxmlformats.org/drawingml/2006/main" xmlns:r="http://schemas.openxmlformats.org/officeDocument/2006/relationships" xmlns:p="http://schemas.openxmlformats.org/presentationml/2006/main">
  <p:tag name="MIO_GUID" val="979785aa-4f92-4c48-80dc-35c45f59d0d3"/>
</p:tagLst>
</file>

<file path=ppt/tags/tag553.xml><?xml version="1.0" encoding="utf-8"?>
<p:tagLst xmlns:a="http://schemas.openxmlformats.org/drawingml/2006/main" xmlns:r="http://schemas.openxmlformats.org/officeDocument/2006/relationships" xmlns:p="http://schemas.openxmlformats.org/presentationml/2006/main">
  <p:tag name="MIO_GUID" val="120338cc-597b-4ea2-9273-73b87516f1b1"/>
</p:tagLst>
</file>

<file path=ppt/tags/tag554.xml><?xml version="1.0" encoding="utf-8"?>
<p:tagLst xmlns:a="http://schemas.openxmlformats.org/drawingml/2006/main" xmlns:r="http://schemas.openxmlformats.org/officeDocument/2006/relationships" xmlns:p="http://schemas.openxmlformats.org/presentationml/2006/main">
  <p:tag name="MIO_GUID" val="d8701d8d-99a9-488e-b778-02c44a1dc2e5"/>
</p:tagLst>
</file>

<file path=ppt/tags/tag555.xml><?xml version="1.0" encoding="utf-8"?>
<p:tagLst xmlns:a="http://schemas.openxmlformats.org/drawingml/2006/main" xmlns:r="http://schemas.openxmlformats.org/officeDocument/2006/relationships" xmlns:p="http://schemas.openxmlformats.org/presentationml/2006/main">
  <p:tag name="MIO_GUID" val="10b79896-0ffd-4b22-b716-50a6db0eeb4f"/>
</p:tagLst>
</file>

<file path=ppt/tags/tag556.xml><?xml version="1.0" encoding="utf-8"?>
<p:tagLst xmlns:a="http://schemas.openxmlformats.org/drawingml/2006/main" xmlns:r="http://schemas.openxmlformats.org/officeDocument/2006/relationships" xmlns:p="http://schemas.openxmlformats.org/presentationml/2006/main">
  <p:tag name="MIO_GUID" val="e1dc4133-4da0-4c42-9df1-c53c4188e7ea"/>
</p:tagLst>
</file>

<file path=ppt/tags/tag557.xml><?xml version="1.0" encoding="utf-8"?>
<p:tagLst xmlns:a="http://schemas.openxmlformats.org/drawingml/2006/main" xmlns:r="http://schemas.openxmlformats.org/officeDocument/2006/relationships" xmlns:p="http://schemas.openxmlformats.org/presentationml/2006/main">
  <p:tag name="MIO_GUID" val="a201d40b-01a1-491d-bf39-7c323f95030c"/>
</p:tagLst>
</file>

<file path=ppt/tags/tag558.xml><?xml version="1.0" encoding="utf-8"?>
<p:tagLst xmlns:a="http://schemas.openxmlformats.org/drawingml/2006/main" xmlns:r="http://schemas.openxmlformats.org/officeDocument/2006/relationships" xmlns:p="http://schemas.openxmlformats.org/presentationml/2006/main">
  <p:tag name="MIO_GUID" val="992503e5-d420-4edd-bdd2-0d585a2a7012"/>
</p:tagLst>
</file>

<file path=ppt/tags/tag559.xml><?xml version="1.0" encoding="utf-8"?>
<p:tagLst xmlns:a="http://schemas.openxmlformats.org/drawingml/2006/main" xmlns:r="http://schemas.openxmlformats.org/officeDocument/2006/relationships" xmlns:p="http://schemas.openxmlformats.org/presentationml/2006/main">
  <p:tag name="MIO_GUID" val="d8c07952-0626-42f0-a976-b1615dbf8000"/>
</p:tagLst>
</file>

<file path=ppt/tags/tag56.xml><?xml version="1.0" encoding="utf-8"?>
<p:tagLst xmlns:a="http://schemas.openxmlformats.org/drawingml/2006/main" xmlns:r="http://schemas.openxmlformats.org/officeDocument/2006/relationships" xmlns:p="http://schemas.openxmlformats.org/presentationml/2006/main">
  <p:tag name="MIO_GUID" val="4dd06ab2-9523-4747-9123-6ee4044a24e9"/>
  <p:tag name="MIO_EKGUID" val="9c39bd5d-7904-4267-a690-ed22f834bb9c"/>
  <p:tag name="MIO_UPDATE" val="True"/>
  <p:tag name="MIO_VERSION" val="01.08.2019 11:28:08"/>
  <p:tag name="MIO_DBID" val="5D9FD29E-BEEC-40D7-BFBE-407D9085DE5F"/>
  <p:tag name="MIO_LASTDOWNLOADED" val="11.09.2019 13:00:50"/>
  <p:tag name="MIO_OBJECTNAME" val="Develop team"/>
  <p:tag name="MIO_LASTEDITORNAME" val="Bhuvaneswari Baskar"/>
</p:tagLst>
</file>

<file path=ppt/tags/tag560.xml><?xml version="1.0" encoding="utf-8"?>
<p:tagLst xmlns:a="http://schemas.openxmlformats.org/drawingml/2006/main" xmlns:r="http://schemas.openxmlformats.org/officeDocument/2006/relationships" xmlns:p="http://schemas.openxmlformats.org/presentationml/2006/main">
  <p:tag name="MIO_GUID" val="22313129-bd20-4c3a-b48f-a0ba82d2619b"/>
</p:tagLst>
</file>

<file path=ppt/tags/tag561.xml><?xml version="1.0" encoding="utf-8"?>
<p:tagLst xmlns:a="http://schemas.openxmlformats.org/drawingml/2006/main" xmlns:r="http://schemas.openxmlformats.org/officeDocument/2006/relationships" xmlns:p="http://schemas.openxmlformats.org/presentationml/2006/main">
  <p:tag name="MIO_GUID" val="a13dfca7-1456-4c76-9be8-e4287f7553da"/>
</p:tagLst>
</file>

<file path=ppt/tags/tag562.xml><?xml version="1.0" encoding="utf-8"?>
<p:tagLst xmlns:a="http://schemas.openxmlformats.org/drawingml/2006/main" xmlns:r="http://schemas.openxmlformats.org/officeDocument/2006/relationships" xmlns:p="http://schemas.openxmlformats.org/presentationml/2006/main">
  <p:tag name="MIO_GUID" val="9c3ff1b3-60e0-4dc8-a695-8c14c74d1f9b"/>
</p:tagLst>
</file>

<file path=ppt/tags/tag563.xml><?xml version="1.0" encoding="utf-8"?>
<p:tagLst xmlns:a="http://schemas.openxmlformats.org/drawingml/2006/main" xmlns:r="http://schemas.openxmlformats.org/officeDocument/2006/relationships" xmlns:p="http://schemas.openxmlformats.org/presentationml/2006/main">
  <p:tag name="MIO_GUID" val="de8c9b64-0d18-4b55-b605-51bfc26e0d6c"/>
</p:tagLst>
</file>

<file path=ppt/tags/tag564.xml><?xml version="1.0" encoding="utf-8"?>
<p:tagLst xmlns:a="http://schemas.openxmlformats.org/drawingml/2006/main" xmlns:r="http://schemas.openxmlformats.org/officeDocument/2006/relationships" xmlns:p="http://schemas.openxmlformats.org/presentationml/2006/main">
  <p:tag name="MIO_GUID" val="5348f343-63b6-4ac1-9dcb-fec14c1dee1f"/>
</p:tagLst>
</file>

<file path=ppt/tags/tag565.xml><?xml version="1.0" encoding="utf-8"?>
<p:tagLst xmlns:a="http://schemas.openxmlformats.org/drawingml/2006/main" xmlns:r="http://schemas.openxmlformats.org/officeDocument/2006/relationships" xmlns:p="http://schemas.openxmlformats.org/presentationml/2006/main">
  <p:tag name="MIO_GUID" val="3cbb5d23-090d-426b-bc05-e39a4e493d7e"/>
</p:tagLst>
</file>

<file path=ppt/tags/tag566.xml><?xml version="1.0" encoding="utf-8"?>
<p:tagLst xmlns:a="http://schemas.openxmlformats.org/drawingml/2006/main" xmlns:r="http://schemas.openxmlformats.org/officeDocument/2006/relationships" xmlns:p="http://schemas.openxmlformats.org/presentationml/2006/main">
  <p:tag name="MIO_GUID" val="5d887d7d-0312-4b00-bd4a-4da996925657"/>
  <p:tag name="MIO_EKGUID" val="64af18fe-f17c-42f5-89c9-b40823cb746b"/>
  <p:tag name="MIO_UPDATE" val="True"/>
  <p:tag name="MIO_VERSION" val="14.11.2017 15:09:47"/>
  <p:tag name="MIO_DBID" val="5D9FD29E-BEEC-40D7-BFBE-407D9085DE5F"/>
  <p:tag name="MIO_LASTDOWNLOADED" val="23.09.2018 11:39:59"/>
  <p:tag name="MIO_OBJECTNAME" val="Magnifiying glass"/>
  <p:tag name="MIO_LASTEDITORNAME" val="Elisabeth Roman"/>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MIO_GUID" val="5d887d7d-0312-4b00-bd4a-4da996925657"/>
  <p:tag name="MIO_EKGUID" val="64af18fe-f17c-42f5-89c9-b40823cb746b"/>
  <p:tag name="MIO_UPDATE" val="True"/>
  <p:tag name="MIO_VERSION" val="14.11.2017 15:09:47"/>
  <p:tag name="MIO_DBID" val="5D9FD29E-BEEC-40D7-BFBE-407D9085DE5F"/>
  <p:tag name="MIO_LASTDOWNLOADED" val="23.09.2018 11:39:59"/>
  <p:tag name="MIO_OBJECTNAME" val="Magnifiying glass"/>
  <p:tag name="MIO_LASTEDITORNAME" val="Elisabeth Roman"/>
</p:tagLst>
</file>

<file path=ppt/tags/tag569.xml><?xml version="1.0" encoding="utf-8"?>
<p:tagLst xmlns:a="http://schemas.openxmlformats.org/drawingml/2006/main" xmlns:r="http://schemas.openxmlformats.org/officeDocument/2006/relationships" xmlns:p="http://schemas.openxmlformats.org/presentationml/2006/main">
  <p:tag name="MIO_GUID" val="5d887d7d-0312-4b00-bd4a-4da996925657"/>
  <p:tag name="MIO_EKGUID" val="64af18fe-f17c-42f5-89c9-b40823cb746b"/>
  <p:tag name="MIO_UPDATE" val="True"/>
  <p:tag name="MIO_VERSION" val="14.11.2017 15:09:47"/>
  <p:tag name="MIO_DBID" val="5D9FD29E-BEEC-40D7-BFBE-407D9085DE5F"/>
  <p:tag name="MIO_LASTDOWNLOADED" val="23.09.2018 11:39:59"/>
  <p:tag name="MIO_OBJECTNAME" val="Magnifiying glass"/>
  <p:tag name="MIO_LASTEDITORNAME" val="Elisabeth Roman"/>
</p:tagLst>
</file>

<file path=ppt/tags/tag57.xml><?xml version="1.0" encoding="utf-8"?>
<p:tagLst xmlns:a="http://schemas.openxmlformats.org/drawingml/2006/main" xmlns:r="http://schemas.openxmlformats.org/officeDocument/2006/relationships" xmlns:p="http://schemas.openxmlformats.org/presentationml/2006/main">
  <p:tag name="MIO_GUID" val="23a5cab0-a9e8-4425-8123-8dc2db1e8dbf"/>
  <p:tag name="MIO_EKGUID" val="fda85d4d-eb11-4281-bf5c-fa2fd2de5b09"/>
  <p:tag name="MIO_UPDATE" val="True"/>
  <p:tag name="MIO_VERSION" val="31.07.2019 06:56:41"/>
  <p:tag name="MIO_DBID" val="5D9FD29E-BEEC-40D7-BFBE-407D9085DE5F"/>
  <p:tag name="MIO_LASTDOWNLOADED" val="30.12.2019 00:35:26"/>
  <p:tag name="MIO_OBJECTNAME" val="Weekly meeting"/>
  <p:tag name="MIO_LASTEDITORNAME" val="Bhuvaneswari Baskar"/>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MIO_GUID" val="5496613a-97b6-421c-8604-e51a75b0a1e3"/>
  <p:tag name="MIO_EKGUID" val="da754ef8-e6e5-4e0c-bb69-8a2ec17b3f54"/>
  <p:tag name="MIO_UPDATE" val="True"/>
  <p:tag name="MIO_VERSION" val="14.11.2017 17:12:25"/>
  <p:tag name="MIO_DBID" val="5D9FD29E-BEEC-40D7-BFBE-407D9085DE5F"/>
  <p:tag name="MIO_LASTDOWNLOADED" val="23.09.2018 11:38:58"/>
  <p:tag name="MIO_OBJECTNAME" val="Advisory service"/>
  <p:tag name="MIO_LASTEDITORNAME" val="Elisabeth Roman"/>
</p:tagLst>
</file>

<file path=ppt/tags/tag572.xml><?xml version="1.0" encoding="utf-8"?>
<p:tagLst xmlns:a="http://schemas.openxmlformats.org/drawingml/2006/main" xmlns:r="http://schemas.openxmlformats.org/officeDocument/2006/relationships" xmlns:p="http://schemas.openxmlformats.org/presentationml/2006/main">
  <p:tag name="MIO_GUID" val="5d64b108-947a-4441-b254-344e9d933f80"/>
  <p:tag name="MIO_EKGUID" val="1b9a6028-27af-4dbe-ac3e-21c45bbcccfd"/>
  <p:tag name="MIO_UPDATE" val="True"/>
  <p:tag name="MIO_VERSION" val="07.02.2019 12:26:51"/>
  <p:tag name="MIO_DBID" val="5D9FD29E-BEEC-40D7-BFBE-407D9085DE5F"/>
  <p:tag name="MIO_LASTDOWNLOADED" val="17.06.2020 12:41:51"/>
  <p:tag name="MIO_OBJECTNAME" val="Nordic Region"/>
  <p:tag name="MIO_LASTEDITORNAME" val="Elisabeth Roman"/>
</p:tagLst>
</file>

<file path=ppt/tags/tag573.xml><?xml version="1.0" encoding="utf-8"?>
<p:tagLst xmlns:a="http://schemas.openxmlformats.org/drawingml/2006/main" xmlns:r="http://schemas.openxmlformats.org/officeDocument/2006/relationships" xmlns:p="http://schemas.openxmlformats.org/presentationml/2006/main">
  <p:tag name="MIO_GUID" val="af94e36b-647b-488e-9816-ddfd7e46d902"/>
  <p:tag name="MIO_EKGUID" val="337b55ae-7e3a-4302-a204-25533af280e2"/>
  <p:tag name="MIO_UPDATE" val="True"/>
  <p:tag name="MIO_VERSION" val="12.07.2018 09:22:02"/>
  <p:tag name="MIO_DBID" val="5D9FD29E-BEEC-40D7-BFBE-407D9085DE5F"/>
  <p:tag name="MIO_LASTDOWNLOADED" val="18.10.2018 10:08:44"/>
  <p:tag name="MIO_OBJECTNAME" val="Denmark_DK"/>
  <p:tag name="MIO_LASTEDITORNAME" val="Bhuvaneswari Baskar"/>
</p:tagLst>
</file>

<file path=ppt/tags/tag574.xml><?xml version="1.0" encoding="utf-8"?>
<p:tagLst xmlns:a="http://schemas.openxmlformats.org/drawingml/2006/main" xmlns:r="http://schemas.openxmlformats.org/officeDocument/2006/relationships" xmlns:p="http://schemas.openxmlformats.org/presentationml/2006/main">
  <p:tag name="MIO_GUID" val="5988480d-3a2c-420f-9b8b-8d7f738e5c6b"/>
  <p:tag name="MIO_EKGUID" val="ceefdd26-817d-4aa4-bcfa-6649c5569b1f"/>
  <p:tag name="MIO_UPDATE" val="True"/>
  <p:tag name="MIO_VERSION" val="12.07.2018 09:22:26"/>
  <p:tag name="MIO_DBID" val="5D9FD29E-BEEC-40D7-BFBE-407D9085DE5F"/>
  <p:tag name="MIO_LASTDOWNLOADED" val="18.10.2018 10:08:14"/>
  <p:tag name="MIO_OBJECTNAME" val="Finland_FI"/>
  <p:tag name="MIO_LASTEDITORNAME" val="Bhuvaneswari Baskar"/>
</p:tagLst>
</file>

<file path=ppt/tags/tag575.xml><?xml version="1.0" encoding="utf-8"?>
<p:tagLst xmlns:a="http://schemas.openxmlformats.org/drawingml/2006/main" xmlns:r="http://schemas.openxmlformats.org/officeDocument/2006/relationships" xmlns:p="http://schemas.openxmlformats.org/presentationml/2006/main">
  <p:tag name="MIO_GUID" val="3d631141-7239-4226-ba4a-560f2bc4d8b7"/>
  <p:tag name="MIO_EKGUID" val="19c11c73-f87e-40f0-b256-a27151ef25ac"/>
  <p:tag name="MIO_UPDATE" val="True"/>
  <p:tag name="MIO_VERSION" val="12.07.2018 09:25:30"/>
  <p:tag name="MIO_DBID" val="5D9FD29E-BEEC-40D7-BFBE-407D9085DE5F"/>
  <p:tag name="MIO_LASTDOWNLOADED" val="18.10.2018 10:07:56"/>
  <p:tag name="MIO_OBJECTNAME" val="Sweden_SE"/>
  <p:tag name="MIO_LASTEDITORNAME" val="Bhuvaneswari Baskar"/>
</p:tagLst>
</file>

<file path=ppt/tags/tag576.xml><?xml version="1.0" encoding="utf-8"?>
<p:tagLst xmlns:a="http://schemas.openxmlformats.org/drawingml/2006/main" xmlns:r="http://schemas.openxmlformats.org/officeDocument/2006/relationships" xmlns:p="http://schemas.openxmlformats.org/presentationml/2006/main">
  <p:tag name="MIO_GUID" val="e977f6bb-ad47-4bdf-b24d-e647d332e71a"/>
  <p:tag name="MIO_EKGUID" val="bbaaf1b8-33d9-40f8-a1af-5e20b31b9142"/>
  <p:tag name="MIO_UPDATE" val="True"/>
  <p:tag name="MIO_VERSION" val="12.07.2018 09:24:29"/>
  <p:tag name="MIO_DBID" val="5D9FD29E-BEEC-40D7-BFBE-407D9085DE5F"/>
  <p:tag name="MIO_LASTDOWNLOADED" val="18.10.2018 10:07:32"/>
  <p:tag name="MIO_OBJECTNAME" val="Norway_NO"/>
  <p:tag name="MIO_LASTEDITORNAME" val="Bhuvaneswari Baskar"/>
</p:tagLst>
</file>

<file path=ppt/tags/tag577.xml><?xml version="1.0" encoding="utf-8"?>
<p:tagLst xmlns:a="http://schemas.openxmlformats.org/drawingml/2006/main" xmlns:r="http://schemas.openxmlformats.org/officeDocument/2006/relationships" xmlns:p="http://schemas.openxmlformats.org/presentationml/2006/main">
  <p:tag name="MIO_GUID" val="0118fee4-e5fb-4864-8ffb-4505edd8eb26"/>
</p:tagLst>
</file>

<file path=ppt/tags/tag578.xml><?xml version="1.0" encoding="utf-8"?>
<p:tagLst xmlns:a="http://schemas.openxmlformats.org/drawingml/2006/main" xmlns:r="http://schemas.openxmlformats.org/officeDocument/2006/relationships" xmlns:p="http://schemas.openxmlformats.org/presentationml/2006/main">
  <p:tag name="MIO_GUID" val="fc6adcd8-07c0-4d7c-84cf-c0c95c614803"/>
</p:tagLst>
</file>

<file path=ppt/tags/tag579.xml><?xml version="1.0" encoding="utf-8"?>
<p:tagLst xmlns:a="http://schemas.openxmlformats.org/drawingml/2006/main" xmlns:r="http://schemas.openxmlformats.org/officeDocument/2006/relationships" xmlns:p="http://schemas.openxmlformats.org/presentationml/2006/main">
  <p:tag name="MIO_GUID" val="ff3b59c8-56df-4301-a8dc-7a382913178b"/>
</p:tagLst>
</file>

<file path=ppt/tags/tag58.xml><?xml version="1.0" encoding="utf-8"?>
<p:tagLst xmlns:a="http://schemas.openxmlformats.org/drawingml/2006/main" xmlns:r="http://schemas.openxmlformats.org/officeDocument/2006/relationships" xmlns:p="http://schemas.openxmlformats.org/presentationml/2006/main">
  <p:tag name="MIO_GUID" val="9cb7e64b-0467-4241-a525-cbf89d43509a"/>
  <p:tag name="MIO_EKGUID" val="19358bce-6826-4d99-a68a-ab8ee9234098"/>
  <p:tag name="MIO_UPDATE" val="True"/>
  <p:tag name="MIO_VERSION" val="01.08.2019 05:20:09"/>
  <p:tag name="MIO_DBID" val="5D9FD29E-BEEC-40D7-BFBE-407D9085DE5F"/>
  <p:tag name="MIO_LASTDOWNLOADED" val="30.12.2019 00:09:02"/>
  <p:tag name="MIO_OBJECTNAME" val="Awareness"/>
  <p:tag name="MIO_LASTEDITORNAME" val="Bhuvaneswari Baskar"/>
</p:tagLst>
</file>

<file path=ppt/tags/tag580.xml><?xml version="1.0" encoding="utf-8"?>
<p:tagLst xmlns:a="http://schemas.openxmlformats.org/drawingml/2006/main" xmlns:r="http://schemas.openxmlformats.org/officeDocument/2006/relationships" xmlns:p="http://schemas.openxmlformats.org/presentationml/2006/main">
  <p:tag name="MIO_GUID" val="efe27f3d-65ad-469c-a6c6-495a438f2886"/>
</p:tagLst>
</file>

<file path=ppt/tags/tag581.xml><?xml version="1.0" encoding="utf-8"?>
<p:tagLst xmlns:a="http://schemas.openxmlformats.org/drawingml/2006/main" xmlns:r="http://schemas.openxmlformats.org/officeDocument/2006/relationships" xmlns:p="http://schemas.openxmlformats.org/presentationml/2006/main">
  <p:tag name="MIO_GUID" val="8c3c4f30-0168-49af-9466-9980f9a4df0d"/>
  <p:tag name="MIO_EKGUID" val="d7e353e2-f73e-45c5-babc-5dfd4f9eb008"/>
  <p:tag name="MIO_UPDATE" val="True"/>
  <p:tag name="MIO_VERSION" val="13.03.2018 08:47:22"/>
  <p:tag name="MIO_DBID" val="5D9FD29E-BEEC-40D7-BFBE-407D9085DE5F"/>
  <p:tag name="MIO_LASTDOWNLOADED" val="28.07.2020 11:04:02"/>
  <p:tag name="MIO_OBJECTNAME" val="Europe"/>
  <p:tag name="MIO_LASTEDITORNAME" val="Daniel J"/>
</p:tagLst>
</file>

<file path=ppt/tags/tag582.xml><?xml version="1.0" encoding="utf-8"?>
<p:tagLst xmlns:a="http://schemas.openxmlformats.org/drawingml/2006/main" xmlns:r="http://schemas.openxmlformats.org/officeDocument/2006/relationships" xmlns:p="http://schemas.openxmlformats.org/presentationml/2006/main">
  <p:tag name="MIO_GUID" val="b24b118e-a9eb-4b72-b91f-83fdb100e056"/>
  <p:tag name="MIO_EKGUID" val="bc16c826-34bd-46a9-bb1d-77b8e36ff833"/>
  <p:tag name="MIO_UPDATE" val="True"/>
  <p:tag name="MIO_VERSION" val="12.07.2018 09:25:59"/>
  <p:tag name="MIO_DBID" val="5D9FD29E-BEEC-40D7-BFBE-407D9085DE5F"/>
  <p:tag name="MIO_LASTDOWNLOADED" val="23.09.2018 09:09:14"/>
  <p:tag name="MIO_OBJECTNAME" val="USA_US"/>
  <p:tag name="MIO_LASTEDITORNAME" val="Bhuvaneswari Baskar"/>
</p:tagLst>
</file>

<file path=ppt/tags/tag583.xml><?xml version="1.0" encoding="utf-8"?>
<p:tagLst xmlns:a="http://schemas.openxmlformats.org/drawingml/2006/main" xmlns:r="http://schemas.openxmlformats.org/officeDocument/2006/relationships" xmlns:p="http://schemas.openxmlformats.org/presentationml/2006/main">
  <p:tag name="MIO_GUID" val="5496613a-97b6-421c-8604-e51a75b0a1e3"/>
  <p:tag name="MIO_EKGUID" val="da754ef8-e6e5-4e0c-bb69-8a2ec17b3f54"/>
  <p:tag name="MIO_UPDATE" val="True"/>
  <p:tag name="MIO_VERSION" val="14.11.2017 17:12:25"/>
  <p:tag name="MIO_DBID" val="5D9FD29E-BEEC-40D7-BFBE-407D9085DE5F"/>
  <p:tag name="MIO_LASTDOWNLOADED" val="23.09.2018 11:38:58"/>
  <p:tag name="MIO_OBJECTNAME" val="Advisory service"/>
  <p:tag name="MIO_LASTEDITORNAME" val="Elisabeth Roman"/>
</p:tagLst>
</file>

<file path=ppt/tags/tag584.xml><?xml version="1.0" encoding="utf-8"?>
<p:tagLst xmlns:a="http://schemas.openxmlformats.org/drawingml/2006/main" xmlns:r="http://schemas.openxmlformats.org/officeDocument/2006/relationships" xmlns:p="http://schemas.openxmlformats.org/presentationml/2006/main">
  <p:tag name="MIO_GUID" val="602bc0a3-001e-4ea4-a673-0a8cbad02c38"/>
</p:tagLst>
</file>

<file path=ppt/tags/tag585.xml><?xml version="1.0" encoding="utf-8"?>
<p:tagLst xmlns:a="http://schemas.openxmlformats.org/drawingml/2006/main" xmlns:r="http://schemas.openxmlformats.org/officeDocument/2006/relationships" xmlns:p="http://schemas.openxmlformats.org/presentationml/2006/main">
  <p:tag name="MIO_GUID" val="4e6cc1df-0ce8-4cb1-b321-881833ed02a3"/>
</p:tagLst>
</file>

<file path=ppt/tags/tag586.xml><?xml version="1.0" encoding="utf-8"?>
<p:tagLst xmlns:a="http://schemas.openxmlformats.org/drawingml/2006/main" xmlns:r="http://schemas.openxmlformats.org/officeDocument/2006/relationships" xmlns:p="http://schemas.openxmlformats.org/presentationml/2006/main">
  <p:tag name="MIO_GUID" val="44483bbc-713a-4754-97fc-6db274584662"/>
</p:tagLst>
</file>

<file path=ppt/tags/tag587.xml><?xml version="1.0" encoding="utf-8"?>
<p:tagLst xmlns:a="http://schemas.openxmlformats.org/drawingml/2006/main" xmlns:r="http://schemas.openxmlformats.org/officeDocument/2006/relationships" xmlns:p="http://schemas.openxmlformats.org/presentationml/2006/main">
  <p:tag name="MIO_GUID" val="69a883ab-b484-4362-845d-881f60d6909e"/>
</p:tagLst>
</file>

<file path=ppt/tags/tag588.xml><?xml version="1.0" encoding="utf-8"?>
<p:tagLst xmlns:a="http://schemas.openxmlformats.org/drawingml/2006/main" xmlns:r="http://schemas.openxmlformats.org/officeDocument/2006/relationships" xmlns:p="http://schemas.openxmlformats.org/presentationml/2006/main">
  <p:tag name="MIO_GUID" val="d46a4d98-3b1b-4607-84cc-ca6a983be569"/>
</p:tagLst>
</file>

<file path=ppt/tags/tag589.xml><?xml version="1.0" encoding="utf-8"?>
<p:tagLst xmlns:a="http://schemas.openxmlformats.org/drawingml/2006/main" xmlns:r="http://schemas.openxmlformats.org/officeDocument/2006/relationships" xmlns:p="http://schemas.openxmlformats.org/presentationml/2006/main">
  <p:tag name="MIO_GUID" val="cf978dc9-465a-44ec-a1a2-5c7e3af7edde"/>
</p:tagLst>
</file>

<file path=ppt/tags/tag59.xml><?xml version="1.0" encoding="utf-8"?>
<p:tagLst xmlns:a="http://schemas.openxmlformats.org/drawingml/2006/main" xmlns:r="http://schemas.openxmlformats.org/officeDocument/2006/relationships" xmlns:p="http://schemas.openxmlformats.org/presentationml/2006/main">
  <p:tag name="MIO_GUID" val="8630ed61-b994-40da-b63b-1e43c258af65"/>
  <p:tag name="MIO_EKGUID" val="fba3e047-b342-4a3d-888b-13e0dc0a9c7b"/>
  <p:tag name="MIO_UPDATE" val="True"/>
  <p:tag name="MIO_VERSION" val="31.07.2019 06:47:57"/>
  <p:tag name="MIO_DBID" val="5D9FD29E-BEEC-40D7-BFBE-407D9085DE5F"/>
  <p:tag name="MIO_LASTDOWNLOADED" val="13.01.2020 13:24:02"/>
  <p:tag name="MIO_OBJECTNAME" val="Shares"/>
  <p:tag name="MIO_LASTEDITORNAME" val="Bhuvaneswari Baskar"/>
</p:tagLst>
</file>

<file path=ppt/tags/tag590.xml><?xml version="1.0" encoding="utf-8"?>
<p:tagLst xmlns:a="http://schemas.openxmlformats.org/drawingml/2006/main" xmlns:r="http://schemas.openxmlformats.org/officeDocument/2006/relationships" xmlns:p="http://schemas.openxmlformats.org/presentationml/2006/main">
  <p:tag name="MIO_GUID" val="7789597e-f46b-4770-8633-88f616cfe9bd"/>
</p:tagLst>
</file>

<file path=ppt/tags/tag591.xml><?xml version="1.0" encoding="utf-8"?>
<p:tagLst xmlns:a="http://schemas.openxmlformats.org/drawingml/2006/main" xmlns:r="http://schemas.openxmlformats.org/officeDocument/2006/relationships" xmlns:p="http://schemas.openxmlformats.org/presentationml/2006/main">
  <p:tag name="MIO_GUID" val="ef8b1dc1-0ced-4fd7-a109-437bf78c3e0a"/>
</p:tagLst>
</file>

<file path=ppt/tags/tag592.xml><?xml version="1.0" encoding="utf-8"?>
<p:tagLst xmlns:a="http://schemas.openxmlformats.org/drawingml/2006/main" xmlns:r="http://schemas.openxmlformats.org/officeDocument/2006/relationships" xmlns:p="http://schemas.openxmlformats.org/presentationml/2006/main">
  <p:tag name="MIO_GUID" val="6aaf244f-6f46-40c1-a38b-f832626e6a98"/>
</p:tagLst>
</file>

<file path=ppt/tags/tag593.xml><?xml version="1.0" encoding="utf-8"?>
<p:tagLst xmlns:a="http://schemas.openxmlformats.org/drawingml/2006/main" xmlns:r="http://schemas.openxmlformats.org/officeDocument/2006/relationships" xmlns:p="http://schemas.openxmlformats.org/presentationml/2006/main">
  <p:tag name="MIO_GUID" val="33ebefe9-86df-4fdb-b366-b10108ea23fe"/>
</p:tagLst>
</file>

<file path=ppt/tags/tag594.xml><?xml version="1.0" encoding="utf-8"?>
<p:tagLst xmlns:a="http://schemas.openxmlformats.org/drawingml/2006/main" xmlns:r="http://schemas.openxmlformats.org/officeDocument/2006/relationships" xmlns:p="http://schemas.openxmlformats.org/presentationml/2006/main">
  <p:tag name="MIO_GUID" val="c430ca63-f76c-41a2-85c6-43b4897ff616"/>
</p:tagLst>
</file>

<file path=ppt/tags/tag595.xml><?xml version="1.0" encoding="utf-8"?>
<p:tagLst xmlns:a="http://schemas.openxmlformats.org/drawingml/2006/main" xmlns:r="http://schemas.openxmlformats.org/officeDocument/2006/relationships" xmlns:p="http://schemas.openxmlformats.org/presentationml/2006/main">
  <p:tag name="MIO_GUID" val="dcd64ca2-9b15-453a-ad86-9fd39c4e01b6"/>
</p:tagLst>
</file>

<file path=ppt/tags/tag596.xml><?xml version="1.0" encoding="utf-8"?>
<p:tagLst xmlns:a="http://schemas.openxmlformats.org/drawingml/2006/main" xmlns:r="http://schemas.openxmlformats.org/officeDocument/2006/relationships" xmlns:p="http://schemas.openxmlformats.org/presentationml/2006/main">
  <p:tag name="MIO_GUID" val="1c2013eb-0199-47f0-aabc-0b20a2d68593"/>
</p:tagLst>
</file>

<file path=ppt/tags/tag597.xml><?xml version="1.0" encoding="utf-8"?>
<p:tagLst xmlns:a="http://schemas.openxmlformats.org/drawingml/2006/main" xmlns:r="http://schemas.openxmlformats.org/officeDocument/2006/relationships" xmlns:p="http://schemas.openxmlformats.org/presentationml/2006/main">
  <p:tag name="MIO_GUID" val="b8928007-5e7d-4e17-82ab-79f00400569c"/>
</p:tagLst>
</file>

<file path=ppt/tags/tag598.xml><?xml version="1.0" encoding="utf-8"?>
<p:tagLst xmlns:a="http://schemas.openxmlformats.org/drawingml/2006/main" xmlns:r="http://schemas.openxmlformats.org/officeDocument/2006/relationships" xmlns:p="http://schemas.openxmlformats.org/presentationml/2006/main">
  <p:tag name="MIO_GUID" val="318dc144-53f7-4d70-85ff-ae22c4b0504c"/>
</p:tagLst>
</file>

<file path=ppt/tags/tag599.xml><?xml version="1.0" encoding="utf-8"?>
<p:tagLst xmlns:a="http://schemas.openxmlformats.org/drawingml/2006/main" xmlns:r="http://schemas.openxmlformats.org/officeDocument/2006/relationships" xmlns:p="http://schemas.openxmlformats.org/presentationml/2006/main">
  <p:tag name="MIO_GUID" val="e2a0b3d8-083b-4b65-9cb7-97494178a9c3"/>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MIO_EKGUID" val="1fb76db0-c382-4839-9b1f-39914764b40b"/>
  <p:tag name="MIO_GUID" val="96610287-1d0c-4658-b73b-ffe93dada9d3"/>
  <p:tag name="MIO_UPDATE" val="True"/>
  <p:tag name="MIO_VERSION" val="12.06.2019 10:22:28"/>
  <p:tag name="MIO_DBID" val="5D9FD29E-BEEC-40D7-BFBE-407D9085DE5F"/>
  <p:tag name="MIO_LASTDOWNLOADED" val="07.02.2020 15:27:11"/>
  <p:tag name="MIO_OBJECTNAME" val="Danske-Bank-Branch-Trondheim-HIGH-RES"/>
  <p:tag name="MIO_LASTEDITORNAME" val="Bhuvaneswari Baskar"/>
</p:tagLst>
</file>

<file path=ppt/tags/tag600.xml><?xml version="1.0" encoding="utf-8"?>
<p:tagLst xmlns:a="http://schemas.openxmlformats.org/drawingml/2006/main" xmlns:r="http://schemas.openxmlformats.org/officeDocument/2006/relationships" xmlns:p="http://schemas.openxmlformats.org/presentationml/2006/main">
  <p:tag name="MIO_GUID" val="71337d2f-b6dd-4768-bd84-cec93b680bc7"/>
</p:tagLst>
</file>

<file path=ppt/tags/tag601.xml><?xml version="1.0" encoding="utf-8"?>
<p:tagLst xmlns:a="http://schemas.openxmlformats.org/drawingml/2006/main" xmlns:r="http://schemas.openxmlformats.org/officeDocument/2006/relationships" xmlns:p="http://schemas.openxmlformats.org/presentationml/2006/main">
  <p:tag name="MIO_GUID" val="bbc37851-66f5-4e40-873d-5a7f7552abbc"/>
</p:tagLst>
</file>

<file path=ppt/tags/tag602.xml><?xml version="1.0" encoding="utf-8"?>
<p:tagLst xmlns:a="http://schemas.openxmlformats.org/drawingml/2006/main" xmlns:r="http://schemas.openxmlformats.org/officeDocument/2006/relationships" xmlns:p="http://schemas.openxmlformats.org/presentationml/2006/main">
  <p:tag name="MIO_GUID" val="96b92937-e5fd-44e1-bce2-f8c1dbd865c4"/>
</p:tagLst>
</file>

<file path=ppt/tags/tag603.xml><?xml version="1.0" encoding="utf-8"?>
<p:tagLst xmlns:a="http://schemas.openxmlformats.org/drawingml/2006/main" xmlns:r="http://schemas.openxmlformats.org/officeDocument/2006/relationships" xmlns:p="http://schemas.openxmlformats.org/presentationml/2006/main">
  <p:tag name="MIO_GUID" val="7dcbbff4-31e4-42e6-938a-52a8bc55bc42"/>
</p:tagLst>
</file>

<file path=ppt/tags/tag604.xml><?xml version="1.0" encoding="utf-8"?>
<p:tagLst xmlns:a="http://schemas.openxmlformats.org/drawingml/2006/main" xmlns:r="http://schemas.openxmlformats.org/officeDocument/2006/relationships" xmlns:p="http://schemas.openxmlformats.org/presentationml/2006/main">
  <p:tag name="MIO_GUID" val="e08f1053-95b6-49b4-ab12-115bb65e4443"/>
</p:tagLst>
</file>

<file path=ppt/tags/tag605.xml><?xml version="1.0" encoding="utf-8"?>
<p:tagLst xmlns:a="http://schemas.openxmlformats.org/drawingml/2006/main" xmlns:r="http://schemas.openxmlformats.org/officeDocument/2006/relationships" xmlns:p="http://schemas.openxmlformats.org/presentationml/2006/main">
  <p:tag name="MIO_GUID" val="c57e8975-4b25-4a5d-8a41-64076d4251c1"/>
</p:tagLst>
</file>

<file path=ppt/tags/tag606.xml><?xml version="1.0" encoding="utf-8"?>
<p:tagLst xmlns:a="http://schemas.openxmlformats.org/drawingml/2006/main" xmlns:r="http://schemas.openxmlformats.org/officeDocument/2006/relationships" xmlns:p="http://schemas.openxmlformats.org/presentationml/2006/main">
  <p:tag name="MIO_GUID" val="1ba41290-e9f4-4948-8a46-76c2f6f6e962"/>
</p:tagLst>
</file>

<file path=ppt/tags/tag607.xml><?xml version="1.0" encoding="utf-8"?>
<p:tagLst xmlns:a="http://schemas.openxmlformats.org/drawingml/2006/main" xmlns:r="http://schemas.openxmlformats.org/officeDocument/2006/relationships" xmlns:p="http://schemas.openxmlformats.org/presentationml/2006/main">
  <p:tag name="MIO_GUID" val="30825ce4-20df-48dd-a92e-6f5825884859"/>
</p:tagLst>
</file>

<file path=ppt/tags/tag608.xml><?xml version="1.0" encoding="utf-8"?>
<p:tagLst xmlns:a="http://schemas.openxmlformats.org/drawingml/2006/main" xmlns:r="http://schemas.openxmlformats.org/officeDocument/2006/relationships" xmlns:p="http://schemas.openxmlformats.org/presentationml/2006/main">
  <p:tag name="MIO_GUID" val="91d56a4a-1f72-4afc-bab8-2a84c90c7fc8"/>
</p:tagLst>
</file>

<file path=ppt/tags/tag609.xml><?xml version="1.0" encoding="utf-8"?>
<p:tagLst xmlns:a="http://schemas.openxmlformats.org/drawingml/2006/main" xmlns:r="http://schemas.openxmlformats.org/officeDocument/2006/relationships" xmlns:p="http://schemas.openxmlformats.org/presentationml/2006/main">
  <p:tag name="MIO_GUID" val="e4325027-2e1d-4473-9f11-f1c152fd1b46"/>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MIO_GUID" val="a8c4c007-258f-4e64-b0c6-2b30ed8d6282"/>
</p:tagLst>
</file>

<file path=ppt/tags/tag611.xml><?xml version="1.0" encoding="utf-8"?>
<p:tagLst xmlns:a="http://schemas.openxmlformats.org/drawingml/2006/main" xmlns:r="http://schemas.openxmlformats.org/officeDocument/2006/relationships" xmlns:p="http://schemas.openxmlformats.org/presentationml/2006/main">
  <p:tag name="MIO_GUID" val="84b7dd1e-0bda-40cd-a58d-26fbd8f3f695"/>
</p:tagLst>
</file>

<file path=ppt/tags/tag612.xml><?xml version="1.0" encoding="utf-8"?>
<p:tagLst xmlns:a="http://schemas.openxmlformats.org/drawingml/2006/main" xmlns:r="http://schemas.openxmlformats.org/officeDocument/2006/relationships" xmlns:p="http://schemas.openxmlformats.org/presentationml/2006/main">
  <p:tag name="MIO_GUID" val="375b0eac-46c4-43bb-aec4-169efb455608"/>
</p:tagLst>
</file>

<file path=ppt/tags/tag613.xml><?xml version="1.0" encoding="utf-8"?>
<p:tagLst xmlns:a="http://schemas.openxmlformats.org/drawingml/2006/main" xmlns:r="http://schemas.openxmlformats.org/officeDocument/2006/relationships" xmlns:p="http://schemas.openxmlformats.org/presentationml/2006/main">
  <p:tag name="MIO_GUID" val="46a71f0f-1834-4c69-85af-e978aa2c9471"/>
</p:tagLst>
</file>

<file path=ppt/tags/tag614.xml><?xml version="1.0" encoding="utf-8"?>
<p:tagLst xmlns:a="http://schemas.openxmlformats.org/drawingml/2006/main" xmlns:r="http://schemas.openxmlformats.org/officeDocument/2006/relationships" xmlns:p="http://schemas.openxmlformats.org/presentationml/2006/main">
  <p:tag name="MIO_GUID" val="241019d2-ddb3-42bd-a0b5-dac6208069a1"/>
</p:tagLst>
</file>

<file path=ppt/tags/tag615.xml><?xml version="1.0" encoding="utf-8"?>
<p:tagLst xmlns:a="http://schemas.openxmlformats.org/drawingml/2006/main" xmlns:r="http://schemas.openxmlformats.org/officeDocument/2006/relationships" xmlns:p="http://schemas.openxmlformats.org/presentationml/2006/main">
  <p:tag name="MIO_GUID" val="8d8740ee-419d-4e3f-a99f-ff2792e3324d"/>
</p:tagLst>
</file>

<file path=ppt/tags/tag616.xml><?xml version="1.0" encoding="utf-8"?>
<p:tagLst xmlns:a="http://schemas.openxmlformats.org/drawingml/2006/main" xmlns:r="http://schemas.openxmlformats.org/officeDocument/2006/relationships" xmlns:p="http://schemas.openxmlformats.org/presentationml/2006/main">
  <p:tag name="MIO_GUID" val="50e9fb5f-520c-4b03-b70c-8b5e8d322916"/>
</p:tagLst>
</file>

<file path=ppt/tags/tag617.xml><?xml version="1.0" encoding="utf-8"?>
<p:tagLst xmlns:a="http://schemas.openxmlformats.org/drawingml/2006/main" xmlns:r="http://schemas.openxmlformats.org/officeDocument/2006/relationships" xmlns:p="http://schemas.openxmlformats.org/presentationml/2006/main">
  <p:tag name="MIO_GUID" val="9d3e2af2-d4d7-4e33-9aaf-3bfc0a5bc7cc"/>
</p:tagLst>
</file>

<file path=ppt/tags/tag618.xml><?xml version="1.0" encoding="utf-8"?>
<p:tagLst xmlns:a="http://schemas.openxmlformats.org/drawingml/2006/main" xmlns:r="http://schemas.openxmlformats.org/officeDocument/2006/relationships" xmlns:p="http://schemas.openxmlformats.org/presentationml/2006/main">
  <p:tag name="MIO_GUID" val="de5937f4-0e0f-4adb-b257-e03bdaf12c7f"/>
</p:tagLst>
</file>

<file path=ppt/tags/tag619.xml><?xml version="1.0" encoding="utf-8"?>
<p:tagLst xmlns:a="http://schemas.openxmlformats.org/drawingml/2006/main" xmlns:r="http://schemas.openxmlformats.org/officeDocument/2006/relationships" xmlns:p="http://schemas.openxmlformats.org/presentationml/2006/main">
  <p:tag name="MIO_GUID" val="fb405678-dedf-48f2-9379-dfb9c13f4440"/>
</p:tagLst>
</file>

<file path=ppt/tags/tag62.xml><?xml version="1.0" encoding="utf-8"?>
<p:tagLst xmlns:a="http://schemas.openxmlformats.org/drawingml/2006/main" xmlns:r="http://schemas.openxmlformats.org/officeDocument/2006/relationships" xmlns:p="http://schemas.openxmlformats.org/presentationml/2006/main">
  <p:tag name="MIO_GUID" val="5496613a-97b6-421c-8604-e51a75b0a1e3"/>
  <p:tag name="MIO_EKGUID" val="da754ef8-e6e5-4e0c-bb69-8a2ec17b3f54"/>
  <p:tag name="MIO_UPDATE" val="True"/>
  <p:tag name="MIO_VERSION" val="14.11.2017 17:12:25"/>
  <p:tag name="MIO_DBID" val="5D9FD29E-BEEC-40D7-BFBE-407D9085DE5F"/>
  <p:tag name="MIO_LASTDOWNLOADED" val="23.09.2018 11:38:58"/>
  <p:tag name="MIO_OBJECTNAME" val="Advisory service"/>
  <p:tag name="MIO_LASTEDITORNAME" val="Elisabeth Roman"/>
</p:tagLst>
</file>

<file path=ppt/tags/tag620.xml><?xml version="1.0" encoding="utf-8"?>
<p:tagLst xmlns:a="http://schemas.openxmlformats.org/drawingml/2006/main" xmlns:r="http://schemas.openxmlformats.org/officeDocument/2006/relationships" xmlns:p="http://schemas.openxmlformats.org/presentationml/2006/main">
  <p:tag name="MIO_GUID" val="51edd4f9-7c81-42b6-8312-375ae48985d7"/>
</p:tagLst>
</file>

<file path=ppt/tags/tag621.xml><?xml version="1.0" encoding="utf-8"?>
<p:tagLst xmlns:a="http://schemas.openxmlformats.org/drawingml/2006/main" xmlns:r="http://schemas.openxmlformats.org/officeDocument/2006/relationships" xmlns:p="http://schemas.openxmlformats.org/presentationml/2006/main">
  <p:tag name="MIO_GUID" val="25c6f20a-a572-482a-b575-fecfc201707c"/>
</p:tagLst>
</file>

<file path=ppt/tags/tag622.xml><?xml version="1.0" encoding="utf-8"?>
<p:tagLst xmlns:a="http://schemas.openxmlformats.org/drawingml/2006/main" xmlns:r="http://schemas.openxmlformats.org/officeDocument/2006/relationships" xmlns:p="http://schemas.openxmlformats.org/presentationml/2006/main">
  <p:tag name="MIO_GUID" val="244ae175-d950-46ff-a2da-9ab9107cbf73"/>
</p:tagLst>
</file>

<file path=ppt/tags/tag623.xml><?xml version="1.0" encoding="utf-8"?>
<p:tagLst xmlns:a="http://schemas.openxmlformats.org/drawingml/2006/main" xmlns:r="http://schemas.openxmlformats.org/officeDocument/2006/relationships" xmlns:p="http://schemas.openxmlformats.org/presentationml/2006/main">
  <p:tag name="MIO_GUID" val="4242c977-511f-4c95-b5b9-bc3f6e80cd7c"/>
</p:tagLst>
</file>

<file path=ppt/tags/tag624.xml><?xml version="1.0" encoding="utf-8"?>
<p:tagLst xmlns:a="http://schemas.openxmlformats.org/drawingml/2006/main" xmlns:r="http://schemas.openxmlformats.org/officeDocument/2006/relationships" xmlns:p="http://schemas.openxmlformats.org/presentationml/2006/main">
  <p:tag name="MIO_GUID" val="2a409ed9-1c6b-47bb-bc4d-1e7b0d6e7d7c"/>
</p:tagLst>
</file>

<file path=ppt/tags/tag625.xml><?xml version="1.0" encoding="utf-8"?>
<p:tagLst xmlns:a="http://schemas.openxmlformats.org/drawingml/2006/main" xmlns:r="http://schemas.openxmlformats.org/officeDocument/2006/relationships" xmlns:p="http://schemas.openxmlformats.org/presentationml/2006/main">
  <p:tag name="MIO_GUID" val="8dd62126-2dff-40ce-82ad-05c05df4c008"/>
</p:tagLst>
</file>

<file path=ppt/tags/tag626.xml><?xml version="1.0" encoding="utf-8"?>
<p:tagLst xmlns:a="http://schemas.openxmlformats.org/drawingml/2006/main" xmlns:r="http://schemas.openxmlformats.org/officeDocument/2006/relationships" xmlns:p="http://schemas.openxmlformats.org/presentationml/2006/main">
  <p:tag name="MIO_GUID" val="84c5621e-95f0-484c-9143-9f99324c5d2a"/>
</p:tagLst>
</file>

<file path=ppt/tags/tag627.xml><?xml version="1.0" encoding="utf-8"?>
<p:tagLst xmlns:a="http://schemas.openxmlformats.org/drawingml/2006/main" xmlns:r="http://schemas.openxmlformats.org/officeDocument/2006/relationships" xmlns:p="http://schemas.openxmlformats.org/presentationml/2006/main">
  <p:tag name="MIO_GUID" val="161c8a33-d80e-4d94-9431-4357da79babc"/>
</p:tagLst>
</file>

<file path=ppt/tags/tag628.xml><?xml version="1.0" encoding="utf-8"?>
<p:tagLst xmlns:a="http://schemas.openxmlformats.org/drawingml/2006/main" xmlns:r="http://schemas.openxmlformats.org/officeDocument/2006/relationships" xmlns:p="http://schemas.openxmlformats.org/presentationml/2006/main">
  <p:tag name="MIO_GUID" val="7a3d876c-9f01-4d7c-a263-52bbff4f79ba"/>
</p:tagLst>
</file>

<file path=ppt/tags/tag629.xml><?xml version="1.0" encoding="utf-8"?>
<p:tagLst xmlns:a="http://schemas.openxmlformats.org/drawingml/2006/main" xmlns:r="http://schemas.openxmlformats.org/officeDocument/2006/relationships" xmlns:p="http://schemas.openxmlformats.org/presentationml/2006/main">
  <p:tag name="MIO_GUID" val="2e579d67-dcbd-42d9-bee0-0405cbec43f5"/>
</p:tagLst>
</file>

<file path=ppt/tags/tag63.xml><?xml version="1.0" encoding="utf-8"?>
<p:tagLst xmlns:a="http://schemas.openxmlformats.org/drawingml/2006/main" xmlns:r="http://schemas.openxmlformats.org/officeDocument/2006/relationships" xmlns:p="http://schemas.openxmlformats.org/presentationml/2006/main">
  <p:tag name="MIO_GUID" val="5d887d7d-0312-4b00-bd4a-4da996925657"/>
  <p:tag name="MIO_EKGUID" val="64af18fe-f17c-42f5-89c9-b40823cb746b"/>
  <p:tag name="MIO_UPDATE" val="True"/>
  <p:tag name="MIO_VERSION" val="14.11.2017 15:09:47"/>
  <p:tag name="MIO_DBID" val="5D9FD29E-BEEC-40D7-BFBE-407D9085DE5F"/>
  <p:tag name="MIO_LASTDOWNLOADED" val="23.09.2018 11:39:59"/>
  <p:tag name="MIO_OBJECTNAME" val="Magnifiying glass"/>
  <p:tag name="MIO_LASTEDITORNAME" val="Elisabeth Roman"/>
</p:tagLst>
</file>

<file path=ppt/tags/tag630.xml><?xml version="1.0" encoding="utf-8"?>
<p:tagLst xmlns:a="http://schemas.openxmlformats.org/drawingml/2006/main" xmlns:r="http://schemas.openxmlformats.org/officeDocument/2006/relationships" xmlns:p="http://schemas.openxmlformats.org/presentationml/2006/main">
  <p:tag name="MIO_GUID" val="62c0e291-322d-48e4-b2ee-61311415967a"/>
</p:tagLst>
</file>

<file path=ppt/tags/tag631.xml><?xml version="1.0" encoding="utf-8"?>
<p:tagLst xmlns:a="http://schemas.openxmlformats.org/drawingml/2006/main" xmlns:r="http://schemas.openxmlformats.org/officeDocument/2006/relationships" xmlns:p="http://schemas.openxmlformats.org/presentationml/2006/main">
  <p:tag name="MIO_GUID" val="b4360cec-58c4-4ee8-ac8b-c7736bf743b5"/>
</p:tagLst>
</file>

<file path=ppt/tags/tag632.xml><?xml version="1.0" encoding="utf-8"?>
<p:tagLst xmlns:a="http://schemas.openxmlformats.org/drawingml/2006/main" xmlns:r="http://schemas.openxmlformats.org/officeDocument/2006/relationships" xmlns:p="http://schemas.openxmlformats.org/presentationml/2006/main">
  <p:tag name="MIO_GUID" val="6e805b14-9ec1-400f-846a-b8af044c3ec8"/>
</p:tagLst>
</file>

<file path=ppt/tags/tag633.xml><?xml version="1.0" encoding="utf-8"?>
<p:tagLst xmlns:a="http://schemas.openxmlformats.org/drawingml/2006/main" xmlns:r="http://schemas.openxmlformats.org/officeDocument/2006/relationships" xmlns:p="http://schemas.openxmlformats.org/presentationml/2006/main">
  <p:tag name="MIO_GUID" val="3628d7cc-d09d-49fa-9fb3-5071a878cd86"/>
</p:tagLst>
</file>

<file path=ppt/tags/tag634.xml><?xml version="1.0" encoding="utf-8"?>
<p:tagLst xmlns:a="http://schemas.openxmlformats.org/drawingml/2006/main" xmlns:r="http://schemas.openxmlformats.org/officeDocument/2006/relationships" xmlns:p="http://schemas.openxmlformats.org/presentationml/2006/main">
  <p:tag name="MIO_GUID" val="1b68bc91-9bed-41bf-85fc-a356570f983e"/>
</p:tagLst>
</file>

<file path=ppt/tags/tag635.xml><?xml version="1.0" encoding="utf-8"?>
<p:tagLst xmlns:a="http://schemas.openxmlformats.org/drawingml/2006/main" xmlns:r="http://schemas.openxmlformats.org/officeDocument/2006/relationships" xmlns:p="http://schemas.openxmlformats.org/presentationml/2006/main">
  <p:tag name="MIO_GUID" val="ba7971a0-0200-481c-aba3-13e119614967"/>
</p:tagLst>
</file>

<file path=ppt/tags/tag636.xml><?xml version="1.0" encoding="utf-8"?>
<p:tagLst xmlns:a="http://schemas.openxmlformats.org/drawingml/2006/main" xmlns:r="http://schemas.openxmlformats.org/officeDocument/2006/relationships" xmlns:p="http://schemas.openxmlformats.org/presentationml/2006/main">
  <p:tag name="MIO_GUID" val="1a0f0a5b-f2ba-415c-86b5-e886dc4e7bfe"/>
</p:tagLst>
</file>

<file path=ppt/tags/tag637.xml><?xml version="1.0" encoding="utf-8"?>
<p:tagLst xmlns:a="http://schemas.openxmlformats.org/drawingml/2006/main" xmlns:r="http://schemas.openxmlformats.org/officeDocument/2006/relationships" xmlns:p="http://schemas.openxmlformats.org/presentationml/2006/main">
  <p:tag name="MIO_GUID" val="5bfa3d0a-ee8b-4485-9800-67c01722a0ef"/>
</p:tagLst>
</file>

<file path=ppt/tags/tag638.xml><?xml version="1.0" encoding="utf-8"?>
<p:tagLst xmlns:a="http://schemas.openxmlformats.org/drawingml/2006/main" xmlns:r="http://schemas.openxmlformats.org/officeDocument/2006/relationships" xmlns:p="http://schemas.openxmlformats.org/presentationml/2006/main">
  <p:tag name="MIO_GUID" val="da4a7713-c347-4c50-b453-f1207e74c717"/>
</p:tagLst>
</file>

<file path=ppt/tags/tag639.xml><?xml version="1.0" encoding="utf-8"?>
<p:tagLst xmlns:a="http://schemas.openxmlformats.org/drawingml/2006/main" xmlns:r="http://schemas.openxmlformats.org/officeDocument/2006/relationships" xmlns:p="http://schemas.openxmlformats.org/presentationml/2006/main">
  <p:tag name="MIO_GUID" val="906e581e-cff0-42b0-bbdc-70edd6ed3463"/>
</p:tagLst>
</file>

<file path=ppt/tags/tag64.xml><?xml version="1.0" encoding="utf-8"?>
<p:tagLst xmlns:a="http://schemas.openxmlformats.org/drawingml/2006/main" xmlns:r="http://schemas.openxmlformats.org/officeDocument/2006/relationships" xmlns:p="http://schemas.openxmlformats.org/presentationml/2006/main">
  <p:tag name="MIO_GUID" val="25d9d417-c686-4886-9407-342296198819"/>
  <p:tag name="MIO_EKGUID" val="97a0141e-45d0-4843-8cc0-450e6b97743f"/>
  <p:tag name="MIO_UPDATE" val="True"/>
  <p:tag name="MIO_VERSION" val="15.11.2017 07:58:03"/>
  <p:tag name="MIO_DBID" val="5D9FD29E-BEEC-40D7-BFBE-407D9085DE5F"/>
  <p:tag name="MIO_LASTDOWNLOADED" val="23.09.2018 11:38:34"/>
  <p:tag name="MIO_OBJECTNAME" val="International"/>
  <p:tag name="MIO_LASTEDITORNAME" val="Elisabeth Roman"/>
</p:tagLst>
</file>

<file path=ppt/tags/tag640.xml><?xml version="1.0" encoding="utf-8"?>
<p:tagLst xmlns:a="http://schemas.openxmlformats.org/drawingml/2006/main" xmlns:r="http://schemas.openxmlformats.org/officeDocument/2006/relationships" xmlns:p="http://schemas.openxmlformats.org/presentationml/2006/main">
  <p:tag name="MIO_GUID" val="f0278dc6-f7a3-4fd9-b44a-4ffefc0ae30c"/>
</p:tagLst>
</file>

<file path=ppt/tags/tag641.xml><?xml version="1.0" encoding="utf-8"?>
<p:tagLst xmlns:a="http://schemas.openxmlformats.org/drawingml/2006/main" xmlns:r="http://schemas.openxmlformats.org/officeDocument/2006/relationships" xmlns:p="http://schemas.openxmlformats.org/presentationml/2006/main">
  <p:tag name="MIO_GUID" val="650ff2a5-8997-4332-a638-70c541a6dfda"/>
</p:tagLst>
</file>

<file path=ppt/tags/tag642.xml><?xml version="1.0" encoding="utf-8"?>
<p:tagLst xmlns:a="http://schemas.openxmlformats.org/drawingml/2006/main" xmlns:r="http://schemas.openxmlformats.org/officeDocument/2006/relationships" xmlns:p="http://schemas.openxmlformats.org/presentationml/2006/main">
  <p:tag name="MIO_GUID" val="b3fefc40-d580-43d0-bb25-f182bde38f9e"/>
</p:tagLst>
</file>

<file path=ppt/tags/tag643.xml><?xml version="1.0" encoding="utf-8"?>
<p:tagLst xmlns:a="http://schemas.openxmlformats.org/drawingml/2006/main" xmlns:r="http://schemas.openxmlformats.org/officeDocument/2006/relationships" xmlns:p="http://schemas.openxmlformats.org/presentationml/2006/main">
  <p:tag name="MIO_GUID" val="c2861220-6e88-4ec7-87f7-3c8f26b4c051"/>
</p:tagLst>
</file>

<file path=ppt/tags/tag644.xml><?xml version="1.0" encoding="utf-8"?>
<p:tagLst xmlns:a="http://schemas.openxmlformats.org/drawingml/2006/main" xmlns:r="http://schemas.openxmlformats.org/officeDocument/2006/relationships" xmlns:p="http://schemas.openxmlformats.org/presentationml/2006/main">
  <p:tag name="MIO_GUID" val="c18d3524-35a9-4a57-8df7-84e6b5665f5b"/>
</p:tagLst>
</file>

<file path=ppt/tags/tag645.xml><?xml version="1.0" encoding="utf-8"?>
<p:tagLst xmlns:a="http://schemas.openxmlformats.org/drawingml/2006/main" xmlns:r="http://schemas.openxmlformats.org/officeDocument/2006/relationships" xmlns:p="http://schemas.openxmlformats.org/presentationml/2006/main">
  <p:tag name="MIO_GUID" val="52878307-b0c3-4793-95dd-077187b563fe"/>
</p:tagLst>
</file>

<file path=ppt/tags/tag646.xml><?xml version="1.0" encoding="utf-8"?>
<p:tagLst xmlns:a="http://schemas.openxmlformats.org/drawingml/2006/main" xmlns:r="http://schemas.openxmlformats.org/officeDocument/2006/relationships" xmlns:p="http://schemas.openxmlformats.org/presentationml/2006/main">
  <p:tag name="MIO_GUID" val="d777f433-07dd-4112-a6f1-531607ed1b66"/>
</p:tagLst>
</file>

<file path=ppt/tags/tag647.xml><?xml version="1.0" encoding="utf-8"?>
<p:tagLst xmlns:a="http://schemas.openxmlformats.org/drawingml/2006/main" xmlns:r="http://schemas.openxmlformats.org/officeDocument/2006/relationships" xmlns:p="http://schemas.openxmlformats.org/presentationml/2006/main">
  <p:tag name="MIO_GUID" val="9188b9e0-2785-4f06-a97e-86d170781e43"/>
</p:tagLst>
</file>

<file path=ppt/tags/tag648.xml><?xml version="1.0" encoding="utf-8"?>
<p:tagLst xmlns:a="http://schemas.openxmlformats.org/drawingml/2006/main" xmlns:r="http://schemas.openxmlformats.org/officeDocument/2006/relationships" xmlns:p="http://schemas.openxmlformats.org/presentationml/2006/main">
  <p:tag name="MIO_GUID" val="71d63828-a118-42a5-8aa1-2f6512c3f669"/>
</p:tagLst>
</file>

<file path=ppt/tags/tag649.xml><?xml version="1.0" encoding="utf-8"?>
<p:tagLst xmlns:a="http://schemas.openxmlformats.org/drawingml/2006/main" xmlns:r="http://schemas.openxmlformats.org/officeDocument/2006/relationships" xmlns:p="http://schemas.openxmlformats.org/presentationml/2006/main">
  <p:tag name="MIO_GUID" val="2e2662f9-361a-4492-9a0d-f5d1b361d9a4"/>
</p:tagLst>
</file>

<file path=ppt/tags/tag65.xml><?xml version="1.0" encoding="utf-8"?>
<p:tagLst xmlns:a="http://schemas.openxmlformats.org/drawingml/2006/main" xmlns:r="http://schemas.openxmlformats.org/officeDocument/2006/relationships" xmlns:p="http://schemas.openxmlformats.org/presentationml/2006/main">
  <p:tag name="MIO_GUID" val="404a4888-9679-4898-b372-c997b4d9d7bc"/>
  <p:tag name="MIO_EKGUID" val="1f9aa066-b74b-4717-b81f-74cec6fd0c5c"/>
  <p:tag name="MIO_UPDATE" val="True"/>
  <p:tag name="MIO_VERSION" val="14.11.2017 11:45:16"/>
  <p:tag name="MIO_DBID" val="5D9FD29E-BEEC-40D7-BFBE-407D9085DE5F"/>
  <p:tag name="MIO_LASTDOWNLOADED" val="23.09.2018 11:38:20"/>
  <p:tag name="MIO_OBJECTNAME" val="Business"/>
  <p:tag name="MIO_LASTEDITORNAME" val="Elisabeth Roman"/>
</p:tagLst>
</file>

<file path=ppt/tags/tag650.xml><?xml version="1.0" encoding="utf-8"?>
<p:tagLst xmlns:a="http://schemas.openxmlformats.org/drawingml/2006/main" xmlns:r="http://schemas.openxmlformats.org/officeDocument/2006/relationships" xmlns:p="http://schemas.openxmlformats.org/presentationml/2006/main">
  <p:tag name="MIO_GUID" val="61e259b6-4918-4936-9fc1-e13dd15fd649"/>
</p:tagLst>
</file>

<file path=ppt/tags/tag651.xml><?xml version="1.0" encoding="utf-8"?>
<p:tagLst xmlns:a="http://schemas.openxmlformats.org/drawingml/2006/main" xmlns:r="http://schemas.openxmlformats.org/officeDocument/2006/relationships" xmlns:p="http://schemas.openxmlformats.org/presentationml/2006/main">
  <p:tag name="MIO_GUID" val="2e6c2d4d-0ab1-4a8b-9a29-075cb88492ca"/>
</p:tagLst>
</file>

<file path=ppt/tags/tag652.xml><?xml version="1.0" encoding="utf-8"?>
<p:tagLst xmlns:a="http://schemas.openxmlformats.org/drawingml/2006/main" xmlns:r="http://schemas.openxmlformats.org/officeDocument/2006/relationships" xmlns:p="http://schemas.openxmlformats.org/presentationml/2006/main">
  <p:tag name="MIO_GUID" val="8a051dd4-7f90-46e9-8ee7-52c02a14aa73"/>
</p:tagLst>
</file>

<file path=ppt/tags/tag653.xml><?xml version="1.0" encoding="utf-8"?>
<p:tagLst xmlns:a="http://schemas.openxmlformats.org/drawingml/2006/main" xmlns:r="http://schemas.openxmlformats.org/officeDocument/2006/relationships" xmlns:p="http://schemas.openxmlformats.org/presentationml/2006/main">
  <p:tag name="MIO_GUID" val="979785aa-4f92-4c48-80dc-35c45f59d0d3"/>
</p:tagLst>
</file>

<file path=ppt/tags/tag654.xml><?xml version="1.0" encoding="utf-8"?>
<p:tagLst xmlns:a="http://schemas.openxmlformats.org/drawingml/2006/main" xmlns:r="http://schemas.openxmlformats.org/officeDocument/2006/relationships" xmlns:p="http://schemas.openxmlformats.org/presentationml/2006/main">
  <p:tag name="MIO_GUID" val="120338cc-597b-4ea2-9273-73b87516f1b1"/>
</p:tagLst>
</file>

<file path=ppt/tags/tag655.xml><?xml version="1.0" encoding="utf-8"?>
<p:tagLst xmlns:a="http://schemas.openxmlformats.org/drawingml/2006/main" xmlns:r="http://schemas.openxmlformats.org/officeDocument/2006/relationships" xmlns:p="http://schemas.openxmlformats.org/presentationml/2006/main">
  <p:tag name="MIO_GUID" val="d8701d8d-99a9-488e-b778-02c44a1dc2e5"/>
</p:tagLst>
</file>

<file path=ppt/tags/tag656.xml><?xml version="1.0" encoding="utf-8"?>
<p:tagLst xmlns:a="http://schemas.openxmlformats.org/drawingml/2006/main" xmlns:r="http://schemas.openxmlformats.org/officeDocument/2006/relationships" xmlns:p="http://schemas.openxmlformats.org/presentationml/2006/main">
  <p:tag name="MIO_GUID" val="10b79896-0ffd-4b22-b716-50a6db0eeb4f"/>
</p:tagLst>
</file>

<file path=ppt/tags/tag657.xml><?xml version="1.0" encoding="utf-8"?>
<p:tagLst xmlns:a="http://schemas.openxmlformats.org/drawingml/2006/main" xmlns:r="http://schemas.openxmlformats.org/officeDocument/2006/relationships" xmlns:p="http://schemas.openxmlformats.org/presentationml/2006/main">
  <p:tag name="MIO_GUID" val="e1dc4133-4da0-4c42-9df1-c53c4188e7ea"/>
</p:tagLst>
</file>

<file path=ppt/tags/tag658.xml><?xml version="1.0" encoding="utf-8"?>
<p:tagLst xmlns:a="http://schemas.openxmlformats.org/drawingml/2006/main" xmlns:r="http://schemas.openxmlformats.org/officeDocument/2006/relationships" xmlns:p="http://schemas.openxmlformats.org/presentationml/2006/main">
  <p:tag name="MIO_GUID" val="a201d40b-01a1-491d-bf39-7c323f95030c"/>
</p:tagLst>
</file>

<file path=ppt/tags/tag659.xml><?xml version="1.0" encoding="utf-8"?>
<p:tagLst xmlns:a="http://schemas.openxmlformats.org/drawingml/2006/main" xmlns:r="http://schemas.openxmlformats.org/officeDocument/2006/relationships" xmlns:p="http://schemas.openxmlformats.org/presentationml/2006/main">
  <p:tag name="MIO_GUID" val="992503e5-d420-4edd-bdd2-0d585a2a7012"/>
</p:tagLst>
</file>

<file path=ppt/tags/tag66.xml><?xml version="1.0" encoding="utf-8"?>
<p:tagLst xmlns:a="http://schemas.openxmlformats.org/drawingml/2006/main" xmlns:r="http://schemas.openxmlformats.org/officeDocument/2006/relationships" xmlns:p="http://schemas.openxmlformats.org/presentationml/2006/main">
  <p:tag name="MIO_GUID" val="404a4888-9679-4898-b372-c997b4d9d7bc"/>
  <p:tag name="MIO_EKGUID" val="1f9aa066-b74b-4717-b81f-74cec6fd0c5c"/>
  <p:tag name="MIO_UPDATE" val="True"/>
  <p:tag name="MIO_VERSION" val="14.11.2017 11:45:16"/>
  <p:tag name="MIO_DBID" val="5D9FD29E-BEEC-40D7-BFBE-407D9085DE5F"/>
  <p:tag name="MIO_LASTDOWNLOADED" val="23.09.2018 11:38:20"/>
  <p:tag name="MIO_OBJECTNAME" val="Business"/>
  <p:tag name="MIO_LASTEDITORNAME" val="Elisabeth Roman"/>
</p:tagLst>
</file>

<file path=ppt/tags/tag660.xml><?xml version="1.0" encoding="utf-8"?>
<p:tagLst xmlns:a="http://schemas.openxmlformats.org/drawingml/2006/main" xmlns:r="http://schemas.openxmlformats.org/officeDocument/2006/relationships" xmlns:p="http://schemas.openxmlformats.org/presentationml/2006/main">
  <p:tag name="MIO_GUID" val="d8c07952-0626-42f0-a976-b1615dbf8000"/>
</p:tagLst>
</file>

<file path=ppt/tags/tag661.xml><?xml version="1.0" encoding="utf-8"?>
<p:tagLst xmlns:a="http://schemas.openxmlformats.org/drawingml/2006/main" xmlns:r="http://schemas.openxmlformats.org/officeDocument/2006/relationships" xmlns:p="http://schemas.openxmlformats.org/presentationml/2006/main">
  <p:tag name="MIO_GUID" val="22313129-bd20-4c3a-b48f-a0ba82d2619b"/>
</p:tagLst>
</file>

<file path=ppt/tags/tag662.xml><?xml version="1.0" encoding="utf-8"?>
<p:tagLst xmlns:a="http://schemas.openxmlformats.org/drawingml/2006/main" xmlns:r="http://schemas.openxmlformats.org/officeDocument/2006/relationships" xmlns:p="http://schemas.openxmlformats.org/presentationml/2006/main">
  <p:tag name="MIO_GUID" val="a13dfca7-1456-4c76-9be8-e4287f7553da"/>
</p:tagLst>
</file>

<file path=ppt/tags/tag663.xml><?xml version="1.0" encoding="utf-8"?>
<p:tagLst xmlns:a="http://schemas.openxmlformats.org/drawingml/2006/main" xmlns:r="http://schemas.openxmlformats.org/officeDocument/2006/relationships" xmlns:p="http://schemas.openxmlformats.org/presentationml/2006/main">
  <p:tag name="MIO_GUID" val="9c3ff1b3-60e0-4dc8-a695-8c14c74d1f9b"/>
</p:tagLst>
</file>

<file path=ppt/tags/tag664.xml><?xml version="1.0" encoding="utf-8"?>
<p:tagLst xmlns:a="http://schemas.openxmlformats.org/drawingml/2006/main" xmlns:r="http://schemas.openxmlformats.org/officeDocument/2006/relationships" xmlns:p="http://schemas.openxmlformats.org/presentationml/2006/main">
  <p:tag name="MIO_GUID" val="de8c9b64-0d18-4b55-b605-51bfc26e0d6c"/>
</p:tagLst>
</file>

<file path=ppt/tags/tag665.xml><?xml version="1.0" encoding="utf-8"?>
<p:tagLst xmlns:a="http://schemas.openxmlformats.org/drawingml/2006/main" xmlns:r="http://schemas.openxmlformats.org/officeDocument/2006/relationships" xmlns:p="http://schemas.openxmlformats.org/presentationml/2006/main">
  <p:tag name="MIO_GUID" val="5348f343-63b6-4ac1-9dcb-fec14c1dee1f"/>
</p:tagLst>
</file>

<file path=ppt/tags/tag666.xml><?xml version="1.0" encoding="utf-8"?>
<p:tagLst xmlns:a="http://schemas.openxmlformats.org/drawingml/2006/main" xmlns:r="http://schemas.openxmlformats.org/officeDocument/2006/relationships" xmlns:p="http://schemas.openxmlformats.org/presentationml/2006/main">
  <p:tag name="MIO_GUID" val="3cbb5d23-090d-426b-bc05-e39a4e493d7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MIO_GUID" val="5496613a-97b6-421c-8604-e51a75b0a1e3"/>
  <p:tag name="MIO_EKGUID" val="da754ef8-e6e5-4e0c-bb69-8a2ec17b3f54"/>
  <p:tag name="MIO_UPDATE" val="True"/>
  <p:tag name="MIO_VERSION" val="14.11.2017 17:12:25"/>
  <p:tag name="MIO_DBID" val="5D9FD29E-BEEC-40D7-BFBE-407D9085DE5F"/>
  <p:tag name="MIO_LASTDOWNLOADED" val="23.09.2018 11:38:58"/>
  <p:tag name="MIO_OBJECTNAME" val="Advisory service"/>
  <p:tag name="MIO_LASTEDITORNAME" val="Elisabeth Roman"/>
</p:tagLst>
</file>

<file path=ppt/tags/tag669.xml><?xml version="1.0" encoding="utf-8"?>
<p:tagLst xmlns:a="http://schemas.openxmlformats.org/drawingml/2006/main" xmlns:r="http://schemas.openxmlformats.org/officeDocument/2006/relationships" xmlns:p="http://schemas.openxmlformats.org/presentationml/2006/main">
  <p:tag name="MIO_GUID" val="76e8640f-c3a8-4777-b53e-6a8c455f2166"/>
  <p:tag name="MIO_EKGUID" val="c709decf-8e27-499f-96a2-ce23c4efdafa"/>
  <p:tag name="MIO_UPDATE" val="True"/>
  <p:tag name="MIO_VERSION" val="13.03.2018 10:49:14"/>
  <p:tag name="MIO_DBID" val="5D9FD29E-BEEC-40D7-BFBE-407D9085DE5F"/>
  <p:tag name="MIO_LASTDOWNLOADED" val="30.01.2019 14:44:40"/>
  <p:tag name="MIO_OBJECTNAME" val="Europe (3)"/>
  <p:tag name="MIO_LASTEDITORNAME" val="Daniel J"/>
</p:tagLst>
</file>

<file path=ppt/tags/tag67.xml><?xml version="1.0" encoding="utf-8"?>
<p:tagLst xmlns:a="http://schemas.openxmlformats.org/drawingml/2006/main" xmlns:r="http://schemas.openxmlformats.org/officeDocument/2006/relationships" xmlns:p="http://schemas.openxmlformats.org/presentationml/2006/main">
  <p:tag name="MIO_GUID" val="0c131d01-c78b-4c84-b77c-127563dc276f"/>
  <p:tag name="MIO_EKGUID" val="1f4f0cde-9306-4cb9-8a38-e51144c04ddf"/>
  <p:tag name="MIO_UPDATE" val="True"/>
  <p:tag name="MIO_VERSION" val="14.11.2019 14:32:26"/>
  <p:tag name="MIO_DBID" val="5D9FD29E-BEEC-40D7-BFBE-407D9085DE5F"/>
  <p:tag name="MIO_LASTDOWNLOADED" val="07.02.2020 06:25:21"/>
  <p:tag name="MIO_OBJECTNAME" val="World - regions"/>
  <p:tag name="MIO_LASTEDITORNAME" val="Daniel J"/>
</p:tagLst>
</file>

<file path=ppt/tags/tag670.xml><?xml version="1.0" encoding="utf-8"?>
<p:tagLst xmlns:a="http://schemas.openxmlformats.org/drawingml/2006/main" xmlns:r="http://schemas.openxmlformats.org/officeDocument/2006/relationships" xmlns:p="http://schemas.openxmlformats.org/presentationml/2006/main">
  <p:tag name="MIO_GUID" val="94085ee6-d8d5-4a88-8a47-89f65610cfed"/>
  <p:tag name="MIO_EKGUID" val="db8edc77-4635-48b8-b181-047c043c1b57"/>
  <p:tag name="MIO_UPDATE" val="True"/>
  <p:tag name="MIO_VERSION" val="24.12.2018 07:19:48"/>
  <p:tag name="MIO_DBID" val="5D9FD29E-BEEC-40D7-BFBE-407D9085DE5F"/>
  <p:tag name="MIO_LASTDOWNLOADED" val="15.01.2020 12:51:12"/>
  <p:tag name="MIO_OBJECTNAME" val="Check List"/>
  <p:tag name="MIO_LASTEDITORNAME" val="Bhuvaneswari Baskar"/>
</p:tagLst>
</file>

<file path=ppt/tags/tag671.xml><?xml version="1.0" encoding="utf-8"?>
<p:tagLst xmlns:a="http://schemas.openxmlformats.org/drawingml/2006/main" xmlns:r="http://schemas.openxmlformats.org/officeDocument/2006/relationships" xmlns:p="http://schemas.openxmlformats.org/presentationml/2006/main">
  <p:tag name="MIO_GUID" val="23d40ad0-a2e8-475f-80ea-74278646003c"/>
  <p:tag name="MIO_EKGUID" val="7063467c-d054-463f-a141-035e6fcdf5f2"/>
  <p:tag name="MIO_UPDATE" val="True"/>
  <p:tag name="MIO_VERSION" val="29.11.2018 07:45:37"/>
  <p:tag name="MIO_DBID" val="5D9FD29E-BEEC-40D7-BFBE-407D9085DE5F"/>
  <p:tag name="MIO_LASTDOWNLOADED" val="11.09.2019 12:43:31"/>
  <p:tag name="MIO_OBJECTNAME" val="Germany_DE"/>
  <p:tag name="MIO_LASTEDITORNAME" val="Bhuvaneswari Baskar"/>
</p:tagLst>
</file>

<file path=ppt/tags/tag672.xml><?xml version="1.0" encoding="utf-8"?>
<p:tagLst xmlns:a="http://schemas.openxmlformats.org/drawingml/2006/main" xmlns:r="http://schemas.openxmlformats.org/officeDocument/2006/relationships" xmlns:p="http://schemas.openxmlformats.org/presentationml/2006/main">
  <p:tag name="MIO_GUID" val="23d40ad0-a2e8-475f-80ea-74278646003c"/>
  <p:tag name="MIO_EKGUID" val="7063467c-d054-463f-a141-035e6fcdf5f2"/>
  <p:tag name="MIO_UPDATE" val="True"/>
  <p:tag name="MIO_VERSION" val="29.11.2018 07:45:37"/>
  <p:tag name="MIO_DBID" val="5D9FD29E-BEEC-40D7-BFBE-407D9085DE5F"/>
  <p:tag name="MIO_LASTDOWNLOADED" val="11.09.2019 12:43:31"/>
  <p:tag name="MIO_OBJECTNAME" val="Germany_DE"/>
  <p:tag name="MIO_LASTEDITORNAME" val="Bhuvaneswari Baskar"/>
</p:tagLst>
</file>

<file path=ppt/tags/tag673.xml><?xml version="1.0" encoding="utf-8"?>
<p:tagLst xmlns:a="http://schemas.openxmlformats.org/drawingml/2006/main" xmlns:r="http://schemas.openxmlformats.org/officeDocument/2006/relationships" xmlns:p="http://schemas.openxmlformats.org/presentationml/2006/main">
  <p:tag name="MIO_GUID" val="0a48fcdb-6695-4c30-8424-7549ba941ed6"/>
  <p:tag name="MIO_EKGUID" val="8ac3011b-6451-4509-aa02-b2368f4d26fd"/>
  <p:tag name="MIO_UPDATE" val="True"/>
  <p:tag name="MIO_VERSION" val="29.11.2018 07:48:37"/>
  <p:tag name="MIO_DBID" val="5D9FD29E-BEEC-40D7-BFBE-407D9085DE5F"/>
  <p:tag name="MIO_LASTDOWNLOADED" val="31.01.2019 10:06:11"/>
  <p:tag name="MIO_OBJECTNAME" val="Netherlands_NL"/>
  <p:tag name="MIO_LASTEDITORNAME" val="Bhuvaneswari Baskar"/>
</p:tagLst>
</file>

<file path=ppt/tags/tag674.xml><?xml version="1.0" encoding="utf-8"?>
<p:tagLst xmlns:a="http://schemas.openxmlformats.org/drawingml/2006/main" xmlns:r="http://schemas.openxmlformats.org/officeDocument/2006/relationships" xmlns:p="http://schemas.openxmlformats.org/presentationml/2006/main">
  <p:tag name="MIO_GUID" val="eecf99c3-321e-4e2a-ba79-3e1df09d8dd8"/>
</p:tagLst>
</file>

<file path=ppt/tags/tag675.xml><?xml version="1.0" encoding="utf-8"?>
<p:tagLst xmlns:a="http://schemas.openxmlformats.org/drawingml/2006/main" xmlns:r="http://schemas.openxmlformats.org/officeDocument/2006/relationships" xmlns:p="http://schemas.openxmlformats.org/presentationml/2006/main">
  <p:tag name="MIO_GUID" val="1db3285e-7c64-4054-9eb1-3a4b647c3089"/>
</p:tagLst>
</file>

<file path=ppt/tags/tag676.xml><?xml version="1.0" encoding="utf-8"?>
<p:tagLst xmlns:a="http://schemas.openxmlformats.org/drawingml/2006/main" xmlns:r="http://schemas.openxmlformats.org/officeDocument/2006/relationships" xmlns:p="http://schemas.openxmlformats.org/presentationml/2006/main">
  <p:tag name="MIO_GUID" val="132461bd-0a7c-48fd-a86b-5588f782c06d"/>
</p:tagLst>
</file>

<file path=ppt/tags/tag677.xml><?xml version="1.0" encoding="utf-8"?>
<p:tagLst xmlns:a="http://schemas.openxmlformats.org/drawingml/2006/main" xmlns:r="http://schemas.openxmlformats.org/officeDocument/2006/relationships" xmlns:p="http://schemas.openxmlformats.org/presentationml/2006/main">
  <p:tag name="MIO_GUID" val="2c008cec-627f-4f3f-9baa-30b713733643"/>
</p:tagLst>
</file>

<file path=ppt/tags/tag678.xml><?xml version="1.0" encoding="utf-8"?>
<p:tagLst xmlns:a="http://schemas.openxmlformats.org/drawingml/2006/main" xmlns:r="http://schemas.openxmlformats.org/officeDocument/2006/relationships" xmlns:p="http://schemas.openxmlformats.org/presentationml/2006/main">
  <p:tag name="MIO_GUID" val="274b2f86-291d-45d1-829e-7803652d57ba"/>
</p:tagLst>
</file>

<file path=ppt/tags/tag679.xml><?xml version="1.0" encoding="utf-8"?>
<p:tagLst xmlns:a="http://schemas.openxmlformats.org/drawingml/2006/main" xmlns:r="http://schemas.openxmlformats.org/officeDocument/2006/relationships" xmlns:p="http://schemas.openxmlformats.org/presentationml/2006/main">
  <p:tag name="MIO_GUID" val="d218349d-0b41-4ee6-9031-202a739715e3"/>
</p:tagLst>
</file>

<file path=ppt/tags/tag68.xml><?xml version="1.0" encoding="utf-8"?>
<p:tagLst xmlns:a="http://schemas.openxmlformats.org/drawingml/2006/main" xmlns:r="http://schemas.openxmlformats.org/officeDocument/2006/relationships" xmlns:p="http://schemas.openxmlformats.org/presentationml/2006/main">
  <p:tag name="MIO_GUID" val="fcf09a26-c3c5-49f5-b9ae-282cdb517a73"/>
</p:tagLst>
</file>

<file path=ppt/tags/tag680.xml><?xml version="1.0" encoding="utf-8"?>
<p:tagLst xmlns:a="http://schemas.openxmlformats.org/drawingml/2006/main" xmlns:r="http://schemas.openxmlformats.org/officeDocument/2006/relationships" xmlns:p="http://schemas.openxmlformats.org/presentationml/2006/main">
  <p:tag name="MIO_GUID" val="dcd77ad8-8dec-41e8-963c-4facc6dced86"/>
</p:tagLst>
</file>

<file path=ppt/tags/tag681.xml><?xml version="1.0" encoding="utf-8"?>
<p:tagLst xmlns:a="http://schemas.openxmlformats.org/drawingml/2006/main" xmlns:r="http://schemas.openxmlformats.org/officeDocument/2006/relationships" xmlns:p="http://schemas.openxmlformats.org/presentationml/2006/main">
  <p:tag name="MIO_GUID" val="2c477b73-5efe-4d8d-9b07-bd5d9e463cf6"/>
</p:tagLst>
</file>

<file path=ppt/tags/tag682.xml><?xml version="1.0" encoding="utf-8"?>
<p:tagLst xmlns:a="http://schemas.openxmlformats.org/drawingml/2006/main" xmlns:r="http://schemas.openxmlformats.org/officeDocument/2006/relationships" xmlns:p="http://schemas.openxmlformats.org/presentationml/2006/main">
  <p:tag name="MIO_GUID" val="6afb46e8-30ea-40f8-8cfd-c46c5d4bdfd8"/>
</p:tagLst>
</file>

<file path=ppt/tags/tag683.xml><?xml version="1.0" encoding="utf-8"?>
<p:tagLst xmlns:a="http://schemas.openxmlformats.org/drawingml/2006/main" xmlns:r="http://schemas.openxmlformats.org/officeDocument/2006/relationships" xmlns:p="http://schemas.openxmlformats.org/presentationml/2006/main">
  <p:tag name="MIO_GUID" val="654a1094-c9dc-4759-ba68-0950fba8a342"/>
</p:tagLst>
</file>

<file path=ppt/tags/tag684.xml><?xml version="1.0" encoding="utf-8"?>
<p:tagLst xmlns:a="http://schemas.openxmlformats.org/drawingml/2006/main" xmlns:r="http://schemas.openxmlformats.org/officeDocument/2006/relationships" xmlns:p="http://schemas.openxmlformats.org/presentationml/2006/main">
  <p:tag name="MIO_GUID" val="f52bd3e8-bb7a-4b2b-b385-dff0f53334b0"/>
</p:tagLst>
</file>

<file path=ppt/tags/tag685.xml><?xml version="1.0" encoding="utf-8"?>
<p:tagLst xmlns:a="http://schemas.openxmlformats.org/drawingml/2006/main" xmlns:r="http://schemas.openxmlformats.org/officeDocument/2006/relationships" xmlns:p="http://schemas.openxmlformats.org/presentationml/2006/main">
  <p:tag name="MIO_GUID" val="d4e0ebca-7919-4761-b7c6-f45b714d3d15"/>
</p:tagLst>
</file>

<file path=ppt/tags/tag686.xml><?xml version="1.0" encoding="utf-8"?>
<p:tagLst xmlns:a="http://schemas.openxmlformats.org/drawingml/2006/main" xmlns:r="http://schemas.openxmlformats.org/officeDocument/2006/relationships" xmlns:p="http://schemas.openxmlformats.org/presentationml/2006/main">
  <p:tag name="MIO_GUID" val="e03311c7-386b-4862-b2b4-651b55155d3c"/>
</p:tagLst>
</file>

<file path=ppt/tags/tag687.xml><?xml version="1.0" encoding="utf-8"?>
<p:tagLst xmlns:a="http://schemas.openxmlformats.org/drawingml/2006/main" xmlns:r="http://schemas.openxmlformats.org/officeDocument/2006/relationships" xmlns:p="http://schemas.openxmlformats.org/presentationml/2006/main">
  <p:tag name="MIO_GUID" val="4d6c8194-a3e2-4510-8a85-e78db78d23bc"/>
</p:tagLst>
</file>

<file path=ppt/tags/tag688.xml><?xml version="1.0" encoding="utf-8"?>
<p:tagLst xmlns:a="http://schemas.openxmlformats.org/drawingml/2006/main" xmlns:r="http://schemas.openxmlformats.org/officeDocument/2006/relationships" xmlns:p="http://schemas.openxmlformats.org/presentationml/2006/main">
  <p:tag name="MIO_GUID" val="8adb8528-5e91-420c-b6f1-1ef21f474c89"/>
</p:tagLst>
</file>

<file path=ppt/tags/tag689.xml><?xml version="1.0" encoding="utf-8"?>
<p:tagLst xmlns:a="http://schemas.openxmlformats.org/drawingml/2006/main" xmlns:r="http://schemas.openxmlformats.org/officeDocument/2006/relationships" xmlns:p="http://schemas.openxmlformats.org/presentationml/2006/main">
  <p:tag name="MIO_GUID" val="547d157f-c95b-43c4-9430-8b9192851301"/>
</p:tagLst>
</file>

<file path=ppt/tags/tag69.xml><?xml version="1.0" encoding="utf-8"?>
<p:tagLst xmlns:a="http://schemas.openxmlformats.org/drawingml/2006/main" xmlns:r="http://schemas.openxmlformats.org/officeDocument/2006/relationships" xmlns:p="http://schemas.openxmlformats.org/presentationml/2006/main">
  <p:tag name="MIO_GUID" val="3bc59d2a-b007-4232-8dd7-f97c7680854a"/>
</p:tagLst>
</file>

<file path=ppt/tags/tag690.xml><?xml version="1.0" encoding="utf-8"?>
<p:tagLst xmlns:a="http://schemas.openxmlformats.org/drawingml/2006/main" xmlns:r="http://schemas.openxmlformats.org/officeDocument/2006/relationships" xmlns:p="http://schemas.openxmlformats.org/presentationml/2006/main">
  <p:tag name="MIO_GUID" val="73b72258-0a93-4b83-b9de-9a428b8840f1"/>
</p:tagLst>
</file>

<file path=ppt/tags/tag691.xml><?xml version="1.0" encoding="utf-8"?>
<p:tagLst xmlns:a="http://schemas.openxmlformats.org/drawingml/2006/main" xmlns:r="http://schemas.openxmlformats.org/officeDocument/2006/relationships" xmlns:p="http://schemas.openxmlformats.org/presentationml/2006/main">
  <p:tag name="MIO_GUID" val="b0842360-3954-4061-8982-5830f193d9fb"/>
</p:tagLst>
</file>

<file path=ppt/tags/tag692.xml><?xml version="1.0" encoding="utf-8"?>
<p:tagLst xmlns:a="http://schemas.openxmlformats.org/drawingml/2006/main" xmlns:r="http://schemas.openxmlformats.org/officeDocument/2006/relationships" xmlns:p="http://schemas.openxmlformats.org/presentationml/2006/main">
  <p:tag name="MIO_GUID" val="dd436e65-45e4-4e00-94c8-38bd168cc1dc"/>
</p:tagLst>
</file>

<file path=ppt/tags/tag693.xml><?xml version="1.0" encoding="utf-8"?>
<p:tagLst xmlns:a="http://schemas.openxmlformats.org/drawingml/2006/main" xmlns:r="http://schemas.openxmlformats.org/officeDocument/2006/relationships" xmlns:p="http://schemas.openxmlformats.org/presentationml/2006/main">
  <p:tag name="MIO_GUID" val="639e8d25-552b-431a-a8bf-59655b911025"/>
</p:tagLst>
</file>

<file path=ppt/tags/tag694.xml><?xml version="1.0" encoding="utf-8"?>
<p:tagLst xmlns:a="http://schemas.openxmlformats.org/drawingml/2006/main" xmlns:r="http://schemas.openxmlformats.org/officeDocument/2006/relationships" xmlns:p="http://schemas.openxmlformats.org/presentationml/2006/main">
  <p:tag name="MIO_GUID" val="84970226-3d4f-409e-bd94-1dd1d616621a"/>
</p:tagLst>
</file>

<file path=ppt/tags/tag695.xml><?xml version="1.0" encoding="utf-8"?>
<p:tagLst xmlns:a="http://schemas.openxmlformats.org/drawingml/2006/main" xmlns:r="http://schemas.openxmlformats.org/officeDocument/2006/relationships" xmlns:p="http://schemas.openxmlformats.org/presentationml/2006/main">
  <p:tag name="MIO_GUID" val="cdc13604-8dc8-4ff8-b858-f336c718963e"/>
</p:tagLst>
</file>

<file path=ppt/tags/tag696.xml><?xml version="1.0" encoding="utf-8"?>
<p:tagLst xmlns:a="http://schemas.openxmlformats.org/drawingml/2006/main" xmlns:r="http://schemas.openxmlformats.org/officeDocument/2006/relationships" xmlns:p="http://schemas.openxmlformats.org/presentationml/2006/main">
  <p:tag name="MIO_GUID" val="fc9fe07b-8945-4b1f-909c-8730371fdaf6"/>
</p:tagLst>
</file>

<file path=ppt/tags/tag697.xml><?xml version="1.0" encoding="utf-8"?>
<p:tagLst xmlns:a="http://schemas.openxmlformats.org/drawingml/2006/main" xmlns:r="http://schemas.openxmlformats.org/officeDocument/2006/relationships" xmlns:p="http://schemas.openxmlformats.org/presentationml/2006/main">
  <p:tag name="MIO_GUID" val="1796e635-2d3b-4c84-8b0f-4083339c6204"/>
</p:tagLst>
</file>

<file path=ppt/tags/tag698.xml><?xml version="1.0" encoding="utf-8"?>
<p:tagLst xmlns:a="http://schemas.openxmlformats.org/drawingml/2006/main" xmlns:r="http://schemas.openxmlformats.org/officeDocument/2006/relationships" xmlns:p="http://schemas.openxmlformats.org/presentationml/2006/main">
  <p:tag name="MIO_GUID" val="0ad3ae6a-035e-4f0c-843a-627037061df2"/>
</p:tagLst>
</file>

<file path=ppt/tags/tag699.xml><?xml version="1.0" encoding="utf-8"?>
<p:tagLst xmlns:a="http://schemas.openxmlformats.org/drawingml/2006/main" xmlns:r="http://schemas.openxmlformats.org/officeDocument/2006/relationships" xmlns:p="http://schemas.openxmlformats.org/presentationml/2006/main">
  <p:tag name="MIO_GUID" val="68dfe704-c090-45a0-92a7-c70fc419fd8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MIO_GUID" val="3bc59d2a-b007-4232-8dd7-f97c7680854a"/>
</p:tagLst>
</file>

<file path=ppt/tags/tag700.xml><?xml version="1.0" encoding="utf-8"?>
<p:tagLst xmlns:a="http://schemas.openxmlformats.org/drawingml/2006/main" xmlns:r="http://schemas.openxmlformats.org/officeDocument/2006/relationships" xmlns:p="http://schemas.openxmlformats.org/presentationml/2006/main">
  <p:tag name="MIO_GUID" val="3550159c-3bb7-4427-b2b1-6c7889dda155"/>
</p:tagLst>
</file>

<file path=ppt/tags/tag701.xml><?xml version="1.0" encoding="utf-8"?>
<p:tagLst xmlns:a="http://schemas.openxmlformats.org/drawingml/2006/main" xmlns:r="http://schemas.openxmlformats.org/officeDocument/2006/relationships" xmlns:p="http://schemas.openxmlformats.org/presentationml/2006/main">
  <p:tag name="MIO_GUID" val="fce89662-7e85-4fc7-a231-dfe1f170464b"/>
</p:tagLst>
</file>

<file path=ppt/tags/tag702.xml><?xml version="1.0" encoding="utf-8"?>
<p:tagLst xmlns:a="http://schemas.openxmlformats.org/drawingml/2006/main" xmlns:r="http://schemas.openxmlformats.org/officeDocument/2006/relationships" xmlns:p="http://schemas.openxmlformats.org/presentationml/2006/main">
  <p:tag name="MIO_GUID" val="2c438d5a-c0be-4737-9399-068fef0bbf78"/>
</p:tagLst>
</file>

<file path=ppt/tags/tag703.xml><?xml version="1.0" encoding="utf-8"?>
<p:tagLst xmlns:a="http://schemas.openxmlformats.org/drawingml/2006/main" xmlns:r="http://schemas.openxmlformats.org/officeDocument/2006/relationships" xmlns:p="http://schemas.openxmlformats.org/presentationml/2006/main">
  <p:tag name="MIO_GUID" val="ebcf4f9c-e582-4217-be44-c262d69b42be"/>
</p:tagLst>
</file>

<file path=ppt/tags/tag704.xml><?xml version="1.0" encoding="utf-8"?>
<p:tagLst xmlns:a="http://schemas.openxmlformats.org/drawingml/2006/main" xmlns:r="http://schemas.openxmlformats.org/officeDocument/2006/relationships" xmlns:p="http://schemas.openxmlformats.org/presentationml/2006/main">
  <p:tag name="MIO_GUID" val="ff3a788f-7dec-4fbb-a131-753967154473"/>
</p:tagLst>
</file>

<file path=ppt/tags/tag705.xml><?xml version="1.0" encoding="utf-8"?>
<p:tagLst xmlns:a="http://schemas.openxmlformats.org/drawingml/2006/main" xmlns:r="http://schemas.openxmlformats.org/officeDocument/2006/relationships" xmlns:p="http://schemas.openxmlformats.org/presentationml/2006/main">
  <p:tag name="MIO_GUID" val="10f5742a-9de3-4fa9-87c8-61339ac7ea09"/>
</p:tagLst>
</file>

<file path=ppt/tags/tag706.xml><?xml version="1.0" encoding="utf-8"?>
<p:tagLst xmlns:a="http://schemas.openxmlformats.org/drawingml/2006/main" xmlns:r="http://schemas.openxmlformats.org/officeDocument/2006/relationships" xmlns:p="http://schemas.openxmlformats.org/presentationml/2006/main">
  <p:tag name="MIO_GUID" val="ccb4df8b-6977-4fd9-bca5-e5889cae045e"/>
</p:tagLst>
</file>

<file path=ppt/tags/tag707.xml><?xml version="1.0" encoding="utf-8"?>
<p:tagLst xmlns:a="http://schemas.openxmlformats.org/drawingml/2006/main" xmlns:r="http://schemas.openxmlformats.org/officeDocument/2006/relationships" xmlns:p="http://schemas.openxmlformats.org/presentationml/2006/main">
  <p:tag name="MIO_GUID" val="a20825b5-7de7-4e4c-938f-90021e9df05a"/>
</p:tagLst>
</file>

<file path=ppt/tags/tag708.xml><?xml version="1.0" encoding="utf-8"?>
<p:tagLst xmlns:a="http://schemas.openxmlformats.org/drawingml/2006/main" xmlns:r="http://schemas.openxmlformats.org/officeDocument/2006/relationships" xmlns:p="http://schemas.openxmlformats.org/presentationml/2006/main">
  <p:tag name="MIO_GUID" val="3d1345f7-3a6a-40fa-bcfd-0b25bd6a94b7"/>
</p:tagLst>
</file>

<file path=ppt/tags/tag709.xml><?xml version="1.0" encoding="utf-8"?>
<p:tagLst xmlns:a="http://schemas.openxmlformats.org/drawingml/2006/main" xmlns:r="http://schemas.openxmlformats.org/officeDocument/2006/relationships" xmlns:p="http://schemas.openxmlformats.org/presentationml/2006/main">
  <p:tag name="MIO_GUID" val="eae85c45-e576-4661-a640-3e37291fb9c2"/>
</p:tagLst>
</file>

<file path=ppt/tags/tag71.xml><?xml version="1.0" encoding="utf-8"?>
<p:tagLst xmlns:a="http://schemas.openxmlformats.org/drawingml/2006/main" xmlns:r="http://schemas.openxmlformats.org/officeDocument/2006/relationships" xmlns:p="http://schemas.openxmlformats.org/presentationml/2006/main">
  <p:tag name="MIO_GUID" val="057b718e-0070-4e75-983a-e3a18e3ec57d"/>
</p:tagLst>
</file>

<file path=ppt/tags/tag710.xml><?xml version="1.0" encoding="utf-8"?>
<p:tagLst xmlns:a="http://schemas.openxmlformats.org/drawingml/2006/main" xmlns:r="http://schemas.openxmlformats.org/officeDocument/2006/relationships" xmlns:p="http://schemas.openxmlformats.org/presentationml/2006/main">
  <p:tag name="MIO_GUID" val="0bf5ed7d-1f7c-4bdd-9589-2329a998a593"/>
</p:tagLst>
</file>

<file path=ppt/tags/tag711.xml><?xml version="1.0" encoding="utf-8"?>
<p:tagLst xmlns:a="http://schemas.openxmlformats.org/drawingml/2006/main" xmlns:r="http://schemas.openxmlformats.org/officeDocument/2006/relationships" xmlns:p="http://schemas.openxmlformats.org/presentationml/2006/main">
  <p:tag name="MIO_GUID" val="c7613a28-f48b-4c46-86ef-121c3edf992f"/>
</p:tagLst>
</file>

<file path=ppt/tags/tag712.xml><?xml version="1.0" encoding="utf-8"?>
<p:tagLst xmlns:a="http://schemas.openxmlformats.org/drawingml/2006/main" xmlns:r="http://schemas.openxmlformats.org/officeDocument/2006/relationships" xmlns:p="http://schemas.openxmlformats.org/presentationml/2006/main">
  <p:tag name="MIO_GUID" val="61a70e89-e2cf-44e7-9131-587492ce4ec1"/>
</p:tagLst>
</file>

<file path=ppt/tags/tag713.xml><?xml version="1.0" encoding="utf-8"?>
<p:tagLst xmlns:a="http://schemas.openxmlformats.org/drawingml/2006/main" xmlns:r="http://schemas.openxmlformats.org/officeDocument/2006/relationships" xmlns:p="http://schemas.openxmlformats.org/presentationml/2006/main">
  <p:tag name="MIO_GUID" val="a84bb9ff-36bf-4b06-b5c2-759ba6cd9e09"/>
</p:tagLst>
</file>

<file path=ppt/tags/tag714.xml><?xml version="1.0" encoding="utf-8"?>
<p:tagLst xmlns:a="http://schemas.openxmlformats.org/drawingml/2006/main" xmlns:r="http://schemas.openxmlformats.org/officeDocument/2006/relationships" xmlns:p="http://schemas.openxmlformats.org/presentationml/2006/main">
  <p:tag name="MIO_GUID" val="89076d92-aada-40b1-b329-445d7eb9c134"/>
</p:tagLst>
</file>

<file path=ppt/tags/tag715.xml><?xml version="1.0" encoding="utf-8"?>
<p:tagLst xmlns:a="http://schemas.openxmlformats.org/drawingml/2006/main" xmlns:r="http://schemas.openxmlformats.org/officeDocument/2006/relationships" xmlns:p="http://schemas.openxmlformats.org/presentationml/2006/main">
  <p:tag name="MIO_GUID" val="9157ac33-2fbe-4c5d-a2df-afddf5cb442e"/>
</p:tagLst>
</file>

<file path=ppt/tags/tag716.xml><?xml version="1.0" encoding="utf-8"?>
<p:tagLst xmlns:a="http://schemas.openxmlformats.org/drawingml/2006/main" xmlns:r="http://schemas.openxmlformats.org/officeDocument/2006/relationships" xmlns:p="http://schemas.openxmlformats.org/presentationml/2006/main">
  <p:tag name="MIO_GUID" val="ec34f936-ba0a-42dd-82cd-5932cd0c3f31"/>
</p:tagLst>
</file>

<file path=ppt/tags/tag717.xml><?xml version="1.0" encoding="utf-8"?>
<p:tagLst xmlns:a="http://schemas.openxmlformats.org/drawingml/2006/main" xmlns:r="http://schemas.openxmlformats.org/officeDocument/2006/relationships" xmlns:p="http://schemas.openxmlformats.org/presentationml/2006/main">
  <p:tag name="MIO_GUID" val="9730aa22-72c9-47df-be99-06d2cd5a7e93"/>
</p:tagLst>
</file>

<file path=ppt/tags/tag718.xml><?xml version="1.0" encoding="utf-8"?>
<p:tagLst xmlns:a="http://schemas.openxmlformats.org/drawingml/2006/main" xmlns:r="http://schemas.openxmlformats.org/officeDocument/2006/relationships" xmlns:p="http://schemas.openxmlformats.org/presentationml/2006/main">
  <p:tag name="MIO_GUID" val="3c0b2b31-3f04-4c02-b211-ca49dc8a7e24"/>
</p:tagLst>
</file>

<file path=ppt/tags/tag719.xml><?xml version="1.0" encoding="utf-8"?>
<p:tagLst xmlns:a="http://schemas.openxmlformats.org/drawingml/2006/main" xmlns:r="http://schemas.openxmlformats.org/officeDocument/2006/relationships" xmlns:p="http://schemas.openxmlformats.org/presentationml/2006/main">
  <p:tag name="MIO_GUID" val="129851f0-4252-4ed8-a8ec-ca9c64797826"/>
</p:tagLst>
</file>

<file path=ppt/tags/tag72.xml><?xml version="1.0" encoding="utf-8"?>
<p:tagLst xmlns:a="http://schemas.openxmlformats.org/drawingml/2006/main" xmlns:r="http://schemas.openxmlformats.org/officeDocument/2006/relationships" xmlns:p="http://schemas.openxmlformats.org/presentationml/2006/main">
  <p:tag name="MIO_GUID" val="fcf09a26-c3c5-49f5-b9ae-282cdb517a73"/>
</p:tagLst>
</file>

<file path=ppt/tags/tag720.xml><?xml version="1.0" encoding="utf-8"?>
<p:tagLst xmlns:a="http://schemas.openxmlformats.org/drawingml/2006/main" xmlns:r="http://schemas.openxmlformats.org/officeDocument/2006/relationships" xmlns:p="http://schemas.openxmlformats.org/presentationml/2006/main">
  <p:tag name="MIO_GUID" val="2029dd63-e6b3-489a-a86b-933d2ebb5af7"/>
</p:tagLst>
</file>

<file path=ppt/tags/tag721.xml><?xml version="1.0" encoding="utf-8"?>
<p:tagLst xmlns:a="http://schemas.openxmlformats.org/drawingml/2006/main" xmlns:r="http://schemas.openxmlformats.org/officeDocument/2006/relationships" xmlns:p="http://schemas.openxmlformats.org/presentationml/2006/main">
  <p:tag name="MIO_GUID" val="401bda17-eb5d-4309-a372-1b46eb8521e0"/>
</p:tagLst>
</file>

<file path=ppt/tags/tag722.xml><?xml version="1.0" encoding="utf-8"?>
<p:tagLst xmlns:a="http://schemas.openxmlformats.org/drawingml/2006/main" xmlns:r="http://schemas.openxmlformats.org/officeDocument/2006/relationships" xmlns:p="http://schemas.openxmlformats.org/presentationml/2006/main">
  <p:tag name="MIO_GUID" val="5eba2ce1-15dd-449b-af1d-d524a5df5154"/>
</p:tagLst>
</file>

<file path=ppt/tags/tag723.xml><?xml version="1.0" encoding="utf-8"?>
<p:tagLst xmlns:a="http://schemas.openxmlformats.org/drawingml/2006/main" xmlns:r="http://schemas.openxmlformats.org/officeDocument/2006/relationships" xmlns:p="http://schemas.openxmlformats.org/presentationml/2006/main">
  <p:tag name="MIO_GUID" val="3d59c526-9119-43f4-9c3c-c265a121b0f0"/>
</p:tagLst>
</file>

<file path=ppt/tags/tag724.xml><?xml version="1.0" encoding="utf-8"?>
<p:tagLst xmlns:a="http://schemas.openxmlformats.org/drawingml/2006/main" xmlns:r="http://schemas.openxmlformats.org/officeDocument/2006/relationships" xmlns:p="http://schemas.openxmlformats.org/presentationml/2006/main">
  <p:tag name="MIO_GUID" val="bb8a4743-7c33-4784-8b7c-d313f491f91a"/>
</p:tagLst>
</file>

<file path=ppt/tags/tag725.xml><?xml version="1.0" encoding="utf-8"?>
<p:tagLst xmlns:a="http://schemas.openxmlformats.org/drawingml/2006/main" xmlns:r="http://schemas.openxmlformats.org/officeDocument/2006/relationships" xmlns:p="http://schemas.openxmlformats.org/presentationml/2006/main">
  <p:tag name="MIO_GUID" val="a7e9c03f-e48f-4410-9b84-78681620d97d"/>
</p:tagLst>
</file>

<file path=ppt/tags/tag726.xml><?xml version="1.0" encoding="utf-8"?>
<p:tagLst xmlns:a="http://schemas.openxmlformats.org/drawingml/2006/main" xmlns:r="http://schemas.openxmlformats.org/officeDocument/2006/relationships" xmlns:p="http://schemas.openxmlformats.org/presentationml/2006/main">
  <p:tag name="MIO_GUID" val="7603a5eb-1e5f-49ee-9853-fcea0b1654a5"/>
</p:tagLst>
</file>

<file path=ppt/tags/tag727.xml><?xml version="1.0" encoding="utf-8"?>
<p:tagLst xmlns:a="http://schemas.openxmlformats.org/drawingml/2006/main" xmlns:r="http://schemas.openxmlformats.org/officeDocument/2006/relationships" xmlns:p="http://schemas.openxmlformats.org/presentationml/2006/main">
  <p:tag name="MIO_GUID" val="e5dbcf65-cd30-4769-aebb-4c0f4b706b1d"/>
</p:tagLst>
</file>

<file path=ppt/tags/tag728.xml><?xml version="1.0" encoding="utf-8"?>
<p:tagLst xmlns:a="http://schemas.openxmlformats.org/drawingml/2006/main" xmlns:r="http://schemas.openxmlformats.org/officeDocument/2006/relationships" xmlns:p="http://schemas.openxmlformats.org/presentationml/2006/main">
  <p:tag name="MIO_GUID" val="30a48791-cff1-47cd-b8f6-84a051f3ca63"/>
</p:tagLst>
</file>

<file path=ppt/tags/tag729.xml><?xml version="1.0" encoding="utf-8"?>
<p:tagLst xmlns:a="http://schemas.openxmlformats.org/drawingml/2006/main" xmlns:r="http://schemas.openxmlformats.org/officeDocument/2006/relationships" xmlns:p="http://schemas.openxmlformats.org/presentationml/2006/main">
  <p:tag name="MIO_GUID" val="d711d5dc-d6c5-4cdc-9309-82f2274f0b23"/>
</p:tagLst>
</file>

<file path=ppt/tags/tag73.xml><?xml version="1.0" encoding="utf-8"?>
<p:tagLst xmlns:a="http://schemas.openxmlformats.org/drawingml/2006/main" xmlns:r="http://schemas.openxmlformats.org/officeDocument/2006/relationships" xmlns:p="http://schemas.openxmlformats.org/presentationml/2006/main">
  <p:tag name="MIO_GUID" val="18e7e6cf-c9fb-4c0b-8e8b-fbc2737564fc"/>
</p:tagLst>
</file>

<file path=ppt/tags/tag730.xml><?xml version="1.0" encoding="utf-8"?>
<p:tagLst xmlns:a="http://schemas.openxmlformats.org/drawingml/2006/main" xmlns:r="http://schemas.openxmlformats.org/officeDocument/2006/relationships" xmlns:p="http://schemas.openxmlformats.org/presentationml/2006/main">
  <p:tag name="MIO_GUID" val="5d5be963-8f86-41ad-8632-d4ea0ebe71b2"/>
</p:tagLst>
</file>

<file path=ppt/tags/tag731.xml><?xml version="1.0" encoding="utf-8"?>
<p:tagLst xmlns:a="http://schemas.openxmlformats.org/drawingml/2006/main" xmlns:r="http://schemas.openxmlformats.org/officeDocument/2006/relationships" xmlns:p="http://schemas.openxmlformats.org/presentationml/2006/main">
  <p:tag name="MIO_GUID" val="44c72dac-b0c5-4517-b6d3-f602fef7cb5c"/>
</p:tagLst>
</file>

<file path=ppt/tags/tag732.xml><?xml version="1.0" encoding="utf-8"?>
<p:tagLst xmlns:a="http://schemas.openxmlformats.org/drawingml/2006/main" xmlns:r="http://schemas.openxmlformats.org/officeDocument/2006/relationships" xmlns:p="http://schemas.openxmlformats.org/presentationml/2006/main">
  <p:tag name="MIO_GUID" val="9d8f63b8-0ffd-4b96-9d14-74acbadc207e"/>
</p:tagLst>
</file>

<file path=ppt/tags/tag733.xml><?xml version="1.0" encoding="utf-8"?>
<p:tagLst xmlns:a="http://schemas.openxmlformats.org/drawingml/2006/main" xmlns:r="http://schemas.openxmlformats.org/officeDocument/2006/relationships" xmlns:p="http://schemas.openxmlformats.org/presentationml/2006/main">
  <p:tag name="MIO_GUID" val="d2d79a63-3bf0-4740-8c4c-34c939f0f61b"/>
</p:tagLst>
</file>

<file path=ppt/tags/tag734.xml><?xml version="1.0" encoding="utf-8"?>
<p:tagLst xmlns:a="http://schemas.openxmlformats.org/drawingml/2006/main" xmlns:r="http://schemas.openxmlformats.org/officeDocument/2006/relationships" xmlns:p="http://schemas.openxmlformats.org/presentationml/2006/main">
  <p:tag name="MIO_GUID" val="0ba52baf-20fa-4e93-9145-6e15fc8b6f50"/>
</p:tagLst>
</file>

<file path=ppt/tags/tag735.xml><?xml version="1.0" encoding="utf-8"?>
<p:tagLst xmlns:a="http://schemas.openxmlformats.org/drawingml/2006/main" xmlns:r="http://schemas.openxmlformats.org/officeDocument/2006/relationships" xmlns:p="http://schemas.openxmlformats.org/presentationml/2006/main">
  <p:tag name="MIO_GUID" val="0881c296-aea8-42ad-be9c-4820cd2238ba"/>
</p:tagLst>
</file>

<file path=ppt/tags/tag736.xml><?xml version="1.0" encoding="utf-8"?>
<p:tagLst xmlns:a="http://schemas.openxmlformats.org/drawingml/2006/main" xmlns:r="http://schemas.openxmlformats.org/officeDocument/2006/relationships" xmlns:p="http://schemas.openxmlformats.org/presentationml/2006/main">
  <p:tag name="MIO_GUID" val="e0700b6c-015e-409e-95ff-b1f6c1628f40"/>
</p:tagLst>
</file>

<file path=ppt/tags/tag737.xml><?xml version="1.0" encoding="utf-8"?>
<p:tagLst xmlns:a="http://schemas.openxmlformats.org/drawingml/2006/main" xmlns:r="http://schemas.openxmlformats.org/officeDocument/2006/relationships" xmlns:p="http://schemas.openxmlformats.org/presentationml/2006/main">
  <p:tag name="MIO_GUID" val="4313b182-86d4-4014-b3b8-cdfce21a9b52"/>
</p:tagLst>
</file>

<file path=ppt/tags/tag738.xml><?xml version="1.0" encoding="utf-8"?>
<p:tagLst xmlns:a="http://schemas.openxmlformats.org/drawingml/2006/main" xmlns:r="http://schemas.openxmlformats.org/officeDocument/2006/relationships" xmlns:p="http://schemas.openxmlformats.org/presentationml/2006/main">
  <p:tag name="MIO_GUID" val="d3fffce4-3f6c-4565-9be4-1bac586aa54e"/>
</p:tagLst>
</file>

<file path=ppt/tags/tag739.xml><?xml version="1.0" encoding="utf-8"?>
<p:tagLst xmlns:a="http://schemas.openxmlformats.org/drawingml/2006/main" xmlns:r="http://schemas.openxmlformats.org/officeDocument/2006/relationships" xmlns:p="http://schemas.openxmlformats.org/presentationml/2006/main">
  <p:tag name="MIO_GUID" val="d9d434b6-c53d-433a-81a0-a787e506873f"/>
</p:tagLst>
</file>

<file path=ppt/tags/tag74.xml><?xml version="1.0" encoding="utf-8"?>
<p:tagLst xmlns:a="http://schemas.openxmlformats.org/drawingml/2006/main" xmlns:r="http://schemas.openxmlformats.org/officeDocument/2006/relationships" xmlns:p="http://schemas.openxmlformats.org/presentationml/2006/main">
  <p:tag name="MIO_GUID" val="25d9d417-c686-4886-9407-342296198819"/>
  <p:tag name="MIO_EKGUID" val="97a0141e-45d0-4843-8cc0-450e6b97743f"/>
  <p:tag name="MIO_UPDATE" val="True"/>
  <p:tag name="MIO_VERSION" val="15.11.2017 07:58:03"/>
  <p:tag name="MIO_DBID" val="5D9FD29E-BEEC-40D7-BFBE-407D9085DE5F"/>
  <p:tag name="MIO_LASTDOWNLOADED" val="23.09.2018 11:38:34"/>
  <p:tag name="MIO_OBJECTNAME" val="International"/>
  <p:tag name="MIO_LASTEDITORNAME" val="Elisabeth Roman"/>
</p:tagLst>
</file>

<file path=ppt/tags/tag740.xml><?xml version="1.0" encoding="utf-8"?>
<p:tagLst xmlns:a="http://schemas.openxmlformats.org/drawingml/2006/main" xmlns:r="http://schemas.openxmlformats.org/officeDocument/2006/relationships" xmlns:p="http://schemas.openxmlformats.org/presentationml/2006/main">
  <p:tag name="MIO_GUID" val="7955bd25-8d8c-481f-a001-e058827ec35e"/>
</p:tagLst>
</file>

<file path=ppt/tags/tag741.xml><?xml version="1.0" encoding="utf-8"?>
<p:tagLst xmlns:a="http://schemas.openxmlformats.org/drawingml/2006/main" xmlns:r="http://schemas.openxmlformats.org/officeDocument/2006/relationships" xmlns:p="http://schemas.openxmlformats.org/presentationml/2006/main">
  <p:tag name="MIO_GUID" val="27656843-0522-4668-9652-6418bafc7d49"/>
</p:tagLst>
</file>

<file path=ppt/tags/tag742.xml><?xml version="1.0" encoding="utf-8"?>
<p:tagLst xmlns:a="http://schemas.openxmlformats.org/drawingml/2006/main" xmlns:r="http://schemas.openxmlformats.org/officeDocument/2006/relationships" xmlns:p="http://schemas.openxmlformats.org/presentationml/2006/main">
  <p:tag name="MIO_GUID" val="058bce20-b60d-4eee-bc58-7e14ccb57c1d"/>
</p:tagLst>
</file>

<file path=ppt/tags/tag743.xml><?xml version="1.0" encoding="utf-8"?>
<p:tagLst xmlns:a="http://schemas.openxmlformats.org/drawingml/2006/main" xmlns:r="http://schemas.openxmlformats.org/officeDocument/2006/relationships" xmlns:p="http://schemas.openxmlformats.org/presentationml/2006/main">
  <p:tag name="MIO_GUID" val="f888ca38-2446-47d9-ae92-e79cfd385ead"/>
</p:tagLst>
</file>

<file path=ppt/tags/tag744.xml><?xml version="1.0" encoding="utf-8"?>
<p:tagLst xmlns:a="http://schemas.openxmlformats.org/drawingml/2006/main" xmlns:r="http://schemas.openxmlformats.org/officeDocument/2006/relationships" xmlns:p="http://schemas.openxmlformats.org/presentationml/2006/main">
  <p:tag name="MIO_GUID" val="42ef67a5-ed4c-45f0-a160-576adcd21c2d"/>
</p:tagLst>
</file>

<file path=ppt/tags/tag745.xml><?xml version="1.0" encoding="utf-8"?>
<p:tagLst xmlns:a="http://schemas.openxmlformats.org/drawingml/2006/main" xmlns:r="http://schemas.openxmlformats.org/officeDocument/2006/relationships" xmlns:p="http://schemas.openxmlformats.org/presentationml/2006/main">
  <p:tag name="MIO_GUID" val="bd6c4cf4-0b41-43f1-9796-bf3d8a85b496"/>
</p:tagLst>
</file>

<file path=ppt/tags/tag746.xml><?xml version="1.0" encoding="utf-8"?>
<p:tagLst xmlns:a="http://schemas.openxmlformats.org/drawingml/2006/main" xmlns:r="http://schemas.openxmlformats.org/officeDocument/2006/relationships" xmlns:p="http://schemas.openxmlformats.org/presentationml/2006/main">
  <p:tag name="MIO_GUID" val="47432423-5230-4df2-9a61-e00f0aeafc31"/>
</p:tagLst>
</file>

<file path=ppt/tags/tag747.xml><?xml version="1.0" encoding="utf-8"?>
<p:tagLst xmlns:a="http://schemas.openxmlformats.org/drawingml/2006/main" xmlns:r="http://schemas.openxmlformats.org/officeDocument/2006/relationships" xmlns:p="http://schemas.openxmlformats.org/presentationml/2006/main">
  <p:tag name="MIO_GUID" val="7d6d15e0-0c9f-46f1-8562-6c870225c9f7"/>
</p:tagLst>
</file>

<file path=ppt/tags/tag748.xml><?xml version="1.0" encoding="utf-8"?>
<p:tagLst xmlns:a="http://schemas.openxmlformats.org/drawingml/2006/main" xmlns:r="http://schemas.openxmlformats.org/officeDocument/2006/relationships" xmlns:p="http://schemas.openxmlformats.org/presentationml/2006/main">
  <p:tag name="MIO_GUID" val="f571a9d7-ba21-4a26-b863-c2f2614bd7aa"/>
</p:tagLst>
</file>

<file path=ppt/tags/tag749.xml><?xml version="1.0" encoding="utf-8"?>
<p:tagLst xmlns:a="http://schemas.openxmlformats.org/drawingml/2006/main" xmlns:r="http://schemas.openxmlformats.org/officeDocument/2006/relationships" xmlns:p="http://schemas.openxmlformats.org/presentationml/2006/main">
  <p:tag name="MIO_GUID" val="aedd313d-b24b-4fef-a671-70ae0b7352b6"/>
</p:tagLst>
</file>

<file path=ppt/tags/tag75.xml><?xml version="1.0" encoding="utf-8"?>
<p:tagLst xmlns:a="http://schemas.openxmlformats.org/drawingml/2006/main" xmlns:r="http://schemas.openxmlformats.org/officeDocument/2006/relationships" xmlns:p="http://schemas.openxmlformats.org/presentationml/2006/main">
  <p:tag name="MIO_GUID" val="6c8c6cac-0c14-4e06-910b-c20c4a643208"/>
</p:tagLst>
</file>

<file path=ppt/tags/tag750.xml><?xml version="1.0" encoding="utf-8"?>
<p:tagLst xmlns:a="http://schemas.openxmlformats.org/drawingml/2006/main" xmlns:r="http://schemas.openxmlformats.org/officeDocument/2006/relationships" xmlns:p="http://schemas.openxmlformats.org/presentationml/2006/main">
  <p:tag name="MIO_GUID" val="eb204ef2-d4c8-41bf-a378-5daf866dca44"/>
</p:tagLst>
</file>

<file path=ppt/tags/tag751.xml><?xml version="1.0" encoding="utf-8"?>
<p:tagLst xmlns:a="http://schemas.openxmlformats.org/drawingml/2006/main" xmlns:r="http://schemas.openxmlformats.org/officeDocument/2006/relationships" xmlns:p="http://schemas.openxmlformats.org/presentationml/2006/main">
  <p:tag name="MIO_GUID" val="575acc12-0a53-436e-a3b8-da7d5b7cea7b"/>
</p:tagLst>
</file>

<file path=ppt/tags/tag752.xml><?xml version="1.0" encoding="utf-8"?>
<p:tagLst xmlns:a="http://schemas.openxmlformats.org/drawingml/2006/main" xmlns:r="http://schemas.openxmlformats.org/officeDocument/2006/relationships" xmlns:p="http://schemas.openxmlformats.org/presentationml/2006/main">
  <p:tag name="MIO_GUID" val="50e6d258-b8e0-4cf6-b3b1-9815c3054a9b"/>
</p:tagLst>
</file>

<file path=ppt/tags/tag753.xml><?xml version="1.0" encoding="utf-8"?>
<p:tagLst xmlns:a="http://schemas.openxmlformats.org/drawingml/2006/main" xmlns:r="http://schemas.openxmlformats.org/officeDocument/2006/relationships" xmlns:p="http://schemas.openxmlformats.org/presentationml/2006/main">
  <p:tag name="MIO_GUID" val="ed999904-56b5-4bfc-92fe-9acfb9acb37f"/>
</p:tagLst>
</file>

<file path=ppt/tags/tag754.xml><?xml version="1.0" encoding="utf-8"?>
<p:tagLst xmlns:a="http://schemas.openxmlformats.org/drawingml/2006/main" xmlns:r="http://schemas.openxmlformats.org/officeDocument/2006/relationships" xmlns:p="http://schemas.openxmlformats.org/presentationml/2006/main">
  <p:tag name="MIO_GUID" val="9281774d-2e20-411f-b7d6-fb7f93acbf49"/>
</p:tagLst>
</file>

<file path=ppt/tags/tag755.xml><?xml version="1.0" encoding="utf-8"?>
<p:tagLst xmlns:a="http://schemas.openxmlformats.org/drawingml/2006/main" xmlns:r="http://schemas.openxmlformats.org/officeDocument/2006/relationships" xmlns:p="http://schemas.openxmlformats.org/presentationml/2006/main">
  <p:tag name="MIO_GUID" val="b87bb876-f303-4cd8-861d-69c4a3ded882"/>
</p:tagLst>
</file>

<file path=ppt/tags/tag756.xml><?xml version="1.0" encoding="utf-8"?>
<p:tagLst xmlns:a="http://schemas.openxmlformats.org/drawingml/2006/main" xmlns:r="http://schemas.openxmlformats.org/officeDocument/2006/relationships" xmlns:p="http://schemas.openxmlformats.org/presentationml/2006/main">
  <p:tag name="MIO_GUID" val="8be19399-03a7-49c7-bba0-eda28ac530d1"/>
</p:tagLst>
</file>

<file path=ppt/tags/tag757.xml><?xml version="1.0" encoding="utf-8"?>
<p:tagLst xmlns:a="http://schemas.openxmlformats.org/drawingml/2006/main" xmlns:r="http://schemas.openxmlformats.org/officeDocument/2006/relationships" xmlns:p="http://schemas.openxmlformats.org/presentationml/2006/main">
  <p:tag name="MIO_GUID" val="a4ac71ae-6f35-45af-8c7b-0439a3aa3cf0"/>
</p:tagLst>
</file>

<file path=ppt/tags/tag758.xml><?xml version="1.0" encoding="utf-8"?>
<p:tagLst xmlns:a="http://schemas.openxmlformats.org/drawingml/2006/main" xmlns:r="http://schemas.openxmlformats.org/officeDocument/2006/relationships" xmlns:p="http://schemas.openxmlformats.org/presentationml/2006/main">
  <p:tag name="MIO_GUID" val="52540b05-1473-4904-8815-af39ff886771"/>
</p:tagLst>
</file>

<file path=ppt/tags/tag759.xml><?xml version="1.0" encoding="utf-8"?>
<p:tagLst xmlns:a="http://schemas.openxmlformats.org/drawingml/2006/main" xmlns:r="http://schemas.openxmlformats.org/officeDocument/2006/relationships" xmlns:p="http://schemas.openxmlformats.org/presentationml/2006/main">
  <p:tag name="MIO_GUID" val="a34de907-7414-40eb-8e58-0b225adafd15"/>
</p:tagLst>
</file>

<file path=ppt/tags/tag76.xml><?xml version="1.0" encoding="utf-8"?>
<p:tagLst xmlns:a="http://schemas.openxmlformats.org/drawingml/2006/main" xmlns:r="http://schemas.openxmlformats.org/officeDocument/2006/relationships" xmlns:p="http://schemas.openxmlformats.org/presentationml/2006/main">
  <p:tag name="MIO_GUID" val="ec68d778-2a2a-460b-9d76-a7711c832aa9"/>
</p:tagLst>
</file>

<file path=ppt/tags/tag760.xml><?xml version="1.0" encoding="utf-8"?>
<p:tagLst xmlns:a="http://schemas.openxmlformats.org/drawingml/2006/main" xmlns:r="http://schemas.openxmlformats.org/officeDocument/2006/relationships" xmlns:p="http://schemas.openxmlformats.org/presentationml/2006/main">
  <p:tag name="MIO_GUID" val="04c72ec2-d611-4746-bf26-1d70d9203760"/>
</p:tagLst>
</file>

<file path=ppt/tags/tag761.xml><?xml version="1.0" encoding="utf-8"?>
<p:tagLst xmlns:a="http://schemas.openxmlformats.org/drawingml/2006/main" xmlns:r="http://schemas.openxmlformats.org/officeDocument/2006/relationships" xmlns:p="http://schemas.openxmlformats.org/presentationml/2006/main">
  <p:tag name="MIO_GUID" val="808ba00b-1390-45d6-9cde-9613d79a65dc"/>
</p:tagLst>
</file>

<file path=ppt/tags/tag762.xml><?xml version="1.0" encoding="utf-8"?>
<p:tagLst xmlns:a="http://schemas.openxmlformats.org/drawingml/2006/main" xmlns:r="http://schemas.openxmlformats.org/officeDocument/2006/relationships" xmlns:p="http://schemas.openxmlformats.org/presentationml/2006/main">
  <p:tag name="MIO_GUID" val="76e8640f-c3a8-4777-b53e-6a8c455f2166"/>
  <p:tag name="MIO_EKGUID" val="c709decf-8e27-499f-96a2-ce23c4efdafa"/>
  <p:tag name="MIO_UPDATE" val="True"/>
  <p:tag name="MIO_VERSION" val="13.03.2018 10:49:14"/>
  <p:tag name="MIO_DBID" val="5D9FD29E-BEEC-40D7-BFBE-407D9085DE5F"/>
  <p:tag name="MIO_LASTDOWNLOADED" val="30.01.2019 14:44:40"/>
  <p:tag name="MIO_OBJECTNAME" val="Europe (3)"/>
  <p:tag name="MIO_LASTEDITORNAME" val="Daniel J"/>
</p:tagLst>
</file>

<file path=ppt/tags/tag763.xml><?xml version="1.0" encoding="utf-8"?>
<p:tagLst xmlns:a="http://schemas.openxmlformats.org/drawingml/2006/main" xmlns:r="http://schemas.openxmlformats.org/officeDocument/2006/relationships" xmlns:p="http://schemas.openxmlformats.org/presentationml/2006/main">
  <p:tag name="MIO_GUID" val="94085ee6-d8d5-4a88-8a47-89f65610cfed"/>
  <p:tag name="MIO_EKGUID" val="db8edc77-4635-48b8-b181-047c043c1b57"/>
  <p:tag name="MIO_UPDATE" val="True"/>
  <p:tag name="MIO_VERSION" val="24.12.2018 07:19:48"/>
  <p:tag name="MIO_DBID" val="5D9FD29E-BEEC-40D7-BFBE-407D9085DE5F"/>
  <p:tag name="MIO_LASTDOWNLOADED" val="15.01.2020 12:51:12"/>
  <p:tag name="MIO_OBJECTNAME" val="Check List"/>
  <p:tag name="MIO_LASTEDITORNAME" val="Bhuvaneswari Baskar"/>
</p:tagLst>
</file>

<file path=ppt/tags/tag764.xml><?xml version="1.0" encoding="utf-8"?>
<p:tagLst xmlns:a="http://schemas.openxmlformats.org/drawingml/2006/main" xmlns:r="http://schemas.openxmlformats.org/officeDocument/2006/relationships" xmlns:p="http://schemas.openxmlformats.org/presentationml/2006/main">
  <p:tag name="MIO_GUID" val="6d447636-b94f-46d7-822a-b6c158847c00"/>
  <p:tag name="MIO_EKGUID" val="749e50bb-b7e4-4402-a73f-cd47e9e4940d"/>
  <p:tag name="MIO_UPDATE" val="True"/>
  <p:tag name="MIO_VERSION" val="29.11.2018 08:25:48"/>
  <p:tag name="MIO_DBID" val="5D9FD29E-BEEC-40D7-BFBE-407D9085DE5F"/>
  <p:tag name="MIO_LASTDOWNLOADED" val="24.07.2020 16:00:07"/>
  <p:tag name="MIO_OBJECTNAME" val="Spain_ES"/>
  <p:tag name="MIO_LASTEDITORNAME" val="Bhuvaneswari Baskar"/>
</p:tagLst>
</file>

<file path=ppt/tags/tag765.xml><?xml version="1.0" encoding="utf-8"?>
<p:tagLst xmlns:a="http://schemas.openxmlformats.org/drawingml/2006/main" xmlns:r="http://schemas.openxmlformats.org/officeDocument/2006/relationships" xmlns:p="http://schemas.openxmlformats.org/presentationml/2006/main">
  <p:tag name="MIO_GUID" val="f6172658-b7b9-408d-afa4-fdee346ccd0d"/>
  <p:tag name="MIO_EKGUID" val="c579f42e-55fc-45ab-9484-d4a1e7e0f608"/>
  <p:tag name="MIO_UPDATE" val="True"/>
  <p:tag name="MIO_VERSION" val="29.11.2018 05:45:44"/>
  <p:tag name="MIO_DBID" val="5D9FD29E-BEEC-40D7-BFBE-407D9085DE5F"/>
  <p:tag name="MIO_LASTDOWNLOADED" val="24.07.2020 16:00:42"/>
  <p:tag name="MIO_OBJECTNAME" val="Great-Britain_GB"/>
  <p:tag name="MIO_LASTEDITORNAME" val="Bhuvaneswari Baskar"/>
</p:tagLst>
</file>

<file path=ppt/tags/tag766.xml><?xml version="1.0" encoding="utf-8"?>
<p:tagLst xmlns:a="http://schemas.openxmlformats.org/drawingml/2006/main" xmlns:r="http://schemas.openxmlformats.org/officeDocument/2006/relationships" xmlns:p="http://schemas.openxmlformats.org/presentationml/2006/main">
  <p:tag name="MIO_GUID" val="23d40ad0-a2e8-475f-80ea-74278646003c"/>
  <p:tag name="MIO_EKGUID" val="7063467c-d054-463f-a141-035e6fcdf5f2"/>
  <p:tag name="MIO_UPDATE" val="True"/>
  <p:tag name="MIO_VERSION" val="29.11.2018 07:45:37"/>
  <p:tag name="MIO_DBID" val="5D9FD29E-BEEC-40D7-BFBE-407D9085DE5F"/>
  <p:tag name="MIO_LASTDOWNLOADED" val="11.09.2019 12:43:31"/>
  <p:tag name="MIO_OBJECTNAME" val="Germany_DE"/>
  <p:tag name="MIO_LASTEDITORNAME" val="Bhuvaneswari Baskar"/>
</p:tagLst>
</file>

<file path=ppt/tags/tag767.xml><?xml version="1.0" encoding="utf-8"?>
<p:tagLst xmlns:a="http://schemas.openxmlformats.org/drawingml/2006/main" xmlns:r="http://schemas.openxmlformats.org/officeDocument/2006/relationships" xmlns:p="http://schemas.openxmlformats.org/presentationml/2006/main">
  <p:tag name="MIO_GUID" val="eecf99c3-321e-4e2a-ba79-3e1df09d8dd8"/>
</p:tagLst>
</file>

<file path=ppt/tags/tag768.xml><?xml version="1.0" encoding="utf-8"?>
<p:tagLst xmlns:a="http://schemas.openxmlformats.org/drawingml/2006/main" xmlns:r="http://schemas.openxmlformats.org/officeDocument/2006/relationships" xmlns:p="http://schemas.openxmlformats.org/presentationml/2006/main">
  <p:tag name="MIO_GUID" val="1db3285e-7c64-4054-9eb1-3a4b647c3089"/>
</p:tagLst>
</file>

<file path=ppt/tags/tag769.xml><?xml version="1.0" encoding="utf-8"?>
<p:tagLst xmlns:a="http://schemas.openxmlformats.org/drawingml/2006/main" xmlns:r="http://schemas.openxmlformats.org/officeDocument/2006/relationships" xmlns:p="http://schemas.openxmlformats.org/presentationml/2006/main">
  <p:tag name="MIO_GUID" val="132461bd-0a7c-48fd-a86b-5588f782c06d"/>
</p:tagLst>
</file>

<file path=ppt/tags/tag77.xml><?xml version="1.0" encoding="utf-8"?>
<p:tagLst xmlns:a="http://schemas.openxmlformats.org/drawingml/2006/main" xmlns:r="http://schemas.openxmlformats.org/officeDocument/2006/relationships" xmlns:p="http://schemas.openxmlformats.org/presentationml/2006/main">
  <p:tag name="MIO_GUID" val="866050bf-5c91-43e5-80da-dab87bee45b8"/>
</p:tagLst>
</file>

<file path=ppt/tags/tag770.xml><?xml version="1.0" encoding="utf-8"?>
<p:tagLst xmlns:a="http://schemas.openxmlformats.org/drawingml/2006/main" xmlns:r="http://schemas.openxmlformats.org/officeDocument/2006/relationships" xmlns:p="http://schemas.openxmlformats.org/presentationml/2006/main">
  <p:tag name="MIO_GUID" val="2c008cec-627f-4f3f-9baa-30b713733643"/>
</p:tagLst>
</file>

<file path=ppt/tags/tag771.xml><?xml version="1.0" encoding="utf-8"?>
<p:tagLst xmlns:a="http://schemas.openxmlformats.org/drawingml/2006/main" xmlns:r="http://schemas.openxmlformats.org/officeDocument/2006/relationships" xmlns:p="http://schemas.openxmlformats.org/presentationml/2006/main">
  <p:tag name="MIO_GUID" val="274b2f86-291d-45d1-829e-7803652d57ba"/>
</p:tagLst>
</file>

<file path=ppt/tags/tag772.xml><?xml version="1.0" encoding="utf-8"?>
<p:tagLst xmlns:a="http://schemas.openxmlformats.org/drawingml/2006/main" xmlns:r="http://schemas.openxmlformats.org/officeDocument/2006/relationships" xmlns:p="http://schemas.openxmlformats.org/presentationml/2006/main">
  <p:tag name="MIO_GUID" val="d218349d-0b41-4ee6-9031-202a739715e3"/>
</p:tagLst>
</file>

<file path=ppt/tags/tag773.xml><?xml version="1.0" encoding="utf-8"?>
<p:tagLst xmlns:a="http://schemas.openxmlformats.org/drawingml/2006/main" xmlns:r="http://schemas.openxmlformats.org/officeDocument/2006/relationships" xmlns:p="http://schemas.openxmlformats.org/presentationml/2006/main">
  <p:tag name="MIO_GUID" val="dcd77ad8-8dec-41e8-963c-4facc6dced86"/>
</p:tagLst>
</file>

<file path=ppt/tags/tag774.xml><?xml version="1.0" encoding="utf-8"?>
<p:tagLst xmlns:a="http://schemas.openxmlformats.org/drawingml/2006/main" xmlns:r="http://schemas.openxmlformats.org/officeDocument/2006/relationships" xmlns:p="http://schemas.openxmlformats.org/presentationml/2006/main">
  <p:tag name="MIO_GUID" val="2c477b73-5efe-4d8d-9b07-bd5d9e463cf6"/>
</p:tagLst>
</file>

<file path=ppt/tags/tag775.xml><?xml version="1.0" encoding="utf-8"?>
<p:tagLst xmlns:a="http://schemas.openxmlformats.org/drawingml/2006/main" xmlns:r="http://schemas.openxmlformats.org/officeDocument/2006/relationships" xmlns:p="http://schemas.openxmlformats.org/presentationml/2006/main">
  <p:tag name="MIO_GUID" val="6afb46e8-30ea-40f8-8cfd-c46c5d4bdfd8"/>
</p:tagLst>
</file>

<file path=ppt/tags/tag776.xml><?xml version="1.0" encoding="utf-8"?>
<p:tagLst xmlns:a="http://schemas.openxmlformats.org/drawingml/2006/main" xmlns:r="http://schemas.openxmlformats.org/officeDocument/2006/relationships" xmlns:p="http://schemas.openxmlformats.org/presentationml/2006/main">
  <p:tag name="MIO_GUID" val="654a1094-c9dc-4759-ba68-0950fba8a342"/>
</p:tagLst>
</file>

<file path=ppt/tags/tag777.xml><?xml version="1.0" encoding="utf-8"?>
<p:tagLst xmlns:a="http://schemas.openxmlformats.org/drawingml/2006/main" xmlns:r="http://schemas.openxmlformats.org/officeDocument/2006/relationships" xmlns:p="http://schemas.openxmlformats.org/presentationml/2006/main">
  <p:tag name="MIO_GUID" val="f52bd3e8-bb7a-4b2b-b385-dff0f53334b0"/>
</p:tagLst>
</file>

<file path=ppt/tags/tag778.xml><?xml version="1.0" encoding="utf-8"?>
<p:tagLst xmlns:a="http://schemas.openxmlformats.org/drawingml/2006/main" xmlns:r="http://schemas.openxmlformats.org/officeDocument/2006/relationships" xmlns:p="http://schemas.openxmlformats.org/presentationml/2006/main">
  <p:tag name="MIO_GUID" val="d4e0ebca-7919-4761-b7c6-f45b714d3d15"/>
</p:tagLst>
</file>

<file path=ppt/tags/tag779.xml><?xml version="1.0" encoding="utf-8"?>
<p:tagLst xmlns:a="http://schemas.openxmlformats.org/drawingml/2006/main" xmlns:r="http://schemas.openxmlformats.org/officeDocument/2006/relationships" xmlns:p="http://schemas.openxmlformats.org/presentationml/2006/main">
  <p:tag name="MIO_GUID" val="e03311c7-386b-4862-b2b4-651b55155d3c"/>
</p:tagLst>
</file>

<file path=ppt/tags/tag78.xml><?xml version="1.0" encoding="utf-8"?>
<p:tagLst xmlns:a="http://schemas.openxmlformats.org/drawingml/2006/main" xmlns:r="http://schemas.openxmlformats.org/officeDocument/2006/relationships" xmlns:p="http://schemas.openxmlformats.org/presentationml/2006/main">
  <p:tag name="MIO_GUID" val="2dbe2815-3c61-40f8-a9ce-be0f5616497b"/>
</p:tagLst>
</file>

<file path=ppt/tags/tag780.xml><?xml version="1.0" encoding="utf-8"?>
<p:tagLst xmlns:a="http://schemas.openxmlformats.org/drawingml/2006/main" xmlns:r="http://schemas.openxmlformats.org/officeDocument/2006/relationships" xmlns:p="http://schemas.openxmlformats.org/presentationml/2006/main">
  <p:tag name="MIO_GUID" val="4d6c8194-a3e2-4510-8a85-e78db78d23bc"/>
</p:tagLst>
</file>

<file path=ppt/tags/tag781.xml><?xml version="1.0" encoding="utf-8"?>
<p:tagLst xmlns:a="http://schemas.openxmlformats.org/drawingml/2006/main" xmlns:r="http://schemas.openxmlformats.org/officeDocument/2006/relationships" xmlns:p="http://schemas.openxmlformats.org/presentationml/2006/main">
  <p:tag name="MIO_GUID" val="8adb8528-5e91-420c-b6f1-1ef21f474c89"/>
</p:tagLst>
</file>

<file path=ppt/tags/tag782.xml><?xml version="1.0" encoding="utf-8"?>
<p:tagLst xmlns:a="http://schemas.openxmlformats.org/drawingml/2006/main" xmlns:r="http://schemas.openxmlformats.org/officeDocument/2006/relationships" xmlns:p="http://schemas.openxmlformats.org/presentationml/2006/main">
  <p:tag name="MIO_GUID" val="547d157f-c95b-43c4-9430-8b9192851301"/>
</p:tagLst>
</file>

<file path=ppt/tags/tag783.xml><?xml version="1.0" encoding="utf-8"?>
<p:tagLst xmlns:a="http://schemas.openxmlformats.org/drawingml/2006/main" xmlns:r="http://schemas.openxmlformats.org/officeDocument/2006/relationships" xmlns:p="http://schemas.openxmlformats.org/presentationml/2006/main">
  <p:tag name="MIO_GUID" val="73b72258-0a93-4b83-b9de-9a428b8840f1"/>
</p:tagLst>
</file>

<file path=ppt/tags/tag784.xml><?xml version="1.0" encoding="utf-8"?>
<p:tagLst xmlns:a="http://schemas.openxmlformats.org/drawingml/2006/main" xmlns:r="http://schemas.openxmlformats.org/officeDocument/2006/relationships" xmlns:p="http://schemas.openxmlformats.org/presentationml/2006/main">
  <p:tag name="MIO_GUID" val="b0842360-3954-4061-8982-5830f193d9fb"/>
</p:tagLst>
</file>

<file path=ppt/tags/tag785.xml><?xml version="1.0" encoding="utf-8"?>
<p:tagLst xmlns:a="http://schemas.openxmlformats.org/drawingml/2006/main" xmlns:r="http://schemas.openxmlformats.org/officeDocument/2006/relationships" xmlns:p="http://schemas.openxmlformats.org/presentationml/2006/main">
  <p:tag name="MIO_GUID" val="dd436e65-45e4-4e00-94c8-38bd168cc1dc"/>
</p:tagLst>
</file>

<file path=ppt/tags/tag786.xml><?xml version="1.0" encoding="utf-8"?>
<p:tagLst xmlns:a="http://schemas.openxmlformats.org/drawingml/2006/main" xmlns:r="http://schemas.openxmlformats.org/officeDocument/2006/relationships" xmlns:p="http://schemas.openxmlformats.org/presentationml/2006/main">
  <p:tag name="MIO_GUID" val="639e8d25-552b-431a-a8bf-59655b911025"/>
</p:tagLst>
</file>

<file path=ppt/tags/tag787.xml><?xml version="1.0" encoding="utf-8"?>
<p:tagLst xmlns:a="http://schemas.openxmlformats.org/drawingml/2006/main" xmlns:r="http://schemas.openxmlformats.org/officeDocument/2006/relationships" xmlns:p="http://schemas.openxmlformats.org/presentationml/2006/main">
  <p:tag name="MIO_GUID" val="84970226-3d4f-409e-bd94-1dd1d616621a"/>
</p:tagLst>
</file>

<file path=ppt/tags/tag788.xml><?xml version="1.0" encoding="utf-8"?>
<p:tagLst xmlns:a="http://schemas.openxmlformats.org/drawingml/2006/main" xmlns:r="http://schemas.openxmlformats.org/officeDocument/2006/relationships" xmlns:p="http://schemas.openxmlformats.org/presentationml/2006/main">
  <p:tag name="MIO_GUID" val="cdc13604-8dc8-4ff8-b858-f336c718963e"/>
</p:tagLst>
</file>

<file path=ppt/tags/tag789.xml><?xml version="1.0" encoding="utf-8"?>
<p:tagLst xmlns:a="http://schemas.openxmlformats.org/drawingml/2006/main" xmlns:r="http://schemas.openxmlformats.org/officeDocument/2006/relationships" xmlns:p="http://schemas.openxmlformats.org/presentationml/2006/main">
  <p:tag name="MIO_GUID" val="fc9fe07b-8945-4b1f-909c-8730371fdaf6"/>
</p:tagLst>
</file>

<file path=ppt/tags/tag79.xml><?xml version="1.0" encoding="utf-8"?>
<p:tagLst xmlns:a="http://schemas.openxmlformats.org/drawingml/2006/main" xmlns:r="http://schemas.openxmlformats.org/officeDocument/2006/relationships" xmlns:p="http://schemas.openxmlformats.org/presentationml/2006/main">
  <p:tag name="MIO_GUID" val="10cbc5b3-7958-4d8e-8b08-37ea716883cc"/>
</p:tagLst>
</file>

<file path=ppt/tags/tag790.xml><?xml version="1.0" encoding="utf-8"?>
<p:tagLst xmlns:a="http://schemas.openxmlformats.org/drawingml/2006/main" xmlns:r="http://schemas.openxmlformats.org/officeDocument/2006/relationships" xmlns:p="http://schemas.openxmlformats.org/presentationml/2006/main">
  <p:tag name="MIO_GUID" val="1796e635-2d3b-4c84-8b0f-4083339c6204"/>
</p:tagLst>
</file>

<file path=ppt/tags/tag791.xml><?xml version="1.0" encoding="utf-8"?>
<p:tagLst xmlns:a="http://schemas.openxmlformats.org/drawingml/2006/main" xmlns:r="http://schemas.openxmlformats.org/officeDocument/2006/relationships" xmlns:p="http://schemas.openxmlformats.org/presentationml/2006/main">
  <p:tag name="MIO_GUID" val="0ad3ae6a-035e-4f0c-843a-627037061df2"/>
</p:tagLst>
</file>

<file path=ppt/tags/tag792.xml><?xml version="1.0" encoding="utf-8"?>
<p:tagLst xmlns:a="http://schemas.openxmlformats.org/drawingml/2006/main" xmlns:r="http://schemas.openxmlformats.org/officeDocument/2006/relationships" xmlns:p="http://schemas.openxmlformats.org/presentationml/2006/main">
  <p:tag name="MIO_GUID" val="68dfe704-c090-45a0-92a7-c70fc419fd8e"/>
</p:tagLst>
</file>

<file path=ppt/tags/tag793.xml><?xml version="1.0" encoding="utf-8"?>
<p:tagLst xmlns:a="http://schemas.openxmlformats.org/drawingml/2006/main" xmlns:r="http://schemas.openxmlformats.org/officeDocument/2006/relationships" xmlns:p="http://schemas.openxmlformats.org/presentationml/2006/main">
  <p:tag name="MIO_GUID" val="3550159c-3bb7-4427-b2b1-6c7889dda155"/>
</p:tagLst>
</file>

<file path=ppt/tags/tag794.xml><?xml version="1.0" encoding="utf-8"?>
<p:tagLst xmlns:a="http://schemas.openxmlformats.org/drawingml/2006/main" xmlns:r="http://schemas.openxmlformats.org/officeDocument/2006/relationships" xmlns:p="http://schemas.openxmlformats.org/presentationml/2006/main">
  <p:tag name="MIO_GUID" val="fce89662-7e85-4fc7-a231-dfe1f170464b"/>
</p:tagLst>
</file>

<file path=ppt/tags/tag795.xml><?xml version="1.0" encoding="utf-8"?>
<p:tagLst xmlns:a="http://schemas.openxmlformats.org/drawingml/2006/main" xmlns:r="http://schemas.openxmlformats.org/officeDocument/2006/relationships" xmlns:p="http://schemas.openxmlformats.org/presentationml/2006/main">
  <p:tag name="MIO_GUID" val="2c438d5a-c0be-4737-9399-068fef0bbf78"/>
</p:tagLst>
</file>

<file path=ppt/tags/tag796.xml><?xml version="1.0" encoding="utf-8"?>
<p:tagLst xmlns:a="http://schemas.openxmlformats.org/drawingml/2006/main" xmlns:r="http://schemas.openxmlformats.org/officeDocument/2006/relationships" xmlns:p="http://schemas.openxmlformats.org/presentationml/2006/main">
  <p:tag name="MIO_GUID" val="ebcf4f9c-e582-4217-be44-c262d69b42be"/>
</p:tagLst>
</file>

<file path=ppt/tags/tag797.xml><?xml version="1.0" encoding="utf-8"?>
<p:tagLst xmlns:a="http://schemas.openxmlformats.org/drawingml/2006/main" xmlns:r="http://schemas.openxmlformats.org/officeDocument/2006/relationships" xmlns:p="http://schemas.openxmlformats.org/presentationml/2006/main">
  <p:tag name="MIO_GUID" val="ff3a788f-7dec-4fbb-a131-753967154473"/>
</p:tagLst>
</file>

<file path=ppt/tags/tag798.xml><?xml version="1.0" encoding="utf-8"?>
<p:tagLst xmlns:a="http://schemas.openxmlformats.org/drawingml/2006/main" xmlns:r="http://schemas.openxmlformats.org/officeDocument/2006/relationships" xmlns:p="http://schemas.openxmlformats.org/presentationml/2006/main">
  <p:tag name="MIO_GUID" val="10f5742a-9de3-4fa9-87c8-61339ac7ea09"/>
</p:tagLst>
</file>

<file path=ppt/tags/tag799.xml><?xml version="1.0" encoding="utf-8"?>
<p:tagLst xmlns:a="http://schemas.openxmlformats.org/drawingml/2006/main" xmlns:r="http://schemas.openxmlformats.org/officeDocument/2006/relationships" xmlns:p="http://schemas.openxmlformats.org/presentationml/2006/main">
  <p:tag name="MIO_GUID" val="ccb4df8b-6977-4fd9-bca5-e5889cae045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MIO_GUID" val="7086e858-18e9-4230-80f1-9819dad143e7"/>
</p:tagLst>
</file>

<file path=ppt/tags/tag800.xml><?xml version="1.0" encoding="utf-8"?>
<p:tagLst xmlns:a="http://schemas.openxmlformats.org/drawingml/2006/main" xmlns:r="http://schemas.openxmlformats.org/officeDocument/2006/relationships" xmlns:p="http://schemas.openxmlformats.org/presentationml/2006/main">
  <p:tag name="MIO_GUID" val="a20825b5-7de7-4e4c-938f-90021e9df05a"/>
</p:tagLst>
</file>

<file path=ppt/tags/tag801.xml><?xml version="1.0" encoding="utf-8"?>
<p:tagLst xmlns:a="http://schemas.openxmlformats.org/drawingml/2006/main" xmlns:r="http://schemas.openxmlformats.org/officeDocument/2006/relationships" xmlns:p="http://schemas.openxmlformats.org/presentationml/2006/main">
  <p:tag name="MIO_GUID" val="3d1345f7-3a6a-40fa-bcfd-0b25bd6a94b7"/>
</p:tagLst>
</file>

<file path=ppt/tags/tag802.xml><?xml version="1.0" encoding="utf-8"?>
<p:tagLst xmlns:a="http://schemas.openxmlformats.org/drawingml/2006/main" xmlns:r="http://schemas.openxmlformats.org/officeDocument/2006/relationships" xmlns:p="http://schemas.openxmlformats.org/presentationml/2006/main">
  <p:tag name="MIO_GUID" val="eae85c45-e576-4661-a640-3e37291fb9c2"/>
</p:tagLst>
</file>

<file path=ppt/tags/tag803.xml><?xml version="1.0" encoding="utf-8"?>
<p:tagLst xmlns:a="http://schemas.openxmlformats.org/drawingml/2006/main" xmlns:r="http://schemas.openxmlformats.org/officeDocument/2006/relationships" xmlns:p="http://schemas.openxmlformats.org/presentationml/2006/main">
  <p:tag name="MIO_GUID" val="0bf5ed7d-1f7c-4bdd-9589-2329a998a593"/>
</p:tagLst>
</file>

<file path=ppt/tags/tag804.xml><?xml version="1.0" encoding="utf-8"?>
<p:tagLst xmlns:a="http://schemas.openxmlformats.org/drawingml/2006/main" xmlns:r="http://schemas.openxmlformats.org/officeDocument/2006/relationships" xmlns:p="http://schemas.openxmlformats.org/presentationml/2006/main">
  <p:tag name="MIO_GUID" val="c7613a28-f48b-4c46-86ef-121c3edf992f"/>
</p:tagLst>
</file>

<file path=ppt/tags/tag805.xml><?xml version="1.0" encoding="utf-8"?>
<p:tagLst xmlns:a="http://schemas.openxmlformats.org/drawingml/2006/main" xmlns:r="http://schemas.openxmlformats.org/officeDocument/2006/relationships" xmlns:p="http://schemas.openxmlformats.org/presentationml/2006/main">
  <p:tag name="MIO_GUID" val="61a70e89-e2cf-44e7-9131-587492ce4ec1"/>
</p:tagLst>
</file>

<file path=ppt/tags/tag806.xml><?xml version="1.0" encoding="utf-8"?>
<p:tagLst xmlns:a="http://schemas.openxmlformats.org/drawingml/2006/main" xmlns:r="http://schemas.openxmlformats.org/officeDocument/2006/relationships" xmlns:p="http://schemas.openxmlformats.org/presentationml/2006/main">
  <p:tag name="MIO_GUID" val="a84bb9ff-36bf-4b06-b5c2-759ba6cd9e09"/>
</p:tagLst>
</file>

<file path=ppt/tags/tag807.xml><?xml version="1.0" encoding="utf-8"?>
<p:tagLst xmlns:a="http://schemas.openxmlformats.org/drawingml/2006/main" xmlns:r="http://schemas.openxmlformats.org/officeDocument/2006/relationships" xmlns:p="http://schemas.openxmlformats.org/presentationml/2006/main">
  <p:tag name="MIO_GUID" val="89076d92-aada-40b1-b329-445d7eb9c134"/>
</p:tagLst>
</file>

<file path=ppt/tags/tag808.xml><?xml version="1.0" encoding="utf-8"?>
<p:tagLst xmlns:a="http://schemas.openxmlformats.org/drawingml/2006/main" xmlns:r="http://schemas.openxmlformats.org/officeDocument/2006/relationships" xmlns:p="http://schemas.openxmlformats.org/presentationml/2006/main">
  <p:tag name="MIO_GUID" val="9157ac33-2fbe-4c5d-a2df-afddf5cb442e"/>
</p:tagLst>
</file>

<file path=ppt/tags/tag809.xml><?xml version="1.0" encoding="utf-8"?>
<p:tagLst xmlns:a="http://schemas.openxmlformats.org/drawingml/2006/main" xmlns:r="http://schemas.openxmlformats.org/officeDocument/2006/relationships" xmlns:p="http://schemas.openxmlformats.org/presentationml/2006/main">
  <p:tag name="MIO_GUID" val="ec34f936-ba0a-42dd-82cd-5932cd0c3f31"/>
</p:tagLst>
</file>

<file path=ppt/tags/tag81.xml><?xml version="1.0" encoding="utf-8"?>
<p:tagLst xmlns:a="http://schemas.openxmlformats.org/drawingml/2006/main" xmlns:r="http://schemas.openxmlformats.org/officeDocument/2006/relationships" xmlns:p="http://schemas.openxmlformats.org/presentationml/2006/main">
  <p:tag name="MIO_GUID" val="8a77462a-d8b6-4478-8898-689340be0b0f"/>
</p:tagLst>
</file>

<file path=ppt/tags/tag810.xml><?xml version="1.0" encoding="utf-8"?>
<p:tagLst xmlns:a="http://schemas.openxmlformats.org/drawingml/2006/main" xmlns:r="http://schemas.openxmlformats.org/officeDocument/2006/relationships" xmlns:p="http://schemas.openxmlformats.org/presentationml/2006/main">
  <p:tag name="MIO_GUID" val="9730aa22-72c9-47df-be99-06d2cd5a7e93"/>
</p:tagLst>
</file>

<file path=ppt/tags/tag811.xml><?xml version="1.0" encoding="utf-8"?>
<p:tagLst xmlns:a="http://schemas.openxmlformats.org/drawingml/2006/main" xmlns:r="http://schemas.openxmlformats.org/officeDocument/2006/relationships" xmlns:p="http://schemas.openxmlformats.org/presentationml/2006/main">
  <p:tag name="MIO_GUID" val="3c0b2b31-3f04-4c02-b211-ca49dc8a7e24"/>
</p:tagLst>
</file>

<file path=ppt/tags/tag812.xml><?xml version="1.0" encoding="utf-8"?>
<p:tagLst xmlns:a="http://schemas.openxmlformats.org/drawingml/2006/main" xmlns:r="http://schemas.openxmlformats.org/officeDocument/2006/relationships" xmlns:p="http://schemas.openxmlformats.org/presentationml/2006/main">
  <p:tag name="MIO_GUID" val="129851f0-4252-4ed8-a8ec-ca9c64797826"/>
</p:tagLst>
</file>

<file path=ppt/tags/tag813.xml><?xml version="1.0" encoding="utf-8"?>
<p:tagLst xmlns:a="http://schemas.openxmlformats.org/drawingml/2006/main" xmlns:r="http://schemas.openxmlformats.org/officeDocument/2006/relationships" xmlns:p="http://schemas.openxmlformats.org/presentationml/2006/main">
  <p:tag name="MIO_GUID" val="2029dd63-e6b3-489a-a86b-933d2ebb5af7"/>
</p:tagLst>
</file>

<file path=ppt/tags/tag814.xml><?xml version="1.0" encoding="utf-8"?>
<p:tagLst xmlns:a="http://schemas.openxmlformats.org/drawingml/2006/main" xmlns:r="http://schemas.openxmlformats.org/officeDocument/2006/relationships" xmlns:p="http://schemas.openxmlformats.org/presentationml/2006/main">
  <p:tag name="MIO_GUID" val="401bda17-eb5d-4309-a372-1b46eb8521e0"/>
</p:tagLst>
</file>

<file path=ppt/tags/tag815.xml><?xml version="1.0" encoding="utf-8"?>
<p:tagLst xmlns:a="http://schemas.openxmlformats.org/drawingml/2006/main" xmlns:r="http://schemas.openxmlformats.org/officeDocument/2006/relationships" xmlns:p="http://schemas.openxmlformats.org/presentationml/2006/main">
  <p:tag name="MIO_GUID" val="5eba2ce1-15dd-449b-af1d-d524a5df5154"/>
</p:tagLst>
</file>

<file path=ppt/tags/tag816.xml><?xml version="1.0" encoding="utf-8"?>
<p:tagLst xmlns:a="http://schemas.openxmlformats.org/drawingml/2006/main" xmlns:r="http://schemas.openxmlformats.org/officeDocument/2006/relationships" xmlns:p="http://schemas.openxmlformats.org/presentationml/2006/main">
  <p:tag name="MIO_GUID" val="3d59c526-9119-43f4-9c3c-c265a121b0f0"/>
</p:tagLst>
</file>

<file path=ppt/tags/tag817.xml><?xml version="1.0" encoding="utf-8"?>
<p:tagLst xmlns:a="http://schemas.openxmlformats.org/drawingml/2006/main" xmlns:r="http://schemas.openxmlformats.org/officeDocument/2006/relationships" xmlns:p="http://schemas.openxmlformats.org/presentationml/2006/main">
  <p:tag name="MIO_GUID" val="bb8a4743-7c33-4784-8b7c-d313f491f91a"/>
</p:tagLst>
</file>

<file path=ppt/tags/tag818.xml><?xml version="1.0" encoding="utf-8"?>
<p:tagLst xmlns:a="http://schemas.openxmlformats.org/drawingml/2006/main" xmlns:r="http://schemas.openxmlformats.org/officeDocument/2006/relationships" xmlns:p="http://schemas.openxmlformats.org/presentationml/2006/main">
  <p:tag name="MIO_GUID" val="a7e9c03f-e48f-4410-9b84-78681620d97d"/>
</p:tagLst>
</file>

<file path=ppt/tags/tag819.xml><?xml version="1.0" encoding="utf-8"?>
<p:tagLst xmlns:a="http://schemas.openxmlformats.org/drawingml/2006/main" xmlns:r="http://schemas.openxmlformats.org/officeDocument/2006/relationships" xmlns:p="http://schemas.openxmlformats.org/presentationml/2006/main">
  <p:tag name="MIO_GUID" val="7603a5eb-1e5f-49ee-9853-fcea0b1654a5"/>
</p:tagLst>
</file>

<file path=ppt/tags/tag82.xml><?xml version="1.0" encoding="utf-8"?>
<p:tagLst xmlns:a="http://schemas.openxmlformats.org/drawingml/2006/main" xmlns:r="http://schemas.openxmlformats.org/officeDocument/2006/relationships" xmlns:p="http://schemas.openxmlformats.org/presentationml/2006/main">
  <p:tag name="MIO_GUID" val="15d977f8-f3db-4ea5-9926-eb83ff8a8692"/>
</p:tagLst>
</file>

<file path=ppt/tags/tag820.xml><?xml version="1.0" encoding="utf-8"?>
<p:tagLst xmlns:a="http://schemas.openxmlformats.org/drawingml/2006/main" xmlns:r="http://schemas.openxmlformats.org/officeDocument/2006/relationships" xmlns:p="http://schemas.openxmlformats.org/presentationml/2006/main">
  <p:tag name="MIO_GUID" val="e5dbcf65-cd30-4769-aebb-4c0f4b706b1d"/>
</p:tagLst>
</file>

<file path=ppt/tags/tag821.xml><?xml version="1.0" encoding="utf-8"?>
<p:tagLst xmlns:a="http://schemas.openxmlformats.org/drawingml/2006/main" xmlns:r="http://schemas.openxmlformats.org/officeDocument/2006/relationships" xmlns:p="http://schemas.openxmlformats.org/presentationml/2006/main">
  <p:tag name="MIO_GUID" val="30a48791-cff1-47cd-b8f6-84a051f3ca63"/>
</p:tagLst>
</file>

<file path=ppt/tags/tag822.xml><?xml version="1.0" encoding="utf-8"?>
<p:tagLst xmlns:a="http://schemas.openxmlformats.org/drawingml/2006/main" xmlns:r="http://schemas.openxmlformats.org/officeDocument/2006/relationships" xmlns:p="http://schemas.openxmlformats.org/presentationml/2006/main">
  <p:tag name="MIO_GUID" val="d711d5dc-d6c5-4cdc-9309-82f2274f0b23"/>
</p:tagLst>
</file>

<file path=ppt/tags/tag823.xml><?xml version="1.0" encoding="utf-8"?>
<p:tagLst xmlns:a="http://schemas.openxmlformats.org/drawingml/2006/main" xmlns:r="http://schemas.openxmlformats.org/officeDocument/2006/relationships" xmlns:p="http://schemas.openxmlformats.org/presentationml/2006/main">
  <p:tag name="MIO_GUID" val="5d5be963-8f86-41ad-8632-d4ea0ebe71b2"/>
</p:tagLst>
</file>

<file path=ppt/tags/tag824.xml><?xml version="1.0" encoding="utf-8"?>
<p:tagLst xmlns:a="http://schemas.openxmlformats.org/drawingml/2006/main" xmlns:r="http://schemas.openxmlformats.org/officeDocument/2006/relationships" xmlns:p="http://schemas.openxmlformats.org/presentationml/2006/main">
  <p:tag name="MIO_GUID" val="44c72dac-b0c5-4517-b6d3-f602fef7cb5c"/>
</p:tagLst>
</file>

<file path=ppt/tags/tag825.xml><?xml version="1.0" encoding="utf-8"?>
<p:tagLst xmlns:a="http://schemas.openxmlformats.org/drawingml/2006/main" xmlns:r="http://schemas.openxmlformats.org/officeDocument/2006/relationships" xmlns:p="http://schemas.openxmlformats.org/presentationml/2006/main">
  <p:tag name="MIO_GUID" val="9d8f63b8-0ffd-4b96-9d14-74acbadc207e"/>
</p:tagLst>
</file>

<file path=ppt/tags/tag826.xml><?xml version="1.0" encoding="utf-8"?>
<p:tagLst xmlns:a="http://schemas.openxmlformats.org/drawingml/2006/main" xmlns:r="http://schemas.openxmlformats.org/officeDocument/2006/relationships" xmlns:p="http://schemas.openxmlformats.org/presentationml/2006/main">
  <p:tag name="MIO_GUID" val="d2d79a63-3bf0-4740-8c4c-34c939f0f61b"/>
</p:tagLst>
</file>

<file path=ppt/tags/tag827.xml><?xml version="1.0" encoding="utf-8"?>
<p:tagLst xmlns:a="http://schemas.openxmlformats.org/drawingml/2006/main" xmlns:r="http://schemas.openxmlformats.org/officeDocument/2006/relationships" xmlns:p="http://schemas.openxmlformats.org/presentationml/2006/main">
  <p:tag name="MIO_GUID" val="0ba52baf-20fa-4e93-9145-6e15fc8b6f50"/>
</p:tagLst>
</file>

<file path=ppt/tags/tag828.xml><?xml version="1.0" encoding="utf-8"?>
<p:tagLst xmlns:a="http://schemas.openxmlformats.org/drawingml/2006/main" xmlns:r="http://schemas.openxmlformats.org/officeDocument/2006/relationships" xmlns:p="http://schemas.openxmlformats.org/presentationml/2006/main">
  <p:tag name="MIO_GUID" val="0881c296-aea8-42ad-be9c-4820cd2238ba"/>
</p:tagLst>
</file>

<file path=ppt/tags/tag829.xml><?xml version="1.0" encoding="utf-8"?>
<p:tagLst xmlns:a="http://schemas.openxmlformats.org/drawingml/2006/main" xmlns:r="http://schemas.openxmlformats.org/officeDocument/2006/relationships" xmlns:p="http://schemas.openxmlformats.org/presentationml/2006/main">
  <p:tag name="MIO_GUID" val="e0700b6c-015e-409e-95ff-b1f6c1628f40"/>
</p:tagLst>
</file>

<file path=ppt/tags/tag83.xml><?xml version="1.0" encoding="utf-8"?>
<p:tagLst xmlns:a="http://schemas.openxmlformats.org/drawingml/2006/main" xmlns:r="http://schemas.openxmlformats.org/officeDocument/2006/relationships" xmlns:p="http://schemas.openxmlformats.org/presentationml/2006/main">
  <p:tag name="MIO_GUID" val="a292b6ba-e931-44db-b02d-ab9a3a804b40"/>
</p:tagLst>
</file>

<file path=ppt/tags/tag830.xml><?xml version="1.0" encoding="utf-8"?>
<p:tagLst xmlns:a="http://schemas.openxmlformats.org/drawingml/2006/main" xmlns:r="http://schemas.openxmlformats.org/officeDocument/2006/relationships" xmlns:p="http://schemas.openxmlformats.org/presentationml/2006/main">
  <p:tag name="MIO_GUID" val="4313b182-86d4-4014-b3b8-cdfce21a9b52"/>
</p:tagLst>
</file>

<file path=ppt/tags/tag831.xml><?xml version="1.0" encoding="utf-8"?>
<p:tagLst xmlns:a="http://schemas.openxmlformats.org/drawingml/2006/main" xmlns:r="http://schemas.openxmlformats.org/officeDocument/2006/relationships" xmlns:p="http://schemas.openxmlformats.org/presentationml/2006/main">
  <p:tag name="MIO_GUID" val="d3fffce4-3f6c-4565-9be4-1bac586aa54e"/>
</p:tagLst>
</file>

<file path=ppt/tags/tag832.xml><?xml version="1.0" encoding="utf-8"?>
<p:tagLst xmlns:a="http://schemas.openxmlformats.org/drawingml/2006/main" xmlns:r="http://schemas.openxmlformats.org/officeDocument/2006/relationships" xmlns:p="http://schemas.openxmlformats.org/presentationml/2006/main">
  <p:tag name="MIO_GUID" val="d9d434b6-c53d-433a-81a0-a787e506873f"/>
</p:tagLst>
</file>

<file path=ppt/tags/tag833.xml><?xml version="1.0" encoding="utf-8"?>
<p:tagLst xmlns:a="http://schemas.openxmlformats.org/drawingml/2006/main" xmlns:r="http://schemas.openxmlformats.org/officeDocument/2006/relationships" xmlns:p="http://schemas.openxmlformats.org/presentationml/2006/main">
  <p:tag name="MIO_GUID" val="7955bd25-8d8c-481f-a001-e058827ec35e"/>
</p:tagLst>
</file>

<file path=ppt/tags/tag834.xml><?xml version="1.0" encoding="utf-8"?>
<p:tagLst xmlns:a="http://schemas.openxmlformats.org/drawingml/2006/main" xmlns:r="http://schemas.openxmlformats.org/officeDocument/2006/relationships" xmlns:p="http://schemas.openxmlformats.org/presentationml/2006/main">
  <p:tag name="MIO_GUID" val="27656843-0522-4668-9652-6418bafc7d49"/>
</p:tagLst>
</file>

<file path=ppt/tags/tag835.xml><?xml version="1.0" encoding="utf-8"?>
<p:tagLst xmlns:a="http://schemas.openxmlformats.org/drawingml/2006/main" xmlns:r="http://schemas.openxmlformats.org/officeDocument/2006/relationships" xmlns:p="http://schemas.openxmlformats.org/presentationml/2006/main">
  <p:tag name="MIO_GUID" val="058bce20-b60d-4eee-bc58-7e14ccb57c1d"/>
</p:tagLst>
</file>

<file path=ppt/tags/tag836.xml><?xml version="1.0" encoding="utf-8"?>
<p:tagLst xmlns:a="http://schemas.openxmlformats.org/drawingml/2006/main" xmlns:r="http://schemas.openxmlformats.org/officeDocument/2006/relationships" xmlns:p="http://schemas.openxmlformats.org/presentationml/2006/main">
  <p:tag name="MIO_GUID" val="f888ca38-2446-47d9-ae92-e79cfd385ead"/>
</p:tagLst>
</file>

<file path=ppt/tags/tag837.xml><?xml version="1.0" encoding="utf-8"?>
<p:tagLst xmlns:a="http://schemas.openxmlformats.org/drawingml/2006/main" xmlns:r="http://schemas.openxmlformats.org/officeDocument/2006/relationships" xmlns:p="http://schemas.openxmlformats.org/presentationml/2006/main">
  <p:tag name="MIO_GUID" val="42ef67a5-ed4c-45f0-a160-576adcd21c2d"/>
</p:tagLst>
</file>

<file path=ppt/tags/tag838.xml><?xml version="1.0" encoding="utf-8"?>
<p:tagLst xmlns:a="http://schemas.openxmlformats.org/drawingml/2006/main" xmlns:r="http://schemas.openxmlformats.org/officeDocument/2006/relationships" xmlns:p="http://schemas.openxmlformats.org/presentationml/2006/main">
  <p:tag name="MIO_GUID" val="bd6c4cf4-0b41-43f1-9796-bf3d8a85b496"/>
</p:tagLst>
</file>

<file path=ppt/tags/tag839.xml><?xml version="1.0" encoding="utf-8"?>
<p:tagLst xmlns:a="http://schemas.openxmlformats.org/drawingml/2006/main" xmlns:r="http://schemas.openxmlformats.org/officeDocument/2006/relationships" xmlns:p="http://schemas.openxmlformats.org/presentationml/2006/main">
  <p:tag name="MIO_GUID" val="47432423-5230-4df2-9a61-e00f0aeafc31"/>
</p:tagLst>
</file>

<file path=ppt/tags/tag84.xml><?xml version="1.0" encoding="utf-8"?>
<p:tagLst xmlns:a="http://schemas.openxmlformats.org/drawingml/2006/main" xmlns:r="http://schemas.openxmlformats.org/officeDocument/2006/relationships" xmlns:p="http://schemas.openxmlformats.org/presentationml/2006/main">
  <p:tag name="MIO_GUID" val="43844a17-3388-4ec5-8ad0-f8e1a3570443"/>
</p:tagLst>
</file>

<file path=ppt/tags/tag840.xml><?xml version="1.0" encoding="utf-8"?>
<p:tagLst xmlns:a="http://schemas.openxmlformats.org/drawingml/2006/main" xmlns:r="http://schemas.openxmlformats.org/officeDocument/2006/relationships" xmlns:p="http://schemas.openxmlformats.org/presentationml/2006/main">
  <p:tag name="MIO_GUID" val="7d6d15e0-0c9f-46f1-8562-6c870225c9f7"/>
</p:tagLst>
</file>

<file path=ppt/tags/tag841.xml><?xml version="1.0" encoding="utf-8"?>
<p:tagLst xmlns:a="http://schemas.openxmlformats.org/drawingml/2006/main" xmlns:r="http://schemas.openxmlformats.org/officeDocument/2006/relationships" xmlns:p="http://schemas.openxmlformats.org/presentationml/2006/main">
  <p:tag name="MIO_GUID" val="f571a9d7-ba21-4a26-b863-c2f2614bd7aa"/>
</p:tagLst>
</file>

<file path=ppt/tags/tag842.xml><?xml version="1.0" encoding="utf-8"?>
<p:tagLst xmlns:a="http://schemas.openxmlformats.org/drawingml/2006/main" xmlns:r="http://schemas.openxmlformats.org/officeDocument/2006/relationships" xmlns:p="http://schemas.openxmlformats.org/presentationml/2006/main">
  <p:tag name="MIO_GUID" val="aedd313d-b24b-4fef-a671-70ae0b7352b6"/>
</p:tagLst>
</file>

<file path=ppt/tags/tag843.xml><?xml version="1.0" encoding="utf-8"?>
<p:tagLst xmlns:a="http://schemas.openxmlformats.org/drawingml/2006/main" xmlns:r="http://schemas.openxmlformats.org/officeDocument/2006/relationships" xmlns:p="http://schemas.openxmlformats.org/presentationml/2006/main">
  <p:tag name="MIO_GUID" val="eb204ef2-d4c8-41bf-a378-5daf866dca44"/>
</p:tagLst>
</file>

<file path=ppt/tags/tag844.xml><?xml version="1.0" encoding="utf-8"?>
<p:tagLst xmlns:a="http://schemas.openxmlformats.org/drawingml/2006/main" xmlns:r="http://schemas.openxmlformats.org/officeDocument/2006/relationships" xmlns:p="http://schemas.openxmlformats.org/presentationml/2006/main">
  <p:tag name="MIO_GUID" val="575acc12-0a53-436e-a3b8-da7d5b7cea7b"/>
</p:tagLst>
</file>

<file path=ppt/tags/tag845.xml><?xml version="1.0" encoding="utf-8"?>
<p:tagLst xmlns:a="http://schemas.openxmlformats.org/drawingml/2006/main" xmlns:r="http://schemas.openxmlformats.org/officeDocument/2006/relationships" xmlns:p="http://schemas.openxmlformats.org/presentationml/2006/main">
  <p:tag name="MIO_GUID" val="50e6d258-b8e0-4cf6-b3b1-9815c3054a9b"/>
</p:tagLst>
</file>

<file path=ppt/tags/tag846.xml><?xml version="1.0" encoding="utf-8"?>
<p:tagLst xmlns:a="http://schemas.openxmlformats.org/drawingml/2006/main" xmlns:r="http://schemas.openxmlformats.org/officeDocument/2006/relationships" xmlns:p="http://schemas.openxmlformats.org/presentationml/2006/main">
  <p:tag name="MIO_GUID" val="ed999904-56b5-4bfc-92fe-9acfb9acb37f"/>
</p:tagLst>
</file>

<file path=ppt/tags/tag847.xml><?xml version="1.0" encoding="utf-8"?>
<p:tagLst xmlns:a="http://schemas.openxmlformats.org/drawingml/2006/main" xmlns:r="http://schemas.openxmlformats.org/officeDocument/2006/relationships" xmlns:p="http://schemas.openxmlformats.org/presentationml/2006/main">
  <p:tag name="MIO_GUID" val="9281774d-2e20-411f-b7d6-fb7f93acbf49"/>
</p:tagLst>
</file>

<file path=ppt/tags/tag848.xml><?xml version="1.0" encoding="utf-8"?>
<p:tagLst xmlns:a="http://schemas.openxmlformats.org/drawingml/2006/main" xmlns:r="http://schemas.openxmlformats.org/officeDocument/2006/relationships" xmlns:p="http://schemas.openxmlformats.org/presentationml/2006/main">
  <p:tag name="MIO_GUID" val="b87bb876-f303-4cd8-861d-69c4a3ded882"/>
</p:tagLst>
</file>

<file path=ppt/tags/tag849.xml><?xml version="1.0" encoding="utf-8"?>
<p:tagLst xmlns:a="http://schemas.openxmlformats.org/drawingml/2006/main" xmlns:r="http://schemas.openxmlformats.org/officeDocument/2006/relationships" xmlns:p="http://schemas.openxmlformats.org/presentationml/2006/main">
  <p:tag name="MIO_GUID" val="8be19399-03a7-49c7-bba0-eda28ac530d1"/>
</p:tagLst>
</file>

<file path=ppt/tags/tag85.xml><?xml version="1.0" encoding="utf-8"?>
<p:tagLst xmlns:a="http://schemas.openxmlformats.org/drawingml/2006/main" xmlns:r="http://schemas.openxmlformats.org/officeDocument/2006/relationships" xmlns:p="http://schemas.openxmlformats.org/presentationml/2006/main">
  <p:tag name="MIO_GUID" val="8c6a661c-2f61-48ae-9ff2-0cdc2ee70c19"/>
</p:tagLst>
</file>

<file path=ppt/tags/tag850.xml><?xml version="1.0" encoding="utf-8"?>
<p:tagLst xmlns:a="http://schemas.openxmlformats.org/drawingml/2006/main" xmlns:r="http://schemas.openxmlformats.org/officeDocument/2006/relationships" xmlns:p="http://schemas.openxmlformats.org/presentationml/2006/main">
  <p:tag name="MIO_GUID" val="a4ac71ae-6f35-45af-8c7b-0439a3aa3cf0"/>
</p:tagLst>
</file>

<file path=ppt/tags/tag851.xml><?xml version="1.0" encoding="utf-8"?>
<p:tagLst xmlns:a="http://schemas.openxmlformats.org/drawingml/2006/main" xmlns:r="http://schemas.openxmlformats.org/officeDocument/2006/relationships" xmlns:p="http://schemas.openxmlformats.org/presentationml/2006/main">
  <p:tag name="MIO_GUID" val="52540b05-1473-4904-8815-af39ff886771"/>
</p:tagLst>
</file>

<file path=ppt/tags/tag852.xml><?xml version="1.0" encoding="utf-8"?>
<p:tagLst xmlns:a="http://schemas.openxmlformats.org/drawingml/2006/main" xmlns:r="http://schemas.openxmlformats.org/officeDocument/2006/relationships" xmlns:p="http://schemas.openxmlformats.org/presentationml/2006/main">
  <p:tag name="MIO_GUID" val="a34de907-7414-40eb-8e58-0b225adafd15"/>
</p:tagLst>
</file>

<file path=ppt/tags/tag853.xml><?xml version="1.0" encoding="utf-8"?>
<p:tagLst xmlns:a="http://schemas.openxmlformats.org/drawingml/2006/main" xmlns:r="http://schemas.openxmlformats.org/officeDocument/2006/relationships" xmlns:p="http://schemas.openxmlformats.org/presentationml/2006/main">
  <p:tag name="MIO_GUID" val="04c72ec2-d611-4746-bf26-1d70d9203760"/>
</p:tagLst>
</file>

<file path=ppt/tags/tag854.xml><?xml version="1.0" encoding="utf-8"?>
<p:tagLst xmlns:a="http://schemas.openxmlformats.org/drawingml/2006/main" xmlns:r="http://schemas.openxmlformats.org/officeDocument/2006/relationships" xmlns:p="http://schemas.openxmlformats.org/presentationml/2006/main">
  <p:tag name="MIO_GUID" val="808ba00b-1390-45d6-9cde-9613d79a65dc"/>
</p:tagLst>
</file>

<file path=ppt/tags/tag855.xml><?xml version="1.0" encoding="utf-8"?>
<p:tagLst xmlns:a="http://schemas.openxmlformats.org/drawingml/2006/main" xmlns:r="http://schemas.openxmlformats.org/officeDocument/2006/relationships" xmlns:p="http://schemas.openxmlformats.org/presentationml/2006/main">
  <p:tag name="MIO_GUID" val="76e8640f-c3a8-4777-b53e-6a8c455f2166"/>
  <p:tag name="MIO_EKGUID" val="c709decf-8e27-499f-96a2-ce23c4efdafa"/>
  <p:tag name="MIO_UPDATE" val="True"/>
  <p:tag name="MIO_VERSION" val="13.03.2018 10:49:14"/>
  <p:tag name="MIO_DBID" val="5D9FD29E-BEEC-40D7-BFBE-407D9085DE5F"/>
  <p:tag name="MIO_LASTDOWNLOADED" val="30.01.2019 14:44:40"/>
  <p:tag name="MIO_OBJECTNAME" val="Europe (3)"/>
  <p:tag name="MIO_LASTEDITORNAME" val="Daniel J"/>
</p:tagLst>
</file>

<file path=ppt/tags/tag856.xml><?xml version="1.0" encoding="utf-8"?>
<p:tagLst xmlns:a="http://schemas.openxmlformats.org/drawingml/2006/main" xmlns:r="http://schemas.openxmlformats.org/officeDocument/2006/relationships" xmlns:p="http://schemas.openxmlformats.org/presentationml/2006/main">
  <p:tag name="MIO_GUID" val="94085ee6-d8d5-4a88-8a47-89f65610cfed"/>
  <p:tag name="MIO_EKGUID" val="db8edc77-4635-48b8-b181-047c043c1b57"/>
  <p:tag name="MIO_UPDATE" val="True"/>
  <p:tag name="MIO_VERSION" val="24.12.2018 07:19:48"/>
  <p:tag name="MIO_DBID" val="5D9FD29E-BEEC-40D7-BFBE-407D9085DE5F"/>
  <p:tag name="MIO_LASTDOWNLOADED" val="15.01.2020 12:51:12"/>
  <p:tag name="MIO_OBJECTNAME" val="Check List"/>
  <p:tag name="MIO_LASTEDITORNAME" val="Bhuvaneswari Baskar"/>
</p:tagLst>
</file>

<file path=ppt/tags/tag857.xml><?xml version="1.0" encoding="utf-8"?>
<p:tagLst xmlns:a="http://schemas.openxmlformats.org/drawingml/2006/main" xmlns:r="http://schemas.openxmlformats.org/officeDocument/2006/relationships" xmlns:p="http://schemas.openxmlformats.org/presentationml/2006/main">
  <p:tag name="MIO_GUID" val="bb135fb6-f7b8-422f-9887-2593e3560811"/>
  <p:tag name="MIO_EKGUID" val="19c11c73-f87e-40f0-b256-a27151ef25ac"/>
  <p:tag name="MIO_UPDATE" val="True"/>
  <p:tag name="MIO_VERSION" val="29.11.2018 08:26:13"/>
  <p:tag name="MIO_DBID" val="5D9FD29E-BEEC-40D7-BFBE-407D9085DE5F"/>
  <p:tag name="MIO_LASTDOWNLOADED" val="26.08.2020 14:58:55"/>
  <p:tag name="MIO_OBJECTNAME" val="Sweden_SE"/>
  <p:tag name="MIO_LASTEDITORNAME" val="Bhuvaneswari Baskar"/>
</p:tagLst>
</file>

<file path=ppt/tags/tag858.xml><?xml version="1.0" encoding="utf-8"?>
<p:tagLst xmlns:a="http://schemas.openxmlformats.org/drawingml/2006/main" xmlns:r="http://schemas.openxmlformats.org/officeDocument/2006/relationships" xmlns:p="http://schemas.openxmlformats.org/presentationml/2006/main">
  <p:tag name="MIO_GUID" val="f6172658-b7b9-408d-afa4-fdee346ccd0d"/>
  <p:tag name="MIO_EKGUID" val="c579f42e-55fc-45ab-9484-d4a1e7e0f608"/>
  <p:tag name="MIO_UPDATE" val="True"/>
  <p:tag name="MIO_VERSION" val="29.11.2018 05:45:44"/>
  <p:tag name="MIO_DBID" val="5D9FD29E-BEEC-40D7-BFBE-407D9085DE5F"/>
  <p:tag name="MIO_LASTDOWNLOADED" val="24.07.2020 16:00:42"/>
  <p:tag name="MIO_OBJECTNAME" val="Great-Britain_GB"/>
  <p:tag name="MIO_LASTEDITORNAME" val="Bhuvaneswari Baskar"/>
</p:tagLst>
</file>

<file path=ppt/tags/tag859.xml><?xml version="1.0" encoding="utf-8"?>
<p:tagLst xmlns:a="http://schemas.openxmlformats.org/drawingml/2006/main" xmlns:r="http://schemas.openxmlformats.org/officeDocument/2006/relationships" xmlns:p="http://schemas.openxmlformats.org/presentationml/2006/main">
  <p:tag name="MIO_GUID" val="23d40ad0-a2e8-475f-80ea-74278646003c"/>
  <p:tag name="MIO_EKGUID" val="7063467c-d054-463f-a141-035e6fcdf5f2"/>
  <p:tag name="MIO_UPDATE" val="True"/>
  <p:tag name="MIO_VERSION" val="29.11.2018 07:45:37"/>
  <p:tag name="MIO_DBID" val="5D9FD29E-BEEC-40D7-BFBE-407D9085DE5F"/>
  <p:tag name="MIO_LASTDOWNLOADED" val="11.09.2019 12:43:31"/>
  <p:tag name="MIO_OBJECTNAME" val="Germany_DE"/>
  <p:tag name="MIO_LASTEDITORNAME" val="Bhuvaneswari Baskar"/>
</p:tagLst>
</file>

<file path=ppt/tags/tag86.xml><?xml version="1.0" encoding="utf-8"?>
<p:tagLst xmlns:a="http://schemas.openxmlformats.org/drawingml/2006/main" xmlns:r="http://schemas.openxmlformats.org/officeDocument/2006/relationships" xmlns:p="http://schemas.openxmlformats.org/presentationml/2006/main">
  <p:tag name="MIO_GUID" val="54afb477-b74c-4a1c-8eb7-e05f82e827af"/>
</p:tagLst>
</file>

<file path=ppt/tags/tag860.xml><?xml version="1.0" encoding="utf-8"?>
<p:tagLst xmlns:a="http://schemas.openxmlformats.org/drawingml/2006/main" xmlns:r="http://schemas.openxmlformats.org/officeDocument/2006/relationships" xmlns:p="http://schemas.openxmlformats.org/presentationml/2006/main">
  <p:tag name="MIO_GUID" val="eecf99c3-321e-4e2a-ba79-3e1df09d8dd8"/>
</p:tagLst>
</file>

<file path=ppt/tags/tag861.xml><?xml version="1.0" encoding="utf-8"?>
<p:tagLst xmlns:a="http://schemas.openxmlformats.org/drawingml/2006/main" xmlns:r="http://schemas.openxmlformats.org/officeDocument/2006/relationships" xmlns:p="http://schemas.openxmlformats.org/presentationml/2006/main">
  <p:tag name="MIO_GUID" val="1db3285e-7c64-4054-9eb1-3a4b647c3089"/>
</p:tagLst>
</file>

<file path=ppt/tags/tag862.xml><?xml version="1.0" encoding="utf-8"?>
<p:tagLst xmlns:a="http://schemas.openxmlformats.org/drawingml/2006/main" xmlns:r="http://schemas.openxmlformats.org/officeDocument/2006/relationships" xmlns:p="http://schemas.openxmlformats.org/presentationml/2006/main">
  <p:tag name="MIO_GUID" val="132461bd-0a7c-48fd-a86b-5588f782c06d"/>
</p:tagLst>
</file>

<file path=ppt/tags/tag863.xml><?xml version="1.0" encoding="utf-8"?>
<p:tagLst xmlns:a="http://schemas.openxmlformats.org/drawingml/2006/main" xmlns:r="http://schemas.openxmlformats.org/officeDocument/2006/relationships" xmlns:p="http://schemas.openxmlformats.org/presentationml/2006/main">
  <p:tag name="MIO_GUID" val="2c008cec-627f-4f3f-9baa-30b713733643"/>
</p:tagLst>
</file>

<file path=ppt/tags/tag864.xml><?xml version="1.0" encoding="utf-8"?>
<p:tagLst xmlns:a="http://schemas.openxmlformats.org/drawingml/2006/main" xmlns:r="http://schemas.openxmlformats.org/officeDocument/2006/relationships" xmlns:p="http://schemas.openxmlformats.org/presentationml/2006/main">
  <p:tag name="MIO_GUID" val="274b2f86-291d-45d1-829e-7803652d57ba"/>
</p:tagLst>
</file>

<file path=ppt/tags/tag865.xml><?xml version="1.0" encoding="utf-8"?>
<p:tagLst xmlns:a="http://schemas.openxmlformats.org/drawingml/2006/main" xmlns:r="http://schemas.openxmlformats.org/officeDocument/2006/relationships" xmlns:p="http://schemas.openxmlformats.org/presentationml/2006/main">
  <p:tag name="MIO_GUID" val="d218349d-0b41-4ee6-9031-202a739715e3"/>
</p:tagLst>
</file>

<file path=ppt/tags/tag866.xml><?xml version="1.0" encoding="utf-8"?>
<p:tagLst xmlns:a="http://schemas.openxmlformats.org/drawingml/2006/main" xmlns:r="http://schemas.openxmlformats.org/officeDocument/2006/relationships" xmlns:p="http://schemas.openxmlformats.org/presentationml/2006/main">
  <p:tag name="MIO_GUID" val="dcd77ad8-8dec-41e8-963c-4facc6dced86"/>
</p:tagLst>
</file>

<file path=ppt/tags/tag867.xml><?xml version="1.0" encoding="utf-8"?>
<p:tagLst xmlns:a="http://schemas.openxmlformats.org/drawingml/2006/main" xmlns:r="http://schemas.openxmlformats.org/officeDocument/2006/relationships" xmlns:p="http://schemas.openxmlformats.org/presentationml/2006/main">
  <p:tag name="MIO_GUID" val="2c477b73-5efe-4d8d-9b07-bd5d9e463cf6"/>
</p:tagLst>
</file>

<file path=ppt/tags/tag868.xml><?xml version="1.0" encoding="utf-8"?>
<p:tagLst xmlns:a="http://schemas.openxmlformats.org/drawingml/2006/main" xmlns:r="http://schemas.openxmlformats.org/officeDocument/2006/relationships" xmlns:p="http://schemas.openxmlformats.org/presentationml/2006/main">
  <p:tag name="MIO_GUID" val="6afb46e8-30ea-40f8-8cfd-c46c5d4bdfd8"/>
</p:tagLst>
</file>

<file path=ppt/tags/tag869.xml><?xml version="1.0" encoding="utf-8"?>
<p:tagLst xmlns:a="http://schemas.openxmlformats.org/drawingml/2006/main" xmlns:r="http://schemas.openxmlformats.org/officeDocument/2006/relationships" xmlns:p="http://schemas.openxmlformats.org/presentationml/2006/main">
  <p:tag name="MIO_GUID" val="654a1094-c9dc-4759-ba68-0950fba8a342"/>
</p:tagLst>
</file>

<file path=ppt/tags/tag87.xml><?xml version="1.0" encoding="utf-8"?>
<p:tagLst xmlns:a="http://schemas.openxmlformats.org/drawingml/2006/main" xmlns:r="http://schemas.openxmlformats.org/officeDocument/2006/relationships" xmlns:p="http://schemas.openxmlformats.org/presentationml/2006/main">
  <p:tag name="MIO_GUID" val="146d8991-cb8a-4d83-b58a-a434ae3c2638"/>
</p:tagLst>
</file>

<file path=ppt/tags/tag870.xml><?xml version="1.0" encoding="utf-8"?>
<p:tagLst xmlns:a="http://schemas.openxmlformats.org/drawingml/2006/main" xmlns:r="http://schemas.openxmlformats.org/officeDocument/2006/relationships" xmlns:p="http://schemas.openxmlformats.org/presentationml/2006/main">
  <p:tag name="MIO_GUID" val="f52bd3e8-bb7a-4b2b-b385-dff0f53334b0"/>
</p:tagLst>
</file>

<file path=ppt/tags/tag871.xml><?xml version="1.0" encoding="utf-8"?>
<p:tagLst xmlns:a="http://schemas.openxmlformats.org/drawingml/2006/main" xmlns:r="http://schemas.openxmlformats.org/officeDocument/2006/relationships" xmlns:p="http://schemas.openxmlformats.org/presentationml/2006/main">
  <p:tag name="MIO_GUID" val="d4e0ebca-7919-4761-b7c6-f45b714d3d15"/>
</p:tagLst>
</file>

<file path=ppt/tags/tag872.xml><?xml version="1.0" encoding="utf-8"?>
<p:tagLst xmlns:a="http://schemas.openxmlformats.org/drawingml/2006/main" xmlns:r="http://schemas.openxmlformats.org/officeDocument/2006/relationships" xmlns:p="http://schemas.openxmlformats.org/presentationml/2006/main">
  <p:tag name="MIO_GUID" val="e03311c7-386b-4862-b2b4-651b55155d3c"/>
</p:tagLst>
</file>

<file path=ppt/tags/tag873.xml><?xml version="1.0" encoding="utf-8"?>
<p:tagLst xmlns:a="http://schemas.openxmlformats.org/drawingml/2006/main" xmlns:r="http://schemas.openxmlformats.org/officeDocument/2006/relationships" xmlns:p="http://schemas.openxmlformats.org/presentationml/2006/main">
  <p:tag name="MIO_GUID" val="4d6c8194-a3e2-4510-8a85-e78db78d23bc"/>
</p:tagLst>
</file>

<file path=ppt/tags/tag874.xml><?xml version="1.0" encoding="utf-8"?>
<p:tagLst xmlns:a="http://schemas.openxmlformats.org/drawingml/2006/main" xmlns:r="http://schemas.openxmlformats.org/officeDocument/2006/relationships" xmlns:p="http://schemas.openxmlformats.org/presentationml/2006/main">
  <p:tag name="MIO_GUID" val="8adb8528-5e91-420c-b6f1-1ef21f474c89"/>
</p:tagLst>
</file>

<file path=ppt/tags/tag875.xml><?xml version="1.0" encoding="utf-8"?>
<p:tagLst xmlns:a="http://schemas.openxmlformats.org/drawingml/2006/main" xmlns:r="http://schemas.openxmlformats.org/officeDocument/2006/relationships" xmlns:p="http://schemas.openxmlformats.org/presentationml/2006/main">
  <p:tag name="MIO_GUID" val="547d157f-c95b-43c4-9430-8b9192851301"/>
</p:tagLst>
</file>

<file path=ppt/tags/tag876.xml><?xml version="1.0" encoding="utf-8"?>
<p:tagLst xmlns:a="http://schemas.openxmlformats.org/drawingml/2006/main" xmlns:r="http://schemas.openxmlformats.org/officeDocument/2006/relationships" xmlns:p="http://schemas.openxmlformats.org/presentationml/2006/main">
  <p:tag name="MIO_GUID" val="73b72258-0a93-4b83-b9de-9a428b8840f1"/>
</p:tagLst>
</file>

<file path=ppt/tags/tag877.xml><?xml version="1.0" encoding="utf-8"?>
<p:tagLst xmlns:a="http://schemas.openxmlformats.org/drawingml/2006/main" xmlns:r="http://schemas.openxmlformats.org/officeDocument/2006/relationships" xmlns:p="http://schemas.openxmlformats.org/presentationml/2006/main">
  <p:tag name="MIO_GUID" val="b0842360-3954-4061-8982-5830f193d9fb"/>
</p:tagLst>
</file>

<file path=ppt/tags/tag878.xml><?xml version="1.0" encoding="utf-8"?>
<p:tagLst xmlns:a="http://schemas.openxmlformats.org/drawingml/2006/main" xmlns:r="http://schemas.openxmlformats.org/officeDocument/2006/relationships" xmlns:p="http://schemas.openxmlformats.org/presentationml/2006/main">
  <p:tag name="MIO_GUID" val="dd436e65-45e4-4e00-94c8-38bd168cc1dc"/>
</p:tagLst>
</file>

<file path=ppt/tags/tag879.xml><?xml version="1.0" encoding="utf-8"?>
<p:tagLst xmlns:a="http://schemas.openxmlformats.org/drawingml/2006/main" xmlns:r="http://schemas.openxmlformats.org/officeDocument/2006/relationships" xmlns:p="http://schemas.openxmlformats.org/presentationml/2006/main">
  <p:tag name="MIO_GUID" val="639e8d25-552b-431a-a8bf-59655b911025"/>
</p:tagLst>
</file>

<file path=ppt/tags/tag88.xml><?xml version="1.0" encoding="utf-8"?>
<p:tagLst xmlns:a="http://schemas.openxmlformats.org/drawingml/2006/main" xmlns:r="http://schemas.openxmlformats.org/officeDocument/2006/relationships" xmlns:p="http://schemas.openxmlformats.org/presentationml/2006/main">
  <p:tag name="MIO_GUID" val="8693b299-656e-471c-91ce-56d9953a9f09"/>
</p:tagLst>
</file>

<file path=ppt/tags/tag880.xml><?xml version="1.0" encoding="utf-8"?>
<p:tagLst xmlns:a="http://schemas.openxmlformats.org/drawingml/2006/main" xmlns:r="http://schemas.openxmlformats.org/officeDocument/2006/relationships" xmlns:p="http://schemas.openxmlformats.org/presentationml/2006/main">
  <p:tag name="MIO_GUID" val="84970226-3d4f-409e-bd94-1dd1d616621a"/>
</p:tagLst>
</file>

<file path=ppt/tags/tag881.xml><?xml version="1.0" encoding="utf-8"?>
<p:tagLst xmlns:a="http://schemas.openxmlformats.org/drawingml/2006/main" xmlns:r="http://schemas.openxmlformats.org/officeDocument/2006/relationships" xmlns:p="http://schemas.openxmlformats.org/presentationml/2006/main">
  <p:tag name="MIO_GUID" val="cdc13604-8dc8-4ff8-b858-f336c718963e"/>
</p:tagLst>
</file>

<file path=ppt/tags/tag882.xml><?xml version="1.0" encoding="utf-8"?>
<p:tagLst xmlns:a="http://schemas.openxmlformats.org/drawingml/2006/main" xmlns:r="http://schemas.openxmlformats.org/officeDocument/2006/relationships" xmlns:p="http://schemas.openxmlformats.org/presentationml/2006/main">
  <p:tag name="MIO_GUID" val="fc9fe07b-8945-4b1f-909c-8730371fdaf6"/>
</p:tagLst>
</file>

<file path=ppt/tags/tag883.xml><?xml version="1.0" encoding="utf-8"?>
<p:tagLst xmlns:a="http://schemas.openxmlformats.org/drawingml/2006/main" xmlns:r="http://schemas.openxmlformats.org/officeDocument/2006/relationships" xmlns:p="http://schemas.openxmlformats.org/presentationml/2006/main">
  <p:tag name="MIO_GUID" val="1796e635-2d3b-4c84-8b0f-4083339c6204"/>
</p:tagLst>
</file>

<file path=ppt/tags/tag884.xml><?xml version="1.0" encoding="utf-8"?>
<p:tagLst xmlns:a="http://schemas.openxmlformats.org/drawingml/2006/main" xmlns:r="http://schemas.openxmlformats.org/officeDocument/2006/relationships" xmlns:p="http://schemas.openxmlformats.org/presentationml/2006/main">
  <p:tag name="MIO_GUID" val="0ad3ae6a-035e-4f0c-843a-627037061df2"/>
</p:tagLst>
</file>

<file path=ppt/tags/tag885.xml><?xml version="1.0" encoding="utf-8"?>
<p:tagLst xmlns:a="http://schemas.openxmlformats.org/drawingml/2006/main" xmlns:r="http://schemas.openxmlformats.org/officeDocument/2006/relationships" xmlns:p="http://schemas.openxmlformats.org/presentationml/2006/main">
  <p:tag name="MIO_GUID" val="68dfe704-c090-45a0-92a7-c70fc419fd8e"/>
</p:tagLst>
</file>

<file path=ppt/tags/tag886.xml><?xml version="1.0" encoding="utf-8"?>
<p:tagLst xmlns:a="http://schemas.openxmlformats.org/drawingml/2006/main" xmlns:r="http://schemas.openxmlformats.org/officeDocument/2006/relationships" xmlns:p="http://schemas.openxmlformats.org/presentationml/2006/main">
  <p:tag name="MIO_GUID" val="3550159c-3bb7-4427-b2b1-6c7889dda155"/>
</p:tagLst>
</file>

<file path=ppt/tags/tag887.xml><?xml version="1.0" encoding="utf-8"?>
<p:tagLst xmlns:a="http://schemas.openxmlformats.org/drawingml/2006/main" xmlns:r="http://schemas.openxmlformats.org/officeDocument/2006/relationships" xmlns:p="http://schemas.openxmlformats.org/presentationml/2006/main">
  <p:tag name="MIO_GUID" val="fce89662-7e85-4fc7-a231-dfe1f170464b"/>
</p:tagLst>
</file>

<file path=ppt/tags/tag888.xml><?xml version="1.0" encoding="utf-8"?>
<p:tagLst xmlns:a="http://schemas.openxmlformats.org/drawingml/2006/main" xmlns:r="http://schemas.openxmlformats.org/officeDocument/2006/relationships" xmlns:p="http://schemas.openxmlformats.org/presentationml/2006/main">
  <p:tag name="MIO_GUID" val="2c438d5a-c0be-4737-9399-068fef0bbf78"/>
</p:tagLst>
</file>

<file path=ppt/tags/tag889.xml><?xml version="1.0" encoding="utf-8"?>
<p:tagLst xmlns:a="http://schemas.openxmlformats.org/drawingml/2006/main" xmlns:r="http://schemas.openxmlformats.org/officeDocument/2006/relationships" xmlns:p="http://schemas.openxmlformats.org/presentationml/2006/main">
  <p:tag name="MIO_GUID" val="ebcf4f9c-e582-4217-be44-c262d69b42be"/>
</p:tagLst>
</file>

<file path=ppt/tags/tag89.xml><?xml version="1.0" encoding="utf-8"?>
<p:tagLst xmlns:a="http://schemas.openxmlformats.org/drawingml/2006/main" xmlns:r="http://schemas.openxmlformats.org/officeDocument/2006/relationships" xmlns:p="http://schemas.openxmlformats.org/presentationml/2006/main">
  <p:tag name="MIO_GUID" val="f382b696-1385-4aba-a678-5c4e8c6ff2c7"/>
</p:tagLst>
</file>

<file path=ppt/tags/tag890.xml><?xml version="1.0" encoding="utf-8"?>
<p:tagLst xmlns:a="http://schemas.openxmlformats.org/drawingml/2006/main" xmlns:r="http://schemas.openxmlformats.org/officeDocument/2006/relationships" xmlns:p="http://schemas.openxmlformats.org/presentationml/2006/main">
  <p:tag name="MIO_GUID" val="ff3a788f-7dec-4fbb-a131-753967154473"/>
</p:tagLst>
</file>

<file path=ppt/tags/tag891.xml><?xml version="1.0" encoding="utf-8"?>
<p:tagLst xmlns:a="http://schemas.openxmlformats.org/drawingml/2006/main" xmlns:r="http://schemas.openxmlformats.org/officeDocument/2006/relationships" xmlns:p="http://schemas.openxmlformats.org/presentationml/2006/main">
  <p:tag name="MIO_GUID" val="10f5742a-9de3-4fa9-87c8-61339ac7ea09"/>
</p:tagLst>
</file>

<file path=ppt/tags/tag892.xml><?xml version="1.0" encoding="utf-8"?>
<p:tagLst xmlns:a="http://schemas.openxmlformats.org/drawingml/2006/main" xmlns:r="http://schemas.openxmlformats.org/officeDocument/2006/relationships" xmlns:p="http://schemas.openxmlformats.org/presentationml/2006/main">
  <p:tag name="MIO_GUID" val="ccb4df8b-6977-4fd9-bca5-e5889cae045e"/>
</p:tagLst>
</file>

<file path=ppt/tags/tag893.xml><?xml version="1.0" encoding="utf-8"?>
<p:tagLst xmlns:a="http://schemas.openxmlformats.org/drawingml/2006/main" xmlns:r="http://schemas.openxmlformats.org/officeDocument/2006/relationships" xmlns:p="http://schemas.openxmlformats.org/presentationml/2006/main">
  <p:tag name="MIO_GUID" val="a20825b5-7de7-4e4c-938f-90021e9df05a"/>
</p:tagLst>
</file>

<file path=ppt/tags/tag894.xml><?xml version="1.0" encoding="utf-8"?>
<p:tagLst xmlns:a="http://schemas.openxmlformats.org/drawingml/2006/main" xmlns:r="http://schemas.openxmlformats.org/officeDocument/2006/relationships" xmlns:p="http://schemas.openxmlformats.org/presentationml/2006/main">
  <p:tag name="MIO_GUID" val="3d1345f7-3a6a-40fa-bcfd-0b25bd6a94b7"/>
</p:tagLst>
</file>

<file path=ppt/tags/tag895.xml><?xml version="1.0" encoding="utf-8"?>
<p:tagLst xmlns:a="http://schemas.openxmlformats.org/drawingml/2006/main" xmlns:r="http://schemas.openxmlformats.org/officeDocument/2006/relationships" xmlns:p="http://schemas.openxmlformats.org/presentationml/2006/main">
  <p:tag name="MIO_GUID" val="eae85c45-e576-4661-a640-3e37291fb9c2"/>
</p:tagLst>
</file>

<file path=ppt/tags/tag896.xml><?xml version="1.0" encoding="utf-8"?>
<p:tagLst xmlns:a="http://schemas.openxmlformats.org/drawingml/2006/main" xmlns:r="http://schemas.openxmlformats.org/officeDocument/2006/relationships" xmlns:p="http://schemas.openxmlformats.org/presentationml/2006/main">
  <p:tag name="MIO_GUID" val="0bf5ed7d-1f7c-4bdd-9589-2329a998a593"/>
</p:tagLst>
</file>

<file path=ppt/tags/tag897.xml><?xml version="1.0" encoding="utf-8"?>
<p:tagLst xmlns:a="http://schemas.openxmlformats.org/drawingml/2006/main" xmlns:r="http://schemas.openxmlformats.org/officeDocument/2006/relationships" xmlns:p="http://schemas.openxmlformats.org/presentationml/2006/main">
  <p:tag name="MIO_GUID" val="c7613a28-f48b-4c46-86ef-121c3edf992f"/>
</p:tagLst>
</file>

<file path=ppt/tags/tag898.xml><?xml version="1.0" encoding="utf-8"?>
<p:tagLst xmlns:a="http://schemas.openxmlformats.org/drawingml/2006/main" xmlns:r="http://schemas.openxmlformats.org/officeDocument/2006/relationships" xmlns:p="http://schemas.openxmlformats.org/presentationml/2006/main">
  <p:tag name="MIO_GUID" val="61a70e89-e2cf-44e7-9131-587492ce4ec1"/>
</p:tagLst>
</file>

<file path=ppt/tags/tag899.xml><?xml version="1.0" encoding="utf-8"?>
<p:tagLst xmlns:a="http://schemas.openxmlformats.org/drawingml/2006/main" xmlns:r="http://schemas.openxmlformats.org/officeDocument/2006/relationships" xmlns:p="http://schemas.openxmlformats.org/presentationml/2006/main">
  <p:tag name="MIO_GUID" val="a84bb9ff-36bf-4b06-b5c2-759ba6cd9e09"/>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MIO_GUID" val="e72bb7f0-bb08-4736-a900-69a8389e1534"/>
</p:tagLst>
</file>

<file path=ppt/tags/tag900.xml><?xml version="1.0" encoding="utf-8"?>
<p:tagLst xmlns:a="http://schemas.openxmlformats.org/drawingml/2006/main" xmlns:r="http://schemas.openxmlformats.org/officeDocument/2006/relationships" xmlns:p="http://schemas.openxmlformats.org/presentationml/2006/main">
  <p:tag name="MIO_GUID" val="89076d92-aada-40b1-b329-445d7eb9c134"/>
</p:tagLst>
</file>

<file path=ppt/tags/tag901.xml><?xml version="1.0" encoding="utf-8"?>
<p:tagLst xmlns:a="http://schemas.openxmlformats.org/drawingml/2006/main" xmlns:r="http://schemas.openxmlformats.org/officeDocument/2006/relationships" xmlns:p="http://schemas.openxmlformats.org/presentationml/2006/main">
  <p:tag name="MIO_GUID" val="9157ac33-2fbe-4c5d-a2df-afddf5cb442e"/>
</p:tagLst>
</file>

<file path=ppt/tags/tag902.xml><?xml version="1.0" encoding="utf-8"?>
<p:tagLst xmlns:a="http://schemas.openxmlformats.org/drawingml/2006/main" xmlns:r="http://schemas.openxmlformats.org/officeDocument/2006/relationships" xmlns:p="http://schemas.openxmlformats.org/presentationml/2006/main">
  <p:tag name="MIO_GUID" val="ec34f936-ba0a-42dd-82cd-5932cd0c3f31"/>
</p:tagLst>
</file>

<file path=ppt/tags/tag903.xml><?xml version="1.0" encoding="utf-8"?>
<p:tagLst xmlns:a="http://schemas.openxmlformats.org/drawingml/2006/main" xmlns:r="http://schemas.openxmlformats.org/officeDocument/2006/relationships" xmlns:p="http://schemas.openxmlformats.org/presentationml/2006/main">
  <p:tag name="MIO_GUID" val="9730aa22-72c9-47df-be99-06d2cd5a7e93"/>
</p:tagLst>
</file>

<file path=ppt/tags/tag904.xml><?xml version="1.0" encoding="utf-8"?>
<p:tagLst xmlns:a="http://schemas.openxmlformats.org/drawingml/2006/main" xmlns:r="http://schemas.openxmlformats.org/officeDocument/2006/relationships" xmlns:p="http://schemas.openxmlformats.org/presentationml/2006/main">
  <p:tag name="MIO_GUID" val="3c0b2b31-3f04-4c02-b211-ca49dc8a7e24"/>
</p:tagLst>
</file>

<file path=ppt/tags/tag905.xml><?xml version="1.0" encoding="utf-8"?>
<p:tagLst xmlns:a="http://schemas.openxmlformats.org/drawingml/2006/main" xmlns:r="http://schemas.openxmlformats.org/officeDocument/2006/relationships" xmlns:p="http://schemas.openxmlformats.org/presentationml/2006/main">
  <p:tag name="MIO_GUID" val="129851f0-4252-4ed8-a8ec-ca9c64797826"/>
</p:tagLst>
</file>

<file path=ppt/tags/tag906.xml><?xml version="1.0" encoding="utf-8"?>
<p:tagLst xmlns:a="http://schemas.openxmlformats.org/drawingml/2006/main" xmlns:r="http://schemas.openxmlformats.org/officeDocument/2006/relationships" xmlns:p="http://schemas.openxmlformats.org/presentationml/2006/main">
  <p:tag name="MIO_GUID" val="2029dd63-e6b3-489a-a86b-933d2ebb5af7"/>
</p:tagLst>
</file>

<file path=ppt/tags/tag907.xml><?xml version="1.0" encoding="utf-8"?>
<p:tagLst xmlns:a="http://schemas.openxmlformats.org/drawingml/2006/main" xmlns:r="http://schemas.openxmlformats.org/officeDocument/2006/relationships" xmlns:p="http://schemas.openxmlformats.org/presentationml/2006/main">
  <p:tag name="MIO_GUID" val="401bda17-eb5d-4309-a372-1b46eb8521e0"/>
</p:tagLst>
</file>

<file path=ppt/tags/tag908.xml><?xml version="1.0" encoding="utf-8"?>
<p:tagLst xmlns:a="http://schemas.openxmlformats.org/drawingml/2006/main" xmlns:r="http://schemas.openxmlformats.org/officeDocument/2006/relationships" xmlns:p="http://schemas.openxmlformats.org/presentationml/2006/main">
  <p:tag name="MIO_GUID" val="5eba2ce1-15dd-449b-af1d-d524a5df5154"/>
</p:tagLst>
</file>

<file path=ppt/tags/tag909.xml><?xml version="1.0" encoding="utf-8"?>
<p:tagLst xmlns:a="http://schemas.openxmlformats.org/drawingml/2006/main" xmlns:r="http://schemas.openxmlformats.org/officeDocument/2006/relationships" xmlns:p="http://schemas.openxmlformats.org/presentationml/2006/main">
  <p:tag name="MIO_GUID" val="3d59c526-9119-43f4-9c3c-c265a121b0f0"/>
</p:tagLst>
</file>

<file path=ppt/tags/tag91.xml><?xml version="1.0" encoding="utf-8"?>
<p:tagLst xmlns:a="http://schemas.openxmlformats.org/drawingml/2006/main" xmlns:r="http://schemas.openxmlformats.org/officeDocument/2006/relationships" xmlns:p="http://schemas.openxmlformats.org/presentationml/2006/main">
  <p:tag name="MIO_GUID" val="3ec937cd-d910-458c-bf6e-3042ad0ea0e0"/>
</p:tagLst>
</file>

<file path=ppt/tags/tag910.xml><?xml version="1.0" encoding="utf-8"?>
<p:tagLst xmlns:a="http://schemas.openxmlformats.org/drawingml/2006/main" xmlns:r="http://schemas.openxmlformats.org/officeDocument/2006/relationships" xmlns:p="http://schemas.openxmlformats.org/presentationml/2006/main">
  <p:tag name="MIO_GUID" val="bb8a4743-7c33-4784-8b7c-d313f491f91a"/>
</p:tagLst>
</file>

<file path=ppt/tags/tag911.xml><?xml version="1.0" encoding="utf-8"?>
<p:tagLst xmlns:a="http://schemas.openxmlformats.org/drawingml/2006/main" xmlns:r="http://schemas.openxmlformats.org/officeDocument/2006/relationships" xmlns:p="http://schemas.openxmlformats.org/presentationml/2006/main">
  <p:tag name="MIO_GUID" val="a7e9c03f-e48f-4410-9b84-78681620d97d"/>
</p:tagLst>
</file>

<file path=ppt/tags/tag912.xml><?xml version="1.0" encoding="utf-8"?>
<p:tagLst xmlns:a="http://schemas.openxmlformats.org/drawingml/2006/main" xmlns:r="http://schemas.openxmlformats.org/officeDocument/2006/relationships" xmlns:p="http://schemas.openxmlformats.org/presentationml/2006/main">
  <p:tag name="MIO_GUID" val="7603a5eb-1e5f-49ee-9853-fcea0b1654a5"/>
</p:tagLst>
</file>

<file path=ppt/tags/tag913.xml><?xml version="1.0" encoding="utf-8"?>
<p:tagLst xmlns:a="http://schemas.openxmlformats.org/drawingml/2006/main" xmlns:r="http://schemas.openxmlformats.org/officeDocument/2006/relationships" xmlns:p="http://schemas.openxmlformats.org/presentationml/2006/main">
  <p:tag name="MIO_GUID" val="e5dbcf65-cd30-4769-aebb-4c0f4b706b1d"/>
</p:tagLst>
</file>

<file path=ppt/tags/tag914.xml><?xml version="1.0" encoding="utf-8"?>
<p:tagLst xmlns:a="http://schemas.openxmlformats.org/drawingml/2006/main" xmlns:r="http://schemas.openxmlformats.org/officeDocument/2006/relationships" xmlns:p="http://schemas.openxmlformats.org/presentationml/2006/main">
  <p:tag name="MIO_GUID" val="30a48791-cff1-47cd-b8f6-84a051f3ca63"/>
</p:tagLst>
</file>

<file path=ppt/tags/tag915.xml><?xml version="1.0" encoding="utf-8"?>
<p:tagLst xmlns:a="http://schemas.openxmlformats.org/drawingml/2006/main" xmlns:r="http://schemas.openxmlformats.org/officeDocument/2006/relationships" xmlns:p="http://schemas.openxmlformats.org/presentationml/2006/main">
  <p:tag name="MIO_GUID" val="d711d5dc-d6c5-4cdc-9309-82f2274f0b23"/>
</p:tagLst>
</file>

<file path=ppt/tags/tag916.xml><?xml version="1.0" encoding="utf-8"?>
<p:tagLst xmlns:a="http://schemas.openxmlformats.org/drawingml/2006/main" xmlns:r="http://schemas.openxmlformats.org/officeDocument/2006/relationships" xmlns:p="http://schemas.openxmlformats.org/presentationml/2006/main">
  <p:tag name="MIO_GUID" val="5d5be963-8f86-41ad-8632-d4ea0ebe71b2"/>
</p:tagLst>
</file>

<file path=ppt/tags/tag917.xml><?xml version="1.0" encoding="utf-8"?>
<p:tagLst xmlns:a="http://schemas.openxmlformats.org/drawingml/2006/main" xmlns:r="http://schemas.openxmlformats.org/officeDocument/2006/relationships" xmlns:p="http://schemas.openxmlformats.org/presentationml/2006/main">
  <p:tag name="MIO_GUID" val="44c72dac-b0c5-4517-b6d3-f602fef7cb5c"/>
</p:tagLst>
</file>

<file path=ppt/tags/tag918.xml><?xml version="1.0" encoding="utf-8"?>
<p:tagLst xmlns:a="http://schemas.openxmlformats.org/drawingml/2006/main" xmlns:r="http://schemas.openxmlformats.org/officeDocument/2006/relationships" xmlns:p="http://schemas.openxmlformats.org/presentationml/2006/main">
  <p:tag name="MIO_GUID" val="9d8f63b8-0ffd-4b96-9d14-74acbadc207e"/>
</p:tagLst>
</file>

<file path=ppt/tags/tag919.xml><?xml version="1.0" encoding="utf-8"?>
<p:tagLst xmlns:a="http://schemas.openxmlformats.org/drawingml/2006/main" xmlns:r="http://schemas.openxmlformats.org/officeDocument/2006/relationships" xmlns:p="http://schemas.openxmlformats.org/presentationml/2006/main">
  <p:tag name="MIO_GUID" val="d2d79a63-3bf0-4740-8c4c-34c939f0f61b"/>
</p:tagLst>
</file>

<file path=ppt/tags/tag92.xml><?xml version="1.0" encoding="utf-8"?>
<p:tagLst xmlns:a="http://schemas.openxmlformats.org/drawingml/2006/main" xmlns:r="http://schemas.openxmlformats.org/officeDocument/2006/relationships" xmlns:p="http://schemas.openxmlformats.org/presentationml/2006/main">
  <p:tag name="MIO_GUID" val="2e361772-55b4-43d7-9274-7722a862fd68"/>
</p:tagLst>
</file>

<file path=ppt/tags/tag920.xml><?xml version="1.0" encoding="utf-8"?>
<p:tagLst xmlns:a="http://schemas.openxmlformats.org/drawingml/2006/main" xmlns:r="http://schemas.openxmlformats.org/officeDocument/2006/relationships" xmlns:p="http://schemas.openxmlformats.org/presentationml/2006/main">
  <p:tag name="MIO_GUID" val="0ba52baf-20fa-4e93-9145-6e15fc8b6f50"/>
</p:tagLst>
</file>

<file path=ppt/tags/tag921.xml><?xml version="1.0" encoding="utf-8"?>
<p:tagLst xmlns:a="http://schemas.openxmlformats.org/drawingml/2006/main" xmlns:r="http://schemas.openxmlformats.org/officeDocument/2006/relationships" xmlns:p="http://schemas.openxmlformats.org/presentationml/2006/main">
  <p:tag name="MIO_GUID" val="0881c296-aea8-42ad-be9c-4820cd2238ba"/>
</p:tagLst>
</file>

<file path=ppt/tags/tag922.xml><?xml version="1.0" encoding="utf-8"?>
<p:tagLst xmlns:a="http://schemas.openxmlformats.org/drawingml/2006/main" xmlns:r="http://schemas.openxmlformats.org/officeDocument/2006/relationships" xmlns:p="http://schemas.openxmlformats.org/presentationml/2006/main">
  <p:tag name="MIO_GUID" val="e0700b6c-015e-409e-95ff-b1f6c1628f40"/>
</p:tagLst>
</file>

<file path=ppt/tags/tag923.xml><?xml version="1.0" encoding="utf-8"?>
<p:tagLst xmlns:a="http://schemas.openxmlformats.org/drawingml/2006/main" xmlns:r="http://schemas.openxmlformats.org/officeDocument/2006/relationships" xmlns:p="http://schemas.openxmlformats.org/presentationml/2006/main">
  <p:tag name="MIO_GUID" val="4313b182-86d4-4014-b3b8-cdfce21a9b52"/>
</p:tagLst>
</file>

<file path=ppt/tags/tag924.xml><?xml version="1.0" encoding="utf-8"?>
<p:tagLst xmlns:a="http://schemas.openxmlformats.org/drawingml/2006/main" xmlns:r="http://schemas.openxmlformats.org/officeDocument/2006/relationships" xmlns:p="http://schemas.openxmlformats.org/presentationml/2006/main">
  <p:tag name="MIO_GUID" val="d3fffce4-3f6c-4565-9be4-1bac586aa54e"/>
</p:tagLst>
</file>

<file path=ppt/tags/tag925.xml><?xml version="1.0" encoding="utf-8"?>
<p:tagLst xmlns:a="http://schemas.openxmlformats.org/drawingml/2006/main" xmlns:r="http://schemas.openxmlformats.org/officeDocument/2006/relationships" xmlns:p="http://schemas.openxmlformats.org/presentationml/2006/main">
  <p:tag name="MIO_GUID" val="d9d434b6-c53d-433a-81a0-a787e506873f"/>
</p:tagLst>
</file>

<file path=ppt/tags/tag926.xml><?xml version="1.0" encoding="utf-8"?>
<p:tagLst xmlns:a="http://schemas.openxmlformats.org/drawingml/2006/main" xmlns:r="http://schemas.openxmlformats.org/officeDocument/2006/relationships" xmlns:p="http://schemas.openxmlformats.org/presentationml/2006/main">
  <p:tag name="MIO_GUID" val="7955bd25-8d8c-481f-a001-e058827ec35e"/>
</p:tagLst>
</file>

<file path=ppt/tags/tag927.xml><?xml version="1.0" encoding="utf-8"?>
<p:tagLst xmlns:a="http://schemas.openxmlformats.org/drawingml/2006/main" xmlns:r="http://schemas.openxmlformats.org/officeDocument/2006/relationships" xmlns:p="http://schemas.openxmlformats.org/presentationml/2006/main">
  <p:tag name="MIO_GUID" val="27656843-0522-4668-9652-6418bafc7d49"/>
</p:tagLst>
</file>

<file path=ppt/tags/tag928.xml><?xml version="1.0" encoding="utf-8"?>
<p:tagLst xmlns:a="http://schemas.openxmlformats.org/drawingml/2006/main" xmlns:r="http://schemas.openxmlformats.org/officeDocument/2006/relationships" xmlns:p="http://schemas.openxmlformats.org/presentationml/2006/main">
  <p:tag name="MIO_GUID" val="058bce20-b60d-4eee-bc58-7e14ccb57c1d"/>
</p:tagLst>
</file>

<file path=ppt/tags/tag929.xml><?xml version="1.0" encoding="utf-8"?>
<p:tagLst xmlns:a="http://schemas.openxmlformats.org/drawingml/2006/main" xmlns:r="http://schemas.openxmlformats.org/officeDocument/2006/relationships" xmlns:p="http://schemas.openxmlformats.org/presentationml/2006/main">
  <p:tag name="MIO_GUID" val="f888ca38-2446-47d9-ae92-e79cfd385ead"/>
</p:tagLst>
</file>

<file path=ppt/tags/tag93.xml><?xml version="1.0" encoding="utf-8"?>
<p:tagLst xmlns:a="http://schemas.openxmlformats.org/drawingml/2006/main" xmlns:r="http://schemas.openxmlformats.org/officeDocument/2006/relationships" xmlns:p="http://schemas.openxmlformats.org/presentationml/2006/main">
  <p:tag name="MIO_GUID" val="d237b3cf-d90d-4a98-b4c7-c41036aa4562"/>
</p:tagLst>
</file>

<file path=ppt/tags/tag930.xml><?xml version="1.0" encoding="utf-8"?>
<p:tagLst xmlns:a="http://schemas.openxmlformats.org/drawingml/2006/main" xmlns:r="http://schemas.openxmlformats.org/officeDocument/2006/relationships" xmlns:p="http://schemas.openxmlformats.org/presentationml/2006/main">
  <p:tag name="MIO_GUID" val="42ef67a5-ed4c-45f0-a160-576adcd21c2d"/>
</p:tagLst>
</file>

<file path=ppt/tags/tag931.xml><?xml version="1.0" encoding="utf-8"?>
<p:tagLst xmlns:a="http://schemas.openxmlformats.org/drawingml/2006/main" xmlns:r="http://schemas.openxmlformats.org/officeDocument/2006/relationships" xmlns:p="http://schemas.openxmlformats.org/presentationml/2006/main">
  <p:tag name="MIO_GUID" val="bd6c4cf4-0b41-43f1-9796-bf3d8a85b496"/>
</p:tagLst>
</file>

<file path=ppt/tags/tag932.xml><?xml version="1.0" encoding="utf-8"?>
<p:tagLst xmlns:a="http://schemas.openxmlformats.org/drawingml/2006/main" xmlns:r="http://schemas.openxmlformats.org/officeDocument/2006/relationships" xmlns:p="http://schemas.openxmlformats.org/presentationml/2006/main">
  <p:tag name="MIO_GUID" val="47432423-5230-4df2-9a61-e00f0aeafc31"/>
</p:tagLst>
</file>

<file path=ppt/tags/tag933.xml><?xml version="1.0" encoding="utf-8"?>
<p:tagLst xmlns:a="http://schemas.openxmlformats.org/drawingml/2006/main" xmlns:r="http://schemas.openxmlformats.org/officeDocument/2006/relationships" xmlns:p="http://schemas.openxmlformats.org/presentationml/2006/main">
  <p:tag name="MIO_GUID" val="7d6d15e0-0c9f-46f1-8562-6c870225c9f7"/>
</p:tagLst>
</file>

<file path=ppt/tags/tag934.xml><?xml version="1.0" encoding="utf-8"?>
<p:tagLst xmlns:a="http://schemas.openxmlformats.org/drawingml/2006/main" xmlns:r="http://schemas.openxmlformats.org/officeDocument/2006/relationships" xmlns:p="http://schemas.openxmlformats.org/presentationml/2006/main">
  <p:tag name="MIO_GUID" val="f571a9d7-ba21-4a26-b863-c2f2614bd7aa"/>
</p:tagLst>
</file>

<file path=ppt/tags/tag935.xml><?xml version="1.0" encoding="utf-8"?>
<p:tagLst xmlns:a="http://schemas.openxmlformats.org/drawingml/2006/main" xmlns:r="http://schemas.openxmlformats.org/officeDocument/2006/relationships" xmlns:p="http://schemas.openxmlformats.org/presentationml/2006/main">
  <p:tag name="MIO_GUID" val="aedd313d-b24b-4fef-a671-70ae0b7352b6"/>
</p:tagLst>
</file>

<file path=ppt/tags/tag936.xml><?xml version="1.0" encoding="utf-8"?>
<p:tagLst xmlns:a="http://schemas.openxmlformats.org/drawingml/2006/main" xmlns:r="http://schemas.openxmlformats.org/officeDocument/2006/relationships" xmlns:p="http://schemas.openxmlformats.org/presentationml/2006/main">
  <p:tag name="MIO_GUID" val="eb204ef2-d4c8-41bf-a378-5daf866dca44"/>
</p:tagLst>
</file>

<file path=ppt/tags/tag937.xml><?xml version="1.0" encoding="utf-8"?>
<p:tagLst xmlns:a="http://schemas.openxmlformats.org/drawingml/2006/main" xmlns:r="http://schemas.openxmlformats.org/officeDocument/2006/relationships" xmlns:p="http://schemas.openxmlformats.org/presentationml/2006/main">
  <p:tag name="MIO_GUID" val="575acc12-0a53-436e-a3b8-da7d5b7cea7b"/>
</p:tagLst>
</file>

<file path=ppt/tags/tag938.xml><?xml version="1.0" encoding="utf-8"?>
<p:tagLst xmlns:a="http://schemas.openxmlformats.org/drawingml/2006/main" xmlns:r="http://schemas.openxmlformats.org/officeDocument/2006/relationships" xmlns:p="http://schemas.openxmlformats.org/presentationml/2006/main">
  <p:tag name="MIO_GUID" val="50e6d258-b8e0-4cf6-b3b1-9815c3054a9b"/>
</p:tagLst>
</file>

<file path=ppt/tags/tag939.xml><?xml version="1.0" encoding="utf-8"?>
<p:tagLst xmlns:a="http://schemas.openxmlformats.org/drawingml/2006/main" xmlns:r="http://schemas.openxmlformats.org/officeDocument/2006/relationships" xmlns:p="http://schemas.openxmlformats.org/presentationml/2006/main">
  <p:tag name="MIO_GUID" val="ed999904-56b5-4bfc-92fe-9acfb9acb37f"/>
</p:tagLst>
</file>

<file path=ppt/tags/tag94.xml><?xml version="1.0" encoding="utf-8"?>
<p:tagLst xmlns:a="http://schemas.openxmlformats.org/drawingml/2006/main" xmlns:r="http://schemas.openxmlformats.org/officeDocument/2006/relationships" xmlns:p="http://schemas.openxmlformats.org/presentationml/2006/main">
  <p:tag name="MIO_GUID" val="02ed511a-74c6-4680-98b6-49979c9da3a6"/>
</p:tagLst>
</file>

<file path=ppt/tags/tag940.xml><?xml version="1.0" encoding="utf-8"?>
<p:tagLst xmlns:a="http://schemas.openxmlformats.org/drawingml/2006/main" xmlns:r="http://schemas.openxmlformats.org/officeDocument/2006/relationships" xmlns:p="http://schemas.openxmlformats.org/presentationml/2006/main">
  <p:tag name="MIO_GUID" val="9281774d-2e20-411f-b7d6-fb7f93acbf49"/>
</p:tagLst>
</file>

<file path=ppt/tags/tag941.xml><?xml version="1.0" encoding="utf-8"?>
<p:tagLst xmlns:a="http://schemas.openxmlformats.org/drawingml/2006/main" xmlns:r="http://schemas.openxmlformats.org/officeDocument/2006/relationships" xmlns:p="http://schemas.openxmlformats.org/presentationml/2006/main">
  <p:tag name="MIO_GUID" val="b87bb876-f303-4cd8-861d-69c4a3ded882"/>
</p:tagLst>
</file>

<file path=ppt/tags/tag942.xml><?xml version="1.0" encoding="utf-8"?>
<p:tagLst xmlns:a="http://schemas.openxmlformats.org/drawingml/2006/main" xmlns:r="http://schemas.openxmlformats.org/officeDocument/2006/relationships" xmlns:p="http://schemas.openxmlformats.org/presentationml/2006/main">
  <p:tag name="MIO_GUID" val="8be19399-03a7-49c7-bba0-eda28ac530d1"/>
</p:tagLst>
</file>

<file path=ppt/tags/tag943.xml><?xml version="1.0" encoding="utf-8"?>
<p:tagLst xmlns:a="http://schemas.openxmlformats.org/drawingml/2006/main" xmlns:r="http://schemas.openxmlformats.org/officeDocument/2006/relationships" xmlns:p="http://schemas.openxmlformats.org/presentationml/2006/main">
  <p:tag name="MIO_GUID" val="a4ac71ae-6f35-45af-8c7b-0439a3aa3cf0"/>
</p:tagLst>
</file>

<file path=ppt/tags/tag944.xml><?xml version="1.0" encoding="utf-8"?>
<p:tagLst xmlns:a="http://schemas.openxmlformats.org/drawingml/2006/main" xmlns:r="http://schemas.openxmlformats.org/officeDocument/2006/relationships" xmlns:p="http://schemas.openxmlformats.org/presentationml/2006/main">
  <p:tag name="MIO_GUID" val="52540b05-1473-4904-8815-af39ff886771"/>
</p:tagLst>
</file>

<file path=ppt/tags/tag945.xml><?xml version="1.0" encoding="utf-8"?>
<p:tagLst xmlns:a="http://schemas.openxmlformats.org/drawingml/2006/main" xmlns:r="http://schemas.openxmlformats.org/officeDocument/2006/relationships" xmlns:p="http://schemas.openxmlformats.org/presentationml/2006/main">
  <p:tag name="MIO_GUID" val="a34de907-7414-40eb-8e58-0b225adafd15"/>
</p:tagLst>
</file>

<file path=ppt/tags/tag946.xml><?xml version="1.0" encoding="utf-8"?>
<p:tagLst xmlns:a="http://schemas.openxmlformats.org/drawingml/2006/main" xmlns:r="http://schemas.openxmlformats.org/officeDocument/2006/relationships" xmlns:p="http://schemas.openxmlformats.org/presentationml/2006/main">
  <p:tag name="MIO_GUID" val="04c72ec2-d611-4746-bf26-1d70d9203760"/>
</p:tagLst>
</file>

<file path=ppt/tags/tag947.xml><?xml version="1.0" encoding="utf-8"?>
<p:tagLst xmlns:a="http://schemas.openxmlformats.org/drawingml/2006/main" xmlns:r="http://schemas.openxmlformats.org/officeDocument/2006/relationships" xmlns:p="http://schemas.openxmlformats.org/presentationml/2006/main">
  <p:tag name="MIO_GUID" val="808ba00b-1390-45d6-9cde-9613d79a65dc"/>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9.xml><?xml version="1.0" encoding="utf-8"?>
<p:tagLst xmlns:a="http://schemas.openxmlformats.org/drawingml/2006/main" xmlns:r="http://schemas.openxmlformats.org/officeDocument/2006/relationships" xmlns:p="http://schemas.openxmlformats.org/presentationml/2006/main">
  <p:tag name="MIO_GUID" val="0c131d01-c78b-4c84-b77c-127563dc276f"/>
  <p:tag name="MIO_EKGUID" val="1f4f0cde-9306-4cb9-8a38-e51144c04ddf"/>
  <p:tag name="MIO_UPDATE" val="True"/>
  <p:tag name="MIO_VERSION" val="14.11.2019 14:32:26"/>
  <p:tag name="MIO_DBID" val="5D9FD29E-BEEC-40D7-BFBE-407D9085DE5F"/>
  <p:tag name="MIO_LASTDOWNLOADED" val="07.02.2020 06:25:21"/>
  <p:tag name="MIO_OBJECTNAME" val="World - regions"/>
  <p:tag name="MIO_LASTEDITORNAME" val="Daniel J"/>
</p:tagLst>
</file>

<file path=ppt/tags/tag95.xml><?xml version="1.0" encoding="utf-8"?>
<p:tagLst xmlns:a="http://schemas.openxmlformats.org/drawingml/2006/main" xmlns:r="http://schemas.openxmlformats.org/officeDocument/2006/relationships" xmlns:p="http://schemas.openxmlformats.org/presentationml/2006/main">
  <p:tag name="MIO_GUID" val="d6b1a70e-bc0c-4eb6-9c64-c5187af8179f"/>
</p:tagLst>
</file>

<file path=ppt/tags/tag950.xml><?xml version="1.0" encoding="utf-8"?>
<p:tagLst xmlns:a="http://schemas.openxmlformats.org/drawingml/2006/main" xmlns:r="http://schemas.openxmlformats.org/officeDocument/2006/relationships" xmlns:p="http://schemas.openxmlformats.org/presentationml/2006/main">
  <p:tag name="MIO_GUID" val="a93e9735-b9ca-46f0-be19-c75d80a69741"/>
</p:tagLst>
</file>

<file path=ppt/tags/tag951.xml><?xml version="1.0" encoding="utf-8"?>
<p:tagLst xmlns:a="http://schemas.openxmlformats.org/drawingml/2006/main" xmlns:r="http://schemas.openxmlformats.org/officeDocument/2006/relationships" xmlns:p="http://schemas.openxmlformats.org/presentationml/2006/main">
  <p:tag name="MIO_GUID" val="6c8c6cac-0c14-4e06-910b-c20c4a643208"/>
</p:tagLst>
</file>

<file path=ppt/tags/tag952.xml><?xml version="1.0" encoding="utf-8"?>
<p:tagLst xmlns:a="http://schemas.openxmlformats.org/drawingml/2006/main" xmlns:r="http://schemas.openxmlformats.org/officeDocument/2006/relationships" xmlns:p="http://schemas.openxmlformats.org/presentationml/2006/main">
  <p:tag name="MIO_GUID" val="ec68d778-2a2a-460b-9d76-a7711c832aa9"/>
</p:tagLst>
</file>

<file path=ppt/tags/tag953.xml><?xml version="1.0" encoding="utf-8"?>
<p:tagLst xmlns:a="http://schemas.openxmlformats.org/drawingml/2006/main" xmlns:r="http://schemas.openxmlformats.org/officeDocument/2006/relationships" xmlns:p="http://schemas.openxmlformats.org/presentationml/2006/main">
  <p:tag name="MIO_GUID" val="866050bf-5c91-43e5-80da-dab87bee45b8"/>
</p:tagLst>
</file>

<file path=ppt/tags/tag954.xml><?xml version="1.0" encoding="utf-8"?>
<p:tagLst xmlns:a="http://schemas.openxmlformats.org/drawingml/2006/main" xmlns:r="http://schemas.openxmlformats.org/officeDocument/2006/relationships" xmlns:p="http://schemas.openxmlformats.org/presentationml/2006/main">
  <p:tag name="MIO_GUID" val="2dbe2815-3c61-40f8-a9ce-be0f5616497b"/>
</p:tagLst>
</file>

<file path=ppt/tags/tag955.xml><?xml version="1.0" encoding="utf-8"?>
<p:tagLst xmlns:a="http://schemas.openxmlformats.org/drawingml/2006/main" xmlns:r="http://schemas.openxmlformats.org/officeDocument/2006/relationships" xmlns:p="http://schemas.openxmlformats.org/presentationml/2006/main">
  <p:tag name="MIO_GUID" val="10cbc5b3-7958-4d8e-8b08-37ea716883cc"/>
</p:tagLst>
</file>

<file path=ppt/tags/tag956.xml><?xml version="1.0" encoding="utf-8"?>
<p:tagLst xmlns:a="http://schemas.openxmlformats.org/drawingml/2006/main" xmlns:r="http://schemas.openxmlformats.org/officeDocument/2006/relationships" xmlns:p="http://schemas.openxmlformats.org/presentationml/2006/main">
  <p:tag name="MIO_GUID" val="7086e858-18e9-4230-80f1-9819dad143e7"/>
</p:tagLst>
</file>

<file path=ppt/tags/tag957.xml><?xml version="1.0" encoding="utf-8"?>
<p:tagLst xmlns:a="http://schemas.openxmlformats.org/drawingml/2006/main" xmlns:r="http://schemas.openxmlformats.org/officeDocument/2006/relationships" xmlns:p="http://schemas.openxmlformats.org/presentationml/2006/main">
  <p:tag name="MIO_GUID" val="8a77462a-d8b6-4478-8898-689340be0b0f"/>
</p:tagLst>
</file>

<file path=ppt/tags/tag958.xml><?xml version="1.0" encoding="utf-8"?>
<p:tagLst xmlns:a="http://schemas.openxmlformats.org/drawingml/2006/main" xmlns:r="http://schemas.openxmlformats.org/officeDocument/2006/relationships" xmlns:p="http://schemas.openxmlformats.org/presentationml/2006/main">
  <p:tag name="MIO_GUID" val="15d977f8-f3db-4ea5-9926-eb83ff8a8692"/>
</p:tagLst>
</file>

<file path=ppt/tags/tag959.xml><?xml version="1.0" encoding="utf-8"?>
<p:tagLst xmlns:a="http://schemas.openxmlformats.org/drawingml/2006/main" xmlns:r="http://schemas.openxmlformats.org/officeDocument/2006/relationships" xmlns:p="http://schemas.openxmlformats.org/presentationml/2006/main">
  <p:tag name="MIO_GUID" val="a292b6ba-e931-44db-b02d-ab9a3a804b40"/>
</p:tagLst>
</file>

<file path=ppt/tags/tag96.xml><?xml version="1.0" encoding="utf-8"?>
<p:tagLst xmlns:a="http://schemas.openxmlformats.org/drawingml/2006/main" xmlns:r="http://schemas.openxmlformats.org/officeDocument/2006/relationships" xmlns:p="http://schemas.openxmlformats.org/presentationml/2006/main">
  <p:tag name="MIO_GUID" val="2357d36f-8435-4702-adc6-98cf8d1ee5a4"/>
</p:tagLst>
</file>

<file path=ppt/tags/tag960.xml><?xml version="1.0" encoding="utf-8"?>
<p:tagLst xmlns:a="http://schemas.openxmlformats.org/drawingml/2006/main" xmlns:r="http://schemas.openxmlformats.org/officeDocument/2006/relationships" xmlns:p="http://schemas.openxmlformats.org/presentationml/2006/main">
  <p:tag name="MIO_GUID" val="43844a17-3388-4ec5-8ad0-f8e1a3570443"/>
</p:tagLst>
</file>

<file path=ppt/tags/tag961.xml><?xml version="1.0" encoding="utf-8"?>
<p:tagLst xmlns:a="http://schemas.openxmlformats.org/drawingml/2006/main" xmlns:r="http://schemas.openxmlformats.org/officeDocument/2006/relationships" xmlns:p="http://schemas.openxmlformats.org/presentationml/2006/main">
  <p:tag name="MIO_GUID" val="8c6a661c-2f61-48ae-9ff2-0cdc2ee70c19"/>
</p:tagLst>
</file>

<file path=ppt/tags/tag962.xml><?xml version="1.0" encoding="utf-8"?>
<p:tagLst xmlns:a="http://schemas.openxmlformats.org/drawingml/2006/main" xmlns:r="http://schemas.openxmlformats.org/officeDocument/2006/relationships" xmlns:p="http://schemas.openxmlformats.org/presentationml/2006/main">
  <p:tag name="MIO_GUID" val="54afb477-b74c-4a1c-8eb7-e05f82e827af"/>
</p:tagLst>
</file>

<file path=ppt/tags/tag963.xml><?xml version="1.0" encoding="utf-8"?>
<p:tagLst xmlns:a="http://schemas.openxmlformats.org/drawingml/2006/main" xmlns:r="http://schemas.openxmlformats.org/officeDocument/2006/relationships" xmlns:p="http://schemas.openxmlformats.org/presentationml/2006/main">
  <p:tag name="MIO_GUID" val="146d8991-cb8a-4d83-b58a-a434ae3c2638"/>
</p:tagLst>
</file>

<file path=ppt/tags/tag964.xml><?xml version="1.0" encoding="utf-8"?>
<p:tagLst xmlns:a="http://schemas.openxmlformats.org/drawingml/2006/main" xmlns:r="http://schemas.openxmlformats.org/officeDocument/2006/relationships" xmlns:p="http://schemas.openxmlformats.org/presentationml/2006/main">
  <p:tag name="MIO_GUID" val="8693b299-656e-471c-91ce-56d9953a9f09"/>
</p:tagLst>
</file>

<file path=ppt/tags/tag965.xml><?xml version="1.0" encoding="utf-8"?>
<p:tagLst xmlns:a="http://schemas.openxmlformats.org/drawingml/2006/main" xmlns:r="http://schemas.openxmlformats.org/officeDocument/2006/relationships" xmlns:p="http://schemas.openxmlformats.org/presentationml/2006/main">
  <p:tag name="MIO_GUID" val="f382b696-1385-4aba-a678-5c4e8c6ff2c7"/>
</p:tagLst>
</file>

<file path=ppt/tags/tag966.xml><?xml version="1.0" encoding="utf-8"?>
<p:tagLst xmlns:a="http://schemas.openxmlformats.org/drawingml/2006/main" xmlns:r="http://schemas.openxmlformats.org/officeDocument/2006/relationships" xmlns:p="http://schemas.openxmlformats.org/presentationml/2006/main">
  <p:tag name="MIO_GUID" val="e72bb7f0-bb08-4736-a900-69a8389e1534"/>
</p:tagLst>
</file>

<file path=ppt/tags/tag967.xml><?xml version="1.0" encoding="utf-8"?>
<p:tagLst xmlns:a="http://schemas.openxmlformats.org/drawingml/2006/main" xmlns:r="http://schemas.openxmlformats.org/officeDocument/2006/relationships" xmlns:p="http://schemas.openxmlformats.org/presentationml/2006/main">
  <p:tag name="MIO_GUID" val="3ec937cd-d910-458c-bf6e-3042ad0ea0e0"/>
</p:tagLst>
</file>

<file path=ppt/tags/tag968.xml><?xml version="1.0" encoding="utf-8"?>
<p:tagLst xmlns:a="http://schemas.openxmlformats.org/drawingml/2006/main" xmlns:r="http://schemas.openxmlformats.org/officeDocument/2006/relationships" xmlns:p="http://schemas.openxmlformats.org/presentationml/2006/main">
  <p:tag name="MIO_GUID" val="2e361772-55b4-43d7-9274-7722a862fd68"/>
</p:tagLst>
</file>

<file path=ppt/tags/tag969.xml><?xml version="1.0" encoding="utf-8"?>
<p:tagLst xmlns:a="http://schemas.openxmlformats.org/drawingml/2006/main" xmlns:r="http://schemas.openxmlformats.org/officeDocument/2006/relationships" xmlns:p="http://schemas.openxmlformats.org/presentationml/2006/main">
  <p:tag name="MIO_GUID" val="d237b3cf-d90d-4a98-b4c7-c41036aa4562"/>
</p:tagLst>
</file>

<file path=ppt/tags/tag97.xml><?xml version="1.0" encoding="utf-8"?>
<p:tagLst xmlns:a="http://schemas.openxmlformats.org/drawingml/2006/main" xmlns:r="http://schemas.openxmlformats.org/officeDocument/2006/relationships" xmlns:p="http://schemas.openxmlformats.org/presentationml/2006/main">
  <p:tag name="MIO_GUID" val="2de72258-0903-4f04-835b-5fbdfc7c83e9"/>
</p:tagLst>
</file>

<file path=ppt/tags/tag970.xml><?xml version="1.0" encoding="utf-8"?>
<p:tagLst xmlns:a="http://schemas.openxmlformats.org/drawingml/2006/main" xmlns:r="http://schemas.openxmlformats.org/officeDocument/2006/relationships" xmlns:p="http://schemas.openxmlformats.org/presentationml/2006/main">
  <p:tag name="MIO_GUID" val="02ed511a-74c6-4680-98b6-49979c9da3a6"/>
</p:tagLst>
</file>

<file path=ppt/tags/tag971.xml><?xml version="1.0" encoding="utf-8"?>
<p:tagLst xmlns:a="http://schemas.openxmlformats.org/drawingml/2006/main" xmlns:r="http://schemas.openxmlformats.org/officeDocument/2006/relationships" xmlns:p="http://schemas.openxmlformats.org/presentationml/2006/main">
  <p:tag name="MIO_GUID" val="d6b1a70e-bc0c-4eb6-9c64-c5187af8179f"/>
</p:tagLst>
</file>

<file path=ppt/tags/tag972.xml><?xml version="1.0" encoding="utf-8"?>
<p:tagLst xmlns:a="http://schemas.openxmlformats.org/drawingml/2006/main" xmlns:r="http://schemas.openxmlformats.org/officeDocument/2006/relationships" xmlns:p="http://schemas.openxmlformats.org/presentationml/2006/main">
  <p:tag name="MIO_GUID" val="2357d36f-8435-4702-adc6-98cf8d1ee5a4"/>
</p:tagLst>
</file>

<file path=ppt/tags/tag973.xml><?xml version="1.0" encoding="utf-8"?>
<p:tagLst xmlns:a="http://schemas.openxmlformats.org/drawingml/2006/main" xmlns:r="http://schemas.openxmlformats.org/officeDocument/2006/relationships" xmlns:p="http://schemas.openxmlformats.org/presentationml/2006/main">
  <p:tag name="MIO_GUID" val="2de72258-0903-4f04-835b-5fbdfc7c83e9"/>
</p:tagLst>
</file>

<file path=ppt/tags/tag974.xml><?xml version="1.0" encoding="utf-8"?>
<p:tagLst xmlns:a="http://schemas.openxmlformats.org/drawingml/2006/main" xmlns:r="http://schemas.openxmlformats.org/officeDocument/2006/relationships" xmlns:p="http://schemas.openxmlformats.org/presentationml/2006/main">
  <p:tag name="MIO_GUID" val="a0d5551e-1ff9-4676-b2d2-9fa2e40e272c"/>
</p:tagLst>
</file>

<file path=ppt/tags/tag975.xml><?xml version="1.0" encoding="utf-8"?>
<p:tagLst xmlns:a="http://schemas.openxmlformats.org/drawingml/2006/main" xmlns:r="http://schemas.openxmlformats.org/officeDocument/2006/relationships" xmlns:p="http://schemas.openxmlformats.org/presentationml/2006/main">
  <p:tag name="MIO_GUID" val="4ffa7c59-0008-461f-bae0-4205b3539812"/>
</p:tagLst>
</file>

<file path=ppt/tags/tag976.xml><?xml version="1.0" encoding="utf-8"?>
<p:tagLst xmlns:a="http://schemas.openxmlformats.org/drawingml/2006/main" xmlns:r="http://schemas.openxmlformats.org/officeDocument/2006/relationships" xmlns:p="http://schemas.openxmlformats.org/presentationml/2006/main">
  <p:tag name="MIO_GUID" val="83593372-2db5-4c05-9b08-9e611dbed500"/>
</p:tagLst>
</file>

<file path=ppt/tags/tag977.xml><?xml version="1.0" encoding="utf-8"?>
<p:tagLst xmlns:a="http://schemas.openxmlformats.org/drawingml/2006/main" xmlns:r="http://schemas.openxmlformats.org/officeDocument/2006/relationships" xmlns:p="http://schemas.openxmlformats.org/presentationml/2006/main">
  <p:tag name="MIO_GUID" val="48e8dc27-3b32-415d-9da1-2274fc5f7c39"/>
</p:tagLst>
</file>

<file path=ppt/tags/tag978.xml><?xml version="1.0" encoding="utf-8"?>
<p:tagLst xmlns:a="http://schemas.openxmlformats.org/drawingml/2006/main" xmlns:r="http://schemas.openxmlformats.org/officeDocument/2006/relationships" xmlns:p="http://schemas.openxmlformats.org/presentationml/2006/main">
  <p:tag name="MIO_GUID" val="764b047a-f0d6-4b6b-a78d-b096ded7095e"/>
</p:tagLst>
</file>

<file path=ppt/tags/tag979.xml><?xml version="1.0" encoding="utf-8"?>
<p:tagLst xmlns:a="http://schemas.openxmlformats.org/drawingml/2006/main" xmlns:r="http://schemas.openxmlformats.org/officeDocument/2006/relationships" xmlns:p="http://schemas.openxmlformats.org/presentationml/2006/main">
  <p:tag name="MIO_GUID" val="9310352c-6e42-4b70-8e45-8b4efb8c1de2"/>
</p:tagLst>
</file>

<file path=ppt/tags/tag98.xml><?xml version="1.0" encoding="utf-8"?>
<p:tagLst xmlns:a="http://schemas.openxmlformats.org/drawingml/2006/main" xmlns:r="http://schemas.openxmlformats.org/officeDocument/2006/relationships" xmlns:p="http://schemas.openxmlformats.org/presentationml/2006/main">
  <p:tag name="MIO_GUID" val="a0d5551e-1ff9-4676-b2d2-9fa2e40e272c"/>
</p:tagLst>
</file>

<file path=ppt/tags/tag980.xml><?xml version="1.0" encoding="utf-8"?>
<p:tagLst xmlns:a="http://schemas.openxmlformats.org/drawingml/2006/main" xmlns:r="http://schemas.openxmlformats.org/officeDocument/2006/relationships" xmlns:p="http://schemas.openxmlformats.org/presentationml/2006/main">
  <p:tag name="MIO_GUID" val="290cbcd6-db1d-438d-b78c-5650edbf4e1b"/>
</p:tagLst>
</file>

<file path=ppt/tags/tag981.xml><?xml version="1.0" encoding="utf-8"?>
<p:tagLst xmlns:a="http://schemas.openxmlformats.org/drawingml/2006/main" xmlns:r="http://schemas.openxmlformats.org/officeDocument/2006/relationships" xmlns:p="http://schemas.openxmlformats.org/presentationml/2006/main">
  <p:tag name="MIO_GUID" val="76aa2861-beaa-49df-970e-478522ef4bc9"/>
</p:tagLst>
</file>

<file path=ppt/tags/tag982.xml><?xml version="1.0" encoding="utf-8"?>
<p:tagLst xmlns:a="http://schemas.openxmlformats.org/drawingml/2006/main" xmlns:r="http://schemas.openxmlformats.org/officeDocument/2006/relationships" xmlns:p="http://schemas.openxmlformats.org/presentationml/2006/main">
  <p:tag name="MIO_GUID" val="b092e2fb-4374-4fc7-80ad-3996673bf7e3"/>
</p:tagLst>
</file>

<file path=ppt/tags/tag983.xml><?xml version="1.0" encoding="utf-8"?>
<p:tagLst xmlns:a="http://schemas.openxmlformats.org/drawingml/2006/main" xmlns:r="http://schemas.openxmlformats.org/officeDocument/2006/relationships" xmlns:p="http://schemas.openxmlformats.org/presentationml/2006/main">
  <p:tag name="MIO_GUID" val="86aee767-e134-4a0f-948a-3c7e5cc83791"/>
</p:tagLst>
</file>

<file path=ppt/tags/tag984.xml><?xml version="1.0" encoding="utf-8"?>
<p:tagLst xmlns:a="http://schemas.openxmlformats.org/drawingml/2006/main" xmlns:r="http://schemas.openxmlformats.org/officeDocument/2006/relationships" xmlns:p="http://schemas.openxmlformats.org/presentationml/2006/main">
  <p:tag name="MIO_GUID" val="82b9bf4b-9ff0-4dcb-89c8-182f0864abad"/>
</p:tagLst>
</file>

<file path=ppt/tags/tag985.xml><?xml version="1.0" encoding="utf-8"?>
<p:tagLst xmlns:a="http://schemas.openxmlformats.org/drawingml/2006/main" xmlns:r="http://schemas.openxmlformats.org/officeDocument/2006/relationships" xmlns:p="http://schemas.openxmlformats.org/presentationml/2006/main">
  <p:tag name="MIO_GUID" val="29099586-a357-4765-95f0-2a7eca37b65c"/>
</p:tagLst>
</file>

<file path=ppt/tags/tag986.xml><?xml version="1.0" encoding="utf-8"?>
<p:tagLst xmlns:a="http://schemas.openxmlformats.org/drawingml/2006/main" xmlns:r="http://schemas.openxmlformats.org/officeDocument/2006/relationships" xmlns:p="http://schemas.openxmlformats.org/presentationml/2006/main">
  <p:tag name="MIO_GUID" val="12544672-642e-4edc-94c0-2de5de0556a4"/>
</p:tagLst>
</file>

<file path=ppt/tags/tag987.xml><?xml version="1.0" encoding="utf-8"?>
<p:tagLst xmlns:a="http://schemas.openxmlformats.org/drawingml/2006/main" xmlns:r="http://schemas.openxmlformats.org/officeDocument/2006/relationships" xmlns:p="http://schemas.openxmlformats.org/presentationml/2006/main">
  <p:tag name="MIO_GUID" val="5622864f-c52c-4728-8b13-b525cbc819bd"/>
</p:tagLst>
</file>

<file path=ppt/tags/tag988.xml><?xml version="1.0" encoding="utf-8"?>
<p:tagLst xmlns:a="http://schemas.openxmlformats.org/drawingml/2006/main" xmlns:r="http://schemas.openxmlformats.org/officeDocument/2006/relationships" xmlns:p="http://schemas.openxmlformats.org/presentationml/2006/main">
  <p:tag name="MIO_GUID" val="5102c6de-0a57-4bea-9f99-88c04678a4e7"/>
</p:tagLst>
</file>

<file path=ppt/tags/tag989.xml><?xml version="1.0" encoding="utf-8"?>
<p:tagLst xmlns:a="http://schemas.openxmlformats.org/drawingml/2006/main" xmlns:r="http://schemas.openxmlformats.org/officeDocument/2006/relationships" xmlns:p="http://schemas.openxmlformats.org/presentationml/2006/main">
  <p:tag name="MIO_GUID" val="bc846fe7-ff3c-43b4-98f3-86d19c8cddaa"/>
</p:tagLst>
</file>

<file path=ppt/tags/tag99.xml><?xml version="1.0" encoding="utf-8"?>
<p:tagLst xmlns:a="http://schemas.openxmlformats.org/drawingml/2006/main" xmlns:r="http://schemas.openxmlformats.org/officeDocument/2006/relationships" xmlns:p="http://schemas.openxmlformats.org/presentationml/2006/main">
  <p:tag name="MIO_GUID" val="4ffa7c59-0008-461f-bae0-4205b3539812"/>
</p:tagLst>
</file>

<file path=ppt/tags/tag990.xml><?xml version="1.0" encoding="utf-8"?>
<p:tagLst xmlns:a="http://schemas.openxmlformats.org/drawingml/2006/main" xmlns:r="http://schemas.openxmlformats.org/officeDocument/2006/relationships" xmlns:p="http://schemas.openxmlformats.org/presentationml/2006/main">
  <p:tag name="MIO_GUID" val="e81bf5a2-b563-423a-aeec-d0145571c23d"/>
</p:tagLst>
</file>

<file path=ppt/tags/tag991.xml><?xml version="1.0" encoding="utf-8"?>
<p:tagLst xmlns:a="http://schemas.openxmlformats.org/drawingml/2006/main" xmlns:r="http://schemas.openxmlformats.org/officeDocument/2006/relationships" xmlns:p="http://schemas.openxmlformats.org/presentationml/2006/main">
  <p:tag name="MIO_GUID" val="307a1469-bc1f-42b8-8336-a3df8864b021"/>
</p:tagLst>
</file>

<file path=ppt/tags/tag992.xml><?xml version="1.0" encoding="utf-8"?>
<p:tagLst xmlns:a="http://schemas.openxmlformats.org/drawingml/2006/main" xmlns:r="http://schemas.openxmlformats.org/officeDocument/2006/relationships" xmlns:p="http://schemas.openxmlformats.org/presentationml/2006/main">
  <p:tag name="MIO_GUID" val="19a8e741-bade-4213-8738-425d1c5ad8a3"/>
</p:tagLst>
</file>

<file path=ppt/tags/tag993.xml><?xml version="1.0" encoding="utf-8"?>
<p:tagLst xmlns:a="http://schemas.openxmlformats.org/drawingml/2006/main" xmlns:r="http://schemas.openxmlformats.org/officeDocument/2006/relationships" xmlns:p="http://schemas.openxmlformats.org/presentationml/2006/main">
  <p:tag name="MIO_GUID" val="163dd8d1-82cb-4f67-b1a3-8e9a27e131c2"/>
</p:tagLst>
</file>

<file path=ppt/tags/tag994.xml><?xml version="1.0" encoding="utf-8"?>
<p:tagLst xmlns:a="http://schemas.openxmlformats.org/drawingml/2006/main" xmlns:r="http://schemas.openxmlformats.org/officeDocument/2006/relationships" xmlns:p="http://schemas.openxmlformats.org/presentationml/2006/main">
  <p:tag name="MIO_GUID" val="de833be4-e957-46a2-b034-4df62a30432a"/>
</p:tagLst>
</file>

<file path=ppt/tags/tag995.xml><?xml version="1.0" encoding="utf-8"?>
<p:tagLst xmlns:a="http://schemas.openxmlformats.org/drawingml/2006/main" xmlns:r="http://schemas.openxmlformats.org/officeDocument/2006/relationships" xmlns:p="http://schemas.openxmlformats.org/presentationml/2006/main">
  <p:tag name="MIO_GUID" val="0bb063ad-92cf-4b8b-9559-97ba862cb568"/>
</p:tagLst>
</file>

<file path=ppt/tags/tag996.xml><?xml version="1.0" encoding="utf-8"?>
<p:tagLst xmlns:a="http://schemas.openxmlformats.org/drawingml/2006/main" xmlns:r="http://schemas.openxmlformats.org/officeDocument/2006/relationships" xmlns:p="http://schemas.openxmlformats.org/presentationml/2006/main">
  <p:tag name="MIO_GUID" val="a93e9735-b9ca-46f0-be19-c75d80a69741"/>
</p:tagLst>
</file>

<file path=ppt/tags/tag997.xml><?xml version="1.0" encoding="utf-8"?>
<p:tagLst xmlns:a="http://schemas.openxmlformats.org/drawingml/2006/main" xmlns:r="http://schemas.openxmlformats.org/officeDocument/2006/relationships" xmlns:p="http://schemas.openxmlformats.org/presentationml/2006/main">
  <p:tag name="MIO_GUID" val="ad081b4f-d1a6-42c9-9af0-cbd2b69979af"/>
</p:tagLst>
</file>

<file path=ppt/tags/tag998.xml><?xml version="1.0" encoding="utf-8"?>
<p:tagLst xmlns:a="http://schemas.openxmlformats.org/drawingml/2006/main" xmlns:r="http://schemas.openxmlformats.org/officeDocument/2006/relationships" xmlns:p="http://schemas.openxmlformats.org/presentationml/2006/main">
  <p:tag name="MIO_GUID" val="450e7f26-421e-4eee-96e8-1e17cf7ff3ec"/>
</p:tagLst>
</file>

<file path=ppt/tags/tag999.xml><?xml version="1.0" encoding="utf-8"?>
<p:tagLst xmlns:a="http://schemas.openxmlformats.org/drawingml/2006/main" xmlns:r="http://schemas.openxmlformats.org/officeDocument/2006/relationships" xmlns:p="http://schemas.openxmlformats.org/presentationml/2006/main">
  <p:tag name="MIO_GUID" val="c36b6db3-e1aa-4e5f-b4d9-d5e667ea621d"/>
</p:tagLst>
</file>

<file path=ppt/theme/theme1.xml><?xml version="1.0" encoding="utf-8"?>
<a:theme xmlns:a="http://schemas.openxmlformats.org/drawingml/2006/main" name="Widescreen - Danske Bank">
  <a:themeElements>
    <a:clrScheme name="Danske Bank">
      <a:dk1>
        <a:srgbClr val="000000"/>
      </a:dk1>
      <a:lt1>
        <a:sysClr val="window" lastClr="FFFFFF"/>
      </a:lt1>
      <a:dk2>
        <a:srgbClr val="003755"/>
      </a:dk2>
      <a:lt2>
        <a:srgbClr val="E7F1F7"/>
      </a:lt2>
      <a:accent1>
        <a:srgbClr val="003755"/>
      </a:accent1>
      <a:accent2>
        <a:srgbClr val="6DBACE"/>
      </a:accent2>
      <a:accent3>
        <a:srgbClr val="C7CECB"/>
      </a:accent3>
      <a:accent4>
        <a:srgbClr val="397798"/>
      </a:accent4>
      <a:accent5>
        <a:srgbClr val="7F898B"/>
      </a:accent5>
      <a:accent6>
        <a:srgbClr val="A8D2E0"/>
      </a:accent6>
      <a:hlink>
        <a:srgbClr val="397798"/>
      </a:hlink>
      <a:folHlink>
        <a:srgbClr val="6DBACE"/>
      </a:folHlink>
    </a:clrScheme>
    <a:fontScheme name="Custom 33">
      <a:majorFont>
        <a:latin typeface="Danske Human Medium Italic"/>
        <a:ea typeface=""/>
        <a:cs typeface=""/>
      </a:majorFont>
      <a:minorFont>
        <a:latin typeface="Danske Text v2"/>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6350" cap="rnd">
          <a:noFill/>
          <a:round/>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spcBef>
            <a:spcPts val="600"/>
          </a:spcBef>
          <a:buClr>
            <a:srgbClr val="003755"/>
          </a:buCl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003755"/>
          </a:solidFill>
          <a:round/>
        </a:ln>
      </a:spPr>
      <a:bodyPr/>
      <a:lstStyle/>
      <a:style>
        <a:lnRef idx="1">
          <a:schemeClr val="accent1"/>
        </a:lnRef>
        <a:fillRef idx="0">
          <a:schemeClr val="accent1"/>
        </a:fillRef>
        <a:effectRef idx="0">
          <a:schemeClr val="accent1"/>
        </a:effectRef>
        <a:fontRef idx="minor">
          <a:schemeClr val="tx1"/>
        </a:fontRef>
      </a:style>
    </a:lnDef>
    <a:txDef>
      <a:spPr>
        <a:noFill/>
        <a:ln w="6350" cap="rnd">
          <a:noFill/>
        </a:ln>
      </a:spPr>
      <a:bodyPr wrap="none" lIns="0" tIns="0" rIns="0" bIns="0" rtlCol="0">
        <a:spAutoFit/>
      </a:bodyPr>
      <a:lstStyle>
        <a:defPPr marL="0" indent="0" algn="l" defTabSz="914400" rtl="0" eaLnBrk="1" latinLnBrk="0" hangingPunct="1">
          <a:lnSpc>
            <a:spcPct val="100000"/>
          </a:lnSpc>
          <a:spcBef>
            <a:spcPts val="0"/>
          </a:spcBef>
          <a:buClr>
            <a:schemeClr val="accent1"/>
          </a:buClr>
          <a:buFont typeface="Danske Text" panose="00000400000000000000" pitchFamily="2" charset="0"/>
          <a:buNone/>
          <a:defRPr sz="1400" kern="1200" dirty="0" err="1" smtClean="0">
            <a:solidFill>
              <a:schemeClr val="tx1"/>
            </a:solidFill>
            <a:latin typeface="+mn-lt"/>
            <a:ea typeface="+mn-ea"/>
            <a:cs typeface="+mn-cs"/>
          </a:defRPr>
        </a:defPPr>
      </a:lstStyle>
    </a:txDef>
  </a:objectDefaults>
  <a:extraClrSchemeLst/>
  <a:custClrLst>
    <a:custClr name="Danske Midnight Blue">
      <a:srgbClr val="003755"/>
    </a:custClr>
    <a:custClr name="Danske Sea Blue">
      <a:srgbClr val="6DBACE"/>
    </a:custClr>
    <a:custClr name="Danske Autumn Red">
      <a:srgbClr val="E65A6D"/>
    </a:custClr>
    <a:custClr name="Danske Meadow Green">
      <a:srgbClr val="09B89D"/>
    </a:custClr>
    <a:custClr name="Danske Corn Yellow">
      <a:srgbClr val="FFE17F"/>
    </a:custClr>
    <a:custClr name="Danske Amber Orange">
      <a:srgbClr val="FBB273"/>
    </a:custClr>
    <a:custClr name="Danske Berry Purple ">
      <a:srgbClr val="74489D"/>
    </a:custClr>
    <a:custClr name="Danske Sky Blue">
      <a:srgbClr val="D7E9F1"/>
    </a:custClr>
    <a:custClr name="Danske Granite Gray">
      <a:srgbClr val="3A4344"/>
    </a:custClr>
    <a:custClr name="Danske Slate Gray">
      <a:srgbClr val="7B8185"/>
    </a:custClr>
    <a:custClr name="Danske Midnight Blue 80%">
      <a:srgbClr val="00597B"/>
    </a:custClr>
    <a:custClr name="Danske Sea Blue 80%">
      <a:srgbClr val="8BC5D7"/>
    </a:custClr>
    <a:custClr name="Danske Autumn Red 80%">
      <a:srgbClr val="EB7C83"/>
    </a:custClr>
    <a:custClr name="Danske Meadow Green 80%">
      <a:srgbClr val="5EC3AE"/>
    </a:custClr>
    <a:custClr name="Danske Corn Yellow 80%">
      <a:srgbClr val="FFE698"/>
    </a:custClr>
    <a:custClr name="Danske Amber Orange 80%">
      <a:srgbClr val="FCC18B"/>
    </a:custClr>
    <a:custClr name="Danske Berry Purple 80%">
      <a:srgbClr val="8865AC"/>
    </a:custClr>
    <a:custClr name="Danske Sky Blue 80%">
      <a:srgbClr val="E0EEF5"/>
    </a:custClr>
    <a:custClr name="Danske Granite Gray 80%">
      <a:srgbClr val="5E676A"/>
    </a:custClr>
    <a:custClr name="Danske Slate Gray 80%">
      <a:srgbClr val="93989C"/>
    </a:custClr>
    <a:custClr name="Danske Midnight Blue 40%">
      <a:srgbClr val="739DB7"/>
    </a:custClr>
    <a:custClr name="Danske Sea Blue 40%">
      <a:srgbClr val="C3E0EB"/>
    </a:custClr>
    <a:custClr name="Danske Autumn Red 40%">
      <a:srgbClr val="F4BAB8"/>
    </a:custClr>
    <a:custClr name="Danske Meadow Green 40%">
      <a:srgbClr val="B2DFD3"/>
    </a:custClr>
    <a:custClr name="Danske Corn Yellow 40%">
      <a:srgbClr val="FFF3CA"/>
    </a:custClr>
    <a:custClr name="Danske Amber Orange 40%">
      <a:srgbClr val="FEDDBF"/>
    </a:custClr>
    <a:custClr name="Danske Berry Purple 40%">
      <a:srgbClr val="BAA7D1"/>
    </a:custClr>
    <a:custClr name="Danske Sky Blue 40%">
      <a:srgbClr val="F0F7FA"/>
    </a:custClr>
    <a:custClr name="Danske Granite Gray 40%">
      <a:srgbClr val="A6ADB0"/>
    </a:custClr>
    <a:custClr name="Danske Slate Gray 40%">
      <a:srgbClr val="C5C8CB"/>
    </a:custClr>
    <a:custClr name="Danske Midnight Blue 20%">
      <a:srgbClr val="AFC8D8"/>
    </a:custClr>
    <a:custClr name="Danske Sea Blue 20%">
      <a:srgbClr val="E0EEF4"/>
    </a:custClr>
    <a:custClr name="Danske Autumn Red 20%">
      <a:srgbClr val="F9DAD8"/>
    </a:custClr>
    <a:custClr name="Danske Meadow Green 20%">
      <a:srgbClr val="D6EDE7"/>
    </a:custClr>
    <a:custClr name="Danske Corn Yellow 20%">
      <a:srgbClr val="FFF9E2"/>
    </a:custClr>
    <a:custClr name="Danske Amber Orange 20%">
      <a:srgbClr val="FEEEDC"/>
    </a:custClr>
    <a:custClr name="Danske Berry Purple 20%">
      <a:srgbClr val="D9D0E7"/>
    </a:custClr>
    <a:custClr name="Danske Sky Blue 20%">
      <a:srgbClr val="F7FAFC"/>
    </a:custClr>
    <a:custClr name="Danske Granite Gray 20%">
      <a:srgbClr val="D0D4D6"/>
    </a:custClr>
    <a:custClr name="Danske Slate Gray 20%">
      <a:srgbClr val="E0E2E3"/>
    </a:custClr>
    <a:custClr name="Danske Midnight Blue 10%">
      <a:srgbClr val="D4E1EA"/>
    </a:custClr>
    <a:custClr name="Danske Sea Blue 10%">
      <a:srgbClr val="EFF6F9"/>
    </a:custClr>
    <a:custClr name="Danske Autumn Red 10%">
      <a:srgbClr val="FCECEA"/>
    </a:custClr>
    <a:custClr name="Danske Meadow Green 10%">
      <a:srgbClr val="EAF6F3"/>
    </a:custClr>
    <a:custClr name="Danske Corn Yellow 10%">
      <a:srgbClr val="FFFBF0"/>
    </a:custClr>
    <a:custClr name="Danske Amber Orange 10%">
      <a:srgbClr val="FEF6ED"/>
    </a:custClr>
    <a:custClr name="Danske Berry Purple 10%">
      <a:srgbClr val="EBE6F2"/>
    </a:custClr>
    <a:custClr name="  ">
      <a:srgbClr val="FFFFFF"/>
    </a:custClr>
    <a:custClr name="Danske Granite Gray 10%">
      <a:srgbClr val="E6E8E9"/>
    </a:custClr>
    <a:custClr name="Danske Slate Gray 10%">
      <a:srgbClr val="EFF0F1"/>
    </a:custClr>
  </a:custClrLst>
  <a:extLst>
    <a:ext uri="{05A4C25C-085E-4340-85A3-A5531E510DB2}">
      <thm15:themeFamily xmlns:thm15="http://schemas.microsoft.com/office/thememl/2012/main" name="Danske Bank" id="{9D7DF3D3-1ECC-4020-980F-0AF5854824EA}" vid="{159FC015-2CA5-4ACF-9FA5-9F5B226BCA87}"/>
    </a:ext>
  </a:extLst>
</a:theme>
</file>

<file path=ppt/theme/theme2.xml><?xml version="1.0" encoding="utf-8"?>
<a:theme xmlns:a="http://schemas.openxmlformats.org/drawingml/2006/main" name="Office Theme">
  <a:themeElements>
    <a:clrScheme name="Danske Bank">
      <a:dk1>
        <a:srgbClr val="000000"/>
      </a:dk1>
      <a:lt1>
        <a:sysClr val="window" lastClr="FFFFFF"/>
      </a:lt1>
      <a:dk2>
        <a:srgbClr val="003755"/>
      </a:dk2>
      <a:lt2>
        <a:srgbClr val="E7F1F7"/>
      </a:lt2>
      <a:accent1>
        <a:srgbClr val="003755"/>
      </a:accent1>
      <a:accent2>
        <a:srgbClr val="6DBACE"/>
      </a:accent2>
      <a:accent3>
        <a:srgbClr val="C7CECB"/>
      </a:accent3>
      <a:accent4>
        <a:srgbClr val="397798"/>
      </a:accent4>
      <a:accent5>
        <a:srgbClr val="7F898B"/>
      </a:accent5>
      <a:accent6>
        <a:srgbClr val="A8D2E0"/>
      </a:accent6>
      <a:hlink>
        <a:srgbClr val="397798"/>
      </a:hlink>
      <a:folHlink>
        <a:srgbClr val="6DBACE"/>
      </a:folHlink>
    </a:clrScheme>
    <a:fontScheme name="Danske Bank">
      <a:majorFont>
        <a:latin typeface="Danske Human Medium Italic"/>
        <a:ea typeface=""/>
        <a:cs typeface=""/>
      </a:majorFont>
      <a:minorFont>
        <a:latin typeface="Danske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nske Midnight Blue">
      <a:srgbClr val="003755"/>
    </a:custClr>
    <a:custClr name="Danske Sea Blue">
      <a:srgbClr val="6DBACE"/>
    </a:custClr>
    <a:custClr name="Danske Autumn Red">
      <a:srgbClr val="E65A6D"/>
    </a:custClr>
    <a:custClr name="Danske Meadow Green">
      <a:srgbClr val="09B89D"/>
    </a:custClr>
    <a:custClr name="Danske Corn Yellow">
      <a:srgbClr val="FFE17F"/>
    </a:custClr>
    <a:custClr name="Danske Amber Orange">
      <a:srgbClr val="FBB273"/>
    </a:custClr>
    <a:custClr name="Danske Berry Purple ">
      <a:srgbClr val="74489D"/>
    </a:custClr>
    <a:custClr name="Danske Sky Blue">
      <a:srgbClr val="D7E9F1"/>
    </a:custClr>
    <a:custClr name="Danske Granite Gray">
      <a:srgbClr val="3A4344"/>
    </a:custClr>
    <a:custClr name="Danske Slate Gray">
      <a:srgbClr val="7B8185"/>
    </a:custClr>
    <a:custClr name="Danske Midnight Blue 80%">
      <a:srgbClr val="00597B"/>
    </a:custClr>
    <a:custClr name="Danske Sea Blue 80%">
      <a:srgbClr val="8BC5D7"/>
    </a:custClr>
    <a:custClr name="Danske Autumn Red 80%">
      <a:srgbClr val="EB7C83"/>
    </a:custClr>
    <a:custClr name="Danske Meadow Green 80%">
      <a:srgbClr val="5EC3AE"/>
    </a:custClr>
    <a:custClr name="Danske Corn Yellow 80%">
      <a:srgbClr val="FFE698"/>
    </a:custClr>
    <a:custClr name="Danske Amber Orange 80%">
      <a:srgbClr val="FCC18B"/>
    </a:custClr>
    <a:custClr name="Danske Berry Purple 80%">
      <a:srgbClr val="8865AC"/>
    </a:custClr>
    <a:custClr name="Danske Sky Blue 80%">
      <a:srgbClr val="E0EEF5"/>
    </a:custClr>
    <a:custClr name="Danske Granite Gray 80%">
      <a:srgbClr val="5E676A"/>
    </a:custClr>
    <a:custClr name="Danske Slate Gray 80%">
      <a:srgbClr val="93989C"/>
    </a:custClr>
    <a:custClr name="Danske Midnight Blue 40%">
      <a:srgbClr val="739DB7"/>
    </a:custClr>
    <a:custClr name="Danske Sea Blue 40%">
      <a:srgbClr val="C3E0EB"/>
    </a:custClr>
    <a:custClr name="Danske Autumn Red 40%">
      <a:srgbClr val="F4BAB8"/>
    </a:custClr>
    <a:custClr name="Danske Meadow Green 40%">
      <a:srgbClr val="B2DFD3"/>
    </a:custClr>
    <a:custClr name="Danske Corn Yellow 40%">
      <a:srgbClr val="FFF3CA"/>
    </a:custClr>
    <a:custClr name="Danske Amber Orange 40%">
      <a:srgbClr val="FEDDBF"/>
    </a:custClr>
    <a:custClr name="Danske Berry Purple 40%">
      <a:srgbClr val="BAA7D1"/>
    </a:custClr>
    <a:custClr name="Danske Sky Blue 40%">
      <a:srgbClr val="F0F7FA"/>
    </a:custClr>
    <a:custClr name="Danske Granite Gray 40%">
      <a:srgbClr val="A6ADB0"/>
    </a:custClr>
    <a:custClr name="Danske Slate Gray 40%">
      <a:srgbClr val="C5C8CB"/>
    </a:custClr>
    <a:custClr name="Danske Midnight Blue 20%">
      <a:srgbClr val="AFC8D8"/>
    </a:custClr>
    <a:custClr name="Danske Sea Blue 20%">
      <a:srgbClr val="E0EEF4"/>
    </a:custClr>
    <a:custClr name="Danske Autumn Red 20%">
      <a:srgbClr val="F9DAD8"/>
    </a:custClr>
    <a:custClr name="Danske Meadow Green 20%">
      <a:srgbClr val="D6EDE7"/>
    </a:custClr>
    <a:custClr name="Danske Corn Yellow 20%">
      <a:srgbClr val="FFF9E2"/>
    </a:custClr>
    <a:custClr name="Danske Amber Orange 20%">
      <a:srgbClr val="FEEEDC"/>
    </a:custClr>
    <a:custClr name="Danske Berry Purple 20%">
      <a:srgbClr val="D9D0E7"/>
    </a:custClr>
    <a:custClr name="Danske Sky Blue 20%">
      <a:srgbClr val="F7FAFC"/>
    </a:custClr>
    <a:custClr name="Danske Granite Gray 20%">
      <a:srgbClr val="D0D4D6"/>
    </a:custClr>
    <a:custClr name="Danske Slate Gray 20%">
      <a:srgbClr val="E0E2E3"/>
    </a:custClr>
    <a:custClr name="Danske Midnight Blue 10%">
      <a:srgbClr val="D4E1EA"/>
    </a:custClr>
    <a:custClr name="Danske Sea Blue 10%">
      <a:srgbClr val="EFF6F9"/>
    </a:custClr>
    <a:custClr name="Danske Autumn Red 10%">
      <a:srgbClr val="FCECEA"/>
    </a:custClr>
    <a:custClr name="Danske Meadow Green 10%">
      <a:srgbClr val="EAF6F3"/>
    </a:custClr>
    <a:custClr name="Danske Corn Yellow 10%">
      <a:srgbClr val="FFFBF0"/>
    </a:custClr>
    <a:custClr name="Danske Amber Orange 10%">
      <a:srgbClr val="FEF6ED"/>
    </a:custClr>
    <a:custClr name="Danske Berry Purple 10%">
      <a:srgbClr val="EBE6F2"/>
    </a:custClr>
    <a:custClr name="  ">
      <a:srgbClr val="FFFFFF"/>
    </a:custClr>
    <a:custClr name="Danske Granite Gray 10%">
      <a:srgbClr val="E6E8E9"/>
    </a:custClr>
    <a:custClr name="Danske Slate Gray 10%">
      <a:srgbClr val="EFF0F1"/>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Danske Bank">
      <a:dk1>
        <a:srgbClr val="000000"/>
      </a:dk1>
      <a:lt1>
        <a:sysClr val="window" lastClr="FFFFFF"/>
      </a:lt1>
      <a:dk2>
        <a:srgbClr val="003755"/>
      </a:dk2>
      <a:lt2>
        <a:srgbClr val="E7F1F7"/>
      </a:lt2>
      <a:accent1>
        <a:srgbClr val="003755"/>
      </a:accent1>
      <a:accent2>
        <a:srgbClr val="6DBACE"/>
      </a:accent2>
      <a:accent3>
        <a:srgbClr val="C7CECB"/>
      </a:accent3>
      <a:accent4>
        <a:srgbClr val="397798"/>
      </a:accent4>
      <a:accent5>
        <a:srgbClr val="7F898B"/>
      </a:accent5>
      <a:accent6>
        <a:srgbClr val="A8D2E0"/>
      </a:accent6>
      <a:hlink>
        <a:srgbClr val="397798"/>
      </a:hlink>
      <a:folHlink>
        <a:srgbClr val="6DBACE"/>
      </a:folHlink>
    </a:clrScheme>
    <a:fontScheme name="Danske Bank">
      <a:majorFont>
        <a:latin typeface="Danske Human Medium Italic"/>
        <a:ea typeface=""/>
        <a:cs typeface=""/>
      </a:majorFont>
      <a:minorFont>
        <a:latin typeface="Danske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nske Midnight Blue">
      <a:srgbClr val="003755"/>
    </a:custClr>
    <a:custClr name="Danske Sea Blue">
      <a:srgbClr val="6DBACE"/>
    </a:custClr>
    <a:custClr name="Danske Autumn Red">
      <a:srgbClr val="E65A6D"/>
    </a:custClr>
    <a:custClr name="Danske Meadow Green">
      <a:srgbClr val="09B89D"/>
    </a:custClr>
    <a:custClr name="Danske Corn Yellow">
      <a:srgbClr val="FFE17F"/>
    </a:custClr>
    <a:custClr name="Danske Amber Orange">
      <a:srgbClr val="FBB273"/>
    </a:custClr>
    <a:custClr name="Danske Berry Purple ">
      <a:srgbClr val="74489D"/>
    </a:custClr>
    <a:custClr name="Danske Sky Blue">
      <a:srgbClr val="D7E9F1"/>
    </a:custClr>
    <a:custClr name="Danske Granite Gray">
      <a:srgbClr val="3A4344"/>
    </a:custClr>
    <a:custClr name="Danske Slate Gray">
      <a:srgbClr val="7B8185"/>
    </a:custClr>
    <a:custClr name="Danske Midnight Blue 80%">
      <a:srgbClr val="00597B"/>
    </a:custClr>
    <a:custClr name="Danske Sea Blue 80%">
      <a:srgbClr val="8BC5D7"/>
    </a:custClr>
    <a:custClr name="Danske Autumn Red 80%">
      <a:srgbClr val="EB7C83"/>
    </a:custClr>
    <a:custClr name="Danske Meadow Green 80%">
      <a:srgbClr val="5EC3AE"/>
    </a:custClr>
    <a:custClr name="Danske Corn Yellow 80%">
      <a:srgbClr val="FFE698"/>
    </a:custClr>
    <a:custClr name="Danske Amber Orange 80%">
      <a:srgbClr val="FCC18B"/>
    </a:custClr>
    <a:custClr name="Danske Berry Purple 80%">
      <a:srgbClr val="8865AC"/>
    </a:custClr>
    <a:custClr name="Danske Sky Blue 80%">
      <a:srgbClr val="E0EEF5"/>
    </a:custClr>
    <a:custClr name="Danske Granite Gray 80%">
      <a:srgbClr val="5E676A"/>
    </a:custClr>
    <a:custClr name="Danske Slate Gray 80%">
      <a:srgbClr val="93989C"/>
    </a:custClr>
    <a:custClr name="Danske Midnight Blue 40%">
      <a:srgbClr val="739DB7"/>
    </a:custClr>
    <a:custClr name="Danske Sea Blue 40%">
      <a:srgbClr val="C3E0EB"/>
    </a:custClr>
    <a:custClr name="Danske Autumn Red 40%">
      <a:srgbClr val="F4BAB8"/>
    </a:custClr>
    <a:custClr name="Danske Meadow Green 40%">
      <a:srgbClr val="B2DFD3"/>
    </a:custClr>
    <a:custClr name="Danske Corn Yellow 40%">
      <a:srgbClr val="FFF3CA"/>
    </a:custClr>
    <a:custClr name="Danske Amber Orange 40%">
      <a:srgbClr val="FEDDBF"/>
    </a:custClr>
    <a:custClr name="Danske Berry Purple 40%">
      <a:srgbClr val="BAA7D1"/>
    </a:custClr>
    <a:custClr name="Danske Sky Blue 40%">
      <a:srgbClr val="F0F7FA"/>
    </a:custClr>
    <a:custClr name="Danske Granite Gray 40%">
      <a:srgbClr val="A6ADB0"/>
    </a:custClr>
    <a:custClr name="Danske Slate Gray 40%">
      <a:srgbClr val="C5C8CB"/>
    </a:custClr>
    <a:custClr name="Danske Midnight Blue 20%">
      <a:srgbClr val="E5EBEE"/>
    </a:custClr>
    <a:custClr name="Danske Sea Blue 20%">
      <a:srgbClr val="E0EEF4"/>
    </a:custClr>
    <a:custClr name="Danske Autumn Red 20%">
      <a:srgbClr val="F9DAD8"/>
    </a:custClr>
    <a:custClr name="Danske Meadow Green 20%">
      <a:srgbClr val="D6EDE7"/>
    </a:custClr>
    <a:custClr name="Danske Corn Yellow 20%">
      <a:srgbClr val="FFF9E2"/>
    </a:custClr>
    <a:custClr name="Danske Amber Orange 20%">
      <a:srgbClr val="FEEEDC"/>
    </a:custClr>
    <a:custClr name="Danske Berry Purple 20%">
      <a:srgbClr val="D9D0E7"/>
    </a:custClr>
    <a:custClr name="Danske Sky Blue 20%">
      <a:srgbClr val="F7FAFC"/>
    </a:custClr>
    <a:custClr name="Danske Granite Gray 20%">
      <a:srgbClr val="D0D4D6"/>
    </a:custClr>
    <a:custClr name="Danske Slate Gray 20%">
      <a:srgbClr val="E0E2E3"/>
    </a:custClr>
    <a:custClr name="Danske Midnight Blue 10%">
      <a:srgbClr val="E5EBEE"/>
    </a:custClr>
    <a:custClr name="Danske Sea Blue 10%">
      <a:srgbClr val="EFF6F9"/>
    </a:custClr>
    <a:custClr name="Danske Autumn Red 10%">
      <a:srgbClr val="FCECEA"/>
    </a:custClr>
    <a:custClr name="Danske Meadow Green 10%">
      <a:srgbClr val="EAF6F3"/>
    </a:custClr>
    <a:custClr name="Danske Corn Yellow 10%">
      <a:srgbClr val="FFFBF0"/>
    </a:custClr>
    <a:custClr name="Danske Amber Orange 10%">
      <a:srgbClr val="FEF6ED"/>
    </a:custClr>
    <a:custClr name="Danske Berry Purple 10%">
      <a:srgbClr val="EBE6F2"/>
    </a:custClr>
    <a:custClr name="  ">
      <a:srgbClr val="FFFFFF"/>
    </a:custClr>
    <a:custClr name="Danske Granite Gray 10%">
      <a:srgbClr val="E6E8E9"/>
    </a:custClr>
    <a:custClr name="Danske Slate Gray 10%">
      <a:srgbClr val="EFF0F1"/>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0AC2275C336634A8785D9151A32F889" ma:contentTypeVersion="0" ma:contentTypeDescription="Create a new document." ma:contentTypeScope="" ma:versionID="837daaafbd83eedeca0c65dc8fc2cde5">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E3DE5E0-CD50-45D4-BA8C-74BAF66765D1}">
  <ds:schemaRefs>
    <ds:schemaRef ds:uri="http://schemas.microsoft.com/sharepoint/v3/contenttype/forms"/>
  </ds:schemaRefs>
</ds:datastoreItem>
</file>

<file path=customXml/itemProps2.xml><?xml version="1.0" encoding="utf-8"?>
<ds:datastoreItem xmlns:ds="http://schemas.openxmlformats.org/officeDocument/2006/customXml" ds:itemID="{9A1F4691-3D0B-46F3-ABD2-D23E8678633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250F12B2-43B9-46CD-B1CE-F17D45ACBA44}">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anske Bank</Template>
  <TotalTime>8819</TotalTime>
  <Words>2549</Words>
  <Application>Microsoft Office PowerPoint</Application>
  <PresentationFormat>Widescreen</PresentationFormat>
  <Paragraphs>771</Paragraphs>
  <Slides>36</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4" baseType="lpstr">
      <vt:lpstr>ＭＳ Ｐゴシック</vt:lpstr>
      <vt:lpstr>Arial</vt:lpstr>
      <vt:lpstr>Danske Human Medium Italic</vt:lpstr>
      <vt:lpstr>Danske Text</vt:lpstr>
      <vt:lpstr>Danske Text v2</vt:lpstr>
      <vt:lpstr>Open Sans</vt:lpstr>
      <vt:lpstr>Widescreen - Danske Bank</vt:lpstr>
      <vt:lpstr>think-cell Slide</vt:lpstr>
      <vt:lpstr>PowerPoint Presentation</vt:lpstr>
      <vt:lpstr>Active Ownership Report: H1 2020</vt:lpstr>
      <vt:lpstr>Where to get additional information</vt:lpstr>
      <vt:lpstr>Active Ownership Report: H1 2020 Part 1: Engagement Report</vt:lpstr>
      <vt:lpstr>Engagement Report introduction</vt:lpstr>
      <vt:lpstr>In H1 2020, we have had the following engagement activities</vt:lpstr>
      <vt:lpstr>Top 10 industries most engaged with during H1 2020 Number of companies per industry (Sector in bracket)</vt:lpstr>
      <vt:lpstr>Engagement with companies domiciled in 32 countries</vt:lpstr>
      <vt:lpstr>Split between ESG engagement themes </vt:lpstr>
      <vt:lpstr>Split between ESG engagement themes across regions</vt:lpstr>
      <vt:lpstr>90 ESG engagements topics have been addressed and discussed</vt:lpstr>
      <vt:lpstr>Top 7 ESG engagement topics across the E, S, and G theme</vt:lpstr>
      <vt:lpstr>Top 3 among ESG engagement topics: GHG Emissions; Employee Health &amp; Safety; and Energy Efficiency</vt:lpstr>
      <vt:lpstr>Top 10 and engagement interactions across Nordic countries</vt:lpstr>
      <vt:lpstr>Most commonly addressed ESG topics across geography</vt:lpstr>
      <vt:lpstr>Company interactions are mainly with one-to-one and with CEO</vt:lpstr>
      <vt:lpstr>PowerPoint Presentation</vt:lpstr>
      <vt:lpstr>PowerPoint Presentation</vt:lpstr>
      <vt:lpstr>PowerPoint Presentation</vt:lpstr>
      <vt:lpstr>Sovereigns: We have had 5 engagements with 4 governmental entities</vt:lpstr>
      <vt:lpstr>Sovereigns: In total, have 10 topics been discussed</vt:lpstr>
      <vt:lpstr>Active Ownership Report: H1 2020 Part 2: Voting Report</vt:lpstr>
      <vt:lpstr>Engagement Report introduction</vt:lpstr>
      <vt:lpstr>In H1 2020, we have had the following voting activities</vt:lpstr>
      <vt:lpstr>PowerPoint Presentation</vt:lpstr>
      <vt:lpstr>Voting with companies domiciled in 55 countries</vt:lpstr>
      <vt:lpstr>We voted primarily at Annual General Meetings (AGM)</vt:lpstr>
      <vt:lpstr>Top 10 and voting distribution across Nordic countries </vt:lpstr>
      <vt:lpstr>We predominantly voted ‘For’ the proposals</vt:lpstr>
      <vt:lpstr>We predominantly voted ‘For’ the Management proposals</vt:lpstr>
      <vt:lpstr>We predominantly voted ‘For’ the Shareholder proposals</vt:lpstr>
      <vt:lpstr>Voted proposals are mainly Directors-related</vt:lpstr>
      <vt:lpstr>Most common voted proposals against Management recommendations</vt:lpstr>
      <vt:lpstr>Disclaimer &amp; contact information</vt:lpstr>
      <vt:lpstr>Engagement during H1 2020, by company</vt:lpstr>
      <vt:lpstr>Engagement during H1 2020, by company</vt:lpstr>
    </vt:vector>
  </TitlesOfParts>
  <Company>Danske Bank</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edre Saviniene</dc:creator>
  <cp:lastModifiedBy>Giedre Saviniene</cp:lastModifiedBy>
  <cp:revision>260</cp:revision>
  <cp:lastPrinted>2018-01-17T12:59:53Z</cp:lastPrinted>
  <dcterms:created xsi:type="dcterms:W3CDTF">2019-09-03T11:50:59Z</dcterms:created>
  <dcterms:modified xsi:type="dcterms:W3CDTF">2020-08-26T20:0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AC2275C336634A8785D9151A32F889</vt:lpwstr>
  </property>
</Properties>
</file>